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6.xml" ContentType="application/vnd.openxmlformats-officedocument.theme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0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1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2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3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5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6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1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18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theme/theme19.xml" ContentType="application/vnd.openxmlformats-officedocument.theme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theme/theme20.xml" ContentType="application/vnd.openxmlformats-officedocument.theme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21.xml" ContentType="application/vnd.openxmlformats-officedocument.theme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theme/theme22.xml" ContentType="application/vnd.openxmlformats-officedocument.theme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theme/theme2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24.xml" ContentType="application/vnd.openxmlformats-officedocument.theme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theme/theme25.xml" ContentType="application/vnd.openxmlformats-officedocument.theme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theme/theme26.xml" ContentType="application/vnd.openxmlformats-officedocument.theme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theme/theme27.xml" ContentType="application/vnd.openxmlformats-officedocument.theme+xml"/>
  <Override PartName="/ppt/tags/tag49.xml" ContentType="application/vnd.openxmlformats-officedocument.presentationml.tags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theme/theme28.xml" ContentType="application/vnd.openxmlformats-officedocument.theme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theme/theme29.xml" ContentType="application/vnd.openxmlformats-officedocument.theme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theme/theme30.xml" ContentType="application/vnd.openxmlformats-officedocument.theme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theme/theme31.xml" ContentType="application/vnd.openxmlformats-officedocument.theme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theme/theme32.xml" ContentType="application/vnd.openxmlformats-officedocument.theme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theme/theme33.xml" ContentType="application/vnd.openxmlformats-officedocument.theme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theme/theme34.xml" ContentType="application/vnd.openxmlformats-officedocument.theme+xml"/>
  <Override PartName="/ppt/slideLayouts/slideLayout547.xml" ContentType="application/vnd.openxmlformats-officedocument.presentationml.slideLayout+xml"/>
  <Override PartName="/ppt/theme/theme35.xml" ContentType="application/vnd.openxmlformats-officedocument.theme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theme/theme36.xml" ContentType="application/vnd.openxmlformats-officedocument.theme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theme/theme37.xml" ContentType="application/vnd.openxmlformats-officedocument.theme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theme/theme38.xml" ContentType="application/vnd.openxmlformats-officedocument.theme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theme/theme39.xml" ContentType="application/vnd.openxmlformats-officedocument.theme+xml"/>
  <Override PartName="/ppt/theme/theme4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3" r:id="rId2"/>
    <p:sldMasterId id="2147483662" r:id="rId3"/>
    <p:sldMasterId id="2147483716" r:id="rId4"/>
    <p:sldMasterId id="2147483688" r:id="rId5"/>
    <p:sldMasterId id="2147483724" r:id="rId6"/>
    <p:sldMasterId id="2147483856" r:id="rId7"/>
    <p:sldMasterId id="2147483858" r:id="rId8"/>
    <p:sldMasterId id="2147483869" r:id="rId9"/>
    <p:sldMasterId id="2147483886" r:id="rId10"/>
    <p:sldMasterId id="2147483906" r:id="rId11"/>
    <p:sldMasterId id="2147483930" r:id="rId12"/>
    <p:sldMasterId id="2147483955" r:id="rId13"/>
    <p:sldMasterId id="2147483996" r:id="rId14"/>
    <p:sldMasterId id="2147484021" r:id="rId15"/>
    <p:sldMasterId id="2147484040" r:id="rId16"/>
    <p:sldMasterId id="2147484047" r:id="rId17"/>
    <p:sldMasterId id="2147484094" r:id="rId18"/>
    <p:sldMasterId id="2147484125" r:id="rId19"/>
    <p:sldMasterId id="2147484176" r:id="rId20"/>
    <p:sldMasterId id="2147484191" r:id="rId21"/>
    <p:sldMasterId id="2147484232" r:id="rId22"/>
    <p:sldMasterId id="2147484262" r:id="rId23"/>
    <p:sldMasterId id="2147484278" r:id="rId24"/>
    <p:sldMasterId id="2147484309" r:id="rId25"/>
    <p:sldMasterId id="2147484374" r:id="rId26"/>
    <p:sldMasterId id="2147484386" r:id="rId27"/>
    <p:sldMasterId id="2147484395" r:id="rId28"/>
    <p:sldMasterId id="2147484403" r:id="rId29"/>
    <p:sldMasterId id="2147484415" r:id="rId30"/>
    <p:sldMasterId id="2147484423" r:id="rId31"/>
    <p:sldMasterId id="2147484435" r:id="rId32"/>
    <p:sldMasterId id="2147484442" r:id="rId33"/>
    <p:sldMasterId id="2147484449" r:id="rId34"/>
    <p:sldMasterId id="2147484461" r:id="rId35"/>
    <p:sldMasterId id="2147484463" r:id="rId36"/>
    <p:sldMasterId id="2147484476" r:id="rId37"/>
    <p:sldMasterId id="2147484492" r:id="rId38"/>
    <p:sldMasterId id="2147484522" r:id="rId39"/>
  </p:sldMasterIdLst>
  <p:notesMasterIdLst>
    <p:notesMasterId r:id="rId54"/>
  </p:notesMasterIdLst>
  <p:sldIdLst>
    <p:sldId id="345" r:id="rId40"/>
    <p:sldId id="346" r:id="rId41"/>
    <p:sldId id="347" r:id="rId42"/>
    <p:sldId id="348" r:id="rId43"/>
    <p:sldId id="355" r:id="rId44"/>
    <p:sldId id="356" r:id="rId45"/>
    <p:sldId id="357" r:id="rId46"/>
    <p:sldId id="358" r:id="rId47"/>
    <p:sldId id="359" r:id="rId48"/>
    <p:sldId id="360" r:id="rId49"/>
    <p:sldId id="361" r:id="rId50"/>
    <p:sldId id="362" r:id="rId51"/>
    <p:sldId id="363" r:id="rId52"/>
    <p:sldId id="364" r:id="rId53"/>
  </p:sldIdLst>
  <p:sldSz cx="12188825" cy="6858000"/>
  <p:notesSz cx="6858000" cy="9144000"/>
  <p:defaultTextStyle>
    <a:defPPr>
      <a:defRPr lang="en-US"/>
    </a:defPPr>
    <a:lvl1pPr marL="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EX RYALS" id="{35044368-F15E-C943-9F8B-57F6FB732620}">
          <p14:sldIdLst>
            <p14:sldId id="345"/>
            <p14:sldId id="346"/>
            <p14:sldId id="347"/>
            <p14:sldId id="348"/>
            <p14:sldId id="355"/>
            <p14:sldId id="356"/>
            <p14:sldId id="357"/>
            <p14:sldId id="358"/>
            <p14:sldId id="359"/>
            <p14:sldId id="360"/>
            <p14:sldId id="361"/>
            <p14:sldId id="362"/>
            <p14:sldId id="363"/>
            <p14:sldId id="3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rd, Mike" initials="W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8C"/>
    <a:srgbClr val="FFC000"/>
    <a:srgbClr val="EE7C31"/>
    <a:srgbClr val="CCD814"/>
    <a:srgbClr val="00B4DE"/>
    <a:srgbClr val="B3BE0C"/>
    <a:srgbClr val="0E2044"/>
    <a:srgbClr val="CDD82B"/>
    <a:srgbClr val="00AFD7"/>
    <a:srgbClr val="2231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7"/>
    <p:restoredTop sz="39650" autoAdjust="0"/>
  </p:normalViewPr>
  <p:slideViewPr>
    <p:cSldViewPr snapToGrid="0">
      <p:cViewPr varScale="1">
        <p:scale>
          <a:sx n="38" d="100"/>
          <a:sy n="38" d="100"/>
        </p:scale>
        <p:origin x="2856" y="184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3.xml"/><Relationship Id="rId47" Type="http://schemas.openxmlformats.org/officeDocument/2006/relationships/slide" Target="slides/slide8.xml"/><Relationship Id="rId50" Type="http://schemas.openxmlformats.org/officeDocument/2006/relationships/slide" Target="slides/slide11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" Target="slides/slide1.xml"/><Relationship Id="rId45" Type="http://schemas.openxmlformats.org/officeDocument/2006/relationships/slide" Target="slides/slide6.xml"/><Relationship Id="rId53" Type="http://schemas.openxmlformats.org/officeDocument/2006/relationships/slide" Target="slides/slide14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4.xml"/><Relationship Id="rId48" Type="http://schemas.openxmlformats.org/officeDocument/2006/relationships/slide" Target="slides/slide9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7.xml"/><Relationship Id="rId59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2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10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5.xml"/><Relationship Id="rId52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8DC63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F13-AD4A-9DB8-03CB77EBB62B}"/>
              </c:ext>
            </c:extLst>
          </c:dPt>
          <c:dPt>
            <c:idx val="1"/>
            <c:bubble3D val="0"/>
            <c:spPr>
              <a:solidFill>
                <a:srgbClr val="00558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13-AD4A-9DB8-03CB77EBB62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F13-AD4A-9DB8-03CB77EBB62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F13-AD4A-9DB8-03CB77EBB62B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0</c:v>
                </c:pt>
                <c:pt idx="1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F13-AD4A-9DB8-03CB77EBB6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8DC63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9FA-894E-93A8-97B80D8B21A5}"/>
              </c:ext>
            </c:extLst>
          </c:dPt>
          <c:dPt>
            <c:idx val="1"/>
            <c:bubble3D val="0"/>
            <c:spPr>
              <a:solidFill>
                <a:srgbClr val="00558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9FA-894E-93A8-97B80D8B21A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9FA-894E-93A8-97B80D8B21A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9FA-894E-93A8-97B80D8B21A5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20</c:v>
                </c:pt>
                <c:pt idx="1">
                  <c:v>2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9FA-894E-93A8-97B80D8B21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8DC63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FE3-1B45-8773-1B80633955E8}"/>
              </c:ext>
            </c:extLst>
          </c:dPt>
          <c:dPt>
            <c:idx val="1"/>
            <c:bubble3D val="0"/>
            <c:spPr>
              <a:solidFill>
                <a:srgbClr val="00558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FE3-1B45-8773-1B80633955E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FE3-1B45-8773-1B80633955E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FE3-1B45-8773-1B80633955E8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80</c:v>
                </c:pt>
                <c:pt idx="1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FE3-1B45-8773-1B80633955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8DC63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C3-044C-A7CE-323631D85063}"/>
              </c:ext>
            </c:extLst>
          </c:dPt>
          <c:dPt>
            <c:idx val="1"/>
            <c:bubble3D val="0"/>
            <c:spPr>
              <a:solidFill>
                <a:srgbClr val="00558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AC3-044C-A7CE-323631D8506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AC3-044C-A7CE-323631D8506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AC3-044C-A7CE-323631D85063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40</c:v>
                </c:pt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AC3-044C-A7CE-323631D850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8DC63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91-1B4A-933C-A0754877B83C}"/>
              </c:ext>
            </c:extLst>
          </c:dPt>
          <c:dPt>
            <c:idx val="1"/>
            <c:bubble3D val="0"/>
            <c:spPr>
              <a:solidFill>
                <a:srgbClr val="00558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91-1B4A-933C-A0754877B83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191-1B4A-933C-A0754877B83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191-1B4A-933C-A0754877B83C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191-1B4A-933C-A0754877B8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8DC63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B1C-6443-B17C-F3788F5A4546}"/>
              </c:ext>
            </c:extLst>
          </c:dPt>
          <c:dPt>
            <c:idx val="1"/>
            <c:bubble3D val="0"/>
            <c:spPr>
              <a:solidFill>
                <a:srgbClr val="00558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B1C-6443-B17C-F3788F5A454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B1C-6443-B17C-F3788F5A454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B1C-6443-B17C-F3788F5A4546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6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B1C-6443-B17C-F3788F5A45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63BF79-DAED-7E48-A122-8B94FF37672B}" type="datetimeFigureOut">
              <a:rPr lang="en-US" smtClean="0"/>
              <a:t>5/30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BE56F0-BE7D-4643-8BF1-702FF58DFD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381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AA159-85F2-C74A-93EC-00153D6A17C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694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AA159-85F2-C74A-93EC-00153D6A17C3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640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AA159-85F2-C74A-93EC-00153D6A17C3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072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AA159-85F2-C74A-93EC-00153D6A17C3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702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AA159-85F2-C74A-93EC-00153D6A17C3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5540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AA159-85F2-C74A-93EC-00153D6A17C3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742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AA159-85F2-C74A-93EC-00153D6A17C3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287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0.jp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44.jpg"/><Relationship Id="rId4" Type="http://schemas.openxmlformats.org/officeDocument/2006/relationships/image" Target="../media/image43.jpg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4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.bin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4.bin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emf"/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emf"/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4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2.jpe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6.bin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3.jpe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7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4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8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32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4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9.bin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4.jpe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0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5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5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2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3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4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5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6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7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8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9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0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2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3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4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5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6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7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8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9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0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2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3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6.jpe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4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5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6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7.bin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8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7.emf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9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0.emf"/><Relationship Id="rId5" Type="http://schemas.openxmlformats.org/officeDocument/2006/relationships/image" Target="../media/image53.emf"/><Relationship Id="rId4" Type="http://schemas.openxmlformats.org/officeDocument/2006/relationships/oleObject" Target="../embeddings/oleObject40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4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32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4.pn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42.bin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43.bin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2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2.pn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emf"/><Relationship Id="rId1" Type="http://schemas.openxmlformats.org/officeDocument/2006/relationships/slideMaster" Target="../slideMasters/slideMaster1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1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slideMaster" Target="../slideMasters/slideMaster18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1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19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19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1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19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19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6.jpeg"/><Relationship Id="rId1" Type="http://schemas.openxmlformats.org/officeDocument/2006/relationships/slideMaster" Target="../slideMasters/slideMaster19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7.jpeg"/><Relationship Id="rId1" Type="http://schemas.openxmlformats.org/officeDocument/2006/relationships/slideMaster" Target="../slideMasters/slideMaster19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19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emf"/><Relationship Id="rId1" Type="http://schemas.openxmlformats.org/officeDocument/2006/relationships/slideMaster" Target="../slideMasters/slideMaster1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1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19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1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1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1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19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19.xml"/></Relationships>
</file>

<file path=ppt/slideLayouts/_rels/slideLayout3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18" Type="http://schemas.openxmlformats.org/officeDocument/2006/relationships/image" Target="../media/image101.png"/><Relationship Id="rId3" Type="http://schemas.openxmlformats.org/officeDocument/2006/relationships/image" Target="../media/image86.png"/><Relationship Id="rId21" Type="http://schemas.openxmlformats.org/officeDocument/2006/relationships/image" Target="../media/image104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" Type="http://schemas.openxmlformats.org/officeDocument/2006/relationships/image" Target="../media/image85.png"/><Relationship Id="rId16" Type="http://schemas.openxmlformats.org/officeDocument/2006/relationships/image" Target="../media/image99.jpeg"/><Relationship Id="rId20" Type="http://schemas.openxmlformats.org/officeDocument/2006/relationships/image" Target="../media/image103.pn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5" Type="http://schemas.openxmlformats.org/officeDocument/2006/relationships/image" Target="../media/image98.png"/><Relationship Id="rId10" Type="http://schemas.openxmlformats.org/officeDocument/2006/relationships/image" Target="../media/image93.png"/><Relationship Id="rId19" Type="http://schemas.openxmlformats.org/officeDocument/2006/relationships/image" Target="../media/image102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jpeg"/><Relationship Id="rId1" Type="http://schemas.openxmlformats.org/officeDocument/2006/relationships/slideMaster" Target="../slideMasters/slideMaster19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Master" Target="../slideMasters/slideMaster1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20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Master" Target="../slideMasters/slideMaster2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pn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3.png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6.png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jpe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23.png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24.png"/><Relationship Id="rId1" Type="http://schemas.openxmlformats.org/officeDocument/2006/relationships/slideMaster" Target="../slideMasters/slideMaster21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5.png"/><Relationship Id="rId1" Type="http://schemas.openxmlformats.org/officeDocument/2006/relationships/slideMaster" Target="../slideMasters/slideMaster21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slideMaster" Target="../slideMasters/slideMaster21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png"/><Relationship Id="rId1" Type="http://schemas.openxmlformats.org/officeDocument/2006/relationships/slideMaster" Target="../slideMasters/slideMaster21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30.png"/><Relationship Id="rId1" Type="http://schemas.openxmlformats.org/officeDocument/2006/relationships/slideMaster" Target="../slideMasters/slideMaster21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image" Target="../media/image132.png"/><Relationship Id="rId1" Type="http://schemas.openxmlformats.org/officeDocument/2006/relationships/slideMaster" Target="../slideMasters/slideMaster21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34.jpe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137.png"/><Relationship Id="rId4" Type="http://schemas.openxmlformats.org/officeDocument/2006/relationships/image" Target="../media/image136.png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image" Target="../media/image138.jpe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137.png"/><Relationship Id="rId4" Type="http://schemas.openxmlformats.org/officeDocument/2006/relationships/image" Target="../media/image136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40.jpe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137.png"/><Relationship Id="rId4" Type="http://schemas.openxmlformats.org/officeDocument/2006/relationships/image" Target="../media/image136.pn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jpe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44.png"/><Relationship Id="rId5" Type="http://schemas.openxmlformats.org/officeDocument/2006/relationships/image" Target="../media/image137.png"/><Relationship Id="rId4" Type="http://schemas.openxmlformats.org/officeDocument/2006/relationships/image" Target="../media/image136.png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19.jpe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107.png"/><Relationship Id="rId4" Type="http://schemas.openxmlformats.org/officeDocument/2006/relationships/image" Target="../media/image137.png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45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17.pn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46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47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48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49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50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image" Target="../media/image128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44.png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image" Target="../media/image126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44.png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image" Target="../media/image132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44.png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image" Target="../media/image124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44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image" Target="../media/image125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44.pn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image" Target="../media/image130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36.png"/><Relationship Id="rId5" Type="http://schemas.openxmlformats.org/officeDocument/2006/relationships/image" Target="../media/image137.png"/><Relationship Id="rId4" Type="http://schemas.openxmlformats.org/officeDocument/2006/relationships/image" Target="../media/image144.pn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56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57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58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59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60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37.png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16.png"/></Relationships>
</file>

<file path=ppt/slideLayouts/_rels/slideLayout3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png"/><Relationship Id="rId13" Type="http://schemas.openxmlformats.org/officeDocument/2006/relationships/image" Target="../media/image177.png"/><Relationship Id="rId18" Type="http://schemas.openxmlformats.org/officeDocument/2006/relationships/image" Target="../media/image182.png"/><Relationship Id="rId3" Type="http://schemas.openxmlformats.org/officeDocument/2006/relationships/image" Target="../media/image167.png"/><Relationship Id="rId21" Type="http://schemas.openxmlformats.org/officeDocument/2006/relationships/image" Target="../media/image185.png"/><Relationship Id="rId7" Type="http://schemas.openxmlformats.org/officeDocument/2006/relationships/image" Target="../media/image171.png"/><Relationship Id="rId12" Type="http://schemas.openxmlformats.org/officeDocument/2006/relationships/image" Target="../media/image176.png"/><Relationship Id="rId17" Type="http://schemas.openxmlformats.org/officeDocument/2006/relationships/image" Target="../media/image181.png"/><Relationship Id="rId2" Type="http://schemas.openxmlformats.org/officeDocument/2006/relationships/image" Target="../media/image166.png"/><Relationship Id="rId16" Type="http://schemas.openxmlformats.org/officeDocument/2006/relationships/image" Target="../media/image180.jpeg"/><Relationship Id="rId20" Type="http://schemas.openxmlformats.org/officeDocument/2006/relationships/image" Target="../media/image184.png"/><Relationship Id="rId1" Type="http://schemas.openxmlformats.org/officeDocument/2006/relationships/slideMaster" Target="../slideMasters/slideMaster22.xml"/><Relationship Id="rId6" Type="http://schemas.openxmlformats.org/officeDocument/2006/relationships/image" Target="../media/image170.png"/><Relationship Id="rId11" Type="http://schemas.openxmlformats.org/officeDocument/2006/relationships/image" Target="../media/image175.png"/><Relationship Id="rId5" Type="http://schemas.openxmlformats.org/officeDocument/2006/relationships/image" Target="../media/image169.png"/><Relationship Id="rId15" Type="http://schemas.openxmlformats.org/officeDocument/2006/relationships/image" Target="../media/image179.png"/><Relationship Id="rId10" Type="http://schemas.openxmlformats.org/officeDocument/2006/relationships/image" Target="../media/image174.png"/><Relationship Id="rId19" Type="http://schemas.openxmlformats.org/officeDocument/2006/relationships/image" Target="../media/image183.png"/><Relationship Id="rId4" Type="http://schemas.openxmlformats.org/officeDocument/2006/relationships/image" Target="../media/image168.png"/><Relationship Id="rId9" Type="http://schemas.openxmlformats.org/officeDocument/2006/relationships/image" Target="../media/image173.png"/><Relationship Id="rId14" Type="http://schemas.openxmlformats.org/officeDocument/2006/relationships/image" Target="../media/image178.png"/></Relationships>
</file>

<file path=ppt/slideLayouts/_rels/slideLayout3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1.png"/><Relationship Id="rId13" Type="http://schemas.openxmlformats.org/officeDocument/2006/relationships/image" Target="../media/image176.png"/><Relationship Id="rId18" Type="http://schemas.openxmlformats.org/officeDocument/2006/relationships/image" Target="../media/image182.png"/><Relationship Id="rId3" Type="http://schemas.openxmlformats.org/officeDocument/2006/relationships/image" Target="../media/image180.jpeg"/><Relationship Id="rId21" Type="http://schemas.openxmlformats.org/officeDocument/2006/relationships/image" Target="../media/image185.png"/><Relationship Id="rId7" Type="http://schemas.openxmlformats.org/officeDocument/2006/relationships/image" Target="../media/image170.png"/><Relationship Id="rId12" Type="http://schemas.openxmlformats.org/officeDocument/2006/relationships/image" Target="../media/image175.png"/><Relationship Id="rId17" Type="http://schemas.openxmlformats.org/officeDocument/2006/relationships/image" Target="../media/image181.png"/><Relationship Id="rId2" Type="http://schemas.openxmlformats.org/officeDocument/2006/relationships/image" Target="../media/image166.png"/><Relationship Id="rId16" Type="http://schemas.openxmlformats.org/officeDocument/2006/relationships/image" Target="../media/image179.png"/><Relationship Id="rId20" Type="http://schemas.openxmlformats.org/officeDocument/2006/relationships/image" Target="../media/image184.png"/><Relationship Id="rId1" Type="http://schemas.openxmlformats.org/officeDocument/2006/relationships/slideMaster" Target="../slideMasters/slideMaster22.xml"/><Relationship Id="rId6" Type="http://schemas.openxmlformats.org/officeDocument/2006/relationships/image" Target="../media/image169.png"/><Relationship Id="rId11" Type="http://schemas.openxmlformats.org/officeDocument/2006/relationships/image" Target="../media/image174.png"/><Relationship Id="rId5" Type="http://schemas.openxmlformats.org/officeDocument/2006/relationships/image" Target="../media/image168.png"/><Relationship Id="rId15" Type="http://schemas.openxmlformats.org/officeDocument/2006/relationships/image" Target="../media/image178.png"/><Relationship Id="rId10" Type="http://schemas.openxmlformats.org/officeDocument/2006/relationships/image" Target="../media/image173.png"/><Relationship Id="rId19" Type="http://schemas.openxmlformats.org/officeDocument/2006/relationships/image" Target="../media/image183.png"/><Relationship Id="rId4" Type="http://schemas.openxmlformats.org/officeDocument/2006/relationships/image" Target="../media/image167.png"/><Relationship Id="rId9" Type="http://schemas.openxmlformats.org/officeDocument/2006/relationships/image" Target="../media/image172.png"/><Relationship Id="rId14" Type="http://schemas.openxmlformats.org/officeDocument/2006/relationships/image" Target="../media/image177.png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jpg"/><Relationship Id="rId1" Type="http://schemas.openxmlformats.org/officeDocument/2006/relationships/slideMaster" Target="../slideMasters/slideMaster2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87.png"/><Relationship Id="rId1" Type="http://schemas.openxmlformats.org/officeDocument/2006/relationships/slideMaster" Target="../slideMasters/slideMaster22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87.png"/><Relationship Id="rId1" Type="http://schemas.openxmlformats.org/officeDocument/2006/relationships/slideMaster" Target="../slideMasters/slideMaster22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87.png"/><Relationship Id="rId1" Type="http://schemas.openxmlformats.org/officeDocument/2006/relationships/slideMaster" Target="../slideMasters/slideMaster22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87.png"/><Relationship Id="rId1" Type="http://schemas.openxmlformats.org/officeDocument/2006/relationships/slideMaster" Target="../slideMasters/slideMaster22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87.png"/><Relationship Id="rId1" Type="http://schemas.openxmlformats.org/officeDocument/2006/relationships/slideMaster" Target="../slideMasters/slideMaster2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87.png"/><Relationship Id="rId1" Type="http://schemas.openxmlformats.org/officeDocument/2006/relationships/slideMaster" Target="../slideMasters/slideMaster2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Master" Target="../slideMasters/slideMaster22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image" Target="../media/image164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89.png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jpg"/><Relationship Id="rId1" Type="http://schemas.openxmlformats.org/officeDocument/2006/relationships/slideMaster" Target="../slideMasters/slideMaster2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Master" Target="../slideMasters/slideMaster23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Master" Target="../slideMasters/slideMaster23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90.emf"/><Relationship Id="rId4" Type="http://schemas.openxmlformats.org/officeDocument/2006/relationships/oleObject" Target="../embeddings/oleObject45.bin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90.emf"/><Relationship Id="rId4" Type="http://schemas.openxmlformats.org/officeDocument/2006/relationships/oleObject" Target="../embeddings/oleObject46.bin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image" Target="../media/image112.png"/><Relationship Id="rId1" Type="http://schemas.openxmlformats.org/officeDocument/2006/relationships/slideMaster" Target="../slideMasters/slideMaster23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16.png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94.emf"/><Relationship Id="rId4" Type="http://schemas.openxmlformats.org/officeDocument/2006/relationships/oleObject" Target="../embeddings/oleObject47.bin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90.emf"/><Relationship Id="rId4" Type="http://schemas.openxmlformats.org/officeDocument/2006/relationships/oleObject" Target="../embeddings/oleObject48.bin"/></Relationships>
</file>

<file path=ppt/slideLayouts/_rels/slideLayout4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13" Type="http://schemas.openxmlformats.org/officeDocument/2006/relationships/image" Target="../media/image208.png"/><Relationship Id="rId18" Type="http://schemas.openxmlformats.org/officeDocument/2006/relationships/image" Target="../media/image213.png"/><Relationship Id="rId3" Type="http://schemas.openxmlformats.org/officeDocument/2006/relationships/image" Target="../media/image198.png"/><Relationship Id="rId21" Type="http://schemas.openxmlformats.org/officeDocument/2006/relationships/image" Target="../media/image216.png"/><Relationship Id="rId7" Type="http://schemas.openxmlformats.org/officeDocument/2006/relationships/image" Target="../media/image202.png"/><Relationship Id="rId12" Type="http://schemas.openxmlformats.org/officeDocument/2006/relationships/image" Target="../media/image207.png"/><Relationship Id="rId17" Type="http://schemas.openxmlformats.org/officeDocument/2006/relationships/image" Target="../media/image212.png"/><Relationship Id="rId2" Type="http://schemas.openxmlformats.org/officeDocument/2006/relationships/image" Target="../media/image197.jpeg"/><Relationship Id="rId16" Type="http://schemas.openxmlformats.org/officeDocument/2006/relationships/image" Target="../media/image211.png"/><Relationship Id="rId20" Type="http://schemas.openxmlformats.org/officeDocument/2006/relationships/image" Target="../media/image215.png"/><Relationship Id="rId1" Type="http://schemas.openxmlformats.org/officeDocument/2006/relationships/slideMaster" Target="../slideMasters/slideMaster24.xml"/><Relationship Id="rId6" Type="http://schemas.openxmlformats.org/officeDocument/2006/relationships/image" Target="../media/image201.png"/><Relationship Id="rId11" Type="http://schemas.openxmlformats.org/officeDocument/2006/relationships/image" Target="../media/image206.png"/><Relationship Id="rId5" Type="http://schemas.openxmlformats.org/officeDocument/2006/relationships/image" Target="../media/image200.png"/><Relationship Id="rId15" Type="http://schemas.openxmlformats.org/officeDocument/2006/relationships/image" Target="../media/image210.png"/><Relationship Id="rId10" Type="http://schemas.openxmlformats.org/officeDocument/2006/relationships/image" Target="../media/image205.png"/><Relationship Id="rId19" Type="http://schemas.openxmlformats.org/officeDocument/2006/relationships/image" Target="../media/image214.png"/><Relationship Id="rId4" Type="http://schemas.openxmlformats.org/officeDocument/2006/relationships/image" Target="../media/image199.png"/><Relationship Id="rId9" Type="http://schemas.openxmlformats.org/officeDocument/2006/relationships/image" Target="../media/image204.png"/><Relationship Id="rId14" Type="http://schemas.openxmlformats.org/officeDocument/2006/relationships/image" Target="../media/image209.png"/></Relationships>
</file>

<file path=ppt/slideLayouts/_rels/slideLayout4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13" Type="http://schemas.openxmlformats.org/officeDocument/2006/relationships/image" Target="../media/image208.png"/><Relationship Id="rId18" Type="http://schemas.openxmlformats.org/officeDocument/2006/relationships/image" Target="../media/image213.png"/><Relationship Id="rId3" Type="http://schemas.openxmlformats.org/officeDocument/2006/relationships/image" Target="../media/image198.png"/><Relationship Id="rId21" Type="http://schemas.openxmlformats.org/officeDocument/2006/relationships/image" Target="../media/image216.png"/><Relationship Id="rId7" Type="http://schemas.openxmlformats.org/officeDocument/2006/relationships/image" Target="../media/image202.png"/><Relationship Id="rId12" Type="http://schemas.openxmlformats.org/officeDocument/2006/relationships/image" Target="../media/image207.png"/><Relationship Id="rId17" Type="http://schemas.openxmlformats.org/officeDocument/2006/relationships/image" Target="../media/image212.png"/><Relationship Id="rId2" Type="http://schemas.openxmlformats.org/officeDocument/2006/relationships/image" Target="../media/image197.jpeg"/><Relationship Id="rId16" Type="http://schemas.openxmlformats.org/officeDocument/2006/relationships/image" Target="../media/image211.png"/><Relationship Id="rId20" Type="http://schemas.openxmlformats.org/officeDocument/2006/relationships/image" Target="../media/image215.png"/><Relationship Id="rId1" Type="http://schemas.openxmlformats.org/officeDocument/2006/relationships/slideMaster" Target="../slideMasters/slideMaster24.xml"/><Relationship Id="rId6" Type="http://schemas.openxmlformats.org/officeDocument/2006/relationships/image" Target="../media/image201.png"/><Relationship Id="rId11" Type="http://schemas.openxmlformats.org/officeDocument/2006/relationships/image" Target="../media/image206.png"/><Relationship Id="rId5" Type="http://schemas.openxmlformats.org/officeDocument/2006/relationships/image" Target="../media/image200.png"/><Relationship Id="rId15" Type="http://schemas.openxmlformats.org/officeDocument/2006/relationships/image" Target="../media/image210.png"/><Relationship Id="rId10" Type="http://schemas.openxmlformats.org/officeDocument/2006/relationships/image" Target="../media/image205.png"/><Relationship Id="rId19" Type="http://schemas.openxmlformats.org/officeDocument/2006/relationships/image" Target="../media/image214.png"/><Relationship Id="rId4" Type="http://schemas.openxmlformats.org/officeDocument/2006/relationships/image" Target="../media/image199.png"/><Relationship Id="rId9" Type="http://schemas.openxmlformats.org/officeDocument/2006/relationships/image" Target="../media/image204.png"/><Relationship Id="rId14" Type="http://schemas.openxmlformats.org/officeDocument/2006/relationships/image" Target="../media/image209.png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image" Target="../media/image217.jpeg"/><Relationship Id="rId1" Type="http://schemas.openxmlformats.org/officeDocument/2006/relationships/slideMaster" Target="../slideMasters/slideMaster24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219.png"/><Relationship Id="rId1" Type="http://schemas.openxmlformats.org/officeDocument/2006/relationships/slideMaster" Target="../slideMasters/slideMaster24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png"/><Relationship Id="rId1" Type="http://schemas.openxmlformats.org/officeDocument/2006/relationships/slideMaster" Target="../slideMasters/slideMaster24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png"/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187.png"/><Relationship Id="rId1" Type="http://schemas.openxmlformats.org/officeDocument/2006/relationships/slideMaster" Target="../slideMasters/slideMaster2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Master" Target="../slideMasters/slideMaster24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5.png"/><Relationship Id="rId13" Type="http://schemas.openxmlformats.org/officeDocument/2006/relationships/image" Target="../media/image230.png"/><Relationship Id="rId18" Type="http://schemas.openxmlformats.org/officeDocument/2006/relationships/image" Target="../media/image235.png"/><Relationship Id="rId3" Type="http://schemas.openxmlformats.org/officeDocument/2006/relationships/image" Target="../media/image220.png"/><Relationship Id="rId21" Type="http://schemas.openxmlformats.org/officeDocument/2006/relationships/image" Target="../media/image238.png"/><Relationship Id="rId7" Type="http://schemas.openxmlformats.org/officeDocument/2006/relationships/image" Target="../media/image224.png"/><Relationship Id="rId12" Type="http://schemas.openxmlformats.org/officeDocument/2006/relationships/image" Target="../media/image229.png"/><Relationship Id="rId17" Type="http://schemas.openxmlformats.org/officeDocument/2006/relationships/image" Target="../media/image234.png"/><Relationship Id="rId2" Type="http://schemas.openxmlformats.org/officeDocument/2006/relationships/image" Target="../media/image195.jpeg"/><Relationship Id="rId16" Type="http://schemas.openxmlformats.org/officeDocument/2006/relationships/image" Target="../media/image233.png"/><Relationship Id="rId20" Type="http://schemas.openxmlformats.org/officeDocument/2006/relationships/image" Target="../media/image237.png"/><Relationship Id="rId1" Type="http://schemas.openxmlformats.org/officeDocument/2006/relationships/slideMaster" Target="../slideMasters/slideMaster24.xml"/><Relationship Id="rId6" Type="http://schemas.openxmlformats.org/officeDocument/2006/relationships/image" Target="../media/image223.png"/><Relationship Id="rId11" Type="http://schemas.openxmlformats.org/officeDocument/2006/relationships/image" Target="../media/image228.png"/><Relationship Id="rId5" Type="http://schemas.openxmlformats.org/officeDocument/2006/relationships/image" Target="../media/image222.png"/><Relationship Id="rId15" Type="http://schemas.openxmlformats.org/officeDocument/2006/relationships/image" Target="../media/image232.png"/><Relationship Id="rId10" Type="http://schemas.openxmlformats.org/officeDocument/2006/relationships/image" Target="../media/image227.png"/><Relationship Id="rId19" Type="http://schemas.openxmlformats.org/officeDocument/2006/relationships/image" Target="../media/image236.png"/><Relationship Id="rId4" Type="http://schemas.openxmlformats.org/officeDocument/2006/relationships/image" Target="../media/image221.png"/><Relationship Id="rId9" Type="http://schemas.openxmlformats.org/officeDocument/2006/relationships/image" Target="../media/image226.png"/><Relationship Id="rId14" Type="http://schemas.openxmlformats.org/officeDocument/2006/relationships/image" Target="../media/image231.png"/><Relationship Id="rId22" Type="http://schemas.openxmlformats.org/officeDocument/2006/relationships/image" Target="../media/image216.png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emf"/><Relationship Id="rId2" Type="http://schemas.openxmlformats.org/officeDocument/2006/relationships/image" Target="../media/image239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241.png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png"/><Relationship Id="rId1" Type="http://schemas.openxmlformats.org/officeDocument/2006/relationships/slideMaster" Target="../slideMasters/slideMaster24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image" Target="../media/image243.png"/><Relationship Id="rId1" Type="http://schemas.openxmlformats.org/officeDocument/2006/relationships/slideMaster" Target="../slideMasters/slideMaster25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Master" Target="../slideMasters/slideMaster25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113.png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116.png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7.jpg"/><Relationship Id="rId1" Type="http://schemas.openxmlformats.org/officeDocument/2006/relationships/slideMaster" Target="../slideMasters/slideMaster27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248.emf"/><Relationship Id="rId4" Type="http://schemas.openxmlformats.org/officeDocument/2006/relationships/oleObject" Target="../embeddings/oleObject49.bin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5.jpg"/><Relationship Id="rId1" Type="http://schemas.openxmlformats.org/officeDocument/2006/relationships/slideMaster" Target="../slideMasters/slideMaster29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8.png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1.jpg"/><Relationship Id="rId1" Type="http://schemas.openxmlformats.org/officeDocument/2006/relationships/slideMaster" Target="../slideMasters/slideMaster30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7.jpg"/><Relationship Id="rId1" Type="http://schemas.openxmlformats.org/officeDocument/2006/relationships/slideMaster" Target="../slideMasters/slideMaster30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0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4.jpg"/><Relationship Id="rId1" Type="http://schemas.openxmlformats.org/officeDocument/2006/relationships/slideMaster" Target="../slideMasters/slideMaster33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1.jpg"/><Relationship Id="rId1" Type="http://schemas.openxmlformats.org/officeDocument/2006/relationships/slideMaster" Target="../slideMasters/slideMaster37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7.jpg"/><Relationship Id="rId1" Type="http://schemas.openxmlformats.org/officeDocument/2006/relationships/slideMaster" Target="../slideMasters/slideMaster37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7.png"/><Relationship Id="rId1" Type="http://schemas.openxmlformats.org/officeDocument/2006/relationships/slideMaster" Target="../slideMasters/slideMaster37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8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8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8.xml"/><Relationship Id="rId4" Type="http://schemas.openxmlformats.org/officeDocument/2006/relationships/image" Target="../media/image9.png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1.jpg"/><Relationship Id="rId1" Type="http://schemas.openxmlformats.org/officeDocument/2006/relationships/slideMaster" Target="../slideMasters/slideMaster39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7.jpg"/><Relationship Id="rId1" Type="http://schemas.openxmlformats.org/officeDocument/2006/relationships/slideMaster" Target="../slideMasters/slideMaster39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7.png"/><Relationship Id="rId1" Type="http://schemas.openxmlformats.org/officeDocument/2006/relationships/slideMaster" Target="../slideMasters/slideMaster39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7.emf"/><Relationship Id="rId4" Type="http://schemas.openxmlformats.org/officeDocument/2006/relationships/image" Target="../media/image28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7.emf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52111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88825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577" y="5222857"/>
            <a:ext cx="10849323" cy="68480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6"/>
              </a:lnSpc>
              <a:spcBef>
                <a:spcPts val="0"/>
              </a:spcBef>
              <a:buNone/>
              <a:defRPr sz="3199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/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55875" y="1599723"/>
            <a:ext cx="3617440" cy="312896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69" rIns="179212" bIns="1433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914865" y="1958095"/>
            <a:ext cx="2697909" cy="241147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302034" y="1599723"/>
            <a:ext cx="3617440" cy="312896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69" rIns="179212" bIns="1433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8141963" y="1599723"/>
            <a:ext cx="3617440" cy="3128967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69" rIns="179212" bIns="1433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4927923"/>
            <a:ext cx="3617439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98920" y="4927923"/>
            <a:ext cx="3617439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1963" y="4927923"/>
            <a:ext cx="3617439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4758684" y="1958095"/>
            <a:ext cx="2697909" cy="241147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8602505" y="1958095"/>
            <a:ext cx="2697909" cy="241147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80899433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55878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8" y="3167819"/>
            <a:ext cx="1692806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7711" y="3167821"/>
            <a:ext cx="1692806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299545" y="3167819"/>
            <a:ext cx="1692806" cy="2821285"/>
          </a:xfrm>
        </p:spPr>
        <p:txBody>
          <a:bodyPr lIns="0" tIns="0" rIns="0" bIns="0"/>
          <a:lstStyle>
            <a:lvl1pPr marL="0" marR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21377" y="3167819"/>
            <a:ext cx="1692806" cy="2821285"/>
          </a:xfrm>
        </p:spPr>
        <p:txBody>
          <a:bodyPr lIns="0" tIns="0" rIns="0" bIns="0"/>
          <a:lstStyle>
            <a:lvl1pPr marL="0" marR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143209" y="3167819"/>
            <a:ext cx="1692806" cy="2821285"/>
          </a:xfrm>
        </p:spPr>
        <p:txBody>
          <a:bodyPr lIns="0" tIns="0" rIns="0" bIns="0"/>
          <a:lstStyle>
            <a:lvl1pPr marL="0" marR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065040" y="3167819"/>
            <a:ext cx="1692806" cy="2821285"/>
          </a:xfrm>
        </p:spPr>
        <p:txBody>
          <a:bodyPr lIns="0" tIns="0" rIns="0" bIns="0"/>
          <a:lstStyle>
            <a:lvl1pPr marL="0" marR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377711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299545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221377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143209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065040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92924663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29"/>
            <a:ext cx="11303525" cy="397545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3135" strike="noStrike" spc="-127" baseline="0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939041171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55876" y="881923"/>
            <a:ext cx="7452701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2" spc="-147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5488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23932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Pr>
        <a:solidFill>
          <a:srgbClr val="2D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876" y="881923"/>
            <a:ext cx="7452701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2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88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0671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876" y="881923"/>
            <a:ext cx="7452701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2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88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66182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878" y="1882334"/>
            <a:ext cx="4756972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3999" indent="0">
              <a:buNone/>
              <a:defRPr/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pt-BR"/>
              <a:t>Subhead Segoe UI Regular 20/24. Em volor resequaectur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6" y="2707599"/>
            <a:ext cx="4756972" cy="2539157"/>
          </a:xfrm>
        </p:spPr>
        <p:txBody>
          <a:bodyPr lIns="0" tIns="0" rIns="0" bIns="0"/>
          <a:lstStyle>
            <a:lvl1pPr marL="279997" indent="-279997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65257433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2: two column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8" y="1957476"/>
            <a:ext cx="1692806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0" b="1">
                <a:solidFill>
                  <a:srgbClr val="2D78D7"/>
                </a:solidFill>
                <a:latin typeface="+mn-lt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7711" y="1957473"/>
            <a:ext cx="1692806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0" b="1" kern="1200" spc="0" baseline="0" dirty="0" smtClean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704395709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3</a:t>
            </a:r>
          </a:p>
        </p:txBody>
      </p:sp>
    </p:spTree>
    <p:extLst>
      <p:ext uri="{BB962C8B-B14F-4D97-AF65-F5344CB8AC3E}">
        <p14:creationId xmlns:p14="http://schemas.microsoft.com/office/powerpoint/2010/main" val="4034285222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55879" y="2126200"/>
            <a:ext cx="3617435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Chart examp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5661041"/>
            <a:ext cx="3617439" cy="153888"/>
          </a:xfrm>
        </p:spPr>
        <p:txBody>
          <a:bodyPr lIns="0" tIns="0" rIns="0" bIns="0"/>
          <a:lstStyle>
            <a:lvl1pPr marL="0" indent="0">
              <a:lnSpc>
                <a:spcPts val="1174"/>
              </a:lnSpc>
              <a:spcBef>
                <a:spcPts val="882"/>
              </a:spcBef>
              <a:buNone/>
              <a:defRPr sz="980">
                <a:solidFill>
                  <a:schemeClr val="tx1"/>
                </a:solidFill>
              </a:defRPr>
            </a:lvl1pPr>
            <a:lvl2pPr marL="0" marR="0" indent="0" algn="l" defTabSz="913963" rtl="0" eaLnBrk="1" fontAlgn="auto" latinLnBrk="0" hangingPunct="1">
              <a:lnSpc>
                <a:spcPts val="117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98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5875" y="5815325"/>
            <a:ext cx="3617439" cy="307777"/>
          </a:xfrm>
        </p:spPr>
        <p:txBody>
          <a:bodyPr lIns="0" tIns="0" rIns="0" bIns="0"/>
          <a:lstStyle>
            <a:lvl1pPr marL="0" indent="0">
              <a:lnSpc>
                <a:spcPts val="1174"/>
              </a:lnSpc>
              <a:spcBef>
                <a:spcPts val="882"/>
              </a:spcBef>
              <a:buFont typeface="Arial" panose="020B0604020202020204" pitchFamily="34" charset="0"/>
              <a:buNone/>
              <a:defRPr sz="980" b="0" i="0">
                <a:solidFill>
                  <a:schemeClr val="tx1"/>
                </a:solidFill>
                <a:latin typeface="+mn-lt"/>
              </a:defRPr>
            </a:lvl1pPr>
            <a:lvl2pPr marL="0" marR="0" indent="0" algn="l" defTabSz="913963" rtl="0" eaLnBrk="1" fontAlgn="auto" latinLnBrk="0" hangingPunct="1">
              <a:lnSpc>
                <a:spcPts val="117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2034" y="5661041"/>
            <a:ext cx="3606545" cy="153888"/>
          </a:xfrm>
        </p:spPr>
        <p:txBody>
          <a:bodyPr lIns="0" tIns="0" rIns="0" bIns="0"/>
          <a:lstStyle>
            <a:lvl1pPr marL="0" indent="0">
              <a:lnSpc>
                <a:spcPts val="1174"/>
              </a:lnSpc>
              <a:spcBef>
                <a:spcPts val="882"/>
              </a:spcBef>
              <a:buNone/>
              <a:defRPr sz="980">
                <a:solidFill>
                  <a:schemeClr val="tx1"/>
                </a:solidFill>
              </a:defRPr>
            </a:lvl1pPr>
            <a:lvl2pPr marL="0" marR="0" indent="0" algn="l" defTabSz="913963" rtl="0" eaLnBrk="1" fontAlgn="auto" latinLnBrk="0" hangingPunct="1">
              <a:lnSpc>
                <a:spcPts val="117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98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2033" y="5815325"/>
            <a:ext cx="3606547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4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137297" y="5661041"/>
            <a:ext cx="3628336" cy="153888"/>
          </a:xfrm>
        </p:spPr>
        <p:txBody>
          <a:bodyPr lIns="0" tIns="0" rIns="0" bIns="0"/>
          <a:lstStyle>
            <a:lvl1pPr marL="0" indent="0">
              <a:lnSpc>
                <a:spcPts val="1174"/>
              </a:lnSpc>
              <a:spcBef>
                <a:spcPts val="882"/>
              </a:spcBef>
              <a:buNone/>
              <a:defRPr sz="980">
                <a:solidFill>
                  <a:schemeClr val="tx1"/>
                </a:solidFill>
              </a:defRPr>
            </a:lvl1pPr>
            <a:lvl2pPr marL="0" marR="0" indent="0" algn="l" defTabSz="913963" rtl="0" eaLnBrk="1" fontAlgn="auto" latinLnBrk="0" hangingPunct="1">
              <a:lnSpc>
                <a:spcPts val="1174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98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137294" y="5815325"/>
            <a:ext cx="3628334" cy="307777"/>
          </a:xfrm>
        </p:spPr>
        <p:txBody>
          <a:bodyPr vert="horz" wrap="square" lIns="0" tIns="0" rIns="0" bIns="0" rtlCol="0">
            <a:spAutoFit/>
          </a:bodyPr>
          <a:lstStyle>
            <a:lvl1pPr marL="454217" indent="-454217">
              <a:tabLst/>
              <a:defRPr lang="en-US" sz="980" b="0" i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4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2033" y="2126200"/>
            <a:ext cx="360654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7294" y="2126200"/>
            <a:ext cx="362210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20863773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12398321" cy="3790949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224" y="4072691"/>
            <a:ext cx="11149410" cy="715965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4266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/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55877" y="2126200"/>
            <a:ext cx="11303525" cy="673198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494274497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1837309"/>
            <a:ext cx="8065722" cy="1793104"/>
          </a:xfrm>
          <a:noFill/>
        </p:spPr>
        <p:txBody>
          <a:bodyPr lIns="0" tIns="0" rIns="0" bIns="0" anchor="t" anchorCtr="0"/>
          <a:lstStyle>
            <a:lvl1pPr>
              <a:lnSpc>
                <a:spcPts val="2941"/>
              </a:lnSpc>
              <a:defRPr sz="2745" spc="-147" baseline="0">
                <a:solidFill>
                  <a:srgbClr val="2D78D7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5877" y="440498"/>
            <a:ext cx="916934" cy="196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71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455879" y="440498"/>
            <a:ext cx="914550" cy="196431"/>
            <a:chOff x="465139" y="449264"/>
            <a:chExt cx="933131" cy="200341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6716" r="872" b="4064"/>
            <a:stretch/>
          </p:blipFill>
          <p:spPr bwMode="black">
            <a:xfrm>
              <a:off x="721996" y="459092"/>
              <a:ext cx="676274" cy="187779"/>
            </a:xfrm>
            <a:prstGeom prst="rect">
              <a:avLst/>
            </a:prstGeom>
          </p:spPr>
        </p:pic>
        <p:pic>
          <p:nvPicPr>
            <p:cNvPr id="6" name="MS logo gray - EMF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6414"/>
            <a:stretch/>
          </p:blipFill>
          <p:spPr bwMode="black">
            <a:xfrm>
              <a:off x="465139" y="449264"/>
              <a:ext cx="220661" cy="200341"/>
            </a:xfrm>
            <a:prstGeom prst="rect">
              <a:avLst/>
            </a:prstGeom>
          </p:spPr>
        </p:pic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1837309"/>
            <a:ext cx="8065722" cy="1793104"/>
          </a:xfrm>
          <a:noFill/>
        </p:spPr>
        <p:txBody>
          <a:bodyPr lIns="0" tIns="0" rIns="0" bIns="0" anchor="t" anchorCtr="0"/>
          <a:lstStyle>
            <a:lvl1pPr>
              <a:lnSpc>
                <a:spcPts val="2941"/>
              </a:lnSpc>
              <a:defRPr sz="2745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112665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170" y="6099191"/>
            <a:ext cx="4480957" cy="4674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12" tIns="179212" rIns="179212" bIns="179212" numCol="1" anchor="t" anchorCtr="0" compatLnSpc="1">
            <a:prstTxWarp prst="textNoShape">
              <a:avLst/>
            </a:prstTxWarp>
            <a:spAutoFit/>
          </a:bodyPr>
          <a:lstStyle/>
          <a:p>
            <a:pPr defTabSz="913520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096" y="470067"/>
            <a:ext cx="1453879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0631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2566304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4F11E-78ED-499A-B6E1-5100086F5C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</p:spPr>
        <p:txBody>
          <a:bodyPr anchor="b"/>
          <a:lstStyle>
            <a:lvl1pPr algn="ctr">
              <a:defRPr sz="599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DF3E46-CE21-47C9-86C8-AD58F3C391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603" y="3602038"/>
            <a:ext cx="9141619" cy="516936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11" indent="0" algn="ctr">
              <a:buNone/>
              <a:defRPr sz="2000"/>
            </a:lvl2pPr>
            <a:lvl3pPr marL="913821" indent="0" algn="ctr">
              <a:buNone/>
              <a:defRPr sz="1800"/>
            </a:lvl3pPr>
            <a:lvl4pPr marL="1370732" indent="0" algn="ctr">
              <a:buNone/>
              <a:defRPr sz="1600"/>
            </a:lvl4pPr>
            <a:lvl5pPr marL="1827642" indent="0" algn="ctr">
              <a:buNone/>
              <a:defRPr sz="1600"/>
            </a:lvl5pPr>
            <a:lvl6pPr marL="2284551" indent="0" algn="ctr">
              <a:buNone/>
              <a:defRPr sz="1600"/>
            </a:lvl6pPr>
            <a:lvl7pPr marL="2741461" indent="0" algn="ctr">
              <a:buNone/>
              <a:defRPr sz="1600"/>
            </a:lvl7pPr>
            <a:lvl8pPr marL="3198371" indent="0" algn="ctr">
              <a:buNone/>
              <a:defRPr sz="1600"/>
            </a:lvl8pPr>
            <a:lvl9pPr marL="365528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32FED3-E218-49A8-84B3-FCE229CA5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E532EF-085C-4BAC-932C-CC7E669303DA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FD36BD-7DA4-42E0-B195-F9D63900A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B69254-9482-43A2-8238-26EABE7B0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46153-1DFB-4905-BEE6-E7E73520C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02334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3" strike="noStrike" spc="-147" baseline="0">
                <a:solidFill>
                  <a:srgbClr val="0078D7"/>
                </a:solidFill>
              </a:defRPr>
            </a:lvl1pPr>
          </a:lstStyle>
          <a:p>
            <a:r>
              <a:rPr lang="en-US"/>
              <a:t>Windows Storybook title </a:t>
            </a:r>
            <a:br>
              <a:rPr lang="en-US"/>
            </a:br>
            <a:r>
              <a:rPr lang="en-US"/>
              <a:t>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2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rgbClr val="0078D7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894651-6FD1-4197-8F69-796F2CC9C9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0" y="460562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786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3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Windows Storybook title </a:t>
            </a:r>
            <a:br>
              <a:rPr lang="en-US"/>
            </a:br>
            <a:r>
              <a:rPr lang="en-US"/>
              <a:t>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2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7BDCBF-1D44-41B9-B01E-0C288F9542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0" y="469902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641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3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Windows Storybook title </a:t>
            </a:r>
            <a:br>
              <a:rPr lang="en-US"/>
            </a:br>
            <a:r>
              <a:rPr lang="en-US"/>
              <a:t>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2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7BDCBF-1D44-41B9-B01E-0C288F9542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0" y="469902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2433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itting at a table using a computer&#10;&#10;Description generated with very high confidence">
            <a:extLst>
              <a:ext uri="{FF2B5EF4-FFF2-40B4-BE49-F238E27FC236}">
                <a16:creationId xmlns:a16="http://schemas.microsoft.com/office/drawing/2014/main" id="{E683B2FD-B331-4013-9A3B-907160FA12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" y="2"/>
            <a:ext cx="12188814" cy="685896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88C7E3E-8A1C-4636-BF7E-C7BEEAA5069D}"/>
              </a:ext>
            </a:extLst>
          </p:cNvPr>
          <p:cNvSpPr/>
          <p:nvPr userDrawn="1"/>
        </p:nvSpPr>
        <p:spPr bwMode="auto">
          <a:xfrm>
            <a:off x="4" y="0"/>
            <a:ext cx="12188814" cy="6858000"/>
          </a:xfrm>
          <a:prstGeom prst="rect">
            <a:avLst/>
          </a:prstGeom>
          <a:gradFill flip="none" rotWithShape="1">
            <a:gsLst>
              <a:gs pos="31000">
                <a:srgbClr val="000000">
                  <a:alpha val="46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6F6168B-3360-44EB-BAE5-C4C290FCE8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3" strike="noStrike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Windows Storybook title </a:t>
            </a:r>
            <a:br>
              <a:rPr lang="en-US"/>
            </a:br>
            <a:r>
              <a:rPr lang="en-US"/>
              <a:t>or event nam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950FB9-AA8D-431A-9DAE-41CA9176DE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2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FE0D0E-0837-4CF0-9832-63F1C5BDF0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0" y="469902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950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3288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/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88826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4D369D9-257C-49D9-81D3-374F57409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3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Windows Storybook title </a:t>
            </a:r>
            <a:br>
              <a:rPr lang="en-US"/>
            </a:br>
            <a:r>
              <a:rPr lang="en-US"/>
              <a:t>or event nam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CBDDCDF-7CBF-450C-9508-81086A3196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2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D7F618D-1CD3-4E24-9F46-C7165FCEE5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0" y="469902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00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using a computer&#10;&#10;Description generated with very high confidence">
            <a:extLst>
              <a:ext uri="{FF2B5EF4-FFF2-40B4-BE49-F238E27FC236}">
                <a16:creationId xmlns:a16="http://schemas.microsoft.com/office/drawing/2014/main" id="{190DAC33-57D2-4AE5-BBEE-6EE92E2DB2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DE5511C-1A62-4FD2-8D78-3293A40B7094}"/>
              </a:ext>
            </a:extLst>
          </p:cNvPr>
          <p:cNvSpPr/>
          <p:nvPr userDrawn="1"/>
        </p:nvSpPr>
        <p:spPr bwMode="auto">
          <a:xfrm>
            <a:off x="4" y="0"/>
            <a:ext cx="12188814" cy="6858000"/>
          </a:xfrm>
          <a:prstGeom prst="rect">
            <a:avLst/>
          </a:prstGeom>
          <a:gradFill flip="none" rotWithShape="1">
            <a:gsLst>
              <a:gs pos="31000">
                <a:srgbClr val="000000">
                  <a:alpha val="46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4D369D9-257C-49D9-81D3-374F57409B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3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Windows Storybook title </a:t>
            </a:r>
            <a:br>
              <a:rPr lang="en-US"/>
            </a:br>
            <a:r>
              <a:rPr lang="en-US"/>
              <a:t>or event nam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CBDDCDF-7CBF-450C-9508-81086A31968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2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7E52A7-9E21-4DA8-8FE3-98BEB79191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0" y="469902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676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941693"/>
            <a:ext cx="3617439" cy="899665"/>
          </a:xfrm>
        </p:spPr>
        <p:txBody>
          <a:bodyPr lIns="0" tIns="0" rIns="0" bIns="0"/>
          <a:lstStyle>
            <a:lvl1pPr>
              <a:defRPr sz="1765" spc="-4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8220" y="941693"/>
            <a:ext cx="3836819" cy="3786999"/>
          </a:xfrm>
        </p:spPr>
        <p:txBody>
          <a:bodyPr wrap="square" lIns="0" tIns="0" rIns="0" bIns="0">
            <a:noAutofit/>
          </a:bodyPr>
          <a:lstStyle>
            <a:lvl1pPr marL="0" indent="0" defTabSz="507204">
              <a:buNone/>
              <a:defRPr sz="1765" spc="-49" baseline="0">
                <a:solidFill>
                  <a:srgbClr val="0078D7"/>
                </a:solidFill>
              </a:defRPr>
            </a:lvl1pPr>
            <a:lvl2pPr marL="224041" indent="0">
              <a:buNone/>
              <a:defRPr sz="1765"/>
            </a:lvl2pPr>
            <a:lvl3pPr marL="448081" indent="0">
              <a:buNone/>
              <a:defRPr sz="1765"/>
            </a:lvl3pPr>
            <a:lvl4pPr marL="672123" indent="0">
              <a:buNone/>
              <a:defRPr sz="1765"/>
            </a:lvl4pPr>
            <a:lvl5pPr marL="896163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955061592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29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877" y="1882334"/>
            <a:ext cx="11303525" cy="307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41" indent="0">
              <a:buNone/>
              <a:defRPr/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3151389"/>
            <a:ext cx="11303525" cy="46166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372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Medium: paragraph title Segoe UI bold 14/18</a:t>
            </a:r>
          </a:p>
          <a:p>
            <a:pPr lvl="1"/>
            <a:r>
              <a:rPr lang="en-US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877" y="4390304"/>
            <a:ext cx="11303525" cy="307777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0">
                <a:solidFill>
                  <a:schemeClr val="tx1"/>
                </a:solidFill>
              </a:defRPr>
            </a:lvl1pPr>
            <a:lvl2pPr marL="0" indent="0">
              <a:lnSpc>
                <a:spcPts val="1176"/>
              </a:lnSpc>
              <a:spcBef>
                <a:spcPts val="0"/>
              </a:spcBef>
              <a:buNone/>
              <a:defRPr sz="980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Small: caption title Segoe </a:t>
            </a:r>
            <a:r>
              <a:rPr lang="en-US" err="1"/>
              <a:t>Semibold</a:t>
            </a:r>
            <a:r>
              <a:rPr lang="en-US"/>
              <a:t> 10/12</a:t>
            </a:r>
          </a:p>
          <a:p>
            <a:pPr lvl="1"/>
            <a:r>
              <a:rPr lang="en-US"/>
              <a:t>Caption Segoe Regular 10/12</a:t>
            </a:r>
          </a:p>
        </p:txBody>
      </p:sp>
    </p:spTree>
    <p:extLst>
      <p:ext uri="{BB962C8B-B14F-4D97-AF65-F5344CB8AC3E}">
        <p14:creationId xmlns:p14="http://schemas.microsoft.com/office/powerpoint/2010/main" val="1377953995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29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877" y="1882334"/>
            <a:ext cx="11303525" cy="307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rgbClr val="0078D7"/>
                </a:solidFill>
                <a:latin typeface="+mn-lt"/>
              </a:defRPr>
            </a:lvl1pPr>
            <a:lvl2pPr marL="224041" indent="0">
              <a:buNone/>
              <a:defRPr/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3151389"/>
            <a:ext cx="11303525" cy="46166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372" b="1">
                <a:solidFill>
                  <a:srgbClr val="0078D7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rgbClr val="0078D7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Medium: paragraph title Segoe UI bold 14/18</a:t>
            </a:r>
          </a:p>
          <a:p>
            <a:pPr lvl="1"/>
            <a:r>
              <a:rPr lang="en-US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877" y="4390304"/>
            <a:ext cx="11303525" cy="307777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0">
                <a:solidFill>
                  <a:srgbClr val="0078D7"/>
                </a:solidFill>
              </a:defRPr>
            </a:lvl1pPr>
            <a:lvl2pPr marL="0" indent="0">
              <a:lnSpc>
                <a:spcPts val="1176"/>
              </a:lnSpc>
              <a:spcBef>
                <a:spcPts val="0"/>
              </a:spcBef>
              <a:buNone/>
              <a:defRPr sz="980">
                <a:solidFill>
                  <a:srgbClr val="0078D7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Small: caption title Segoe </a:t>
            </a:r>
            <a:r>
              <a:rPr lang="en-US" err="1"/>
              <a:t>Semibold</a:t>
            </a:r>
            <a:r>
              <a:rPr lang="en-US"/>
              <a:t> 10/12</a:t>
            </a:r>
          </a:p>
          <a:p>
            <a:pPr lvl="1"/>
            <a:r>
              <a:rPr lang="en-US"/>
              <a:t>Caption Segoe Regular 10/12</a:t>
            </a:r>
          </a:p>
        </p:txBody>
      </p:sp>
    </p:spTree>
    <p:extLst>
      <p:ext uri="{BB962C8B-B14F-4D97-AF65-F5344CB8AC3E}">
        <p14:creationId xmlns:p14="http://schemas.microsoft.com/office/powerpoint/2010/main" val="958573383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80D31B-2B20-4874-8B1C-902BE2413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Layout 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63D79-AA92-49FE-9118-B98B8058DB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881" y="1882336"/>
            <a:ext cx="4756972" cy="60353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06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19588" indent="0">
              <a:buNone/>
              <a:defRPr/>
            </a:lvl2pPr>
            <a:lvl3pPr marL="439173" indent="0">
              <a:buNone/>
              <a:defRPr/>
            </a:lvl3pPr>
            <a:lvl4pPr marL="658762" indent="0">
              <a:buNone/>
              <a:defRPr/>
            </a:lvl4pPr>
            <a:lvl5pPr marL="878350" indent="0">
              <a:buNone/>
              <a:defRPr/>
            </a:lvl5pPr>
          </a:lstStyle>
          <a:p>
            <a:pPr lvl="0"/>
            <a:r>
              <a:rPr lang="pt-BR"/>
              <a:t>Subhead Segoe UI Regular 20/24. Em volor resequaectur.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57ACBF-D392-4AD8-A543-C0910049C1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876" y="2707601"/>
            <a:ext cx="4756972" cy="2435967"/>
          </a:xfrm>
        </p:spPr>
        <p:txBody>
          <a:bodyPr lIns="0" tIns="0" rIns="0" bIns="0"/>
          <a:lstStyle>
            <a:lvl1pPr marL="274486" indent="-274486">
              <a:lnSpc>
                <a:spcPts val="1729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29"/>
              </a:lnSpc>
              <a:spcBef>
                <a:spcPts val="0"/>
              </a:spcBef>
              <a:buNone/>
              <a:defRPr sz="1345">
                <a:solidFill>
                  <a:schemeClr val="tx1"/>
                </a:solidFill>
              </a:defRPr>
            </a:lvl2pPr>
            <a:lvl3pPr marL="439173" indent="0">
              <a:buNone/>
              <a:defRPr/>
            </a:lvl3pPr>
            <a:lvl4pPr marL="658762" indent="0">
              <a:buNone/>
              <a:defRPr/>
            </a:lvl4pPr>
            <a:lvl5pPr marL="878350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18EFC69-569C-4EC4-8231-DA719AB416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19319" y="0"/>
            <a:ext cx="4969506" cy="68580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01958924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AB4471-54D3-4513-BB5A-6BDAC7CD1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0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 algn="r">
              <a:lnSpc>
                <a:spcPts val="3074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Layout 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69759D-E920-4571-B475-BB47E855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09279" y="1882336"/>
            <a:ext cx="4756972" cy="60353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06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19588" indent="0">
              <a:buNone/>
              <a:defRPr/>
            </a:lvl2pPr>
            <a:lvl3pPr marL="439173" indent="0">
              <a:buNone/>
              <a:defRPr/>
            </a:lvl3pPr>
            <a:lvl4pPr marL="658762" indent="0">
              <a:buNone/>
              <a:defRPr/>
            </a:lvl4pPr>
            <a:lvl5pPr marL="878350" indent="0">
              <a:buNone/>
              <a:defRPr/>
            </a:lvl5pPr>
          </a:lstStyle>
          <a:p>
            <a:pPr lvl="0"/>
            <a:r>
              <a:rPr lang="pt-BR"/>
              <a:t>Subhead Segoe UI Regular 20/24. Em volor resequaectur.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F125AF-C4E4-4331-8BF9-48345A7641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9275" y="2707601"/>
            <a:ext cx="4756972" cy="2435967"/>
          </a:xfrm>
        </p:spPr>
        <p:txBody>
          <a:bodyPr lIns="0" tIns="0" rIns="0" bIns="0"/>
          <a:lstStyle>
            <a:lvl1pPr marL="274486" indent="-274486">
              <a:lnSpc>
                <a:spcPts val="1729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29"/>
              </a:lnSpc>
              <a:spcBef>
                <a:spcPts val="0"/>
              </a:spcBef>
              <a:buNone/>
              <a:defRPr sz="1345">
                <a:solidFill>
                  <a:schemeClr val="tx1"/>
                </a:solidFill>
              </a:defRPr>
            </a:lvl2pPr>
            <a:lvl3pPr marL="439173" indent="0">
              <a:buNone/>
              <a:defRPr/>
            </a:lvl3pPr>
            <a:lvl4pPr marL="658762" indent="0">
              <a:buNone/>
              <a:defRPr/>
            </a:lvl4pPr>
            <a:lvl5pPr marL="878350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5443A1-2CF4-4DFD-839B-7AC8DBDBA1A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675443" cy="116185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01952359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80D31B-2B20-4874-8B1C-902BE2413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chemeClr val="accent1"/>
                </a:solidFill>
              </a:defRPr>
            </a:lvl1pPr>
          </a:lstStyle>
          <a:p>
            <a:r>
              <a:rPr lang="en-US"/>
              <a:t>Device Layout 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63D79-AA92-49FE-9118-B98B8058DB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881" y="1882336"/>
            <a:ext cx="4756972" cy="60353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06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19588" indent="0">
              <a:buNone/>
              <a:defRPr/>
            </a:lvl2pPr>
            <a:lvl3pPr marL="439173" indent="0">
              <a:buNone/>
              <a:defRPr/>
            </a:lvl3pPr>
            <a:lvl4pPr marL="658762" indent="0">
              <a:buNone/>
              <a:defRPr/>
            </a:lvl4pPr>
            <a:lvl5pPr marL="878350" indent="0">
              <a:buNone/>
              <a:defRPr/>
            </a:lvl5pPr>
          </a:lstStyle>
          <a:p>
            <a:pPr lvl="0"/>
            <a:r>
              <a:rPr lang="pt-BR"/>
              <a:t>Subhead Segoe UI Regular 20/24. Em volor resequaectur.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57ACBF-D392-4AD8-A543-C0910049C1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876" y="2707601"/>
            <a:ext cx="4756972" cy="2435967"/>
          </a:xfrm>
        </p:spPr>
        <p:txBody>
          <a:bodyPr lIns="0" tIns="0" rIns="0" bIns="0"/>
          <a:lstStyle>
            <a:lvl1pPr marL="274486" indent="-274486">
              <a:lnSpc>
                <a:spcPts val="1729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29"/>
              </a:lnSpc>
              <a:spcBef>
                <a:spcPts val="0"/>
              </a:spcBef>
              <a:buNone/>
              <a:defRPr sz="1345">
                <a:solidFill>
                  <a:schemeClr val="tx1"/>
                </a:solidFill>
              </a:defRPr>
            </a:lvl2pPr>
            <a:lvl3pPr marL="439173" indent="0">
              <a:buNone/>
              <a:defRPr/>
            </a:lvl3pPr>
            <a:lvl4pPr marL="658762" indent="0">
              <a:buNone/>
              <a:defRPr/>
            </a:lvl4pPr>
            <a:lvl5pPr marL="878350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16819329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80D31B-2B20-4874-8B1C-902BE2413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chemeClr val="accent1"/>
                </a:solidFill>
              </a:defRPr>
            </a:lvl1pPr>
          </a:lstStyle>
          <a:p>
            <a:r>
              <a:rPr lang="en-US"/>
              <a:t>Device Layout 2: Two column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6A0E5CA-B961-476F-BAC5-E1F9AB9976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878" y="1957474"/>
            <a:ext cx="1692806" cy="280346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 b="1">
                <a:solidFill>
                  <a:schemeClr val="accent1"/>
                </a:solidFill>
                <a:latin typeface="+mn-lt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1AA0DDE-3810-4EC0-9432-1409605098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7711" y="1957473"/>
            <a:ext cx="1692806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080985416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 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80D31B-2B20-4874-8B1C-902BE2413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chemeClr val="bg2"/>
                </a:solidFill>
              </a:defRPr>
            </a:lvl1pPr>
          </a:lstStyle>
          <a:p>
            <a:r>
              <a:rPr lang="en-US"/>
              <a:t>Device Layout 3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63D79-AA92-49FE-9118-B98B8058DB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881" y="1882336"/>
            <a:ext cx="4756972" cy="60353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06"/>
              </a:lnSpc>
              <a:buNone/>
              <a:defRPr sz="1961" b="0" i="0">
                <a:solidFill>
                  <a:schemeClr val="bg2"/>
                </a:solidFill>
                <a:latin typeface="+mn-lt"/>
              </a:defRPr>
            </a:lvl1pPr>
            <a:lvl2pPr marL="219588" indent="0">
              <a:buNone/>
              <a:defRPr/>
            </a:lvl2pPr>
            <a:lvl3pPr marL="439173" indent="0">
              <a:buNone/>
              <a:defRPr/>
            </a:lvl3pPr>
            <a:lvl4pPr marL="658762" indent="0">
              <a:buNone/>
              <a:defRPr/>
            </a:lvl4pPr>
            <a:lvl5pPr marL="878350" indent="0">
              <a:buNone/>
              <a:defRPr/>
            </a:lvl5pPr>
          </a:lstStyle>
          <a:p>
            <a:pPr lvl="0"/>
            <a:r>
              <a:rPr lang="pt-BR"/>
              <a:t>Subhead Segoe UI Regular 20/24. Em volor resequaectur.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57ACBF-D392-4AD8-A543-C0910049C1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876" y="2707601"/>
            <a:ext cx="4756972" cy="2435967"/>
          </a:xfrm>
        </p:spPr>
        <p:txBody>
          <a:bodyPr lIns="0" tIns="0" rIns="0" bIns="0"/>
          <a:lstStyle>
            <a:lvl1pPr marL="274486" indent="-274486">
              <a:lnSpc>
                <a:spcPts val="1729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0" b="0" i="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ts val="1729"/>
              </a:lnSpc>
              <a:spcBef>
                <a:spcPts val="0"/>
              </a:spcBef>
              <a:buNone/>
              <a:defRPr sz="1345">
                <a:solidFill>
                  <a:schemeClr val="tx1"/>
                </a:solidFill>
              </a:defRPr>
            </a:lvl2pPr>
            <a:lvl3pPr marL="439173" indent="0">
              <a:buNone/>
              <a:defRPr/>
            </a:lvl3pPr>
            <a:lvl4pPr marL="658762" indent="0">
              <a:buNone/>
              <a:defRPr/>
            </a:lvl4pPr>
            <a:lvl5pPr marL="878350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6250964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2110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636739" y="6322226"/>
            <a:ext cx="462118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576" y="320842"/>
            <a:ext cx="11304239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/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4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80D31B-2B20-4874-8B1C-902BE2413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  <a:noFill/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chemeClr val="bg2"/>
                </a:solidFill>
              </a:defRPr>
            </a:lvl1pPr>
          </a:lstStyle>
          <a:p>
            <a:r>
              <a:rPr lang="en-US"/>
              <a:t>Device Layout 4: Two column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58E315B-43AC-43B7-8F8F-806190F5F0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878" y="1957474"/>
            <a:ext cx="1692806" cy="280346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 b="1">
                <a:solidFill>
                  <a:schemeClr val="bg2"/>
                </a:solidFill>
                <a:latin typeface="+mn-lt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bg2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B425DBB-30E0-4380-A778-15B52A2A9A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7711" y="1957473"/>
            <a:ext cx="1692806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bg2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90618930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80D31B-2B20-4874-8B1C-902BE2413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chemeClr val="accent1"/>
                </a:solidFill>
              </a:defRPr>
            </a:lvl1pPr>
          </a:lstStyle>
          <a:p>
            <a:r>
              <a:rPr lang="en-US"/>
              <a:t>Device Layout 5</a:t>
            </a:r>
          </a:p>
        </p:txBody>
      </p:sp>
    </p:spTree>
    <p:extLst>
      <p:ext uri="{BB962C8B-B14F-4D97-AF65-F5344CB8AC3E}">
        <p14:creationId xmlns:p14="http://schemas.microsoft.com/office/powerpoint/2010/main" val="2404721719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vice Layout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80D31B-2B20-4874-8B1C-902BE2413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chemeClr val="bg2"/>
                </a:solidFill>
              </a:defRPr>
            </a:lvl1pPr>
          </a:lstStyle>
          <a:p>
            <a:r>
              <a:rPr lang="en-US"/>
              <a:t>Device Layout 6</a:t>
            </a:r>
          </a:p>
        </p:txBody>
      </p:sp>
    </p:spTree>
    <p:extLst>
      <p:ext uri="{BB962C8B-B14F-4D97-AF65-F5344CB8AC3E}">
        <p14:creationId xmlns:p14="http://schemas.microsoft.com/office/powerpoint/2010/main" val="1082144243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80D31B-2B20-4874-8B1C-902BE2413E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Paragraph Layout 1: two columns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5AB0862-A985-4678-B916-65E6520BB6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878" y="1966313"/>
            <a:ext cx="5540515" cy="3847207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rgbClr val="00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EA242EE-C0BC-480C-90F3-98A412FE51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28221" y="1956352"/>
            <a:ext cx="5540515" cy="3847207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rgbClr val="00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</p:spTree>
    <p:extLst>
      <p:ext uri="{BB962C8B-B14F-4D97-AF65-F5344CB8AC3E}">
        <p14:creationId xmlns:p14="http://schemas.microsoft.com/office/powerpoint/2010/main" val="437930439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6184F4-B6AF-4CC5-BC48-DAC3B1BF6C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5876" y="1882331"/>
            <a:ext cx="7452703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41" indent="0">
              <a:buNone/>
              <a:defRPr/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Subhead Segoe UI Regular 20/24. Dis </a:t>
            </a:r>
            <a:r>
              <a:rPr lang="en-US" err="1"/>
              <a:t>apid</a:t>
            </a:r>
            <a:r>
              <a:rPr lang="en-US"/>
              <a:t> </a:t>
            </a:r>
            <a:r>
              <a:rPr lang="en-US" err="1"/>
              <a:t>es</a:t>
            </a:r>
            <a:r>
              <a:rPr lang="en-US"/>
              <a:t>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vit</a:t>
            </a:r>
            <a:r>
              <a:rPr lang="en-US"/>
              <a:t>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r>
              <a:rPr lang="en-US"/>
              <a:t>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E55D5B5-DF62-4483-B849-891A53370C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3151390"/>
            <a:ext cx="3617439" cy="269304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 b="1">
                <a:solidFill>
                  <a:schemeClr val="accent1"/>
                </a:solidFill>
                <a:latin typeface="+mn-lt"/>
              </a:defRPr>
            </a:lvl1pPr>
            <a:lvl2pPr marL="280051" marR="0" indent="-280051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0051" marR="0" lvl="1" indent="-280051" algn="l" defTabSz="914138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77A1B57-9E8A-4C14-B430-DA17856CFB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988" y="3160782"/>
            <a:ext cx="3596591" cy="2693045"/>
          </a:xfrm>
        </p:spPr>
        <p:txBody>
          <a:bodyPr lIns="0" tIns="0" rIns="0" bIns="0"/>
          <a:lstStyle>
            <a:lvl1pPr marL="0" marR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0051" marR="0" indent="-280051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0051" marR="0" lvl="1" indent="-280051" algn="l" defTabSz="914138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50020D-E59B-4D94-9ECF-A8DE2A1464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38227" y="3151390"/>
            <a:ext cx="3621174" cy="269304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0051" marR="0" indent="-280051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0051" marR="0" lvl="1" indent="-280051" algn="l" defTabSz="914138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9A264C1-3BEC-409F-B336-BEEFB87CAE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Paragraph Layout 2: three column bulleted list </a:t>
            </a:r>
          </a:p>
        </p:txBody>
      </p:sp>
    </p:spTree>
    <p:extLst>
      <p:ext uri="{BB962C8B-B14F-4D97-AF65-F5344CB8AC3E}">
        <p14:creationId xmlns:p14="http://schemas.microsoft.com/office/powerpoint/2010/main" val="1447383062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49A264C1-3BEC-409F-B336-BEEFB87CAE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Paragraph Layout 3: six column </a:t>
            </a:r>
          </a:p>
        </p:txBody>
      </p:sp>
      <p:sp>
        <p:nvSpPr>
          <p:cNvPr id="7" name="Content Placeholder 15">
            <a:extLst>
              <a:ext uri="{FF2B5EF4-FFF2-40B4-BE49-F238E27FC236}">
                <a16:creationId xmlns:a16="http://schemas.microsoft.com/office/drawing/2014/main" id="{C004169C-FE9C-41CF-8C90-1F4385864062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5878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322589-6D51-44E1-85CB-CA83709B8F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878" y="3167817"/>
            <a:ext cx="1692806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1FBF3CD-E190-4951-96AD-3A255298EC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7711" y="3167819"/>
            <a:ext cx="1692806" cy="2803460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B8E4E097-17FB-4DBE-9710-0426CA60A2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9543" y="3167817"/>
            <a:ext cx="1692806" cy="2821285"/>
          </a:xfrm>
        </p:spPr>
        <p:txBody>
          <a:bodyPr lIns="0" tIns="0" rIns="0" bIns="0"/>
          <a:lstStyle>
            <a:lvl1pPr marL="0" marR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F99D9E5-9B16-48AA-8EE9-22BAAA6A8B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1376" y="3167817"/>
            <a:ext cx="1692806" cy="2821285"/>
          </a:xfrm>
        </p:spPr>
        <p:txBody>
          <a:bodyPr lIns="0" tIns="0" rIns="0" bIns="0"/>
          <a:lstStyle>
            <a:lvl1pPr marL="0" marR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F8FC5F9-48E5-4BB7-9D85-7D96F0D197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3209" y="3167817"/>
            <a:ext cx="1692806" cy="2821285"/>
          </a:xfrm>
        </p:spPr>
        <p:txBody>
          <a:bodyPr lIns="0" tIns="0" rIns="0" bIns="0"/>
          <a:lstStyle>
            <a:lvl1pPr marL="0" marR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FF7E122-7978-4B0B-9E72-000B45F773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65040" y="3167817"/>
            <a:ext cx="1692806" cy="2821285"/>
          </a:xfrm>
        </p:spPr>
        <p:txBody>
          <a:bodyPr lIns="0" tIns="0" rIns="0" bIns="0"/>
          <a:lstStyle>
            <a:lvl1pPr marL="0" marR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9" name="Content Placeholder 15">
            <a:extLst>
              <a:ext uri="{FF2B5EF4-FFF2-40B4-BE49-F238E27FC236}">
                <a16:creationId xmlns:a16="http://schemas.microsoft.com/office/drawing/2014/main" id="{979291C9-ED71-44C6-982C-C0C32F5BF5F5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377711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0" name="Content Placeholder 15">
            <a:extLst>
              <a:ext uri="{FF2B5EF4-FFF2-40B4-BE49-F238E27FC236}">
                <a16:creationId xmlns:a16="http://schemas.microsoft.com/office/drawing/2014/main" id="{068E7B92-4A52-40B7-AF72-84185DB40378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299543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1" name="Content Placeholder 15">
            <a:extLst>
              <a:ext uri="{FF2B5EF4-FFF2-40B4-BE49-F238E27FC236}">
                <a16:creationId xmlns:a16="http://schemas.microsoft.com/office/drawing/2014/main" id="{440444DD-F7B0-442D-B5D9-8DE50A522231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21376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2" name="Content Placeholder 15">
            <a:extLst>
              <a:ext uri="{FF2B5EF4-FFF2-40B4-BE49-F238E27FC236}">
                <a16:creationId xmlns:a16="http://schemas.microsoft.com/office/drawing/2014/main" id="{CF0C06BA-A297-47AE-B2AE-A88B9FFCDF25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143209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6C99EB99-F265-4591-B5E7-EB8ECEE75424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10065040" y="2136155"/>
            <a:ext cx="1692806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907895614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49A264C1-3BEC-409F-B336-BEEFB87CAE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881" y="620433"/>
            <a:ext cx="11303525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Title </a:t>
            </a:r>
          </a:p>
        </p:txBody>
      </p:sp>
    </p:spTree>
    <p:extLst>
      <p:ext uri="{BB962C8B-B14F-4D97-AF65-F5344CB8AC3E}">
        <p14:creationId xmlns:p14="http://schemas.microsoft.com/office/powerpoint/2010/main" val="961053276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29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Photo Layout 1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4927923"/>
            <a:ext cx="3617439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rgbClr val="00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98920" y="4927923"/>
            <a:ext cx="3617439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rgbClr val="00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1963" y="4927923"/>
            <a:ext cx="3617439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rgbClr val="00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marL="0" marR="0" lvl="0" indent="0" algn="l" defTabSz="914138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BE01C0E-0479-4C93-AAC0-C2F5F90B363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5877" y="1600096"/>
            <a:ext cx="3617439" cy="116185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8BA60483-81D0-4D88-89E0-E8344765803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02809" y="1600096"/>
            <a:ext cx="3617439" cy="1161857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2009B689-E711-46E6-8310-D69228E55A9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135322" y="1600098"/>
            <a:ext cx="3617439" cy="1161857"/>
          </a:xfrm>
          <a:blipFill>
            <a:blip r:embed="rId4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84598094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81B4D1CC-F73F-4B8C-9E62-D678FBA17BE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84830" y="2134915"/>
            <a:ext cx="2679239" cy="51052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353">
                <a:solidFill>
                  <a:schemeClr val="bg2"/>
                </a:solidFill>
              </a:defRPr>
            </a:lvl1pPr>
          </a:lstStyle>
          <a:p>
            <a:r>
              <a:rPr lang="en-US"/>
              <a:t>Image her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13DE2DEB-C371-4575-BB41-68D8DFD82CC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09551" y="2134915"/>
            <a:ext cx="2679239" cy="51052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353">
                <a:solidFill>
                  <a:schemeClr val="bg2"/>
                </a:solidFill>
              </a:defRPr>
            </a:lvl1pPr>
          </a:lstStyle>
          <a:p>
            <a:r>
              <a:rPr lang="en-US"/>
              <a:t>Image here</a:t>
            </a:r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0B4B30D7-0DB3-48BD-B5DB-30F5302677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4270" y="2119972"/>
            <a:ext cx="2679239" cy="51052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353">
                <a:solidFill>
                  <a:schemeClr val="bg2"/>
                </a:solidFill>
              </a:defRPr>
            </a:lvl1pPr>
          </a:lstStyle>
          <a:p>
            <a:r>
              <a:rPr lang="en-US"/>
              <a:t>Image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B68C5FC-6986-43E4-A4A6-DE6F0A5E7A9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5878" y="2126199"/>
            <a:ext cx="2679239" cy="51052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353">
                <a:solidFill>
                  <a:schemeClr val="bg2"/>
                </a:solidFill>
              </a:defRPr>
            </a:lvl1pPr>
          </a:lstStyle>
          <a:p>
            <a:r>
              <a:rPr lang="en-US"/>
              <a:t>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29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Photo Layout 2:  Four column images</a:t>
            </a:r>
          </a:p>
        </p:txBody>
      </p:sp>
    </p:spTree>
    <p:extLst>
      <p:ext uri="{BB962C8B-B14F-4D97-AF65-F5344CB8AC3E}">
        <p14:creationId xmlns:p14="http://schemas.microsoft.com/office/powerpoint/2010/main" val="3740999408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487D1D84-FFFF-42B2-9DF3-1E78CD0F8E0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41963" y="2132424"/>
            <a:ext cx="3617439" cy="510524"/>
          </a:xfrm>
          <a:solidFill>
            <a:srgbClr val="0078D7"/>
          </a:solidFill>
        </p:spPr>
        <p:txBody>
          <a:bodyPr/>
          <a:lstStyle>
            <a:lvl1pPr marL="0" indent="0">
              <a:buFontTx/>
              <a:buNone/>
              <a:defRPr sz="2353">
                <a:solidFill>
                  <a:schemeClr val="bg2"/>
                </a:solidFill>
              </a:defRPr>
            </a:lvl1pPr>
          </a:lstStyle>
          <a:p>
            <a:r>
              <a:rPr lang="en-US"/>
              <a:t>Image he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22071988-9D36-4380-BB9E-A0B7CD25C8C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14479" y="2138651"/>
            <a:ext cx="3617439" cy="510524"/>
          </a:xfrm>
          <a:solidFill>
            <a:srgbClr val="0078D7"/>
          </a:solidFill>
        </p:spPr>
        <p:txBody>
          <a:bodyPr/>
          <a:lstStyle>
            <a:lvl1pPr marL="0" indent="0">
              <a:buFontTx/>
              <a:buNone/>
              <a:defRPr sz="2353">
                <a:solidFill>
                  <a:schemeClr val="bg2"/>
                </a:solidFill>
              </a:defRPr>
            </a:lvl1pPr>
          </a:lstStyle>
          <a:p>
            <a:r>
              <a:rPr lang="en-US"/>
              <a:t>Image he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FD9BAAC0-2E8A-400D-AF8E-CA07F0D80FC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877" y="2126199"/>
            <a:ext cx="3617439" cy="510524"/>
          </a:xfrm>
          <a:solidFill>
            <a:srgbClr val="0078D7"/>
          </a:solidFill>
        </p:spPr>
        <p:txBody>
          <a:bodyPr/>
          <a:lstStyle>
            <a:lvl1pPr marL="0" indent="0">
              <a:buFontTx/>
              <a:buNone/>
              <a:defRPr sz="2353">
                <a:solidFill>
                  <a:schemeClr val="bg2"/>
                </a:solidFill>
              </a:defRPr>
            </a:lvl1pPr>
          </a:lstStyle>
          <a:p>
            <a:r>
              <a:rPr lang="en-US"/>
              <a:t>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29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Photo Layout 3: photos with conten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8D5EDAB-5079-4A4A-B54E-3062311D93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4927923"/>
            <a:ext cx="3617439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 b="1">
                <a:solidFill>
                  <a:srgbClr val="0078D7"/>
                </a:solidFill>
                <a:latin typeface="+mn-lt"/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3F22380-A904-40BF-9F32-6A5D572BDC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98920" y="4927923"/>
            <a:ext cx="3617439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>
                <a:solidFill>
                  <a:srgbClr val="0078D7"/>
                </a:solidFill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13FEFAF-546C-4719-9EAD-F4E41DDFCD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41963" y="4927923"/>
            <a:ext cx="3617439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>
                <a:solidFill>
                  <a:srgbClr val="0078D7"/>
                </a:solidFill>
              </a:defRPr>
            </a:lvl1pPr>
            <a:lvl2pPr marL="0" marR="0" indent="0" algn="l" defTabSz="914138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6051617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241" y="1602317"/>
            <a:ext cx="11033585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E2044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964610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749887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4176915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55876" y="881922"/>
            <a:ext cx="7452701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3" spc="-147" dirty="0">
                <a:solidFill>
                  <a:srgbClr val="0078D7"/>
                </a:solidFill>
              </a:defRPr>
            </a:lvl1pPr>
          </a:lstStyle>
          <a:p>
            <a:pPr marL="0" lvl="0">
              <a:lnSpc>
                <a:spcPts val="5489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7025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876" y="881922"/>
            <a:ext cx="7452701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3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89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48019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876" y="881922"/>
            <a:ext cx="7452701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3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89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15925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6B4E325-5ED2-42F5-96CB-5DB36511F3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8529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6" y="881923"/>
            <a:ext cx="7452703" cy="2649187"/>
          </a:xfrm>
          <a:noFill/>
        </p:spPr>
        <p:txBody>
          <a:bodyPr wrap="square" lIns="0" tIns="0" rIns="0" bIns="0" anchor="t" anchorCtr="0">
            <a:noAutofit/>
          </a:bodyPr>
          <a:lstStyle>
            <a:lvl1pPr>
              <a:lnSpc>
                <a:spcPts val="5489"/>
              </a:lnSpc>
              <a:defRPr sz="5293" spc="-14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91658764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5A44E56-331F-4541-8470-267A634FA4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6" y="881923"/>
            <a:ext cx="7452703" cy="2649187"/>
          </a:xfrm>
          <a:noFill/>
        </p:spPr>
        <p:txBody>
          <a:bodyPr wrap="square" lIns="0" tIns="0" rIns="0" bIns="0" anchor="t" anchorCtr="0">
            <a:noAutofit/>
          </a:bodyPr>
          <a:lstStyle>
            <a:lvl1pPr>
              <a:lnSpc>
                <a:spcPts val="5489"/>
              </a:lnSpc>
              <a:defRPr sz="5293" spc="-147" baseline="0">
                <a:solidFill>
                  <a:srgbClr val="0078D7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50072720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55878" y="2126200"/>
            <a:ext cx="3617435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29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Chart examp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5661041"/>
            <a:ext cx="3617439" cy="153888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None/>
              <a:defRPr sz="980">
                <a:solidFill>
                  <a:schemeClr val="tx1"/>
                </a:solidFill>
              </a:defRPr>
            </a:lvl1pPr>
            <a:lvl2pPr marL="0" marR="0" indent="0" algn="l" defTabSz="914138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98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5873" y="5815321"/>
            <a:ext cx="3617439" cy="307777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  <a:defRPr sz="980" b="0" i="0">
                <a:solidFill>
                  <a:schemeClr val="tx1"/>
                </a:solidFill>
                <a:latin typeface="+mn-lt"/>
              </a:defRPr>
            </a:lvl1pPr>
            <a:lvl2pPr marL="0" marR="0" indent="0" algn="l" defTabSz="914138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0">
                <a:solidFill>
                  <a:schemeClr val="tx1"/>
                </a:solidFill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2034" y="5661041"/>
            <a:ext cx="3606545" cy="153888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None/>
              <a:defRPr sz="980">
                <a:solidFill>
                  <a:schemeClr val="tx1"/>
                </a:solidFill>
              </a:defRPr>
            </a:lvl1pPr>
            <a:lvl2pPr marL="0" marR="0" indent="0" algn="l" defTabSz="914138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98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2033" y="5815324"/>
            <a:ext cx="3606547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137296" y="5661041"/>
            <a:ext cx="3628336" cy="153888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None/>
              <a:defRPr sz="980">
                <a:solidFill>
                  <a:schemeClr val="tx1"/>
                </a:solidFill>
              </a:defRPr>
            </a:lvl1pPr>
            <a:lvl2pPr marL="0" marR="0" indent="0" algn="l" defTabSz="914138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98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137294" y="5815324"/>
            <a:ext cx="3628334" cy="307777"/>
          </a:xfrm>
        </p:spPr>
        <p:txBody>
          <a:bodyPr vert="horz" wrap="square" lIns="0" tIns="0" rIns="0" bIns="0" rtlCol="0">
            <a:spAutoFit/>
          </a:bodyPr>
          <a:lstStyle>
            <a:lvl1pPr marL="454305" indent="-454305">
              <a:tabLst/>
              <a:defRPr lang="en-US" sz="980" b="0" i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2033" y="2126200"/>
            <a:ext cx="360654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7294" y="2126200"/>
            <a:ext cx="362210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113652414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29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0078D7"/>
                </a:solidFill>
              </a:defRPr>
            </a:lvl1pPr>
          </a:lstStyle>
          <a:p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55877" y="2126198"/>
            <a:ext cx="11303525" cy="67326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4765035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241" y="1602317"/>
            <a:ext cx="11033585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E2044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1837309"/>
            <a:ext cx="8065722" cy="1793104"/>
          </a:xfrm>
          <a:noFill/>
        </p:spPr>
        <p:txBody>
          <a:bodyPr lIns="0" tIns="0" rIns="0" bIns="0" anchor="t" anchorCtr="0"/>
          <a:lstStyle>
            <a:lvl1pPr>
              <a:lnSpc>
                <a:spcPts val="2941"/>
              </a:lnSpc>
              <a:defRPr sz="2745" spc="-147" baseline="0">
                <a:solidFill>
                  <a:srgbClr val="0078D7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B93193-12D7-4248-A45D-50719F04BA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0" y="460562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336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1837309"/>
            <a:ext cx="8065722" cy="1793104"/>
          </a:xfrm>
          <a:noFill/>
        </p:spPr>
        <p:txBody>
          <a:bodyPr lIns="0" tIns="0" rIns="0" bIns="0" anchor="t" anchorCtr="0"/>
          <a:lstStyle>
            <a:lvl1pPr>
              <a:lnSpc>
                <a:spcPts val="2941"/>
              </a:lnSpc>
              <a:defRPr sz="2745" spc="-147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380343-D0BD-45C3-AB3D-5D60A15A1F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0" y="469902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389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1837309"/>
            <a:ext cx="8065722" cy="1793104"/>
          </a:xfrm>
          <a:noFill/>
        </p:spPr>
        <p:txBody>
          <a:bodyPr lIns="0" tIns="0" rIns="0" bIns="0" anchor="t" anchorCtr="0"/>
          <a:lstStyle>
            <a:lvl1pPr>
              <a:lnSpc>
                <a:spcPts val="2941"/>
              </a:lnSpc>
              <a:defRPr sz="2745" spc="-147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380343-D0BD-45C3-AB3D-5D60A15A1F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0" y="469902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297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Logo_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B93193-12D7-4248-A45D-50719F04BA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0" y="460562"/>
            <a:ext cx="1434268" cy="314583"/>
          </a:xfrm>
          <a:prstGeom prst="rect">
            <a:avLst/>
          </a:prstGeom>
        </p:spPr>
      </p:pic>
      <p:sp>
        <p:nvSpPr>
          <p:cNvPr id="5" name="Text Box 3">
            <a:extLst>
              <a:ext uri="{FF2B5EF4-FFF2-40B4-BE49-F238E27FC236}">
                <a16:creationId xmlns:a16="http://schemas.microsoft.com/office/drawing/2014/main" id="{878EFCEA-0C47-4020-9F40-1B35C16718BD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269170" y="6099191"/>
            <a:ext cx="4480957" cy="46752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9" tIns="179239" rIns="179239" bIns="179239" numCol="1" anchor="t" anchorCtr="0" compatLnSpc="1">
            <a:prstTxWarp prst="textNoShape">
              <a:avLst/>
            </a:prstTxWarp>
            <a:spAutoFit/>
          </a:bodyPr>
          <a:lstStyle/>
          <a:p>
            <a:pPr defTabSz="913696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113960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Logo_Slide2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380343-D0BD-45C3-AB3D-5D60A15A1F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0" y="469902"/>
            <a:ext cx="1434268" cy="314583"/>
          </a:xfrm>
          <a:prstGeom prst="rect">
            <a:avLst/>
          </a:prstGeom>
        </p:spPr>
      </p:pic>
      <p:sp>
        <p:nvSpPr>
          <p:cNvPr id="5" name="Text Box 3">
            <a:extLst>
              <a:ext uri="{FF2B5EF4-FFF2-40B4-BE49-F238E27FC236}">
                <a16:creationId xmlns:a16="http://schemas.microsoft.com/office/drawing/2014/main" id="{BB13749C-0CB9-4E92-9E85-E4104E3B0E89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269170" y="6099191"/>
            <a:ext cx="4480957" cy="46752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9" tIns="179239" rIns="179239" bIns="179239" numCol="1" anchor="t" anchorCtr="0" compatLnSpc="1">
            <a:prstTxWarp prst="textNoShape">
              <a:avLst/>
            </a:prstTxWarp>
            <a:spAutoFit/>
          </a:bodyPr>
          <a:lstStyle/>
          <a:p>
            <a:pPr defTabSz="913696" eaLnBrk="0" hangingPunct="0"/>
            <a:r>
              <a:rPr lang="en-US" sz="686">
                <a:solidFill>
                  <a:srgbClr val="FFFFFF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144060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Logo_Slide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380343-D0BD-45C3-AB3D-5D60A15A1F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0" y="469902"/>
            <a:ext cx="1434268" cy="314583"/>
          </a:xfrm>
          <a:prstGeom prst="rect">
            <a:avLst/>
          </a:prstGeom>
        </p:spPr>
      </p:pic>
      <p:sp>
        <p:nvSpPr>
          <p:cNvPr id="5" name="Text Box 3">
            <a:extLst>
              <a:ext uri="{FF2B5EF4-FFF2-40B4-BE49-F238E27FC236}">
                <a16:creationId xmlns:a16="http://schemas.microsoft.com/office/drawing/2014/main" id="{BB13749C-0CB9-4E92-9E85-E4104E3B0E89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269170" y="6099191"/>
            <a:ext cx="4480957" cy="46752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9" tIns="179239" rIns="179239" bIns="179239" numCol="1" anchor="t" anchorCtr="0" compatLnSpc="1">
            <a:prstTxWarp prst="textNoShape">
              <a:avLst/>
            </a:prstTxWarp>
            <a:spAutoFit/>
          </a:bodyPr>
          <a:lstStyle/>
          <a:p>
            <a:pPr defTabSz="913696" eaLnBrk="0" hangingPunct="0"/>
            <a:r>
              <a:rPr lang="en-US" sz="686">
                <a:solidFill>
                  <a:srgbClr val="FFFFFF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42864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4004769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EM biz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505"/>
            <a:ext cx="12188824" cy="685598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9611" y="470411"/>
            <a:ext cx="1680744" cy="358621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386251" y="769332"/>
            <a:ext cx="5306862" cy="5308997"/>
            <a:chOff x="649147" y="520490"/>
            <a:chExt cx="1759090" cy="1759090"/>
          </a:xfrm>
        </p:grpSpPr>
        <p:grpSp>
          <p:nvGrpSpPr>
            <p:cNvPr id="20" name="Group 19"/>
            <p:cNvGrpSpPr/>
            <p:nvPr/>
          </p:nvGrpSpPr>
          <p:grpSpPr>
            <a:xfrm>
              <a:off x="949814" y="982662"/>
              <a:ext cx="1149621" cy="971996"/>
              <a:chOff x="890649" y="982662"/>
              <a:chExt cx="1149621" cy="971996"/>
            </a:xfrm>
          </p:grpSpPr>
          <p:sp>
            <p:nvSpPr>
              <p:cNvPr id="23" name="Rectangle 3"/>
              <p:cNvSpPr/>
              <p:nvPr/>
            </p:nvSpPr>
            <p:spPr bwMode="auto">
              <a:xfrm>
                <a:off x="890649" y="982662"/>
                <a:ext cx="551717" cy="968828"/>
              </a:xfrm>
              <a:custGeom>
                <a:avLst/>
                <a:gdLst>
                  <a:gd name="connsiteX0" fmla="*/ 0 w 1849821"/>
                  <a:gd name="connsiteY0" fmla="*/ 0 h 2280745"/>
                  <a:gd name="connsiteX1" fmla="*/ 1849821 w 1849821"/>
                  <a:gd name="connsiteY1" fmla="*/ 0 h 2280745"/>
                  <a:gd name="connsiteX2" fmla="*/ 1849821 w 1849821"/>
                  <a:gd name="connsiteY2" fmla="*/ 2280745 h 2280745"/>
                  <a:gd name="connsiteX3" fmla="*/ 0 w 1849821"/>
                  <a:gd name="connsiteY3" fmla="*/ 2280745 h 2280745"/>
                  <a:gd name="connsiteX4" fmla="*/ 0 w 1849821"/>
                  <a:gd name="connsiteY4" fmla="*/ 0 h 2280745"/>
                  <a:gd name="connsiteX0" fmla="*/ 0 w 3352800"/>
                  <a:gd name="connsiteY0" fmla="*/ 0 h 5108027"/>
                  <a:gd name="connsiteX1" fmla="*/ 1849821 w 3352800"/>
                  <a:gd name="connsiteY1" fmla="*/ 0 h 5108027"/>
                  <a:gd name="connsiteX2" fmla="*/ 3352800 w 3352800"/>
                  <a:gd name="connsiteY2" fmla="*/ 5108027 h 5108027"/>
                  <a:gd name="connsiteX3" fmla="*/ 0 w 3352800"/>
                  <a:gd name="connsiteY3" fmla="*/ 2280745 h 5108027"/>
                  <a:gd name="connsiteX4" fmla="*/ 0 w 3352800"/>
                  <a:gd name="connsiteY4" fmla="*/ 0 h 5108027"/>
                  <a:gd name="connsiteX0" fmla="*/ 0 w 3352800"/>
                  <a:gd name="connsiteY0" fmla="*/ 1019504 h 6127531"/>
                  <a:gd name="connsiteX1" fmla="*/ 1608083 w 3352800"/>
                  <a:gd name="connsiteY1" fmla="*/ 0 h 6127531"/>
                  <a:gd name="connsiteX2" fmla="*/ 3352800 w 3352800"/>
                  <a:gd name="connsiteY2" fmla="*/ 6127531 h 6127531"/>
                  <a:gd name="connsiteX3" fmla="*/ 0 w 3352800"/>
                  <a:gd name="connsiteY3" fmla="*/ 3300249 h 6127531"/>
                  <a:gd name="connsiteX4" fmla="*/ 0 w 3352800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136634 w 3489434"/>
                  <a:gd name="connsiteY3" fmla="*/ 3300249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89434" h="6127531">
                    <a:moveTo>
                      <a:pt x="0" y="1019504"/>
                    </a:moveTo>
                    <a:lnTo>
                      <a:pt x="1744717" y="0"/>
                    </a:lnTo>
                    <a:lnTo>
                      <a:pt x="3489434" y="6127531"/>
                    </a:lnTo>
                    <a:lnTo>
                      <a:pt x="0" y="3026980"/>
                    </a:lnTo>
                    <a:lnTo>
                      <a:pt x="0" y="1019504"/>
                    </a:lnTo>
                    <a:close/>
                  </a:path>
                </a:pathLst>
              </a:custGeom>
              <a:solidFill>
                <a:srgbClr val="FFFFFF">
                  <a:alpha val="78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7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4" name="Rectangle 3"/>
              <p:cNvSpPr/>
              <p:nvPr/>
            </p:nvSpPr>
            <p:spPr bwMode="auto">
              <a:xfrm flipH="1">
                <a:off x="1491877" y="982662"/>
                <a:ext cx="548393" cy="968828"/>
              </a:xfrm>
              <a:custGeom>
                <a:avLst/>
                <a:gdLst>
                  <a:gd name="connsiteX0" fmla="*/ 0 w 1849821"/>
                  <a:gd name="connsiteY0" fmla="*/ 0 h 2280745"/>
                  <a:gd name="connsiteX1" fmla="*/ 1849821 w 1849821"/>
                  <a:gd name="connsiteY1" fmla="*/ 0 h 2280745"/>
                  <a:gd name="connsiteX2" fmla="*/ 1849821 w 1849821"/>
                  <a:gd name="connsiteY2" fmla="*/ 2280745 h 2280745"/>
                  <a:gd name="connsiteX3" fmla="*/ 0 w 1849821"/>
                  <a:gd name="connsiteY3" fmla="*/ 2280745 h 2280745"/>
                  <a:gd name="connsiteX4" fmla="*/ 0 w 1849821"/>
                  <a:gd name="connsiteY4" fmla="*/ 0 h 2280745"/>
                  <a:gd name="connsiteX0" fmla="*/ 0 w 3352800"/>
                  <a:gd name="connsiteY0" fmla="*/ 0 h 5108027"/>
                  <a:gd name="connsiteX1" fmla="*/ 1849821 w 3352800"/>
                  <a:gd name="connsiteY1" fmla="*/ 0 h 5108027"/>
                  <a:gd name="connsiteX2" fmla="*/ 3352800 w 3352800"/>
                  <a:gd name="connsiteY2" fmla="*/ 5108027 h 5108027"/>
                  <a:gd name="connsiteX3" fmla="*/ 0 w 3352800"/>
                  <a:gd name="connsiteY3" fmla="*/ 2280745 h 5108027"/>
                  <a:gd name="connsiteX4" fmla="*/ 0 w 3352800"/>
                  <a:gd name="connsiteY4" fmla="*/ 0 h 5108027"/>
                  <a:gd name="connsiteX0" fmla="*/ 0 w 3352800"/>
                  <a:gd name="connsiteY0" fmla="*/ 1019504 h 6127531"/>
                  <a:gd name="connsiteX1" fmla="*/ 1608083 w 3352800"/>
                  <a:gd name="connsiteY1" fmla="*/ 0 h 6127531"/>
                  <a:gd name="connsiteX2" fmla="*/ 3352800 w 3352800"/>
                  <a:gd name="connsiteY2" fmla="*/ 6127531 h 6127531"/>
                  <a:gd name="connsiteX3" fmla="*/ 0 w 3352800"/>
                  <a:gd name="connsiteY3" fmla="*/ 3300249 h 6127531"/>
                  <a:gd name="connsiteX4" fmla="*/ 0 w 3352800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136634 w 3489434"/>
                  <a:gd name="connsiteY3" fmla="*/ 3300249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89434" h="6127531">
                    <a:moveTo>
                      <a:pt x="0" y="1019504"/>
                    </a:moveTo>
                    <a:lnTo>
                      <a:pt x="1744717" y="0"/>
                    </a:lnTo>
                    <a:lnTo>
                      <a:pt x="3489434" y="6127531"/>
                    </a:lnTo>
                    <a:lnTo>
                      <a:pt x="0" y="3026980"/>
                    </a:lnTo>
                    <a:lnTo>
                      <a:pt x="0" y="1019504"/>
                    </a:lnTo>
                    <a:close/>
                  </a:path>
                </a:pathLst>
              </a:custGeom>
              <a:solidFill>
                <a:srgbClr val="FFFFFF">
                  <a:alpha val="78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7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5" name="Rectangle 3"/>
              <p:cNvSpPr/>
              <p:nvPr/>
            </p:nvSpPr>
            <p:spPr bwMode="auto">
              <a:xfrm>
                <a:off x="1193080" y="982662"/>
                <a:ext cx="548082" cy="971996"/>
              </a:xfrm>
              <a:custGeom>
                <a:avLst/>
                <a:gdLst>
                  <a:gd name="connsiteX0" fmla="*/ 0 w 1849821"/>
                  <a:gd name="connsiteY0" fmla="*/ 0 h 2280745"/>
                  <a:gd name="connsiteX1" fmla="*/ 1849821 w 1849821"/>
                  <a:gd name="connsiteY1" fmla="*/ 0 h 2280745"/>
                  <a:gd name="connsiteX2" fmla="*/ 1849821 w 1849821"/>
                  <a:gd name="connsiteY2" fmla="*/ 2280745 h 2280745"/>
                  <a:gd name="connsiteX3" fmla="*/ 0 w 1849821"/>
                  <a:gd name="connsiteY3" fmla="*/ 2280745 h 2280745"/>
                  <a:gd name="connsiteX4" fmla="*/ 0 w 1849821"/>
                  <a:gd name="connsiteY4" fmla="*/ 0 h 2280745"/>
                  <a:gd name="connsiteX0" fmla="*/ 0 w 3352800"/>
                  <a:gd name="connsiteY0" fmla="*/ 0 h 5108027"/>
                  <a:gd name="connsiteX1" fmla="*/ 1849821 w 3352800"/>
                  <a:gd name="connsiteY1" fmla="*/ 0 h 5108027"/>
                  <a:gd name="connsiteX2" fmla="*/ 3352800 w 3352800"/>
                  <a:gd name="connsiteY2" fmla="*/ 5108027 h 5108027"/>
                  <a:gd name="connsiteX3" fmla="*/ 0 w 3352800"/>
                  <a:gd name="connsiteY3" fmla="*/ 2280745 h 5108027"/>
                  <a:gd name="connsiteX4" fmla="*/ 0 w 3352800"/>
                  <a:gd name="connsiteY4" fmla="*/ 0 h 5108027"/>
                  <a:gd name="connsiteX0" fmla="*/ 0 w 3352800"/>
                  <a:gd name="connsiteY0" fmla="*/ 1019504 h 6127531"/>
                  <a:gd name="connsiteX1" fmla="*/ 1608083 w 3352800"/>
                  <a:gd name="connsiteY1" fmla="*/ 0 h 6127531"/>
                  <a:gd name="connsiteX2" fmla="*/ 3352800 w 3352800"/>
                  <a:gd name="connsiteY2" fmla="*/ 6127531 h 6127531"/>
                  <a:gd name="connsiteX3" fmla="*/ 0 w 3352800"/>
                  <a:gd name="connsiteY3" fmla="*/ 3300249 h 6127531"/>
                  <a:gd name="connsiteX4" fmla="*/ 0 w 3352800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136634 w 3489434"/>
                  <a:gd name="connsiteY3" fmla="*/ 3300249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  <a:gd name="connsiteX0" fmla="*/ 0 w 3836276"/>
                  <a:gd name="connsiteY0" fmla="*/ 956442 h 6064469"/>
                  <a:gd name="connsiteX1" fmla="*/ 3836276 w 3836276"/>
                  <a:gd name="connsiteY1" fmla="*/ 0 h 6064469"/>
                  <a:gd name="connsiteX2" fmla="*/ 3489434 w 3836276"/>
                  <a:gd name="connsiteY2" fmla="*/ 6064469 h 6064469"/>
                  <a:gd name="connsiteX3" fmla="*/ 0 w 3836276"/>
                  <a:gd name="connsiteY3" fmla="*/ 2963918 h 6064469"/>
                  <a:gd name="connsiteX4" fmla="*/ 0 w 3836276"/>
                  <a:gd name="connsiteY4" fmla="*/ 956442 h 6064469"/>
                  <a:gd name="connsiteX0" fmla="*/ 2175641 w 3836276"/>
                  <a:gd name="connsiteY0" fmla="*/ 1282263 h 6064469"/>
                  <a:gd name="connsiteX1" fmla="*/ 3836276 w 3836276"/>
                  <a:gd name="connsiteY1" fmla="*/ 0 h 6064469"/>
                  <a:gd name="connsiteX2" fmla="*/ 3489434 w 3836276"/>
                  <a:gd name="connsiteY2" fmla="*/ 6064469 h 6064469"/>
                  <a:gd name="connsiteX3" fmla="*/ 0 w 3836276"/>
                  <a:gd name="connsiteY3" fmla="*/ 2963918 h 6064469"/>
                  <a:gd name="connsiteX4" fmla="*/ 2175641 w 3836276"/>
                  <a:gd name="connsiteY4" fmla="*/ 1282263 h 6064469"/>
                  <a:gd name="connsiteX0" fmla="*/ 2123090 w 3836276"/>
                  <a:gd name="connsiteY0" fmla="*/ 1019505 h 6064469"/>
                  <a:gd name="connsiteX1" fmla="*/ 3836276 w 3836276"/>
                  <a:gd name="connsiteY1" fmla="*/ 0 h 6064469"/>
                  <a:gd name="connsiteX2" fmla="*/ 3489434 w 3836276"/>
                  <a:gd name="connsiteY2" fmla="*/ 6064469 h 6064469"/>
                  <a:gd name="connsiteX3" fmla="*/ 0 w 3836276"/>
                  <a:gd name="connsiteY3" fmla="*/ 2963918 h 6064469"/>
                  <a:gd name="connsiteX4" fmla="*/ 2123090 w 3836276"/>
                  <a:gd name="connsiteY4" fmla="*/ 1019505 h 6064469"/>
                  <a:gd name="connsiteX0" fmla="*/ 1734208 w 3447394"/>
                  <a:gd name="connsiteY0" fmla="*/ 1019505 h 6064469"/>
                  <a:gd name="connsiteX1" fmla="*/ 3447394 w 3447394"/>
                  <a:gd name="connsiteY1" fmla="*/ 0 h 6064469"/>
                  <a:gd name="connsiteX2" fmla="*/ 3100552 w 3447394"/>
                  <a:gd name="connsiteY2" fmla="*/ 6064469 h 6064469"/>
                  <a:gd name="connsiteX3" fmla="*/ 0 w 3447394"/>
                  <a:gd name="connsiteY3" fmla="*/ 31531 h 6064469"/>
                  <a:gd name="connsiteX4" fmla="*/ 1734208 w 3447394"/>
                  <a:gd name="connsiteY4" fmla="*/ 1019505 h 6064469"/>
                  <a:gd name="connsiteX0" fmla="*/ 1734208 w 3447394"/>
                  <a:gd name="connsiteY0" fmla="*/ 1019505 h 4309242"/>
                  <a:gd name="connsiteX1" fmla="*/ 3447394 w 3447394"/>
                  <a:gd name="connsiteY1" fmla="*/ 0 h 4309242"/>
                  <a:gd name="connsiteX2" fmla="*/ 1923393 w 3447394"/>
                  <a:gd name="connsiteY2" fmla="*/ 4309242 h 4309242"/>
                  <a:gd name="connsiteX3" fmla="*/ 0 w 3447394"/>
                  <a:gd name="connsiteY3" fmla="*/ 31531 h 4309242"/>
                  <a:gd name="connsiteX4" fmla="*/ 1734208 w 3447394"/>
                  <a:gd name="connsiteY4" fmla="*/ 1019505 h 4309242"/>
                  <a:gd name="connsiteX0" fmla="*/ 1734208 w 3447394"/>
                  <a:gd name="connsiteY0" fmla="*/ 1019505 h 6157092"/>
                  <a:gd name="connsiteX1" fmla="*/ 3447394 w 3447394"/>
                  <a:gd name="connsiteY1" fmla="*/ 0 h 6157092"/>
                  <a:gd name="connsiteX2" fmla="*/ 1732893 w 3447394"/>
                  <a:gd name="connsiteY2" fmla="*/ 6157092 h 6157092"/>
                  <a:gd name="connsiteX3" fmla="*/ 0 w 3447394"/>
                  <a:gd name="connsiteY3" fmla="*/ 31531 h 6157092"/>
                  <a:gd name="connsiteX4" fmla="*/ 1734208 w 3447394"/>
                  <a:gd name="connsiteY4" fmla="*/ 1019505 h 6157092"/>
                  <a:gd name="connsiteX0" fmla="*/ 1734208 w 3447394"/>
                  <a:gd name="connsiteY0" fmla="*/ 1019505 h 6157092"/>
                  <a:gd name="connsiteX1" fmla="*/ 3447394 w 3447394"/>
                  <a:gd name="connsiteY1" fmla="*/ 0 h 6157092"/>
                  <a:gd name="connsiteX2" fmla="*/ 1732893 w 3447394"/>
                  <a:gd name="connsiteY2" fmla="*/ 6157092 h 6157092"/>
                  <a:gd name="connsiteX3" fmla="*/ 0 w 3447394"/>
                  <a:gd name="connsiteY3" fmla="*/ 31531 h 6157092"/>
                  <a:gd name="connsiteX4" fmla="*/ 1734208 w 3447394"/>
                  <a:gd name="connsiteY4" fmla="*/ 1019505 h 6157092"/>
                  <a:gd name="connsiteX0" fmla="*/ 1734208 w 3466444"/>
                  <a:gd name="connsiteY0" fmla="*/ 1009980 h 6147567"/>
                  <a:gd name="connsiteX1" fmla="*/ 3466444 w 3466444"/>
                  <a:gd name="connsiteY1" fmla="*/ 0 h 6147567"/>
                  <a:gd name="connsiteX2" fmla="*/ 1732893 w 3466444"/>
                  <a:gd name="connsiteY2" fmla="*/ 6147567 h 6147567"/>
                  <a:gd name="connsiteX3" fmla="*/ 0 w 3466444"/>
                  <a:gd name="connsiteY3" fmla="*/ 22006 h 6147567"/>
                  <a:gd name="connsiteX4" fmla="*/ 1734208 w 3466444"/>
                  <a:gd name="connsiteY4" fmla="*/ 1009980 h 614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66444" h="6147567">
                    <a:moveTo>
                      <a:pt x="1734208" y="1009980"/>
                    </a:moveTo>
                    <a:lnTo>
                      <a:pt x="3466444" y="0"/>
                    </a:lnTo>
                    <a:lnTo>
                      <a:pt x="1732893" y="6147567"/>
                    </a:lnTo>
                    <a:lnTo>
                      <a:pt x="0" y="22006"/>
                    </a:lnTo>
                    <a:lnTo>
                      <a:pt x="1734208" y="1009980"/>
                    </a:lnTo>
                    <a:close/>
                  </a:path>
                </a:pathLst>
              </a:custGeom>
              <a:solidFill>
                <a:srgbClr val="FFFFFF">
                  <a:alpha val="78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7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2" name="Freeform 21"/>
            <p:cNvSpPr/>
            <p:nvPr/>
          </p:nvSpPr>
          <p:spPr bwMode="auto">
            <a:xfrm>
              <a:off x="649147" y="520490"/>
              <a:ext cx="1759090" cy="1759090"/>
            </a:xfrm>
            <a:custGeom>
              <a:avLst/>
              <a:gdLst>
                <a:gd name="connsiteX0" fmla="*/ 879546 w 1759090"/>
                <a:gd name="connsiteY0" fmla="*/ 67152 h 1759090"/>
                <a:gd name="connsiteX1" fmla="*/ 67152 w 1759090"/>
                <a:gd name="connsiteY1" fmla="*/ 879546 h 1759090"/>
                <a:gd name="connsiteX2" fmla="*/ 879546 w 1759090"/>
                <a:gd name="connsiteY2" fmla="*/ 1691940 h 1759090"/>
                <a:gd name="connsiteX3" fmla="*/ 1691940 w 1759090"/>
                <a:gd name="connsiteY3" fmla="*/ 879546 h 1759090"/>
                <a:gd name="connsiteX4" fmla="*/ 879546 w 1759090"/>
                <a:gd name="connsiteY4" fmla="*/ 67152 h 1759090"/>
                <a:gd name="connsiteX5" fmla="*/ 879545 w 1759090"/>
                <a:gd name="connsiteY5" fmla="*/ 0 h 1759090"/>
                <a:gd name="connsiteX6" fmla="*/ 1759090 w 1759090"/>
                <a:gd name="connsiteY6" fmla="*/ 879545 h 1759090"/>
                <a:gd name="connsiteX7" fmla="*/ 879545 w 1759090"/>
                <a:gd name="connsiteY7" fmla="*/ 1759090 h 1759090"/>
                <a:gd name="connsiteX8" fmla="*/ 0 w 1759090"/>
                <a:gd name="connsiteY8" fmla="*/ 879545 h 1759090"/>
                <a:gd name="connsiteX9" fmla="*/ 879545 w 1759090"/>
                <a:gd name="connsiteY9" fmla="*/ 0 h 175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59090" h="1759090">
                  <a:moveTo>
                    <a:pt x="879546" y="67152"/>
                  </a:moveTo>
                  <a:cubicBezTo>
                    <a:pt x="430873" y="67152"/>
                    <a:pt x="67152" y="430873"/>
                    <a:pt x="67152" y="879546"/>
                  </a:cubicBezTo>
                  <a:cubicBezTo>
                    <a:pt x="67152" y="1328219"/>
                    <a:pt x="430873" y="1691940"/>
                    <a:pt x="879546" y="1691940"/>
                  </a:cubicBezTo>
                  <a:cubicBezTo>
                    <a:pt x="1328219" y="1691940"/>
                    <a:pt x="1691940" y="1328219"/>
                    <a:pt x="1691940" y="879546"/>
                  </a:cubicBezTo>
                  <a:cubicBezTo>
                    <a:pt x="1691940" y="430873"/>
                    <a:pt x="1328219" y="67152"/>
                    <a:pt x="879546" y="67152"/>
                  </a:cubicBezTo>
                  <a:close/>
                  <a:moveTo>
                    <a:pt x="879545" y="0"/>
                  </a:moveTo>
                  <a:cubicBezTo>
                    <a:pt x="1365304" y="0"/>
                    <a:pt x="1759090" y="393786"/>
                    <a:pt x="1759090" y="879545"/>
                  </a:cubicBezTo>
                  <a:cubicBezTo>
                    <a:pt x="1759090" y="1365304"/>
                    <a:pt x="1365304" y="1759090"/>
                    <a:pt x="879545" y="1759090"/>
                  </a:cubicBezTo>
                  <a:cubicBezTo>
                    <a:pt x="393786" y="1759090"/>
                    <a:pt x="0" y="1365304"/>
                    <a:pt x="0" y="879545"/>
                  </a:cubicBezTo>
                  <a:cubicBezTo>
                    <a:pt x="0" y="393786"/>
                    <a:pt x="393786" y="0"/>
                    <a:pt x="879545" y="0"/>
                  </a:cubicBezTo>
                  <a:close/>
                </a:path>
              </a:pathLst>
            </a:custGeom>
            <a:solidFill>
              <a:srgbClr val="FFFFFF">
                <a:alpha val="78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1" name="Rectangle 20"/>
          <p:cNvSpPr/>
          <p:nvPr/>
        </p:nvSpPr>
        <p:spPr bwMode="auto">
          <a:xfrm>
            <a:off x="1" y="1"/>
            <a:ext cx="6094102" cy="6867588"/>
          </a:xfrm>
          <a:prstGeom prst="rect">
            <a:avLst/>
          </a:prstGeom>
          <a:solidFill>
            <a:srgbClr val="FF8C00">
              <a:alpha val="84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9587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0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9167" y="291069"/>
            <a:ext cx="5556387" cy="6096864"/>
          </a:xfrm>
          <a:prstGeom prst="rect">
            <a:avLst/>
          </a:prstGeom>
          <a:noFill/>
        </p:spPr>
        <p:txBody>
          <a:bodyPr wrap="square" lIns="179239" tIns="143391" rIns="179239" bIns="143391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7998"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Commercial</a:t>
            </a:r>
          </a:p>
        </p:txBody>
      </p:sp>
    </p:spTree>
    <p:extLst>
      <p:ext uri="{BB962C8B-B14F-4D97-AF65-F5344CB8AC3E}">
        <p14:creationId xmlns:p14="http://schemas.microsoft.com/office/powerpoint/2010/main" val="3038880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EM Chapter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428"/>
            <a:ext cx="6452578" cy="6392416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6721740" y="739373"/>
            <a:ext cx="5197918" cy="2274163"/>
          </a:xfrm>
          <a:noFill/>
        </p:spPr>
        <p:txBody>
          <a:bodyPr lIns="146304" tIns="91440" rIns="146304" bIns="91440" anchor="t" anchorCtr="0">
            <a:noAutofit/>
          </a:bodyPr>
          <a:lstStyle>
            <a:lvl1pPr>
              <a:defRPr sz="7057" spc="-99" baseline="0">
                <a:solidFill>
                  <a:srgbClr val="00188F"/>
                </a:solidFill>
              </a:defRPr>
            </a:lvl1pPr>
          </a:lstStyle>
          <a:p>
            <a:r>
              <a:rPr lang="en-US"/>
              <a:t>Chapter Header her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" y="6387589"/>
            <a:ext cx="12188202" cy="470411"/>
            <a:chOff x="0" y="6514749"/>
            <a:chExt cx="12435840" cy="479776"/>
          </a:xfrm>
        </p:grpSpPr>
        <p:sp>
          <p:nvSpPr>
            <p:cNvPr id="5" name="Rectangle 4"/>
            <p:cNvSpPr/>
            <p:nvPr userDrawn="1"/>
          </p:nvSpPr>
          <p:spPr bwMode="auto">
            <a:xfrm>
              <a:off x="0" y="6514749"/>
              <a:ext cx="12435840" cy="479776"/>
            </a:xfrm>
            <a:prstGeom prst="rect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9138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35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</a:t>
              </a:r>
            </a:p>
          </p:txBody>
        </p:sp>
        <p:sp>
          <p:nvSpPr>
            <p:cNvPr id="6" name="TextBox 5"/>
            <p:cNvSpPr txBox="1"/>
            <p:nvPr userDrawn="1"/>
          </p:nvSpPr>
          <p:spPr>
            <a:xfrm>
              <a:off x="274321" y="6633819"/>
              <a:ext cx="4322618" cy="221499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1568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Commerci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434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EM Chapte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6452579" cy="685800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6721740" y="739373"/>
            <a:ext cx="5197918" cy="2274163"/>
          </a:xfrm>
          <a:noFill/>
        </p:spPr>
        <p:txBody>
          <a:bodyPr lIns="146304" tIns="91440" rIns="146304" bIns="91440" anchor="t" anchorCtr="0">
            <a:noAutofit/>
          </a:bodyPr>
          <a:lstStyle>
            <a:lvl1pPr>
              <a:defRPr sz="7057" spc="-99" baseline="0">
                <a:solidFill>
                  <a:srgbClr val="00188F"/>
                </a:solidFill>
              </a:defRPr>
            </a:lvl1pPr>
          </a:lstStyle>
          <a:p>
            <a:r>
              <a:rPr lang="en-US"/>
              <a:t>Chapter Header here</a:t>
            </a:r>
          </a:p>
        </p:txBody>
      </p:sp>
    </p:spTree>
    <p:extLst>
      <p:ext uri="{BB962C8B-B14F-4D97-AF65-F5344CB8AC3E}">
        <p14:creationId xmlns:p14="http://schemas.microsoft.com/office/powerpoint/2010/main" val="251726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ull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75900" y="1602317"/>
            <a:ext cx="11033585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0B4DE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EM Chapte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6721740" y="739373"/>
            <a:ext cx="5197918" cy="2274163"/>
          </a:xfrm>
          <a:noFill/>
        </p:spPr>
        <p:txBody>
          <a:bodyPr lIns="146304" tIns="91440" rIns="146304" bIns="91440" anchor="t" anchorCtr="0">
            <a:noAutofit/>
          </a:bodyPr>
          <a:lstStyle>
            <a:lvl1pPr>
              <a:defRPr sz="7057" spc="-99" baseline="0">
                <a:solidFill>
                  <a:srgbClr val="00188F"/>
                </a:solidFill>
              </a:defRPr>
            </a:lvl1pPr>
          </a:lstStyle>
          <a:p>
            <a:r>
              <a:rPr lang="en-US"/>
              <a:t>Chapter Header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96B317-EB8F-4974-AA60-1B0980D79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660655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51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EM Chapter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2"/>
            <a:ext cx="12188202" cy="691001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061241" y="470412"/>
            <a:ext cx="9858417" cy="1703449"/>
          </a:xfrm>
          <a:noFill/>
        </p:spPr>
        <p:txBody>
          <a:bodyPr lIns="146304" tIns="91440" rIns="146304" bIns="91440" anchor="ctr" anchorCtr="0">
            <a:normAutofit/>
          </a:bodyPr>
          <a:lstStyle>
            <a:lvl1pPr>
              <a:defRPr sz="7057" spc="-99" baseline="0">
                <a:gradFill>
                  <a:gsLst>
                    <a:gs pos="76768">
                      <a:srgbClr val="FFFFFF"/>
                    </a:gs>
                    <a:gs pos="53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hapter Header here</a:t>
            </a:r>
          </a:p>
        </p:txBody>
      </p:sp>
      <p:grpSp>
        <p:nvGrpSpPr>
          <p:cNvPr id="11" name="Group 10"/>
          <p:cNvGrpSpPr>
            <a:grpSpLocks noChangeAspect="1"/>
          </p:cNvGrpSpPr>
          <p:nvPr/>
        </p:nvGrpSpPr>
        <p:grpSpPr>
          <a:xfrm>
            <a:off x="268860" y="474669"/>
            <a:ext cx="1702763" cy="1703449"/>
            <a:chOff x="649147" y="520490"/>
            <a:chExt cx="1759090" cy="1759090"/>
          </a:xfrm>
        </p:grpSpPr>
        <p:grpSp>
          <p:nvGrpSpPr>
            <p:cNvPr id="12" name="Group 11"/>
            <p:cNvGrpSpPr/>
            <p:nvPr/>
          </p:nvGrpSpPr>
          <p:grpSpPr>
            <a:xfrm>
              <a:off x="925085" y="982662"/>
              <a:ext cx="1207215" cy="971996"/>
              <a:chOff x="865920" y="982662"/>
              <a:chExt cx="1207215" cy="971996"/>
            </a:xfrm>
          </p:grpSpPr>
          <p:sp>
            <p:nvSpPr>
              <p:cNvPr id="14" name="Rectangle 3"/>
              <p:cNvSpPr/>
              <p:nvPr/>
            </p:nvSpPr>
            <p:spPr bwMode="auto">
              <a:xfrm>
                <a:off x="865920" y="982662"/>
                <a:ext cx="551717" cy="968828"/>
              </a:xfrm>
              <a:custGeom>
                <a:avLst/>
                <a:gdLst>
                  <a:gd name="connsiteX0" fmla="*/ 0 w 1849821"/>
                  <a:gd name="connsiteY0" fmla="*/ 0 h 2280745"/>
                  <a:gd name="connsiteX1" fmla="*/ 1849821 w 1849821"/>
                  <a:gd name="connsiteY1" fmla="*/ 0 h 2280745"/>
                  <a:gd name="connsiteX2" fmla="*/ 1849821 w 1849821"/>
                  <a:gd name="connsiteY2" fmla="*/ 2280745 h 2280745"/>
                  <a:gd name="connsiteX3" fmla="*/ 0 w 1849821"/>
                  <a:gd name="connsiteY3" fmla="*/ 2280745 h 2280745"/>
                  <a:gd name="connsiteX4" fmla="*/ 0 w 1849821"/>
                  <a:gd name="connsiteY4" fmla="*/ 0 h 2280745"/>
                  <a:gd name="connsiteX0" fmla="*/ 0 w 3352800"/>
                  <a:gd name="connsiteY0" fmla="*/ 0 h 5108027"/>
                  <a:gd name="connsiteX1" fmla="*/ 1849821 w 3352800"/>
                  <a:gd name="connsiteY1" fmla="*/ 0 h 5108027"/>
                  <a:gd name="connsiteX2" fmla="*/ 3352800 w 3352800"/>
                  <a:gd name="connsiteY2" fmla="*/ 5108027 h 5108027"/>
                  <a:gd name="connsiteX3" fmla="*/ 0 w 3352800"/>
                  <a:gd name="connsiteY3" fmla="*/ 2280745 h 5108027"/>
                  <a:gd name="connsiteX4" fmla="*/ 0 w 3352800"/>
                  <a:gd name="connsiteY4" fmla="*/ 0 h 5108027"/>
                  <a:gd name="connsiteX0" fmla="*/ 0 w 3352800"/>
                  <a:gd name="connsiteY0" fmla="*/ 1019504 h 6127531"/>
                  <a:gd name="connsiteX1" fmla="*/ 1608083 w 3352800"/>
                  <a:gd name="connsiteY1" fmla="*/ 0 h 6127531"/>
                  <a:gd name="connsiteX2" fmla="*/ 3352800 w 3352800"/>
                  <a:gd name="connsiteY2" fmla="*/ 6127531 h 6127531"/>
                  <a:gd name="connsiteX3" fmla="*/ 0 w 3352800"/>
                  <a:gd name="connsiteY3" fmla="*/ 3300249 h 6127531"/>
                  <a:gd name="connsiteX4" fmla="*/ 0 w 3352800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136634 w 3489434"/>
                  <a:gd name="connsiteY3" fmla="*/ 3300249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89434" h="6127531">
                    <a:moveTo>
                      <a:pt x="0" y="1019504"/>
                    </a:moveTo>
                    <a:lnTo>
                      <a:pt x="1744717" y="0"/>
                    </a:lnTo>
                    <a:lnTo>
                      <a:pt x="3489434" y="6127531"/>
                    </a:lnTo>
                    <a:lnTo>
                      <a:pt x="0" y="3026980"/>
                    </a:lnTo>
                    <a:lnTo>
                      <a:pt x="0" y="1019504"/>
                    </a:lnTo>
                    <a:close/>
                  </a:path>
                </a:pathLst>
              </a:custGeom>
              <a:solidFill>
                <a:srgbClr val="FFFFFF">
                  <a:alpha val="78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7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5" name="Rectangle 3"/>
              <p:cNvSpPr/>
              <p:nvPr/>
            </p:nvSpPr>
            <p:spPr bwMode="auto">
              <a:xfrm flipH="1">
                <a:off x="1524742" y="982662"/>
                <a:ext cx="548393" cy="968828"/>
              </a:xfrm>
              <a:custGeom>
                <a:avLst/>
                <a:gdLst>
                  <a:gd name="connsiteX0" fmla="*/ 0 w 1849821"/>
                  <a:gd name="connsiteY0" fmla="*/ 0 h 2280745"/>
                  <a:gd name="connsiteX1" fmla="*/ 1849821 w 1849821"/>
                  <a:gd name="connsiteY1" fmla="*/ 0 h 2280745"/>
                  <a:gd name="connsiteX2" fmla="*/ 1849821 w 1849821"/>
                  <a:gd name="connsiteY2" fmla="*/ 2280745 h 2280745"/>
                  <a:gd name="connsiteX3" fmla="*/ 0 w 1849821"/>
                  <a:gd name="connsiteY3" fmla="*/ 2280745 h 2280745"/>
                  <a:gd name="connsiteX4" fmla="*/ 0 w 1849821"/>
                  <a:gd name="connsiteY4" fmla="*/ 0 h 2280745"/>
                  <a:gd name="connsiteX0" fmla="*/ 0 w 3352800"/>
                  <a:gd name="connsiteY0" fmla="*/ 0 h 5108027"/>
                  <a:gd name="connsiteX1" fmla="*/ 1849821 w 3352800"/>
                  <a:gd name="connsiteY1" fmla="*/ 0 h 5108027"/>
                  <a:gd name="connsiteX2" fmla="*/ 3352800 w 3352800"/>
                  <a:gd name="connsiteY2" fmla="*/ 5108027 h 5108027"/>
                  <a:gd name="connsiteX3" fmla="*/ 0 w 3352800"/>
                  <a:gd name="connsiteY3" fmla="*/ 2280745 h 5108027"/>
                  <a:gd name="connsiteX4" fmla="*/ 0 w 3352800"/>
                  <a:gd name="connsiteY4" fmla="*/ 0 h 5108027"/>
                  <a:gd name="connsiteX0" fmla="*/ 0 w 3352800"/>
                  <a:gd name="connsiteY0" fmla="*/ 1019504 h 6127531"/>
                  <a:gd name="connsiteX1" fmla="*/ 1608083 w 3352800"/>
                  <a:gd name="connsiteY1" fmla="*/ 0 h 6127531"/>
                  <a:gd name="connsiteX2" fmla="*/ 3352800 w 3352800"/>
                  <a:gd name="connsiteY2" fmla="*/ 6127531 h 6127531"/>
                  <a:gd name="connsiteX3" fmla="*/ 0 w 3352800"/>
                  <a:gd name="connsiteY3" fmla="*/ 3300249 h 6127531"/>
                  <a:gd name="connsiteX4" fmla="*/ 0 w 3352800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136634 w 3489434"/>
                  <a:gd name="connsiteY3" fmla="*/ 3300249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89434" h="6127531">
                    <a:moveTo>
                      <a:pt x="0" y="1019504"/>
                    </a:moveTo>
                    <a:lnTo>
                      <a:pt x="1744717" y="0"/>
                    </a:lnTo>
                    <a:lnTo>
                      <a:pt x="3489434" y="6127531"/>
                    </a:lnTo>
                    <a:lnTo>
                      <a:pt x="0" y="3026980"/>
                    </a:lnTo>
                    <a:lnTo>
                      <a:pt x="0" y="1019504"/>
                    </a:lnTo>
                    <a:close/>
                  </a:path>
                </a:pathLst>
              </a:custGeom>
              <a:solidFill>
                <a:srgbClr val="FFFFFF">
                  <a:alpha val="78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7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" name="Rectangle 3"/>
              <p:cNvSpPr/>
              <p:nvPr/>
            </p:nvSpPr>
            <p:spPr bwMode="auto">
              <a:xfrm>
                <a:off x="1197148" y="982662"/>
                <a:ext cx="548082" cy="971996"/>
              </a:xfrm>
              <a:custGeom>
                <a:avLst/>
                <a:gdLst>
                  <a:gd name="connsiteX0" fmla="*/ 0 w 1849821"/>
                  <a:gd name="connsiteY0" fmla="*/ 0 h 2280745"/>
                  <a:gd name="connsiteX1" fmla="*/ 1849821 w 1849821"/>
                  <a:gd name="connsiteY1" fmla="*/ 0 h 2280745"/>
                  <a:gd name="connsiteX2" fmla="*/ 1849821 w 1849821"/>
                  <a:gd name="connsiteY2" fmla="*/ 2280745 h 2280745"/>
                  <a:gd name="connsiteX3" fmla="*/ 0 w 1849821"/>
                  <a:gd name="connsiteY3" fmla="*/ 2280745 h 2280745"/>
                  <a:gd name="connsiteX4" fmla="*/ 0 w 1849821"/>
                  <a:gd name="connsiteY4" fmla="*/ 0 h 2280745"/>
                  <a:gd name="connsiteX0" fmla="*/ 0 w 3352800"/>
                  <a:gd name="connsiteY0" fmla="*/ 0 h 5108027"/>
                  <a:gd name="connsiteX1" fmla="*/ 1849821 w 3352800"/>
                  <a:gd name="connsiteY1" fmla="*/ 0 h 5108027"/>
                  <a:gd name="connsiteX2" fmla="*/ 3352800 w 3352800"/>
                  <a:gd name="connsiteY2" fmla="*/ 5108027 h 5108027"/>
                  <a:gd name="connsiteX3" fmla="*/ 0 w 3352800"/>
                  <a:gd name="connsiteY3" fmla="*/ 2280745 h 5108027"/>
                  <a:gd name="connsiteX4" fmla="*/ 0 w 3352800"/>
                  <a:gd name="connsiteY4" fmla="*/ 0 h 5108027"/>
                  <a:gd name="connsiteX0" fmla="*/ 0 w 3352800"/>
                  <a:gd name="connsiteY0" fmla="*/ 1019504 h 6127531"/>
                  <a:gd name="connsiteX1" fmla="*/ 1608083 w 3352800"/>
                  <a:gd name="connsiteY1" fmla="*/ 0 h 6127531"/>
                  <a:gd name="connsiteX2" fmla="*/ 3352800 w 3352800"/>
                  <a:gd name="connsiteY2" fmla="*/ 6127531 h 6127531"/>
                  <a:gd name="connsiteX3" fmla="*/ 0 w 3352800"/>
                  <a:gd name="connsiteY3" fmla="*/ 3300249 h 6127531"/>
                  <a:gd name="connsiteX4" fmla="*/ 0 w 3352800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136634 w 3489434"/>
                  <a:gd name="connsiteY3" fmla="*/ 3300249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  <a:gd name="connsiteX0" fmla="*/ 0 w 3489434"/>
                  <a:gd name="connsiteY0" fmla="*/ 1019504 h 6127531"/>
                  <a:gd name="connsiteX1" fmla="*/ 1744717 w 3489434"/>
                  <a:gd name="connsiteY1" fmla="*/ 0 h 6127531"/>
                  <a:gd name="connsiteX2" fmla="*/ 3489434 w 3489434"/>
                  <a:gd name="connsiteY2" fmla="*/ 6127531 h 6127531"/>
                  <a:gd name="connsiteX3" fmla="*/ 0 w 3489434"/>
                  <a:gd name="connsiteY3" fmla="*/ 3026980 h 6127531"/>
                  <a:gd name="connsiteX4" fmla="*/ 0 w 3489434"/>
                  <a:gd name="connsiteY4" fmla="*/ 1019504 h 6127531"/>
                  <a:gd name="connsiteX0" fmla="*/ 0 w 3836276"/>
                  <a:gd name="connsiteY0" fmla="*/ 956442 h 6064469"/>
                  <a:gd name="connsiteX1" fmla="*/ 3836276 w 3836276"/>
                  <a:gd name="connsiteY1" fmla="*/ 0 h 6064469"/>
                  <a:gd name="connsiteX2" fmla="*/ 3489434 w 3836276"/>
                  <a:gd name="connsiteY2" fmla="*/ 6064469 h 6064469"/>
                  <a:gd name="connsiteX3" fmla="*/ 0 w 3836276"/>
                  <a:gd name="connsiteY3" fmla="*/ 2963918 h 6064469"/>
                  <a:gd name="connsiteX4" fmla="*/ 0 w 3836276"/>
                  <a:gd name="connsiteY4" fmla="*/ 956442 h 6064469"/>
                  <a:gd name="connsiteX0" fmla="*/ 2175641 w 3836276"/>
                  <a:gd name="connsiteY0" fmla="*/ 1282263 h 6064469"/>
                  <a:gd name="connsiteX1" fmla="*/ 3836276 w 3836276"/>
                  <a:gd name="connsiteY1" fmla="*/ 0 h 6064469"/>
                  <a:gd name="connsiteX2" fmla="*/ 3489434 w 3836276"/>
                  <a:gd name="connsiteY2" fmla="*/ 6064469 h 6064469"/>
                  <a:gd name="connsiteX3" fmla="*/ 0 w 3836276"/>
                  <a:gd name="connsiteY3" fmla="*/ 2963918 h 6064469"/>
                  <a:gd name="connsiteX4" fmla="*/ 2175641 w 3836276"/>
                  <a:gd name="connsiteY4" fmla="*/ 1282263 h 6064469"/>
                  <a:gd name="connsiteX0" fmla="*/ 2123090 w 3836276"/>
                  <a:gd name="connsiteY0" fmla="*/ 1019505 h 6064469"/>
                  <a:gd name="connsiteX1" fmla="*/ 3836276 w 3836276"/>
                  <a:gd name="connsiteY1" fmla="*/ 0 h 6064469"/>
                  <a:gd name="connsiteX2" fmla="*/ 3489434 w 3836276"/>
                  <a:gd name="connsiteY2" fmla="*/ 6064469 h 6064469"/>
                  <a:gd name="connsiteX3" fmla="*/ 0 w 3836276"/>
                  <a:gd name="connsiteY3" fmla="*/ 2963918 h 6064469"/>
                  <a:gd name="connsiteX4" fmla="*/ 2123090 w 3836276"/>
                  <a:gd name="connsiteY4" fmla="*/ 1019505 h 6064469"/>
                  <a:gd name="connsiteX0" fmla="*/ 1734208 w 3447394"/>
                  <a:gd name="connsiteY0" fmla="*/ 1019505 h 6064469"/>
                  <a:gd name="connsiteX1" fmla="*/ 3447394 w 3447394"/>
                  <a:gd name="connsiteY1" fmla="*/ 0 h 6064469"/>
                  <a:gd name="connsiteX2" fmla="*/ 3100552 w 3447394"/>
                  <a:gd name="connsiteY2" fmla="*/ 6064469 h 6064469"/>
                  <a:gd name="connsiteX3" fmla="*/ 0 w 3447394"/>
                  <a:gd name="connsiteY3" fmla="*/ 31531 h 6064469"/>
                  <a:gd name="connsiteX4" fmla="*/ 1734208 w 3447394"/>
                  <a:gd name="connsiteY4" fmla="*/ 1019505 h 6064469"/>
                  <a:gd name="connsiteX0" fmla="*/ 1734208 w 3447394"/>
                  <a:gd name="connsiteY0" fmla="*/ 1019505 h 4309242"/>
                  <a:gd name="connsiteX1" fmla="*/ 3447394 w 3447394"/>
                  <a:gd name="connsiteY1" fmla="*/ 0 h 4309242"/>
                  <a:gd name="connsiteX2" fmla="*/ 1923393 w 3447394"/>
                  <a:gd name="connsiteY2" fmla="*/ 4309242 h 4309242"/>
                  <a:gd name="connsiteX3" fmla="*/ 0 w 3447394"/>
                  <a:gd name="connsiteY3" fmla="*/ 31531 h 4309242"/>
                  <a:gd name="connsiteX4" fmla="*/ 1734208 w 3447394"/>
                  <a:gd name="connsiteY4" fmla="*/ 1019505 h 4309242"/>
                  <a:gd name="connsiteX0" fmla="*/ 1734208 w 3447394"/>
                  <a:gd name="connsiteY0" fmla="*/ 1019505 h 6157092"/>
                  <a:gd name="connsiteX1" fmla="*/ 3447394 w 3447394"/>
                  <a:gd name="connsiteY1" fmla="*/ 0 h 6157092"/>
                  <a:gd name="connsiteX2" fmla="*/ 1732893 w 3447394"/>
                  <a:gd name="connsiteY2" fmla="*/ 6157092 h 6157092"/>
                  <a:gd name="connsiteX3" fmla="*/ 0 w 3447394"/>
                  <a:gd name="connsiteY3" fmla="*/ 31531 h 6157092"/>
                  <a:gd name="connsiteX4" fmla="*/ 1734208 w 3447394"/>
                  <a:gd name="connsiteY4" fmla="*/ 1019505 h 6157092"/>
                  <a:gd name="connsiteX0" fmla="*/ 1734208 w 3447394"/>
                  <a:gd name="connsiteY0" fmla="*/ 1019505 h 6157092"/>
                  <a:gd name="connsiteX1" fmla="*/ 3447394 w 3447394"/>
                  <a:gd name="connsiteY1" fmla="*/ 0 h 6157092"/>
                  <a:gd name="connsiteX2" fmla="*/ 1732893 w 3447394"/>
                  <a:gd name="connsiteY2" fmla="*/ 6157092 h 6157092"/>
                  <a:gd name="connsiteX3" fmla="*/ 0 w 3447394"/>
                  <a:gd name="connsiteY3" fmla="*/ 31531 h 6157092"/>
                  <a:gd name="connsiteX4" fmla="*/ 1734208 w 3447394"/>
                  <a:gd name="connsiteY4" fmla="*/ 1019505 h 6157092"/>
                  <a:gd name="connsiteX0" fmla="*/ 1734208 w 3466444"/>
                  <a:gd name="connsiteY0" fmla="*/ 1009980 h 6147567"/>
                  <a:gd name="connsiteX1" fmla="*/ 3466444 w 3466444"/>
                  <a:gd name="connsiteY1" fmla="*/ 0 h 6147567"/>
                  <a:gd name="connsiteX2" fmla="*/ 1732893 w 3466444"/>
                  <a:gd name="connsiteY2" fmla="*/ 6147567 h 6147567"/>
                  <a:gd name="connsiteX3" fmla="*/ 0 w 3466444"/>
                  <a:gd name="connsiteY3" fmla="*/ 22006 h 6147567"/>
                  <a:gd name="connsiteX4" fmla="*/ 1734208 w 3466444"/>
                  <a:gd name="connsiteY4" fmla="*/ 1009980 h 614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66444" h="6147567">
                    <a:moveTo>
                      <a:pt x="1734208" y="1009980"/>
                    </a:moveTo>
                    <a:lnTo>
                      <a:pt x="3466444" y="0"/>
                    </a:lnTo>
                    <a:lnTo>
                      <a:pt x="1732893" y="6147567"/>
                    </a:lnTo>
                    <a:lnTo>
                      <a:pt x="0" y="22006"/>
                    </a:lnTo>
                    <a:lnTo>
                      <a:pt x="1734208" y="1009980"/>
                    </a:lnTo>
                    <a:close/>
                  </a:path>
                </a:pathLst>
              </a:custGeom>
              <a:solidFill>
                <a:srgbClr val="FFFFFF">
                  <a:alpha val="78000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874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3" name="Freeform 12"/>
            <p:cNvSpPr/>
            <p:nvPr/>
          </p:nvSpPr>
          <p:spPr bwMode="auto">
            <a:xfrm>
              <a:off x="649147" y="520490"/>
              <a:ext cx="1759090" cy="1759090"/>
            </a:xfrm>
            <a:custGeom>
              <a:avLst/>
              <a:gdLst>
                <a:gd name="connsiteX0" fmla="*/ 879546 w 1759090"/>
                <a:gd name="connsiteY0" fmla="*/ 67152 h 1759090"/>
                <a:gd name="connsiteX1" fmla="*/ 67152 w 1759090"/>
                <a:gd name="connsiteY1" fmla="*/ 879546 h 1759090"/>
                <a:gd name="connsiteX2" fmla="*/ 879546 w 1759090"/>
                <a:gd name="connsiteY2" fmla="*/ 1691940 h 1759090"/>
                <a:gd name="connsiteX3" fmla="*/ 1691940 w 1759090"/>
                <a:gd name="connsiteY3" fmla="*/ 879546 h 1759090"/>
                <a:gd name="connsiteX4" fmla="*/ 879546 w 1759090"/>
                <a:gd name="connsiteY4" fmla="*/ 67152 h 1759090"/>
                <a:gd name="connsiteX5" fmla="*/ 879545 w 1759090"/>
                <a:gd name="connsiteY5" fmla="*/ 0 h 1759090"/>
                <a:gd name="connsiteX6" fmla="*/ 1759090 w 1759090"/>
                <a:gd name="connsiteY6" fmla="*/ 879545 h 1759090"/>
                <a:gd name="connsiteX7" fmla="*/ 879545 w 1759090"/>
                <a:gd name="connsiteY7" fmla="*/ 1759090 h 1759090"/>
                <a:gd name="connsiteX8" fmla="*/ 0 w 1759090"/>
                <a:gd name="connsiteY8" fmla="*/ 879545 h 1759090"/>
                <a:gd name="connsiteX9" fmla="*/ 879545 w 1759090"/>
                <a:gd name="connsiteY9" fmla="*/ 0 h 1759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59090" h="1759090">
                  <a:moveTo>
                    <a:pt x="879546" y="67152"/>
                  </a:moveTo>
                  <a:cubicBezTo>
                    <a:pt x="430873" y="67152"/>
                    <a:pt x="67152" y="430873"/>
                    <a:pt x="67152" y="879546"/>
                  </a:cubicBezTo>
                  <a:cubicBezTo>
                    <a:pt x="67152" y="1328219"/>
                    <a:pt x="430873" y="1691940"/>
                    <a:pt x="879546" y="1691940"/>
                  </a:cubicBezTo>
                  <a:cubicBezTo>
                    <a:pt x="1328219" y="1691940"/>
                    <a:pt x="1691940" y="1328219"/>
                    <a:pt x="1691940" y="879546"/>
                  </a:cubicBezTo>
                  <a:cubicBezTo>
                    <a:pt x="1691940" y="430873"/>
                    <a:pt x="1328219" y="67152"/>
                    <a:pt x="879546" y="67152"/>
                  </a:cubicBezTo>
                  <a:close/>
                  <a:moveTo>
                    <a:pt x="879545" y="0"/>
                  </a:moveTo>
                  <a:cubicBezTo>
                    <a:pt x="1365304" y="0"/>
                    <a:pt x="1759090" y="393786"/>
                    <a:pt x="1759090" y="879545"/>
                  </a:cubicBezTo>
                  <a:cubicBezTo>
                    <a:pt x="1759090" y="1365304"/>
                    <a:pt x="1365304" y="1759090"/>
                    <a:pt x="879545" y="1759090"/>
                  </a:cubicBezTo>
                  <a:cubicBezTo>
                    <a:pt x="393786" y="1759090"/>
                    <a:pt x="0" y="1365304"/>
                    <a:pt x="0" y="879545"/>
                  </a:cubicBezTo>
                  <a:cubicBezTo>
                    <a:pt x="0" y="393786"/>
                    <a:pt x="393786" y="0"/>
                    <a:pt x="879545" y="0"/>
                  </a:cubicBezTo>
                  <a:close/>
                </a:path>
              </a:pathLst>
            </a:custGeom>
            <a:solidFill>
              <a:srgbClr val="FFFFFF">
                <a:alpha val="78000"/>
              </a:srgb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471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EM 50-50 Content-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69169" y="291069"/>
            <a:ext cx="5556387" cy="898107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9169" y="1189177"/>
            <a:ext cx="5556387" cy="4931036"/>
          </a:xfrm>
        </p:spPr>
        <p:txBody>
          <a:bodyPr/>
          <a:lstStyle>
            <a:lvl1pPr marL="0" indent="0">
              <a:spcBef>
                <a:spcPts val="1765"/>
              </a:spcBef>
              <a:buNone/>
              <a:defRPr sz="2745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+mn-lt"/>
              </a:defRPr>
            </a:lvl1pPr>
            <a:lvl2pPr marL="227153" indent="-227153">
              <a:defRPr sz="1961"/>
            </a:lvl2pPr>
            <a:lvl3pPr marL="455861" indent="-228709">
              <a:defRPr sz="1961"/>
            </a:lvl3pPr>
            <a:lvl4pPr marL="622335" indent="-166476">
              <a:defRPr/>
            </a:lvl4pPr>
            <a:lvl5pPr marL="790365" indent="-16803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3593639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EM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0" y="1189177"/>
            <a:ext cx="11650488" cy="2165978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0411401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E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5319515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EM Title Only (Dark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7593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ey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733172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3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 bwMode="auto">
          <a:xfrm>
            <a:off x="269169" y="2077800"/>
            <a:ext cx="6273341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5716" tIns="140573" rIns="175716" bIns="14057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 smtId="4294967295"/>
            </a:defPPr>
            <a:lvl1pPr marL="0" algn="l" defTabSz="914400" rtl="0" eaLnBrk="1" latinLnBrk="0" hangingPunct="1">
              <a:defRPr sz="1800" kern="1200" smtId="4294967295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 smtId="4294967295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 smtId="4294967295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 smtId="4294967295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 smtId="4294967295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 smtId="4294967295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 smtId="4294967295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 smtId="4294967295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 defTabSz="89587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06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82076" y="2060023"/>
            <a:ext cx="6269769" cy="1829053"/>
          </a:xfrm>
          <a:noFill/>
        </p:spPr>
        <p:txBody>
          <a:bodyPr lIns="146304" tIns="91440" rIns="146304" bIns="91440" anchor="t" anchorCtr="0"/>
          <a:lstStyle>
            <a:lvl1pPr>
              <a:defRPr sz="5188" spc="-96" baseline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169" y="3889075"/>
            <a:ext cx="6274896" cy="1826444"/>
          </a:xfrm>
        </p:spPr>
        <p:txBody>
          <a:bodyPr tIns="109728" bIns="109728">
            <a:noAutofit/>
          </a:bodyPr>
          <a:lstStyle>
            <a:lvl1pPr marL="0" indent="0">
              <a:spcBef>
                <a:spcPct val="0"/>
              </a:spcBef>
              <a:buNone/>
              <a:defRPr sz="2306" baseline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  <a:tileRect/>
                </a:gradFill>
                <a:latin typeface="+mn-lt"/>
              </a:defRPr>
            </a:lvl1pPr>
          </a:lstStyle>
          <a:p>
            <a:pPr lvl="0"/>
            <a:r>
              <a:rPr lang="en-US"/>
              <a:t>Presenter | Date</a:t>
            </a:r>
          </a:p>
        </p:txBody>
      </p:sp>
      <p:pic>
        <p:nvPicPr>
          <p:cNvPr id="8" name="Picture 7" hidden="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White">
          <a:xfrm>
            <a:off x="448470" y="6122091"/>
            <a:ext cx="1254668" cy="2677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2" y="6073351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2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603" y="3602037"/>
            <a:ext cx="9141619" cy="1655763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86" indent="0" algn="ctr">
              <a:buNone/>
              <a:defRPr sz="2000"/>
            </a:lvl2pPr>
            <a:lvl3pPr marL="914171" indent="0" algn="ctr">
              <a:buNone/>
              <a:defRPr sz="1800"/>
            </a:lvl3pPr>
            <a:lvl4pPr marL="1371257" indent="0" algn="ctr">
              <a:buNone/>
              <a:defRPr sz="1600"/>
            </a:lvl4pPr>
            <a:lvl5pPr marL="1828343" indent="0" algn="ctr">
              <a:buNone/>
              <a:defRPr sz="1600"/>
            </a:lvl5pPr>
            <a:lvl6pPr marL="2285429" indent="0" algn="ctr">
              <a:buNone/>
              <a:defRPr sz="1600"/>
            </a:lvl6pPr>
            <a:lvl7pPr marL="2742514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5828191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Slide_O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169" y="2980727"/>
            <a:ext cx="4482514" cy="896551"/>
          </a:xfrm>
          <a:noFill/>
        </p:spPr>
        <p:txBody>
          <a:bodyPr lIns="182880" tIns="91440" rIns="146304" bIns="91440" anchor="t" anchorCtr="0"/>
          <a:lstStyle>
            <a:lvl1pPr>
              <a:defRPr sz="2745" spc="-4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169" y="3877276"/>
            <a:ext cx="4482514" cy="896552"/>
          </a:xfrm>
        </p:spPr>
        <p:txBody>
          <a:bodyPr lIns="182880"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1568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or speaker name</a:t>
            </a:r>
          </a:p>
        </p:txBody>
      </p:sp>
    </p:spTree>
    <p:extLst>
      <p:ext uri="{BB962C8B-B14F-4D97-AF65-F5344CB8AC3E}">
        <p14:creationId xmlns:p14="http://schemas.microsoft.com/office/powerpoint/2010/main" val="44177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013" y="1607864"/>
            <a:ext cx="5180251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9503" y="1607864"/>
            <a:ext cx="5180251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/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and_Two-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2" y="1189175"/>
            <a:ext cx="5377147" cy="199118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53" indent="0">
              <a:buNone/>
              <a:tabLst/>
              <a:defRPr sz="1961"/>
            </a:lvl3pPr>
            <a:lvl4pPr marL="451194" indent="0">
              <a:buNone/>
              <a:defRPr/>
            </a:lvl4pPr>
            <a:lvl5pPr marL="672123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1" y="1189175"/>
            <a:ext cx="5377147" cy="199118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153" indent="0">
              <a:buNone/>
              <a:tabLst/>
              <a:defRPr sz="1961"/>
            </a:lvl3pPr>
            <a:lvl4pPr marL="451194" indent="0">
              <a:buNone/>
              <a:defRPr/>
            </a:lvl4pPr>
            <a:lvl5pPr marL="672123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975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3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36" y="289513"/>
            <a:ext cx="1188647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2336" y="1189178"/>
            <a:ext cx="11886470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41" indent="0">
              <a:buNone/>
              <a:defRPr/>
            </a:lvl3pPr>
            <a:lvl4pPr marL="448081" indent="0">
              <a:buNone/>
              <a:defRPr/>
            </a:lvl4pPr>
            <a:lvl5pPr marL="67212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7352" y="6493776"/>
            <a:ext cx="2741474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9CA633-A745-448C-BB72-A55E1825D69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0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336413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0334680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9684620" y="99309"/>
            <a:ext cx="2120800" cy="1019991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9615" tIns="44807" rIns="89615" bIns="44807" numCol="1" rtlCol="0" anchor="ctr" anchorCtr="0" compatLnSpc="1">
            <a:prstTxWarp prst="textNoShape">
              <a:avLst/>
            </a:prstTxWarp>
          </a:bodyPr>
          <a:lstStyle/>
          <a:p>
            <a:pPr algn="ctr" defTabSz="8958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spc="-49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lnSpc>
                <a:spcPct val="90000"/>
              </a:lnSpc>
            </a:pPr>
            <a:fld id="{1BC86A1F-E589-44B2-A543-2EC98F5547A7}" type="slidenum">
              <a:rPr smtClean="0">
                <a:gradFill>
                  <a:gsLst>
                    <a:gs pos="1250">
                      <a:srgbClr val="505050">
                        <a:lumMod val="50000"/>
                      </a:srgbClr>
                    </a:gs>
                    <a:gs pos="100000">
                      <a:srgbClr val="EFEFEF">
                        <a:lumMod val="10000"/>
                      </a:srgbClr>
                    </a:gs>
                  </a:gsLst>
                  <a:lin ang="5400000" scaled="0"/>
                </a:gradFill>
              </a:rPr>
              <a:pPr>
                <a:lnSpc>
                  <a:spcPct val="90000"/>
                </a:lnSpc>
              </a:pPr>
              <a:t>‹#›</a:t>
            </a:fld>
            <a:endParaRPr>
              <a:gradFill>
                <a:gsLst>
                  <a:gs pos="1250">
                    <a:srgbClr val="505050">
                      <a:lumMod val="50000"/>
                    </a:srgbClr>
                  </a:gs>
                  <a:gs pos="100000">
                    <a:srgbClr val="EFEFEF">
                      <a:lumMod val="10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62013" y="6253591"/>
            <a:ext cx="2120800" cy="55129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9615" tIns="44807" rIns="89615" bIns="44807" numCol="1" rtlCol="0" anchor="ctr" anchorCtr="0" compatLnSpc="1">
            <a:prstTxWarp prst="textNoShape">
              <a:avLst/>
            </a:prstTxWarp>
          </a:bodyPr>
          <a:lstStyle/>
          <a:p>
            <a:pPr algn="ctr" defTabSz="89586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61" spc="-49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49676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52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169" y="6269939"/>
            <a:ext cx="11650488" cy="373563"/>
          </a:xfrm>
        </p:spPr>
        <p:txBody>
          <a:bodyPr tIns="27432" bIns="0">
            <a:noAutofit/>
          </a:bodyPr>
          <a:lstStyle>
            <a:lvl1pPr>
              <a:defRPr sz="784"/>
            </a:lvl1pPr>
            <a:lvl2pPr marL="236488" indent="-236488">
              <a:defRPr sz="980"/>
            </a:lvl2pPr>
            <a:lvl3pPr marL="448081" indent="-224041">
              <a:defRPr sz="980"/>
            </a:lvl3pPr>
            <a:lvl4pPr marL="672123" indent="-224041">
              <a:defRPr sz="980"/>
            </a:lvl4pPr>
            <a:lvl5pPr marL="896163" indent="-224041">
              <a:defRPr sz="980"/>
            </a:lvl5pPr>
          </a:lstStyle>
          <a:p>
            <a:pPr lvl="0"/>
            <a:r>
              <a:rPr lang="en-US"/>
              <a:t>Notes: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592921" y="6641646"/>
            <a:ext cx="326738" cy="1540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4">
                <a:solidFill>
                  <a:schemeClr val="tx1"/>
                </a:solidFill>
              </a:defRPr>
            </a:lvl1pPr>
          </a:lstStyle>
          <a:p>
            <a:fld id="{E09CA633-A745-448C-BB72-A55E1825D6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995457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2334" y="1189178"/>
            <a:ext cx="11884131" cy="2165849"/>
          </a:xfrm>
        </p:spPr>
        <p:txBody>
          <a:bodyPr wrap="square">
            <a:spAutoFit/>
          </a:bodyPr>
          <a:lstStyle>
            <a:lvl1pPr>
              <a:defRPr sz="391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2337" y="289513"/>
            <a:ext cx="1188647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3963"/>
            <a:fld id="{6503E857-4F15-4ECA-BD4D-D22AAAB9E67A}" type="slidenum">
              <a:rPr lang="en-US" smtClean="0"/>
              <a:pPr defTabSz="91396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377449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 (w/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400137" y="6730349"/>
            <a:ext cx="788689" cy="124691"/>
          </a:xfrm>
          <a:prstGeom prst="rect">
            <a:avLst/>
          </a:prstGeom>
        </p:spPr>
        <p:txBody>
          <a:bodyPr tIns="0" bIns="0"/>
          <a:lstStyle>
            <a:lvl1pPr algn="ctr">
              <a:defRPr sz="784">
                <a:solidFill>
                  <a:schemeClr val="bg1"/>
                </a:solidFill>
              </a:defRPr>
            </a:lvl1pPr>
          </a:lstStyle>
          <a:p>
            <a:fld id="{E501BD5D-2F98-4DB4-B4DD-6E8D2B30FC11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10575369" cy="440493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>
              <a:defRPr sz="190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8932352" y="-1"/>
            <a:ext cx="1643017" cy="440495"/>
          </a:xfrm>
          <a:prstGeom prst="rect">
            <a:avLst/>
          </a:prstGeom>
        </p:spPr>
        <p:txBody>
          <a:bodyPr lIns="91440" tIns="0" rIns="91440" bIns="0" anchor="ctr">
            <a:noAutofit/>
          </a:bodyPr>
          <a:lstStyle>
            <a:lvl1pPr marL="0" indent="0" algn="r">
              <a:buNone/>
              <a:defRPr sz="1176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Date]</a:t>
            </a:r>
          </a:p>
        </p:txBody>
      </p:sp>
    </p:spTree>
    <p:extLst>
      <p:ext uri="{BB962C8B-B14F-4D97-AF65-F5344CB8AC3E}">
        <p14:creationId xmlns:p14="http://schemas.microsoft.com/office/powerpoint/2010/main" val="271515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 - No Scr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10575369" cy="440493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>
              <a:defRPr sz="190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400137" y="6730349"/>
            <a:ext cx="788689" cy="124691"/>
          </a:xfrm>
          <a:prstGeom prst="rect">
            <a:avLst/>
          </a:prstGeom>
        </p:spPr>
        <p:txBody>
          <a:bodyPr tIns="0" bIns="0"/>
          <a:lstStyle>
            <a:lvl1pPr algn="ctr">
              <a:defRPr sz="784">
                <a:solidFill>
                  <a:schemeClr val="bg1"/>
                </a:solidFill>
              </a:defRPr>
            </a:lvl1pPr>
          </a:lstStyle>
          <a:p>
            <a:fld id="{E501BD5D-2F98-4DB4-B4DD-6E8D2B30FC11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6" descr="seqno1" title="seqno1"/>
          <p:cNvSpPr>
            <a:spLocks noGrp="1"/>
          </p:cNvSpPr>
          <p:nvPr>
            <p:ph type="body" sz="quarter" idx="14" hasCustomPrompt="1"/>
          </p:nvPr>
        </p:nvSpPr>
        <p:spPr>
          <a:xfrm>
            <a:off x="9437980" y="90123"/>
            <a:ext cx="232422" cy="1870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None/>
              <a:defRPr sz="1226">
                <a:solidFill>
                  <a:schemeClr val="tx1"/>
                </a:solidFill>
              </a:defRPr>
            </a:lvl1pPr>
            <a:lvl2pPr marL="457018" indent="0">
              <a:buNone/>
              <a:defRPr sz="1226"/>
            </a:lvl2pPr>
            <a:lvl3pPr marL="914034" indent="0">
              <a:buNone/>
              <a:defRPr sz="1226"/>
            </a:lvl3pPr>
            <a:lvl4pPr marL="1371052" indent="0">
              <a:buNone/>
              <a:defRPr sz="1226"/>
            </a:lvl4pPr>
            <a:lvl5pPr marL="1828070" indent="0">
              <a:buNone/>
              <a:defRPr sz="1226"/>
            </a:lvl5pPr>
          </a:lstStyle>
          <a:p>
            <a:pPr lvl="0"/>
            <a:r>
              <a:rPr lang="en-US"/>
              <a:t>X</a:t>
            </a:r>
          </a:p>
        </p:txBody>
      </p:sp>
      <p:sp>
        <p:nvSpPr>
          <p:cNvPr id="16" name="Text Placeholder 6" descr="seqno2" title="seqno2"/>
          <p:cNvSpPr>
            <a:spLocks noGrp="1"/>
          </p:cNvSpPr>
          <p:nvPr>
            <p:ph type="body" sz="quarter" idx="13" hasCustomPrompt="1"/>
          </p:nvPr>
        </p:nvSpPr>
        <p:spPr>
          <a:xfrm>
            <a:off x="9942067" y="90123"/>
            <a:ext cx="253519" cy="1870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226">
                <a:solidFill>
                  <a:schemeClr val="tx1"/>
                </a:solidFill>
              </a:defRPr>
            </a:lvl1pPr>
            <a:lvl2pPr marL="457018" indent="0">
              <a:buNone/>
              <a:defRPr sz="1226"/>
            </a:lvl2pPr>
            <a:lvl3pPr marL="914034" indent="0">
              <a:buNone/>
              <a:defRPr sz="1226"/>
            </a:lvl3pPr>
            <a:lvl4pPr marL="1371052" indent="0">
              <a:buNone/>
              <a:defRPr sz="1226"/>
            </a:lvl4pPr>
            <a:lvl5pPr marL="1828070" indent="0">
              <a:buNone/>
              <a:defRPr sz="1226"/>
            </a:lvl5pPr>
          </a:lstStyle>
          <a:p>
            <a:pPr lvl="0"/>
            <a:r>
              <a:rPr lang="en-US"/>
              <a:t>X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737430" y="-1"/>
            <a:ext cx="1643017" cy="440495"/>
          </a:xfrm>
          <a:prstGeom prst="rect">
            <a:avLst/>
          </a:prstGeom>
        </p:spPr>
        <p:txBody>
          <a:bodyPr lIns="91440" tIns="0" rIns="91440" bIns="0" anchor="ctr">
            <a:noAutofit/>
          </a:bodyPr>
          <a:lstStyle>
            <a:lvl1pPr marL="0" indent="0" algn="r">
              <a:buNone/>
              <a:defRPr sz="1176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Date]</a:t>
            </a:r>
          </a:p>
        </p:txBody>
      </p:sp>
    </p:spTree>
    <p:extLst>
      <p:ext uri="{BB962C8B-B14F-4D97-AF65-F5344CB8AC3E}">
        <p14:creationId xmlns:p14="http://schemas.microsoft.com/office/powerpoint/2010/main" val="355542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"/>
            <a:ext cx="10575369" cy="440493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>
            <a:lvl1pPr>
              <a:defRPr sz="190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1400137" y="6730349"/>
            <a:ext cx="788689" cy="124691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84">
                <a:solidFill>
                  <a:schemeClr val="bg1"/>
                </a:solidFill>
              </a:defRPr>
            </a:lvl1pPr>
          </a:lstStyle>
          <a:p>
            <a:fld id="{E501BD5D-2F98-4DB4-B4DD-6E8D2B30FC1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8932352" y="-1"/>
            <a:ext cx="1643017" cy="440495"/>
          </a:xfrm>
          <a:prstGeom prst="rect">
            <a:avLst/>
          </a:prstGeom>
        </p:spPr>
        <p:txBody>
          <a:bodyPr lIns="91440" tIns="0" rIns="91440" bIns="0" anchor="ctr">
            <a:noAutofit/>
          </a:bodyPr>
          <a:lstStyle>
            <a:lvl1pPr marL="0" indent="0" algn="r">
              <a:buNone/>
              <a:defRPr sz="1176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Date]</a:t>
            </a:r>
          </a:p>
        </p:txBody>
      </p:sp>
    </p:spTree>
    <p:extLst>
      <p:ext uri="{BB962C8B-B14F-4D97-AF65-F5344CB8AC3E}">
        <p14:creationId xmlns:p14="http://schemas.microsoft.com/office/powerpoint/2010/main" val="147063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639169" y="6477002"/>
            <a:ext cx="288532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DF147-A34E-4605-92D6-A58348E56B3A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99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1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err="1">
              <a:ln>
                <a:noFill/>
              </a:ln>
              <a:solidFill>
                <a:srgbClr val="FFFFFF">
                  <a:alpha val="99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1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/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3" y="2717919"/>
            <a:ext cx="10429053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147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15" y="4511021"/>
            <a:ext cx="10429053" cy="1578427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-4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68" y="6122090"/>
            <a:ext cx="1254668" cy="26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26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233" y="2093525"/>
            <a:ext cx="8961851" cy="1793091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32" y="3878574"/>
            <a:ext cx="7169470" cy="179232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68" y="6121377"/>
            <a:ext cx="1254668" cy="2691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0" y="6073351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1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4312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240977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5969" y="1"/>
            <a:ext cx="6092857" cy="6856100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69171" y="289513"/>
            <a:ext cx="5826798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9169" y="2009827"/>
            <a:ext cx="5376078" cy="45621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765"/>
              </a:spcAft>
              <a:buNone/>
              <a:defRPr sz="1961" spc="0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Tx/>
              <a:buNone/>
              <a:defRPr sz="1765">
                <a:solidFill>
                  <a:schemeClr val="tx1"/>
                </a:solidFill>
              </a:defRPr>
            </a:lvl2pPr>
            <a:lvl3pPr marL="224041" indent="0">
              <a:buNone/>
              <a:defRPr sz="1568">
                <a:solidFill>
                  <a:schemeClr val="tx1"/>
                </a:solidFill>
              </a:defRPr>
            </a:lvl3pPr>
            <a:lvl4pPr marL="448081" indent="0">
              <a:buNone/>
              <a:defRPr sz="1372">
                <a:solidFill>
                  <a:schemeClr val="tx1"/>
                </a:solidFill>
              </a:defRPr>
            </a:lvl4pPr>
            <a:lvl5pPr marL="672123" indent="0">
              <a:buNone/>
              <a:defRPr sz="1372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8325470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9571408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169" y="6171617"/>
            <a:ext cx="11650488" cy="3951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9" tIns="143391" rIns="179239" bIns="143391" numCol="1" anchor="t" anchorCtr="0" compatLnSpc="1">
            <a:prstTxWarp prst="textNoShape">
              <a:avLst/>
            </a:prstTxWarp>
            <a:spAutoFit/>
          </a:bodyPr>
          <a:lstStyle/>
          <a:p>
            <a:pPr defTabSz="913696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sp>
        <p:nvSpPr>
          <p:cNvPr id="5" name="Windows 10"/>
          <p:cNvSpPr>
            <a:spLocks noChangeAspect="1" noEditPoints="1"/>
          </p:cNvSpPr>
          <p:nvPr userDrawn="1"/>
        </p:nvSpPr>
        <p:spPr bwMode="auto">
          <a:xfrm>
            <a:off x="3728741" y="3014712"/>
            <a:ext cx="4432615" cy="828576"/>
          </a:xfrm>
          <a:custGeom>
            <a:avLst/>
            <a:gdLst>
              <a:gd name="T0" fmla="*/ 295 w 3590"/>
              <a:gd name="T1" fmla="*/ 329 h 668"/>
              <a:gd name="T2" fmla="*/ 0 w 3590"/>
              <a:gd name="T3" fmla="*/ 94 h 668"/>
              <a:gd name="T4" fmla="*/ 295 w 3590"/>
              <a:gd name="T5" fmla="*/ 616 h 668"/>
              <a:gd name="T6" fmla="*/ 284 w 3590"/>
              <a:gd name="T7" fmla="*/ 340 h 668"/>
              <a:gd name="T8" fmla="*/ 284 w 3590"/>
              <a:gd name="T9" fmla="*/ 340 h 668"/>
              <a:gd name="T10" fmla="*/ 3196 w 3590"/>
              <a:gd name="T11" fmla="*/ 160 h 668"/>
              <a:gd name="T12" fmla="*/ 3158 w 3590"/>
              <a:gd name="T13" fmla="*/ 224 h 668"/>
              <a:gd name="T14" fmla="*/ 3223 w 3590"/>
              <a:gd name="T15" fmla="*/ 531 h 668"/>
              <a:gd name="T16" fmla="*/ 3407 w 3590"/>
              <a:gd name="T17" fmla="*/ 139 h 668"/>
              <a:gd name="T18" fmla="*/ 3339 w 3590"/>
              <a:gd name="T19" fmla="*/ 424 h 668"/>
              <a:gd name="T20" fmla="*/ 3513 w 3590"/>
              <a:gd name="T21" fmla="*/ 524 h 668"/>
              <a:gd name="T22" fmla="*/ 3465 w 3590"/>
              <a:gd name="T23" fmla="*/ 125 h 668"/>
              <a:gd name="T24" fmla="*/ 3544 w 3590"/>
              <a:gd name="T25" fmla="*/ 334 h 668"/>
              <a:gd name="T26" fmla="*/ 1215 w 3590"/>
              <a:gd name="T27" fmla="*/ 532 h 668"/>
              <a:gd name="T28" fmla="*/ 1118 w 3590"/>
              <a:gd name="T29" fmla="*/ 240 h 668"/>
              <a:gd name="T30" fmla="*/ 916 w 3590"/>
              <a:gd name="T31" fmla="*/ 133 h 668"/>
              <a:gd name="T32" fmla="*/ 1017 w 3590"/>
              <a:gd name="T33" fmla="*/ 439 h 668"/>
              <a:gd name="T34" fmla="*/ 1242 w 3590"/>
              <a:gd name="T35" fmla="*/ 478 h 668"/>
              <a:gd name="T36" fmla="*/ 1382 w 3590"/>
              <a:gd name="T37" fmla="*/ 133 h 668"/>
              <a:gd name="T38" fmla="*/ 1424 w 3590"/>
              <a:gd name="T39" fmla="*/ 175 h 668"/>
              <a:gd name="T40" fmla="*/ 1467 w 3590"/>
              <a:gd name="T41" fmla="*/ 132 h 668"/>
              <a:gd name="T42" fmla="*/ 1422 w 3590"/>
              <a:gd name="T43" fmla="*/ 247 h 668"/>
              <a:gd name="T44" fmla="*/ 1726 w 3590"/>
              <a:gd name="T45" fmla="*/ 532 h 668"/>
              <a:gd name="T46" fmla="*/ 1581 w 3590"/>
              <a:gd name="T47" fmla="*/ 369 h 668"/>
              <a:gd name="T48" fmla="*/ 1581 w 3590"/>
              <a:gd name="T49" fmla="*/ 247 h 668"/>
              <a:gd name="T50" fmla="*/ 1747 w 3590"/>
              <a:gd name="T51" fmla="*/ 271 h 668"/>
              <a:gd name="T52" fmla="*/ 2041 w 3590"/>
              <a:gd name="T53" fmla="*/ 532 h 668"/>
              <a:gd name="T54" fmla="*/ 1856 w 3590"/>
              <a:gd name="T55" fmla="*/ 500 h 668"/>
              <a:gd name="T56" fmla="*/ 2040 w 3590"/>
              <a:gd name="T57" fmla="*/ 286 h 668"/>
              <a:gd name="T58" fmla="*/ 2087 w 3590"/>
              <a:gd name="T59" fmla="*/ 532 h 668"/>
              <a:gd name="T60" fmla="*/ 1960 w 3590"/>
              <a:gd name="T61" fmla="*/ 279 h 668"/>
              <a:gd name="T62" fmla="*/ 1955 w 3590"/>
              <a:gd name="T63" fmla="*/ 500 h 668"/>
              <a:gd name="T64" fmla="*/ 2387 w 3590"/>
              <a:gd name="T65" fmla="*/ 497 h 668"/>
              <a:gd name="T66" fmla="*/ 2184 w 3590"/>
              <a:gd name="T67" fmla="*/ 281 h 668"/>
              <a:gd name="T68" fmla="*/ 2379 w 3590"/>
              <a:gd name="T69" fmla="*/ 390 h 668"/>
              <a:gd name="T70" fmla="*/ 2192 w 3590"/>
              <a:gd name="T71" fmla="*/ 391 h 668"/>
              <a:gd name="T72" fmla="*/ 2379 w 3590"/>
              <a:gd name="T73" fmla="*/ 390 h 668"/>
              <a:gd name="T74" fmla="*/ 2651 w 3590"/>
              <a:gd name="T75" fmla="*/ 328 h 668"/>
              <a:gd name="T76" fmla="*/ 2576 w 3590"/>
              <a:gd name="T77" fmla="*/ 532 h 668"/>
              <a:gd name="T78" fmla="*/ 2551 w 3590"/>
              <a:gd name="T79" fmla="*/ 461 h 668"/>
              <a:gd name="T80" fmla="*/ 2628 w 3590"/>
              <a:gd name="T81" fmla="*/ 247 h 668"/>
              <a:gd name="T82" fmla="*/ 2735 w 3590"/>
              <a:gd name="T83" fmla="*/ 487 h 668"/>
              <a:gd name="T84" fmla="*/ 3039 w 3590"/>
              <a:gd name="T85" fmla="*/ 456 h 668"/>
              <a:gd name="T86" fmla="*/ 2864 w 3590"/>
              <a:gd name="T87" fmla="*/ 473 h 668"/>
              <a:gd name="T88" fmla="*/ 2934 w 3590"/>
              <a:gd name="T89" fmla="*/ 406 h 668"/>
              <a:gd name="T90" fmla="*/ 2965 w 3590"/>
              <a:gd name="T91" fmla="*/ 240 h 668"/>
              <a:gd name="T92" fmla="*/ 2925 w 3590"/>
              <a:gd name="T93" fmla="*/ 290 h 668"/>
              <a:gd name="T94" fmla="*/ 3022 w 3590"/>
              <a:gd name="T95" fmla="*/ 408 h 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90" h="668">
                <a:moveTo>
                  <a:pt x="295" y="52"/>
                </a:moveTo>
                <a:cubicBezTo>
                  <a:pt x="667" y="0"/>
                  <a:pt x="667" y="0"/>
                  <a:pt x="667" y="0"/>
                </a:cubicBezTo>
                <a:cubicBezTo>
                  <a:pt x="667" y="329"/>
                  <a:pt x="667" y="329"/>
                  <a:pt x="667" y="329"/>
                </a:cubicBezTo>
                <a:cubicBezTo>
                  <a:pt x="295" y="329"/>
                  <a:pt x="295" y="329"/>
                  <a:pt x="295" y="329"/>
                </a:cubicBezTo>
                <a:lnTo>
                  <a:pt x="295" y="52"/>
                </a:lnTo>
                <a:close/>
                <a:moveTo>
                  <a:pt x="284" y="329"/>
                </a:moveTo>
                <a:cubicBezTo>
                  <a:pt x="284" y="54"/>
                  <a:pt x="284" y="54"/>
                  <a:pt x="284" y="5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329"/>
                  <a:pt x="0" y="329"/>
                  <a:pt x="0" y="329"/>
                </a:cubicBezTo>
                <a:lnTo>
                  <a:pt x="284" y="329"/>
                </a:lnTo>
                <a:close/>
                <a:moveTo>
                  <a:pt x="295" y="340"/>
                </a:moveTo>
                <a:cubicBezTo>
                  <a:pt x="295" y="616"/>
                  <a:pt x="295" y="616"/>
                  <a:pt x="295" y="616"/>
                </a:cubicBezTo>
                <a:cubicBezTo>
                  <a:pt x="667" y="668"/>
                  <a:pt x="667" y="668"/>
                  <a:pt x="667" y="668"/>
                </a:cubicBezTo>
                <a:cubicBezTo>
                  <a:pt x="667" y="340"/>
                  <a:pt x="667" y="340"/>
                  <a:pt x="667" y="340"/>
                </a:cubicBezTo>
                <a:lnTo>
                  <a:pt x="295" y="340"/>
                </a:lnTo>
                <a:close/>
                <a:moveTo>
                  <a:pt x="284" y="340"/>
                </a:moveTo>
                <a:cubicBezTo>
                  <a:pt x="0" y="340"/>
                  <a:pt x="0" y="340"/>
                  <a:pt x="0" y="340"/>
                </a:cubicBezTo>
                <a:cubicBezTo>
                  <a:pt x="0" y="575"/>
                  <a:pt x="0" y="575"/>
                  <a:pt x="0" y="575"/>
                </a:cubicBezTo>
                <a:cubicBezTo>
                  <a:pt x="284" y="615"/>
                  <a:pt x="284" y="615"/>
                  <a:pt x="284" y="615"/>
                </a:cubicBezTo>
                <a:lnTo>
                  <a:pt x="284" y="340"/>
                </a:lnTo>
                <a:close/>
                <a:moveTo>
                  <a:pt x="3269" y="123"/>
                </a:moveTo>
                <a:cubicBezTo>
                  <a:pt x="3252" y="123"/>
                  <a:pt x="3252" y="123"/>
                  <a:pt x="3252" y="123"/>
                </a:cubicBezTo>
                <a:cubicBezTo>
                  <a:pt x="3245" y="129"/>
                  <a:pt x="3236" y="136"/>
                  <a:pt x="3227" y="142"/>
                </a:cubicBezTo>
                <a:cubicBezTo>
                  <a:pt x="3217" y="148"/>
                  <a:pt x="3207" y="154"/>
                  <a:pt x="3196" y="160"/>
                </a:cubicBezTo>
                <a:cubicBezTo>
                  <a:pt x="3185" y="166"/>
                  <a:pt x="3174" y="171"/>
                  <a:pt x="3163" y="176"/>
                </a:cubicBezTo>
                <a:cubicBezTo>
                  <a:pt x="3152" y="181"/>
                  <a:pt x="3141" y="185"/>
                  <a:pt x="3131" y="187"/>
                </a:cubicBezTo>
                <a:cubicBezTo>
                  <a:pt x="3131" y="234"/>
                  <a:pt x="3131" y="234"/>
                  <a:pt x="3131" y="234"/>
                </a:cubicBezTo>
                <a:cubicBezTo>
                  <a:pt x="3140" y="231"/>
                  <a:pt x="3149" y="228"/>
                  <a:pt x="3158" y="224"/>
                </a:cubicBezTo>
                <a:cubicBezTo>
                  <a:pt x="3168" y="221"/>
                  <a:pt x="3177" y="216"/>
                  <a:pt x="3185" y="212"/>
                </a:cubicBezTo>
                <a:cubicBezTo>
                  <a:pt x="3194" y="207"/>
                  <a:pt x="3201" y="203"/>
                  <a:pt x="3208" y="198"/>
                </a:cubicBezTo>
                <a:cubicBezTo>
                  <a:pt x="3215" y="194"/>
                  <a:pt x="3220" y="190"/>
                  <a:pt x="3223" y="186"/>
                </a:cubicBezTo>
                <a:cubicBezTo>
                  <a:pt x="3223" y="531"/>
                  <a:pt x="3223" y="531"/>
                  <a:pt x="3223" y="531"/>
                </a:cubicBezTo>
                <a:cubicBezTo>
                  <a:pt x="3269" y="531"/>
                  <a:pt x="3269" y="531"/>
                  <a:pt x="3269" y="531"/>
                </a:cubicBezTo>
                <a:lnTo>
                  <a:pt x="3269" y="123"/>
                </a:lnTo>
                <a:close/>
                <a:moveTo>
                  <a:pt x="3465" y="125"/>
                </a:moveTo>
                <a:cubicBezTo>
                  <a:pt x="3443" y="125"/>
                  <a:pt x="3424" y="130"/>
                  <a:pt x="3407" y="139"/>
                </a:cubicBezTo>
                <a:cubicBezTo>
                  <a:pt x="3390" y="148"/>
                  <a:pt x="3376" y="162"/>
                  <a:pt x="3365" y="180"/>
                </a:cubicBezTo>
                <a:cubicBezTo>
                  <a:pt x="3354" y="198"/>
                  <a:pt x="3345" y="221"/>
                  <a:pt x="3339" y="247"/>
                </a:cubicBezTo>
                <a:cubicBezTo>
                  <a:pt x="3333" y="274"/>
                  <a:pt x="3331" y="305"/>
                  <a:pt x="3331" y="340"/>
                </a:cubicBezTo>
                <a:cubicBezTo>
                  <a:pt x="3331" y="371"/>
                  <a:pt x="3333" y="399"/>
                  <a:pt x="3339" y="424"/>
                </a:cubicBezTo>
                <a:cubicBezTo>
                  <a:pt x="3344" y="448"/>
                  <a:pt x="3353" y="469"/>
                  <a:pt x="3363" y="486"/>
                </a:cubicBezTo>
                <a:cubicBezTo>
                  <a:pt x="3374" y="503"/>
                  <a:pt x="3387" y="516"/>
                  <a:pt x="3403" y="525"/>
                </a:cubicBezTo>
                <a:cubicBezTo>
                  <a:pt x="3419" y="533"/>
                  <a:pt x="3436" y="538"/>
                  <a:pt x="3456" y="538"/>
                </a:cubicBezTo>
                <a:cubicBezTo>
                  <a:pt x="3478" y="538"/>
                  <a:pt x="3496" y="533"/>
                  <a:pt x="3513" y="524"/>
                </a:cubicBezTo>
                <a:cubicBezTo>
                  <a:pt x="3530" y="515"/>
                  <a:pt x="3544" y="501"/>
                  <a:pt x="3555" y="484"/>
                </a:cubicBezTo>
                <a:cubicBezTo>
                  <a:pt x="3566" y="466"/>
                  <a:pt x="3575" y="444"/>
                  <a:pt x="3581" y="418"/>
                </a:cubicBezTo>
                <a:cubicBezTo>
                  <a:pt x="3587" y="393"/>
                  <a:pt x="3590" y="363"/>
                  <a:pt x="3590" y="330"/>
                </a:cubicBezTo>
                <a:cubicBezTo>
                  <a:pt x="3590" y="194"/>
                  <a:pt x="3548" y="125"/>
                  <a:pt x="3465" y="125"/>
                </a:cubicBezTo>
                <a:close/>
                <a:moveTo>
                  <a:pt x="3461" y="499"/>
                </a:moveTo>
                <a:cubicBezTo>
                  <a:pt x="3405" y="499"/>
                  <a:pt x="3377" y="445"/>
                  <a:pt x="3377" y="337"/>
                </a:cubicBezTo>
                <a:cubicBezTo>
                  <a:pt x="3377" y="222"/>
                  <a:pt x="3406" y="164"/>
                  <a:pt x="3463" y="164"/>
                </a:cubicBezTo>
                <a:cubicBezTo>
                  <a:pt x="3517" y="164"/>
                  <a:pt x="3544" y="221"/>
                  <a:pt x="3544" y="334"/>
                </a:cubicBezTo>
                <a:cubicBezTo>
                  <a:pt x="3544" y="444"/>
                  <a:pt x="3516" y="499"/>
                  <a:pt x="3461" y="499"/>
                </a:cubicBezTo>
                <a:close/>
                <a:moveTo>
                  <a:pt x="1382" y="133"/>
                </a:moveTo>
                <a:cubicBezTo>
                  <a:pt x="1270" y="532"/>
                  <a:pt x="1270" y="532"/>
                  <a:pt x="1270" y="532"/>
                </a:cubicBezTo>
                <a:cubicBezTo>
                  <a:pt x="1215" y="532"/>
                  <a:pt x="1215" y="532"/>
                  <a:pt x="1215" y="532"/>
                </a:cubicBezTo>
                <a:cubicBezTo>
                  <a:pt x="1133" y="240"/>
                  <a:pt x="1133" y="240"/>
                  <a:pt x="1133" y="240"/>
                </a:cubicBezTo>
                <a:cubicBezTo>
                  <a:pt x="1130" y="229"/>
                  <a:pt x="1128" y="216"/>
                  <a:pt x="1127" y="200"/>
                </a:cubicBezTo>
                <a:cubicBezTo>
                  <a:pt x="1126" y="200"/>
                  <a:pt x="1126" y="200"/>
                  <a:pt x="1126" y="200"/>
                </a:cubicBezTo>
                <a:cubicBezTo>
                  <a:pt x="1124" y="214"/>
                  <a:pt x="1122" y="227"/>
                  <a:pt x="1118" y="240"/>
                </a:cubicBezTo>
                <a:cubicBezTo>
                  <a:pt x="1036" y="532"/>
                  <a:pt x="1036" y="532"/>
                  <a:pt x="1036" y="532"/>
                </a:cubicBezTo>
                <a:cubicBezTo>
                  <a:pt x="981" y="532"/>
                  <a:pt x="981" y="532"/>
                  <a:pt x="981" y="532"/>
                </a:cubicBezTo>
                <a:cubicBezTo>
                  <a:pt x="865" y="133"/>
                  <a:pt x="865" y="133"/>
                  <a:pt x="865" y="133"/>
                </a:cubicBezTo>
                <a:cubicBezTo>
                  <a:pt x="916" y="133"/>
                  <a:pt x="916" y="133"/>
                  <a:pt x="916" y="133"/>
                </a:cubicBezTo>
                <a:cubicBezTo>
                  <a:pt x="1001" y="439"/>
                  <a:pt x="1001" y="439"/>
                  <a:pt x="1001" y="439"/>
                </a:cubicBezTo>
                <a:cubicBezTo>
                  <a:pt x="1004" y="452"/>
                  <a:pt x="1007" y="466"/>
                  <a:pt x="1008" y="479"/>
                </a:cubicBezTo>
                <a:cubicBezTo>
                  <a:pt x="1009" y="479"/>
                  <a:pt x="1009" y="479"/>
                  <a:pt x="1009" y="479"/>
                </a:cubicBezTo>
                <a:cubicBezTo>
                  <a:pt x="1010" y="468"/>
                  <a:pt x="1013" y="454"/>
                  <a:pt x="1017" y="439"/>
                </a:cubicBezTo>
                <a:cubicBezTo>
                  <a:pt x="1106" y="133"/>
                  <a:pt x="1106" y="133"/>
                  <a:pt x="1106" y="133"/>
                </a:cubicBezTo>
                <a:cubicBezTo>
                  <a:pt x="1151" y="133"/>
                  <a:pt x="1151" y="133"/>
                  <a:pt x="1151" y="133"/>
                </a:cubicBezTo>
                <a:cubicBezTo>
                  <a:pt x="1235" y="441"/>
                  <a:pt x="1235" y="441"/>
                  <a:pt x="1235" y="441"/>
                </a:cubicBezTo>
                <a:cubicBezTo>
                  <a:pt x="1238" y="453"/>
                  <a:pt x="1240" y="465"/>
                  <a:pt x="1242" y="478"/>
                </a:cubicBezTo>
                <a:cubicBezTo>
                  <a:pt x="1243" y="478"/>
                  <a:pt x="1243" y="478"/>
                  <a:pt x="1243" y="478"/>
                </a:cubicBezTo>
                <a:cubicBezTo>
                  <a:pt x="1244" y="469"/>
                  <a:pt x="1246" y="456"/>
                  <a:pt x="1250" y="440"/>
                </a:cubicBezTo>
                <a:cubicBezTo>
                  <a:pt x="1332" y="133"/>
                  <a:pt x="1332" y="133"/>
                  <a:pt x="1332" y="133"/>
                </a:cubicBezTo>
                <a:lnTo>
                  <a:pt x="1382" y="133"/>
                </a:lnTo>
                <a:close/>
                <a:moveTo>
                  <a:pt x="1475" y="153"/>
                </a:moveTo>
                <a:cubicBezTo>
                  <a:pt x="1475" y="162"/>
                  <a:pt x="1472" y="169"/>
                  <a:pt x="1466" y="174"/>
                </a:cubicBezTo>
                <a:cubicBezTo>
                  <a:pt x="1461" y="180"/>
                  <a:pt x="1453" y="183"/>
                  <a:pt x="1445" y="183"/>
                </a:cubicBezTo>
                <a:cubicBezTo>
                  <a:pt x="1437" y="183"/>
                  <a:pt x="1430" y="180"/>
                  <a:pt x="1424" y="175"/>
                </a:cubicBezTo>
                <a:cubicBezTo>
                  <a:pt x="1418" y="169"/>
                  <a:pt x="1416" y="162"/>
                  <a:pt x="1416" y="153"/>
                </a:cubicBezTo>
                <a:cubicBezTo>
                  <a:pt x="1416" y="145"/>
                  <a:pt x="1418" y="138"/>
                  <a:pt x="1424" y="132"/>
                </a:cubicBezTo>
                <a:cubicBezTo>
                  <a:pt x="1430" y="127"/>
                  <a:pt x="1437" y="124"/>
                  <a:pt x="1445" y="124"/>
                </a:cubicBezTo>
                <a:cubicBezTo>
                  <a:pt x="1454" y="124"/>
                  <a:pt x="1461" y="127"/>
                  <a:pt x="1467" y="132"/>
                </a:cubicBezTo>
                <a:cubicBezTo>
                  <a:pt x="1472" y="138"/>
                  <a:pt x="1475" y="145"/>
                  <a:pt x="1475" y="153"/>
                </a:cubicBezTo>
                <a:close/>
                <a:moveTo>
                  <a:pt x="1468" y="532"/>
                </a:moveTo>
                <a:cubicBezTo>
                  <a:pt x="1422" y="532"/>
                  <a:pt x="1422" y="532"/>
                  <a:pt x="1422" y="532"/>
                </a:cubicBezTo>
                <a:cubicBezTo>
                  <a:pt x="1422" y="247"/>
                  <a:pt x="1422" y="247"/>
                  <a:pt x="1422" y="247"/>
                </a:cubicBezTo>
                <a:cubicBezTo>
                  <a:pt x="1468" y="247"/>
                  <a:pt x="1468" y="247"/>
                  <a:pt x="1468" y="247"/>
                </a:cubicBezTo>
                <a:lnTo>
                  <a:pt x="1468" y="532"/>
                </a:lnTo>
                <a:close/>
                <a:moveTo>
                  <a:pt x="1772" y="532"/>
                </a:moveTo>
                <a:cubicBezTo>
                  <a:pt x="1726" y="532"/>
                  <a:pt x="1726" y="532"/>
                  <a:pt x="1726" y="532"/>
                </a:cubicBezTo>
                <a:cubicBezTo>
                  <a:pt x="1726" y="369"/>
                  <a:pt x="1726" y="369"/>
                  <a:pt x="1726" y="369"/>
                </a:cubicBezTo>
                <a:cubicBezTo>
                  <a:pt x="1726" y="309"/>
                  <a:pt x="1704" y="279"/>
                  <a:pt x="1660" y="279"/>
                </a:cubicBezTo>
                <a:cubicBezTo>
                  <a:pt x="1638" y="279"/>
                  <a:pt x="1619" y="288"/>
                  <a:pt x="1604" y="305"/>
                </a:cubicBezTo>
                <a:cubicBezTo>
                  <a:pt x="1589" y="322"/>
                  <a:pt x="1581" y="343"/>
                  <a:pt x="1581" y="369"/>
                </a:cubicBezTo>
                <a:cubicBezTo>
                  <a:pt x="1581" y="532"/>
                  <a:pt x="1581" y="532"/>
                  <a:pt x="1581" y="532"/>
                </a:cubicBezTo>
                <a:cubicBezTo>
                  <a:pt x="1536" y="532"/>
                  <a:pt x="1536" y="532"/>
                  <a:pt x="1536" y="532"/>
                </a:cubicBezTo>
                <a:cubicBezTo>
                  <a:pt x="1536" y="247"/>
                  <a:pt x="1536" y="247"/>
                  <a:pt x="1536" y="247"/>
                </a:cubicBezTo>
                <a:cubicBezTo>
                  <a:pt x="1581" y="247"/>
                  <a:pt x="1581" y="247"/>
                  <a:pt x="1581" y="247"/>
                </a:cubicBezTo>
                <a:cubicBezTo>
                  <a:pt x="1581" y="294"/>
                  <a:pt x="1581" y="294"/>
                  <a:pt x="1581" y="294"/>
                </a:cubicBezTo>
                <a:cubicBezTo>
                  <a:pt x="1583" y="294"/>
                  <a:pt x="1583" y="294"/>
                  <a:pt x="1583" y="294"/>
                </a:cubicBezTo>
                <a:cubicBezTo>
                  <a:pt x="1604" y="258"/>
                  <a:pt x="1635" y="240"/>
                  <a:pt x="1676" y="240"/>
                </a:cubicBezTo>
                <a:cubicBezTo>
                  <a:pt x="1707" y="240"/>
                  <a:pt x="1731" y="250"/>
                  <a:pt x="1747" y="271"/>
                </a:cubicBezTo>
                <a:cubicBezTo>
                  <a:pt x="1764" y="291"/>
                  <a:pt x="1772" y="320"/>
                  <a:pt x="1772" y="358"/>
                </a:cubicBezTo>
                <a:lnTo>
                  <a:pt x="1772" y="532"/>
                </a:lnTo>
                <a:close/>
                <a:moveTo>
                  <a:pt x="2087" y="532"/>
                </a:moveTo>
                <a:cubicBezTo>
                  <a:pt x="2041" y="532"/>
                  <a:pt x="2041" y="532"/>
                  <a:pt x="2041" y="532"/>
                </a:cubicBezTo>
                <a:cubicBezTo>
                  <a:pt x="2041" y="483"/>
                  <a:pt x="2041" y="483"/>
                  <a:pt x="2041" y="483"/>
                </a:cubicBezTo>
                <a:cubicBezTo>
                  <a:pt x="2040" y="483"/>
                  <a:pt x="2040" y="483"/>
                  <a:pt x="2040" y="483"/>
                </a:cubicBezTo>
                <a:cubicBezTo>
                  <a:pt x="2019" y="520"/>
                  <a:pt x="1986" y="539"/>
                  <a:pt x="1942" y="539"/>
                </a:cubicBezTo>
                <a:cubicBezTo>
                  <a:pt x="1906" y="539"/>
                  <a:pt x="1878" y="526"/>
                  <a:pt x="1856" y="500"/>
                </a:cubicBezTo>
                <a:cubicBezTo>
                  <a:pt x="1835" y="474"/>
                  <a:pt x="1824" y="440"/>
                  <a:pt x="1824" y="396"/>
                </a:cubicBezTo>
                <a:cubicBezTo>
                  <a:pt x="1824" y="349"/>
                  <a:pt x="1836" y="312"/>
                  <a:pt x="1860" y="283"/>
                </a:cubicBezTo>
                <a:cubicBezTo>
                  <a:pt x="1883" y="255"/>
                  <a:pt x="1915" y="240"/>
                  <a:pt x="1955" y="240"/>
                </a:cubicBezTo>
                <a:cubicBezTo>
                  <a:pt x="1993" y="240"/>
                  <a:pt x="2022" y="256"/>
                  <a:pt x="2040" y="286"/>
                </a:cubicBezTo>
                <a:cubicBezTo>
                  <a:pt x="2041" y="286"/>
                  <a:pt x="2041" y="286"/>
                  <a:pt x="2041" y="286"/>
                </a:cubicBezTo>
                <a:cubicBezTo>
                  <a:pt x="2041" y="110"/>
                  <a:pt x="2041" y="110"/>
                  <a:pt x="2041" y="110"/>
                </a:cubicBezTo>
                <a:cubicBezTo>
                  <a:pt x="2087" y="110"/>
                  <a:pt x="2087" y="110"/>
                  <a:pt x="2087" y="110"/>
                </a:cubicBezTo>
                <a:lnTo>
                  <a:pt x="2087" y="532"/>
                </a:lnTo>
                <a:close/>
                <a:moveTo>
                  <a:pt x="2041" y="403"/>
                </a:moveTo>
                <a:cubicBezTo>
                  <a:pt x="2041" y="361"/>
                  <a:pt x="2041" y="361"/>
                  <a:pt x="2041" y="361"/>
                </a:cubicBezTo>
                <a:cubicBezTo>
                  <a:pt x="2041" y="338"/>
                  <a:pt x="2033" y="318"/>
                  <a:pt x="2018" y="303"/>
                </a:cubicBezTo>
                <a:cubicBezTo>
                  <a:pt x="2002" y="287"/>
                  <a:pt x="1983" y="279"/>
                  <a:pt x="1960" y="279"/>
                </a:cubicBezTo>
                <a:cubicBezTo>
                  <a:pt x="1933" y="279"/>
                  <a:pt x="1911" y="289"/>
                  <a:pt x="1895" y="310"/>
                </a:cubicBezTo>
                <a:cubicBezTo>
                  <a:pt x="1879" y="330"/>
                  <a:pt x="1871" y="358"/>
                  <a:pt x="1871" y="394"/>
                </a:cubicBezTo>
                <a:cubicBezTo>
                  <a:pt x="1871" y="427"/>
                  <a:pt x="1879" y="452"/>
                  <a:pt x="1894" y="471"/>
                </a:cubicBezTo>
                <a:cubicBezTo>
                  <a:pt x="1909" y="490"/>
                  <a:pt x="1929" y="500"/>
                  <a:pt x="1955" y="500"/>
                </a:cubicBezTo>
                <a:cubicBezTo>
                  <a:pt x="1980" y="500"/>
                  <a:pt x="2001" y="491"/>
                  <a:pt x="2017" y="473"/>
                </a:cubicBezTo>
                <a:cubicBezTo>
                  <a:pt x="2033" y="454"/>
                  <a:pt x="2041" y="431"/>
                  <a:pt x="2041" y="403"/>
                </a:cubicBezTo>
                <a:close/>
                <a:moveTo>
                  <a:pt x="2425" y="388"/>
                </a:moveTo>
                <a:cubicBezTo>
                  <a:pt x="2425" y="434"/>
                  <a:pt x="2412" y="470"/>
                  <a:pt x="2387" y="497"/>
                </a:cubicBezTo>
                <a:cubicBezTo>
                  <a:pt x="2361" y="525"/>
                  <a:pt x="2327" y="539"/>
                  <a:pt x="2284" y="539"/>
                </a:cubicBezTo>
                <a:cubicBezTo>
                  <a:pt x="2242" y="539"/>
                  <a:pt x="2208" y="525"/>
                  <a:pt x="2183" y="499"/>
                </a:cubicBezTo>
                <a:cubicBezTo>
                  <a:pt x="2158" y="472"/>
                  <a:pt x="2145" y="437"/>
                  <a:pt x="2145" y="393"/>
                </a:cubicBezTo>
                <a:cubicBezTo>
                  <a:pt x="2145" y="346"/>
                  <a:pt x="2158" y="309"/>
                  <a:pt x="2184" y="281"/>
                </a:cubicBezTo>
                <a:cubicBezTo>
                  <a:pt x="2210" y="254"/>
                  <a:pt x="2245" y="240"/>
                  <a:pt x="2290" y="240"/>
                </a:cubicBezTo>
                <a:cubicBezTo>
                  <a:pt x="2332" y="240"/>
                  <a:pt x="2366" y="253"/>
                  <a:pt x="2389" y="280"/>
                </a:cubicBezTo>
                <a:cubicBezTo>
                  <a:pt x="2413" y="306"/>
                  <a:pt x="2425" y="342"/>
                  <a:pt x="2425" y="388"/>
                </a:cubicBezTo>
                <a:close/>
                <a:moveTo>
                  <a:pt x="2379" y="390"/>
                </a:moveTo>
                <a:cubicBezTo>
                  <a:pt x="2379" y="354"/>
                  <a:pt x="2371" y="327"/>
                  <a:pt x="2355" y="308"/>
                </a:cubicBezTo>
                <a:cubicBezTo>
                  <a:pt x="2339" y="289"/>
                  <a:pt x="2316" y="279"/>
                  <a:pt x="2287" y="279"/>
                </a:cubicBezTo>
                <a:cubicBezTo>
                  <a:pt x="2258" y="279"/>
                  <a:pt x="2234" y="289"/>
                  <a:pt x="2217" y="308"/>
                </a:cubicBezTo>
                <a:cubicBezTo>
                  <a:pt x="2200" y="328"/>
                  <a:pt x="2192" y="356"/>
                  <a:pt x="2192" y="391"/>
                </a:cubicBezTo>
                <a:cubicBezTo>
                  <a:pt x="2192" y="425"/>
                  <a:pt x="2200" y="452"/>
                  <a:pt x="2218" y="471"/>
                </a:cubicBezTo>
                <a:cubicBezTo>
                  <a:pt x="2235" y="490"/>
                  <a:pt x="2258" y="500"/>
                  <a:pt x="2287" y="500"/>
                </a:cubicBezTo>
                <a:cubicBezTo>
                  <a:pt x="2317" y="500"/>
                  <a:pt x="2339" y="490"/>
                  <a:pt x="2355" y="471"/>
                </a:cubicBezTo>
                <a:cubicBezTo>
                  <a:pt x="2371" y="453"/>
                  <a:pt x="2379" y="425"/>
                  <a:pt x="2379" y="390"/>
                </a:cubicBezTo>
                <a:close/>
                <a:moveTo>
                  <a:pt x="2842" y="247"/>
                </a:moveTo>
                <a:cubicBezTo>
                  <a:pt x="2757" y="532"/>
                  <a:pt x="2757" y="532"/>
                  <a:pt x="2757" y="532"/>
                </a:cubicBezTo>
                <a:cubicBezTo>
                  <a:pt x="2710" y="532"/>
                  <a:pt x="2710" y="532"/>
                  <a:pt x="2710" y="532"/>
                </a:cubicBezTo>
                <a:cubicBezTo>
                  <a:pt x="2651" y="328"/>
                  <a:pt x="2651" y="328"/>
                  <a:pt x="2651" y="328"/>
                </a:cubicBezTo>
                <a:cubicBezTo>
                  <a:pt x="2649" y="321"/>
                  <a:pt x="2648" y="312"/>
                  <a:pt x="2647" y="302"/>
                </a:cubicBezTo>
                <a:cubicBezTo>
                  <a:pt x="2646" y="302"/>
                  <a:pt x="2646" y="302"/>
                  <a:pt x="2646" y="302"/>
                </a:cubicBezTo>
                <a:cubicBezTo>
                  <a:pt x="2645" y="308"/>
                  <a:pt x="2643" y="317"/>
                  <a:pt x="2640" y="328"/>
                </a:cubicBezTo>
                <a:cubicBezTo>
                  <a:pt x="2576" y="532"/>
                  <a:pt x="2576" y="532"/>
                  <a:pt x="2576" y="532"/>
                </a:cubicBezTo>
                <a:cubicBezTo>
                  <a:pt x="2531" y="532"/>
                  <a:pt x="2531" y="532"/>
                  <a:pt x="2531" y="532"/>
                </a:cubicBezTo>
                <a:cubicBezTo>
                  <a:pt x="2445" y="247"/>
                  <a:pt x="2445" y="247"/>
                  <a:pt x="2445" y="247"/>
                </a:cubicBezTo>
                <a:cubicBezTo>
                  <a:pt x="2493" y="247"/>
                  <a:pt x="2493" y="247"/>
                  <a:pt x="2493" y="247"/>
                </a:cubicBezTo>
                <a:cubicBezTo>
                  <a:pt x="2551" y="461"/>
                  <a:pt x="2551" y="461"/>
                  <a:pt x="2551" y="461"/>
                </a:cubicBezTo>
                <a:cubicBezTo>
                  <a:pt x="2553" y="469"/>
                  <a:pt x="2554" y="477"/>
                  <a:pt x="2555" y="487"/>
                </a:cubicBezTo>
                <a:cubicBezTo>
                  <a:pt x="2557" y="487"/>
                  <a:pt x="2557" y="487"/>
                  <a:pt x="2557" y="487"/>
                </a:cubicBezTo>
                <a:cubicBezTo>
                  <a:pt x="2558" y="480"/>
                  <a:pt x="2559" y="471"/>
                  <a:pt x="2563" y="461"/>
                </a:cubicBezTo>
                <a:cubicBezTo>
                  <a:pt x="2628" y="247"/>
                  <a:pt x="2628" y="247"/>
                  <a:pt x="2628" y="247"/>
                </a:cubicBezTo>
                <a:cubicBezTo>
                  <a:pt x="2670" y="247"/>
                  <a:pt x="2670" y="247"/>
                  <a:pt x="2670" y="247"/>
                </a:cubicBezTo>
                <a:cubicBezTo>
                  <a:pt x="2729" y="462"/>
                  <a:pt x="2729" y="462"/>
                  <a:pt x="2729" y="462"/>
                </a:cubicBezTo>
                <a:cubicBezTo>
                  <a:pt x="2731" y="469"/>
                  <a:pt x="2732" y="477"/>
                  <a:pt x="2733" y="487"/>
                </a:cubicBezTo>
                <a:cubicBezTo>
                  <a:pt x="2735" y="487"/>
                  <a:pt x="2735" y="487"/>
                  <a:pt x="2735" y="487"/>
                </a:cubicBezTo>
                <a:cubicBezTo>
                  <a:pt x="2735" y="478"/>
                  <a:pt x="2737" y="470"/>
                  <a:pt x="2739" y="462"/>
                </a:cubicBezTo>
                <a:cubicBezTo>
                  <a:pt x="2797" y="247"/>
                  <a:pt x="2797" y="247"/>
                  <a:pt x="2797" y="247"/>
                </a:cubicBezTo>
                <a:lnTo>
                  <a:pt x="2842" y="247"/>
                </a:lnTo>
                <a:close/>
                <a:moveTo>
                  <a:pt x="3039" y="456"/>
                </a:moveTo>
                <a:cubicBezTo>
                  <a:pt x="3039" y="480"/>
                  <a:pt x="3029" y="500"/>
                  <a:pt x="3010" y="516"/>
                </a:cubicBezTo>
                <a:cubicBezTo>
                  <a:pt x="2991" y="531"/>
                  <a:pt x="2966" y="539"/>
                  <a:pt x="2935" y="539"/>
                </a:cubicBezTo>
                <a:cubicBezTo>
                  <a:pt x="2908" y="539"/>
                  <a:pt x="2884" y="533"/>
                  <a:pt x="2864" y="521"/>
                </a:cubicBezTo>
                <a:cubicBezTo>
                  <a:pt x="2864" y="473"/>
                  <a:pt x="2864" y="473"/>
                  <a:pt x="2864" y="473"/>
                </a:cubicBezTo>
                <a:cubicBezTo>
                  <a:pt x="2886" y="491"/>
                  <a:pt x="2911" y="500"/>
                  <a:pt x="2938" y="500"/>
                </a:cubicBezTo>
                <a:cubicBezTo>
                  <a:pt x="2974" y="500"/>
                  <a:pt x="2992" y="487"/>
                  <a:pt x="2992" y="460"/>
                </a:cubicBezTo>
                <a:cubicBezTo>
                  <a:pt x="2992" y="449"/>
                  <a:pt x="2989" y="441"/>
                  <a:pt x="2982" y="434"/>
                </a:cubicBezTo>
                <a:cubicBezTo>
                  <a:pt x="2975" y="427"/>
                  <a:pt x="2959" y="418"/>
                  <a:pt x="2934" y="406"/>
                </a:cubicBezTo>
                <a:cubicBezTo>
                  <a:pt x="2908" y="396"/>
                  <a:pt x="2891" y="384"/>
                  <a:pt x="2880" y="372"/>
                </a:cubicBezTo>
                <a:cubicBezTo>
                  <a:pt x="2870" y="360"/>
                  <a:pt x="2865" y="343"/>
                  <a:pt x="2865" y="323"/>
                </a:cubicBezTo>
                <a:cubicBezTo>
                  <a:pt x="2865" y="299"/>
                  <a:pt x="2874" y="280"/>
                  <a:pt x="2893" y="264"/>
                </a:cubicBezTo>
                <a:cubicBezTo>
                  <a:pt x="2912" y="248"/>
                  <a:pt x="2936" y="240"/>
                  <a:pt x="2965" y="240"/>
                </a:cubicBezTo>
                <a:cubicBezTo>
                  <a:pt x="2987" y="240"/>
                  <a:pt x="3008" y="245"/>
                  <a:pt x="3026" y="254"/>
                </a:cubicBezTo>
                <a:cubicBezTo>
                  <a:pt x="3026" y="299"/>
                  <a:pt x="3026" y="299"/>
                  <a:pt x="3026" y="299"/>
                </a:cubicBezTo>
                <a:cubicBezTo>
                  <a:pt x="3007" y="286"/>
                  <a:pt x="2986" y="279"/>
                  <a:pt x="2961" y="279"/>
                </a:cubicBezTo>
                <a:cubicBezTo>
                  <a:pt x="2946" y="279"/>
                  <a:pt x="2934" y="283"/>
                  <a:pt x="2925" y="290"/>
                </a:cubicBezTo>
                <a:cubicBezTo>
                  <a:pt x="2916" y="298"/>
                  <a:pt x="2911" y="307"/>
                  <a:pt x="2911" y="319"/>
                </a:cubicBezTo>
                <a:cubicBezTo>
                  <a:pt x="2911" y="332"/>
                  <a:pt x="2915" y="341"/>
                  <a:pt x="2922" y="348"/>
                </a:cubicBezTo>
                <a:cubicBezTo>
                  <a:pt x="2929" y="355"/>
                  <a:pt x="2943" y="363"/>
                  <a:pt x="2965" y="372"/>
                </a:cubicBezTo>
                <a:cubicBezTo>
                  <a:pt x="2993" y="383"/>
                  <a:pt x="3012" y="396"/>
                  <a:pt x="3022" y="408"/>
                </a:cubicBezTo>
                <a:cubicBezTo>
                  <a:pt x="3033" y="421"/>
                  <a:pt x="3039" y="437"/>
                  <a:pt x="3039" y="4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89607" tIns="44803" rIns="89607" bIns="44803" numCol="1" anchor="t" anchorCtr="0" compatLnSpc="1">
            <a:prstTxWarp prst="textNoShape">
              <a:avLst/>
            </a:prstTxWarp>
          </a:bodyPr>
          <a:lstStyle/>
          <a:p>
            <a:pPr defTabSz="913963"/>
            <a:endParaRPr lang="en-US" sz="176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587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6078203" y="0"/>
            <a:ext cx="6110622" cy="6858000"/>
          </a:xfr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" y="1146"/>
            <a:ext cx="6094411" cy="6856855"/>
          </a:xfrm>
          <a:prstGeom prst="rect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299" y="457200"/>
            <a:ext cx="5582619" cy="2228851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lang="en-US" sz="3199" kern="1200" dirty="0">
                <a:gradFill>
                  <a:gsLst>
                    <a:gs pos="0">
                      <a:schemeClr val="bg1">
                        <a:alpha val="99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01547" y="4023360"/>
            <a:ext cx="5583371" cy="2651760"/>
          </a:xfrm>
        </p:spPr>
        <p:txBody>
          <a:bodyPr numCol="2" spcCol="18288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gradFill>
                  <a:gsLst>
                    <a:gs pos="0">
                      <a:schemeClr val="bg1">
                        <a:alpha val="99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</a:defRPr>
            </a:lvl1pPr>
            <a:lvl2pPr marL="457086" indent="0">
              <a:lnSpc>
                <a:spcPct val="100000"/>
              </a:lnSpc>
              <a:buNone/>
              <a:defRPr sz="1400">
                <a:gradFill>
                  <a:gsLst>
                    <a:gs pos="0">
                      <a:schemeClr val="bg1">
                        <a:alpha val="99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</a:defRPr>
            </a:lvl2pPr>
            <a:lvl3pPr marL="914171" indent="0">
              <a:lnSpc>
                <a:spcPct val="100000"/>
              </a:lnSpc>
              <a:buNone/>
              <a:defRPr sz="1400">
                <a:gradFill>
                  <a:gsLst>
                    <a:gs pos="0">
                      <a:schemeClr val="bg1">
                        <a:alpha val="99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</a:defRPr>
            </a:lvl3pPr>
            <a:lvl4pPr marL="1371257" indent="0">
              <a:lnSpc>
                <a:spcPct val="100000"/>
              </a:lnSpc>
              <a:buNone/>
              <a:defRPr sz="1400">
                <a:gradFill>
                  <a:gsLst>
                    <a:gs pos="0">
                      <a:schemeClr val="bg1">
                        <a:alpha val="99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</a:defRPr>
            </a:lvl4pPr>
            <a:lvl5pPr marL="1828343" indent="0">
              <a:lnSpc>
                <a:spcPct val="100000"/>
              </a:lnSpc>
              <a:buNone/>
              <a:defRPr sz="1400">
                <a:gradFill>
                  <a:gsLst>
                    <a:gs pos="0">
                      <a:schemeClr val="bg1">
                        <a:alpha val="9900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877074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521593" y="6412974"/>
            <a:ext cx="667233" cy="365125"/>
          </a:xfrm>
          <a:prstGeom prst="rect">
            <a:avLst/>
          </a:prstGeom>
        </p:spPr>
        <p:txBody>
          <a:bodyPr rIns="182880"/>
          <a:lstStyle>
            <a:lvl1pPr>
              <a:defRPr sz="900">
                <a:solidFill>
                  <a:srgbClr val="A5A5A5"/>
                </a:solidFill>
              </a:defRPr>
            </a:lvl1pPr>
          </a:lstStyle>
          <a:p>
            <a:fld id="{B34F68F0-1D97-479E-8476-1F6D336BF1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4031" y="6400800"/>
            <a:ext cx="3628705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rgbClr val="A5A5A5"/>
                </a:solidFill>
              </a:defRPr>
            </a:lvl1pPr>
          </a:lstStyle>
          <a:p>
            <a:r>
              <a:t>Microsoft Confidential l Education Storybook </a:t>
            </a:r>
          </a:p>
        </p:txBody>
      </p:sp>
    </p:spTree>
    <p:extLst>
      <p:ext uri="{BB962C8B-B14F-4D97-AF65-F5344CB8AC3E}">
        <p14:creationId xmlns:p14="http://schemas.microsoft.com/office/powerpoint/2010/main" val="2890104317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64525" y="404227"/>
            <a:ext cx="6746515" cy="500458"/>
          </a:xfrm>
          <a:noFill/>
        </p:spPr>
        <p:txBody>
          <a:bodyPr wrap="square" lIns="91440" rtlCol="0">
            <a:spAutoFit/>
          </a:bodyPr>
          <a:lstStyle>
            <a:lvl1pPr>
              <a:defRPr lang="en-US" sz="1800" kern="0" spc="-51" baseline="0" dirty="0" smtClean="0">
                <a:gradFill>
                  <a:gsLst>
                    <a:gs pos="2655">
                      <a:srgbClr val="0078D7"/>
                    </a:gs>
                    <a:gs pos="29204">
                      <a:srgbClr val="0078D7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4000"/>
              </a:lnSpc>
              <a:spcAft>
                <a:spcPts val="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4525" y="979405"/>
            <a:ext cx="11472732" cy="526170"/>
          </a:xfrm>
          <a:noFill/>
        </p:spPr>
        <p:txBody>
          <a:bodyPr wrap="square" lIns="91440" tIns="0" rIns="182880" bIns="0" rtlCol="0">
            <a:spAutoFit/>
          </a:bodyPr>
          <a:lstStyle>
            <a:lvl1pPr>
              <a:defRPr lang="en-US" sz="3599" kern="0" spc="-100" dirty="0">
                <a:gradFill>
                  <a:gsLst>
                    <a:gs pos="77778">
                      <a:srgbClr val="0078D7"/>
                    </a:gs>
                    <a:gs pos="54630">
                      <a:srgbClr val="0078D7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521593" y="6412974"/>
            <a:ext cx="667233" cy="365125"/>
          </a:xfrm>
          <a:prstGeom prst="rect">
            <a:avLst/>
          </a:prstGeom>
        </p:spPr>
        <p:txBody>
          <a:bodyPr rIns="182880"/>
          <a:lstStyle>
            <a:lvl1pPr>
              <a:defRPr sz="900">
                <a:solidFill>
                  <a:srgbClr val="A5A5A5"/>
                </a:solidFill>
              </a:defRPr>
            </a:lvl1pPr>
          </a:lstStyle>
          <a:p>
            <a:fld id="{B34F68F0-1D97-479E-8476-1F6D336BF1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4031" y="6400800"/>
            <a:ext cx="3635428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rgbClr val="A5A5A5"/>
                </a:solidFill>
              </a:defRPr>
            </a:lvl1pPr>
          </a:lstStyle>
          <a:p>
            <a:r>
              <a:t>Microsoft Confidential l Education Storybook </a:t>
            </a:r>
          </a:p>
        </p:txBody>
      </p:sp>
    </p:spTree>
    <p:extLst>
      <p:ext uri="{BB962C8B-B14F-4D97-AF65-F5344CB8AC3E}">
        <p14:creationId xmlns:p14="http://schemas.microsoft.com/office/powerpoint/2010/main" val="2302646617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64525" y="404227"/>
            <a:ext cx="6746515" cy="500458"/>
          </a:xfrm>
          <a:noFill/>
        </p:spPr>
        <p:txBody>
          <a:bodyPr wrap="square" lIns="91440" rtlCol="0">
            <a:spAutoFit/>
          </a:bodyPr>
          <a:lstStyle>
            <a:lvl1pPr>
              <a:defRPr lang="en-US" sz="1800" kern="0" spc="-51" baseline="0" dirty="0" smtClean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4000"/>
              </a:lnSpc>
              <a:spcAft>
                <a:spcPts val="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4525" y="978409"/>
            <a:ext cx="11472732" cy="526170"/>
          </a:xfrm>
          <a:noFill/>
        </p:spPr>
        <p:txBody>
          <a:bodyPr wrap="square" lIns="91440" tIns="0" rIns="182880" bIns="0" rtlCol="0">
            <a:spAutoFit/>
          </a:bodyPr>
          <a:lstStyle>
            <a:lvl1pPr>
              <a:defRPr lang="en-US" sz="3599" kern="0" spc="-100" dirty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521593" y="6412974"/>
            <a:ext cx="667233" cy="365125"/>
          </a:xfrm>
          <a:prstGeom prst="rect">
            <a:avLst/>
          </a:prstGeom>
        </p:spPr>
        <p:txBody>
          <a:bodyPr rIns="18288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B34F68F0-1D97-479E-8476-1F6D336BF15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4031" y="6400800"/>
            <a:ext cx="4159727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</a:rPr>
              <a:t>Microsoft Confidential l Education Storybook </a:t>
            </a:r>
          </a:p>
        </p:txBody>
      </p:sp>
    </p:spTree>
    <p:extLst>
      <p:ext uri="{BB962C8B-B14F-4D97-AF65-F5344CB8AC3E}">
        <p14:creationId xmlns:p14="http://schemas.microsoft.com/office/powerpoint/2010/main" val="57463164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64525" y="404227"/>
            <a:ext cx="6746515" cy="500458"/>
          </a:xfrm>
          <a:noFill/>
        </p:spPr>
        <p:txBody>
          <a:bodyPr wrap="square" lIns="91440" rtlCol="0">
            <a:spAutoFit/>
          </a:bodyPr>
          <a:lstStyle>
            <a:lvl1pPr>
              <a:defRPr lang="en-US" sz="1800" kern="0" spc="-51" baseline="0" dirty="0" smtClean="0">
                <a:gradFill>
                  <a:gsLst>
                    <a:gs pos="2655">
                      <a:srgbClr val="0078D7"/>
                    </a:gs>
                    <a:gs pos="29204">
                      <a:srgbClr val="0078D7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4000"/>
              </a:lnSpc>
              <a:spcAft>
                <a:spcPts val="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4525" y="979405"/>
            <a:ext cx="11472732" cy="526170"/>
          </a:xfrm>
          <a:noFill/>
        </p:spPr>
        <p:txBody>
          <a:bodyPr wrap="square" lIns="91440" tIns="0" rIns="182880" bIns="0" rtlCol="0">
            <a:spAutoFit/>
          </a:bodyPr>
          <a:lstStyle>
            <a:lvl1pPr>
              <a:defRPr lang="en-US" sz="3599" kern="0" spc="-100" dirty="0">
                <a:gradFill>
                  <a:gsLst>
                    <a:gs pos="77778">
                      <a:srgbClr val="0078D7"/>
                    </a:gs>
                    <a:gs pos="54630">
                      <a:srgbClr val="0078D7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521593" y="6412974"/>
            <a:ext cx="667233" cy="365125"/>
          </a:xfrm>
          <a:prstGeom prst="rect">
            <a:avLst/>
          </a:prstGeom>
        </p:spPr>
        <p:txBody>
          <a:bodyPr rIns="182880"/>
          <a:lstStyle>
            <a:lvl1pPr>
              <a:defRPr sz="900">
                <a:solidFill>
                  <a:srgbClr val="A5A5A5"/>
                </a:solidFill>
              </a:defRPr>
            </a:lvl1pPr>
          </a:lstStyle>
          <a:p>
            <a:fld id="{B34F68F0-1D97-479E-8476-1F6D336BF1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4031" y="6400800"/>
            <a:ext cx="4085786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rgbClr val="A5A5A5"/>
                </a:solidFill>
              </a:defRPr>
            </a:lvl1pPr>
          </a:lstStyle>
          <a:p>
            <a:r>
              <a:t>Microsoft Confidential l Education Storybook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65030" y="1574800"/>
            <a:ext cx="11471463" cy="492443"/>
          </a:xfrm>
        </p:spPr>
        <p:txBody>
          <a:bodyPr/>
          <a:lstStyle>
            <a:lvl1pPr algn="l" defTabSz="914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 lang="en-US" sz="2000" b="0" kern="120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algn="l" defTabSz="914171" rtl="0" eaLnBrk="1" latinLnBrk="0" hangingPunct="1"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171" rtl="0" eaLnBrk="1" latinLnBrk="0" hangingPunct="1"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171" rtl="0" eaLnBrk="1" latinLnBrk="0" hangingPunct="1"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171" rtl="0" eaLnBrk="1" latinLnBrk="0" hangingPunct="1">
              <a:defRPr 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8998184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64525" y="404227"/>
            <a:ext cx="6746515" cy="500458"/>
          </a:xfrm>
          <a:noFill/>
        </p:spPr>
        <p:txBody>
          <a:bodyPr wrap="square" lIns="91440" rtlCol="0">
            <a:spAutoFit/>
          </a:bodyPr>
          <a:lstStyle>
            <a:lvl1pPr>
              <a:defRPr lang="en-US" sz="1800" kern="0" spc="-51" baseline="0" dirty="0" smtClean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4000"/>
              </a:lnSpc>
              <a:spcAft>
                <a:spcPts val="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4525" y="979405"/>
            <a:ext cx="11472732" cy="526170"/>
          </a:xfrm>
          <a:noFill/>
        </p:spPr>
        <p:txBody>
          <a:bodyPr wrap="square" lIns="91440" tIns="0" rIns="182880" bIns="0" rtlCol="0">
            <a:spAutoFit/>
          </a:bodyPr>
          <a:lstStyle>
            <a:lvl1pPr>
              <a:defRPr lang="en-US" sz="3599" kern="0" spc="-100" dirty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521593" y="6412974"/>
            <a:ext cx="667233" cy="365125"/>
          </a:xfrm>
          <a:prstGeom prst="rect">
            <a:avLst/>
          </a:prstGeom>
        </p:spPr>
        <p:txBody>
          <a:bodyPr rIns="18288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B34F68F0-1D97-479E-8476-1F6D336BF15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4031" y="6400800"/>
            <a:ext cx="3998405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</a:rPr>
              <a:t>Microsoft Confidential l Education Storybook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65030" y="1574800"/>
            <a:ext cx="11471463" cy="492443"/>
          </a:xfrm>
        </p:spPr>
        <p:txBody>
          <a:bodyPr lIns="91440"/>
          <a:lstStyle>
            <a:lvl1pPr algn="l" defTabSz="914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 lang="en-US" sz="20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914171" rtl="0" eaLnBrk="1" latinLnBrk="0" hangingPunct="1"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171" rtl="0" eaLnBrk="1" latinLnBrk="0" hangingPunct="1"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171" rtl="0" eaLnBrk="1" latinLnBrk="0" hangingPunct="1"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171" rtl="0" eaLnBrk="1" latinLnBrk="0" hangingPunct="1">
              <a:defRPr 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5454916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521593" y="6412974"/>
            <a:ext cx="667233" cy="365125"/>
          </a:xfrm>
          <a:prstGeom prst="rect">
            <a:avLst/>
          </a:prstGeom>
        </p:spPr>
        <p:txBody>
          <a:bodyPr lIns="91440" rIns="18288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B34F68F0-1D97-479E-8476-1F6D336BF15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5666" y="6400800"/>
            <a:ext cx="3756420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</a:rPr>
              <a:t>Microsoft Confidential l Education Storybook </a:t>
            </a:r>
          </a:p>
        </p:txBody>
      </p:sp>
    </p:spTree>
    <p:extLst>
      <p:ext uri="{BB962C8B-B14F-4D97-AF65-F5344CB8AC3E}">
        <p14:creationId xmlns:p14="http://schemas.microsoft.com/office/powerpoint/2010/main" val="41388269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24007" y="248659"/>
            <a:ext cx="6662799" cy="500458"/>
          </a:xfrm>
          <a:noFill/>
        </p:spPr>
        <p:txBody>
          <a:bodyPr wrap="square" lIns="91440" rtlCol="0">
            <a:spAutoFit/>
          </a:bodyPr>
          <a:lstStyle>
            <a:lvl1pPr>
              <a:defRPr lang="en-US" sz="1800" kern="0" spc="-51" baseline="0" dirty="0" smtClean="0">
                <a:gradFill>
                  <a:gsLst>
                    <a:gs pos="37037">
                      <a:prstClr val="white"/>
                    </a:gs>
                    <a:gs pos="53000">
                      <a:prstClr val="white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4000"/>
              </a:lnSpc>
              <a:spcAft>
                <a:spcPts val="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40292" y="801848"/>
            <a:ext cx="11655564" cy="1415772"/>
          </a:xfrm>
        </p:spPr>
        <p:txBody>
          <a:bodyPr wrap="square">
            <a:spAutoFit/>
          </a:bodyPr>
          <a:lstStyle>
            <a:lvl1pPr>
              <a:defRPr lang="en-US" sz="9598" spc="-600" dirty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lvl="0">
              <a:lnSpc>
                <a:spcPts val="9598"/>
              </a:lnSpc>
            </a:pPr>
            <a:r>
              <a:rPr lang="en-US"/>
              <a:t>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9446339" y="6412974"/>
            <a:ext cx="2742486" cy="365125"/>
          </a:xfrm>
          <a:prstGeom prst="rect">
            <a:avLst/>
          </a:prstGeom>
        </p:spPr>
        <p:txBody>
          <a:bodyPr lIns="91440" rIns="182880"/>
          <a:lstStyle>
            <a:lvl1pPr>
              <a:defRPr sz="900">
                <a:gradFill>
                  <a:gsLst>
                    <a:gs pos="92920">
                      <a:srgbClr val="FFFFFF"/>
                    </a:gs>
                    <a:gs pos="77778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fld id="{B34F68F0-1D97-479E-8476-1F6D336BF1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240292" y="2357337"/>
            <a:ext cx="8428572" cy="2191515"/>
          </a:xfrm>
          <a:noFill/>
        </p:spPr>
        <p:txBody>
          <a:bodyPr wrap="square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 lang="en-US" sz="2000" spc="0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3000"/>
              </a:lnSpc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4029" y="6400800"/>
            <a:ext cx="5415248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</a:rPr>
              <a:t>Microsoft Confidential l Education Storybook </a:t>
            </a:r>
          </a:p>
        </p:txBody>
      </p:sp>
    </p:spTree>
    <p:extLst>
      <p:ext uri="{BB962C8B-B14F-4D97-AF65-F5344CB8AC3E}">
        <p14:creationId xmlns:p14="http://schemas.microsoft.com/office/powerpoint/2010/main" val="3180802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003301"/>
            <a:ext cx="12188825" cy="58547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24" tIns="109699" rIns="137124" bIns="10969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24007" y="248659"/>
            <a:ext cx="6662799" cy="500458"/>
          </a:xfrm>
          <a:noFill/>
        </p:spPr>
        <p:txBody>
          <a:bodyPr wrap="square" lIns="91440" rtlCol="0">
            <a:spAutoFit/>
          </a:bodyPr>
          <a:lstStyle>
            <a:lvl1pPr>
              <a:lnSpc>
                <a:spcPct val="100000"/>
              </a:lnSpc>
              <a:defRPr lang="en-US" sz="1800" kern="0" spc="-51" baseline="0" dirty="0" smtClean="0">
                <a:gradFill>
                  <a:gsLst>
                    <a:gs pos="37037">
                      <a:prstClr val="white"/>
                    </a:gs>
                    <a:gs pos="53000">
                      <a:prstClr val="white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4000"/>
              </a:lnSpc>
              <a:spcAft>
                <a:spcPts val="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240292" y="1693099"/>
            <a:ext cx="11655564" cy="1415772"/>
          </a:xfrm>
        </p:spPr>
        <p:txBody>
          <a:bodyPr wrap="square">
            <a:spAutoFit/>
          </a:bodyPr>
          <a:lstStyle>
            <a:lvl1pPr>
              <a:defRPr lang="en-US" sz="9598" spc="-500" baseline="0" dirty="0">
                <a:solidFill>
                  <a:schemeClr val="accent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lvl="0">
              <a:lnSpc>
                <a:spcPts val="9598"/>
              </a:lnSpc>
            </a:pPr>
            <a:r>
              <a:rPr lang="en-US"/>
              <a:t>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521593" y="6412974"/>
            <a:ext cx="667233" cy="365125"/>
          </a:xfrm>
          <a:prstGeom prst="rect">
            <a:avLst/>
          </a:prstGeom>
        </p:spPr>
        <p:txBody>
          <a:bodyPr lIns="91440" rIns="182880"/>
          <a:lstStyle>
            <a:lvl1pPr>
              <a:defRPr sz="900">
                <a:solidFill>
                  <a:srgbClr val="A5A5A5"/>
                </a:solidFill>
              </a:defRPr>
            </a:lvl1pPr>
          </a:lstStyle>
          <a:p>
            <a:fld id="{B34F68F0-1D97-479E-8476-1F6D336BF1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240292" y="3248588"/>
            <a:ext cx="8428572" cy="2191515"/>
          </a:xfrm>
          <a:noFill/>
        </p:spPr>
        <p:txBody>
          <a:bodyPr wrap="square" rtlCol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 lang="en-US" sz="2000" spc="0" dirty="0" smtClean="0">
                <a:solidFill>
                  <a:schemeClr val="accent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3000"/>
              </a:lnSpc>
              <a:spcAft>
                <a:spcPts val="18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4029" y="6400800"/>
            <a:ext cx="5415248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rgbClr val="A5A5A5"/>
                </a:solidFill>
              </a:defRPr>
            </a:lvl1pPr>
          </a:lstStyle>
          <a:p>
            <a:r>
              <a:t>Microsoft Confidential l Education Storybook </a:t>
            </a:r>
          </a:p>
        </p:txBody>
      </p:sp>
    </p:spTree>
    <p:extLst>
      <p:ext uri="{BB962C8B-B14F-4D97-AF65-F5344CB8AC3E}">
        <p14:creationId xmlns:p14="http://schemas.microsoft.com/office/powerpoint/2010/main" val="1822750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7352" y="6412973"/>
            <a:ext cx="2741474" cy="364224"/>
          </a:xfrm>
          <a:prstGeom prst="rect">
            <a:avLst/>
          </a:prstGeom>
        </p:spPr>
        <p:txBody>
          <a:bodyPr vert="horz" lIns="179277" tIns="44819" rIns="179277" bIns="44819" rtlCol="0" anchor="ctr"/>
          <a:lstStyle>
            <a:lvl1pPr algn="r">
              <a:defRPr sz="900">
                <a:solidFill>
                  <a:srgbClr val="A5A5A5"/>
                </a:solidFill>
              </a:defRPr>
            </a:lvl1pPr>
          </a:lstStyle>
          <a:p>
            <a:fld id="{6503E857-4F15-4ECA-BD4D-D22AAAB9E6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4029" y="6400800"/>
            <a:ext cx="5415248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rgbClr val="A5A5A5"/>
                </a:solidFill>
              </a:defRPr>
            </a:lvl1pPr>
          </a:lstStyle>
          <a:p>
            <a:r>
              <a:t>Microsoft Confidential l Education Storybook </a:t>
            </a:r>
          </a:p>
        </p:txBody>
      </p:sp>
    </p:spTree>
    <p:extLst>
      <p:ext uri="{BB962C8B-B14F-4D97-AF65-F5344CB8AC3E}">
        <p14:creationId xmlns:p14="http://schemas.microsoft.com/office/powerpoint/2010/main" val="760232850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7352" y="6412973"/>
            <a:ext cx="2741474" cy="364224"/>
          </a:xfrm>
          <a:prstGeom prst="rect">
            <a:avLst/>
          </a:prstGeom>
        </p:spPr>
        <p:txBody>
          <a:bodyPr vert="horz" lIns="179277" tIns="44819" rIns="179277" bIns="44819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6503E857-4F15-4ECA-BD4D-D22AAAB9E67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64029" y="6400800"/>
            <a:ext cx="5415248" cy="365125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>
                <a:solidFill>
                  <a:prstClr val="white"/>
                </a:solidFill>
              </a:rPr>
              <a:t>Microsoft Confidential l Education Storybook </a:t>
            </a:r>
          </a:p>
        </p:txBody>
      </p:sp>
    </p:spTree>
    <p:extLst>
      <p:ext uri="{BB962C8B-B14F-4D97-AF65-F5344CB8AC3E}">
        <p14:creationId xmlns:p14="http://schemas.microsoft.com/office/powerpoint/2010/main" val="2668643125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169" y="6171617"/>
            <a:ext cx="11650488" cy="39729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1" tIns="143385" rIns="179231" bIns="143385" numCol="1" anchor="t" anchorCtr="0" compatLnSpc="1">
            <a:prstTxWarp prst="textNoShape">
              <a:avLst/>
            </a:prstTxWarp>
            <a:spAutoFit/>
          </a:bodyPr>
          <a:lstStyle/>
          <a:p>
            <a:pPr defTabSz="913696" eaLnBrk="0" hangingPunct="0"/>
            <a:r>
              <a:rPr lang="en-US" sz="700">
                <a:gradFill>
                  <a:gsLst>
                    <a:gs pos="0">
                      <a:prstClr val="white"/>
                    </a:gs>
                    <a:gs pos="100000">
                      <a:prstClr val="white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089" y="3083653"/>
            <a:ext cx="322628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023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indows 10"/>
          <p:cNvSpPr>
            <a:spLocks noChangeAspect="1" noEditPoints="1"/>
          </p:cNvSpPr>
          <p:nvPr/>
        </p:nvSpPr>
        <p:spPr bwMode="auto">
          <a:xfrm>
            <a:off x="448469" y="937136"/>
            <a:ext cx="2877757" cy="537931"/>
          </a:xfrm>
          <a:custGeom>
            <a:avLst/>
            <a:gdLst>
              <a:gd name="T0" fmla="*/ 295 w 3590"/>
              <a:gd name="T1" fmla="*/ 329 h 668"/>
              <a:gd name="T2" fmla="*/ 0 w 3590"/>
              <a:gd name="T3" fmla="*/ 94 h 668"/>
              <a:gd name="T4" fmla="*/ 295 w 3590"/>
              <a:gd name="T5" fmla="*/ 616 h 668"/>
              <a:gd name="T6" fmla="*/ 284 w 3590"/>
              <a:gd name="T7" fmla="*/ 340 h 668"/>
              <a:gd name="T8" fmla="*/ 284 w 3590"/>
              <a:gd name="T9" fmla="*/ 340 h 668"/>
              <a:gd name="T10" fmla="*/ 3196 w 3590"/>
              <a:gd name="T11" fmla="*/ 160 h 668"/>
              <a:gd name="T12" fmla="*/ 3158 w 3590"/>
              <a:gd name="T13" fmla="*/ 224 h 668"/>
              <a:gd name="T14" fmla="*/ 3223 w 3590"/>
              <a:gd name="T15" fmla="*/ 531 h 668"/>
              <a:gd name="T16" fmla="*/ 3407 w 3590"/>
              <a:gd name="T17" fmla="*/ 139 h 668"/>
              <a:gd name="T18" fmla="*/ 3339 w 3590"/>
              <a:gd name="T19" fmla="*/ 424 h 668"/>
              <a:gd name="T20" fmla="*/ 3513 w 3590"/>
              <a:gd name="T21" fmla="*/ 524 h 668"/>
              <a:gd name="T22" fmla="*/ 3465 w 3590"/>
              <a:gd name="T23" fmla="*/ 125 h 668"/>
              <a:gd name="T24" fmla="*/ 3544 w 3590"/>
              <a:gd name="T25" fmla="*/ 334 h 668"/>
              <a:gd name="T26" fmla="*/ 1215 w 3590"/>
              <a:gd name="T27" fmla="*/ 532 h 668"/>
              <a:gd name="T28" fmla="*/ 1118 w 3590"/>
              <a:gd name="T29" fmla="*/ 240 h 668"/>
              <a:gd name="T30" fmla="*/ 916 w 3590"/>
              <a:gd name="T31" fmla="*/ 133 h 668"/>
              <a:gd name="T32" fmla="*/ 1017 w 3590"/>
              <a:gd name="T33" fmla="*/ 439 h 668"/>
              <a:gd name="T34" fmla="*/ 1242 w 3590"/>
              <a:gd name="T35" fmla="*/ 478 h 668"/>
              <a:gd name="T36" fmla="*/ 1382 w 3590"/>
              <a:gd name="T37" fmla="*/ 133 h 668"/>
              <a:gd name="T38" fmla="*/ 1424 w 3590"/>
              <a:gd name="T39" fmla="*/ 175 h 668"/>
              <a:gd name="T40" fmla="*/ 1467 w 3590"/>
              <a:gd name="T41" fmla="*/ 132 h 668"/>
              <a:gd name="T42" fmla="*/ 1422 w 3590"/>
              <a:gd name="T43" fmla="*/ 247 h 668"/>
              <a:gd name="T44" fmla="*/ 1726 w 3590"/>
              <a:gd name="T45" fmla="*/ 532 h 668"/>
              <a:gd name="T46" fmla="*/ 1581 w 3590"/>
              <a:gd name="T47" fmla="*/ 369 h 668"/>
              <a:gd name="T48" fmla="*/ 1581 w 3590"/>
              <a:gd name="T49" fmla="*/ 247 h 668"/>
              <a:gd name="T50" fmla="*/ 1747 w 3590"/>
              <a:gd name="T51" fmla="*/ 271 h 668"/>
              <a:gd name="T52" fmla="*/ 2041 w 3590"/>
              <a:gd name="T53" fmla="*/ 532 h 668"/>
              <a:gd name="T54" fmla="*/ 1856 w 3590"/>
              <a:gd name="T55" fmla="*/ 500 h 668"/>
              <a:gd name="T56" fmla="*/ 2040 w 3590"/>
              <a:gd name="T57" fmla="*/ 286 h 668"/>
              <a:gd name="T58" fmla="*/ 2087 w 3590"/>
              <a:gd name="T59" fmla="*/ 532 h 668"/>
              <a:gd name="T60" fmla="*/ 1960 w 3590"/>
              <a:gd name="T61" fmla="*/ 279 h 668"/>
              <a:gd name="T62" fmla="*/ 1955 w 3590"/>
              <a:gd name="T63" fmla="*/ 500 h 668"/>
              <a:gd name="T64" fmla="*/ 2387 w 3590"/>
              <a:gd name="T65" fmla="*/ 497 h 668"/>
              <a:gd name="T66" fmla="*/ 2184 w 3590"/>
              <a:gd name="T67" fmla="*/ 281 h 668"/>
              <a:gd name="T68" fmla="*/ 2379 w 3590"/>
              <a:gd name="T69" fmla="*/ 390 h 668"/>
              <a:gd name="T70" fmla="*/ 2192 w 3590"/>
              <a:gd name="T71" fmla="*/ 391 h 668"/>
              <a:gd name="T72" fmla="*/ 2379 w 3590"/>
              <a:gd name="T73" fmla="*/ 390 h 668"/>
              <a:gd name="T74" fmla="*/ 2651 w 3590"/>
              <a:gd name="T75" fmla="*/ 328 h 668"/>
              <a:gd name="T76" fmla="*/ 2576 w 3590"/>
              <a:gd name="T77" fmla="*/ 532 h 668"/>
              <a:gd name="T78" fmla="*/ 2551 w 3590"/>
              <a:gd name="T79" fmla="*/ 461 h 668"/>
              <a:gd name="T80" fmla="*/ 2628 w 3590"/>
              <a:gd name="T81" fmla="*/ 247 h 668"/>
              <a:gd name="T82" fmla="*/ 2735 w 3590"/>
              <a:gd name="T83" fmla="*/ 487 h 668"/>
              <a:gd name="T84" fmla="*/ 3039 w 3590"/>
              <a:gd name="T85" fmla="*/ 456 h 668"/>
              <a:gd name="T86" fmla="*/ 2864 w 3590"/>
              <a:gd name="T87" fmla="*/ 473 h 668"/>
              <a:gd name="T88" fmla="*/ 2934 w 3590"/>
              <a:gd name="T89" fmla="*/ 406 h 668"/>
              <a:gd name="T90" fmla="*/ 2965 w 3590"/>
              <a:gd name="T91" fmla="*/ 240 h 668"/>
              <a:gd name="T92" fmla="*/ 2925 w 3590"/>
              <a:gd name="T93" fmla="*/ 290 h 668"/>
              <a:gd name="T94" fmla="*/ 3022 w 3590"/>
              <a:gd name="T95" fmla="*/ 408 h 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90" h="668">
                <a:moveTo>
                  <a:pt x="295" y="52"/>
                </a:moveTo>
                <a:cubicBezTo>
                  <a:pt x="667" y="0"/>
                  <a:pt x="667" y="0"/>
                  <a:pt x="667" y="0"/>
                </a:cubicBezTo>
                <a:cubicBezTo>
                  <a:pt x="667" y="329"/>
                  <a:pt x="667" y="329"/>
                  <a:pt x="667" y="329"/>
                </a:cubicBezTo>
                <a:cubicBezTo>
                  <a:pt x="295" y="329"/>
                  <a:pt x="295" y="329"/>
                  <a:pt x="295" y="329"/>
                </a:cubicBezTo>
                <a:lnTo>
                  <a:pt x="295" y="52"/>
                </a:lnTo>
                <a:close/>
                <a:moveTo>
                  <a:pt x="284" y="329"/>
                </a:moveTo>
                <a:cubicBezTo>
                  <a:pt x="284" y="54"/>
                  <a:pt x="284" y="54"/>
                  <a:pt x="284" y="5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329"/>
                  <a:pt x="0" y="329"/>
                  <a:pt x="0" y="329"/>
                </a:cubicBezTo>
                <a:lnTo>
                  <a:pt x="284" y="329"/>
                </a:lnTo>
                <a:close/>
                <a:moveTo>
                  <a:pt x="295" y="340"/>
                </a:moveTo>
                <a:cubicBezTo>
                  <a:pt x="295" y="616"/>
                  <a:pt x="295" y="616"/>
                  <a:pt x="295" y="616"/>
                </a:cubicBezTo>
                <a:cubicBezTo>
                  <a:pt x="667" y="668"/>
                  <a:pt x="667" y="668"/>
                  <a:pt x="667" y="668"/>
                </a:cubicBezTo>
                <a:cubicBezTo>
                  <a:pt x="667" y="340"/>
                  <a:pt x="667" y="340"/>
                  <a:pt x="667" y="340"/>
                </a:cubicBezTo>
                <a:lnTo>
                  <a:pt x="295" y="340"/>
                </a:lnTo>
                <a:close/>
                <a:moveTo>
                  <a:pt x="284" y="340"/>
                </a:moveTo>
                <a:cubicBezTo>
                  <a:pt x="0" y="340"/>
                  <a:pt x="0" y="340"/>
                  <a:pt x="0" y="340"/>
                </a:cubicBezTo>
                <a:cubicBezTo>
                  <a:pt x="0" y="575"/>
                  <a:pt x="0" y="575"/>
                  <a:pt x="0" y="575"/>
                </a:cubicBezTo>
                <a:cubicBezTo>
                  <a:pt x="284" y="615"/>
                  <a:pt x="284" y="615"/>
                  <a:pt x="284" y="615"/>
                </a:cubicBezTo>
                <a:lnTo>
                  <a:pt x="284" y="340"/>
                </a:lnTo>
                <a:close/>
                <a:moveTo>
                  <a:pt x="3269" y="123"/>
                </a:moveTo>
                <a:cubicBezTo>
                  <a:pt x="3252" y="123"/>
                  <a:pt x="3252" y="123"/>
                  <a:pt x="3252" y="123"/>
                </a:cubicBezTo>
                <a:cubicBezTo>
                  <a:pt x="3245" y="129"/>
                  <a:pt x="3236" y="136"/>
                  <a:pt x="3227" y="142"/>
                </a:cubicBezTo>
                <a:cubicBezTo>
                  <a:pt x="3217" y="148"/>
                  <a:pt x="3207" y="154"/>
                  <a:pt x="3196" y="160"/>
                </a:cubicBezTo>
                <a:cubicBezTo>
                  <a:pt x="3185" y="166"/>
                  <a:pt x="3174" y="171"/>
                  <a:pt x="3163" y="176"/>
                </a:cubicBezTo>
                <a:cubicBezTo>
                  <a:pt x="3152" y="181"/>
                  <a:pt x="3141" y="185"/>
                  <a:pt x="3131" y="187"/>
                </a:cubicBezTo>
                <a:cubicBezTo>
                  <a:pt x="3131" y="234"/>
                  <a:pt x="3131" y="234"/>
                  <a:pt x="3131" y="234"/>
                </a:cubicBezTo>
                <a:cubicBezTo>
                  <a:pt x="3140" y="231"/>
                  <a:pt x="3149" y="228"/>
                  <a:pt x="3158" y="224"/>
                </a:cubicBezTo>
                <a:cubicBezTo>
                  <a:pt x="3168" y="221"/>
                  <a:pt x="3177" y="216"/>
                  <a:pt x="3185" y="212"/>
                </a:cubicBezTo>
                <a:cubicBezTo>
                  <a:pt x="3194" y="207"/>
                  <a:pt x="3201" y="203"/>
                  <a:pt x="3208" y="198"/>
                </a:cubicBezTo>
                <a:cubicBezTo>
                  <a:pt x="3215" y="194"/>
                  <a:pt x="3220" y="190"/>
                  <a:pt x="3223" y="186"/>
                </a:cubicBezTo>
                <a:cubicBezTo>
                  <a:pt x="3223" y="531"/>
                  <a:pt x="3223" y="531"/>
                  <a:pt x="3223" y="531"/>
                </a:cubicBezTo>
                <a:cubicBezTo>
                  <a:pt x="3269" y="531"/>
                  <a:pt x="3269" y="531"/>
                  <a:pt x="3269" y="531"/>
                </a:cubicBezTo>
                <a:lnTo>
                  <a:pt x="3269" y="123"/>
                </a:lnTo>
                <a:close/>
                <a:moveTo>
                  <a:pt x="3465" y="125"/>
                </a:moveTo>
                <a:cubicBezTo>
                  <a:pt x="3443" y="125"/>
                  <a:pt x="3424" y="130"/>
                  <a:pt x="3407" y="139"/>
                </a:cubicBezTo>
                <a:cubicBezTo>
                  <a:pt x="3390" y="148"/>
                  <a:pt x="3376" y="162"/>
                  <a:pt x="3365" y="180"/>
                </a:cubicBezTo>
                <a:cubicBezTo>
                  <a:pt x="3354" y="198"/>
                  <a:pt x="3345" y="221"/>
                  <a:pt x="3339" y="247"/>
                </a:cubicBezTo>
                <a:cubicBezTo>
                  <a:pt x="3333" y="274"/>
                  <a:pt x="3331" y="305"/>
                  <a:pt x="3331" y="340"/>
                </a:cubicBezTo>
                <a:cubicBezTo>
                  <a:pt x="3331" y="371"/>
                  <a:pt x="3333" y="399"/>
                  <a:pt x="3339" y="424"/>
                </a:cubicBezTo>
                <a:cubicBezTo>
                  <a:pt x="3344" y="448"/>
                  <a:pt x="3353" y="469"/>
                  <a:pt x="3363" y="486"/>
                </a:cubicBezTo>
                <a:cubicBezTo>
                  <a:pt x="3374" y="503"/>
                  <a:pt x="3387" y="516"/>
                  <a:pt x="3403" y="525"/>
                </a:cubicBezTo>
                <a:cubicBezTo>
                  <a:pt x="3419" y="533"/>
                  <a:pt x="3436" y="538"/>
                  <a:pt x="3456" y="538"/>
                </a:cubicBezTo>
                <a:cubicBezTo>
                  <a:pt x="3478" y="538"/>
                  <a:pt x="3496" y="533"/>
                  <a:pt x="3513" y="524"/>
                </a:cubicBezTo>
                <a:cubicBezTo>
                  <a:pt x="3530" y="515"/>
                  <a:pt x="3544" y="501"/>
                  <a:pt x="3555" y="484"/>
                </a:cubicBezTo>
                <a:cubicBezTo>
                  <a:pt x="3566" y="466"/>
                  <a:pt x="3575" y="444"/>
                  <a:pt x="3581" y="418"/>
                </a:cubicBezTo>
                <a:cubicBezTo>
                  <a:pt x="3587" y="393"/>
                  <a:pt x="3590" y="363"/>
                  <a:pt x="3590" y="330"/>
                </a:cubicBezTo>
                <a:cubicBezTo>
                  <a:pt x="3590" y="194"/>
                  <a:pt x="3548" y="125"/>
                  <a:pt x="3465" y="125"/>
                </a:cubicBezTo>
                <a:close/>
                <a:moveTo>
                  <a:pt x="3461" y="499"/>
                </a:moveTo>
                <a:cubicBezTo>
                  <a:pt x="3405" y="499"/>
                  <a:pt x="3377" y="445"/>
                  <a:pt x="3377" y="337"/>
                </a:cubicBezTo>
                <a:cubicBezTo>
                  <a:pt x="3377" y="222"/>
                  <a:pt x="3406" y="164"/>
                  <a:pt x="3463" y="164"/>
                </a:cubicBezTo>
                <a:cubicBezTo>
                  <a:pt x="3517" y="164"/>
                  <a:pt x="3544" y="221"/>
                  <a:pt x="3544" y="334"/>
                </a:cubicBezTo>
                <a:cubicBezTo>
                  <a:pt x="3544" y="444"/>
                  <a:pt x="3516" y="499"/>
                  <a:pt x="3461" y="499"/>
                </a:cubicBezTo>
                <a:close/>
                <a:moveTo>
                  <a:pt x="1382" y="133"/>
                </a:moveTo>
                <a:cubicBezTo>
                  <a:pt x="1270" y="532"/>
                  <a:pt x="1270" y="532"/>
                  <a:pt x="1270" y="532"/>
                </a:cubicBezTo>
                <a:cubicBezTo>
                  <a:pt x="1215" y="532"/>
                  <a:pt x="1215" y="532"/>
                  <a:pt x="1215" y="532"/>
                </a:cubicBezTo>
                <a:cubicBezTo>
                  <a:pt x="1133" y="240"/>
                  <a:pt x="1133" y="240"/>
                  <a:pt x="1133" y="240"/>
                </a:cubicBezTo>
                <a:cubicBezTo>
                  <a:pt x="1130" y="229"/>
                  <a:pt x="1128" y="216"/>
                  <a:pt x="1127" y="200"/>
                </a:cubicBezTo>
                <a:cubicBezTo>
                  <a:pt x="1126" y="200"/>
                  <a:pt x="1126" y="200"/>
                  <a:pt x="1126" y="200"/>
                </a:cubicBezTo>
                <a:cubicBezTo>
                  <a:pt x="1124" y="214"/>
                  <a:pt x="1122" y="227"/>
                  <a:pt x="1118" y="240"/>
                </a:cubicBezTo>
                <a:cubicBezTo>
                  <a:pt x="1036" y="532"/>
                  <a:pt x="1036" y="532"/>
                  <a:pt x="1036" y="532"/>
                </a:cubicBezTo>
                <a:cubicBezTo>
                  <a:pt x="981" y="532"/>
                  <a:pt x="981" y="532"/>
                  <a:pt x="981" y="532"/>
                </a:cubicBezTo>
                <a:cubicBezTo>
                  <a:pt x="865" y="133"/>
                  <a:pt x="865" y="133"/>
                  <a:pt x="865" y="133"/>
                </a:cubicBezTo>
                <a:cubicBezTo>
                  <a:pt x="916" y="133"/>
                  <a:pt x="916" y="133"/>
                  <a:pt x="916" y="133"/>
                </a:cubicBezTo>
                <a:cubicBezTo>
                  <a:pt x="1001" y="439"/>
                  <a:pt x="1001" y="439"/>
                  <a:pt x="1001" y="439"/>
                </a:cubicBezTo>
                <a:cubicBezTo>
                  <a:pt x="1004" y="452"/>
                  <a:pt x="1007" y="466"/>
                  <a:pt x="1008" y="479"/>
                </a:cubicBezTo>
                <a:cubicBezTo>
                  <a:pt x="1009" y="479"/>
                  <a:pt x="1009" y="479"/>
                  <a:pt x="1009" y="479"/>
                </a:cubicBezTo>
                <a:cubicBezTo>
                  <a:pt x="1010" y="468"/>
                  <a:pt x="1013" y="454"/>
                  <a:pt x="1017" y="439"/>
                </a:cubicBezTo>
                <a:cubicBezTo>
                  <a:pt x="1106" y="133"/>
                  <a:pt x="1106" y="133"/>
                  <a:pt x="1106" y="133"/>
                </a:cubicBezTo>
                <a:cubicBezTo>
                  <a:pt x="1151" y="133"/>
                  <a:pt x="1151" y="133"/>
                  <a:pt x="1151" y="133"/>
                </a:cubicBezTo>
                <a:cubicBezTo>
                  <a:pt x="1235" y="441"/>
                  <a:pt x="1235" y="441"/>
                  <a:pt x="1235" y="441"/>
                </a:cubicBezTo>
                <a:cubicBezTo>
                  <a:pt x="1238" y="453"/>
                  <a:pt x="1240" y="465"/>
                  <a:pt x="1242" y="478"/>
                </a:cubicBezTo>
                <a:cubicBezTo>
                  <a:pt x="1243" y="478"/>
                  <a:pt x="1243" y="478"/>
                  <a:pt x="1243" y="478"/>
                </a:cubicBezTo>
                <a:cubicBezTo>
                  <a:pt x="1244" y="469"/>
                  <a:pt x="1246" y="456"/>
                  <a:pt x="1250" y="440"/>
                </a:cubicBezTo>
                <a:cubicBezTo>
                  <a:pt x="1332" y="133"/>
                  <a:pt x="1332" y="133"/>
                  <a:pt x="1332" y="133"/>
                </a:cubicBezTo>
                <a:lnTo>
                  <a:pt x="1382" y="133"/>
                </a:lnTo>
                <a:close/>
                <a:moveTo>
                  <a:pt x="1475" y="153"/>
                </a:moveTo>
                <a:cubicBezTo>
                  <a:pt x="1475" y="162"/>
                  <a:pt x="1472" y="169"/>
                  <a:pt x="1466" y="174"/>
                </a:cubicBezTo>
                <a:cubicBezTo>
                  <a:pt x="1461" y="180"/>
                  <a:pt x="1453" y="183"/>
                  <a:pt x="1445" y="183"/>
                </a:cubicBezTo>
                <a:cubicBezTo>
                  <a:pt x="1437" y="183"/>
                  <a:pt x="1430" y="180"/>
                  <a:pt x="1424" y="175"/>
                </a:cubicBezTo>
                <a:cubicBezTo>
                  <a:pt x="1418" y="169"/>
                  <a:pt x="1416" y="162"/>
                  <a:pt x="1416" y="153"/>
                </a:cubicBezTo>
                <a:cubicBezTo>
                  <a:pt x="1416" y="145"/>
                  <a:pt x="1418" y="138"/>
                  <a:pt x="1424" y="132"/>
                </a:cubicBezTo>
                <a:cubicBezTo>
                  <a:pt x="1430" y="127"/>
                  <a:pt x="1437" y="124"/>
                  <a:pt x="1445" y="124"/>
                </a:cubicBezTo>
                <a:cubicBezTo>
                  <a:pt x="1454" y="124"/>
                  <a:pt x="1461" y="127"/>
                  <a:pt x="1467" y="132"/>
                </a:cubicBezTo>
                <a:cubicBezTo>
                  <a:pt x="1472" y="138"/>
                  <a:pt x="1475" y="145"/>
                  <a:pt x="1475" y="153"/>
                </a:cubicBezTo>
                <a:close/>
                <a:moveTo>
                  <a:pt x="1468" y="532"/>
                </a:moveTo>
                <a:cubicBezTo>
                  <a:pt x="1422" y="532"/>
                  <a:pt x="1422" y="532"/>
                  <a:pt x="1422" y="532"/>
                </a:cubicBezTo>
                <a:cubicBezTo>
                  <a:pt x="1422" y="247"/>
                  <a:pt x="1422" y="247"/>
                  <a:pt x="1422" y="247"/>
                </a:cubicBezTo>
                <a:cubicBezTo>
                  <a:pt x="1468" y="247"/>
                  <a:pt x="1468" y="247"/>
                  <a:pt x="1468" y="247"/>
                </a:cubicBezTo>
                <a:lnTo>
                  <a:pt x="1468" y="532"/>
                </a:lnTo>
                <a:close/>
                <a:moveTo>
                  <a:pt x="1772" y="532"/>
                </a:moveTo>
                <a:cubicBezTo>
                  <a:pt x="1726" y="532"/>
                  <a:pt x="1726" y="532"/>
                  <a:pt x="1726" y="532"/>
                </a:cubicBezTo>
                <a:cubicBezTo>
                  <a:pt x="1726" y="369"/>
                  <a:pt x="1726" y="369"/>
                  <a:pt x="1726" y="369"/>
                </a:cubicBezTo>
                <a:cubicBezTo>
                  <a:pt x="1726" y="309"/>
                  <a:pt x="1704" y="279"/>
                  <a:pt x="1660" y="279"/>
                </a:cubicBezTo>
                <a:cubicBezTo>
                  <a:pt x="1638" y="279"/>
                  <a:pt x="1619" y="288"/>
                  <a:pt x="1604" y="305"/>
                </a:cubicBezTo>
                <a:cubicBezTo>
                  <a:pt x="1589" y="322"/>
                  <a:pt x="1581" y="343"/>
                  <a:pt x="1581" y="369"/>
                </a:cubicBezTo>
                <a:cubicBezTo>
                  <a:pt x="1581" y="532"/>
                  <a:pt x="1581" y="532"/>
                  <a:pt x="1581" y="532"/>
                </a:cubicBezTo>
                <a:cubicBezTo>
                  <a:pt x="1536" y="532"/>
                  <a:pt x="1536" y="532"/>
                  <a:pt x="1536" y="532"/>
                </a:cubicBezTo>
                <a:cubicBezTo>
                  <a:pt x="1536" y="247"/>
                  <a:pt x="1536" y="247"/>
                  <a:pt x="1536" y="247"/>
                </a:cubicBezTo>
                <a:cubicBezTo>
                  <a:pt x="1581" y="247"/>
                  <a:pt x="1581" y="247"/>
                  <a:pt x="1581" y="247"/>
                </a:cubicBezTo>
                <a:cubicBezTo>
                  <a:pt x="1581" y="294"/>
                  <a:pt x="1581" y="294"/>
                  <a:pt x="1581" y="294"/>
                </a:cubicBezTo>
                <a:cubicBezTo>
                  <a:pt x="1583" y="294"/>
                  <a:pt x="1583" y="294"/>
                  <a:pt x="1583" y="294"/>
                </a:cubicBezTo>
                <a:cubicBezTo>
                  <a:pt x="1604" y="258"/>
                  <a:pt x="1635" y="240"/>
                  <a:pt x="1676" y="240"/>
                </a:cubicBezTo>
                <a:cubicBezTo>
                  <a:pt x="1707" y="240"/>
                  <a:pt x="1731" y="250"/>
                  <a:pt x="1747" y="271"/>
                </a:cubicBezTo>
                <a:cubicBezTo>
                  <a:pt x="1764" y="291"/>
                  <a:pt x="1772" y="320"/>
                  <a:pt x="1772" y="358"/>
                </a:cubicBezTo>
                <a:lnTo>
                  <a:pt x="1772" y="532"/>
                </a:lnTo>
                <a:close/>
                <a:moveTo>
                  <a:pt x="2087" y="532"/>
                </a:moveTo>
                <a:cubicBezTo>
                  <a:pt x="2041" y="532"/>
                  <a:pt x="2041" y="532"/>
                  <a:pt x="2041" y="532"/>
                </a:cubicBezTo>
                <a:cubicBezTo>
                  <a:pt x="2041" y="483"/>
                  <a:pt x="2041" y="483"/>
                  <a:pt x="2041" y="483"/>
                </a:cubicBezTo>
                <a:cubicBezTo>
                  <a:pt x="2040" y="483"/>
                  <a:pt x="2040" y="483"/>
                  <a:pt x="2040" y="483"/>
                </a:cubicBezTo>
                <a:cubicBezTo>
                  <a:pt x="2019" y="520"/>
                  <a:pt x="1986" y="539"/>
                  <a:pt x="1942" y="539"/>
                </a:cubicBezTo>
                <a:cubicBezTo>
                  <a:pt x="1906" y="539"/>
                  <a:pt x="1878" y="526"/>
                  <a:pt x="1856" y="500"/>
                </a:cubicBezTo>
                <a:cubicBezTo>
                  <a:pt x="1835" y="474"/>
                  <a:pt x="1824" y="440"/>
                  <a:pt x="1824" y="396"/>
                </a:cubicBezTo>
                <a:cubicBezTo>
                  <a:pt x="1824" y="349"/>
                  <a:pt x="1836" y="312"/>
                  <a:pt x="1860" y="283"/>
                </a:cubicBezTo>
                <a:cubicBezTo>
                  <a:pt x="1883" y="255"/>
                  <a:pt x="1915" y="240"/>
                  <a:pt x="1955" y="240"/>
                </a:cubicBezTo>
                <a:cubicBezTo>
                  <a:pt x="1993" y="240"/>
                  <a:pt x="2022" y="256"/>
                  <a:pt x="2040" y="286"/>
                </a:cubicBezTo>
                <a:cubicBezTo>
                  <a:pt x="2041" y="286"/>
                  <a:pt x="2041" y="286"/>
                  <a:pt x="2041" y="286"/>
                </a:cubicBezTo>
                <a:cubicBezTo>
                  <a:pt x="2041" y="110"/>
                  <a:pt x="2041" y="110"/>
                  <a:pt x="2041" y="110"/>
                </a:cubicBezTo>
                <a:cubicBezTo>
                  <a:pt x="2087" y="110"/>
                  <a:pt x="2087" y="110"/>
                  <a:pt x="2087" y="110"/>
                </a:cubicBezTo>
                <a:lnTo>
                  <a:pt x="2087" y="532"/>
                </a:lnTo>
                <a:close/>
                <a:moveTo>
                  <a:pt x="2041" y="403"/>
                </a:moveTo>
                <a:cubicBezTo>
                  <a:pt x="2041" y="361"/>
                  <a:pt x="2041" y="361"/>
                  <a:pt x="2041" y="361"/>
                </a:cubicBezTo>
                <a:cubicBezTo>
                  <a:pt x="2041" y="338"/>
                  <a:pt x="2033" y="318"/>
                  <a:pt x="2018" y="303"/>
                </a:cubicBezTo>
                <a:cubicBezTo>
                  <a:pt x="2002" y="287"/>
                  <a:pt x="1983" y="279"/>
                  <a:pt x="1960" y="279"/>
                </a:cubicBezTo>
                <a:cubicBezTo>
                  <a:pt x="1933" y="279"/>
                  <a:pt x="1911" y="289"/>
                  <a:pt x="1895" y="310"/>
                </a:cubicBezTo>
                <a:cubicBezTo>
                  <a:pt x="1879" y="330"/>
                  <a:pt x="1871" y="358"/>
                  <a:pt x="1871" y="394"/>
                </a:cubicBezTo>
                <a:cubicBezTo>
                  <a:pt x="1871" y="427"/>
                  <a:pt x="1879" y="452"/>
                  <a:pt x="1894" y="471"/>
                </a:cubicBezTo>
                <a:cubicBezTo>
                  <a:pt x="1909" y="490"/>
                  <a:pt x="1929" y="500"/>
                  <a:pt x="1955" y="500"/>
                </a:cubicBezTo>
                <a:cubicBezTo>
                  <a:pt x="1980" y="500"/>
                  <a:pt x="2001" y="491"/>
                  <a:pt x="2017" y="473"/>
                </a:cubicBezTo>
                <a:cubicBezTo>
                  <a:pt x="2033" y="454"/>
                  <a:pt x="2041" y="431"/>
                  <a:pt x="2041" y="403"/>
                </a:cubicBezTo>
                <a:close/>
                <a:moveTo>
                  <a:pt x="2425" y="388"/>
                </a:moveTo>
                <a:cubicBezTo>
                  <a:pt x="2425" y="434"/>
                  <a:pt x="2412" y="470"/>
                  <a:pt x="2387" y="497"/>
                </a:cubicBezTo>
                <a:cubicBezTo>
                  <a:pt x="2361" y="525"/>
                  <a:pt x="2327" y="539"/>
                  <a:pt x="2284" y="539"/>
                </a:cubicBezTo>
                <a:cubicBezTo>
                  <a:pt x="2242" y="539"/>
                  <a:pt x="2208" y="525"/>
                  <a:pt x="2183" y="499"/>
                </a:cubicBezTo>
                <a:cubicBezTo>
                  <a:pt x="2158" y="472"/>
                  <a:pt x="2145" y="437"/>
                  <a:pt x="2145" y="393"/>
                </a:cubicBezTo>
                <a:cubicBezTo>
                  <a:pt x="2145" y="346"/>
                  <a:pt x="2158" y="309"/>
                  <a:pt x="2184" y="281"/>
                </a:cubicBezTo>
                <a:cubicBezTo>
                  <a:pt x="2210" y="254"/>
                  <a:pt x="2245" y="240"/>
                  <a:pt x="2290" y="240"/>
                </a:cubicBezTo>
                <a:cubicBezTo>
                  <a:pt x="2332" y="240"/>
                  <a:pt x="2366" y="253"/>
                  <a:pt x="2389" y="280"/>
                </a:cubicBezTo>
                <a:cubicBezTo>
                  <a:pt x="2413" y="306"/>
                  <a:pt x="2425" y="342"/>
                  <a:pt x="2425" y="388"/>
                </a:cubicBezTo>
                <a:close/>
                <a:moveTo>
                  <a:pt x="2379" y="390"/>
                </a:moveTo>
                <a:cubicBezTo>
                  <a:pt x="2379" y="354"/>
                  <a:pt x="2371" y="327"/>
                  <a:pt x="2355" y="308"/>
                </a:cubicBezTo>
                <a:cubicBezTo>
                  <a:pt x="2339" y="289"/>
                  <a:pt x="2316" y="279"/>
                  <a:pt x="2287" y="279"/>
                </a:cubicBezTo>
                <a:cubicBezTo>
                  <a:pt x="2258" y="279"/>
                  <a:pt x="2234" y="289"/>
                  <a:pt x="2217" y="308"/>
                </a:cubicBezTo>
                <a:cubicBezTo>
                  <a:pt x="2200" y="328"/>
                  <a:pt x="2192" y="356"/>
                  <a:pt x="2192" y="391"/>
                </a:cubicBezTo>
                <a:cubicBezTo>
                  <a:pt x="2192" y="425"/>
                  <a:pt x="2200" y="452"/>
                  <a:pt x="2218" y="471"/>
                </a:cubicBezTo>
                <a:cubicBezTo>
                  <a:pt x="2235" y="490"/>
                  <a:pt x="2258" y="500"/>
                  <a:pt x="2287" y="500"/>
                </a:cubicBezTo>
                <a:cubicBezTo>
                  <a:pt x="2317" y="500"/>
                  <a:pt x="2339" y="490"/>
                  <a:pt x="2355" y="471"/>
                </a:cubicBezTo>
                <a:cubicBezTo>
                  <a:pt x="2371" y="453"/>
                  <a:pt x="2379" y="425"/>
                  <a:pt x="2379" y="390"/>
                </a:cubicBezTo>
                <a:close/>
                <a:moveTo>
                  <a:pt x="2842" y="247"/>
                </a:moveTo>
                <a:cubicBezTo>
                  <a:pt x="2757" y="532"/>
                  <a:pt x="2757" y="532"/>
                  <a:pt x="2757" y="532"/>
                </a:cubicBezTo>
                <a:cubicBezTo>
                  <a:pt x="2710" y="532"/>
                  <a:pt x="2710" y="532"/>
                  <a:pt x="2710" y="532"/>
                </a:cubicBezTo>
                <a:cubicBezTo>
                  <a:pt x="2651" y="328"/>
                  <a:pt x="2651" y="328"/>
                  <a:pt x="2651" y="328"/>
                </a:cubicBezTo>
                <a:cubicBezTo>
                  <a:pt x="2649" y="321"/>
                  <a:pt x="2648" y="312"/>
                  <a:pt x="2647" y="302"/>
                </a:cubicBezTo>
                <a:cubicBezTo>
                  <a:pt x="2646" y="302"/>
                  <a:pt x="2646" y="302"/>
                  <a:pt x="2646" y="302"/>
                </a:cubicBezTo>
                <a:cubicBezTo>
                  <a:pt x="2645" y="308"/>
                  <a:pt x="2643" y="317"/>
                  <a:pt x="2640" y="328"/>
                </a:cubicBezTo>
                <a:cubicBezTo>
                  <a:pt x="2576" y="532"/>
                  <a:pt x="2576" y="532"/>
                  <a:pt x="2576" y="532"/>
                </a:cubicBezTo>
                <a:cubicBezTo>
                  <a:pt x="2531" y="532"/>
                  <a:pt x="2531" y="532"/>
                  <a:pt x="2531" y="532"/>
                </a:cubicBezTo>
                <a:cubicBezTo>
                  <a:pt x="2445" y="247"/>
                  <a:pt x="2445" y="247"/>
                  <a:pt x="2445" y="247"/>
                </a:cubicBezTo>
                <a:cubicBezTo>
                  <a:pt x="2493" y="247"/>
                  <a:pt x="2493" y="247"/>
                  <a:pt x="2493" y="247"/>
                </a:cubicBezTo>
                <a:cubicBezTo>
                  <a:pt x="2551" y="461"/>
                  <a:pt x="2551" y="461"/>
                  <a:pt x="2551" y="461"/>
                </a:cubicBezTo>
                <a:cubicBezTo>
                  <a:pt x="2553" y="469"/>
                  <a:pt x="2554" y="477"/>
                  <a:pt x="2555" y="487"/>
                </a:cubicBezTo>
                <a:cubicBezTo>
                  <a:pt x="2557" y="487"/>
                  <a:pt x="2557" y="487"/>
                  <a:pt x="2557" y="487"/>
                </a:cubicBezTo>
                <a:cubicBezTo>
                  <a:pt x="2558" y="480"/>
                  <a:pt x="2559" y="471"/>
                  <a:pt x="2563" y="461"/>
                </a:cubicBezTo>
                <a:cubicBezTo>
                  <a:pt x="2628" y="247"/>
                  <a:pt x="2628" y="247"/>
                  <a:pt x="2628" y="247"/>
                </a:cubicBezTo>
                <a:cubicBezTo>
                  <a:pt x="2670" y="247"/>
                  <a:pt x="2670" y="247"/>
                  <a:pt x="2670" y="247"/>
                </a:cubicBezTo>
                <a:cubicBezTo>
                  <a:pt x="2729" y="462"/>
                  <a:pt x="2729" y="462"/>
                  <a:pt x="2729" y="462"/>
                </a:cubicBezTo>
                <a:cubicBezTo>
                  <a:pt x="2731" y="469"/>
                  <a:pt x="2732" y="477"/>
                  <a:pt x="2733" y="487"/>
                </a:cubicBezTo>
                <a:cubicBezTo>
                  <a:pt x="2735" y="487"/>
                  <a:pt x="2735" y="487"/>
                  <a:pt x="2735" y="487"/>
                </a:cubicBezTo>
                <a:cubicBezTo>
                  <a:pt x="2735" y="478"/>
                  <a:pt x="2737" y="470"/>
                  <a:pt x="2739" y="462"/>
                </a:cubicBezTo>
                <a:cubicBezTo>
                  <a:pt x="2797" y="247"/>
                  <a:pt x="2797" y="247"/>
                  <a:pt x="2797" y="247"/>
                </a:cubicBezTo>
                <a:lnTo>
                  <a:pt x="2842" y="247"/>
                </a:lnTo>
                <a:close/>
                <a:moveTo>
                  <a:pt x="3039" y="456"/>
                </a:moveTo>
                <a:cubicBezTo>
                  <a:pt x="3039" y="480"/>
                  <a:pt x="3029" y="500"/>
                  <a:pt x="3010" y="516"/>
                </a:cubicBezTo>
                <a:cubicBezTo>
                  <a:pt x="2991" y="531"/>
                  <a:pt x="2966" y="539"/>
                  <a:pt x="2935" y="539"/>
                </a:cubicBezTo>
                <a:cubicBezTo>
                  <a:pt x="2908" y="539"/>
                  <a:pt x="2884" y="533"/>
                  <a:pt x="2864" y="521"/>
                </a:cubicBezTo>
                <a:cubicBezTo>
                  <a:pt x="2864" y="473"/>
                  <a:pt x="2864" y="473"/>
                  <a:pt x="2864" y="473"/>
                </a:cubicBezTo>
                <a:cubicBezTo>
                  <a:pt x="2886" y="491"/>
                  <a:pt x="2911" y="500"/>
                  <a:pt x="2938" y="500"/>
                </a:cubicBezTo>
                <a:cubicBezTo>
                  <a:pt x="2974" y="500"/>
                  <a:pt x="2992" y="487"/>
                  <a:pt x="2992" y="460"/>
                </a:cubicBezTo>
                <a:cubicBezTo>
                  <a:pt x="2992" y="449"/>
                  <a:pt x="2989" y="441"/>
                  <a:pt x="2982" y="434"/>
                </a:cubicBezTo>
                <a:cubicBezTo>
                  <a:pt x="2975" y="427"/>
                  <a:pt x="2959" y="418"/>
                  <a:pt x="2934" y="406"/>
                </a:cubicBezTo>
                <a:cubicBezTo>
                  <a:pt x="2908" y="396"/>
                  <a:pt x="2891" y="384"/>
                  <a:pt x="2880" y="372"/>
                </a:cubicBezTo>
                <a:cubicBezTo>
                  <a:pt x="2870" y="360"/>
                  <a:pt x="2865" y="343"/>
                  <a:pt x="2865" y="323"/>
                </a:cubicBezTo>
                <a:cubicBezTo>
                  <a:pt x="2865" y="299"/>
                  <a:pt x="2874" y="280"/>
                  <a:pt x="2893" y="264"/>
                </a:cubicBezTo>
                <a:cubicBezTo>
                  <a:pt x="2912" y="248"/>
                  <a:pt x="2936" y="240"/>
                  <a:pt x="2965" y="240"/>
                </a:cubicBezTo>
                <a:cubicBezTo>
                  <a:pt x="2987" y="240"/>
                  <a:pt x="3008" y="245"/>
                  <a:pt x="3026" y="254"/>
                </a:cubicBezTo>
                <a:cubicBezTo>
                  <a:pt x="3026" y="299"/>
                  <a:pt x="3026" y="299"/>
                  <a:pt x="3026" y="299"/>
                </a:cubicBezTo>
                <a:cubicBezTo>
                  <a:pt x="3007" y="286"/>
                  <a:pt x="2986" y="279"/>
                  <a:pt x="2961" y="279"/>
                </a:cubicBezTo>
                <a:cubicBezTo>
                  <a:pt x="2946" y="279"/>
                  <a:pt x="2934" y="283"/>
                  <a:pt x="2925" y="290"/>
                </a:cubicBezTo>
                <a:cubicBezTo>
                  <a:pt x="2916" y="298"/>
                  <a:pt x="2911" y="307"/>
                  <a:pt x="2911" y="319"/>
                </a:cubicBezTo>
                <a:cubicBezTo>
                  <a:pt x="2911" y="332"/>
                  <a:pt x="2915" y="341"/>
                  <a:pt x="2922" y="348"/>
                </a:cubicBezTo>
                <a:cubicBezTo>
                  <a:pt x="2929" y="355"/>
                  <a:pt x="2943" y="363"/>
                  <a:pt x="2965" y="372"/>
                </a:cubicBezTo>
                <a:cubicBezTo>
                  <a:pt x="2993" y="383"/>
                  <a:pt x="3012" y="396"/>
                  <a:pt x="3022" y="408"/>
                </a:cubicBezTo>
                <a:cubicBezTo>
                  <a:pt x="3033" y="421"/>
                  <a:pt x="3039" y="437"/>
                  <a:pt x="3039" y="4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89606" tIns="44803" rIns="89606" bIns="4480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3" y="2717919"/>
            <a:ext cx="10429053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147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j-lt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13" y="4511021"/>
            <a:ext cx="10429053" cy="1578427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8" spc="-4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68" y="6122090"/>
            <a:ext cx="1254668" cy="26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47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234" y="2093525"/>
            <a:ext cx="8961851" cy="1793091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32" y="3878575"/>
            <a:ext cx="7169470" cy="179232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8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68" y="6121377"/>
            <a:ext cx="1254668" cy="2691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69" y="6073353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859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4463" y="3285068"/>
            <a:ext cx="8570514" cy="1333931"/>
          </a:xfrm>
          <a:prstGeom prst="rect">
            <a:avLst/>
          </a:prstGeom>
        </p:spPr>
        <p:txBody>
          <a:bodyPr anchor="b" anchorCtr="0"/>
          <a:lstStyle>
            <a:lvl1pPr algn="l">
              <a:defRPr sz="480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4463" y="4618999"/>
            <a:ext cx="9206422" cy="1231384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 baseline="0">
                <a:solidFill>
                  <a:srgbClr val="00AFD7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If Needed, additional </a:t>
            </a:r>
            <a:br>
              <a:rPr lang="en-US" dirty="0"/>
            </a:br>
            <a:r>
              <a:rPr lang="en-US" dirty="0"/>
              <a:t>Information can go here.</a:t>
            </a:r>
          </a:p>
        </p:txBody>
      </p:sp>
    </p:spTree>
    <p:extLst>
      <p:ext uri="{BB962C8B-B14F-4D97-AF65-F5344CB8AC3E}">
        <p14:creationId xmlns:p14="http://schemas.microsoft.com/office/powerpoint/2010/main" val="40526773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015" y="1797051"/>
            <a:ext cx="10817582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6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537" y="5530961"/>
            <a:ext cx="9571256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/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146304" tIns="91440" rIns="146304" bIns="91440" rtlCol="0" anchor="t">
            <a:noAutofit/>
          </a:bodyPr>
          <a:lstStyle>
            <a:lvl1pPr>
              <a:defRPr lang="en-US" sz="4312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0459834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509027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169" y="6171618"/>
            <a:ext cx="11650488" cy="3951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9" tIns="143391" rIns="179239" bIns="143391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7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6 Microsoft Corporation. All rights reserved. </a:t>
            </a:r>
          </a:p>
        </p:txBody>
      </p:sp>
      <p:sp>
        <p:nvSpPr>
          <p:cNvPr id="5" name="Windows 10"/>
          <p:cNvSpPr>
            <a:spLocks noChangeAspect="1" noEditPoints="1"/>
          </p:cNvSpPr>
          <p:nvPr/>
        </p:nvSpPr>
        <p:spPr bwMode="auto">
          <a:xfrm>
            <a:off x="3728741" y="3014713"/>
            <a:ext cx="4432615" cy="828576"/>
          </a:xfrm>
          <a:custGeom>
            <a:avLst/>
            <a:gdLst>
              <a:gd name="T0" fmla="*/ 295 w 3590"/>
              <a:gd name="T1" fmla="*/ 329 h 668"/>
              <a:gd name="T2" fmla="*/ 0 w 3590"/>
              <a:gd name="T3" fmla="*/ 94 h 668"/>
              <a:gd name="T4" fmla="*/ 295 w 3590"/>
              <a:gd name="T5" fmla="*/ 616 h 668"/>
              <a:gd name="T6" fmla="*/ 284 w 3590"/>
              <a:gd name="T7" fmla="*/ 340 h 668"/>
              <a:gd name="T8" fmla="*/ 284 w 3590"/>
              <a:gd name="T9" fmla="*/ 340 h 668"/>
              <a:gd name="T10" fmla="*/ 3196 w 3590"/>
              <a:gd name="T11" fmla="*/ 160 h 668"/>
              <a:gd name="T12" fmla="*/ 3158 w 3590"/>
              <a:gd name="T13" fmla="*/ 224 h 668"/>
              <a:gd name="T14" fmla="*/ 3223 w 3590"/>
              <a:gd name="T15" fmla="*/ 531 h 668"/>
              <a:gd name="T16" fmla="*/ 3407 w 3590"/>
              <a:gd name="T17" fmla="*/ 139 h 668"/>
              <a:gd name="T18" fmla="*/ 3339 w 3590"/>
              <a:gd name="T19" fmla="*/ 424 h 668"/>
              <a:gd name="T20" fmla="*/ 3513 w 3590"/>
              <a:gd name="T21" fmla="*/ 524 h 668"/>
              <a:gd name="T22" fmla="*/ 3465 w 3590"/>
              <a:gd name="T23" fmla="*/ 125 h 668"/>
              <a:gd name="T24" fmla="*/ 3544 w 3590"/>
              <a:gd name="T25" fmla="*/ 334 h 668"/>
              <a:gd name="T26" fmla="*/ 1215 w 3590"/>
              <a:gd name="T27" fmla="*/ 532 h 668"/>
              <a:gd name="T28" fmla="*/ 1118 w 3590"/>
              <a:gd name="T29" fmla="*/ 240 h 668"/>
              <a:gd name="T30" fmla="*/ 916 w 3590"/>
              <a:gd name="T31" fmla="*/ 133 h 668"/>
              <a:gd name="T32" fmla="*/ 1017 w 3590"/>
              <a:gd name="T33" fmla="*/ 439 h 668"/>
              <a:gd name="T34" fmla="*/ 1242 w 3590"/>
              <a:gd name="T35" fmla="*/ 478 h 668"/>
              <a:gd name="T36" fmla="*/ 1382 w 3590"/>
              <a:gd name="T37" fmla="*/ 133 h 668"/>
              <a:gd name="T38" fmla="*/ 1424 w 3590"/>
              <a:gd name="T39" fmla="*/ 175 h 668"/>
              <a:gd name="T40" fmla="*/ 1467 w 3590"/>
              <a:gd name="T41" fmla="*/ 132 h 668"/>
              <a:gd name="T42" fmla="*/ 1422 w 3590"/>
              <a:gd name="T43" fmla="*/ 247 h 668"/>
              <a:gd name="T44" fmla="*/ 1726 w 3590"/>
              <a:gd name="T45" fmla="*/ 532 h 668"/>
              <a:gd name="T46" fmla="*/ 1581 w 3590"/>
              <a:gd name="T47" fmla="*/ 369 h 668"/>
              <a:gd name="T48" fmla="*/ 1581 w 3590"/>
              <a:gd name="T49" fmla="*/ 247 h 668"/>
              <a:gd name="T50" fmla="*/ 1747 w 3590"/>
              <a:gd name="T51" fmla="*/ 271 h 668"/>
              <a:gd name="T52" fmla="*/ 2041 w 3590"/>
              <a:gd name="T53" fmla="*/ 532 h 668"/>
              <a:gd name="T54" fmla="*/ 1856 w 3590"/>
              <a:gd name="T55" fmla="*/ 500 h 668"/>
              <a:gd name="T56" fmla="*/ 2040 w 3590"/>
              <a:gd name="T57" fmla="*/ 286 h 668"/>
              <a:gd name="T58" fmla="*/ 2087 w 3590"/>
              <a:gd name="T59" fmla="*/ 532 h 668"/>
              <a:gd name="T60" fmla="*/ 1960 w 3590"/>
              <a:gd name="T61" fmla="*/ 279 h 668"/>
              <a:gd name="T62" fmla="*/ 1955 w 3590"/>
              <a:gd name="T63" fmla="*/ 500 h 668"/>
              <a:gd name="T64" fmla="*/ 2387 w 3590"/>
              <a:gd name="T65" fmla="*/ 497 h 668"/>
              <a:gd name="T66" fmla="*/ 2184 w 3590"/>
              <a:gd name="T67" fmla="*/ 281 h 668"/>
              <a:gd name="T68" fmla="*/ 2379 w 3590"/>
              <a:gd name="T69" fmla="*/ 390 h 668"/>
              <a:gd name="T70" fmla="*/ 2192 w 3590"/>
              <a:gd name="T71" fmla="*/ 391 h 668"/>
              <a:gd name="T72" fmla="*/ 2379 w 3590"/>
              <a:gd name="T73" fmla="*/ 390 h 668"/>
              <a:gd name="T74" fmla="*/ 2651 w 3590"/>
              <a:gd name="T75" fmla="*/ 328 h 668"/>
              <a:gd name="T76" fmla="*/ 2576 w 3590"/>
              <a:gd name="T77" fmla="*/ 532 h 668"/>
              <a:gd name="T78" fmla="*/ 2551 w 3590"/>
              <a:gd name="T79" fmla="*/ 461 h 668"/>
              <a:gd name="T80" fmla="*/ 2628 w 3590"/>
              <a:gd name="T81" fmla="*/ 247 h 668"/>
              <a:gd name="T82" fmla="*/ 2735 w 3590"/>
              <a:gd name="T83" fmla="*/ 487 h 668"/>
              <a:gd name="T84" fmla="*/ 3039 w 3590"/>
              <a:gd name="T85" fmla="*/ 456 h 668"/>
              <a:gd name="T86" fmla="*/ 2864 w 3590"/>
              <a:gd name="T87" fmla="*/ 473 h 668"/>
              <a:gd name="T88" fmla="*/ 2934 w 3590"/>
              <a:gd name="T89" fmla="*/ 406 h 668"/>
              <a:gd name="T90" fmla="*/ 2965 w 3590"/>
              <a:gd name="T91" fmla="*/ 240 h 668"/>
              <a:gd name="T92" fmla="*/ 2925 w 3590"/>
              <a:gd name="T93" fmla="*/ 290 h 668"/>
              <a:gd name="T94" fmla="*/ 3022 w 3590"/>
              <a:gd name="T95" fmla="*/ 408 h 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90" h="668">
                <a:moveTo>
                  <a:pt x="295" y="52"/>
                </a:moveTo>
                <a:cubicBezTo>
                  <a:pt x="667" y="0"/>
                  <a:pt x="667" y="0"/>
                  <a:pt x="667" y="0"/>
                </a:cubicBezTo>
                <a:cubicBezTo>
                  <a:pt x="667" y="329"/>
                  <a:pt x="667" y="329"/>
                  <a:pt x="667" y="329"/>
                </a:cubicBezTo>
                <a:cubicBezTo>
                  <a:pt x="295" y="329"/>
                  <a:pt x="295" y="329"/>
                  <a:pt x="295" y="329"/>
                </a:cubicBezTo>
                <a:lnTo>
                  <a:pt x="295" y="52"/>
                </a:lnTo>
                <a:close/>
                <a:moveTo>
                  <a:pt x="284" y="329"/>
                </a:moveTo>
                <a:cubicBezTo>
                  <a:pt x="284" y="54"/>
                  <a:pt x="284" y="54"/>
                  <a:pt x="284" y="5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329"/>
                  <a:pt x="0" y="329"/>
                  <a:pt x="0" y="329"/>
                </a:cubicBezTo>
                <a:lnTo>
                  <a:pt x="284" y="329"/>
                </a:lnTo>
                <a:close/>
                <a:moveTo>
                  <a:pt x="295" y="340"/>
                </a:moveTo>
                <a:cubicBezTo>
                  <a:pt x="295" y="616"/>
                  <a:pt x="295" y="616"/>
                  <a:pt x="295" y="616"/>
                </a:cubicBezTo>
                <a:cubicBezTo>
                  <a:pt x="667" y="668"/>
                  <a:pt x="667" y="668"/>
                  <a:pt x="667" y="668"/>
                </a:cubicBezTo>
                <a:cubicBezTo>
                  <a:pt x="667" y="340"/>
                  <a:pt x="667" y="340"/>
                  <a:pt x="667" y="340"/>
                </a:cubicBezTo>
                <a:lnTo>
                  <a:pt x="295" y="340"/>
                </a:lnTo>
                <a:close/>
                <a:moveTo>
                  <a:pt x="284" y="340"/>
                </a:moveTo>
                <a:cubicBezTo>
                  <a:pt x="0" y="340"/>
                  <a:pt x="0" y="340"/>
                  <a:pt x="0" y="340"/>
                </a:cubicBezTo>
                <a:cubicBezTo>
                  <a:pt x="0" y="575"/>
                  <a:pt x="0" y="575"/>
                  <a:pt x="0" y="575"/>
                </a:cubicBezTo>
                <a:cubicBezTo>
                  <a:pt x="284" y="615"/>
                  <a:pt x="284" y="615"/>
                  <a:pt x="284" y="615"/>
                </a:cubicBezTo>
                <a:lnTo>
                  <a:pt x="284" y="340"/>
                </a:lnTo>
                <a:close/>
                <a:moveTo>
                  <a:pt x="3269" y="123"/>
                </a:moveTo>
                <a:cubicBezTo>
                  <a:pt x="3252" y="123"/>
                  <a:pt x="3252" y="123"/>
                  <a:pt x="3252" y="123"/>
                </a:cubicBezTo>
                <a:cubicBezTo>
                  <a:pt x="3245" y="129"/>
                  <a:pt x="3236" y="136"/>
                  <a:pt x="3227" y="142"/>
                </a:cubicBezTo>
                <a:cubicBezTo>
                  <a:pt x="3217" y="148"/>
                  <a:pt x="3207" y="154"/>
                  <a:pt x="3196" y="160"/>
                </a:cubicBezTo>
                <a:cubicBezTo>
                  <a:pt x="3185" y="166"/>
                  <a:pt x="3174" y="171"/>
                  <a:pt x="3163" y="176"/>
                </a:cubicBezTo>
                <a:cubicBezTo>
                  <a:pt x="3152" y="181"/>
                  <a:pt x="3141" y="185"/>
                  <a:pt x="3131" y="187"/>
                </a:cubicBezTo>
                <a:cubicBezTo>
                  <a:pt x="3131" y="234"/>
                  <a:pt x="3131" y="234"/>
                  <a:pt x="3131" y="234"/>
                </a:cubicBezTo>
                <a:cubicBezTo>
                  <a:pt x="3140" y="231"/>
                  <a:pt x="3149" y="228"/>
                  <a:pt x="3158" y="224"/>
                </a:cubicBezTo>
                <a:cubicBezTo>
                  <a:pt x="3168" y="221"/>
                  <a:pt x="3177" y="216"/>
                  <a:pt x="3185" y="212"/>
                </a:cubicBezTo>
                <a:cubicBezTo>
                  <a:pt x="3194" y="207"/>
                  <a:pt x="3201" y="203"/>
                  <a:pt x="3208" y="198"/>
                </a:cubicBezTo>
                <a:cubicBezTo>
                  <a:pt x="3215" y="194"/>
                  <a:pt x="3220" y="190"/>
                  <a:pt x="3223" y="186"/>
                </a:cubicBezTo>
                <a:cubicBezTo>
                  <a:pt x="3223" y="531"/>
                  <a:pt x="3223" y="531"/>
                  <a:pt x="3223" y="531"/>
                </a:cubicBezTo>
                <a:cubicBezTo>
                  <a:pt x="3269" y="531"/>
                  <a:pt x="3269" y="531"/>
                  <a:pt x="3269" y="531"/>
                </a:cubicBezTo>
                <a:lnTo>
                  <a:pt x="3269" y="123"/>
                </a:lnTo>
                <a:close/>
                <a:moveTo>
                  <a:pt x="3465" y="125"/>
                </a:moveTo>
                <a:cubicBezTo>
                  <a:pt x="3443" y="125"/>
                  <a:pt x="3424" y="130"/>
                  <a:pt x="3407" y="139"/>
                </a:cubicBezTo>
                <a:cubicBezTo>
                  <a:pt x="3390" y="148"/>
                  <a:pt x="3376" y="162"/>
                  <a:pt x="3365" y="180"/>
                </a:cubicBezTo>
                <a:cubicBezTo>
                  <a:pt x="3354" y="198"/>
                  <a:pt x="3345" y="221"/>
                  <a:pt x="3339" y="247"/>
                </a:cubicBezTo>
                <a:cubicBezTo>
                  <a:pt x="3333" y="274"/>
                  <a:pt x="3331" y="305"/>
                  <a:pt x="3331" y="340"/>
                </a:cubicBezTo>
                <a:cubicBezTo>
                  <a:pt x="3331" y="371"/>
                  <a:pt x="3333" y="399"/>
                  <a:pt x="3339" y="424"/>
                </a:cubicBezTo>
                <a:cubicBezTo>
                  <a:pt x="3344" y="448"/>
                  <a:pt x="3353" y="469"/>
                  <a:pt x="3363" y="486"/>
                </a:cubicBezTo>
                <a:cubicBezTo>
                  <a:pt x="3374" y="503"/>
                  <a:pt x="3387" y="516"/>
                  <a:pt x="3403" y="525"/>
                </a:cubicBezTo>
                <a:cubicBezTo>
                  <a:pt x="3419" y="533"/>
                  <a:pt x="3436" y="538"/>
                  <a:pt x="3456" y="538"/>
                </a:cubicBezTo>
                <a:cubicBezTo>
                  <a:pt x="3478" y="538"/>
                  <a:pt x="3496" y="533"/>
                  <a:pt x="3513" y="524"/>
                </a:cubicBezTo>
                <a:cubicBezTo>
                  <a:pt x="3530" y="515"/>
                  <a:pt x="3544" y="501"/>
                  <a:pt x="3555" y="484"/>
                </a:cubicBezTo>
                <a:cubicBezTo>
                  <a:pt x="3566" y="466"/>
                  <a:pt x="3575" y="444"/>
                  <a:pt x="3581" y="418"/>
                </a:cubicBezTo>
                <a:cubicBezTo>
                  <a:pt x="3587" y="393"/>
                  <a:pt x="3590" y="363"/>
                  <a:pt x="3590" y="330"/>
                </a:cubicBezTo>
                <a:cubicBezTo>
                  <a:pt x="3590" y="194"/>
                  <a:pt x="3548" y="125"/>
                  <a:pt x="3465" y="125"/>
                </a:cubicBezTo>
                <a:close/>
                <a:moveTo>
                  <a:pt x="3461" y="499"/>
                </a:moveTo>
                <a:cubicBezTo>
                  <a:pt x="3405" y="499"/>
                  <a:pt x="3377" y="445"/>
                  <a:pt x="3377" y="337"/>
                </a:cubicBezTo>
                <a:cubicBezTo>
                  <a:pt x="3377" y="222"/>
                  <a:pt x="3406" y="164"/>
                  <a:pt x="3463" y="164"/>
                </a:cubicBezTo>
                <a:cubicBezTo>
                  <a:pt x="3517" y="164"/>
                  <a:pt x="3544" y="221"/>
                  <a:pt x="3544" y="334"/>
                </a:cubicBezTo>
                <a:cubicBezTo>
                  <a:pt x="3544" y="444"/>
                  <a:pt x="3516" y="499"/>
                  <a:pt x="3461" y="499"/>
                </a:cubicBezTo>
                <a:close/>
                <a:moveTo>
                  <a:pt x="1382" y="133"/>
                </a:moveTo>
                <a:cubicBezTo>
                  <a:pt x="1270" y="532"/>
                  <a:pt x="1270" y="532"/>
                  <a:pt x="1270" y="532"/>
                </a:cubicBezTo>
                <a:cubicBezTo>
                  <a:pt x="1215" y="532"/>
                  <a:pt x="1215" y="532"/>
                  <a:pt x="1215" y="532"/>
                </a:cubicBezTo>
                <a:cubicBezTo>
                  <a:pt x="1133" y="240"/>
                  <a:pt x="1133" y="240"/>
                  <a:pt x="1133" y="240"/>
                </a:cubicBezTo>
                <a:cubicBezTo>
                  <a:pt x="1130" y="229"/>
                  <a:pt x="1128" y="216"/>
                  <a:pt x="1127" y="200"/>
                </a:cubicBezTo>
                <a:cubicBezTo>
                  <a:pt x="1126" y="200"/>
                  <a:pt x="1126" y="200"/>
                  <a:pt x="1126" y="200"/>
                </a:cubicBezTo>
                <a:cubicBezTo>
                  <a:pt x="1124" y="214"/>
                  <a:pt x="1122" y="227"/>
                  <a:pt x="1118" y="240"/>
                </a:cubicBezTo>
                <a:cubicBezTo>
                  <a:pt x="1036" y="532"/>
                  <a:pt x="1036" y="532"/>
                  <a:pt x="1036" y="532"/>
                </a:cubicBezTo>
                <a:cubicBezTo>
                  <a:pt x="981" y="532"/>
                  <a:pt x="981" y="532"/>
                  <a:pt x="981" y="532"/>
                </a:cubicBezTo>
                <a:cubicBezTo>
                  <a:pt x="865" y="133"/>
                  <a:pt x="865" y="133"/>
                  <a:pt x="865" y="133"/>
                </a:cubicBezTo>
                <a:cubicBezTo>
                  <a:pt x="916" y="133"/>
                  <a:pt x="916" y="133"/>
                  <a:pt x="916" y="133"/>
                </a:cubicBezTo>
                <a:cubicBezTo>
                  <a:pt x="1001" y="439"/>
                  <a:pt x="1001" y="439"/>
                  <a:pt x="1001" y="439"/>
                </a:cubicBezTo>
                <a:cubicBezTo>
                  <a:pt x="1004" y="452"/>
                  <a:pt x="1007" y="466"/>
                  <a:pt x="1008" y="479"/>
                </a:cubicBezTo>
                <a:cubicBezTo>
                  <a:pt x="1009" y="479"/>
                  <a:pt x="1009" y="479"/>
                  <a:pt x="1009" y="479"/>
                </a:cubicBezTo>
                <a:cubicBezTo>
                  <a:pt x="1010" y="468"/>
                  <a:pt x="1013" y="454"/>
                  <a:pt x="1017" y="439"/>
                </a:cubicBezTo>
                <a:cubicBezTo>
                  <a:pt x="1106" y="133"/>
                  <a:pt x="1106" y="133"/>
                  <a:pt x="1106" y="133"/>
                </a:cubicBezTo>
                <a:cubicBezTo>
                  <a:pt x="1151" y="133"/>
                  <a:pt x="1151" y="133"/>
                  <a:pt x="1151" y="133"/>
                </a:cubicBezTo>
                <a:cubicBezTo>
                  <a:pt x="1235" y="441"/>
                  <a:pt x="1235" y="441"/>
                  <a:pt x="1235" y="441"/>
                </a:cubicBezTo>
                <a:cubicBezTo>
                  <a:pt x="1238" y="453"/>
                  <a:pt x="1240" y="465"/>
                  <a:pt x="1242" y="478"/>
                </a:cubicBezTo>
                <a:cubicBezTo>
                  <a:pt x="1243" y="478"/>
                  <a:pt x="1243" y="478"/>
                  <a:pt x="1243" y="478"/>
                </a:cubicBezTo>
                <a:cubicBezTo>
                  <a:pt x="1244" y="469"/>
                  <a:pt x="1246" y="456"/>
                  <a:pt x="1250" y="440"/>
                </a:cubicBezTo>
                <a:cubicBezTo>
                  <a:pt x="1332" y="133"/>
                  <a:pt x="1332" y="133"/>
                  <a:pt x="1332" y="133"/>
                </a:cubicBezTo>
                <a:lnTo>
                  <a:pt x="1382" y="133"/>
                </a:lnTo>
                <a:close/>
                <a:moveTo>
                  <a:pt x="1475" y="153"/>
                </a:moveTo>
                <a:cubicBezTo>
                  <a:pt x="1475" y="162"/>
                  <a:pt x="1472" y="169"/>
                  <a:pt x="1466" y="174"/>
                </a:cubicBezTo>
                <a:cubicBezTo>
                  <a:pt x="1461" y="180"/>
                  <a:pt x="1453" y="183"/>
                  <a:pt x="1445" y="183"/>
                </a:cubicBezTo>
                <a:cubicBezTo>
                  <a:pt x="1437" y="183"/>
                  <a:pt x="1430" y="180"/>
                  <a:pt x="1424" y="175"/>
                </a:cubicBezTo>
                <a:cubicBezTo>
                  <a:pt x="1418" y="169"/>
                  <a:pt x="1416" y="162"/>
                  <a:pt x="1416" y="153"/>
                </a:cubicBezTo>
                <a:cubicBezTo>
                  <a:pt x="1416" y="145"/>
                  <a:pt x="1418" y="138"/>
                  <a:pt x="1424" y="132"/>
                </a:cubicBezTo>
                <a:cubicBezTo>
                  <a:pt x="1430" y="127"/>
                  <a:pt x="1437" y="124"/>
                  <a:pt x="1445" y="124"/>
                </a:cubicBezTo>
                <a:cubicBezTo>
                  <a:pt x="1454" y="124"/>
                  <a:pt x="1461" y="127"/>
                  <a:pt x="1467" y="132"/>
                </a:cubicBezTo>
                <a:cubicBezTo>
                  <a:pt x="1472" y="138"/>
                  <a:pt x="1475" y="145"/>
                  <a:pt x="1475" y="153"/>
                </a:cubicBezTo>
                <a:close/>
                <a:moveTo>
                  <a:pt x="1468" y="532"/>
                </a:moveTo>
                <a:cubicBezTo>
                  <a:pt x="1422" y="532"/>
                  <a:pt x="1422" y="532"/>
                  <a:pt x="1422" y="532"/>
                </a:cubicBezTo>
                <a:cubicBezTo>
                  <a:pt x="1422" y="247"/>
                  <a:pt x="1422" y="247"/>
                  <a:pt x="1422" y="247"/>
                </a:cubicBezTo>
                <a:cubicBezTo>
                  <a:pt x="1468" y="247"/>
                  <a:pt x="1468" y="247"/>
                  <a:pt x="1468" y="247"/>
                </a:cubicBezTo>
                <a:lnTo>
                  <a:pt x="1468" y="532"/>
                </a:lnTo>
                <a:close/>
                <a:moveTo>
                  <a:pt x="1772" y="532"/>
                </a:moveTo>
                <a:cubicBezTo>
                  <a:pt x="1726" y="532"/>
                  <a:pt x="1726" y="532"/>
                  <a:pt x="1726" y="532"/>
                </a:cubicBezTo>
                <a:cubicBezTo>
                  <a:pt x="1726" y="369"/>
                  <a:pt x="1726" y="369"/>
                  <a:pt x="1726" y="369"/>
                </a:cubicBezTo>
                <a:cubicBezTo>
                  <a:pt x="1726" y="309"/>
                  <a:pt x="1704" y="279"/>
                  <a:pt x="1660" y="279"/>
                </a:cubicBezTo>
                <a:cubicBezTo>
                  <a:pt x="1638" y="279"/>
                  <a:pt x="1619" y="288"/>
                  <a:pt x="1604" y="305"/>
                </a:cubicBezTo>
                <a:cubicBezTo>
                  <a:pt x="1589" y="322"/>
                  <a:pt x="1581" y="343"/>
                  <a:pt x="1581" y="369"/>
                </a:cubicBezTo>
                <a:cubicBezTo>
                  <a:pt x="1581" y="532"/>
                  <a:pt x="1581" y="532"/>
                  <a:pt x="1581" y="532"/>
                </a:cubicBezTo>
                <a:cubicBezTo>
                  <a:pt x="1536" y="532"/>
                  <a:pt x="1536" y="532"/>
                  <a:pt x="1536" y="532"/>
                </a:cubicBezTo>
                <a:cubicBezTo>
                  <a:pt x="1536" y="247"/>
                  <a:pt x="1536" y="247"/>
                  <a:pt x="1536" y="247"/>
                </a:cubicBezTo>
                <a:cubicBezTo>
                  <a:pt x="1581" y="247"/>
                  <a:pt x="1581" y="247"/>
                  <a:pt x="1581" y="247"/>
                </a:cubicBezTo>
                <a:cubicBezTo>
                  <a:pt x="1581" y="294"/>
                  <a:pt x="1581" y="294"/>
                  <a:pt x="1581" y="294"/>
                </a:cubicBezTo>
                <a:cubicBezTo>
                  <a:pt x="1583" y="294"/>
                  <a:pt x="1583" y="294"/>
                  <a:pt x="1583" y="294"/>
                </a:cubicBezTo>
                <a:cubicBezTo>
                  <a:pt x="1604" y="258"/>
                  <a:pt x="1635" y="240"/>
                  <a:pt x="1676" y="240"/>
                </a:cubicBezTo>
                <a:cubicBezTo>
                  <a:pt x="1707" y="240"/>
                  <a:pt x="1731" y="250"/>
                  <a:pt x="1747" y="271"/>
                </a:cubicBezTo>
                <a:cubicBezTo>
                  <a:pt x="1764" y="291"/>
                  <a:pt x="1772" y="320"/>
                  <a:pt x="1772" y="358"/>
                </a:cubicBezTo>
                <a:lnTo>
                  <a:pt x="1772" y="532"/>
                </a:lnTo>
                <a:close/>
                <a:moveTo>
                  <a:pt x="2087" y="532"/>
                </a:moveTo>
                <a:cubicBezTo>
                  <a:pt x="2041" y="532"/>
                  <a:pt x="2041" y="532"/>
                  <a:pt x="2041" y="532"/>
                </a:cubicBezTo>
                <a:cubicBezTo>
                  <a:pt x="2041" y="483"/>
                  <a:pt x="2041" y="483"/>
                  <a:pt x="2041" y="483"/>
                </a:cubicBezTo>
                <a:cubicBezTo>
                  <a:pt x="2040" y="483"/>
                  <a:pt x="2040" y="483"/>
                  <a:pt x="2040" y="483"/>
                </a:cubicBezTo>
                <a:cubicBezTo>
                  <a:pt x="2019" y="520"/>
                  <a:pt x="1986" y="539"/>
                  <a:pt x="1942" y="539"/>
                </a:cubicBezTo>
                <a:cubicBezTo>
                  <a:pt x="1906" y="539"/>
                  <a:pt x="1878" y="526"/>
                  <a:pt x="1856" y="500"/>
                </a:cubicBezTo>
                <a:cubicBezTo>
                  <a:pt x="1835" y="474"/>
                  <a:pt x="1824" y="440"/>
                  <a:pt x="1824" y="396"/>
                </a:cubicBezTo>
                <a:cubicBezTo>
                  <a:pt x="1824" y="349"/>
                  <a:pt x="1836" y="312"/>
                  <a:pt x="1860" y="283"/>
                </a:cubicBezTo>
                <a:cubicBezTo>
                  <a:pt x="1883" y="255"/>
                  <a:pt x="1915" y="240"/>
                  <a:pt x="1955" y="240"/>
                </a:cubicBezTo>
                <a:cubicBezTo>
                  <a:pt x="1993" y="240"/>
                  <a:pt x="2022" y="256"/>
                  <a:pt x="2040" y="286"/>
                </a:cubicBezTo>
                <a:cubicBezTo>
                  <a:pt x="2041" y="286"/>
                  <a:pt x="2041" y="286"/>
                  <a:pt x="2041" y="286"/>
                </a:cubicBezTo>
                <a:cubicBezTo>
                  <a:pt x="2041" y="110"/>
                  <a:pt x="2041" y="110"/>
                  <a:pt x="2041" y="110"/>
                </a:cubicBezTo>
                <a:cubicBezTo>
                  <a:pt x="2087" y="110"/>
                  <a:pt x="2087" y="110"/>
                  <a:pt x="2087" y="110"/>
                </a:cubicBezTo>
                <a:lnTo>
                  <a:pt x="2087" y="532"/>
                </a:lnTo>
                <a:close/>
                <a:moveTo>
                  <a:pt x="2041" y="403"/>
                </a:moveTo>
                <a:cubicBezTo>
                  <a:pt x="2041" y="361"/>
                  <a:pt x="2041" y="361"/>
                  <a:pt x="2041" y="361"/>
                </a:cubicBezTo>
                <a:cubicBezTo>
                  <a:pt x="2041" y="338"/>
                  <a:pt x="2033" y="318"/>
                  <a:pt x="2018" y="303"/>
                </a:cubicBezTo>
                <a:cubicBezTo>
                  <a:pt x="2002" y="287"/>
                  <a:pt x="1983" y="279"/>
                  <a:pt x="1960" y="279"/>
                </a:cubicBezTo>
                <a:cubicBezTo>
                  <a:pt x="1933" y="279"/>
                  <a:pt x="1911" y="289"/>
                  <a:pt x="1895" y="310"/>
                </a:cubicBezTo>
                <a:cubicBezTo>
                  <a:pt x="1879" y="330"/>
                  <a:pt x="1871" y="358"/>
                  <a:pt x="1871" y="394"/>
                </a:cubicBezTo>
                <a:cubicBezTo>
                  <a:pt x="1871" y="427"/>
                  <a:pt x="1879" y="452"/>
                  <a:pt x="1894" y="471"/>
                </a:cubicBezTo>
                <a:cubicBezTo>
                  <a:pt x="1909" y="490"/>
                  <a:pt x="1929" y="500"/>
                  <a:pt x="1955" y="500"/>
                </a:cubicBezTo>
                <a:cubicBezTo>
                  <a:pt x="1980" y="500"/>
                  <a:pt x="2001" y="491"/>
                  <a:pt x="2017" y="473"/>
                </a:cubicBezTo>
                <a:cubicBezTo>
                  <a:pt x="2033" y="454"/>
                  <a:pt x="2041" y="431"/>
                  <a:pt x="2041" y="403"/>
                </a:cubicBezTo>
                <a:close/>
                <a:moveTo>
                  <a:pt x="2425" y="388"/>
                </a:moveTo>
                <a:cubicBezTo>
                  <a:pt x="2425" y="434"/>
                  <a:pt x="2412" y="470"/>
                  <a:pt x="2387" y="497"/>
                </a:cubicBezTo>
                <a:cubicBezTo>
                  <a:pt x="2361" y="525"/>
                  <a:pt x="2327" y="539"/>
                  <a:pt x="2284" y="539"/>
                </a:cubicBezTo>
                <a:cubicBezTo>
                  <a:pt x="2242" y="539"/>
                  <a:pt x="2208" y="525"/>
                  <a:pt x="2183" y="499"/>
                </a:cubicBezTo>
                <a:cubicBezTo>
                  <a:pt x="2158" y="472"/>
                  <a:pt x="2145" y="437"/>
                  <a:pt x="2145" y="393"/>
                </a:cubicBezTo>
                <a:cubicBezTo>
                  <a:pt x="2145" y="346"/>
                  <a:pt x="2158" y="309"/>
                  <a:pt x="2184" y="281"/>
                </a:cubicBezTo>
                <a:cubicBezTo>
                  <a:pt x="2210" y="254"/>
                  <a:pt x="2245" y="240"/>
                  <a:pt x="2290" y="240"/>
                </a:cubicBezTo>
                <a:cubicBezTo>
                  <a:pt x="2332" y="240"/>
                  <a:pt x="2366" y="253"/>
                  <a:pt x="2389" y="280"/>
                </a:cubicBezTo>
                <a:cubicBezTo>
                  <a:pt x="2413" y="306"/>
                  <a:pt x="2425" y="342"/>
                  <a:pt x="2425" y="388"/>
                </a:cubicBezTo>
                <a:close/>
                <a:moveTo>
                  <a:pt x="2379" y="390"/>
                </a:moveTo>
                <a:cubicBezTo>
                  <a:pt x="2379" y="354"/>
                  <a:pt x="2371" y="327"/>
                  <a:pt x="2355" y="308"/>
                </a:cubicBezTo>
                <a:cubicBezTo>
                  <a:pt x="2339" y="289"/>
                  <a:pt x="2316" y="279"/>
                  <a:pt x="2287" y="279"/>
                </a:cubicBezTo>
                <a:cubicBezTo>
                  <a:pt x="2258" y="279"/>
                  <a:pt x="2234" y="289"/>
                  <a:pt x="2217" y="308"/>
                </a:cubicBezTo>
                <a:cubicBezTo>
                  <a:pt x="2200" y="328"/>
                  <a:pt x="2192" y="356"/>
                  <a:pt x="2192" y="391"/>
                </a:cubicBezTo>
                <a:cubicBezTo>
                  <a:pt x="2192" y="425"/>
                  <a:pt x="2200" y="452"/>
                  <a:pt x="2218" y="471"/>
                </a:cubicBezTo>
                <a:cubicBezTo>
                  <a:pt x="2235" y="490"/>
                  <a:pt x="2258" y="500"/>
                  <a:pt x="2287" y="500"/>
                </a:cubicBezTo>
                <a:cubicBezTo>
                  <a:pt x="2317" y="500"/>
                  <a:pt x="2339" y="490"/>
                  <a:pt x="2355" y="471"/>
                </a:cubicBezTo>
                <a:cubicBezTo>
                  <a:pt x="2371" y="453"/>
                  <a:pt x="2379" y="425"/>
                  <a:pt x="2379" y="390"/>
                </a:cubicBezTo>
                <a:close/>
                <a:moveTo>
                  <a:pt x="2842" y="247"/>
                </a:moveTo>
                <a:cubicBezTo>
                  <a:pt x="2757" y="532"/>
                  <a:pt x="2757" y="532"/>
                  <a:pt x="2757" y="532"/>
                </a:cubicBezTo>
                <a:cubicBezTo>
                  <a:pt x="2710" y="532"/>
                  <a:pt x="2710" y="532"/>
                  <a:pt x="2710" y="532"/>
                </a:cubicBezTo>
                <a:cubicBezTo>
                  <a:pt x="2651" y="328"/>
                  <a:pt x="2651" y="328"/>
                  <a:pt x="2651" y="328"/>
                </a:cubicBezTo>
                <a:cubicBezTo>
                  <a:pt x="2649" y="321"/>
                  <a:pt x="2648" y="312"/>
                  <a:pt x="2647" y="302"/>
                </a:cubicBezTo>
                <a:cubicBezTo>
                  <a:pt x="2646" y="302"/>
                  <a:pt x="2646" y="302"/>
                  <a:pt x="2646" y="302"/>
                </a:cubicBezTo>
                <a:cubicBezTo>
                  <a:pt x="2645" y="308"/>
                  <a:pt x="2643" y="317"/>
                  <a:pt x="2640" y="328"/>
                </a:cubicBezTo>
                <a:cubicBezTo>
                  <a:pt x="2576" y="532"/>
                  <a:pt x="2576" y="532"/>
                  <a:pt x="2576" y="532"/>
                </a:cubicBezTo>
                <a:cubicBezTo>
                  <a:pt x="2531" y="532"/>
                  <a:pt x="2531" y="532"/>
                  <a:pt x="2531" y="532"/>
                </a:cubicBezTo>
                <a:cubicBezTo>
                  <a:pt x="2445" y="247"/>
                  <a:pt x="2445" y="247"/>
                  <a:pt x="2445" y="247"/>
                </a:cubicBezTo>
                <a:cubicBezTo>
                  <a:pt x="2493" y="247"/>
                  <a:pt x="2493" y="247"/>
                  <a:pt x="2493" y="247"/>
                </a:cubicBezTo>
                <a:cubicBezTo>
                  <a:pt x="2551" y="461"/>
                  <a:pt x="2551" y="461"/>
                  <a:pt x="2551" y="461"/>
                </a:cubicBezTo>
                <a:cubicBezTo>
                  <a:pt x="2553" y="469"/>
                  <a:pt x="2554" y="477"/>
                  <a:pt x="2555" y="487"/>
                </a:cubicBezTo>
                <a:cubicBezTo>
                  <a:pt x="2557" y="487"/>
                  <a:pt x="2557" y="487"/>
                  <a:pt x="2557" y="487"/>
                </a:cubicBezTo>
                <a:cubicBezTo>
                  <a:pt x="2558" y="480"/>
                  <a:pt x="2559" y="471"/>
                  <a:pt x="2563" y="461"/>
                </a:cubicBezTo>
                <a:cubicBezTo>
                  <a:pt x="2628" y="247"/>
                  <a:pt x="2628" y="247"/>
                  <a:pt x="2628" y="247"/>
                </a:cubicBezTo>
                <a:cubicBezTo>
                  <a:pt x="2670" y="247"/>
                  <a:pt x="2670" y="247"/>
                  <a:pt x="2670" y="247"/>
                </a:cubicBezTo>
                <a:cubicBezTo>
                  <a:pt x="2729" y="462"/>
                  <a:pt x="2729" y="462"/>
                  <a:pt x="2729" y="462"/>
                </a:cubicBezTo>
                <a:cubicBezTo>
                  <a:pt x="2731" y="469"/>
                  <a:pt x="2732" y="477"/>
                  <a:pt x="2733" y="487"/>
                </a:cubicBezTo>
                <a:cubicBezTo>
                  <a:pt x="2735" y="487"/>
                  <a:pt x="2735" y="487"/>
                  <a:pt x="2735" y="487"/>
                </a:cubicBezTo>
                <a:cubicBezTo>
                  <a:pt x="2735" y="478"/>
                  <a:pt x="2737" y="470"/>
                  <a:pt x="2739" y="462"/>
                </a:cubicBezTo>
                <a:cubicBezTo>
                  <a:pt x="2797" y="247"/>
                  <a:pt x="2797" y="247"/>
                  <a:pt x="2797" y="247"/>
                </a:cubicBezTo>
                <a:lnTo>
                  <a:pt x="2842" y="247"/>
                </a:lnTo>
                <a:close/>
                <a:moveTo>
                  <a:pt x="3039" y="456"/>
                </a:moveTo>
                <a:cubicBezTo>
                  <a:pt x="3039" y="480"/>
                  <a:pt x="3029" y="500"/>
                  <a:pt x="3010" y="516"/>
                </a:cubicBezTo>
                <a:cubicBezTo>
                  <a:pt x="2991" y="531"/>
                  <a:pt x="2966" y="539"/>
                  <a:pt x="2935" y="539"/>
                </a:cubicBezTo>
                <a:cubicBezTo>
                  <a:pt x="2908" y="539"/>
                  <a:pt x="2884" y="533"/>
                  <a:pt x="2864" y="521"/>
                </a:cubicBezTo>
                <a:cubicBezTo>
                  <a:pt x="2864" y="473"/>
                  <a:pt x="2864" y="473"/>
                  <a:pt x="2864" y="473"/>
                </a:cubicBezTo>
                <a:cubicBezTo>
                  <a:pt x="2886" y="491"/>
                  <a:pt x="2911" y="500"/>
                  <a:pt x="2938" y="500"/>
                </a:cubicBezTo>
                <a:cubicBezTo>
                  <a:pt x="2974" y="500"/>
                  <a:pt x="2992" y="487"/>
                  <a:pt x="2992" y="460"/>
                </a:cubicBezTo>
                <a:cubicBezTo>
                  <a:pt x="2992" y="449"/>
                  <a:pt x="2989" y="441"/>
                  <a:pt x="2982" y="434"/>
                </a:cubicBezTo>
                <a:cubicBezTo>
                  <a:pt x="2975" y="427"/>
                  <a:pt x="2959" y="418"/>
                  <a:pt x="2934" y="406"/>
                </a:cubicBezTo>
                <a:cubicBezTo>
                  <a:pt x="2908" y="396"/>
                  <a:pt x="2891" y="384"/>
                  <a:pt x="2880" y="372"/>
                </a:cubicBezTo>
                <a:cubicBezTo>
                  <a:pt x="2870" y="360"/>
                  <a:pt x="2865" y="343"/>
                  <a:pt x="2865" y="323"/>
                </a:cubicBezTo>
                <a:cubicBezTo>
                  <a:pt x="2865" y="299"/>
                  <a:pt x="2874" y="280"/>
                  <a:pt x="2893" y="264"/>
                </a:cubicBezTo>
                <a:cubicBezTo>
                  <a:pt x="2912" y="248"/>
                  <a:pt x="2936" y="240"/>
                  <a:pt x="2965" y="240"/>
                </a:cubicBezTo>
                <a:cubicBezTo>
                  <a:pt x="2987" y="240"/>
                  <a:pt x="3008" y="245"/>
                  <a:pt x="3026" y="254"/>
                </a:cubicBezTo>
                <a:cubicBezTo>
                  <a:pt x="3026" y="299"/>
                  <a:pt x="3026" y="299"/>
                  <a:pt x="3026" y="299"/>
                </a:cubicBezTo>
                <a:cubicBezTo>
                  <a:pt x="3007" y="286"/>
                  <a:pt x="2986" y="279"/>
                  <a:pt x="2961" y="279"/>
                </a:cubicBezTo>
                <a:cubicBezTo>
                  <a:pt x="2946" y="279"/>
                  <a:pt x="2934" y="283"/>
                  <a:pt x="2925" y="290"/>
                </a:cubicBezTo>
                <a:cubicBezTo>
                  <a:pt x="2916" y="298"/>
                  <a:pt x="2911" y="307"/>
                  <a:pt x="2911" y="319"/>
                </a:cubicBezTo>
                <a:cubicBezTo>
                  <a:pt x="2911" y="332"/>
                  <a:pt x="2915" y="341"/>
                  <a:pt x="2922" y="348"/>
                </a:cubicBezTo>
                <a:cubicBezTo>
                  <a:pt x="2929" y="355"/>
                  <a:pt x="2943" y="363"/>
                  <a:pt x="2965" y="372"/>
                </a:cubicBezTo>
                <a:cubicBezTo>
                  <a:pt x="2993" y="383"/>
                  <a:pt x="3012" y="396"/>
                  <a:pt x="3022" y="408"/>
                </a:cubicBezTo>
                <a:cubicBezTo>
                  <a:pt x="3033" y="421"/>
                  <a:pt x="3039" y="437"/>
                  <a:pt x="3039" y="4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89606" tIns="44803" rIns="89606" bIns="4480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29454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en-US" sz="1200" kern="1200" noProof="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231">
              <a:defRPr/>
            </a:pPr>
            <a:endParaRPr lang="en-US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989998" y="6356352"/>
            <a:ext cx="2742486" cy="365125"/>
          </a:xfrm>
        </p:spPr>
        <p:txBody>
          <a:bodyPr/>
          <a:lstStyle>
            <a:lvl1pPr>
              <a:defRPr lang="en-US" sz="1200" kern="1200" noProof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231">
              <a:defRPr/>
            </a:pPr>
            <a:fld id="{6501FA54-5845-47E7-A853-4998EF0AB168}" type="slidenum">
              <a:rPr lang="uk-UA" smtClean="0">
                <a:solidFill>
                  <a:srgbClr val="505050">
                    <a:tint val="75000"/>
                  </a:srgbClr>
                </a:solidFill>
              </a:rPr>
              <a:pPr defTabSz="914231">
                <a:defRPr/>
              </a:pPr>
              <a:t>‹#›</a:t>
            </a:fld>
            <a:endParaRPr lang="uk-UA">
              <a:solidFill>
                <a:srgbClr val="505050">
                  <a:tint val="75000"/>
                </a:srgbClr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048" y="6768359"/>
            <a:ext cx="12185778" cy="89643"/>
          </a:xfrm>
          <a:prstGeom prst="rect">
            <a:avLst/>
          </a:prstGeom>
          <a:solidFill>
            <a:srgbClr val="0078D7"/>
          </a:solidFill>
          <a:ln>
            <a:solidFill>
              <a:srgbClr val="0078D7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3" tIns="143369" rIns="179213" bIns="1433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9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39557" y="627089"/>
            <a:ext cx="10309714" cy="683136"/>
          </a:xfrm>
        </p:spPr>
        <p:txBody>
          <a:bodyPr anchor="ctr" anchorCtr="1"/>
          <a:lstStyle>
            <a:lvl1pPr marL="0" indent="0" algn="ctr">
              <a:buNone/>
              <a:defRPr kumimoji="0" lang="en-US" sz="3599" b="0" i="0" u="none" strike="noStrike" kern="1200" cap="none" spc="-99" normalizeH="0" baseline="0" dirty="0" smtClean="0">
                <a:ln w="3175"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+mj-lt"/>
                <a:ea typeface="Segoe UI" pitchFamily="34" charset="0"/>
                <a:cs typeface="Segoe UI Light" panose="020B0502040204020203" pitchFamily="34" charset="0"/>
              </a:defRPr>
            </a:lvl1pPr>
            <a:lvl2pPr marL="335968" indent="0">
              <a:buNone/>
              <a:defRPr/>
            </a:lvl2pPr>
            <a:lvl3pPr marL="559944" indent="0">
              <a:buNone/>
              <a:defRPr/>
            </a:lvl3pPr>
            <a:lvl4pPr marL="783923" indent="0">
              <a:buNone/>
              <a:defRPr/>
            </a:lvl4pPr>
            <a:lvl5pPr marL="1007899" indent="0">
              <a:buNone/>
              <a:defRPr/>
            </a:lvl5pPr>
          </a:lstStyle>
          <a:p>
            <a:pPr marL="0" marR="0" lvl="0" indent="0" algn="l" defTabSz="91405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3048" y="1"/>
            <a:ext cx="12185778" cy="89643"/>
          </a:xfrm>
          <a:prstGeom prst="rect">
            <a:avLst/>
          </a:prstGeom>
          <a:solidFill>
            <a:srgbClr val="0078D7"/>
          </a:solidFill>
          <a:ln>
            <a:solidFill>
              <a:srgbClr val="0078D7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3" tIns="143369" rIns="179213" bIns="1433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79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7759809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9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"/>
            <a:ext cx="12188202" cy="685862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169" y="2077800"/>
            <a:ext cx="6273341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61" tIns="143329" rIns="179161" bIns="1433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34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invGray">
          <a:xfrm>
            <a:off x="1" y="5"/>
            <a:ext cx="12188202" cy="6858623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61" tIns="143329" rIns="179161" bIns="1433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34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52365" y="2095416"/>
            <a:ext cx="6391704" cy="1772525"/>
          </a:xfrm>
          <a:noFill/>
        </p:spPr>
        <p:txBody>
          <a:bodyPr lIns="146304" tIns="91440" rIns="146304" bIns="91440" anchor="t" anchorCtr="0"/>
          <a:lstStyle>
            <a:lvl1pPr>
              <a:defRPr sz="5289" spc="-99" baseline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152365" y="3877281"/>
            <a:ext cx="6391704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 baseline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Presenter | Date</a:t>
            </a:r>
          </a:p>
        </p:txBody>
      </p:sp>
      <p:pic>
        <p:nvPicPr>
          <p:cNvPr id="8" name="Picture 7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White">
          <a:xfrm>
            <a:off x="448472" y="6122092"/>
            <a:ext cx="1254668" cy="2677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3" y="6073351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56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2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"/>
            <a:ext cx="12188202" cy="685862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1" y="5"/>
            <a:ext cx="12188202" cy="6858623"/>
          </a:xfrm>
          <a:prstGeom prst="rect">
            <a:avLst/>
          </a:prstGeom>
          <a:solidFill>
            <a:srgbClr val="000000">
              <a:alpha val="15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61" tIns="143329" rIns="179161" bIns="14332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34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53980" y="2092768"/>
            <a:ext cx="6390149" cy="878621"/>
          </a:xfrm>
          <a:noFill/>
        </p:spPr>
        <p:txBody>
          <a:bodyPr lIns="146304" tIns="91440" rIns="146304" bIns="91440" anchor="t" anchorCtr="0"/>
          <a:lstStyle>
            <a:lvl1pPr>
              <a:defRPr sz="5289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152364" y="3003450"/>
            <a:ext cx="6390149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3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8" name="Picture 7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White">
          <a:xfrm>
            <a:off x="448472" y="6122092"/>
            <a:ext cx="1254668" cy="2677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3" y="6073351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621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4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52364" y="2096492"/>
            <a:ext cx="6390149" cy="1793104"/>
          </a:xfrm>
          <a:noFill/>
        </p:spPr>
        <p:txBody>
          <a:bodyPr lIns="146304" tIns="91440" rIns="146304" bIns="91440" anchor="t" anchorCtr="0"/>
          <a:lstStyle>
            <a:lvl1pPr>
              <a:defRPr sz="5289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152364" y="3877276"/>
            <a:ext cx="6390149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2" y="6122092"/>
            <a:ext cx="1254668" cy="267709"/>
          </a:xfrm>
          <a:prstGeom prst="rect">
            <a:avLst/>
          </a:prstGeom>
        </p:spPr>
      </p:pic>
      <p:sp>
        <p:nvSpPr>
          <p:cNvPr id="8" name="Content Placeholder 5"/>
          <p:cNvSpPr>
            <a:spLocks noGrp="1"/>
          </p:cNvSpPr>
          <p:nvPr>
            <p:ph sz="quarter" idx="11"/>
          </p:nvPr>
        </p:nvSpPr>
        <p:spPr>
          <a:xfrm>
            <a:off x="152361" y="291071"/>
            <a:ext cx="4164621" cy="429092"/>
          </a:xfrm>
        </p:spPr>
        <p:txBody>
          <a:bodyPr lIns="182880" rIns="182880"/>
          <a:lstStyle>
            <a:lvl1pPr marL="0" indent="0">
              <a:buNone/>
              <a:defRPr lang="en-US" sz="1765" kern="1200" spc="-99" baseline="0" dirty="0" smtClean="0"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562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9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6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52364" y="2096492"/>
            <a:ext cx="6390149" cy="1793104"/>
          </a:xfrm>
          <a:noFill/>
        </p:spPr>
        <p:txBody>
          <a:bodyPr lIns="146304" tIns="91440" rIns="146304" bIns="91440" anchor="t" anchorCtr="0"/>
          <a:lstStyle>
            <a:lvl1pPr>
              <a:defRPr sz="5289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152364" y="3877276"/>
            <a:ext cx="6390149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2" y="6122092"/>
            <a:ext cx="1254668" cy="26770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49392" y="1048813"/>
            <a:ext cx="1434268" cy="314583"/>
          </a:xfrm>
          <a:prstGeom prst="rect">
            <a:avLst/>
          </a:prstGeom>
        </p:spPr>
      </p:pic>
      <p:sp>
        <p:nvSpPr>
          <p:cNvPr id="8" name="Content Placeholder 5"/>
          <p:cNvSpPr>
            <a:spLocks noGrp="1"/>
          </p:cNvSpPr>
          <p:nvPr>
            <p:ph sz="quarter" idx="11"/>
          </p:nvPr>
        </p:nvSpPr>
        <p:spPr>
          <a:xfrm>
            <a:off x="152361" y="291071"/>
            <a:ext cx="4164621" cy="429092"/>
          </a:xfrm>
        </p:spPr>
        <p:txBody>
          <a:bodyPr lIns="182880" rIns="182880"/>
          <a:lstStyle>
            <a:lvl1pPr marL="0" indent="0">
              <a:buNone/>
              <a:defRPr lang="en-US" sz="1765" kern="1200" spc="-99" baseline="0" dirty="0" smtClean="0"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562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622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9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88826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52364" y="2096492"/>
            <a:ext cx="6390149" cy="1793104"/>
          </a:xfrm>
          <a:noFill/>
        </p:spPr>
        <p:txBody>
          <a:bodyPr lIns="146304" tIns="91440" rIns="146304" bIns="91440" anchor="t" anchorCtr="0"/>
          <a:lstStyle>
            <a:lvl1pPr>
              <a:defRPr sz="5289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152364" y="3877276"/>
            <a:ext cx="6390149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2" y="6122092"/>
            <a:ext cx="1254668" cy="26770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3" y="6073351"/>
            <a:ext cx="1434268" cy="314583"/>
          </a:xfrm>
          <a:prstGeom prst="rect">
            <a:avLst/>
          </a:prstGeom>
        </p:spPr>
      </p:pic>
      <p:sp>
        <p:nvSpPr>
          <p:cNvPr id="8" name="Content Placeholder 5"/>
          <p:cNvSpPr>
            <a:spLocks noGrp="1"/>
          </p:cNvSpPr>
          <p:nvPr>
            <p:ph sz="quarter" idx="11"/>
          </p:nvPr>
        </p:nvSpPr>
        <p:spPr>
          <a:xfrm>
            <a:off x="152361" y="291071"/>
            <a:ext cx="4164621" cy="429092"/>
          </a:xfrm>
        </p:spPr>
        <p:txBody>
          <a:bodyPr lIns="182880" rIns="182880"/>
          <a:lstStyle>
            <a:lvl1pPr marL="0" indent="0">
              <a:buNone/>
              <a:defRPr lang="en-US" sz="1765" kern="1200" spc="-99" baseline="0" dirty="0" smtClean="0"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562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984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https://upload.wikimedia.org/wikipedia/commons/thumb/0/05/Windows_10_Logo.svg/2000px-Windows_10_Logo.svg.png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8473" y="6073351"/>
            <a:ext cx="1460017" cy="314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52365" y="2093525"/>
            <a:ext cx="9078722" cy="1793091"/>
          </a:xfrm>
          <a:noFill/>
        </p:spPr>
        <p:txBody>
          <a:bodyPr lIns="146304" tIns="91440" rIns="146304" bIns="91440" anchor="t" anchorCtr="0"/>
          <a:lstStyle>
            <a:lvl1pPr>
              <a:defRPr sz="5289" spc="-99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2362" y="3878574"/>
            <a:ext cx="7286341" cy="1792327"/>
          </a:xfrm>
          <a:noFill/>
        </p:spPr>
        <p:txBody>
          <a:bodyPr lIns="182880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 hidden="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2" y="6121377"/>
            <a:ext cx="1254668" cy="269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03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015" y="1602318"/>
            <a:ext cx="10817582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537" y="5530961"/>
            <a:ext cx="9571256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/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4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2362" y="1189178"/>
            <a:ext cx="11886444" cy="208014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12" indent="0">
              <a:buNone/>
              <a:defRPr/>
            </a:lvl3pPr>
            <a:lvl4pPr marL="447823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819813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6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40" y="735177"/>
            <a:ext cx="11884126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2365" y="1637454"/>
            <a:ext cx="11884103" cy="208014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12" indent="0">
              <a:buNone/>
              <a:defRPr/>
            </a:lvl3pPr>
            <a:lvl4pPr marL="447823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/>
          </p:nvPr>
        </p:nvSpPr>
        <p:spPr>
          <a:xfrm>
            <a:off x="152342" y="291071"/>
            <a:ext cx="4206375" cy="429092"/>
          </a:xfrm>
        </p:spPr>
        <p:txBody>
          <a:bodyPr lIns="182880" rIns="182880"/>
          <a:lstStyle>
            <a:lvl1pPr marL="0" indent="0">
              <a:buNone/>
              <a:defRPr lang="en-US" sz="1765" kern="1200" spc="-99" baseline="0" dirty="0" smtClean="0">
                <a:gradFill>
                  <a:gsLst>
                    <a:gs pos="5556">
                      <a:schemeClr val="tx2"/>
                    </a:gs>
                    <a:gs pos="27000">
                      <a:schemeClr val="tx2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562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382111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2-color Non-bulleted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39" y="289516"/>
            <a:ext cx="11886470" cy="899665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2339" y="1189178"/>
            <a:ext cx="11886470" cy="208014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2pPr>
            <a:lvl3pPr marL="223912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3pPr>
            <a:lvl4pPr marL="447823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4pPr>
            <a:lvl5pPr marL="671735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7352" y="6493776"/>
            <a:ext cx="2741474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6503E857-4F15-4ECA-BD4D-D22AAAB9E6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150513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2-color Non-bulleted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1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38" y="735177"/>
            <a:ext cx="11884127" cy="899665"/>
          </a:xfrm>
        </p:spPr>
        <p:txBody>
          <a:bodyPr/>
          <a:lstStyle>
            <a:lvl1pPr>
              <a:defRPr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2338" y="1637454"/>
            <a:ext cx="11884127" cy="208014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</a:defRPr>
            </a:lvl1pPr>
            <a:lvl2pPr marL="0" indent="0">
              <a:buFontTx/>
              <a:buNone/>
              <a:defRPr sz="1961"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</a:defRPr>
            </a:lvl2pPr>
            <a:lvl3pPr marL="223912" indent="0">
              <a:buNone/>
              <a:defRPr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</a:defRPr>
            </a:lvl3pPr>
            <a:lvl4pPr marL="447823" indent="0">
              <a:buNone/>
              <a:defRPr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</a:defRPr>
            </a:lvl4pPr>
            <a:lvl5pPr marL="671735" indent="0">
              <a:buNone/>
              <a:defRPr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/>
          </p:nvPr>
        </p:nvSpPr>
        <p:spPr>
          <a:xfrm>
            <a:off x="152342" y="291071"/>
            <a:ext cx="4206375" cy="429092"/>
          </a:xfrm>
        </p:spPr>
        <p:txBody>
          <a:bodyPr lIns="182880" rIns="182880"/>
          <a:lstStyle>
            <a:lvl1pPr marL="0" indent="0">
              <a:buNone/>
              <a:defRPr lang="en-US" sz="1765" kern="1200" spc="-99" baseline="0" dirty="0" smtClean="0"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562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158311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&amp; 2-color Non-bulleted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3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606" y="735177"/>
            <a:ext cx="11875859" cy="899665"/>
          </a:xfrm>
        </p:spPr>
        <p:txBody>
          <a:bodyPr/>
          <a:lstStyle>
            <a:lvl1pPr>
              <a:defRPr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/>
          </p:nvPr>
        </p:nvSpPr>
        <p:spPr>
          <a:xfrm>
            <a:off x="160607" y="291071"/>
            <a:ext cx="4273183" cy="429092"/>
          </a:xfrm>
        </p:spPr>
        <p:txBody>
          <a:bodyPr lIns="182880" rIns="182880"/>
          <a:lstStyle>
            <a:lvl1pPr marL="0" indent="0">
              <a:buNone/>
              <a:defRPr lang="en-US" sz="1765" kern="1200" spc="-99" baseline="0" dirty="0" smtClean="0"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562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2"/>
          </p:nvPr>
        </p:nvSpPr>
        <p:spPr>
          <a:xfrm>
            <a:off x="152362" y="1840791"/>
            <a:ext cx="4597765" cy="827406"/>
          </a:xfrm>
        </p:spPr>
        <p:txBody>
          <a:bodyPr lIns="182880" rIns="182880"/>
          <a:lstStyle>
            <a:lvl1pPr marL="0" indent="0" algn="l" defTabSz="89562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173"/>
              </a:spcAft>
              <a:buNone/>
              <a:defRPr lang="en-US" sz="1765" b="1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/>
          </p:nvPr>
        </p:nvSpPr>
        <p:spPr>
          <a:xfrm>
            <a:off x="4753243" y="1840791"/>
            <a:ext cx="4477844" cy="827406"/>
          </a:xfrm>
        </p:spPr>
        <p:txBody>
          <a:bodyPr lIns="182880" rIns="182880"/>
          <a:lstStyle>
            <a:lvl1pPr marL="0" indent="0" algn="l" defTabSz="89562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173"/>
              </a:spcAft>
              <a:buNone/>
              <a:defRPr lang="en-US" sz="1765" b="1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443509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6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39" y="289516"/>
            <a:ext cx="1188647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2339" y="1189178"/>
            <a:ext cx="11886470" cy="208014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3912" indent="0">
              <a:buNone/>
              <a:defRPr/>
            </a:lvl3pPr>
            <a:lvl4pPr marL="447823" indent="0">
              <a:buNone/>
              <a:defRPr/>
            </a:lvl4pPr>
            <a:lvl5pPr marL="67173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328293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8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2334" y="1189180"/>
            <a:ext cx="11884131" cy="2143237"/>
          </a:xfrm>
        </p:spPr>
        <p:txBody>
          <a:bodyPr wrap="square"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2339" y="289516"/>
            <a:ext cx="1188647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093507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0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2334" y="1189180"/>
            <a:ext cx="11884131" cy="2143237"/>
          </a:xfrm>
        </p:spPr>
        <p:txBody>
          <a:bodyPr wrap="square">
            <a:spAutoFit/>
          </a:bodyPr>
          <a:lstStyle>
            <a:lvl1pPr>
              <a:defRPr sz="3918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2339" y="289516"/>
            <a:ext cx="1188647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872598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3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39" y="289516"/>
            <a:ext cx="1188647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2336" y="1189176"/>
            <a:ext cx="5377147" cy="1953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22" indent="0">
              <a:buNone/>
              <a:tabLst/>
              <a:defRPr sz="1961"/>
            </a:lvl3pPr>
            <a:lvl4pPr marL="450934" indent="0">
              <a:buNone/>
              <a:defRPr/>
            </a:lvl4pPr>
            <a:lvl5pPr marL="67173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61660" y="1189176"/>
            <a:ext cx="5377147" cy="1953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22" indent="0">
              <a:buNone/>
              <a:tabLst/>
              <a:defRPr sz="1961"/>
            </a:lvl3pPr>
            <a:lvl4pPr marL="450934" indent="0">
              <a:buNone/>
              <a:defRPr/>
            </a:lvl4pPr>
            <a:lvl5pPr marL="67173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101866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5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63" y="735177"/>
            <a:ext cx="11884106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2365" y="1640692"/>
            <a:ext cx="5735929" cy="1953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22" indent="0">
              <a:buNone/>
              <a:tabLst/>
              <a:defRPr sz="1961"/>
            </a:lvl3pPr>
            <a:lvl4pPr marL="450934" indent="0">
              <a:buNone/>
              <a:defRPr/>
            </a:lvl4pPr>
            <a:lvl5pPr marL="67173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042064" y="1640692"/>
            <a:ext cx="5994401" cy="1953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022" indent="0">
              <a:buNone/>
              <a:tabLst/>
              <a:defRPr sz="1961"/>
            </a:lvl3pPr>
            <a:lvl4pPr marL="450934" indent="0">
              <a:buNone/>
              <a:defRPr/>
            </a:lvl4pPr>
            <a:lvl5pPr marL="67173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52359" y="291071"/>
            <a:ext cx="4251193" cy="429092"/>
          </a:xfrm>
        </p:spPr>
        <p:txBody>
          <a:bodyPr lIns="182880" rIns="182880"/>
          <a:lstStyle>
            <a:lvl1pPr marL="0" indent="0">
              <a:buNone/>
              <a:defRPr lang="en-US" sz="1765" kern="1200" spc="-99" baseline="0" dirty="0" smtClean="0">
                <a:gradFill>
                  <a:gsLst>
                    <a:gs pos="5556">
                      <a:schemeClr val="tx2"/>
                    </a:gs>
                    <a:gs pos="27000">
                      <a:schemeClr val="tx2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562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97608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719" y="1797051"/>
            <a:ext cx="11037201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825" marR="0" indent="-380825" algn="ctr" defTabSz="60932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8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39" y="289516"/>
            <a:ext cx="1188647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2336" y="1189176"/>
            <a:ext cx="5377147" cy="1953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22" indent="0">
              <a:buNone/>
              <a:tabLst/>
              <a:defRPr sz="1961"/>
            </a:lvl3pPr>
            <a:lvl4pPr marL="450934" indent="0">
              <a:buNone/>
              <a:defRPr/>
            </a:lvl4pPr>
            <a:lvl5pPr marL="67173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61660" y="1189176"/>
            <a:ext cx="5377147" cy="1953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61"/>
            </a:lvl2pPr>
            <a:lvl3pPr marL="227022" indent="0">
              <a:buNone/>
              <a:tabLst/>
              <a:defRPr sz="1961"/>
            </a:lvl3pPr>
            <a:lvl4pPr marL="450934" indent="0">
              <a:buNone/>
              <a:defRPr/>
            </a:lvl4pPr>
            <a:lvl5pPr marL="671735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923438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0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39" y="289516"/>
            <a:ext cx="1188647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2336" y="1189176"/>
            <a:ext cx="5377147" cy="2454176"/>
          </a:xfrm>
        </p:spPr>
        <p:txBody>
          <a:bodyPr wrap="square">
            <a:spAutoFit/>
          </a:bodyPr>
          <a:lstStyle>
            <a:lvl1pPr marL="281444" indent="-281444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273" indent="-228412">
              <a:defRPr sz="2353"/>
            </a:lvl2pPr>
            <a:lvl3pPr marL="685235" indent="-164965">
              <a:tabLst/>
              <a:defRPr sz="1961"/>
            </a:lvl3pPr>
            <a:lvl4pPr marL="862890" indent="-177654">
              <a:defRPr/>
            </a:lvl4pPr>
            <a:lvl5pPr marL="1027854" indent="-16496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61660" y="1189176"/>
            <a:ext cx="5377147" cy="2454176"/>
          </a:xfrm>
        </p:spPr>
        <p:txBody>
          <a:bodyPr wrap="square">
            <a:spAutoFit/>
          </a:bodyPr>
          <a:lstStyle>
            <a:lvl1pPr marL="281444" indent="-281444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273" indent="-228412">
              <a:defRPr sz="2353"/>
            </a:lvl2pPr>
            <a:lvl3pPr marL="685235" indent="-164965">
              <a:tabLst/>
              <a:defRPr sz="1961"/>
            </a:lvl3pPr>
            <a:lvl4pPr marL="862890" indent="-177654">
              <a:defRPr/>
            </a:lvl4pPr>
            <a:lvl5pPr marL="1027854" indent="-16496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485543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39" y="289516"/>
            <a:ext cx="11886470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52336" y="1189176"/>
            <a:ext cx="5377147" cy="2454176"/>
          </a:xfrm>
        </p:spPr>
        <p:txBody>
          <a:bodyPr wrap="square">
            <a:spAutoFit/>
          </a:bodyPr>
          <a:lstStyle>
            <a:lvl1pPr marL="281444" indent="-281444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273" indent="-228412">
              <a:defRPr sz="2353"/>
            </a:lvl2pPr>
            <a:lvl3pPr marL="685235" indent="-164965">
              <a:tabLst/>
              <a:defRPr sz="1961"/>
            </a:lvl3pPr>
            <a:lvl4pPr marL="862890" indent="-177654">
              <a:defRPr/>
            </a:lvl4pPr>
            <a:lvl5pPr marL="1027854" indent="-16496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61660" y="1189176"/>
            <a:ext cx="5377147" cy="2454176"/>
          </a:xfrm>
        </p:spPr>
        <p:txBody>
          <a:bodyPr wrap="square">
            <a:spAutoFit/>
          </a:bodyPr>
          <a:lstStyle>
            <a:lvl1pPr marL="281444" indent="-281444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273" indent="-228412">
              <a:defRPr sz="2353"/>
            </a:lvl2pPr>
            <a:lvl3pPr marL="685235" indent="-164965">
              <a:tabLst/>
              <a:defRPr sz="1961"/>
            </a:lvl3pPr>
            <a:lvl4pPr marL="862890" indent="-177654">
              <a:defRPr/>
            </a:lvl4pPr>
            <a:lvl5pPr marL="1027854" indent="-164965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202780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5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139800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7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9370788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0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378" y="1186359"/>
            <a:ext cx="9973341" cy="1161087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0" spc="-99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2360" y="3877278"/>
            <a:ext cx="9974916" cy="729559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57697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2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364" y="1186359"/>
            <a:ext cx="9973358" cy="1161087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lang="en-US" sz="7050" b="0" kern="1200" cap="none" spc="-99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04080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4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67" y="2057405"/>
            <a:ext cx="11767297" cy="1161087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0" spc="-99" baseline="0">
                <a:gradFill>
                  <a:gsLst>
                    <a:gs pos="100000">
                      <a:schemeClr val="accent1"/>
                    </a:gs>
                    <a:gs pos="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80525668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7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365" y="2084172"/>
            <a:ext cx="11884103" cy="1180901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3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57005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9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365" y="2084177"/>
            <a:ext cx="11884103" cy="1161087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0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63512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241" y="2220243"/>
            <a:ext cx="4881427" cy="390115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60000"/>
              <a:buFont typeface="Arial"/>
              <a:buChar char="•"/>
              <a:defRPr sz="26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60000"/>
              <a:buFont typeface="Arial"/>
              <a:buChar char="•"/>
              <a:defRPr sz="2399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499" indent="-152362">
              <a:buClr>
                <a:schemeClr val="tx2"/>
              </a:buClr>
              <a:buSzPct val="60000"/>
              <a:buFont typeface="Arial"/>
              <a:buChar char="•"/>
              <a:defRPr sz="2133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89861" indent="-152362">
              <a:buClr>
                <a:schemeClr val="tx2"/>
              </a:buClr>
              <a:buSzPct val="60000"/>
              <a:buFont typeface="Arial"/>
              <a:buChar char="•"/>
              <a:defRPr sz="18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223" indent="-152362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7" y="455085"/>
            <a:ext cx="491413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6"/>
            <a:ext cx="475661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2" pos="384" userDrawn="1">
          <p15:clr>
            <a:srgbClr val="FBAE40"/>
          </p15:clr>
        </p15:guide>
        <p15:guide id="3" pos="3463" userDrawn="1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2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4692" y="1187705"/>
            <a:ext cx="11871777" cy="1161087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0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64692" y="2438077"/>
            <a:ext cx="11871777" cy="429092"/>
          </a:xfrm>
        </p:spPr>
        <p:txBody>
          <a:bodyPr lIns="182880" rIns="182880"/>
          <a:lstStyle>
            <a:lvl1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164692" y="291071"/>
            <a:ext cx="4164621" cy="429092"/>
          </a:xfrm>
        </p:spPr>
        <p:txBody>
          <a:bodyPr lIns="182880" rIns="182880"/>
          <a:lstStyle>
            <a:lvl1pPr marL="0" indent="0">
              <a:buNone/>
              <a:defRPr lang="en-US" sz="1765" kern="1200" spc="-99" baseline="0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562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2"/>
          </p:nvPr>
        </p:nvSpPr>
        <p:spPr>
          <a:xfrm>
            <a:off x="164688" y="3451783"/>
            <a:ext cx="4480957" cy="827406"/>
          </a:xfrm>
        </p:spPr>
        <p:txBody>
          <a:bodyPr lIns="182880" rIns="182880"/>
          <a:lstStyle>
            <a:lvl1pPr marL="0" indent="0" algn="l" defTabSz="89562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173"/>
              </a:spcAft>
              <a:buNone/>
              <a:defRPr lang="en-US" sz="1765" b="1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/>
          </p:nvPr>
        </p:nvSpPr>
        <p:spPr>
          <a:xfrm>
            <a:off x="4753243" y="3451783"/>
            <a:ext cx="4477844" cy="827406"/>
          </a:xfrm>
        </p:spPr>
        <p:txBody>
          <a:bodyPr lIns="182880" rIns="182880"/>
          <a:lstStyle>
            <a:lvl1pPr marL="0" indent="0" algn="l" defTabSz="89562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173"/>
              </a:spcAft>
              <a:buNone/>
              <a:defRPr lang="en-US" sz="1765" b="1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  <a:lvl2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2pPr>
            <a:lvl3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3pPr>
            <a:lvl4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4pPr>
            <a:lvl5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>
                <a:gradFill>
                  <a:gsLst>
                    <a:gs pos="5556">
                      <a:prstClr val="white"/>
                    </a:gs>
                    <a:gs pos="27000">
                      <a:prstClr val="white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10" name="Footer Placeholder 2"/>
          <p:cNvSpPr txBox="1">
            <a:spLocks/>
          </p:cNvSpPr>
          <p:nvPr userDrawn="1"/>
        </p:nvSpPr>
        <p:spPr>
          <a:xfrm>
            <a:off x="5" y="6493776"/>
            <a:ext cx="4113767" cy="364224"/>
          </a:xfrm>
          <a:prstGeom prst="rect">
            <a:avLst/>
          </a:prstGeom>
        </p:spPr>
        <p:txBody>
          <a:bodyPr vert="horz" lIns="179161" tIns="44791" rIns="179161" bIns="44791" rtlCol="0" anchor="ctr"/>
          <a:lstStyle>
            <a:defPPr>
              <a:defRPr lang="en-US"/>
            </a:defPPr>
            <a:lvl1pPr marL="0" algn="l" defTabSz="932742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980">
                <a:solidFill>
                  <a:srgbClr val="FFFFFF"/>
                </a:solidFill>
              </a:rPr>
              <a:t>Microsoft Confidential I Windows 10 Consumer Storybook v1.0_5-8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9447352" y="6493776"/>
            <a:ext cx="2741474" cy="364224"/>
          </a:xfrm>
          <a:prstGeom prst="rect">
            <a:avLst/>
          </a:prstGeom>
        </p:spPr>
        <p:txBody>
          <a:bodyPr vert="horz" lIns="179161" tIns="44791" rIns="179161" bIns="44791" rtlCol="0" anchor="ctr"/>
          <a:lstStyle>
            <a:defPPr>
              <a:defRPr lang="en-US"/>
            </a:defPPr>
            <a:lvl1pPr marL="0" algn="r" defTabSz="932742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503E857-4F15-4ECA-BD4D-D22AAAB9E67A}" type="slidenum">
              <a:rPr lang="en-US" sz="980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sz="98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604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4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4692" y="2084177"/>
            <a:ext cx="11871777" cy="1161087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0" spc="-99" baseline="0">
                <a:gradFill>
                  <a:gsLst>
                    <a:gs pos="100000">
                      <a:schemeClr val="accent1"/>
                    </a:gs>
                    <a:gs pos="0">
                      <a:schemeClr val="accent1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64692" y="3451783"/>
            <a:ext cx="11871777" cy="429092"/>
          </a:xfrm>
        </p:spPr>
        <p:txBody>
          <a:bodyPr/>
          <a:lstStyle>
            <a:lvl1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12389">
                      <a:srgbClr val="0078D7"/>
                    </a:gs>
                    <a:gs pos="37037">
                      <a:srgbClr val="0078D7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12389">
                      <a:srgbClr val="0078D7"/>
                    </a:gs>
                    <a:gs pos="37037">
                      <a:srgbClr val="0078D7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12389">
                      <a:srgbClr val="0078D7"/>
                    </a:gs>
                    <a:gs pos="37037">
                      <a:srgbClr val="0078D7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 smtClean="0">
                <a:gradFill>
                  <a:gsLst>
                    <a:gs pos="12389">
                      <a:srgbClr val="0078D7"/>
                    </a:gs>
                    <a:gs pos="37037">
                      <a:srgbClr val="0078D7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0" indent="0" algn="l" defTabSz="895624" rtl="0" eaLnBrk="1" latinLnBrk="0" hangingPunct="1">
              <a:lnSpc>
                <a:spcPct val="90000"/>
              </a:lnSpc>
              <a:buNone/>
              <a:defRPr lang="en-US" sz="1765" kern="1200" spc="-99" dirty="0">
                <a:gradFill>
                  <a:gsLst>
                    <a:gs pos="12389">
                      <a:srgbClr val="0078D7"/>
                    </a:gs>
                    <a:gs pos="37037">
                      <a:srgbClr val="0078D7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1"/>
          </p:nvPr>
        </p:nvSpPr>
        <p:spPr>
          <a:xfrm>
            <a:off x="164692" y="291071"/>
            <a:ext cx="4164621" cy="429092"/>
          </a:xfrm>
        </p:spPr>
        <p:txBody>
          <a:bodyPr lIns="182880" rIns="182880"/>
          <a:lstStyle>
            <a:lvl1pPr marL="0" indent="0">
              <a:buNone/>
              <a:defRPr lang="en-US" sz="1765" kern="1200" spc="-99" baseline="0" dirty="0" smtClean="0">
                <a:gradFill>
                  <a:gsLst>
                    <a:gs pos="5556">
                      <a:schemeClr val="tx2"/>
                    </a:gs>
                    <a:gs pos="27000">
                      <a:schemeClr val="tx2"/>
                    </a:gs>
                  </a:gsLst>
                  <a:lin ang="0" scaled="0"/>
                </a:gra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562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394191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5969" y="1"/>
            <a:ext cx="6092857" cy="68561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6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2342" y="289516"/>
            <a:ext cx="5769075" cy="899665"/>
          </a:xfrm>
        </p:spPr>
        <p:txBody>
          <a:bodyPr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52360" y="1197330"/>
            <a:ext cx="5767927" cy="1969343"/>
          </a:xfrm>
        </p:spPr>
        <p:txBody>
          <a:bodyPr/>
          <a:lstStyle>
            <a:lvl1pPr marL="0" indent="0"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115792" indent="0">
              <a:buFontTx/>
              <a:buNone/>
              <a:tabLst>
                <a:tab pos="797851" algn="l"/>
              </a:tabLst>
              <a:defRPr sz="1961"/>
            </a:lvl2pPr>
            <a:lvl3pPr marL="223912" indent="0">
              <a:buNone/>
              <a:tabLst>
                <a:tab pos="797851" algn="l"/>
              </a:tabLst>
              <a:defRPr/>
            </a:lvl3pPr>
            <a:lvl4pPr marL="447823" indent="0">
              <a:buNone/>
              <a:tabLst>
                <a:tab pos="797851" algn="l"/>
              </a:tabLst>
              <a:defRPr/>
            </a:lvl4pPr>
            <a:lvl5pPr marL="671735" indent="0">
              <a:buNone/>
              <a:tabLst>
                <a:tab pos="797851" algn="l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9787692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9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07730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1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>
                <a:solidFill>
                  <a:srgbClr val="FFFFFF">
                    <a:tint val="75000"/>
                  </a:srgbClr>
                </a:solidFill>
              </a:rPr>
              <a:t>Microsoft Confidential</a:t>
            </a:r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312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4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2"/>
          <p:cNvSpPr txBox="1">
            <a:spLocks/>
          </p:cNvSpPr>
          <p:nvPr userDrawn="1"/>
        </p:nvSpPr>
        <p:spPr>
          <a:xfrm>
            <a:off x="5" y="6493776"/>
            <a:ext cx="4113767" cy="364224"/>
          </a:xfrm>
          <a:prstGeom prst="rect">
            <a:avLst/>
          </a:prstGeom>
        </p:spPr>
        <p:txBody>
          <a:bodyPr vert="horz" lIns="179161" tIns="44791" rIns="179161" bIns="44791" rtlCol="0" anchor="ctr"/>
          <a:lstStyle>
            <a:defPPr>
              <a:defRPr lang="en-US"/>
            </a:defPPr>
            <a:lvl1pPr marL="0" algn="l" defTabSz="932742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6371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742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9113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5484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185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8226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4597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0969" algn="l" defTabSz="93274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980">
                <a:solidFill>
                  <a:srgbClr val="FFFFFF"/>
                </a:solidFill>
              </a:rPr>
              <a:t>Microsoft Confidential I Windows 10 Consumer Storybook v1.0_5-8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>
                <a:solidFill>
                  <a:srgbClr val="FFFFFF">
                    <a:tint val="75000"/>
                  </a:srgbClr>
                </a:solidFill>
              </a:rPr>
              <a:t>Microsoft Confidential</a:t>
            </a:r>
            <a:endParaRPr lang="en-US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63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6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339" y="289516"/>
            <a:ext cx="11886470" cy="8996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88825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91" tIns="45691" rIns="45691" bIns="456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348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2361" y="1197325"/>
            <a:ext cx="11884104" cy="2048083"/>
          </a:xfrm>
        </p:spPr>
        <p:txBody>
          <a:bodyPr/>
          <a:lstStyle>
            <a:lvl1pPr marL="0" indent="0">
              <a:buNone/>
              <a:defRPr sz="3231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44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61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785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441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189041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89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169" y="6171620"/>
            <a:ext cx="11650488" cy="3949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161" tIns="143329" rIns="179161" bIns="143329" numCol="1" anchor="t" anchorCtr="0" compatLnSpc="1">
            <a:prstTxWarp prst="textNoShape">
              <a:avLst/>
            </a:prstTxWarp>
            <a:spAutoFit/>
          </a:bodyPr>
          <a:lstStyle/>
          <a:p>
            <a:pPr defTabSz="913169" eaLnBrk="0" hangingPunct="0"/>
            <a:r>
              <a:rPr lang="en-US" sz="686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090" y="3083653"/>
            <a:ext cx="322628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360700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1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169" y="6171620"/>
            <a:ext cx="11650488" cy="3949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161" tIns="143329" rIns="179161" bIns="143329" numCol="1" anchor="t" anchorCtr="0" compatLnSpc="1">
            <a:prstTxWarp prst="textNoShape">
              <a:avLst/>
            </a:prstTxWarp>
            <a:spAutoFit/>
          </a:bodyPr>
          <a:lstStyle/>
          <a:p>
            <a:pPr defTabSz="913169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091" y="3083653"/>
            <a:ext cx="322628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173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37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52335" y="1189179"/>
            <a:ext cx="11650488" cy="2460247"/>
          </a:xfrm>
          <a:prstGeom prst="rect">
            <a:avLst/>
          </a:prstGeom>
        </p:spPr>
        <p:txBody>
          <a:bodyPr/>
          <a:lstStyle>
            <a:lvl1pPr marL="284554" indent="-284554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780" indent="-275226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334" indent="-284554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245" indent="-223912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156" indent="-223912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" y="6238876"/>
            <a:ext cx="12188826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3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>
          <a:xfrm>
            <a:off x="152339" y="289516"/>
            <a:ext cx="11886470" cy="899665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857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655" y="2209800"/>
            <a:ext cx="510195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4848" y="709083"/>
            <a:ext cx="4733750" cy="5412316"/>
          </a:xfrm>
          <a:prstGeom prst="rect">
            <a:avLst/>
          </a:prstGeom>
        </p:spPr>
        <p:txBody>
          <a:bodyPr lIns="0" rIns="0" anchor="ctr" anchorCtr="0"/>
          <a:lstStyle>
            <a:lvl1pPr marL="226427" indent="-226427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724" algn="l"/>
              </a:tabLst>
              <a:defRPr sz="3199"/>
            </a:lvl1pPr>
            <a:lvl2pPr marL="461318" indent="-22854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199"/>
            </a:lvl2pPr>
            <a:lvl3pPr marL="609448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6"/>
            </a:lvl3pPr>
            <a:lvl4pPr marL="766042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399"/>
            </a:lvl4pPr>
            <a:lvl5pPr marL="992469" indent="-1502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39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636739" y="6322226"/>
            <a:ext cx="462118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 userDrawn="1">
          <p15:clr>
            <a:srgbClr val="FBAE40"/>
          </p15:clr>
        </p15:guide>
        <p15:guide id="2" pos="352" userDrawn="1">
          <p15:clr>
            <a:srgbClr val="FBAE40"/>
          </p15:clr>
        </p15:guide>
        <p15:guide id="3" orient="horz" pos="2928" userDrawn="1">
          <p15:clr>
            <a:srgbClr val="FBAE40"/>
          </p15:clr>
        </p15:guide>
        <p15:guide id="4" pos="3566" userDrawn="1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20158" y="736518"/>
            <a:ext cx="10748514" cy="2695311"/>
          </a:xfrm>
        </p:spPr>
        <p:txBody>
          <a:bodyPr anchor="b" anchorCtr="0">
            <a:noAutofit/>
          </a:bodyPr>
          <a:lstStyle>
            <a:lvl1pPr algn="l">
              <a:defRPr sz="719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728110" y="3431829"/>
            <a:ext cx="7606784" cy="701282"/>
          </a:xfrm>
        </p:spPr>
        <p:txBody>
          <a:bodyPr/>
          <a:lstStyle>
            <a:lvl1pPr marL="0" indent="0" algn="l">
              <a:spcBef>
                <a:spcPts val="800"/>
              </a:spcBef>
              <a:buNone/>
              <a:defRPr sz="3730">
                <a:solidFill>
                  <a:schemeClr val="bg1"/>
                </a:solidFill>
                <a:latin typeface="+mj-lt"/>
              </a:defRPr>
            </a:lvl1pPr>
            <a:lvl2pPr marL="456812" indent="0" algn="ctr">
              <a:buNone/>
              <a:defRPr sz="2000"/>
            </a:lvl2pPr>
            <a:lvl3pPr marL="913622" indent="0" algn="ctr">
              <a:buNone/>
              <a:defRPr sz="1866"/>
            </a:lvl3pPr>
            <a:lvl4pPr marL="1370433" indent="0" algn="ctr">
              <a:buNone/>
              <a:defRPr sz="1600"/>
            </a:lvl4pPr>
            <a:lvl5pPr marL="1827244" indent="0" algn="ctr">
              <a:buNone/>
              <a:defRPr sz="1600"/>
            </a:lvl5pPr>
            <a:lvl6pPr marL="2284056" indent="0" algn="ctr">
              <a:buNone/>
              <a:defRPr sz="1600"/>
            </a:lvl6pPr>
            <a:lvl7pPr marL="2740865" indent="0" algn="ctr">
              <a:buNone/>
              <a:defRPr sz="1600"/>
            </a:lvl7pPr>
            <a:lvl8pPr marL="3197676" indent="0" algn="ctr">
              <a:buNone/>
              <a:defRPr sz="1600"/>
            </a:lvl8pPr>
            <a:lvl9pPr marL="3654486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77631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85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04721" y="2096492"/>
            <a:ext cx="6237788" cy="1793104"/>
          </a:xfrm>
          <a:noFill/>
        </p:spPr>
        <p:txBody>
          <a:bodyPr lIns="146304" tIns="91440" rIns="146304" bIns="91440" anchor="t" anchorCtr="0"/>
          <a:lstStyle>
            <a:lvl1pPr>
              <a:defRPr sz="5291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04721" y="3877276"/>
            <a:ext cx="6237788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1" y="6122092"/>
            <a:ext cx="1254668" cy="26770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95174" y="6073351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663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Blue">
    <p:bg>
      <p:bgPr>
        <a:solidFill>
          <a:srgbClr val="00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>
            <a:noAutofit/>
          </a:bodyPr>
          <a:lstStyle>
            <a:lvl1pPr>
              <a:defRPr kumimoji="0" lang="en-US" sz="4399" b="0" i="0" u="none" strike="noStrike" kern="1200" cap="none" spc="-99" normalizeH="0" baseline="0" dirty="0">
                <a:ln w="3175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821">
              <a:defRPr/>
            </a:pPr>
            <a:fld id="{A96932D4-7797-45F7-9F97-FB3699209F9E}" type="slidenum">
              <a:rPr lang="en-US" sz="1200" smtClean="0">
                <a:solidFill>
                  <a:srgbClr val="505050">
                    <a:tint val="75000"/>
                  </a:srgbClr>
                </a:solidFill>
                <a:latin typeface="Segoe UI Semilight"/>
              </a:rPr>
              <a:pPr defTabSz="913821">
                <a:defRPr/>
              </a:pPr>
              <a:t>‹#›</a:t>
            </a:fld>
            <a:endParaRPr lang="en-US" sz="1200">
              <a:solidFill>
                <a:srgbClr val="505050">
                  <a:tint val="75000"/>
                </a:srgbClr>
              </a:solidFill>
              <a:latin typeface="Segoe UI Semilight"/>
            </a:endParaRPr>
          </a:p>
        </p:txBody>
      </p:sp>
    </p:spTree>
    <p:extLst>
      <p:ext uri="{BB962C8B-B14F-4D97-AF65-F5344CB8AC3E}">
        <p14:creationId xmlns:p14="http://schemas.microsoft.com/office/powerpoint/2010/main" val="356642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&amp; 2-color Non-bulleted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3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33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72" y="301313"/>
            <a:ext cx="11650488" cy="899665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72" y="1200977"/>
            <a:ext cx="11650488" cy="2073047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18"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2pPr>
            <a:lvl3pPr marL="219501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3pPr>
            <a:lvl4pPr marL="439001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4pPr>
            <a:lvl5pPr marL="658502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93323" y="6566933"/>
            <a:ext cx="2895507" cy="291068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r">
              <a:defRPr sz="980">
                <a:gradFill>
                  <a:gsLst>
                    <a:gs pos="5556">
                      <a:schemeClr val="bg1"/>
                    </a:gs>
                    <a:gs pos="27000">
                      <a:schemeClr val="bg1"/>
                    </a:gs>
                  </a:gsLst>
                  <a:lin ang="0" scaled="0"/>
                </a:gradFill>
              </a:defRPr>
            </a:lvl1pPr>
          </a:lstStyle>
          <a:p>
            <a:pPr defTabSz="895613">
              <a:defRPr/>
            </a:pPr>
            <a:fld id="{6503E857-4F15-4ECA-BD4D-D22AAAB9E67A}" type="slidenum">
              <a:rPr lang="en-US" smtClean="0">
                <a:gradFill>
                  <a:gsLst>
                    <a:gs pos="5556">
                      <a:srgbClr val="FFFFFF"/>
                    </a:gs>
                    <a:gs pos="27000">
                      <a:srgbClr val="FFFFFF"/>
                    </a:gs>
                  </a:gsLst>
                  <a:lin ang="0" scaled="0"/>
                </a:gradFill>
              </a:rPr>
              <a:pPr defTabSz="895613">
                <a:defRPr/>
              </a:pPr>
              <a:t>‹#›</a:t>
            </a:fld>
            <a:endParaRPr lang="en-US">
              <a:gradFill>
                <a:gsLst>
                  <a:gs pos="5556">
                    <a:srgbClr val="FFFFFF"/>
                  </a:gs>
                  <a:gs pos="27000">
                    <a:srgbClr val="FFFFFF"/>
                  </a:gs>
                </a:gsLst>
                <a:lin ang="0" scaled="0"/>
              </a:gradFill>
            </a:endParaRPr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4037533" y="6566933"/>
            <a:ext cx="4113767" cy="291068"/>
          </a:xfrm>
          <a:prstGeom prst="rect">
            <a:avLst/>
          </a:prstGeom>
        </p:spPr>
        <p:txBody>
          <a:bodyPr vert="horz" lIns="179161" tIns="44791" rIns="179161" bIns="4479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56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0" b="0" i="0" u="none" strike="noStrike" kern="1200" cap="none" spc="0" normalizeH="0" baseline="0" noProof="0">
                <a:ln>
                  <a:noFill/>
                </a:ln>
                <a:gradFill>
                  <a:gsLst>
                    <a:gs pos="5556">
                      <a:srgbClr val="FFFFFF"/>
                    </a:gs>
                    <a:gs pos="27000">
                      <a:srgbClr val="FFFFFF"/>
                    </a:gs>
                  </a:gsLst>
                  <a:lin ang="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Microsoft Confidential, Shared under NDA</a:t>
            </a:r>
          </a:p>
        </p:txBody>
      </p:sp>
    </p:spTree>
    <p:extLst>
      <p:ext uri="{BB962C8B-B14F-4D97-AF65-F5344CB8AC3E}">
        <p14:creationId xmlns:p14="http://schemas.microsoft.com/office/powerpoint/2010/main" val="1851214105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052083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64525" y="404227"/>
            <a:ext cx="6746515" cy="500458"/>
          </a:xfrm>
          <a:noFill/>
        </p:spPr>
        <p:txBody>
          <a:bodyPr wrap="square" lIns="91440" rtlCol="0">
            <a:spAutoFit/>
          </a:bodyPr>
          <a:lstStyle>
            <a:lvl1pPr>
              <a:defRPr lang="en-US" sz="1800" kern="0" spc="-100" dirty="0" smtClean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4000"/>
              </a:lnSpc>
              <a:spcAft>
                <a:spcPts val="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4525" y="840505"/>
            <a:ext cx="11472732" cy="526170"/>
          </a:xfrm>
          <a:noFill/>
        </p:spPr>
        <p:txBody>
          <a:bodyPr wrap="square" lIns="91440" tIns="0" rIns="182880" bIns="0" rtlCol="0">
            <a:spAutoFit/>
          </a:bodyPr>
          <a:lstStyle>
            <a:lvl1pPr>
              <a:defRPr lang="en-US" sz="3599" kern="0" spc="-100" dirty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702718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64525" y="404227"/>
            <a:ext cx="6746515" cy="500458"/>
          </a:xfrm>
          <a:noFill/>
        </p:spPr>
        <p:txBody>
          <a:bodyPr wrap="square" lIns="91440" rtlCol="0">
            <a:spAutoFit/>
          </a:bodyPr>
          <a:lstStyle>
            <a:lvl1pPr>
              <a:defRPr lang="en-US" sz="1800" kern="0" spc="-100" dirty="0" smtClean="0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>
              <a:lnSpc>
                <a:spcPct val="114000"/>
              </a:lnSpc>
              <a:spcAft>
                <a:spcPts val="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4525" y="979405"/>
            <a:ext cx="11472732" cy="526170"/>
          </a:xfrm>
          <a:noFill/>
        </p:spPr>
        <p:txBody>
          <a:bodyPr wrap="square" lIns="91440" tIns="0" rIns="182880" bIns="0" rtlCol="0">
            <a:spAutoFit/>
          </a:bodyPr>
          <a:lstStyle>
            <a:lvl1pPr>
              <a:defRPr lang="en-US" sz="3599" kern="0" spc="-100" dirty="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 rIns="18288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defTabSz="913821">
              <a:defRPr/>
            </a:pPr>
            <a:fld id="{B34F68F0-1D97-479E-8476-1F6D336BF15A}" type="slidenum">
              <a:rPr lang="en-US" smtClean="0">
                <a:solidFill>
                  <a:prstClr val="white"/>
                </a:solidFill>
              </a:rPr>
              <a:pPr defTabSz="913821"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65030" y="1574800"/>
            <a:ext cx="11471463" cy="532453"/>
          </a:xfrm>
        </p:spPr>
        <p:txBody>
          <a:bodyPr lIns="91440"/>
          <a:lstStyle>
            <a:lvl1pPr algn="l" defTabSz="913821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1800"/>
              </a:spcAft>
              <a:defRPr lang="en-US" sz="20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913821" rtl="0" eaLnBrk="1" latinLnBrk="0" hangingPunct="1"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3821" rtl="0" eaLnBrk="1" latinLnBrk="0" hangingPunct="1"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3821" rtl="0" eaLnBrk="1" latinLnBrk="0" hangingPunct="1"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3821" rtl="0" eaLnBrk="1" latinLnBrk="0" hangingPunct="1">
              <a:defRPr 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7066221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" y="6"/>
            <a:ext cx="12188202" cy="685862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169" y="2077804"/>
            <a:ext cx="6273341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44" tIns="143317" rIns="179144" bIns="1433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3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invGray">
          <a:xfrm>
            <a:off x="4" y="6"/>
            <a:ext cx="12188202" cy="6858623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44" tIns="143317" rIns="179144" bIns="1433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3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169" y="2095416"/>
            <a:ext cx="6274896" cy="1772525"/>
          </a:xfrm>
          <a:noFill/>
        </p:spPr>
        <p:txBody>
          <a:bodyPr lIns="146304" tIns="91440" rIns="146304" bIns="91440" anchor="t" anchorCtr="0"/>
          <a:lstStyle>
            <a:lvl1pPr>
              <a:defRPr sz="5288" spc="-99" baseline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9169" y="3877281"/>
            <a:ext cx="6274896" cy="1677043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0" baseline="0">
                <a:gradFill>
                  <a:gsLst>
                    <a:gs pos="84066">
                      <a:srgbClr val="FFFFFF"/>
                    </a:gs>
                    <a:gs pos="57576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Presenter | Date</a:t>
            </a:r>
          </a:p>
        </p:txBody>
      </p:sp>
      <p:pic>
        <p:nvPicPr>
          <p:cNvPr id="8" name="Picture 7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White">
          <a:xfrm>
            <a:off x="448471" y="6122094"/>
            <a:ext cx="1254668" cy="2677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2" y="6073351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75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" y="6"/>
            <a:ext cx="12188202" cy="685862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4" y="6"/>
            <a:ext cx="12188202" cy="6858623"/>
          </a:xfrm>
          <a:prstGeom prst="rect">
            <a:avLst/>
          </a:prstGeom>
          <a:solidFill>
            <a:srgbClr val="000000">
              <a:alpha val="15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44" tIns="143317" rIns="179144" bIns="1433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326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1" y="2092772"/>
            <a:ext cx="6274896" cy="878621"/>
          </a:xfrm>
          <a:noFill/>
        </p:spPr>
        <p:txBody>
          <a:bodyPr lIns="146304" tIns="91440" rIns="146304" bIns="91440" anchor="t" anchorCtr="0"/>
          <a:lstStyle>
            <a:lvl1pPr>
              <a:defRPr sz="5288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Event nam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16" y="3003454"/>
            <a:ext cx="6274896" cy="7172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235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City | Date</a:t>
            </a:r>
          </a:p>
        </p:txBody>
      </p:sp>
      <p:pic>
        <p:nvPicPr>
          <p:cNvPr id="8" name="Picture 7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White">
          <a:xfrm>
            <a:off x="448471" y="6122094"/>
            <a:ext cx="1254668" cy="2677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2" y="6073351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66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1" y="2096492"/>
            <a:ext cx="6274896" cy="1793104"/>
          </a:xfrm>
          <a:noFill/>
        </p:spPr>
        <p:txBody>
          <a:bodyPr lIns="146304" tIns="91440" rIns="146304" bIns="91440" anchor="t" anchorCtr="0"/>
          <a:lstStyle>
            <a:lvl1pPr>
              <a:defRPr sz="5288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16" y="3877276"/>
            <a:ext cx="6274896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4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1" y="6122094"/>
            <a:ext cx="1254668" cy="26770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472" y="6073351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2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680720"/>
            <a:ext cx="5077074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4848" y="680720"/>
            <a:ext cx="4733750" cy="5440680"/>
          </a:xfrm>
          <a:prstGeom prst="rect">
            <a:avLst/>
          </a:prstGeom>
        </p:spPr>
        <p:txBody>
          <a:bodyPr lIns="0" rIns="0"/>
          <a:lstStyle>
            <a:lvl1pPr marL="152362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1pPr>
            <a:lvl2pPr marL="304724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2pPr>
            <a:lvl3pPr marL="457086" indent="-152362">
              <a:lnSpc>
                <a:spcPct val="100000"/>
              </a:lnSpc>
              <a:buClr>
                <a:schemeClr val="tx1"/>
              </a:buClr>
              <a:buSzPct val="60000"/>
              <a:defRPr sz="2399"/>
            </a:lvl3pPr>
            <a:lvl4pPr marL="609448" indent="-165059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042" indent="-156594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536" y="2213123"/>
            <a:ext cx="5077074" cy="3908277"/>
          </a:xfrm>
          <a:prstGeom prst="rect">
            <a:avLst/>
          </a:prstGeom>
        </p:spPr>
        <p:txBody>
          <a:bodyPr/>
          <a:lstStyle>
            <a:lvl1pPr marL="152362" indent="-152362">
              <a:buClr>
                <a:schemeClr val="tx2"/>
              </a:buClr>
              <a:buSzPct val="60000"/>
              <a:defRPr lang="en-US" sz="2666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304724" indent="-152362">
              <a:buClr>
                <a:schemeClr val="tx2"/>
              </a:buClr>
              <a:buSzPct val="60000"/>
              <a:defRPr sz="2666">
                <a:solidFill>
                  <a:schemeClr val="bg1"/>
                </a:solidFill>
              </a:defRPr>
            </a:lvl2pPr>
            <a:lvl3pPr marL="457086" indent="-152362">
              <a:buClr>
                <a:schemeClr val="tx2"/>
              </a:buClr>
              <a:buSzPct val="60000"/>
              <a:defRPr sz="2399">
                <a:solidFill>
                  <a:schemeClr val="bg1"/>
                </a:solidFill>
              </a:defRPr>
            </a:lvl3pPr>
            <a:lvl4pPr marL="609448" indent="-165059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4pPr>
            <a:lvl5pPr marL="766042" indent="-156594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47778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4" pos="3566" userDrawn="1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234" y="2093525"/>
            <a:ext cx="8961851" cy="1793091"/>
          </a:xfrm>
          <a:noFill/>
        </p:spPr>
        <p:txBody>
          <a:bodyPr lIns="146304" tIns="91440" rIns="146304" bIns="91440" anchor="t" anchorCtr="0"/>
          <a:lstStyle>
            <a:lvl1pPr>
              <a:defRPr sz="5288" spc="-99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34" y="3878574"/>
            <a:ext cx="7169470" cy="179232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Picture 5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1" y="6121377"/>
            <a:ext cx="1254668" cy="26913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72" y="6073351"/>
            <a:ext cx="1434268" cy="31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08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70" y="1189182"/>
            <a:ext cx="11650488" cy="204902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58"/>
            </a:lvl2pPr>
            <a:lvl3pPr marL="223907" indent="0">
              <a:buNone/>
              <a:defRPr/>
            </a:lvl3pPr>
            <a:lvl4pPr marL="447813" indent="0">
              <a:buNone/>
              <a:defRPr/>
            </a:lvl4pPr>
            <a:lvl5pPr marL="67171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4139495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70" y="1189182"/>
            <a:ext cx="11650488" cy="204902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58"/>
            </a:lvl2pPr>
            <a:lvl3pPr marL="223907" indent="0">
              <a:buNone/>
              <a:defRPr/>
            </a:lvl3pPr>
            <a:lvl4pPr marL="447813" indent="0">
              <a:buNone/>
              <a:defRPr/>
            </a:lvl4pPr>
            <a:lvl5pPr marL="67171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3926546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0" y="1189178"/>
            <a:ext cx="11650488" cy="2115367"/>
          </a:xfrm>
        </p:spPr>
        <p:txBody>
          <a:bodyPr>
            <a:spAutoFit/>
          </a:bodyPr>
          <a:lstStyle>
            <a:lvl1pPr>
              <a:defRPr sz="391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4647319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0" y="1189178"/>
            <a:ext cx="11650488" cy="2115367"/>
          </a:xfrm>
        </p:spPr>
        <p:txBody>
          <a:bodyPr>
            <a:spAutoFit/>
          </a:bodyPr>
          <a:lstStyle>
            <a:lvl1pPr>
              <a:defRPr sz="3918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1165709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2" y="1189175"/>
            <a:ext cx="5377147" cy="194036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58"/>
            </a:lvl2pPr>
            <a:lvl3pPr marL="227017" indent="0">
              <a:buNone/>
              <a:tabLst/>
              <a:defRPr sz="1958"/>
            </a:lvl3pPr>
            <a:lvl4pPr marL="450923" indent="0">
              <a:buNone/>
              <a:defRPr/>
            </a:lvl4pPr>
            <a:lvl5pPr marL="67171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189175"/>
            <a:ext cx="5377147" cy="194036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58"/>
            </a:lvl2pPr>
            <a:lvl3pPr marL="227017" indent="0">
              <a:buNone/>
              <a:tabLst/>
              <a:defRPr sz="1958"/>
            </a:lvl3pPr>
            <a:lvl4pPr marL="450923" indent="0">
              <a:buNone/>
              <a:defRPr/>
            </a:lvl4pPr>
            <a:lvl5pPr marL="67171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9101534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2" y="1189175"/>
            <a:ext cx="5377147" cy="194036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58"/>
            </a:lvl2pPr>
            <a:lvl3pPr marL="227017" indent="0">
              <a:buNone/>
              <a:tabLst/>
              <a:defRPr sz="1958"/>
            </a:lvl3pPr>
            <a:lvl4pPr marL="450923" indent="0">
              <a:buNone/>
              <a:defRPr/>
            </a:lvl4pPr>
            <a:lvl5pPr marL="67171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189175"/>
            <a:ext cx="5377147" cy="1940360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4"/>
            </a:lvl1pPr>
            <a:lvl2pPr marL="0" indent="0">
              <a:buNone/>
              <a:defRPr sz="1958"/>
            </a:lvl2pPr>
            <a:lvl3pPr marL="227017" indent="0">
              <a:buNone/>
              <a:tabLst/>
              <a:defRPr sz="1958"/>
            </a:lvl3pPr>
            <a:lvl4pPr marL="450923" indent="0">
              <a:buNone/>
              <a:defRPr/>
            </a:lvl4pPr>
            <a:lvl5pPr marL="67171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1705753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2" y="1189182"/>
            <a:ext cx="5377147" cy="2006703"/>
          </a:xfrm>
        </p:spPr>
        <p:txBody>
          <a:bodyPr wrap="square">
            <a:spAutoFit/>
          </a:bodyPr>
          <a:lstStyle>
            <a:lvl1pPr marL="281438" indent="-281438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261" indent="-228406">
              <a:defRPr sz="2350"/>
            </a:lvl2pPr>
            <a:lvl3pPr marL="685219" indent="-164960">
              <a:tabLst/>
              <a:defRPr sz="1958"/>
            </a:lvl3pPr>
            <a:lvl4pPr marL="862870" indent="-177650">
              <a:defRPr/>
            </a:lvl4pPr>
            <a:lvl5pPr marL="1027830" indent="-16496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189182"/>
            <a:ext cx="5377147" cy="2006703"/>
          </a:xfrm>
        </p:spPr>
        <p:txBody>
          <a:bodyPr wrap="square">
            <a:spAutoFit/>
          </a:bodyPr>
          <a:lstStyle>
            <a:lvl1pPr marL="281438" indent="-281438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261" indent="-228406">
              <a:defRPr sz="2350"/>
            </a:lvl2pPr>
            <a:lvl3pPr marL="685219" indent="-164960">
              <a:tabLst/>
              <a:defRPr sz="1958"/>
            </a:lvl3pPr>
            <a:lvl4pPr marL="862870" indent="-177650">
              <a:defRPr/>
            </a:lvl4pPr>
            <a:lvl5pPr marL="1027830" indent="-16496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9281668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2" y="1189182"/>
            <a:ext cx="5377147" cy="2006703"/>
          </a:xfrm>
        </p:spPr>
        <p:txBody>
          <a:bodyPr wrap="square">
            <a:spAutoFit/>
          </a:bodyPr>
          <a:lstStyle>
            <a:lvl1pPr marL="281438" indent="-281438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261" indent="-228406">
              <a:defRPr sz="2350"/>
            </a:lvl2pPr>
            <a:lvl3pPr marL="685219" indent="-164960">
              <a:tabLst/>
              <a:defRPr sz="1958"/>
            </a:lvl3pPr>
            <a:lvl4pPr marL="862870" indent="-177650">
              <a:defRPr/>
            </a:lvl4pPr>
            <a:lvl5pPr marL="1027830" indent="-16496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189182"/>
            <a:ext cx="5377147" cy="2006703"/>
          </a:xfrm>
        </p:spPr>
        <p:txBody>
          <a:bodyPr wrap="square">
            <a:spAutoFit/>
          </a:bodyPr>
          <a:lstStyle>
            <a:lvl1pPr marL="281438" indent="-281438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4"/>
            </a:lvl1pPr>
            <a:lvl2pPr marL="520261" indent="-228406">
              <a:defRPr sz="2350"/>
            </a:lvl2pPr>
            <a:lvl3pPr marL="685219" indent="-164960">
              <a:tabLst/>
              <a:defRPr sz="1958"/>
            </a:lvl3pPr>
            <a:lvl4pPr marL="862870" indent="-177650">
              <a:defRPr/>
            </a:lvl4pPr>
            <a:lvl5pPr marL="1027830" indent="-16496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2824112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990254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4267" y="709084"/>
            <a:ext cx="4744331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4267" y="5416468"/>
            <a:ext cx="4744331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6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636740" y="6322227"/>
            <a:ext cx="381656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 userDrawn="1">
          <p15:clr>
            <a:srgbClr val="FBAE40"/>
          </p15:clr>
        </p15:guide>
        <p15:guide id="2" pos="352" userDrawn="1">
          <p15:clr>
            <a:srgbClr val="FBAE40"/>
          </p15:clr>
        </p15:guide>
        <p15:guide id="3" orient="horz" pos="2924" userDrawn="1">
          <p15:clr>
            <a:srgbClr val="FBAE40"/>
          </p15:clr>
        </p15:guide>
        <p15:guide id="4" pos="3566" userDrawn="1">
          <p15:clr>
            <a:srgbClr val="FBAE40"/>
          </p15:clr>
        </p15:guide>
        <p15:guide id="7" pos="4274" userDrawn="1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3" y="1186359"/>
            <a:ext cx="9856549" cy="116147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3" spc="-99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70" y="3877278"/>
            <a:ext cx="9858107" cy="729559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199984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3" y="1186359"/>
            <a:ext cx="9856549" cy="116147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3" b="0" kern="1200" cap="none" spc="-99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406461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0" y="2084177"/>
            <a:ext cx="11650488" cy="116147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3" spc="-99" baseline="0">
                <a:gradFill>
                  <a:gsLst>
                    <a:gs pos="100000">
                      <a:schemeClr val="accent1"/>
                    </a:gs>
                    <a:gs pos="0">
                      <a:schemeClr val="accent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86646782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0" y="2084177"/>
            <a:ext cx="11650488" cy="116147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3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02423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0" y="2084177"/>
            <a:ext cx="11650488" cy="116147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3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0041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5969" y="1"/>
            <a:ext cx="6092857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69172" y="289517"/>
            <a:ext cx="5377147" cy="899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69169" y="1197331"/>
            <a:ext cx="5376078" cy="204902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58"/>
            </a:lvl2pPr>
            <a:lvl3pPr marL="223907" indent="0">
              <a:buNone/>
              <a:defRPr/>
            </a:lvl3pPr>
            <a:lvl4pPr marL="447813" indent="0">
              <a:buNone/>
              <a:defRPr/>
            </a:lvl4pPr>
            <a:lvl5pPr marL="67171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3462227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3019195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557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914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3" y="1189176"/>
            <a:ext cx="12188825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87" tIns="45687" rIns="45687" bIns="456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3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62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171" y="1197327"/>
            <a:ext cx="11650488" cy="2020383"/>
          </a:xfrm>
        </p:spPr>
        <p:txBody>
          <a:bodyPr/>
          <a:lstStyle>
            <a:lvl1pPr marL="0" indent="0">
              <a:buNone/>
              <a:defRPr sz="3233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43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60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7838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2941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398430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4267" y="709084"/>
            <a:ext cx="4744331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35032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 userDrawn="1">
          <p15:clr>
            <a:srgbClr val="FBAE40"/>
          </p15:clr>
        </p15:guide>
        <p15:guide id="2" pos="352" userDrawn="1">
          <p15:clr>
            <a:srgbClr val="FBAE40"/>
          </p15:clr>
        </p15:guide>
        <p15:guide id="3" orient="horz" pos="2924" userDrawn="1">
          <p15:clr>
            <a:srgbClr val="FBAE40"/>
          </p15:clr>
        </p15:guide>
        <p15:guide id="4" pos="3566" userDrawn="1">
          <p15:clr>
            <a:srgbClr val="FBAE40"/>
          </p15:clr>
        </p15:guide>
        <p15:guide id="7" pos="4274" userDrawn="1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171" y="6171620"/>
            <a:ext cx="11650488" cy="3949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144" tIns="143317" rIns="179144" bIns="14331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1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0089" y="3083654"/>
            <a:ext cx="322628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632586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171" y="6171620"/>
            <a:ext cx="11650488" cy="3949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144" tIns="143317" rIns="179144" bIns="143317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1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86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0091" y="3083653"/>
            <a:ext cx="322628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416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170" y="1189182"/>
            <a:ext cx="11650488" cy="2458879"/>
          </a:xfrm>
          <a:prstGeom prst="rect">
            <a:avLst/>
          </a:prstGeom>
        </p:spPr>
        <p:txBody>
          <a:bodyPr/>
          <a:lstStyle>
            <a:lvl1pPr marL="284549" indent="-284549">
              <a:buClr>
                <a:schemeClr val="tx1"/>
              </a:buClr>
              <a:buSzPct val="90000"/>
              <a:buFont typeface="Arial" pitchFamily="34" charset="0"/>
              <a:buChar char="•"/>
              <a:defRPr sz="352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9765" indent="-275218">
              <a:buClr>
                <a:schemeClr val="tx1"/>
              </a:buClr>
              <a:buSzPct val="90000"/>
              <a:buFont typeface="Arial" pitchFamily="34" charset="0"/>
              <a:buChar char="•"/>
              <a:defRPr sz="313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313" indent="-284549">
              <a:buClr>
                <a:schemeClr val="tx1"/>
              </a:buClr>
              <a:buSzPct val="90000"/>
              <a:buFont typeface="Arial" pitchFamily="34" charset="0"/>
              <a:buChar char="•"/>
              <a:defRPr sz="274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220" indent="-223907">
              <a:buClr>
                <a:schemeClr val="tx1"/>
              </a:buClr>
              <a:buSzPct val="90000"/>
              <a:buFont typeface="Arial" pitchFamily="34" charset="0"/>
              <a:buChar char="•"/>
              <a:defRPr sz="235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126" indent="-223907">
              <a:buClr>
                <a:schemeClr val="tx1"/>
              </a:buClr>
              <a:buSzPct val="90000"/>
              <a:buFont typeface="Arial" pitchFamily="34" charset="0"/>
              <a:buChar char="•"/>
              <a:defRPr sz="195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80"/>
            <a:ext cx="12188826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4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579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2-color Non-bulleted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71" y="1189183"/>
            <a:ext cx="11650488" cy="2049023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58"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2pPr>
            <a:lvl3pPr marL="223864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3pPr>
            <a:lvl4pPr marL="447727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4pPr>
            <a:lvl5pPr marL="671589" indent="0">
              <a:buNone/>
              <a:defRPr>
                <a:gradFill>
                  <a:gsLst>
                    <a:gs pos="125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l">
              <a:defRPr sz="980">
                <a:solidFill>
                  <a:schemeClr val="bg1"/>
                </a:solidFill>
              </a:defRPr>
            </a:lvl1pPr>
          </a:lstStyle>
          <a:p>
            <a:pPr defTabSz="91359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7352" y="6493776"/>
            <a:ext cx="2741474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r">
              <a:defRPr sz="980">
                <a:solidFill>
                  <a:schemeClr val="bg1"/>
                </a:solidFill>
              </a:defRPr>
            </a:lvl1pPr>
          </a:lstStyle>
          <a:p>
            <a:pPr defTabSz="913590">
              <a:defRPr/>
            </a:pPr>
            <a:fld id="{6503E857-4F15-4ECA-BD4D-D22AAAB9E67A}" type="slidenum">
              <a:rPr lang="en-US" smtClean="0">
                <a:solidFill>
                  <a:srgbClr val="FFFFFF"/>
                </a:solidFill>
              </a:rPr>
              <a:pPr defTabSz="913590"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010846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356022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3273">
              <a:defRPr/>
            </a:pPr>
            <a:fld id="{E46F6233-B54A-43F5-975E-3F4EC0002E0E}" type="datetimeFigureOut">
              <a:rPr lang="en-US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3273">
                <a:defRPr/>
              </a:pPr>
              <a:t>5/30/18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 defTabSz="913273">
              <a:defRPr/>
            </a:pPr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913273">
              <a:defRPr/>
            </a:pPr>
            <a:fld id="{3DAD1DC4-58CD-4322-9379-4BAFB2160A39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algn="r" defTabSz="913273">
                <a:defRPr/>
              </a:pPr>
              <a:t>‹#›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821696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 hasCustomPrompt="1"/>
          </p:nvPr>
        </p:nvSpPr>
        <p:spPr/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8752" y="6270438"/>
            <a:ext cx="11651332" cy="295466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>
                <a:solidFill>
                  <a:schemeClr val="tx1"/>
                </a:solidFill>
                <a:latin typeface="+mn-lt"/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 b="0">
                <a:solidFill>
                  <a:schemeClr val="tx1"/>
                </a:solidFill>
              </a:defRPr>
            </a:lvl3pPr>
            <a:lvl4pPr>
              <a:defRPr sz="800" b="0">
                <a:solidFill>
                  <a:schemeClr val="tx1"/>
                </a:solidFill>
              </a:defRPr>
            </a:lvl4pPr>
            <a:lvl5pPr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179154421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" y="8"/>
            <a:ext cx="12188825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" y="3"/>
            <a:ext cx="12188824" cy="1411759"/>
          </a:xfrm>
          <a:prstGeom prst="rect">
            <a:avLst/>
          </a:prstGeom>
          <a:gradFill>
            <a:gsLst>
              <a:gs pos="0">
                <a:schemeClr val="tx1">
                  <a:alpha val="38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8477" y="390333"/>
            <a:ext cx="1611190" cy="34564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69177" y="2943379"/>
            <a:ext cx="6049291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943383"/>
            <a:ext cx="6049227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7622" y="4742844"/>
            <a:ext cx="6049227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ct val="0"/>
              </a:spcBef>
              <a:buNone/>
              <a:defRPr sz="3138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73287033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" y="8"/>
            <a:ext cx="12188824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" y="3"/>
            <a:ext cx="12188824" cy="1411759"/>
          </a:xfrm>
          <a:prstGeom prst="rect">
            <a:avLst/>
          </a:prstGeom>
          <a:gradFill>
            <a:gsLst>
              <a:gs pos="0">
                <a:schemeClr val="tx1">
                  <a:alpha val="55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8477" y="390333"/>
            <a:ext cx="1611190" cy="34564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69177" y="2943379"/>
            <a:ext cx="6049291" cy="3592580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943383"/>
            <a:ext cx="6049227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7622" y="4742844"/>
            <a:ext cx="6049227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ct val="0"/>
              </a:spcBef>
              <a:buNone/>
              <a:defRPr sz="3138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721882828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" y="8"/>
            <a:ext cx="12188824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" y="5"/>
            <a:ext cx="12188824" cy="1860033"/>
          </a:xfrm>
          <a:prstGeom prst="rect">
            <a:avLst/>
          </a:prstGeom>
          <a:gradFill>
            <a:gsLst>
              <a:gs pos="0">
                <a:schemeClr val="tx1">
                  <a:alpha val="60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8477" y="390333"/>
            <a:ext cx="1611190" cy="34564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269177" y="2943379"/>
            <a:ext cx="6049291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943383"/>
            <a:ext cx="6049227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7622" y="4742844"/>
            <a:ext cx="6049227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ct val="0"/>
              </a:spcBef>
              <a:buNone/>
              <a:defRPr sz="3138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00835261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3928095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 userDrawn="1">
          <p15:clr>
            <a:srgbClr val="FBAE40"/>
          </p15:clr>
        </p15:guide>
        <p15:guide id="3" orient="horz" pos="2924" userDrawn="1">
          <p15:clr>
            <a:srgbClr val="FBAE40"/>
          </p15:clr>
        </p15:guide>
        <p15:guide id="4" pos="3566" userDrawn="1">
          <p15:clr>
            <a:srgbClr val="FBAE40"/>
          </p15:clr>
        </p15:guide>
        <p15:guide id="7" pos="4274" userDrawn="1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5978" y="-7783"/>
            <a:ext cx="12194802" cy="687356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" y="3"/>
            <a:ext cx="12188824" cy="1411759"/>
          </a:xfrm>
          <a:prstGeom prst="rect">
            <a:avLst/>
          </a:prstGeom>
          <a:gradFill>
            <a:gsLst>
              <a:gs pos="0">
                <a:schemeClr val="tx1">
                  <a:alpha val="38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8477" y="390333"/>
            <a:ext cx="1611190" cy="34564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69177" y="2943379"/>
            <a:ext cx="6049291" cy="3592580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943383"/>
            <a:ext cx="6049227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7622" y="4742844"/>
            <a:ext cx="6049227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ct val="0"/>
              </a:spcBef>
              <a:buNone/>
              <a:defRPr sz="3138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68384329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" y="-7780"/>
            <a:ext cx="12188824" cy="687356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" y="1"/>
            <a:ext cx="12188824" cy="1702872"/>
          </a:xfrm>
          <a:prstGeom prst="rect">
            <a:avLst/>
          </a:prstGeom>
          <a:gradFill>
            <a:gsLst>
              <a:gs pos="0">
                <a:schemeClr val="tx1">
                  <a:alpha val="63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8477" y="390333"/>
            <a:ext cx="1611190" cy="3456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69177" y="2943379"/>
            <a:ext cx="6049291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943383"/>
            <a:ext cx="6049227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7622" y="4742844"/>
            <a:ext cx="6049227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ct val="0"/>
              </a:spcBef>
              <a:buNone/>
              <a:defRPr sz="3138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47987821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" y="8"/>
            <a:ext cx="12188824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" y="7"/>
            <a:ext cx="12188824" cy="1939805"/>
          </a:xfrm>
          <a:prstGeom prst="rect">
            <a:avLst/>
          </a:prstGeom>
          <a:gradFill>
            <a:gsLst>
              <a:gs pos="0">
                <a:schemeClr val="tx1">
                  <a:alpha val="57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8477" y="390333"/>
            <a:ext cx="1611190" cy="34564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69177" y="2943379"/>
            <a:ext cx="6049291" cy="3592580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943383"/>
            <a:ext cx="6049227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7622" y="4742844"/>
            <a:ext cx="6049227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ct val="0"/>
              </a:spcBef>
              <a:buNone/>
              <a:defRPr sz="3138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10149105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" y="8"/>
            <a:ext cx="12188825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" y="1"/>
            <a:ext cx="12188824" cy="1702872"/>
          </a:xfrm>
          <a:prstGeom prst="rect">
            <a:avLst/>
          </a:prstGeom>
          <a:gradFill>
            <a:gsLst>
              <a:gs pos="0">
                <a:schemeClr val="tx1">
                  <a:alpha val="63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8477" y="390333"/>
            <a:ext cx="1611190" cy="3456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69177" y="2943379"/>
            <a:ext cx="6049291" cy="359258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943383"/>
            <a:ext cx="6049227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7622" y="4742844"/>
            <a:ext cx="6049227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ct val="0"/>
              </a:spcBef>
              <a:buNone/>
              <a:defRPr sz="3138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00344266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" y="-972"/>
            <a:ext cx="12188825" cy="685897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" y="7"/>
            <a:ext cx="12188824" cy="1939805"/>
          </a:xfrm>
          <a:prstGeom prst="rect">
            <a:avLst/>
          </a:prstGeom>
          <a:gradFill>
            <a:gsLst>
              <a:gs pos="0">
                <a:schemeClr val="tx1">
                  <a:alpha val="57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8477" y="390333"/>
            <a:ext cx="1611190" cy="34564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69177" y="2943379"/>
            <a:ext cx="6049291" cy="3592580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69242" y="2943383"/>
            <a:ext cx="6049227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7622" y="4742844"/>
            <a:ext cx="6049227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ct val="0"/>
              </a:spcBef>
              <a:buNone/>
              <a:defRPr sz="3138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385631426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7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8"/>
            <a:ext cx="8961851" cy="1793091"/>
          </a:xfrm>
          <a:noFill/>
        </p:spPr>
        <p:txBody>
          <a:bodyPr lIns="146304" tIns="91440" rIns="146304" bIns="91440" anchor="t" anchorCtr="0"/>
          <a:lstStyle>
            <a:lvl1pPr>
              <a:defRPr sz="5293" spc="-99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37" y="3878587"/>
            <a:ext cx="7169471" cy="179232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ct val="0"/>
              </a:spcBef>
              <a:buNone/>
              <a:defRPr sz="3138" spc="0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  <a:tileRect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8477" y="390333"/>
            <a:ext cx="1611190" cy="345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5096"/>
      </p:ext>
    </p:extLst>
  </p:cSld>
  <p:clrMapOvr>
    <a:masterClrMapping/>
  </p:clrMapOvr>
  <p:transition spd="slow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71" y="1189179"/>
            <a:ext cx="11650488" cy="205124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accent2"/>
                    </a:gs>
                    <a:gs pos="99000">
                      <a:schemeClr val="accent2"/>
                    </a:gs>
                  </a:gsLst>
                  <a:lin ang="5400000" scaled="0"/>
                  <a:tileRect/>
                </a:gradFill>
              </a:defRPr>
            </a:lvl1pPr>
            <a:lvl2pPr marL="0" indent="0">
              <a:buFontTx/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224047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448095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672143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9730302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171" y="1189179"/>
            <a:ext cx="11650488" cy="2051245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accent4"/>
                    </a:gs>
                    <a:gs pos="99000">
                      <a:schemeClr val="accent4"/>
                    </a:gs>
                  </a:gsLst>
                  <a:lin ang="5400000" scaled="0"/>
                  <a:tileRect/>
                </a:gradFill>
              </a:defRPr>
            </a:lvl1pPr>
            <a:lvl2pPr marL="0" indent="0">
              <a:buFontTx/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224047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448095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672143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6199981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1" y="1189187"/>
            <a:ext cx="11650488" cy="2117589"/>
          </a:xfrm>
        </p:spPr>
        <p:txBody>
          <a:bodyPr>
            <a:spAutoFit/>
          </a:bodyPr>
          <a:lstStyle>
            <a:lvl1pPr>
              <a:defRPr sz="3922">
                <a:gradFill>
                  <a:gsLst>
                    <a:gs pos="1250">
                      <a:schemeClr val="accent2"/>
                    </a:gs>
                    <a:gs pos="99000">
                      <a:schemeClr val="accent2"/>
                    </a:gs>
                  </a:gsLst>
                  <a:lin ang="5400000" scaled="0"/>
                  <a:tileRect/>
                </a:gradFill>
              </a:defRPr>
            </a:lvl1pPr>
            <a:lvl2pPr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6969157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1" y="1189187"/>
            <a:ext cx="11650488" cy="2117589"/>
          </a:xfrm>
        </p:spPr>
        <p:txBody>
          <a:bodyPr>
            <a:spAutoFit/>
          </a:bodyPr>
          <a:lstStyle>
            <a:lvl1pPr>
              <a:defRPr sz="3922">
                <a:gradFill>
                  <a:gsLst>
                    <a:gs pos="1250">
                      <a:schemeClr val="accent4"/>
                    </a:gs>
                    <a:gs pos="100000">
                      <a:schemeClr val="accent4"/>
                    </a:gs>
                  </a:gsLst>
                  <a:lin ang="5400000" scaled="0"/>
                  <a:tileRect/>
                </a:gradFill>
              </a:defRPr>
            </a:lvl1pPr>
            <a:lvl2pPr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383186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5200" y="0"/>
            <a:ext cx="6083625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398121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 userDrawn="1">
          <p15:clr>
            <a:srgbClr val="FBAE40"/>
          </p15:clr>
        </p15:guide>
        <p15:guide id="3" orient="horz" pos="2924" userDrawn="1">
          <p15:clr>
            <a:srgbClr val="FBAE40"/>
          </p15:clr>
        </p15:guide>
        <p15:guide id="4" pos="3566" userDrawn="1">
          <p15:clr>
            <a:srgbClr val="FBAE40"/>
          </p15:clr>
        </p15:guide>
        <p15:guide id="7" pos="4274" userDrawn="1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1" y="1189179"/>
            <a:ext cx="5377146" cy="194266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8">
                <a:gradFill>
                  <a:gsLst>
                    <a:gs pos="1250">
                      <a:schemeClr val="accent2"/>
                    </a:gs>
                    <a:gs pos="99000">
                      <a:schemeClr val="accent2"/>
                    </a:gs>
                  </a:gsLst>
                  <a:lin ang="5400000" scaled="0"/>
                  <a:tileRect/>
                </a:gradFill>
              </a:defRPr>
            </a:lvl1pPr>
            <a:lvl2pPr marL="0" indent="0"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227161" indent="0"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451206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672143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189179"/>
            <a:ext cx="5377146" cy="194266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8">
                <a:gradFill>
                  <a:gsLst>
                    <a:gs pos="1250">
                      <a:schemeClr val="accent2"/>
                    </a:gs>
                    <a:gs pos="99000">
                      <a:schemeClr val="accent2"/>
                    </a:gs>
                  </a:gsLst>
                  <a:lin ang="5400000" scaled="0"/>
                  <a:tileRect/>
                </a:gradFill>
              </a:defRPr>
            </a:lvl1pPr>
            <a:lvl2pPr marL="0" indent="0"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227161" indent="0"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451206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672143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5428025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1" y="1189179"/>
            <a:ext cx="5377146" cy="194266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8">
                <a:gradFill>
                  <a:gsLst>
                    <a:gs pos="1250">
                      <a:schemeClr val="accent4"/>
                    </a:gs>
                    <a:gs pos="100000">
                      <a:schemeClr val="accent4"/>
                    </a:gs>
                  </a:gsLst>
                  <a:lin ang="5400000" scaled="0"/>
                  <a:tileRect/>
                </a:gradFill>
              </a:defRPr>
            </a:lvl1pPr>
            <a:lvl2pPr marL="0" indent="0"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227161" indent="0"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451206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672143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189179"/>
            <a:ext cx="5377146" cy="194266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8">
                <a:gradFill>
                  <a:gsLst>
                    <a:gs pos="1250">
                      <a:schemeClr val="accent4"/>
                    </a:gs>
                    <a:gs pos="100000">
                      <a:schemeClr val="accent4"/>
                    </a:gs>
                  </a:gsLst>
                  <a:lin ang="5400000" scaled="0"/>
                  <a:tileRect/>
                </a:gradFill>
              </a:defRPr>
            </a:lvl1pPr>
            <a:lvl2pPr marL="0" indent="0"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227161" indent="0">
              <a:buNone/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451206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672143" indent="0">
              <a:buNone/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6781529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1" y="1189190"/>
            <a:ext cx="5377146" cy="2009012"/>
          </a:xfrm>
        </p:spPr>
        <p:txBody>
          <a:bodyPr wrap="square">
            <a:spAutoFit/>
          </a:bodyPr>
          <a:lstStyle>
            <a:lvl1pPr marL="281616" indent="-281616">
              <a:spcBef>
                <a:spcPts val="1200"/>
              </a:spcBef>
              <a:buClr>
                <a:schemeClr val="accent2"/>
              </a:buClr>
              <a:buFont typeface="Arial" pitchFamily="34" charset="0"/>
              <a:buChar char="•"/>
              <a:defRPr sz="3138">
                <a:gradFill>
                  <a:gsLst>
                    <a:gs pos="1250">
                      <a:schemeClr val="accent2"/>
                    </a:gs>
                    <a:gs pos="99000">
                      <a:schemeClr val="accent2"/>
                    </a:gs>
                  </a:gsLst>
                  <a:lin ang="5400000" scaled="0"/>
                  <a:tileRect/>
                </a:gradFill>
              </a:defRPr>
            </a:lvl1pPr>
            <a:lvl2pPr marL="520588" indent="-228551">
              <a:defRPr sz="2353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685653" indent="-165065"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863413" indent="-177764"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1028477" indent="-165065"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189190"/>
            <a:ext cx="5377146" cy="2009012"/>
          </a:xfrm>
        </p:spPr>
        <p:txBody>
          <a:bodyPr wrap="square">
            <a:spAutoFit/>
          </a:bodyPr>
          <a:lstStyle>
            <a:lvl1pPr marL="281616" indent="-281616">
              <a:spcBef>
                <a:spcPts val="1200"/>
              </a:spcBef>
              <a:buClr>
                <a:schemeClr val="accent2"/>
              </a:buClr>
              <a:buFont typeface="Arial" pitchFamily="34" charset="0"/>
              <a:buChar char="•"/>
              <a:defRPr sz="3138">
                <a:gradFill>
                  <a:gsLst>
                    <a:gs pos="1250">
                      <a:schemeClr val="accent2"/>
                    </a:gs>
                    <a:gs pos="99000">
                      <a:schemeClr val="accent2"/>
                    </a:gs>
                  </a:gsLst>
                  <a:lin ang="5400000" scaled="0"/>
                  <a:tileRect/>
                </a:gradFill>
              </a:defRPr>
            </a:lvl1pPr>
            <a:lvl2pPr marL="520588" indent="-228551">
              <a:defRPr sz="2353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685653" indent="-165065"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863413" indent="-177764"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1028477" indent="-165065"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7446798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1" y="1189190"/>
            <a:ext cx="5377146" cy="2009012"/>
          </a:xfrm>
        </p:spPr>
        <p:txBody>
          <a:bodyPr wrap="square">
            <a:spAutoFit/>
          </a:bodyPr>
          <a:lstStyle>
            <a:lvl1pPr marL="281616" indent="-281616">
              <a:spcBef>
                <a:spcPts val="1200"/>
              </a:spcBef>
              <a:buClr>
                <a:schemeClr val="accent4"/>
              </a:buClr>
              <a:buFont typeface="Arial" pitchFamily="34" charset="0"/>
              <a:buChar char="•"/>
              <a:defRPr sz="3138">
                <a:gradFill>
                  <a:gsLst>
                    <a:gs pos="1250">
                      <a:schemeClr val="accent4"/>
                    </a:gs>
                    <a:gs pos="100000">
                      <a:schemeClr val="accent4"/>
                    </a:gs>
                  </a:gsLst>
                  <a:lin ang="5400000" scaled="0"/>
                  <a:tileRect/>
                </a:gradFill>
              </a:defRPr>
            </a:lvl1pPr>
            <a:lvl2pPr marL="520588" indent="-228551">
              <a:defRPr sz="2353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685653" indent="-165065"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863413" indent="-177764"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1028477" indent="-165065"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189190"/>
            <a:ext cx="5377146" cy="2009012"/>
          </a:xfrm>
        </p:spPr>
        <p:txBody>
          <a:bodyPr wrap="square">
            <a:spAutoFit/>
          </a:bodyPr>
          <a:lstStyle>
            <a:lvl1pPr marL="281616" indent="-281616">
              <a:spcBef>
                <a:spcPts val="1200"/>
              </a:spcBef>
              <a:buClr>
                <a:schemeClr val="accent4"/>
              </a:buClr>
              <a:buFont typeface="Arial" pitchFamily="34" charset="0"/>
              <a:buChar char="•"/>
              <a:defRPr sz="3138">
                <a:gradFill>
                  <a:gsLst>
                    <a:gs pos="1250">
                      <a:schemeClr val="accent4"/>
                    </a:gs>
                    <a:gs pos="100000">
                      <a:schemeClr val="accent4"/>
                    </a:gs>
                  </a:gsLst>
                  <a:lin ang="5400000" scaled="0"/>
                  <a:tileRect/>
                </a:gradFill>
              </a:defRPr>
            </a:lvl1pPr>
            <a:lvl2pPr marL="520588" indent="-228551">
              <a:defRPr sz="2353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2pPr>
            <a:lvl3pPr marL="685653" indent="-165065">
              <a:defRPr sz="1961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3pPr>
            <a:lvl4pPr marL="863413" indent="-177764"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4pPr>
            <a:lvl5pPr marL="1028477" indent="-165065">
              <a:defRPr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  <a:tileRect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4260380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on Right,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4416" y="3"/>
            <a:ext cx="6094414" cy="7278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71" y="289510"/>
            <a:ext cx="5377146" cy="14958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9171" y="1789096"/>
            <a:ext cx="5377146" cy="194266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  <a:tileRect/>
                </a:gradFill>
              </a:defRPr>
            </a:lvl1pPr>
            <a:lvl2pPr marL="0" indent="0">
              <a:buNone/>
              <a:defRPr sz="1961"/>
            </a:lvl2pPr>
            <a:lvl3pPr marL="227161" indent="0">
              <a:buNone/>
              <a:defRPr sz="1961"/>
            </a:lvl3pPr>
            <a:lvl4pPr marL="451206" indent="0">
              <a:buNone/>
              <a:defRPr/>
            </a:lvl4pPr>
            <a:lvl5pPr marL="67214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0277370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on Right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4416" y="3"/>
            <a:ext cx="6094414" cy="7278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71" y="289510"/>
            <a:ext cx="5377146" cy="14958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1" y="1798199"/>
            <a:ext cx="5377146" cy="2009012"/>
          </a:xfrm>
        </p:spPr>
        <p:txBody>
          <a:bodyPr wrap="square">
            <a:spAutoFit/>
          </a:bodyPr>
          <a:lstStyle>
            <a:lvl1pPr marL="281616" indent="-281616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8"/>
            </a:lvl1pPr>
            <a:lvl2pPr marL="520588" indent="-228551">
              <a:defRPr sz="2353"/>
            </a:lvl2pPr>
            <a:lvl3pPr marL="685653" indent="-165065">
              <a:defRPr sz="1961"/>
            </a:lvl3pPr>
            <a:lvl4pPr marL="863413" indent="-177764">
              <a:defRPr/>
            </a:lvl4pPr>
            <a:lvl5pPr marL="1028477" indent="-165065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4819193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on Left,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" y="3"/>
            <a:ext cx="6094414" cy="7278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2513" y="289510"/>
            <a:ext cx="5377146" cy="14958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785324"/>
            <a:ext cx="5377146" cy="1942669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  <a:tileRect/>
                </a:gradFill>
              </a:defRPr>
            </a:lvl1pPr>
            <a:lvl2pPr marL="0" indent="0">
              <a:buNone/>
              <a:defRPr sz="1961"/>
            </a:lvl2pPr>
            <a:lvl3pPr marL="227161" indent="0">
              <a:buNone/>
              <a:defRPr sz="1961"/>
            </a:lvl3pPr>
            <a:lvl4pPr marL="451206" indent="0">
              <a:buNone/>
              <a:defRPr/>
            </a:lvl4pPr>
            <a:lvl5pPr marL="67214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9554257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on Left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" y="3"/>
            <a:ext cx="6094414" cy="7278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2513" y="289510"/>
            <a:ext cx="5377146" cy="14958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3" y="1798199"/>
            <a:ext cx="5377146" cy="2009012"/>
          </a:xfrm>
        </p:spPr>
        <p:txBody>
          <a:bodyPr wrap="square">
            <a:spAutoFit/>
          </a:bodyPr>
          <a:lstStyle>
            <a:lvl1pPr marL="281616" indent="-281616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8"/>
            </a:lvl1pPr>
            <a:lvl2pPr marL="520588" indent="-228551">
              <a:defRPr sz="2353"/>
            </a:lvl2pPr>
            <a:lvl3pPr marL="685653" indent="-165065">
              <a:defRPr sz="1961"/>
            </a:lvl3pPr>
            <a:lvl4pPr marL="863413" indent="-177764">
              <a:defRPr/>
            </a:lvl4pPr>
            <a:lvl5pPr marL="1028477" indent="-165065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750839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66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5224052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2" y="1186356"/>
            <a:ext cx="9856550" cy="1162049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7" spc="-99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80" y="3877281"/>
            <a:ext cx="9858105" cy="730072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ct val="0"/>
              </a:spcBef>
              <a:buNone/>
              <a:defRPr sz="313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4905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0394" y="2351669"/>
            <a:ext cx="7921233" cy="878796"/>
          </a:xfrm>
          <a:prstGeom prst="rect">
            <a:avLst/>
          </a:prstGeom>
        </p:spPr>
        <p:txBody>
          <a:bodyPr/>
          <a:lstStyle>
            <a:lvl1pPr algn="l">
              <a:defRPr sz="5065">
                <a:latin typeface="Work Sans" pitchFamily="2" charset="77"/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47786" y="3399588"/>
            <a:ext cx="7921234" cy="12313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  <a:latin typeface="Work Sans" pitchFamily="2" charset="77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f Needed, additional </a:t>
            </a:r>
            <a:br>
              <a:rPr lang="en-US"/>
            </a:br>
            <a:r>
              <a:rPr lang="en-US"/>
              <a:t>Information can go here.</a:t>
            </a:r>
          </a:p>
        </p:txBody>
      </p:sp>
    </p:spTree>
    <p:extLst>
      <p:ext uri="{BB962C8B-B14F-4D97-AF65-F5344CB8AC3E}">
        <p14:creationId xmlns:p14="http://schemas.microsoft.com/office/powerpoint/2010/main" val="2490911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4267" y="670984"/>
            <a:ext cx="4744331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238791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928" userDrawn="1">
          <p15:clr>
            <a:srgbClr val="FBAE40"/>
          </p15:clr>
        </p15:guide>
        <p15:guide id="4" pos="3566" userDrawn="1">
          <p15:clr>
            <a:srgbClr val="FBAE40"/>
          </p15:clr>
        </p15:guide>
        <p15:guide id="7" pos="4274" userDrawn="1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2" y="1186356"/>
            <a:ext cx="9856550" cy="1162049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7" b="0" kern="1200" cap="none" spc="-99" baseline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512955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1" y="2084175"/>
            <a:ext cx="11650488" cy="1162049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7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94764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1" y="2084175"/>
            <a:ext cx="11650488" cy="1162049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7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940612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1" y="2084175"/>
            <a:ext cx="11650488" cy="1162049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7" spc="-99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74211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0181786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3579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9352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84211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/>
        </p:nvSpPr>
        <p:spPr>
          <a:xfrm>
            <a:off x="3" y="1189176"/>
            <a:ext cx="12188825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1" tIns="45711" rIns="45711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02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  <a:tileRect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171" y="1197333"/>
            <a:ext cx="11650488" cy="2022520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  <a:tileRect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5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  <a:tileRect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6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  <a:tileRect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4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  <a:tileRect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6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  <a:tileRect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5107252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" y="8"/>
            <a:ext cx="12188825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80966" y="4836757"/>
            <a:ext cx="5078417" cy="1776921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857" tIns="143391" rIns="179239" bIns="143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57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+mj-lt"/>
                <a:ea typeface="Segoe UI" pitchFamily="34" charset="0"/>
                <a:cs typeface="Segoe UI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082526096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4267" y="670984"/>
            <a:ext cx="4744331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541520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 userDrawn="1">
          <p15:clr>
            <a:srgbClr val="FBAE40"/>
          </p15:clr>
        </p15:guide>
        <p15:guide id="3" orient="horz" pos="2928" userDrawn="1">
          <p15:clr>
            <a:srgbClr val="FBAE40"/>
          </p15:clr>
        </p15:guide>
        <p15:guide id="4" pos="3566" userDrawn="1">
          <p15:clr>
            <a:srgbClr val="FBAE40"/>
          </p15:clr>
        </p15:guide>
        <p15:guide id="7" pos="4274" userDrawn="1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>
            <a:fillRect/>
          </a:stretch>
        </p:blipFill>
        <p:spPr>
          <a:xfrm>
            <a:off x="3" y="8"/>
            <a:ext cx="12188825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80966" y="243893"/>
            <a:ext cx="5078417" cy="1776921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857" tIns="143391" rIns="179239" bIns="143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57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+mj-lt"/>
                <a:ea typeface="Segoe UI" pitchFamily="34" charset="0"/>
                <a:cs typeface="Segoe UI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22315078"/>
      </p:ext>
    </p:extLst>
  </p:cSld>
  <p:clrMapOvr>
    <a:masterClrMapping/>
  </p:clrMapOvr>
  <p:transition spd="med"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" y="2"/>
            <a:ext cx="12188825" cy="685800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80966" y="243893"/>
            <a:ext cx="5078417" cy="1776921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857" tIns="143391" rIns="179239" bIns="143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139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57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+mj-lt"/>
                <a:ea typeface="Segoe UI" pitchFamily="34" charset="0"/>
                <a:cs typeface="Segoe UI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564903915"/>
      </p:ext>
    </p:extLst>
  </p:cSld>
  <p:clrMapOvr>
    <a:masterClrMapping/>
  </p:clrMapOvr>
  <p:transition spd="med"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- Soli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69173" y="2088897"/>
            <a:ext cx="5078417" cy="1185534"/>
          </a:xfrm>
          <a:prstGeom prst="rect">
            <a:avLst/>
          </a:prstGeom>
          <a:noFill/>
        </p:spPr>
        <p:txBody>
          <a:bodyPr wrap="square" lIns="448097" tIns="143391" rIns="179239" bIns="143391" rtlCol="0">
            <a:spAutoFit/>
          </a:bodyPr>
          <a:lstStyle/>
          <a:p>
            <a:pPr algn="l" defTabSz="914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588"/>
              </a:spcAft>
              <a:buNone/>
            </a:pPr>
            <a:r>
              <a:rPr lang="en-US" sz="6469" b="0" kern="1200" cap="none" spc="-99" baseline="0">
                <a:ln w="3175">
                  <a:noFill/>
                </a:ln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Segoe UI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392763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- Solid 2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69173" y="2088897"/>
            <a:ext cx="5078417" cy="1185534"/>
          </a:xfrm>
          <a:prstGeom prst="rect">
            <a:avLst/>
          </a:prstGeom>
          <a:noFill/>
        </p:spPr>
        <p:txBody>
          <a:bodyPr wrap="square" lIns="448097" tIns="143391" rIns="179239" bIns="143391" rtlCol="0">
            <a:spAutoFit/>
          </a:bodyPr>
          <a:lstStyle/>
          <a:p>
            <a:pPr algn="l" defTabSz="914166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588"/>
              </a:spcAft>
              <a:buNone/>
            </a:pPr>
            <a:r>
              <a:rPr lang="en-US" sz="6469" b="0" kern="1200" cap="none" spc="-99" baseline="0">
                <a:ln w="3175">
                  <a:noFill/>
                </a:ln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Segoe UI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410545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269171" y="6171626"/>
            <a:ext cx="11650488" cy="39512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9" tIns="143391" rIns="179239" bIns="143391" numCol="1" anchor="t" anchorCtr="0" compatLnSpc="1">
            <a:prstTxWarp prst="textNoShape">
              <a:avLst/>
            </a:prstTxWarp>
            <a:spAutoFit/>
          </a:bodyPr>
          <a:lstStyle/>
          <a:p>
            <a:pPr defTabSz="9137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50089" y="3083653"/>
            <a:ext cx="322628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666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9171" y="1189181"/>
            <a:ext cx="11650488" cy="2461615"/>
          </a:xfrm>
          <a:prstGeom prst="rect">
            <a:avLst/>
          </a:prstGeom>
        </p:spPr>
        <p:txBody>
          <a:bodyPr/>
          <a:lstStyle>
            <a:lvl1pPr marL="284729" indent="-284729">
              <a:buClr>
                <a:schemeClr val="tx1"/>
              </a:buClr>
              <a:buSzPct val="90000"/>
              <a:buFont typeface="Arial" pitchFamily="34" charset="0"/>
              <a:buChar char="•"/>
              <a:defRPr sz="353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19" indent="-275392">
              <a:buClr>
                <a:schemeClr val="tx1"/>
              </a:buClr>
              <a:buSzPct val="90000"/>
              <a:buFont typeface="Arial" pitchFamily="34" charset="0"/>
              <a:buChar char="•"/>
              <a:defRPr sz="313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47" indent="-284729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93" indent="-22404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39" indent="-22404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" y="6238876"/>
            <a:ext cx="12188826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  <a:tileRect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2056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653496" y="600200"/>
            <a:ext cx="8488189" cy="5454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6398"/>
            </a:lvl1pPr>
            <a:lvl2pPr lvl="1">
              <a:spcBef>
                <a:spcPts val="0"/>
              </a:spcBef>
              <a:buSzPct val="100000"/>
              <a:defRPr sz="6398"/>
            </a:lvl2pPr>
            <a:lvl3pPr lvl="2">
              <a:spcBef>
                <a:spcPts val="0"/>
              </a:spcBef>
              <a:buSzPct val="100000"/>
              <a:defRPr sz="6398"/>
            </a:lvl3pPr>
            <a:lvl4pPr lvl="3">
              <a:spcBef>
                <a:spcPts val="0"/>
              </a:spcBef>
              <a:buSzPct val="100000"/>
              <a:defRPr sz="6398"/>
            </a:lvl4pPr>
            <a:lvl5pPr lvl="4">
              <a:spcBef>
                <a:spcPts val="0"/>
              </a:spcBef>
              <a:buSzPct val="100000"/>
              <a:defRPr sz="6398"/>
            </a:lvl5pPr>
            <a:lvl6pPr lvl="5">
              <a:spcBef>
                <a:spcPts val="0"/>
              </a:spcBef>
              <a:buSzPct val="100000"/>
              <a:defRPr sz="6398"/>
            </a:lvl6pPr>
            <a:lvl7pPr lvl="6">
              <a:spcBef>
                <a:spcPts val="0"/>
              </a:spcBef>
              <a:buSzPct val="100000"/>
              <a:defRPr sz="6398"/>
            </a:lvl7pPr>
            <a:lvl8pPr lvl="7">
              <a:spcBef>
                <a:spcPts val="0"/>
              </a:spcBef>
              <a:buSzPct val="100000"/>
              <a:defRPr sz="6398"/>
            </a:lvl8pPr>
            <a:lvl9pPr lvl="8">
              <a:spcBef>
                <a:spcPts val="0"/>
              </a:spcBef>
              <a:buSzPct val="100000"/>
              <a:defRPr sz="6398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11293668" y="6217621"/>
            <a:ext cx="73140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35659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923440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itchFamily="34" charset="0"/>
              </a:rPr>
              <a:t>2015 Lenovo Internal. All rights reserved.</a:t>
            </a:r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2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22" algn="l"/>
              </a:tabLst>
              <a:defRPr lang="en-US" sz="27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1748699" y="6395718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3" name="TextBox slide number"/>
          <p:cNvSpPr txBox="1"/>
          <p:nvPr userDrawn="1"/>
        </p:nvSpPr>
        <p:spPr bwMode="white">
          <a:xfrm>
            <a:off x="11748703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000" smtClean="0"/>
              <a:pPr lvl="0" algn="ctr"/>
              <a:t>‹#›</a:t>
            </a:fld>
            <a:endParaRPr lang="en-US" sz="100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5" y="5505442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01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663" y="362515"/>
            <a:ext cx="10604278" cy="8863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3496775194"/>
      </p:ext>
    </p:extLst>
  </p:cSld>
  <p:clrMapOvr>
    <a:masterClrMapping/>
  </p:clrMapOvr>
  <p:transition spd="med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5016019" y="2838769"/>
            <a:ext cx="2156788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  <a:latin typeface="Arial" charset="0"/>
              <a:ea typeface="ＭＳ Ｐゴシック" charset="0"/>
            </a:endParaRPr>
          </a:p>
        </p:txBody>
      </p:sp>
    </p:spTree>
    <p:extLst/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1" y="6473952"/>
            <a:ext cx="2413343" cy="153888"/>
          </a:xfrm>
          <a:prstGeom prst="rect">
            <a:avLst/>
          </a:prstGeom>
        </p:spPr>
        <p:txBody>
          <a:bodyPr lIns="68589" tIns="34295" rIns="68589" bIns="34295"/>
          <a:lstStyle/>
          <a:p>
            <a:r>
              <a:rPr lang="en-US" sz="1066">
                <a:solidFill>
                  <a:srgbClr val="939598"/>
                </a:solidFill>
                <a:cs typeface="Arial" pitchFamily="34" charset="0"/>
              </a:rPr>
              <a:t>2016 Lenovo Internal. All rights reserved.</a:t>
            </a: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783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783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28" tIns="45715" rIns="91428" bIns="45715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5" y="5505442"/>
            <a:ext cx="1330737" cy="443301"/>
          </a:xfrm>
          <a:prstGeom prst="rect">
            <a:avLst/>
          </a:prstGeom>
        </p:spPr>
      </p:pic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8"/>
            <a:ext cx="11073384" cy="1713973"/>
          </a:xfrm>
          <a:prstGeom prst="rect">
            <a:avLst/>
          </a:prstGeom>
        </p:spPr>
        <p:txBody>
          <a:bodyPr lIns="0" tIns="0" rIns="0" bIns="0"/>
          <a:lstStyle>
            <a:lvl1pPr marL="171422" indent="-171422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90" indent="-228523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98" indent="-150233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843" indent="-15658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191" indent="-150233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slide number"/>
          <p:cNvSpPr txBox="1"/>
          <p:nvPr userDrawn="1"/>
        </p:nvSpPr>
        <p:spPr bwMode="white">
          <a:xfrm>
            <a:off x="11748703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333" b="0" smtClean="0">
                <a:solidFill>
                  <a:schemeClr val="tx1"/>
                </a:solidFill>
              </a:rPr>
              <a:pPr lvl="0" algn="ctr"/>
              <a:t>‹#›</a:t>
            </a:fld>
            <a:endParaRPr lang="en-US" sz="1333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00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>
          <a:xfrm>
            <a:off x="548641" y="6473952"/>
            <a:ext cx="2413343" cy="153888"/>
          </a:xfrm>
          <a:prstGeom prst="rect">
            <a:avLst/>
          </a:prstGeom>
        </p:spPr>
        <p:txBody>
          <a:bodyPr lIns="68589" tIns="34295" rIns="68589" bIns="34295"/>
          <a:lstStyle/>
          <a:p>
            <a:r>
              <a:rPr lang="en-US" sz="1066">
                <a:solidFill>
                  <a:srgbClr val="939598"/>
                </a:solidFill>
                <a:cs typeface="Arial" pitchFamily="34" charset="0"/>
              </a:rPr>
              <a:t>2016 Lenovo Internal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7" y="5505442"/>
            <a:ext cx="1330737" cy="443301"/>
          </a:xfrm>
          <a:prstGeom prst="rect">
            <a:avLst/>
          </a:prstGeom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4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333" b="0" smtClean="0">
                <a:solidFill>
                  <a:schemeClr val="tx1"/>
                </a:solidFill>
              </a:rPr>
              <a:pPr lvl="0" algn="ctr"/>
              <a:t>‹#›</a:t>
            </a:fld>
            <a:endParaRPr lang="en-US" sz="1333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63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86" y="1"/>
            <a:ext cx="12190413" cy="6857107"/>
          </a:xfrm>
          <a:prstGeom prst="rect">
            <a:avLst/>
          </a:prstGeom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7578" y="5468113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Oval 76"/>
          <p:cNvSpPr/>
          <p:nvPr userDrawn="1"/>
        </p:nvSpPr>
        <p:spPr>
          <a:xfrm>
            <a:off x="3460134" y="5468108"/>
            <a:ext cx="310896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400"/>
          </a:p>
        </p:txBody>
      </p:sp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2723" y="5468113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 userDrawn="1"/>
        </p:nvSpPr>
        <p:spPr>
          <a:xfrm>
            <a:off x="2364350" y="5468108"/>
            <a:ext cx="310896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400"/>
          </a:p>
        </p:txBody>
      </p:sp>
      <p:pic>
        <p:nvPicPr>
          <p:cNvPr id="7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7216" y="5468113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Oval 70"/>
          <p:cNvSpPr/>
          <p:nvPr userDrawn="1"/>
        </p:nvSpPr>
        <p:spPr>
          <a:xfrm>
            <a:off x="6307307" y="5468108"/>
            <a:ext cx="310896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400"/>
          </a:p>
        </p:txBody>
      </p:sp>
      <p:sp>
        <p:nvSpPr>
          <p:cNvPr id="67" name="Oval 66"/>
          <p:cNvSpPr/>
          <p:nvPr userDrawn="1"/>
        </p:nvSpPr>
        <p:spPr>
          <a:xfrm>
            <a:off x="597035" y="5468108"/>
            <a:ext cx="310896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400"/>
          </a:p>
        </p:txBody>
      </p:sp>
      <p:pic>
        <p:nvPicPr>
          <p:cNvPr id="68" name="Picture 5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5212" y="5515988"/>
            <a:ext cx="214533" cy="215141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 userDrawn="1"/>
        </p:nvGrpSpPr>
        <p:grpSpPr>
          <a:xfrm>
            <a:off x="5236136" y="5463092"/>
            <a:ext cx="310896" cy="315912"/>
            <a:chOff x="5236131" y="5463092"/>
            <a:chExt cx="310896" cy="315912"/>
          </a:xfrm>
        </p:grpSpPr>
        <p:sp>
          <p:nvSpPr>
            <p:cNvPr id="46" name="Oval 4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/>
            </a:p>
          </p:txBody>
        </p:sp>
        <p:pic>
          <p:nvPicPr>
            <p:cNvPr id="70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 userDrawn="1"/>
        </p:nvGrpSpPr>
        <p:grpSpPr>
          <a:xfrm>
            <a:off x="1304770" y="5468108"/>
            <a:ext cx="310896" cy="310896"/>
            <a:chOff x="4523337" y="5468108"/>
            <a:chExt cx="310896" cy="310896"/>
          </a:xfrm>
        </p:grpSpPr>
        <p:sp>
          <p:nvSpPr>
            <p:cNvPr id="49" name="Oval 48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/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1" name="Group 50"/>
          <p:cNvGrpSpPr/>
          <p:nvPr userDrawn="1"/>
        </p:nvGrpSpPr>
        <p:grpSpPr>
          <a:xfrm>
            <a:off x="4495910" y="5442941"/>
            <a:ext cx="365759" cy="36576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/>
            </a:p>
          </p:txBody>
        </p:sp>
        <p:pic>
          <p:nvPicPr>
            <p:cNvPr id="6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0" y="2048256"/>
            <a:ext cx="8723376" cy="1581912"/>
          </a:xfrm>
          <a:prstGeom prst="rect">
            <a:avLst/>
          </a:prstGeom>
        </p:spPr>
        <p:txBody>
          <a:bodyPr lIns="0" tIns="60949" rIns="121899" bIns="60949" anchor="b" anchorCtr="0"/>
          <a:lstStyle>
            <a:lvl1pPr marL="0" algn="l" defTabSz="1218591" rtl="0" eaLnBrk="1" latinLnBrk="0" hangingPunct="1">
              <a:lnSpc>
                <a:spcPts val="5799"/>
              </a:lnSpc>
              <a:spcBef>
                <a:spcPct val="0"/>
              </a:spcBef>
              <a:buNone/>
              <a:defRPr lang="en-US" sz="59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 userDrawn="1">
            <p:ph type="ftr" sz="quarter" idx="10"/>
          </p:nvPr>
        </p:nvSpPr>
        <p:spPr>
          <a:xfrm>
            <a:off x="548641" y="6473952"/>
            <a:ext cx="3860800" cy="153888"/>
          </a:xfrm>
        </p:spPr>
        <p:txBody>
          <a:bodyPr lIns="0"/>
          <a:lstStyle>
            <a:lvl1pPr>
              <a:defRPr cap="none"/>
            </a:lvl1pPr>
          </a:lstStyle>
          <a:p>
            <a:r>
              <a:rPr lang="en-US" sz="1000">
                <a:solidFill>
                  <a:srgbClr val="939598"/>
                </a:solidFill>
                <a:cs typeface="Arial" pitchFamily="34" charset="0"/>
              </a:rPr>
              <a:t>2016 Lenovo Internal. All rights reserved.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1" y="4184738"/>
            <a:ext cx="8714231" cy="33239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59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5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1"/>
          </p:nvPr>
        </p:nvSpPr>
        <p:spPr>
          <a:xfrm>
            <a:off x="548641" y="4800600"/>
            <a:ext cx="6409944" cy="6198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Rectangle 19"/>
          <p:cNvSpPr/>
          <p:nvPr userDrawn="1"/>
        </p:nvSpPr>
        <p:spPr bwMode="black">
          <a:xfrm>
            <a:off x="548645" y="4557718"/>
            <a:ext cx="1097683" cy="1067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548646" y="4664439"/>
            <a:ext cx="1041909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5470" y="5468113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7397" y="5468113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5956" y="5468113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 userDrawn="1"/>
        </p:nvGrpSpPr>
        <p:grpSpPr>
          <a:xfrm>
            <a:off x="2024603" y="5468108"/>
            <a:ext cx="310896" cy="310896"/>
            <a:chOff x="2024598" y="5468108"/>
            <a:chExt cx="310896" cy="310896"/>
          </a:xfrm>
        </p:grpSpPr>
        <p:sp>
          <p:nvSpPr>
            <p:cNvPr id="34" name="Oval 33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/>
            </a:p>
          </p:txBody>
        </p:sp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2" name="Group 51"/>
          <p:cNvGrpSpPr/>
          <p:nvPr userDrawn="1"/>
        </p:nvGrpSpPr>
        <p:grpSpPr>
          <a:xfrm>
            <a:off x="4879739" y="5468108"/>
            <a:ext cx="310896" cy="310896"/>
            <a:chOff x="4879734" y="5468108"/>
            <a:chExt cx="310896" cy="310896"/>
          </a:xfrm>
        </p:grpSpPr>
        <p:sp>
          <p:nvSpPr>
            <p:cNvPr id="53" name="Oval 5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/>
            </a:p>
          </p:txBody>
        </p:sp>
        <p:pic>
          <p:nvPicPr>
            <p:cNvPr id="57" name="Picture 6"/>
            <p:cNvPicPr>
              <a:picLocks noChangeAspect="1" noChangeArrowheads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 userDrawn="1"/>
        </p:nvGrpSpPr>
        <p:grpSpPr>
          <a:xfrm>
            <a:off x="5949920" y="5468108"/>
            <a:ext cx="310896" cy="310896"/>
            <a:chOff x="5949915" y="5468108"/>
            <a:chExt cx="310896" cy="310896"/>
          </a:xfrm>
        </p:grpSpPr>
        <p:sp>
          <p:nvSpPr>
            <p:cNvPr id="59" name="Oval 5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/>
            </a:p>
          </p:txBody>
        </p:sp>
        <p:pic>
          <p:nvPicPr>
            <p:cNvPr id="60" name="Picture 8"/>
            <p:cNvPicPr>
              <a:picLocks noChangeAspect="1" noChangeArrowheads="1"/>
            </p:cNvPicPr>
            <p:nvPr userDrawn="1"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444979" y="2920590"/>
            <a:ext cx="2616181" cy="871514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3094781" y="5468114"/>
            <a:ext cx="311523" cy="315559"/>
            <a:chOff x="3094779" y="5468108"/>
            <a:chExt cx="311523" cy="315559"/>
          </a:xfrm>
        </p:grpSpPr>
        <p:sp>
          <p:nvSpPr>
            <p:cNvPr id="37" name="Oval 3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400"/>
            </a:p>
          </p:txBody>
        </p:sp>
        <p:pic>
          <p:nvPicPr>
            <p:cNvPr id="69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40" name="Oval 39"/>
          <p:cNvSpPr/>
          <p:nvPr userDrawn="1"/>
        </p:nvSpPr>
        <p:spPr>
          <a:xfrm>
            <a:off x="953431" y="5468108"/>
            <a:ext cx="310896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400"/>
          </a:p>
        </p:txBody>
      </p:sp>
      <p:pic>
        <p:nvPicPr>
          <p:cNvPr id="72" name="Picture 5"/>
          <p:cNvPicPr>
            <a:picLocks noChangeAspect="1" noChangeArrowheads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06781" y="5515988"/>
            <a:ext cx="204196" cy="215141"/>
          </a:xfrm>
          <a:prstGeom prst="rect">
            <a:avLst/>
          </a:prstGeom>
          <a:noFill/>
        </p:spPr>
      </p:pic>
      <p:pic>
        <p:nvPicPr>
          <p:cNvPr id="78" name="Picture 5"/>
          <p:cNvPicPr>
            <a:picLocks noChangeAspect="1" noChangeArrowheads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397859" y="5540157"/>
            <a:ext cx="238430" cy="145035"/>
          </a:xfrm>
          <a:prstGeom prst="rect">
            <a:avLst/>
          </a:prstGeom>
          <a:noFill/>
        </p:spPr>
      </p:pic>
      <p:pic>
        <p:nvPicPr>
          <p:cNvPr id="79" name="Picture 5"/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16728" y="5508044"/>
            <a:ext cx="197701" cy="197481"/>
          </a:xfrm>
          <a:prstGeom prst="rect">
            <a:avLst/>
          </a:prstGeom>
          <a:noFill/>
        </p:spPr>
      </p:pic>
      <p:pic>
        <p:nvPicPr>
          <p:cNvPr id="80" name="Picture 5"/>
          <p:cNvPicPr>
            <a:picLocks noChangeAspect="1" noChangeArrowheads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45762" y="5552722"/>
            <a:ext cx="233986" cy="165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408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pc\Downloads\Canyon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86234" cy="6544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 userDrawn="1"/>
        </p:nvSpPr>
        <p:spPr bwMode="black">
          <a:xfrm>
            <a:off x="0" y="6384640"/>
            <a:ext cx="12192000" cy="473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04" tIns="45703" rIns="91404" bIns="457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400">
              <a:solidFill>
                <a:prstClr val="white"/>
              </a:solidFill>
              <a:latin typeface="Gotham Book" pitchFamily="50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" y="6384631"/>
            <a:ext cx="12188952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764792" y="1322344"/>
            <a:ext cx="9582912" cy="285292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470" rtl="0" eaLnBrk="1" latinLnBrk="0" hangingPunct="1">
              <a:lnSpc>
                <a:spcPts val="6478"/>
              </a:lnSpc>
              <a:spcBef>
                <a:spcPct val="0"/>
              </a:spcBef>
              <a:buNone/>
              <a:defRPr lang="en-US" sz="4399" b="0" kern="1200" cap="none" spc="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section header tit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764793" y="4589465"/>
            <a:ext cx="9582659" cy="424593"/>
          </a:xfrm>
          <a:prstGeom prst="rect">
            <a:avLst/>
          </a:prstGeom>
        </p:spPr>
        <p:txBody>
          <a:bodyPr lIns="91428" tIns="45715" rIns="91428" bIns="45715"/>
          <a:lstStyle>
            <a:lvl1pPr marL="0" indent="0">
              <a:buNone/>
              <a:defRPr sz="2399">
                <a:solidFill>
                  <a:schemeClr val="bg1"/>
                </a:solidFill>
                <a:latin typeface="Gotham Book" pitchFamily="50" charset="0"/>
              </a:defRPr>
            </a:lvl1pPr>
            <a:lvl2pPr marL="45700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1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0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0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0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0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subtitle text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white">
          <a:xfrm>
            <a:off x="1651780" y="4563277"/>
            <a:ext cx="0" cy="1816895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5"/>
          <p:cNvSpPr>
            <a:spLocks noEditPoints="1"/>
          </p:cNvSpPr>
          <p:nvPr userDrawn="1"/>
        </p:nvSpPr>
        <p:spPr bwMode="white">
          <a:xfrm>
            <a:off x="1171991" y="4087557"/>
            <a:ext cx="347589" cy="34688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04" tIns="45703" rIns="91404" bIns="45703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solidFill>
                <a:srgbClr val="000000"/>
              </a:solidFill>
              <a:latin typeface="Gotham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18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5400"/>
            <a:ext cx="12188825" cy="69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068554"/>
      </p:ext>
    </p:extLst>
  </p:cSld>
  <p:clrMapOvr>
    <a:masterClrMapping/>
  </p:clrMapOvr>
  <p:transition spd="med">
    <p:wipe dir="r"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w. Blue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002" y="228600"/>
            <a:ext cx="10512862" cy="914400"/>
          </a:xfrm>
        </p:spPr>
        <p:txBody>
          <a:bodyPr>
            <a:normAutofit/>
          </a:bodyPr>
          <a:lstStyle>
            <a:lvl1pPr>
              <a:defRPr kumimoji="0" lang="en-US" sz="4399" b="0" i="0" u="none" strike="noStrike" kern="1200" cap="none" spc="-99" normalizeH="0" baseline="0" dirty="0">
                <a:ln w="3175">
                  <a:noFill/>
                </a:ln>
                <a:gradFill>
                  <a:gsLst>
                    <a:gs pos="100000">
                      <a:srgbClr val="0078D7"/>
                    </a:gs>
                    <a:gs pos="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12188825" cy="228600"/>
          </a:xfrm>
          <a:prstGeom prst="rect">
            <a:avLst/>
          </a:prstGeom>
          <a:solidFill>
            <a:srgbClr val="0078D7"/>
          </a:solidFill>
          <a:ln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/>
          <p:cNvSpPr/>
          <p:nvPr/>
        </p:nvSpPr>
        <p:spPr>
          <a:xfrm>
            <a:off x="0" y="6629400"/>
            <a:ext cx="12188825" cy="228600"/>
          </a:xfrm>
          <a:prstGeom prst="rect">
            <a:avLst/>
          </a:prstGeom>
          <a:solidFill>
            <a:srgbClr val="0078D7"/>
          </a:solidFill>
          <a:ln>
            <a:solidFill>
              <a:srgbClr val="0078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08357" y="6264276"/>
            <a:ext cx="2742486" cy="365125"/>
          </a:xfrm>
        </p:spPr>
        <p:txBody>
          <a:bodyPr/>
          <a:lstStyle/>
          <a:p>
            <a:fld id="{93A7D359-9FB7-4950-86B6-739E33983A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284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1" y="2096492"/>
            <a:ext cx="6274896" cy="1793104"/>
          </a:xfrm>
          <a:noFill/>
        </p:spPr>
        <p:txBody>
          <a:bodyPr lIns="146304" tIns="91440" rIns="146304" bIns="91440" anchor="t" anchorCtr="0">
            <a:normAutofit/>
          </a:bodyPr>
          <a:lstStyle>
            <a:lvl1pPr>
              <a:defRPr kumimoji="0" lang="en-US" sz="5397" b="0" i="0" u="none" strike="noStrike" kern="1200" cap="none" spc="-99" normalizeH="0" baseline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14" y="3877276"/>
            <a:ext cx="6274896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lang="en-US" sz="3199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77934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rgbClr val="333F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/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49074" y="-3179"/>
            <a:ext cx="12139750" cy="6858291"/>
          </a:xfrm>
          <a:custGeom>
            <a:avLst/>
            <a:gdLst>
              <a:gd name="connsiteX0" fmla="*/ 9863865 w 12139750"/>
              <a:gd name="connsiteY0" fmla="*/ 6730848 h 6858290"/>
              <a:gd name="connsiteX1" fmla="*/ 9906123 w 12139750"/>
              <a:gd name="connsiteY1" fmla="*/ 6760852 h 6858290"/>
              <a:gd name="connsiteX2" fmla="*/ 9879496 w 12139750"/>
              <a:gd name="connsiteY2" fmla="*/ 6819907 h 6858290"/>
              <a:gd name="connsiteX3" fmla="*/ 9782500 w 12139750"/>
              <a:gd name="connsiteY3" fmla="*/ 6858007 h 6858290"/>
              <a:gd name="connsiteX4" fmla="*/ 9531452 w 12139750"/>
              <a:gd name="connsiteY4" fmla="*/ 6858007 h 6858290"/>
              <a:gd name="connsiteX5" fmla="*/ 9845262 w 12139750"/>
              <a:gd name="connsiteY5" fmla="*/ 6734182 h 6858290"/>
              <a:gd name="connsiteX6" fmla="*/ 9863865 w 12139750"/>
              <a:gd name="connsiteY6" fmla="*/ 6730848 h 6858290"/>
              <a:gd name="connsiteX7" fmla="*/ 10445577 w 12139750"/>
              <a:gd name="connsiteY7" fmla="*/ 6718092 h 6858290"/>
              <a:gd name="connsiteX8" fmla="*/ 10487132 w 12139750"/>
              <a:gd name="connsiteY8" fmla="*/ 6746099 h 6858290"/>
              <a:gd name="connsiteX9" fmla="*/ 10462348 w 12139750"/>
              <a:gd name="connsiteY9" fmla="*/ 6804898 h 6858290"/>
              <a:gd name="connsiteX10" fmla="*/ 10328892 w 12139750"/>
              <a:gd name="connsiteY10" fmla="*/ 6858007 h 6858290"/>
              <a:gd name="connsiteX11" fmla="*/ 10088672 w 12139750"/>
              <a:gd name="connsiteY11" fmla="*/ 6858007 h 6858290"/>
              <a:gd name="connsiteX12" fmla="*/ 10428031 w 12139750"/>
              <a:gd name="connsiteY12" fmla="*/ 6721441 h 6858290"/>
              <a:gd name="connsiteX13" fmla="*/ 10445577 w 12139750"/>
              <a:gd name="connsiteY13" fmla="*/ 6718092 h 6858290"/>
              <a:gd name="connsiteX14" fmla="*/ 9285099 w 12139750"/>
              <a:gd name="connsiteY14" fmla="*/ 6718092 h 6858290"/>
              <a:gd name="connsiteX15" fmla="*/ 9326654 w 12139750"/>
              <a:gd name="connsiteY15" fmla="*/ 6746099 h 6858290"/>
              <a:gd name="connsiteX16" fmla="*/ 9301870 w 12139750"/>
              <a:gd name="connsiteY16" fmla="*/ 6804898 h 6858290"/>
              <a:gd name="connsiteX17" fmla="*/ 9168414 w 12139750"/>
              <a:gd name="connsiteY17" fmla="*/ 6858007 h 6858290"/>
              <a:gd name="connsiteX18" fmla="*/ 8928194 w 12139750"/>
              <a:gd name="connsiteY18" fmla="*/ 6858007 h 6858290"/>
              <a:gd name="connsiteX19" fmla="*/ 9267553 w 12139750"/>
              <a:gd name="connsiteY19" fmla="*/ 6721441 h 6858290"/>
              <a:gd name="connsiteX20" fmla="*/ 9285099 w 12139750"/>
              <a:gd name="connsiteY20" fmla="*/ 6718092 h 6858290"/>
              <a:gd name="connsiteX21" fmla="*/ 11021925 w 12139750"/>
              <a:gd name="connsiteY21" fmla="*/ 6702243 h 6858290"/>
              <a:gd name="connsiteX22" fmla="*/ 11063417 w 12139750"/>
              <a:gd name="connsiteY22" fmla="*/ 6730372 h 6858290"/>
              <a:gd name="connsiteX23" fmla="*/ 11038670 w 12139750"/>
              <a:gd name="connsiteY23" fmla="*/ 6789427 h 6858290"/>
              <a:gd name="connsiteX24" fmla="*/ 10873058 w 12139750"/>
              <a:gd name="connsiteY24" fmla="*/ 6858007 h 6858290"/>
              <a:gd name="connsiteX25" fmla="*/ 10652242 w 12139750"/>
              <a:gd name="connsiteY25" fmla="*/ 6858007 h 6858290"/>
              <a:gd name="connsiteX26" fmla="*/ 10665567 w 12139750"/>
              <a:gd name="connsiteY26" fmla="*/ 6850387 h 6858290"/>
              <a:gd name="connsiteX27" fmla="*/ 11004406 w 12139750"/>
              <a:gd name="connsiteY27" fmla="*/ 6705607 h 6858290"/>
              <a:gd name="connsiteX28" fmla="*/ 11021925 w 12139750"/>
              <a:gd name="connsiteY28" fmla="*/ 6702243 h 6858290"/>
              <a:gd name="connsiteX29" fmla="*/ 8712081 w 12139750"/>
              <a:gd name="connsiteY29" fmla="*/ 6702243 h 6858290"/>
              <a:gd name="connsiteX30" fmla="*/ 8753573 w 12139750"/>
              <a:gd name="connsiteY30" fmla="*/ 6730372 h 6858290"/>
              <a:gd name="connsiteX31" fmla="*/ 8730730 w 12139750"/>
              <a:gd name="connsiteY31" fmla="*/ 6789427 h 6858290"/>
              <a:gd name="connsiteX32" fmla="*/ 8565118 w 12139750"/>
              <a:gd name="connsiteY32" fmla="*/ 6858007 h 6858290"/>
              <a:gd name="connsiteX33" fmla="*/ 8342398 w 12139750"/>
              <a:gd name="connsiteY33" fmla="*/ 6858007 h 6858290"/>
              <a:gd name="connsiteX34" fmla="*/ 8355723 w 12139750"/>
              <a:gd name="connsiteY34" fmla="*/ 6850387 h 6858290"/>
              <a:gd name="connsiteX35" fmla="*/ 8694562 w 12139750"/>
              <a:gd name="connsiteY35" fmla="*/ 6705607 h 6858290"/>
              <a:gd name="connsiteX36" fmla="*/ 8712081 w 12139750"/>
              <a:gd name="connsiteY36" fmla="*/ 6702243 h 6858290"/>
              <a:gd name="connsiteX37" fmla="*/ 11608144 w 12139750"/>
              <a:gd name="connsiteY37" fmla="*/ 6692160 h 6858290"/>
              <a:gd name="connsiteX38" fmla="*/ 11631736 w 12139750"/>
              <a:gd name="connsiteY38" fmla="*/ 6715650 h 6858290"/>
              <a:gd name="connsiteX39" fmla="*/ 11608859 w 12139750"/>
              <a:gd name="connsiteY39" fmla="*/ 6772593 h 6858290"/>
              <a:gd name="connsiteX40" fmla="*/ 11412495 w 12139750"/>
              <a:gd name="connsiteY40" fmla="*/ 6858007 h 6858290"/>
              <a:gd name="connsiteX41" fmla="*/ 11214225 w 12139750"/>
              <a:gd name="connsiteY41" fmla="*/ 6858007 h 6858290"/>
              <a:gd name="connsiteX42" fmla="*/ 11235196 w 12139750"/>
              <a:gd name="connsiteY42" fmla="*/ 6840924 h 6858290"/>
              <a:gd name="connsiteX43" fmla="*/ 11574543 w 12139750"/>
              <a:gd name="connsiteY43" fmla="*/ 6692872 h 6858290"/>
              <a:gd name="connsiteX44" fmla="*/ 11608144 w 12139750"/>
              <a:gd name="connsiteY44" fmla="*/ 6692160 h 6858290"/>
              <a:gd name="connsiteX45" fmla="*/ 8162632 w 12139750"/>
              <a:gd name="connsiteY45" fmla="*/ 6692160 h 6858290"/>
              <a:gd name="connsiteX46" fmla="*/ 8186849 w 12139750"/>
              <a:gd name="connsiteY46" fmla="*/ 6715650 h 6858290"/>
              <a:gd name="connsiteX47" fmla="*/ 8164057 w 12139750"/>
              <a:gd name="connsiteY47" fmla="*/ 6772593 h 6858290"/>
              <a:gd name="connsiteX48" fmla="*/ 7966524 w 12139750"/>
              <a:gd name="connsiteY48" fmla="*/ 6858007 h 6858290"/>
              <a:gd name="connsiteX49" fmla="*/ 7770890 w 12139750"/>
              <a:gd name="connsiteY49" fmla="*/ 6858007 h 6858290"/>
              <a:gd name="connsiteX50" fmla="*/ 7789883 w 12139750"/>
              <a:gd name="connsiteY50" fmla="*/ 6840924 h 6858290"/>
              <a:gd name="connsiteX51" fmla="*/ 8129868 w 12139750"/>
              <a:gd name="connsiteY51" fmla="*/ 6692872 h 6858290"/>
              <a:gd name="connsiteX52" fmla="*/ 8162632 w 12139750"/>
              <a:gd name="connsiteY52" fmla="*/ 6692160 h 6858290"/>
              <a:gd name="connsiteX53" fmla="*/ 7602161 w 12139750"/>
              <a:gd name="connsiteY53" fmla="*/ 6677681 h 6858290"/>
              <a:gd name="connsiteX54" fmla="*/ 7626432 w 12139750"/>
              <a:gd name="connsiteY54" fmla="*/ 6699625 h 6858290"/>
              <a:gd name="connsiteX55" fmla="*/ 7605492 w 12139750"/>
              <a:gd name="connsiteY55" fmla="*/ 6756872 h 6858290"/>
              <a:gd name="connsiteX56" fmla="*/ 7378961 w 12139750"/>
              <a:gd name="connsiteY56" fmla="*/ 6858007 h 6858290"/>
              <a:gd name="connsiteX57" fmla="*/ 7205732 w 12139750"/>
              <a:gd name="connsiteY57" fmla="*/ 6858007 h 6858290"/>
              <a:gd name="connsiteX58" fmla="*/ 7230479 w 12139750"/>
              <a:gd name="connsiteY58" fmla="*/ 6831292 h 6858290"/>
              <a:gd name="connsiteX59" fmla="*/ 7569323 w 12139750"/>
              <a:gd name="connsiteY59" fmla="*/ 6678635 h 6858290"/>
              <a:gd name="connsiteX60" fmla="*/ 7602161 w 12139750"/>
              <a:gd name="connsiteY60" fmla="*/ 6677681 h 6858290"/>
              <a:gd name="connsiteX61" fmla="*/ 12139750 w 12139750"/>
              <a:gd name="connsiteY61" fmla="*/ 6677032 h 6858290"/>
              <a:gd name="connsiteX62" fmla="*/ 12139750 w 12139750"/>
              <a:gd name="connsiteY62" fmla="*/ 6770377 h 6858290"/>
              <a:gd name="connsiteX63" fmla="*/ 12139750 w 12139750"/>
              <a:gd name="connsiteY63" fmla="*/ 6858007 h 6858290"/>
              <a:gd name="connsiteX64" fmla="*/ 11945775 w 12139750"/>
              <a:gd name="connsiteY64" fmla="*/ 6858007 h 6858290"/>
              <a:gd name="connsiteX65" fmla="*/ 11774620 w 12139750"/>
              <a:gd name="connsiteY65" fmla="*/ 6858007 h 6858290"/>
              <a:gd name="connsiteX66" fmla="*/ 11797441 w 12139750"/>
              <a:gd name="connsiteY66" fmla="*/ 6831337 h 6858290"/>
              <a:gd name="connsiteX67" fmla="*/ 12137848 w 12139750"/>
              <a:gd name="connsiteY67" fmla="*/ 6678937 h 6858290"/>
              <a:gd name="connsiteX68" fmla="*/ 12139750 w 12139750"/>
              <a:gd name="connsiteY68" fmla="*/ 6677032 h 6858290"/>
              <a:gd name="connsiteX69" fmla="*/ 7049044 w 12139750"/>
              <a:gd name="connsiteY69" fmla="*/ 6663353 h 6858290"/>
              <a:gd name="connsiteX70" fmla="*/ 7072381 w 12139750"/>
              <a:gd name="connsiteY70" fmla="*/ 6685192 h 6858290"/>
              <a:gd name="connsiteX71" fmla="*/ 7051425 w 12139750"/>
              <a:gd name="connsiteY71" fmla="*/ 6742164 h 6858290"/>
              <a:gd name="connsiteX72" fmla="*/ 6798057 w 12139750"/>
              <a:gd name="connsiteY72" fmla="*/ 6858007 h 6858290"/>
              <a:gd name="connsiteX73" fmla="*/ 6653275 w 12139750"/>
              <a:gd name="connsiteY73" fmla="*/ 6858007 h 6858290"/>
              <a:gd name="connsiteX74" fmla="*/ 6678040 w 12139750"/>
              <a:gd name="connsiteY74" fmla="*/ 6821925 h 6858290"/>
              <a:gd name="connsiteX75" fmla="*/ 7017135 w 12139750"/>
              <a:gd name="connsiteY75" fmla="*/ 6664302 h 6858290"/>
              <a:gd name="connsiteX76" fmla="*/ 7049044 w 12139750"/>
              <a:gd name="connsiteY76" fmla="*/ 6663353 h 6858290"/>
              <a:gd name="connsiteX77" fmla="*/ 6502912 w 12139750"/>
              <a:gd name="connsiteY77" fmla="*/ 6648865 h 6858290"/>
              <a:gd name="connsiteX78" fmla="*/ 6526266 w 12139750"/>
              <a:gd name="connsiteY78" fmla="*/ 6669136 h 6858290"/>
              <a:gd name="connsiteX79" fmla="*/ 6507201 w 12139750"/>
              <a:gd name="connsiteY79" fmla="*/ 6724462 h 6858290"/>
              <a:gd name="connsiteX80" fmla="*/ 6226954 w 12139750"/>
              <a:gd name="connsiteY80" fmla="*/ 6858007 h 6858290"/>
              <a:gd name="connsiteX81" fmla="*/ 6108755 w 12139750"/>
              <a:gd name="connsiteY81" fmla="*/ 6858007 h 6858290"/>
              <a:gd name="connsiteX82" fmla="*/ 6108755 w 12139750"/>
              <a:gd name="connsiteY82" fmla="*/ 6850376 h 6858290"/>
              <a:gd name="connsiteX83" fmla="*/ 6131632 w 12139750"/>
              <a:gd name="connsiteY83" fmla="*/ 6812220 h 6858290"/>
              <a:gd name="connsiteX84" fmla="*/ 6470979 w 12139750"/>
              <a:gd name="connsiteY84" fmla="*/ 6650058 h 6858290"/>
              <a:gd name="connsiteX85" fmla="*/ 6502912 w 12139750"/>
              <a:gd name="connsiteY85" fmla="*/ 6648865 h 6858290"/>
              <a:gd name="connsiteX86" fmla="*/ 5955433 w 12139750"/>
              <a:gd name="connsiteY86" fmla="*/ 6635428 h 6858290"/>
              <a:gd name="connsiteX87" fmla="*/ 5978566 w 12139750"/>
              <a:gd name="connsiteY87" fmla="*/ 6656354 h 6858290"/>
              <a:gd name="connsiteX88" fmla="*/ 5961395 w 12139750"/>
              <a:gd name="connsiteY88" fmla="*/ 6709621 h 6858290"/>
              <a:gd name="connsiteX89" fmla="*/ 5656142 w 12139750"/>
              <a:gd name="connsiteY89" fmla="*/ 6858007 h 6858290"/>
              <a:gd name="connsiteX90" fmla="*/ 5568382 w 12139750"/>
              <a:gd name="connsiteY90" fmla="*/ 6858007 h 6858290"/>
              <a:gd name="connsiteX91" fmla="*/ 5566474 w 12139750"/>
              <a:gd name="connsiteY91" fmla="*/ 6858007 h 6858290"/>
              <a:gd name="connsiteX92" fmla="*/ 5562659 w 12139750"/>
              <a:gd name="connsiteY92" fmla="*/ 6838983 h 6858290"/>
              <a:gd name="connsiteX93" fmla="*/ 5585552 w 12139750"/>
              <a:gd name="connsiteY93" fmla="*/ 6802838 h 6858290"/>
              <a:gd name="connsiteX94" fmla="*/ 5925146 w 12139750"/>
              <a:gd name="connsiteY94" fmla="*/ 6637331 h 6858290"/>
              <a:gd name="connsiteX95" fmla="*/ 5955433 w 12139750"/>
              <a:gd name="connsiteY95" fmla="*/ 6635428 h 6858290"/>
              <a:gd name="connsiteX96" fmla="*/ 396081 w 12139750"/>
              <a:gd name="connsiteY96" fmla="*/ 6635428 h 6858290"/>
              <a:gd name="connsiteX97" fmla="*/ 419127 w 12139750"/>
              <a:gd name="connsiteY97" fmla="*/ 6656354 h 6858290"/>
              <a:gd name="connsiteX98" fmla="*/ 400120 w 12139750"/>
              <a:gd name="connsiteY98" fmla="*/ 6709621 h 6858290"/>
              <a:gd name="connsiteX99" fmla="*/ 97901 w 12139750"/>
              <a:gd name="connsiteY99" fmla="*/ 6858007 h 6858290"/>
              <a:gd name="connsiteX100" fmla="*/ 10466 w 12139750"/>
              <a:gd name="connsiteY100" fmla="*/ 6858007 h 6858290"/>
              <a:gd name="connsiteX101" fmla="*/ 8566 w 12139750"/>
              <a:gd name="connsiteY101" fmla="*/ 6858007 h 6858290"/>
              <a:gd name="connsiteX102" fmla="*/ 4764 w 12139750"/>
              <a:gd name="connsiteY102" fmla="*/ 6838983 h 6858290"/>
              <a:gd name="connsiteX103" fmla="*/ 27573 w 12139750"/>
              <a:gd name="connsiteY103" fmla="*/ 6802838 h 6858290"/>
              <a:gd name="connsiteX104" fmla="*/ 365906 w 12139750"/>
              <a:gd name="connsiteY104" fmla="*/ 6637331 h 6858290"/>
              <a:gd name="connsiteX105" fmla="*/ 396081 w 12139750"/>
              <a:gd name="connsiteY105" fmla="*/ 6635428 h 6858290"/>
              <a:gd name="connsiteX106" fmla="*/ 5405387 w 12139750"/>
              <a:gd name="connsiteY106" fmla="*/ 6619812 h 6858290"/>
              <a:gd name="connsiteX107" fmla="*/ 5427736 w 12139750"/>
              <a:gd name="connsiteY107" fmla="*/ 6640556 h 6858290"/>
              <a:gd name="connsiteX108" fmla="*/ 5410617 w 12139750"/>
              <a:gd name="connsiteY108" fmla="*/ 6693965 h 6858290"/>
              <a:gd name="connsiteX109" fmla="*/ 5083441 w 12139750"/>
              <a:gd name="connsiteY109" fmla="*/ 6858007 h 6858290"/>
              <a:gd name="connsiteX110" fmla="*/ 5028285 w 12139750"/>
              <a:gd name="connsiteY110" fmla="*/ 6858007 h 6858290"/>
              <a:gd name="connsiteX111" fmla="*/ 5020677 w 12139750"/>
              <a:gd name="connsiteY111" fmla="*/ 6846562 h 6858290"/>
              <a:gd name="connsiteX112" fmla="*/ 5014972 w 12139750"/>
              <a:gd name="connsiteY112" fmla="*/ 6829395 h 6858290"/>
              <a:gd name="connsiteX113" fmla="*/ 5037797 w 12139750"/>
              <a:gd name="connsiteY113" fmla="*/ 6793153 h 6858290"/>
              <a:gd name="connsiteX114" fmla="*/ 5374478 w 12139750"/>
              <a:gd name="connsiteY114" fmla="*/ 6623389 h 6858290"/>
              <a:gd name="connsiteX115" fmla="*/ 5405387 w 12139750"/>
              <a:gd name="connsiteY115" fmla="*/ 6619812 h 6858290"/>
              <a:gd name="connsiteX116" fmla="*/ 939733 w 12139750"/>
              <a:gd name="connsiteY116" fmla="*/ 6619812 h 6858290"/>
              <a:gd name="connsiteX117" fmla="*/ 963599 w 12139750"/>
              <a:gd name="connsiteY117" fmla="*/ 6640556 h 6858290"/>
              <a:gd name="connsiteX118" fmla="*/ 944506 w 12139750"/>
              <a:gd name="connsiteY118" fmla="*/ 6693965 h 6858290"/>
              <a:gd name="connsiteX119" fmla="*/ 618014 w 12139750"/>
              <a:gd name="connsiteY119" fmla="*/ 6858007 h 6858290"/>
              <a:gd name="connsiteX120" fmla="*/ 562644 w 12139750"/>
              <a:gd name="connsiteY120" fmla="*/ 6858007 h 6858290"/>
              <a:gd name="connsiteX121" fmla="*/ 553097 w 12139750"/>
              <a:gd name="connsiteY121" fmla="*/ 6846562 h 6858290"/>
              <a:gd name="connsiteX122" fmla="*/ 549279 w 12139750"/>
              <a:gd name="connsiteY122" fmla="*/ 6829395 h 6858290"/>
              <a:gd name="connsiteX123" fmla="*/ 570281 w 12139750"/>
              <a:gd name="connsiteY123" fmla="*/ 6793153 h 6858290"/>
              <a:gd name="connsiteX124" fmla="*/ 910138 w 12139750"/>
              <a:gd name="connsiteY124" fmla="*/ 6623389 h 6858290"/>
              <a:gd name="connsiteX125" fmla="*/ 939733 w 12139750"/>
              <a:gd name="connsiteY125" fmla="*/ 6619812 h 6858290"/>
              <a:gd name="connsiteX126" fmla="*/ 4850593 w 12139750"/>
              <a:gd name="connsiteY126" fmla="*/ 6606634 h 6858290"/>
              <a:gd name="connsiteX127" fmla="*/ 4873679 w 12139750"/>
              <a:gd name="connsiteY127" fmla="*/ 6625946 h 6858290"/>
              <a:gd name="connsiteX128" fmla="*/ 4856545 w 12139750"/>
              <a:gd name="connsiteY128" fmla="*/ 6677443 h 6858290"/>
              <a:gd name="connsiteX129" fmla="*/ 4519612 w 12139750"/>
              <a:gd name="connsiteY129" fmla="*/ 6852914 h 6858290"/>
              <a:gd name="connsiteX130" fmla="*/ 4466313 w 12139750"/>
              <a:gd name="connsiteY130" fmla="*/ 6837655 h 6858290"/>
              <a:gd name="connsiteX131" fmla="*/ 4462507 w 12139750"/>
              <a:gd name="connsiteY131" fmla="*/ 6818582 h 6858290"/>
              <a:gd name="connsiteX132" fmla="*/ 4483446 w 12139750"/>
              <a:gd name="connsiteY132" fmla="*/ 6784251 h 6858290"/>
              <a:gd name="connsiteX133" fmla="*/ 4820371 w 12139750"/>
              <a:gd name="connsiteY133" fmla="*/ 6608780 h 6858290"/>
              <a:gd name="connsiteX134" fmla="*/ 4850593 w 12139750"/>
              <a:gd name="connsiteY134" fmla="*/ 6606634 h 6858290"/>
              <a:gd name="connsiteX135" fmla="*/ 1485698 w 12139750"/>
              <a:gd name="connsiteY135" fmla="*/ 6606634 h 6858290"/>
              <a:gd name="connsiteX136" fmla="*/ 1507827 w 12139750"/>
              <a:gd name="connsiteY136" fmla="*/ 6625946 h 6858290"/>
              <a:gd name="connsiteX137" fmla="*/ 1492599 w 12139750"/>
              <a:gd name="connsiteY137" fmla="*/ 6677443 h 6858290"/>
              <a:gd name="connsiteX138" fmla="*/ 1153761 w 12139750"/>
              <a:gd name="connsiteY138" fmla="*/ 6852914 h 6858290"/>
              <a:gd name="connsiteX139" fmla="*/ 1102364 w 12139750"/>
              <a:gd name="connsiteY139" fmla="*/ 6837655 h 6858290"/>
              <a:gd name="connsiteX140" fmla="*/ 1098557 w 12139750"/>
              <a:gd name="connsiteY140" fmla="*/ 6818582 h 6858290"/>
              <a:gd name="connsiteX141" fmla="*/ 1119496 w 12139750"/>
              <a:gd name="connsiteY141" fmla="*/ 6784251 h 6858290"/>
              <a:gd name="connsiteX142" fmla="*/ 1456431 w 12139750"/>
              <a:gd name="connsiteY142" fmla="*/ 6608780 h 6858290"/>
              <a:gd name="connsiteX143" fmla="*/ 1485698 w 12139750"/>
              <a:gd name="connsiteY143" fmla="*/ 6606634 h 6858290"/>
              <a:gd name="connsiteX144" fmla="*/ 4291129 w 12139750"/>
              <a:gd name="connsiteY144" fmla="*/ 6592973 h 6858290"/>
              <a:gd name="connsiteX145" fmla="*/ 4313276 w 12139750"/>
              <a:gd name="connsiteY145" fmla="*/ 6611309 h 6858290"/>
              <a:gd name="connsiteX146" fmla="*/ 4298036 w 12139750"/>
              <a:gd name="connsiteY146" fmla="*/ 6662744 h 6858290"/>
              <a:gd name="connsiteX147" fmla="*/ 3960866 w 12139750"/>
              <a:gd name="connsiteY147" fmla="*/ 6841814 h 6858290"/>
              <a:gd name="connsiteX148" fmla="*/ 3909428 w 12139750"/>
              <a:gd name="connsiteY148" fmla="*/ 6826574 h 6858290"/>
              <a:gd name="connsiteX149" fmla="*/ 3903714 w 12139750"/>
              <a:gd name="connsiteY149" fmla="*/ 6809429 h 6858290"/>
              <a:gd name="connsiteX150" fmla="*/ 3924671 w 12139750"/>
              <a:gd name="connsiteY150" fmla="*/ 6775139 h 6858290"/>
              <a:gd name="connsiteX151" fmla="*/ 4261839 w 12139750"/>
              <a:gd name="connsiteY151" fmla="*/ 6596069 h 6858290"/>
              <a:gd name="connsiteX152" fmla="*/ 4291129 w 12139750"/>
              <a:gd name="connsiteY152" fmla="*/ 6592973 h 6858290"/>
              <a:gd name="connsiteX153" fmla="*/ 2037015 w 12139750"/>
              <a:gd name="connsiteY153" fmla="*/ 6592973 h 6858290"/>
              <a:gd name="connsiteX154" fmla="*/ 2060596 w 12139750"/>
              <a:gd name="connsiteY154" fmla="*/ 6611309 h 6858290"/>
              <a:gd name="connsiteX155" fmla="*/ 2043445 w 12139750"/>
              <a:gd name="connsiteY155" fmla="*/ 6662744 h 6858290"/>
              <a:gd name="connsiteX156" fmla="*/ 1706255 w 12139750"/>
              <a:gd name="connsiteY156" fmla="*/ 6841814 h 6858290"/>
              <a:gd name="connsiteX157" fmla="*/ 1654819 w 12139750"/>
              <a:gd name="connsiteY157" fmla="*/ 6826574 h 6858290"/>
              <a:gd name="connsiteX158" fmla="*/ 1651009 w 12139750"/>
              <a:gd name="connsiteY158" fmla="*/ 6809429 h 6858290"/>
              <a:gd name="connsiteX159" fmla="*/ 1670059 w 12139750"/>
              <a:gd name="connsiteY159" fmla="*/ 6775139 h 6858290"/>
              <a:gd name="connsiteX160" fmla="*/ 2009154 w 12139750"/>
              <a:gd name="connsiteY160" fmla="*/ 6596069 h 6858290"/>
              <a:gd name="connsiteX161" fmla="*/ 2037015 w 12139750"/>
              <a:gd name="connsiteY161" fmla="*/ 6592973 h 6858290"/>
              <a:gd name="connsiteX162" fmla="*/ 3727788 w 12139750"/>
              <a:gd name="connsiteY162" fmla="*/ 6578033 h 6858290"/>
              <a:gd name="connsiteX163" fmla="*/ 3749713 w 12139750"/>
              <a:gd name="connsiteY163" fmla="*/ 6595376 h 6858290"/>
              <a:gd name="connsiteX164" fmla="*/ 3734461 w 12139750"/>
              <a:gd name="connsiteY164" fmla="*/ 6646690 h 6858290"/>
              <a:gd name="connsiteX165" fmla="*/ 3397031 w 12139750"/>
              <a:gd name="connsiteY165" fmla="*/ 6831042 h 6858290"/>
              <a:gd name="connsiteX166" fmla="*/ 3347460 w 12139750"/>
              <a:gd name="connsiteY166" fmla="*/ 6815837 h 6858290"/>
              <a:gd name="connsiteX167" fmla="*/ 3341740 w 12139750"/>
              <a:gd name="connsiteY167" fmla="*/ 6798733 h 6858290"/>
              <a:gd name="connsiteX168" fmla="*/ 3362712 w 12139750"/>
              <a:gd name="connsiteY168" fmla="*/ 6764523 h 6858290"/>
              <a:gd name="connsiteX169" fmla="*/ 3700145 w 12139750"/>
              <a:gd name="connsiteY169" fmla="*/ 6582072 h 6858290"/>
              <a:gd name="connsiteX170" fmla="*/ 3727788 w 12139750"/>
              <a:gd name="connsiteY170" fmla="*/ 6578033 h 6858290"/>
              <a:gd name="connsiteX171" fmla="*/ 2592701 w 12139750"/>
              <a:gd name="connsiteY171" fmla="*/ 6578033 h 6858290"/>
              <a:gd name="connsiteX172" fmla="*/ 2614625 w 12139750"/>
              <a:gd name="connsiteY172" fmla="*/ 6595376 h 6858290"/>
              <a:gd name="connsiteX173" fmla="*/ 2599374 w 12139750"/>
              <a:gd name="connsiteY173" fmla="*/ 6646690 h 6858290"/>
              <a:gd name="connsiteX174" fmla="*/ 2261929 w 12139750"/>
              <a:gd name="connsiteY174" fmla="*/ 6831042 h 6858290"/>
              <a:gd name="connsiteX175" fmla="*/ 2212361 w 12139750"/>
              <a:gd name="connsiteY175" fmla="*/ 6815837 h 6858290"/>
              <a:gd name="connsiteX176" fmla="*/ 2206641 w 12139750"/>
              <a:gd name="connsiteY176" fmla="*/ 6798733 h 6858290"/>
              <a:gd name="connsiteX177" fmla="*/ 2225706 w 12139750"/>
              <a:gd name="connsiteY177" fmla="*/ 6764523 h 6858290"/>
              <a:gd name="connsiteX178" fmla="*/ 2565057 w 12139750"/>
              <a:gd name="connsiteY178" fmla="*/ 6582072 h 6858290"/>
              <a:gd name="connsiteX179" fmla="*/ 2592701 w 12139750"/>
              <a:gd name="connsiteY179" fmla="*/ 6578033 h 6858290"/>
              <a:gd name="connsiteX180" fmla="*/ 3153212 w 12139750"/>
              <a:gd name="connsiteY180" fmla="*/ 6564138 h 6858290"/>
              <a:gd name="connsiteX181" fmla="*/ 3175071 w 12139750"/>
              <a:gd name="connsiteY181" fmla="*/ 6580749 h 6858290"/>
              <a:gd name="connsiteX182" fmla="*/ 3161765 w 12139750"/>
              <a:gd name="connsiteY182" fmla="*/ 6630106 h 6858290"/>
              <a:gd name="connsiteX183" fmla="*/ 2825349 w 12139750"/>
              <a:gd name="connsiteY183" fmla="*/ 6819941 h 6858290"/>
              <a:gd name="connsiteX184" fmla="*/ 2775933 w 12139750"/>
              <a:gd name="connsiteY184" fmla="*/ 6804754 h 6858290"/>
              <a:gd name="connsiteX185" fmla="*/ 2770229 w 12139750"/>
              <a:gd name="connsiteY185" fmla="*/ 6787669 h 6858290"/>
              <a:gd name="connsiteX186" fmla="*/ 2789238 w 12139750"/>
              <a:gd name="connsiteY186" fmla="*/ 6757295 h 6858290"/>
              <a:gd name="connsiteX187" fmla="*/ 3125653 w 12139750"/>
              <a:gd name="connsiteY187" fmla="*/ 6567460 h 6858290"/>
              <a:gd name="connsiteX188" fmla="*/ 3153212 w 12139750"/>
              <a:gd name="connsiteY188" fmla="*/ 6564138 h 6858290"/>
              <a:gd name="connsiteX189" fmla="*/ 9862101 w 12139750"/>
              <a:gd name="connsiteY189" fmla="*/ 6403755 h 6858290"/>
              <a:gd name="connsiteX190" fmla="*/ 9902911 w 12139750"/>
              <a:gd name="connsiteY190" fmla="*/ 6429975 h 6858290"/>
              <a:gd name="connsiteX191" fmla="*/ 9880000 w 12139750"/>
              <a:gd name="connsiteY191" fmla="*/ 6487052 h 6858290"/>
              <a:gd name="connsiteX192" fmla="*/ 9540159 w 12139750"/>
              <a:gd name="connsiteY192" fmla="*/ 6637356 h 6858290"/>
              <a:gd name="connsiteX193" fmla="*/ 9482882 w 12139750"/>
              <a:gd name="connsiteY193" fmla="*/ 6614525 h 6858290"/>
              <a:gd name="connsiteX194" fmla="*/ 9479064 w 12139750"/>
              <a:gd name="connsiteY194" fmla="*/ 6597402 h 6858290"/>
              <a:gd name="connsiteX195" fmla="*/ 9505793 w 12139750"/>
              <a:gd name="connsiteY195" fmla="*/ 6557447 h 6858290"/>
              <a:gd name="connsiteX196" fmla="*/ 9845634 w 12139750"/>
              <a:gd name="connsiteY196" fmla="*/ 6407144 h 6858290"/>
              <a:gd name="connsiteX197" fmla="*/ 9862101 w 12139750"/>
              <a:gd name="connsiteY197" fmla="*/ 6403755 h 6858290"/>
              <a:gd name="connsiteX198" fmla="*/ 10444610 w 12139750"/>
              <a:gd name="connsiteY198" fmla="*/ 6390314 h 6858290"/>
              <a:gd name="connsiteX199" fmla="*/ 10483665 w 12139750"/>
              <a:gd name="connsiteY199" fmla="*/ 6415894 h 6858290"/>
              <a:gd name="connsiteX200" fmla="*/ 10462740 w 12139750"/>
              <a:gd name="connsiteY200" fmla="*/ 6473334 h 6858290"/>
              <a:gd name="connsiteX201" fmla="*/ 10124143 w 12139750"/>
              <a:gd name="connsiteY201" fmla="*/ 6624595 h 6858290"/>
              <a:gd name="connsiteX202" fmla="*/ 10067076 w 12139750"/>
              <a:gd name="connsiteY202" fmla="*/ 6603534 h 6858290"/>
              <a:gd name="connsiteX203" fmla="*/ 10063272 w 12139750"/>
              <a:gd name="connsiteY203" fmla="*/ 6586301 h 6858290"/>
              <a:gd name="connsiteX204" fmla="*/ 10088001 w 12139750"/>
              <a:gd name="connsiteY204" fmla="*/ 6546093 h 6858290"/>
              <a:gd name="connsiteX205" fmla="*/ 10428500 w 12139750"/>
              <a:gd name="connsiteY205" fmla="*/ 6394832 h 6858290"/>
              <a:gd name="connsiteX206" fmla="*/ 10444610 w 12139750"/>
              <a:gd name="connsiteY206" fmla="*/ 6390314 h 6858290"/>
              <a:gd name="connsiteX207" fmla="*/ 9283606 w 12139750"/>
              <a:gd name="connsiteY207" fmla="*/ 6390314 h 6858290"/>
              <a:gd name="connsiteX208" fmla="*/ 9323493 w 12139750"/>
              <a:gd name="connsiteY208" fmla="*/ 6415894 h 6858290"/>
              <a:gd name="connsiteX209" fmla="*/ 9302553 w 12139750"/>
              <a:gd name="connsiteY209" fmla="*/ 6473334 h 6858290"/>
              <a:gd name="connsiteX210" fmla="*/ 8961805 w 12139750"/>
              <a:gd name="connsiteY210" fmla="*/ 6624595 h 6858290"/>
              <a:gd name="connsiteX211" fmla="*/ 8906600 w 12139750"/>
              <a:gd name="connsiteY211" fmla="*/ 6603534 h 6858290"/>
              <a:gd name="connsiteX212" fmla="*/ 8902793 w 12139750"/>
              <a:gd name="connsiteY212" fmla="*/ 6586301 h 6858290"/>
              <a:gd name="connsiteX213" fmla="*/ 8927540 w 12139750"/>
              <a:gd name="connsiteY213" fmla="*/ 6546093 h 6858290"/>
              <a:gd name="connsiteX214" fmla="*/ 9266384 w 12139750"/>
              <a:gd name="connsiteY214" fmla="*/ 6394832 h 6858290"/>
              <a:gd name="connsiteX215" fmla="*/ 9283606 w 12139750"/>
              <a:gd name="connsiteY215" fmla="*/ 6390314 h 6858290"/>
              <a:gd name="connsiteX216" fmla="*/ 11020686 w 12139750"/>
              <a:gd name="connsiteY216" fmla="*/ 6377294 h 6858290"/>
              <a:gd name="connsiteX217" fmla="*/ 11061795 w 12139750"/>
              <a:gd name="connsiteY217" fmla="*/ 6402947 h 6858290"/>
              <a:gd name="connsiteX218" fmla="*/ 11038867 w 12139750"/>
              <a:gd name="connsiteY218" fmla="*/ 6458052 h 6858290"/>
              <a:gd name="connsiteX219" fmla="*/ 10698772 w 12139750"/>
              <a:gd name="connsiteY219" fmla="*/ 6611968 h 6858290"/>
              <a:gd name="connsiteX220" fmla="*/ 10643363 w 12139750"/>
              <a:gd name="connsiteY220" fmla="*/ 6591066 h 6858290"/>
              <a:gd name="connsiteX221" fmla="*/ 10639542 w 12139750"/>
              <a:gd name="connsiteY221" fmla="*/ 6573964 h 6858290"/>
              <a:gd name="connsiteX222" fmla="*/ 10664380 w 12139750"/>
              <a:gd name="connsiteY222" fmla="*/ 6534060 h 6858290"/>
              <a:gd name="connsiteX223" fmla="*/ 11004475 w 12139750"/>
              <a:gd name="connsiteY223" fmla="*/ 6382045 h 6858290"/>
              <a:gd name="connsiteX224" fmla="*/ 11020686 w 12139750"/>
              <a:gd name="connsiteY224" fmla="*/ 6377294 h 6858290"/>
              <a:gd name="connsiteX225" fmla="*/ 8711111 w 12139750"/>
              <a:gd name="connsiteY225" fmla="*/ 6377294 h 6858290"/>
              <a:gd name="connsiteX226" fmla="*/ 8751951 w 12139750"/>
              <a:gd name="connsiteY226" fmla="*/ 6402947 h 6858290"/>
              <a:gd name="connsiteX227" fmla="*/ 8730934 w 12139750"/>
              <a:gd name="connsiteY227" fmla="*/ 6458052 h 6858290"/>
              <a:gd name="connsiteX228" fmla="*/ 8388928 w 12139750"/>
              <a:gd name="connsiteY228" fmla="*/ 6611968 h 6858290"/>
              <a:gd name="connsiteX229" fmla="*/ 8333519 w 12139750"/>
              <a:gd name="connsiteY229" fmla="*/ 6591066 h 6858290"/>
              <a:gd name="connsiteX230" fmla="*/ 8329698 w 12139750"/>
              <a:gd name="connsiteY230" fmla="*/ 6573964 h 6858290"/>
              <a:gd name="connsiteX231" fmla="*/ 8354536 w 12139750"/>
              <a:gd name="connsiteY231" fmla="*/ 6534060 h 6858290"/>
              <a:gd name="connsiteX232" fmla="*/ 8694631 w 12139750"/>
              <a:gd name="connsiteY232" fmla="*/ 6382045 h 6858290"/>
              <a:gd name="connsiteX233" fmla="*/ 8711111 w 12139750"/>
              <a:gd name="connsiteY233" fmla="*/ 6377294 h 6858290"/>
              <a:gd name="connsiteX234" fmla="*/ 8145353 w 12139750"/>
              <a:gd name="connsiteY234" fmla="*/ 6364557 h 6858290"/>
              <a:gd name="connsiteX235" fmla="*/ 8185240 w 12139750"/>
              <a:gd name="connsiteY235" fmla="*/ 6388309 h 6858290"/>
              <a:gd name="connsiteX236" fmla="*/ 8164300 w 12139750"/>
              <a:gd name="connsiteY236" fmla="*/ 6445244 h 6858290"/>
              <a:gd name="connsiteX237" fmla="*/ 7825456 w 12139750"/>
              <a:gd name="connsiteY237" fmla="*/ 6600868 h 6858290"/>
              <a:gd name="connsiteX238" fmla="*/ 7768347 w 12139750"/>
              <a:gd name="connsiteY238" fmla="*/ 6579991 h 6858290"/>
              <a:gd name="connsiteX239" fmla="*/ 7764540 w 12139750"/>
              <a:gd name="connsiteY239" fmla="*/ 6562911 h 6858290"/>
              <a:gd name="connsiteX240" fmla="*/ 7789287 w 12139750"/>
              <a:gd name="connsiteY240" fmla="*/ 6523056 h 6858290"/>
              <a:gd name="connsiteX241" fmla="*/ 8128131 w 12139750"/>
              <a:gd name="connsiteY241" fmla="*/ 6369331 h 6858290"/>
              <a:gd name="connsiteX242" fmla="*/ 8145353 w 12139750"/>
              <a:gd name="connsiteY242" fmla="*/ 6364557 h 6858290"/>
              <a:gd name="connsiteX243" fmla="*/ 11589455 w 12139750"/>
              <a:gd name="connsiteY243" fmla="*/ 6364556 h 6858290"/>
              <a:gd name="connsiteX244" fmla="*/ 11628568 w 12139750"/>
              <a:gd name="connsiteY244" fmla="*/ 6388309 h 6858290"/>
              <a:gd name="connsiteX245" fmla="*/ 11607613 w 12139750"/>
              <a:gd name="connsiteY245" fmla="*/ 6445244 h 6858290"/>
              <a:gd name="connsiteX246" fmla="*/ 11268518 w 12139750"/>
              <a:gd name="connsiteY246" fmla="*/ 6600868 h 6858290"/>
              <a:gd name="connsiteX247" fmla="*/ 11213272 w 12139750"/>
              <a:gd name="connsiteY247" fmla="*/ 6579991 h 6858290"/>
              <a:gd name="connsiteX248" fmla="*/ 11209462 w 12139750"/>
              <a:gd name="connsiteY248" fmla="*/ 6562911 h 6858290"/>
              <a:gd name="connsiteX249" fmla="*/ 11234227 w 12139750"/>
              <a:gd name="connsiteY249" fmla="*/ 6523056 h 6858290"/>
              <a:gd name="connsiteX250" fmla="*/ 11573322 w 12139750"/>
              <a:gd name="connsiteY250" fmla="*/ 6369331 h 6858290"/>
              <a:gd name="connsiteX251" fmla="*/ 11589455 w 12139750"/>
              <a:gd name="connsiteY251" fmla="*/ 6364556 h 6858290"/>
              <a:gd name="connsiteX252" fmla="*/ 12139750 w 12139750"/>
              <a:gd name="connsiteY252" fmla="*/ 6353181 h 6858290"/>
              <a:gd name="connsiteX253" fmla="*/ 12139750 w 12139750"/>
              <a:gd name="connsiteY253" fmla="*/ 6444739 h 6858290"/>
              <a:gd name="connsiteX254" fmla="*/ 11833573 w 12139750"/>
              <a:gd name="connsiteY254" fmla="*/ 6587799 h 6858290"/>
              <a:gd name="connsiteX255" fmla="*/ 11778423 w 12139750"/>
              <a:gd name="connsiteY255" fmla="*/ 6568724 h 6858290"/>
              <a:gd name="connsiteX256" fmla="*/ 11774620 w 12139750"/>
              <a:gd name="connsiteY256" fmla="*/ 6551557 h 6858290"/>
              <a:gd name="connsiteX257" fmla="*/ 11797441 w 12139750"/>
              <a:gd name="connsiteY257" fmla="*/ 6513408 h 6858290"/>
              <a:gd name="connsiteX258" fmla="*/ 12135947 w 12139750"/>
              <a:gd name="connsiteY258" fmla="*/ 6355088 h 6858290"/>
              <a:gd name="connsiteX259" fmla="*/ 12139750 w 12139750"/>
              <a:gd name="connsiteY259" fmla="*/ 6353181 h 6858290"/>
              <a:gd name="connsiteX260" fmla="*/ 7585725 w 12139750"/>
              <a:gd name="connsiteY260" fmla="*/ 6350302 h 6858290"/>
              <a:gd name="connsiteX261" fmla="*/ 7624838 w 12139750"/>
              <a:gd name="connsiteY261" fmla="*/ 6374174 h 6858290"/>
              <a:gd name="connsiteX262" fmla="*/ 7605787 w 12139750"/>
              <a:gd name="connsiteY262" fmla="*/ 6429488 h 6858290"/>
              <a:gd name="connsiteX263" fmla="*/ 7264788 w 12139750"/>
              <a:gd name="connsiteY263" fmla="*/ 6587800 h 6858290"/>
              <a:gd name="connsiteX264" fmla="*/ 7209542 w 12139750"/>
              <a:gd name="connsiteY264" fmla="*/ 6568726 h 6858290"/>
              <a:gd name="connsiteX265" fmla="*/ 7205732 w 12139750"/>
              <a:gd name="connsiteY265" fmla="*/ 6551559 h 6858290"/>
              <a:gd name="connsiteX266" fmla="*/ 7230497 w 12139750"/>
              <a:gd name="connsiteY266" fmla="*/ 6513412 h 6858290"/>
              <a:gd name="connsiteX267" fmla="*/ 7569592 w 12139750"/>
              <a:gd name="connsiteY267" fmla="*/ 6355100 h 6858290"/>
              <a:gd name="connsiteX268" fmla="*/ 7585725 w 12139750"/>
              <a:gd name="connsiteY268" fmla="*/ 6350302 h 6858290"/>
              <a:gd name="connsiteX269" fmla="*/ 7049044 w 12139750"/>
              <a:gd name="connsiteY269" fmla="*/ 6340183 h 6858290"/>
              <a:gd name="connsiteX270" fmla="*/ 7072381 w 12139750"/>
              <a:gd name="connsiteY270" fmla="*/ 6361190 h 6858290"/>
              <a:gd name="connsiteX271" fmla="*/ 7051425 w 12139750"/>
              <a:gd name="connsiteY271" fmla="*/ 6416574 h 6858290"/>
              <a:gd name="connsiteX272" fmla="*/ 6714236 w 12139750"/>
              <a:gd name="connsiteY272" fmla="*/ 6576995 h 6858290"/>
              <a:gd name="connsiteX273" fmla="*/ 6658990 w 12139750"/>
              <a:gd name="connsiteY273" fmla="*/ 6557897 h 6858290"/>
              <a:gd name="connsiteX274" fmla="*/ 6653275 w 12139750"/>
              <a:gd name="connsiteY274" fmla="*/ 6540709 h 6858290"/>
              <a:gd name="connsiteX275" fmla="*/ 6678040 w 12139750"/>
              <a:gd name="connsiteY275" fmla="*/ 6502514 h 6858290"/>
              <a:gd name="connsiteX276" fmla="*/ 7017135 w 12139750"/>
              <a:gd name="connsiteY276" fmla="*/ 6342093 h 6858290"/>
              <a:gd name="connsiteX277" fmla="*/ 7049044 w 12139750"/>
              <a:gd name="connsiteY277" fmla="*/ 6340183 h 6858290"/>
              <a:gd name="connsiteX278" fmla="*/ 6502912 w 12139750"/>
              <a:gd name="connsiteY278" fmla="*/ 6327426 h 6858290"/>
              <a:gd name="connsiteX279" fmla="*/ 6526266 w 12139750"/>
              <a:gd name="connsiteY279" fmla="*/ 6348277 h 6858290"/>
              <a:gd name="connsiteX280" fmla="*/ 6507201 w 12139750"/>
              <a:gd name="connsiteY280" fmla="*/ 6401351 h 6858290"/>
              <a:gd name="connsiteX281" fmla="*/ 6167854 w 12139750"/>
              <a:gd name="connsiteY281" fmla="*/ 6564366 h 6858290"/>
              <a:gd name="connsiteX282" fmla="*/ 6112568 w 12139750"/>
              <a:gd name="connsiteY282" fmla="*/ 6545411 h 6858290"/>
              <a:gd name="connsiteX283" fmla="*/ 6108755 w 12139750"/>
              <a:gd name="connsiteY283" fmla="*/ 6528351 h 6858290"/>
              <a:gd name="connsiteX284" fmla="*/ 6131632 w 12139750"/>
              <a:gd name="connsiteY284" fmla="*/ 6490441 h 6858290"/>
              <a:gd name="connsiteX285" fmla="*/ 6470979 w 12139750"/>
              <a:gd name="connsiteY285" fmla="*/ 6329321 h 6858290"/>
              <a:gd name="connsiteX286" fmla="*/ 6502912 w 12139750"/>
              <a:gd name="connsiteY286" fmla="*/ 6327426 h 6858290"/>
              <a:gd name="connsiteX287" fmla="*/ 5955853 w 12139750"/>
              <a:gd name="connsiteY287" fmla="*/ 6313176 h 6858290"/>
              <a:gd name="connsiteX288" fmla="*/ 5978253 w 12139750"/>
              <a:gd name="connsiteY288" fmla="*/ 6334131 h 6858290"/>
              <a:gd name="connsiteX289" fmla="*/ 5961095 w 12139750"/>
              <a:gd name="connsiteY289" fmla="*/ 6387471 h 6858290"/>
              <a:gd name="connsiteX290" fmla="*/ 5621756 w 12139750"/>
              <a:gd name="connsiteY290" fmla="*/ 6553206 h 6858290"/>
              <a:gd name="connsiteX291" fmla="*/ 5566471 w 12139750"/>
              <a:gd name="connsiteY291" fmla="*/ 6534156 h 6858290"/>
              <a:gd name="connsiteX292" fmla="*/ 5562659 w 12139750"/>
              <a:gd name="connsiteY292" fmla="*/ 6517011 h 6858290"/>
              <a:gd name="connsiteX293" fmla="*/ 5585535 w 12139750"/>
              <a:gd name="connsiteY293" fmla="*/ 6478911 h 6858290"/>
              <a:gd name="connsiteX294" fmla="*/ 5924873 w 12139750"/>
              <a:gd name="connsiteY294" fmla="*/ 6315081 h 6858290"/>
              <a:gd name="connsiteX295" fmla="*/ 5955853 w 12139750"/>
              <a:gd name="connsiteY295" fmla="*/ 6313176 h 6858290"/>
              <a:gd name="connsiteX296" fmla="*/ 396081 w 12139750"/>
              <a:gd name="connsiteY296" fmla="*/ 6313176 h 6858290"/>
              <a:gd name="connsiteX297" fmla="*/ 419127 w 12139750"/>
              <a:gd name="connsiteY297" fmla="*/ 6334131 h 6858290"/>
              <a:gd name="connsiteX298" fmla="*/ 400120 w 12139750"/>
              <a:gd name="connsiteY298" fmla="*/ 6387471 h 6858290"/>
              <a:gd name="connsiteX299" fmla="*/ 63687 w 12139750"/>
              <a:gd name="connsiteY299" fmla="*/ 6553206 h 6858290"/>
              <a:gd name="connsiteX300" fmla="*/ 8565 w 12139750"/>
              <a:gd name="connsiteY300" fmla="*/ 6534156 h 6858290"/>
              <a:gd name="connsiteX301" fmla="*/ 4764 w 12139750"/>
              <a:gd name="connsiteY301" fmla="*/ 6517011 h 6858290"/>
              <a:gd name="connsiteX302" fmla="*/ 27573 w 12139750"/>
              <a:gd name="connsiteY302" fmla="*/ 6478911 h 6858290"/>
              <a:gd name="connsiteX303" fmla="*/ 365906 w 12139750"/>
              <a:gd name="connsiteY303" fmla="*/ 6315081 h 6858290"/>
              <a:gd name="connsiteX304" fmla="*/ 396081 w 12139750"/>
              <a:gd name="connsiteY304" fmla="*/ 6313176 h 6858290"/>
              <a:gd name="connsiteX305" fmla="*/ 5405334 w 12139750"/>
              <a:gd name="connsiteY305" fmla="*/ 6300229 h 6858290"/>
              <a:gd name="connsiteX306" fmla="*/ 5429330 w 12139750"/>
              <a:gd name="connsiteY306" fmla="*/ 6319493 h 6858290"/>
              <a:gd name="connsiteX307" fmla="*/ 5410323 w 12139750"/>
              <a:gd name="connsiteY307" fmla="*/ 6372768 h 6858290"/>
              <a:gd name="connsiteX308" fmla="*/ 5071987 w 12139750"/>
              <a:gd name="connsiteY308" fmla="*/ 6540203 h 6858290"/>
              <a:gd name="connsiteX309" fmla="*/ 5018773 w 12139750"/>
              <a:gd name="connsiteY309" fmla="*/ 6523079 h 6858290"/>
              <a:gd name="connsiteX310" fmla="*/ 5014972 w 12139750"/>
              <a:gd name="connsiteY310" fmla="*/ 6505955 h 6858290"/>
              <a:gd name="connsiteX311" fmla="*/ 5037779 w 12139750"/>
              <a:gd name="connsiteY311" fmla="*/ 6469804 h 6858290"/>
              <a:gd name="connsiteX312" fmla="*/ 5374210 w 12139750"/>
              <a:gd name="connsiteY312" fmla="*/ 6302369 h 6858290"/>
              <a:gd name="connsiteX313" fmla="*/ 5405334 w 12139750"/>
              <a:gd name="connsiteY313" fmla="*/ 6300229 h 6858290"/>
              <a:gd name="connsiteX314" fmla="*/ 940474 w 12139750"/>
              <a:gd name="connsiteY314" fmla="*/ 6300229 h 6858290"/>
              <a:gd name="connsiteX315" fmla="*/ 963607 w 12139750"/>
              <a:gd name="connsiteY315" fmla="*/ 6319493 h 6858290"/>
              <a:gd name="connsiteX316" fmla="*/ 944528 w 12139750"/>
              <a:gd name="connsiteY316" fmla="*/ 6372768 h 6858290"/>
              <a:gd name="connsiteX317" fmla="*/ 606835 w 12139750"/>
              <a:gd name="connsiteY317" fmla="*/ 6540203 h 6858290"/>
              <a:gd name="connsiteX318" fmla="*/ 551507 w 12139750"/>
              <a:gd name="connsiteY318" fmla="*/ 6523079 h 6858290"/>
              <a:gd name="connsiteX319" fmla="*/ 547691 w 12139750"/>
              <a:gd name="connsiteY319" fmla="*/ 6505955 h 6858290"/>
              <a:gd name="connsiteX320" fmla="*/ 570586 w 12139750"/>
              <a:gd name="connsiteY320" fmla="*/ 6469804 h 6858290"/>
              <a:gd name="connsiteX321" fmla="*/ 910187 w 12139750"/>
              <a:gd name="connsiteY321" fmla="*/ 6302369 h 6858290"/>
              <a:gd name="connsiteX322" fmla="*/ 940474 w 12139750"/>
              <a:gd name="connsiteY322" fmla="*/ 6300229 h 6858290"/>
              <a:gd name="connsiteX323" fmla="*/ 4851393 w 12139750"/>
              <a:gd name="connsiteY323" fmla="*/ 6285987 h 6858290"/>
              <a:gd name="connsiteX324" fmla="*/ 4875244 w 12139750"/>
              <a:gd name="connsiteY324" fmla="*/ 6305369 h 6858290"/>
              <a:gd name="connsiteX325" fmla="*/ 4856165 w 12139750"/>
              <a:gd name="connsiteY325" fmla="*/ 6358971 h 6858290"/>
              <a:gd name="connsiteX326" fmla="*/ 4518477 w 12139750"/>
              <a:gd name="connsiteY326" fmla="*/ 6529347 h 6858290"/>
              <a:gd name="connsiteX327" fmla="*/ 4465055 w 12139750"/>
              <a:gd name="connsiteY327" fmla="*/ 6512118 h 6858290"/>
              <a:gd name="connsiteX328" fmla="*/ 4459331 w 12139750"/>
              <a:gd name="connsiteY328" fmla="*/ 6494889 h 6858290"/>
              <a:gd name="connsiteX329" fmla="*/ 4482227 w 12139750"/>
              <a:gd name="connsiteY329" fmla="*/ 6458517 h 6858290"/>
              <a:gd name="connsiteX330" fmla="*/ 4821819 w 12139750"/>
              <a:gd name="connsiteY330" fmla="*/ 6288140 h 6858290"/>
              <a:gd name="connsiteX331" fmla="*/ 4851393 w 12139750"/>
              <a:gd name="connsiteY331" fmla="*/ 6285987 h 6858290"/>
              <a:gd name="connsiteX332" fmla="*/ 1486674 w 12139750"/>
              <a:gd name="connsiteY332" fmla="*/ 6285987 h 6858290"/>
              <a:gd name="connsiteX333" fmla="*/ 1509738 w 12139750"/>
              <a:gd name="connsiteY333" fmla="*/ 6305369 h 6858290"/>
              <a:gd name="connsiteX334" fmla="*/ 1492618 w 12139750"/>
              <a:gd name="connsiteY334" fmla="*/ 6358971 h 6858290"/>
              <a:gd name="connsiteX335" fmla="*/ 1154033 w 12139750"/>
              <a:gd name="connsiteY335" fmla="*/ 6529347 h 6858290"/>
              <a:gd name="connsiteX336" fmla="*/ 1100773 w 12139750"/>
              <a:gd name="connsiteY336" fmla="*/ 6512118 h 6858290"/>
              <a:gd name="connsiteX337" fmla="*/ 1096968 w 12139750"/>
              <a:gd name="connsiteY337" fmla="*/ 6494889 h 6858290"/>
              <a:gd name="connsiteX338" fmla="*/ 1117892 w 12139750"/>
              <a:gd name="connsiteY338" fmla="*/ 6458517 h 6858290"/>
              <a:gd name="connsiteX339" fmla="*/ 1456477 w 12139750"/>
              <a:gd name="connsiteY339" fmla="*/ 6288140 h 6858290"/>
              <a:gd name="connsiteX340" fmla="*/ 1486674 w 12139750"/>
              <a:gd name="connsiteY340" fmla="*/ 6285987 h 6858290"/>
              <a:gd name="connsiteX341" fmla="*/ 4292528 w 12139750"/>
              <a:gd name="connsiteY341" fmla="*/ 6273233 h 6858290"/>
              <a:gd name="connsiteX342" fmla="*/ 4314878 w 12139750"/>
              <a:gd name="connsiteY342" fmla="*/ 6292474 h 6858290"/>
              <a:gd name="connsiteX343" fmla="*/ 4297758 w 12139750"/>
              <a:gd name="connsiteY343" fmla="*/ 6345684 h 6858290"/>
              <a:gd name="connsiteX344" fmla="*/ 3961097 w 12139750"/>
              <a:gd name="connsiteY344" fmla="*/ 6516717 h 6858290"/>
              <a:gd name="connsiteX345" fmla="*/ 3907836 w 12139750"/>
              <a:gd name="connsiteY345" fmla="*/ 6499614 h 6858290"/>
              <a:gd name="connsiteX346" fmla="*/ 3902129 w 12139750"/>
              <a:gd name="connsiteY346" fmla="*/ 6482510 h 6858290"/>
              <a:gd name="connsiteX347" fmla="*/ 3924955 w 12139750"/>
              <a:gd name="connsiteY347" fmla="*/ 6446403 h 6858290"/>
              <a:gd name="connsiteX348" fmla="*/ 4261616 w 12139750"/>
              <a:gd name="connsiteY348" fmla="*/ 6275371 h 6858290"/>
              <a:gd name="connsiteX349" fmla="*/ 4292528 w 12139750"/>
              <a:gd name="connsiteY349" fmla="*/ 6273233 h 6858290"/>
              <a:gd name="connsiteX350" fmla="*/ 2038415 w 12139750"/>
              <a:gd name="connsiteY350" fmla="*/ 6273233 h 6858290"/>
              <a:gd name="connsiteX351" fmla="*/ 2062197 w 12139750"/>
              <a:gd name="connsiteY351" fmla="*/ 6292474 h 6858290"/>
              <a:gd name="connsiteX352" fmla="*/ 2045072 w 12139750"/>
              <a:gd name="connsiteY352" fmla="*/ 6345684 h 6858290"/>
              <a:gd name="connsiteX353" fmla="*/ 1706487 w 12139750"/>
              <a:gd name="connsiteY353" fmla="*/ 6516717 h 6858290"/>
              <a:gd name="connsiteX354" fmla="*/ 1653226 w 12139750"/>
              <a:gd name="connsiteY354" fmla="*/ 6499614 h 6858290"/>
              <a:gd name="connsiteX355" fmla="*/ 1649422 w 12139750"/>
              <a:gd name="connsiteY355" fmla="*/ 6482510 h 6858290"/>
              <a:gd name="connsiteX356" fmla="*/ 1670346 w 12139750"/>
              <a:gd name="connsiteY356" fmla="*/ 6446403 h 6858290"/>
              <a:gd name="connsiteX357" fmla="*/ 2008931 w 12139750"/>
              <a:gd name="connsiteY357" fmla="*/ 6275371 h 6858290"/>
              <a:gd name="connsiteX358" fmla="*/ 2038415 w 12139750"/>
              <a:gd name="connsiteY358" fmla="*/ 6273233 h 6858290"/>
              <a:gd name="connsiteX359" fmla="*/ 3729185 w 12139750"/>
              <a:gd name="connsiteY359" fmla="*/ 6260524 h 6858290"/>
              <a:gd name="connsiteX360" fmla="*/ 3751317 w 12139750"/>
              <a:gd name="connsiteY360" fmla="*/ 6279742 h 6858290"/>
              <a:gd name="connsiteX361" fmla="*/ 3736088 w 12139750"/>
              <a:gd name="connsiteY361" fmla="*/ 6330991 h 6858290"/>
              <a:gd name="connsiteX362" fmla="*/ 3397263 w 12139750"/>
              <a:gd name="connsiteY362" fmla="*/ 6505616 h 6858290"/>
              <a:gd name="connsiteX363" fmla="*/ 3345863 w 12139750"/>
              <a:gd name="connsiteY363" fmla="*/ 6488533 h 6858290"/>
              <a:gd name="connsiteX364" fmla="*/ 3340155 w 12139750"/>
              <a:gd name="connsiteY364" fmla="*/ 6469552 h 6858290"/>
              <a:gd name="connsiteX365" fmla="*/ 3361092 w 12139750"/>
              <a:gd name="connsiteY365" fmla="*/ 6435386 h 6858290"/>
              <a:gd name="connsiteX366" fmla="*/ 3699918 w 12139750"/>
              <a:gd name="connsiteY366" fmla="*/ 6262659 h 6858290"/>
              <a:gd name="connsiteX367" fmla="*/ 3729185 w 12139750"/>
              <a:gd name="connsiteY367" fmla="*/ 6260524 h 6858290"/>
              <a:gd name="connsiteX368" fmla="*/ 2595567 w 12139750"/>
              <a:gd name="connsiteY368" fmla="*/ 6260524 h 6858290"/>
              <a:gd name="connsiteX369" fmla="*/ 2617780 w 12139750"/>
              <a:gd name="connsiteY369" fmla="*/ 6279742 h 6858290"/>
              <a:gd name="connsiteX370" fmla="*/ 2600583 w 12139750"/>
              <a:gd name="connsiteY370" fmla="*/ 6330991 h 6858290"/>
              <a:gd name="connsiteX371" fmla="*/ 2262377 w 12139750"/>
              <a:gd name="connsiteY371" fmla="*/ 6505616 h 6858290"/>
              <a:gd name="connsiteX372" fmla="*/ 2210786 w 12139750"/>
              <a:gd name="connsiteY372" fmla="*/ 6488533 h 6858290"/>
              <a:gd name="connsiteX373" fmla="*/ 2205054 w 12139750"/>
              <a:gd name="connsiteY373" fmla="*/ 6469552 h 6858290"/>
              <a:gd name="connsiteX374" fmla="*/ 2226072 w 12139750"/>
              <a:gd name="connsiteY374" fmla="*/ 6435386 h 6858290"/>
              <a:gd name="connsiteX375" fmla="*/ 2566189 w 12139750"/>
              <a:gd name="connsiteY375" fmla="*/ 6262659 h 6858290"/>
              <a:gd name="connsiteX376" fmla="*/ 2595567 w 12139750"/>
              <a:gd name="connsiteY376" fmla="*/ 6260524 h 6858290"/>
              <a:gd name="connsiteX377" fmla="*/ 3155660 w 12139750"/>
              <a:gd name="connsiteY377" fmla="*/ 6245326 h 6858290"/>
              <a:gd name="connsiteX378" fmla="*/ 3177873 w 12139750"/>
              <a:gd name="connsiteY378" fmla="*/ 6263706 h 6858290"/>
              <a:gd name="connsiteX379" fmla="*/ 3162585 w 12139750"/>
              <a:gd name="connsiteY379" fmla="*/ 6317174 h 6858290"/>
              <a:gd name="connsiteX380" fmla="*/ 2822466 w 12139750"/>
              <a:gd name="connsiteY380" fmla="*/ 6492858 h 6858290"/>
              <a:gd name="connsiteX381" fmla="*/ 2770875 w 12139750"/>
              <a:gd name="connsiteY381" fmla="*/ 6477581 h 6858290"/>
              <a:gd name="connsiteX382" fmla="*/ 2767054 w 12139750"/>
              <a:gd name="connsiteY382" fmla="*/ 6458485 h 6858290"/>
              <a:gd name="connsiteX383" fmla="*/ 2788073 w 12139750"/>
              <a:gd name="connsiteY383" fmla="*/ 6426022 h 6858290"/>
              <a:gd name="connsiteX384" fmla="*/ 3126282 w 12139750"/>
              <a:gd name="connsiteY384" fmla="*/ 6248429 h 6858290"/>
              <a:gd name="connsiteX385" fmla="*/ 3155660 w 12139750"/>
              <a:gd name="connsiteY385" fmla="*/ 6245326 h 6858290"/>
              <a:gd name="connsiteX386" fmla="*/ 9874931 w 12139750"/>
              <a:gd name="connsiteY386" fmla="*/ 6079814 h 6858290"/>
              <a:gd name="connsiteX387" fmla="*/ 9898198 w 12139750"/>
              <a:gd name="connsiteY387" fmla="*/ 6100769 h 6858290"/>
              <a:gd name="connsiteX388" fmla="*/ 9879205 w 12139750"/>
              <a:gd name="connsiteY388" fmla="*/ 6154109 h 6858290"/>
              <a:gd name="connsiteX389" fmla="*/ 9541119 w 12139750"/>
              <a:gd name="connsiteY389" fmla="*/ 6319844 h 6858290"/>
              <a:gd name="connsiteX390" fmla="*/ 9487937 w 12139750"/>
              <a:gd name="connsiteY390" fmla="*/ 6300794 h 6858290"/>
              <a:gd name="connsiteX391" fmla="*/ 9482239 w 12139750"/>
              <a:gd name="connsiteY391" fmla="*/ 6281744 h 6858290"/>
              <a:gd name="connsiteX392" fmla="*/ 9506931 w 12139750"/>
              <a:gd name="connsiteY392" fmla="*/ 6245549 h 6858290"/>
              <a:gd name="connsiteX393" fmla="*/ 9843117 w 12139750"/>
              <a:gd name="connsiteY393" fmla="*/ 6081719 h 6858290"/>
              <a:gd name="connsiteX394" fmla="*/ 9874931 w 12139750"/>
              <a:gd name="connsiteY394" fmla="*/ 6079814 h 6858290"/>
              <a:gd name="connsiteX395" fmla="*/ 10459016 w 12139750"/>
              <a:gd name="connsiteY395" fmla="*/ 6066240 h 6858290"/>
              <a:gd name="connsiteX396" fmla="*/ 10482370 w 12139750"/>
              <a:gd name="connsiteY396" fmla="*/ 6086481 h 6858290"/>
              <a:gd name="connsiteX397" fmla="*/ 10463305 w 12139750"/>
              <a:gd name="connsiteY397" fmla="*/ 6141726 h 6858290"/>
              <a:gd name="connsiteX398" fmla="*/ 10123959 w 12139750"/>
              <a:gd name="connsiteY398" fmla="*/ 6305556 h 6858290"/>
              <a:gd name="connsiteX399" fmla="*/ 10068672 w 12139750"/>
              <a:gd name="connsiteY399" fmla="*/ 6286506 h 6858290"/>
              <a:gd name="connsiteX400" fmla="*/ 10064859 w 12139750"/>
              <a:gd name="connsiteY400" fmla="*/ 6269361 h 6858290"/>
              <a:gd name="connsiteX401" fmla="*/ 10087736 w 12139750"/>
              <a:gd name="connsiteY401" fmla="*/ 6231261 h 6858290"/>
              <a:gd name="connsiteX402" fmla="*/ 10427083 w 12139750"/>
              <a:gd name="connsiteY402" fmla="*/ 6067431 h 6858290"/>
              <a:gd name="connsiteX403" fmla="*/ 10459016 w 12139750"/>
              <a:gd name="connsiteY403" fmla="*/ 6066240 h 6858290"/>
              <a:gd name="connsiteX404" fmla="*/ 9297823 w 12139750"/>
              <a:gd name="connsiteY404" fmla="*/ 6066240 h 6858290"/>
              <a:gd name="connsiteX405" fmla="*/ 9321892 w 12139750"/>
              <a:gd name="connsiteY405" fmla="*/ 6086481 h 6858290"/>
              <a:gd name="connsiteX406" fmla="*/ 9302827 w 12139750"/>
              <a:gd name="connsiteY406" fmla="*/ 6141726 h 6858290"/>
              <a:gd name="connsiteX407" fmla="*/ 8963481 w 12139750"/>
              <a:gd name="connsiteY407" fmla="*/ 6305556 h 6858290"/>
              <a:gd name="connsiteX408" fmla="*/ 8908194 w 12139750"/>
              <a:gd name="connsiteY408" fmla="*/ 6286506 h 6858290"/>
              <a:gd name="connsiteX409" fmla="*/ 8904381 w 12139750"/>
              <a:gd name="connsiteY409" fmla="*/ 6269361 h 6858290"/>
              <a:gd name="connsiteX410" fmla="*/ 8927258 w 12139750"/>
              <a:gd name="connsiteY410" fmla="*/ 6231261 h 6858290"/>
              <a:gd name="connsiteX411" fmla="*/ 9266605 w 12139750"/>
              <a:gd name="connsiteY411" fmla="*/ 6067431 h 6858290"/>
              <a:gd name="connsiteX412" fmla="*/ 9297823 w 12139750"/>
              <a:gd name="connsiteY412" fmla="*/ 6066240 h 6858290"/>
              <a:gd name="connsiteX413" fmla="*/ 11018858 w 12139750"/>
              <a:gd name="connsiteY413" fmla="*/ 6051844 h 6858290"/>
              <a:gd name="connsiteX414" fmla="*/ 11057081 w 12139750"/>
              <a:gd name="connsiteY414" fmla="*/ 6075686 h 6858290"/>
              <a:gd name="connsiteX415" fmla="*/ 11038074 w 12139750"/>
              <a:gd name="connsiteY415" fmla="*/ 6129026 h 6858290"/>
              <a:gd name="connsiteX416" fmla="*/ 10699740 w 12139750"/>
              <a:gd name="connsiteY416" fmla="*/ 6292856 h 6858290"/>
              <a:gd name="connsiteX417" fmla="*/ 10646519 w 12139750"/>
              <a:gd name="connsiteY417" fmla="*/ 6273806 h 6858290"/>
              <a:gd name="connsiteX418" fmla="*/ 10642717 w 12139750"/>
              <a:gd name="connsiteY418" fmla="*/ 6256661 h 6858290"/>
              <a:gd name="connsiteX419" fmla="*/ 10665526 w 12139750"/>
              <a:gd name="connsiteY419" fmla="*/ 6220466 h 6858290"/>
              <a:gd name="connsiteX420" fmla="*/ 11003860 w 12139750"/>
              <a:gd name="connsiteY420" fmla="*/ 6056636 h 6858290"/>
              <a:gd name="connsiteX421" fmla="*/ 11018858 w 12139750"/>
              <a:gd name="connsiteY421" fmla="*/ 6051844 h 6858290"/>
              <a:gd name="connsiteX422" fmla="*/ 8710944 w 12139750"/>
              <a:gd name="connsiteY422" fmla="*/ 6051843 h 6858290"/>
              <a:gd name="connsiteX423" fmla="*/ 8748477 w 12139750"/>
              <a:gd name="connsiteY423" fmla="*/ 6075686 h 6858290"/>
              <a:gd name="connsiteX424" fmla="*/ 8731319 w 12139750"/>
              <a:gd name="connsiteY424" fmla="*/ 6129026 h 6858290"/>
              <a:gd name="connsiteX425" fmla="*/ 8391973 w 12139750"/>
              <a:gd name="connsiteY425" fmla="*/ 6292856 h 6858290"/>
              <a:gd name="connsiteX426" fmla="*/ 8336686 w 12139750"/>
              <a:gd name="connsiteY426" fmla="*/ 6273806 h 6858290"/>
              <a:gd name="connsiteX427" fmla="*/ 8332873 w 12139750"/>
              <a:gd name="connsiteY427" fmla="*/ 6256661 h 6858290"/>
              <a:gd name="connsiteX428" fmla="*/ 8355750 w 12139750"/>
              <a:gd name="connsiteY428" fmla="*/ 6220466 h 6858290"/>
              <a:gd name="connsiteX429" fmla="*/ 8695097 w 12139750"/>
              <a:gd name="connsiteY429" fmla="*/ 6056636 h 6858290"/>
              <a:gd name="connsiteX430" fmla="*/ 8710944 w 12139750"/>
              <a:gd name="connsiteY430" fmla="*/ 6051843 h 6858290"/>
              <a:gd name="connsiteX431" fmla="*/ 11603954 w 12139750"/>
              <a:gd name="connsiteY431" fmla="*/ 6041714 h 6858290"/>
              <a:gd name="connsiteX432" fmla="*/ 11627001 w 12139750"/>
              <a:gd name="connsiteY432" fmla="*/ 6062669 h 6858290"/>
              <a:gd name="connsiteX433" fmla="*/ 11607994 w 12139750"/>
              <a:gd name="connsiteY433" fmla="*/ 6117914 h 6858290"/>
              <a:gd name="connsiteX434" fmla="*/ 11271560 w 12139750"/>
              <a:gd name="connsiteY434" fmla="*/ 6281744 h 6858290"/>
              <a:gd name="connsiteX435" fmla="*/ 11216439 w 12139750"/>
              <a:gd name="connsiteY435" fmla="*/ 6262694 h 6858290"/>
              <a:gd name="connsiteX436" fmla="*/ 11212637 w 12139750"/>
              <a:gd name="connsiteY436" fmla="*/ 6243644 h 6858290"/>
              <a:gd name="connsiteX437" fmla="*/ 11235446 w 12139750"/>
              <a:gd name="connsiteY437" fmla="*/ 6207449 h 6858290"/>
              <a:gd name="connsiteX438" fmla="*/ 11573780 w 12139750"/>
              <a:gd name="connsiteY438" fmla="*/ 6043619 h 6858290"/>
              <a:gd name="connsiteX439" fmla="*/ 11603954 w 12139750"/>
              <a:gd name="connsiteY439" fmla="*/ 6041714 h 6858290"/>
              <a:gd name="connsiteX440" fmla="*/ 8160285 w 12139750"/>
              <a:gd name="connsiteY440" fmla="*/ 6041714 h 6858290"/>
              <a:gd name="connsiteX441" fmla="*/ 8183639 w 12139750"/>
              <a:gd name="connsiteY441" fmla="*/ 6062669 h 6858290"/>
              <a:gd name="connsiteX442" fmla="*/ 8164574 w 12139750"/>
              <a:gd name="connsiteY442" fmla="*/ 6117914 h 6858290"/>
              <a:gd name="connsiteX443" fmla="*/ 7825227 w 12139750"/>
              <a:gd name="connsiteY443" fmla="*/ 6281744 h 6858290"/>
              <a:gd name="connsiteX444" fmla="*/ 7769941 w 12139750"/>
              <a:gd name="connsiteY444" fmla="*/ 6262694 h 6858290"/>
              <a:gd name="connsiteX445" fmla="*/ 7766128 w 12139750"/>
              <a:gd name="connsiteY445" fmla="*/ 6243644 h 6858290"/>
              <a:gd name="connsiteX446" fmla="*/ 7789005 w 12139750"/>
              <a:gd name="connsiteY446" fmla="*/ 6207449 h 6858290"/>
              <a:gd name="connsiteX447" fmla="*/ 8128352 w 12139750"/>
              <a:gd name="connsiteY447" fmla="*/ 6043619 h 6858290"/>
              <a:gd name="connsiteX448" fmla="*/ 8160285 w 12139750"/>
              <a:gd name="connsiteY448" fmla="*/ 6041714 h 6858290"/>
              <a:gd name="connsiteX449" fmla="*/ 12135947 w 12139750"/>
              <a:gd name="connsiteY449" fmla="*/ 6029331 h 6858290"/>
              <a:gd name="connsiteX450" fmla="*/ 12139750 w 12139750"/>
              <a:gd name="connsiteY450" fmla="*/ 6029331 h 6858290"/>
              <a:gd name="connsiteX451" fmla="*/ 12139750 w 12139750"/>
              <a:gd name="connsiteY451" fmla="*/ 6118866 h 6858290"/>
              <a:gd name="connsiteX452" fmla="*/ 11833573 w 12139750"/>
              <a:gd name="connsiteY452" fmla="*/ 6267456 h 6858290"/>
              <a:gd name="connsiteX453" fmla="*/ 11780325 w 12139750"/>
              <a:gd name="connsiteY453" fmla="*/ 6248406 h 6858290"/>
              <a:gd name="connsiteX454" fmla="*/ 11774620 w 12139750"/>
              <a:gd name="connsiteY454" fmla="*/ 6231261 h 6858290"/>
              <a:gd name="connsiteX455" fmla="*/ 11797441 w 12139750"/>
              <a:gd name="connsiteY455" fmla="*/ 6195066 h 6858290"/>
              <a:gd name="connsiteX456" fmla="*/ 7599809 w 12139750"/>
              <a:gd name="connsiteY456" fmla="*/ 6028140 h 6858290"/>
              <a:gd name="connsiteX457" fmla="*/ 7622924 w 12139750"/>
              <a:gd name="connsiteY457" fmla="*/ 6048381 h 6858290"/>
              <a:gd name="connsiteX458" fmla="*/ 7603860 w 12139750"/>
              <a:gd name="connsiteY458" fmla="*/ 6103626 h 6858290"/>
              <a:gd name="connsiteX459" fmla="*/ 7266419 w 12139750"/>
              <a:gd name="connsiteY459" fmla="*/ 6267456 h 6858290"/>
              <a:gd name="connsiteX460" fmla="*/ 7211133 w 12139750"/>
              <a:gd name="connsiteY460" fmla="*/ 6248406 h 6858290"/>
              <a:gd name="connsiteX461" fmla="*/ 7207320 w 12139750"/>
              <a:gd name="connsiteY461" fmla="*/ 6231261 h 6858290"/>
              <a:gd name="connsiteX462" fmla="*/ 7230197 w 12139750"/>
              <a:gd name="connsiteY462" fmla="*/ 6195066 h 6858290"/>
              <a:gd name="connsiteX463" fmla="*/ 7569544 w 12139750"/>
              <a:gd name="connsiteY463" fmla="*/ 6029331 h 6858290"/>
              <a:gd name="connsiteX464" fmla="*/ 7599809 w 12139750"/>
              <a:gd name="connsiteY464" fmla="*/ 6028140 h 6858290"/>
              <a:gd name="connsiteX465" fmla="*/ 7047351 w 12139750"/>
              <a:gd name="connsiteY465" fmla="*/ 6016314 h 6858290"/>
              <a:gd name="connsiteX466" fmla="*/ 7070466 w 12139750"/>
              <a:gd name="connsiteY466" fmla="*/ 6037269 h 6858290"/>
              <a:gd name="connsiteX467" fmla="*/ 7051402 w 12139750"/>
              <a:gd name="connsiteY467" fmla="*/ 6090609 h 6858290"/>
              <a:gd name="connsiteX468" fmla="*/ 6713961 w 12139750"/>
              <a:gd name="connsiteY468" fmla="*/ 6254439 h 6858290"/>
              <a:gd name="connsiteX469" fmla="*/ 6658675 w 12139750"/>
              <a:gd name="connsiteY469" fmla="*/ 6235389 h 6858290"/>
              <a:gd name="connsiteX470" fmla="*/ 6654862 w 12139750"/>
              <a:gd name="connsiteY470" fmla="*/ 6218244 h 6858290"/>
              <a:gd name="connsiteX471" fmla="*/ 6677739 w 12139750"/>
              <a:gd name="connsiteY471" fmla="*/ 6182049 h 6858290"/>
              <a:gd name="connsiteX472" fmla="*/ 7017086 w 12139750"/>
              <a:gd name="connsiteY472" fmla="*/ 6018219 h 6858290"/>
              <a:gd name="connsiteX473" fmla="*/ 7047351 w 12139750"/>
              <a:gd name="connsiteY473" fmla="*/ 6016314 h 6858290"/>
              <a:gd name="connsiteX474" fmla="*/ 6502912 w 12139750"/>
              <a:gd name="connsiteY474" fmla="*/ 6003613 h 6858290"/>
              <a:gd name="connsiteX475" fmla="*/ 6526266 w 12139750"/>
              <a:gd name="connsiteY475" fmla="*/ 6024568 h 6858290"/>
              <a:gd name="connsiteX476" fmla="*/ 6507201 w 12139750"/>
              <a:gd name="connsiteY476" fmla="*/ 6079813 h 6858290"/>
              <a:gd name="connsiteX477" fmla="*/ 6167854 w 12139750"/>
              <a:gd name="connsiteY477" fmla="*/ 6243643 h 6858290"/>
              <a:gd name="connsiteX478" fmla="*/ 6112568 w 12139750"/>
              <a:gd name="connsiteY478" fmla="*/ 6224593 h 6858290"/>
              <a:gd name="connsiteX479" fmla="*/ 6108755 w 12139750"/>
              <a:gd name="connsiteY479" fmla="*/ 6207448 h 6858290"/>
              <a:gd name="connsiteX480" fmla="*/ 6131632 w 12139750"/>
              <a:gd name="connsiteY480" fmla="*/ 6169348 h 6858290"/>
              <a:gd name="connsiteX481" fmla="*/ 6470979 w 12139750"/>
              <a:gd name="connsiteY481" fmla="*/ 6005518 h 6858290"/>
              <a:gd name="connsiteX482" fmla="*/ 6502912 w 12139750"/>
              <a:gd name="connsiteY482" fmla="*/ 6003613 h 6858290"/>
              <a:gd name="connsiteX483" fmla="*/ 5940750 w 12139750"/>
              <a:gd name="connsiteY483" fmla="*/ 5988314 h 6858290"/>
              <a:gd name="connsiteX484" fmla="*/ 5980159 w 12139750"/>
              <a:gd name="connsiteY484" fmla="*/ 6010281 h 6858290"/>
              <a:gd name="connsiteX485" fmla="*/ 5961095 w 12139750"/>
              <a:gd name="connsiteY485" fmla="*/ 6065526 h 6858290"/>
              <a:gd name="connsiteX486" fmla="*/ 5621756 w 12139750"/>
              <a:gd name="connsiteY486" fmla="*/ 6229356 h 6858290"/>
              <a:gd name="connsiteX487" fmla="*/ 5566471 w 12139750"/>
              <a:gd name="connsiteY487" fmla="*/ 6210306 h 6858290"/>
              <a:gd name="connsiteX488" fmla="*/ 5562659 w 12139750"/>
              <a:gd name="connsiteY488" fmla="*/ 6193161 h 6858290"/>
              <a:gd name="connsiteX489" fmla="*/ 5585535 w 12139750"/>
              <a:gd name="connsiteY489" fmla="*/ 6156966 h 6858290"/>
              <a:gd name="connsiteX490" fmla="*/ 5924873 w 12139750"/>
              <a:gd name="connsiteY490" fmla="*/ 5993136 h 6858290"/>
              <a:gd name="connsiteX491" fmla="*/ 5940750 w 12139750"/>
              <a:gd name="connsiteY491" fmla="*/ 5988314 h 6858290"/>
              <a:gd name="connsiteX492" fmla="*/ 380904 w 12139750"/>
              <a:gd name="connsiteY492" fmla="*/ 5988314 h 6858290"/>
              <a:gd name="connsiteX493" fmla="*/ 419127 w 12139750"/>
              <a:gd name="connsiteY493" fmla="*/ 6010281 h 6858290"/>
              <a:gd name="connsiteX494" fmla="*/ 400119 w 12139750"/>
              <a:gd name="connsiteY494" fmla="*/ 6065526 h 6858290"/>
              <a:gd name="connsiteX495" fmla="*/ 63687 w 12139750"/>
              <a:gd name="connsiteY495" fmla="*/ 6229356 h 6858290"/>
              <a:gd name="connsiteX496" fmla="*/ 8565 w 12139750"/>
              <a:gd name="connsiteY496" fmla="*/ 6210306 h 6858290"/>
              <a:gd name="connsiteX497" fmla="*/ 4764 w 12139750"/>
              <a:gd name="connsiteY497" fmla="*/ 6193161 h 6858290"/>
              <a:gd name="connsiteX498" fmla="*/ 27573 w 12139750"/>
              <a:gd name="connsiteY498" fmla="*/ 6156966 h 6858290"/>
              <a:gd name="connsiteX499" fmla="*/ 365906 w 12139750"/>
              <a:gd name="connsiteY499" fmla="*/ 5993136 h 6858290"/>
              <a:gd name="connsiteX500" fmla="*/ 380904 w 12139750"/>
              <a:gd name="connsiteY500" fmla="*/ 5988314 h 6858290"/>
              <a:gd name="connsiteX501" fmla="*/ 5406285 w 12139750"/>
              <a:gd name="connsiteY501" fmla="*/ 5978213 h 6858290"/>
              <a:gd name="connsiteX502" fmla="*/ 5429330 w 12139750"/>
              <a:gd name="connsiteY502" fmla="*/ 5999168 h 6858290"/>
              <a:gd name="connsiteX503" fmla="*/ 5410323 w 12139750"/>
              <a:gd name="connsiteY503" fmla="*/ 6052508 h 6858290"/>
              <a:gd name="connsiteX504" fmla="*/ 5071987 w 12139750"/>
              <a:gd name="connsiteY504" fmla="*/ 6218243 h 6858290"/>
              <a:gd name="connsiteX505" fmla="*/ 5018773 w 12139750"/>
              <a:gd name="connsiteY505" fmla="*/ 6199193 h 6858290"/>
              <a:gd name="connsiteX506" fmla="*/ 5014972 w 12139750"/>
              <a:gd name="connsiteY506" fmla="*/ 6180143 h 6858290"/>
              <a:gd name="connsiteX507" fmla="*/ 5037779 w 12139750"/>
              <a:gd name="connsiteY507" fmla="*/ 6143948 h 6858290"/>
              <a:gd name="connsiteX508" fmla="*/ 5376110 w 12139750"/>
              <a:gd name="connsiteY508" fmla="*/ 5980118 h 6858290"/>
              <a:gd name="connsiteX509" fmla="*/ 5406285 w 12139750"/>
              <a:gd name="connsiteY509" fmla="*/ 5978213 h 6858290"/>
              <a:gd name="connsiteX510" fmla="*/ 940179 w 12139750"/>
              <a:gd name="connsiteY510" fmla="*/ 5978213 h 6858290"/>
              <a:gd name="connsiteX511" fmla="*/ 963295 w 12139750"/>
              <a:gd name="connsiteY511" fmla="*/ 5999168 h 6858290"/>
              <a:gd name="connsiteX512" fmla="*/ 944230 w 12139750"/>
              <a:gd name="connsiteY512" fmla="*/ 6052508 h 6858290"/>
              <a:gd name="connsiteX513" fmla="*/ 606791 w 12139750"/>
              <a:gd name="connsiteY513" fmla="*/ 6218243 h 6858290"/>
              <a:gd name="connsiteX514" fmla="*/ 551504 w 12139750"/>
              <a:gd name="connsiteY514" fmla="*/ 6199193 h 6858290"/>
              <a:gd name="connsiteX515" fmla="*/ 547691 w 12139750"/>
              <a:gd name="connsiteY515" fmla="*/ 6180143 h 6858290"/>
              <a:gd name="connsiteX516" fmla="*/ 570568 w 12139750"/>
              <a:gd name="connsiteY516" fmla="*/ 6143948 h 6858290"/>
              <a:gd name="connsiteX517" fmla="*/ 909915 w 12139750"/>
              <a:gd name="connsiteY517" fmla="*/ 5980118 h 6858290"/>
              <a:gd name="connsiteX518" fmla="*/ 940179 w 12139750"/>
              <a:gd name="connsiteY518" fmla="*/ 5978213 h 6858290"/>
              <a:gd name="connsiteX519" fmla="*/ 4852107 w 12139750"/>
              <a:gd name="connsiteY519" fmla="*/ 5966227 h 6858290"/>
              <a:gd name="connsiteX520" fmla="*/ 4875244 w 12139750"/>
              <a:gd name="connsiteY520" fmla="*/ 5986468 h 6858290"/>
              <a:gd name="connsiteX521" fmla="*/ 4856165 w 12139750"/>
              <a:gd name="connsiteY521" fmla="*/ 6041713 h 6858290"/>
              <a:gd name="connsiteX522" fmla="*/ 4516568 w 12139750"/>
              <a:gd name="connsiteY522" fmla="*/ 6205543 h 6858290"/>
              <a:gd name="connsiteX523" fmla="*/ 4463148 w 12139750"/>
              <a:gd name="connsiteY523" fmla="*/ 6186493 h 6858290"/>
              <a:gd name="connsiteX524" fmla="*/ 4459331 w 12139750"/>
              <a:gd name="connsiteY524" fmla="*/ 6169348 h 6858290"/>
              <a:gd name="connsiteX525" fmla="*/ 4482227 w 12139750"/>
              <a:gd name="connsiteY525" fmla="*/ 6131248 h 6858290"/>
              <a:gd name="connsiteX526" fmla="*/ 4821819 w 12139750"/>
              <a:gd name="connsiteY526" fmla="*/ 5967418 h 6858290"/>
              <a:gd name="connsiteX527" fmla="*/ 4852107 w 12139750"/>
              <a:gd name="connsiteY527" fmla="*/ 5966227 h 6858290"/>
              <a:gd name="connsiteX528" fmla="*/ 1487950 w 12139750"/>
              <a:gd name="connsiteY528" fmla="*/ 5966227 h 6858290"/>
              <a:gd name="connsiteX529" fmla="*/ 1511303 w 12139750"/>
              <a:gd name="connsiteY529" fmla="*/ 5986468 h 6858290"/>
              <a:gd name="connsiteX530" fmla="*/ 1492239 w 12139750"/>
              <a:gd name="connsiteY530" fmla="*/ 6041713 h 6858290"/>
              <a:gd name="connsiteX531" fmla="*/ 1152893 w 12139750"/>
              <a:gd name="connsiteY531" fmla="*/ 6205543 h 6858290"/>
              <a:gd name="connsiteX532" fmla="*/ 1097606 w 12139750"/>
              <a:gd name="connsiteY532" fmla="*/ 6186493 h 6858290"/>
              <a:gd name="connsiteX533" fmla="*/ 1093793 w 12139750"/>
              <a:gd name="connsiteY533" fmla="*/ 6169348 h 6858290"/>
              <a:gd name="connsiteX534" fmla="*/ 1116671 w 12139750"/>
              <a:gd name="connsiteY534" fmla="*/ 6131248 h 6858290"/>
              <a:gd name="connsiteX535" fmla="*/ 1456017 w 12139750"/>
              <a:gd name="connsiteY535" fmla="*/ 5967418 h 6858290"/>
              <a:gd name="connsiteX536" fmla="*/ 1487950 w 12139750"/>
              <a:gd name="connsiteY536" fmla="*/ 5966227 h 6858290"/>
              <a:gd name="connsiteX537" fmla="*/ 4293424 w 12139750"/>
              <a:gd name="connsiteY537" fmla="*/ 5952822 h 6858290"/>
              <a:gd name="connsiteX538" fmla="*/ 4316472 w 12139750"/>
              <a:gd name="connsiteY538" fmla="*/ 5973803 h 6858290"/>
              <a:gd name="connsiteX539" fmla="*/ 4297464 w 12139750"/>
              <a:gd name="connsiteY539" fmla="*/ 6027210 h 6858290"/>
              <a:gd name="connsiteX540" fmla="*/ 3959151 w 12139750"/>
              <a:gd name="connsiteY540" fmla="*/ 6191244 h 6858290"/>
              <a:gd name="connsiteX541" fmla="*/ 3905929 w 12139750"/>
              <a:gd name="connsiteY541" fmla="*/ 6172170 h 6858290"/>
              <a:gd name="connsiteX542" fmla="*/ 3902129 w 12139750"/>
              <a:gd name="connsiteY542" fmla="*/ 6155004 h 6858290"/>
              <a:gd name="connsiteX543" fmla="*/ 3924936 w 12139750"/>
              <a:gd name="connsiteY543" fmla="*/ 6118764 h 6858290"/>
              <a:gd name="connsiteX544" fmla="*/ 4263250 w 12139750"/>
              <a:gd name="connsiteY544" fmla="*/ 5954730 h 6858290"/>
              <a:gd name="connsiteX545" fmla="*/ 4293424 w 12139750"/>
              <a:gd name="connsiteY545" fmla="*/ 5952822 h 6858290"/>
              <a:gd name="connsiteX546" fmla="*/ 2039813 w 12139750"/>
              <a:gd name="connsiteY546" fmla="*/ 5952822 h 6858290"/>
              <a:gd name="connsiteX547" fmla="*/ 2063798 w 12139750"/>
              <a:gd name="connsiteY547" fmla="*/ 5973803 h 6858290"/>
              <a:gd name="connsiteX548" fmla="*/ 2044799 w 12139750"/>
              <a:gd name="connsiteY548" fmla="*/ 6027210 h 6858290"/>
              <a:gd name="connsiteX549" fmla="*/ 1706714 w 12139750"/>
              <a:gd name="connsiteY549" fmla="*/ 6191244 h 6858290"/>
              <a:gd name="connsiteX550" fmla="*/ 1651633 w 12139750"/>
              <a:gd name="connsiteY550" fmla="*/ 6172170 h 6858290"/>
              <a:gd name="connsiteX551" fmla="*/ 1647834 w 12139750"/>
              <a:gd name="connsiteY551" fmla="*/ 6155004 h 6858290"/>
              <a:gd name="connsiteX552" fmla="*/ 1670626 w 12139750"/>
              <a:gd name="connsiteY552" fmla="*/ 6118764 h 6858290"/>
              <a:gd name="connsiteX553" fmla="*/ 2008712 w 12139750"/>
              <a:gd name="connsiteY553" fmla="*/ 5954730 h 6858290"/>
              <a:gd name="connsiteX554" fmla="*/ 2039813 w 12139750"/>
              <a:gd name="connsiteY554" fmla="*/ 5952822 h 6858290"/>
              <a:gd name="connsiteX555" fmla="*/ 3730406 w 12139750"/>
              <a:gd name="connsiteY555" fmla="*/ 5940113 h 6858290"/>
              <a:gd name="connsiteX556" fmla="*/ 3754477 w 12139750"/>
              <a:gd name="connsiteY556" fmla="*/ 5961068 h 6858290"/>
              <a:gd name="connsiteX557" fmla="*/ 3735413 w 12139750"/>
              <a:gd name="connsiteY557" fmla="*/ 6016313 h 6858290"/>
              <a:gd name="connsiteX558" fmla="*/ 3396079 w 12139750"/>
              <a:gd name="connsiteY558" fmla="*/ 6180143 h 6858290"/>
              <a:gd name="connsiteX559" fmla="*/ 3340792 w 12139750"/>
              <a:gd name="connsiteY559" fmla="*/ 6161093 h 6858290"/>
              <a:gd name="connsiteX560" fmla="*/ 3336978 w 12139750"/>
              <a:gd name="connsiteY560" fmla="*/ 6142043 h 6858290"/>
              <a:gd name="connsiteX561" fmla="*/ 3359858 w 12139750"/>
              <a:gd name="connsiteY561" fmla="*/ 6105848 h 6858290"/>
              <a:gd name="connsiteX562" fmla="*/ 3699190 w 12139750"/>
              <a:gd name="connsiteY562" fmla="*/ 5942018 h 6858290"/>
              <a:gd name="connsiteX563" fmla="*/ 3730406 w 12139750"/>
              <a:gd name="connsiteY563" fmla="*/ 5940113 h 6858290"/>
              <a:gd name="connsiteX564" fmla="*/ 2596908 w 12139750"/>
              <a:gd name="connsiteY564" fmla="*/ 5940113 h 6858290"/>
              <a:gd name="connsiteX565" fmla="*/ 2620975 w 12139750"/>
              <a:gd name="connsiteY565" fmla="*/ 5961068 h 6858290"/>
              <a:gd name="connsiteX566" fmla="*/ 2601911 w 12139750"/>
              <a:gd name="connsiteY566" fmla="*/ 6016313 h 6858290"/>
              <a:gd name="connsiteX567" fmla="*/ 2262565 w 12139750"/>
              <a:gd name="connsiteY567" fmla="*/ 6180143 h 6858290"/>
              <a:gd name="connsiteX568" fmla="*/ 2207278 w 12139750"/>
              <a:gd name="connsiteY568" fmla="*/ 6161093 h 6858290"/>
              <a:gd name="connsiteX569" fmla="*/ 2203466 w 12139750"/>
              <a:gd name="connsiteY569" fmla="*/ 6142043 h 6858290"/>
              <a:gd name="connsiteX570" fmla="*/ 2226343 w 12139750"/>
              <a:gd name="connsiteY570" fmla="*/ 6105848 h 6858290"/>
              <a:gd name="connsiteX571" fmla="*/ 2565688 w 12139750"/>
              <a:gd name="connsiteY571" fmla="*/ 5942018 h 6858290"/>
              <a:gd name="connsiteX572" fmla="*/ 2596908 w 12139750"/>
              <a:gd name="connsiteY572" fmla="*/ 5940113 h 6858290"/>
              <a:gd name="connsiteX573" fmla="*/ 3158037 w 12139750"/>
              <a:gd name="connsiteY573" fmla="*/ 5928127 h 6858290"/>
              <a:gd name="connsiteX574" fmla="*/ 3181391 w 12139750"/>
              <a:gd name="connsiteY574" fmla="*/ 5948368 h 6858290"/>
              <a:gd name="connsiteX575" fmla="*/ 3162327 w 12139750"/>
              <a:gd name="connsiteY575" fmla="*/ 6003613 h 6858290"/>
              <a:gd name="connsiteX576" fmla="*/ 2822979 w 12139750"/>
              <a:gd name="connsiteY576" fmla="*/ 6167443 h 6858290"/>
              <a:gd name="connsiteX577" fmla="*/ 2769600 w 12139750"/>
              <a:gd name="connsiteY577" fmla="*/ 6148393 h 6858290"/>
              <a:gd name="connsiteX578" fmla="*/ 2763879 w 12139750"/>
              <a:gd name="connsiteY578" fmla="*/ 6131248 h 6858290"/>
              <a:gd name="connsiteX579" fmla="*/ 2788663 w 12139750"/>
              <a:gd name="connsiteY579" fmla="*/ 6093148 h 6858290"/>
              <a:gd name="connsiteX580" fmla="*/ 3126104 w 12139750"/>
              <a:gd name="connsiteY580" fmla="*/ 5929318 h 6858290"/>
              <a:gd name="connsiteX581" fmla="*/ 3158037 w 12139750"/>
              <a:gd name="connsiteY581" fmla="*/ 5928127 h 6858290"/>
              <a:gd name="connsiteX582" fmla="*/ 9872849 w 12139750"/>
              <a:gd name="connsiteY582" fmla="*/ 5750963 h 6858290"/>
              <a:gd name="connsiteX583" fmla="*/ 9894995 w 12139750"/>
              <a:gd name="connsiteY583" fmla="*/ 5770251 h 6858290"/>
              <a:gd name="connsiteX584" fmla="*/ 9879755 w 12139750"/>
              <a:gd name="connsiteY584" fmla="*/ 5821686 h 6858290"/>
              <a:gd name="connsiteX585" fmla="*/ 9542565 w 12139750"/>
              <a:gd name="connsiteY585" fmla="*/ 6000756 h 6858290"/>
              <a:gd name="connsiteX586" fmla="*/ 9489224 w 12139750"/>
              <a:gd name="connsiteY586" fmla="*/ 5983611 h 6858290"/>
              <a:gd name="connsiteX587" fmla="*/ 9485414 w 12139750"/>
              <a:gd name="connsiteY587" fmla="*/ 5966466 h 6858290"/>
              <a:gd name="connsiteX588" fmla="*/ 9506369 w 12139750"/>
              <a:gd name="connsiteY588" fmla="*/ 5932176 h 6858290"/>
              <a:gd name="connsiteX589" fmla="*/ 9843559 w 12139750"/>
              <a:gd name="connsiteY589" fmla="*/ 5753106 h 6858290"/>
              <a:gd name="connsiteX590" fmla="*/ 9872849 w 12139750"/>
              <a:gd name="connsiteY590" fmla="*/ 5750963 h 6858290"/>
              <a:gd name="connsiteX591" fmla="*/ 10455469 w 12139750"/>
              <a:gd name="connsiteY591" fmla="*/ 5739858 h 6858290"/>
              <a:gd name="connsiteX592" fmla="*/ 10477615 w 12139750"/>
              <a:gd name="connsiteY592" fmla="*/ 5759170 h 6858290"/>
              <a:gd name="connsiteX593" fmla="*/ 10462375 w 12139750"/>
              <a:gd name="connsiteY593" fmla="*/ 5810667 h 6858290"/>
              <a:gd name="connsiteX594" fmla="*/ 10123280 w 12139750"/>
              <a:gd name="connsiteY594" fmla="*/ 5988044 h 6858290"/>
              <a:gd name="connsiteX595" fmla="*/ 10071844 w 12139750"/>
              <a:gd name="connsiteY595" fmla="*/ 5970879 h 6858290"/>
              <a:gd name="connsiteX596" fmla="*/ 10068034 w 12139750"/>
              <a:gd name="connsiteY596" fmla="*/ 5953713 h 6858290"/>
              <a:gd name="connsiteX597" fmla="*/ 10088989 w 12139750"/>
              <a:gd name="connsiteY597" fmla="*/ 5919382 h 6858290"/>
              <a:gd name="connsiteX598" fmla="*/ 10426179 w 12139750"/>
              <a:gd name="connsiteY598" fmla="*/ 5742004 h 6858290"/>
              <a:gd name="connsiteX599" fmla="*/ 10455469 w 12139750"/>
              <a:gd name="connsiteY599" fmla="*/ 5739858 h 6858290"/>
              <a:gd name="connsiteX600" fmla="*/ 9295014 w 12139750"/>
              <a:gd name="connsiteY600" fmla="*/ 5739858 h 6858290"/>
              <a:gd name="connsiteX601" fmla="*/ 9317143 w 12139750"/>
              <a:gd name="connsiteY601" fmla="*/ 5759170 h 6858290"/>
              <a:gd name="connsiteX602" fmla="*/ 9300011 w 12139750"/>
              <a:gd name="connsiteY602" fmla="*/ 5810667 h 6858290"/>
              <a:gd name="connsiteX603" fmla="*/ 8963076 w 12139750"/>
              <a:gd name="connsiteY603" fmla="*/ 5988044 h 6858290"/>
              <a:gd name="connsiteX604" fmla="*/ 8911679 w 12139750"/>
              <a:gd name="connsiteY604" fmla="*/ 5970879 h 6858290"/>
              <a:gd name="connsiteX605" fmla="*/ 8905968 w 12139750"/>
              <a:gd name="connsiteY605" fmla="*/ 5953713 h 6858290"/>
              <a:gd name="connsiteX606" fmla="*/ 8926907 w 12139750"/>
              <a:gd name="connsiteY606" fmla="*/ 5919382 h 6858290"/>
              <a:gd name="connsiteX607" fmla="*/ 9265746 w 12139750"/>
              <a:gd name="connsiteY607" fmla="*/ 5742004 h 6858290"/>
              <a:gd name="connsiteX608" fmla="*/ 9295014 w 12139750"/>
              <a:gd name="connsiteY608" fmla="*/ 5739858 h 6858290"/>
              <a:gd name="connsiteX609" fmla="*/ 11032399 w 12139750"/>
              <a:gd name="connsiteY609" fmla="*/ 5727762 h 6858290"/>
              <a:gd name="connsiteX610" fmla="*/ 11055480 w 12139750"/>
              <a:gd name="connsiteY610" fmla="*/ 5746031 h 6858290"/>
              <a:gd name="connsiteX611" fmla="*/ 11038348 w 12139750"/>
              <a:gd name="connsiteY611" fmla="*/ 5799178 h 6858290"/>
              <a:gd name="connsiteX612" fmla="*/ 10701413 w 12139750"/>
              <a:gd name="connsiteY612" fmla="*/ 5973803 h 6858290"/>
              <a:gd name="connsiteX613" fmla="*/ 10648112 w 12139750"/>
              <a:gd name="connsiteY613" fmla="*/ 5956720 h 6858290"/>
              <a:gd name="connsiteX614" fmla="*/ 10644305 w 12139750"/>
              <a:gd name="connsiteY614" fmla="*/ 5937739 h 6858290"/>
              <a:gd name="connsiteX615" fmla="*/ 10665244 w 12139750"/>
              <a:gd name="connsiteY615" fmla="*/ 5903573 h 6858290"/>
              <a:gd name="connsiteX616" fmla="*/ 11002180 w 12139750"/>
              <a:gd name="connsiteY616" fmla="*/ 5730846 h 6858290"/>
              <a:gd name="connsiteX617" fmla="*/ 11032399 w 12139750"/>
              <a:gd name="connsiteY617" fmla="*/ 5727762 h 6858290"/>
              <a:gd name="connsiteX618" fmla="*/ 8723506 w 12139750"/>
              <a:gd name="connsiteY618" fmla="*/ 5727762 h 6858290"/>
              <a:gd name="connsiteX619" fmla="*/ 8745635 w 12139750"/>
              <a:gd name="connsiteY619" fmla="*/ 5746031 h 6858290"/>
              <a:gd name="connsiteX620" fmla="*/ 8728503 w 12139750"/>
              <a:gd name="connsiteY620" fmla="*/ 5799178 h 6858290"/>
              <a:gd name="connsiteX621" fmla="*/ 8391568 w 12139750"/>
              <a:gd name="connsiteY621" fmla="*/ 5973803 h 6858290"/>
              <a:gd name="connsiteX622" fmla="*/ 8338267 w 12139750"/>
              <a:gd name="connsiteY622" fmla="*/ 5956720 h 6858290"/>
              <a:gd name="connsiteX623" fmla="*/ 8334460 w 12139750"/>
              <a:gd name="connsiteY623" fmla="*/ 5937739 h 6858290"/>
              <a:gd name="connsiteX624" fmla="*/ 8355399 w 12139750"/>
              <a:gd name="connsiteY624" fmla="*/ 5903573 h 6858290"/>
              <a:gd name="connsiteX625" fmla="*/ 8694238 w 12139750"/>
              <a:gd name="connsiteY625" fmla="*/ 5730846 h 6858290"/>
              <a:gd name="connsiteX626" fmla="*/ 8723506 w 12139750"/>
              <a:gd name="connsiteY626" fmla="*/ 5727762 h 6858290"/>
              <a:gd name="connsiteX627" fmla="*/ 11603271 w 12139750"/>
              <a:gd name="connsiteY627" fmla="*/ 5714468 h 6858290"/>
              <a:gd name="connsiteX628" fmla="*/ 11625400 w 12139750"/>
              <a:gd name="connsiteY628" fmla="*/ 5733802 h 6858290"/>
              <a:gd name="connsiteX629" fmla="*/ 11608268 w 12139750"/>
              <a:gd name="connsiteY629" fmla="*/ 5787271 h 6858290"/>
              <a:gd name="connsiteX630" fmla="*/ 11271333 w 12139750"/>
              <a:gd name="connsiteY630" fmla="*/ 5961045 h 6858290"/>
              <a:gd name="connsiteX631" fmla="*/ 11218032 w 12139750"/>
              <a:gd name="connsiteY631" fmla="*/ 5941949 h 6858290"/>
              <a:gd name="connsiteX632" fmla="*/ 11214225 w 12139750"/>
              <a:gd name="connsiteY632" fmla="*/ 5924762 h 6858290"/>
              <a:gd name="connsiteX633" fmla="*/ 11235164 w 12139750"/>
              <a:gd name="connsiteY633" fmla="*/ 5890389 h 6858290"/>
              <a:gd name="connsiteX634" fmla="*/ 11574003 w 12139750"/>
              <a:gd name="connsiteY634" fmla="*/ 5716616 h 6858290"/>
              <a:gd name="connsiteX635" fmla="*/ 11603271 w 12139750"/>
              <a:gd name="connsiteY635" fmla="*/ 5714468 h 6858290"/>
              <a:gd name="connsiteX636" fmla="*/ 8158886 w 12139750"/>
              <a:gd name="connsiteY636" fmla="*/ 5714468 h 6858290"/>
              <a:gd name="connsiteX637" fmla="*/ 8182036 w 12139750"/>
              <a:gd name="connsiteY637" fmla="*/ 5733802 h 6858290"/>
              <a:gd name="connsiteX638" fmla="*/ 8164852 w 12139750"/>
              <a:gd name="connsiteY638" fmla="*/ 5787271 h 6858290"/>
              <a:gd name="connsiteX639" fmla="*/ 7824994 w 12139750"/>
              <a:gd name="connsiteY639" fmla="*/ 5961045 h 6858290"/>
              <a:gd name="connsiteX640" fmla="*/ 7771533 w 12139750"/>
              <a:gd name="connsiteY640" fmla="*/ 5941949 h 6858290"/>
              <a:gd name="connsiteX641" fmla="*/ 7767715 w 12139750"/>
              <a:gd name="connsiteY641" fmla="*/ 5924762 h 6858290"/>
              <a:gd name="connsiteX642" fmla="*/ 7788717 w 12139750"/>
              <a:gd name="connsiteY642" fmla="*/ 5890389 h 6858290"/>
              <a:gd name="connsiteX643" fmla="*/ 8128575 w 12139750"/>
              <a:gd name="connsiteY643" fmla="*/ 5716616 h 6858290"/>
              <a:gd name="connsiteX644" fmla="*/ 8158886 w 12139750"/>
              <a:gd name="connsiteY644" fmla="*/ 5714468 h 6858290"/>
              <a:gd name="connsiteX645" fmla="*/ 12139750 w 12139750"/>
              <a:gd name="connsiteY645" fmla="*/ 5703893 h 6858290"/>
              <a:gd name="connsiteX646" fmla="*/ 12139750 w 12139750"/>
              <a:gd name="connsiteY646" fmla="*/ 5793652 h 6858290"/>
              <a:gd name="connsiteX647" fmla="*/ 11833309 w 12139750"/>
              <a:gd name="connsiteY647" fmla="*/ 5948344 h 6858290"/>
              <a:gd name="connsiteX648" fmla="*/ 11780015 w 12139750"/>
              <a:gd name="connsiteY648" fmla="*/ 5929246 h 6858290"/>
              <a:gd name="connsiteX649" fmla="*/ 11776208 w 12139750"/>
              <a:gd name="connsiteY649" fmla="*/ 5912058 h 6858290"/>
              <a:gd name="connsiteX650" fmla="*/ 11799048 w 12139750"/>
              <a:gd name="connsiteY650" fmla="*/ 5875772 h 6858290"/>
              <a:gd name="connsiteX651" fmla="*/ 12135943 w 12139750"/>
              <a:gd name="connsiteY651" fmla="*/ 5705803 h 6858290"/>
              <a:gd name="connsiteX652" fmla="*/ 12139750 w 12139750"/>
              <a:gd name="connsiteY652" fmla="*/ 5703893 h 6858290"/>
              <a:gd name="connsiteX653" fmla="*/ 7600201 w 12139750"/>
              <a:gd name="connsiteY653" fmla="*/ 5703365 h 6858290"/>
              <a:gd name="connsiteX654" fmla="*/ 7623265 w 12139750"/>
              <a:gd name="connsiteY654" fmla="*/ 5722723 h 6858290"/>
              <a:gd name="connsiteX655" fmla="*/ 7604243 w 12139750"/>
              <a:gd name="connsiteY655" fmla="*/ 5776258 h 6858290"/>
              <a:gd name="connsiteX656" fmla="*/ 7267560 w 12139750"/>
              <a:gd name="connsiteY656" fmla="*/ 5948334 h 6858290"/>
              <a:gd name="connsiteX657" fmla="*/ 7214299 w 12139750"/>
              <a:gd name="connsiteY657" fmla="*/ 5929214 h 6858290"/>
              <a:gd name="connsiteX658" fmla="*/ 7210495 w 12139750"/>
              <a:gd name="connsiteY658" fmla="*/ 5912007 h 6858290"/>
              <a:gd name="connsiteX659" fmla="*/ 7231419 w 12139750"/>
              <a:gd name="connsiteY659" fmla="*/ 5875680 h 6858290"/>
              <a:gd name="connsiteX660" fmla="*/ 7570004 w 12139750"/>
              <a:gd name="connsiteY660" fmla="*/ 5705516 h 6858290"/>
              <a:gd name="connsiteX661" fmla="*/ 7600201 w 12139750"/>
              <a:gd name="connsiteY661" fmla="*/ 5703365 h 6858290"/>
              <a:gd name="connsiteX662" fmla="*/ 7047645 w 12139750"/>
              <a:gd name="connsiteY662" fmla="*/ 5692216 h 6858290"/>
              <a:gd name="connsiteX663" fmla="*/ 7070778 w 12139750"/>
              <a:gd name="connsiteY663" fmla="*/ 5711480 h 6858290"/>
              <a:gd name="connsiteX664" fmla="*/ 7051700 w 12139750"/>
              <a:gd name="connsiteY664" fmla="*/ 5766658 h 6858290"/>
              <a:gd name="connsiteX665" fmla="*/ 6714006 w 12139750"/>
              <a:gd name="connsiteY665" fmla="*/ 5934092 h 6858290"/>
              <a:gd name="connsiteX666" fmla="*/ 6658677 w 12139750"/>
              <a:gd name="connsiteY666" fmla="*/ 5915066 h 6858290"/>
              <a:gd name="connsiteX667" fmla="*/ 6654862 w 12139750"/>
              <a:gd name="connsiteY667" fmla="*/ 5897942 h 6858290"/>
              <a:gd name="connsiteX668" fmla="*/ 6677756 w 12139750"/>
              <a:gd name="connsiteY668" fmla="*/ 5861791 h 6858290"/>
              <a:gd name="connsiteX669" fmla="*/ 7017358 w 12139750"/>
              <a:gd name="connsiteY669" fmla="*/ 5694356 h 6858290"/>
              <a:gd name="connsiteX670" fmla="*/ 7047645 w 12139750"/>
              <a:gd name="connsiteY670" fmla="*/ 5692216 h 6858290"/>
              <a:gd name="connsiteX671" fmla="*/ 6486856 w 12139750"/>
              <a:gd name="connsiteY671" fmla="*/ 5678743 h 6858290"/>
              <a:gd name="connsiteX672" fmla="*/ 6526266 w 12139750"/>
              <a:gd name="connsiteY672" fmla="*/ 5700683 h 6858290"/>
              <a:gd name="connsiteX673" fmla="*/ 6507201 w 12139750"/>
              <a:gd name="connsiteY673" fmla="*/ 5755860 h 6858290"/>
              <a:gd name="connsiteX674" fmla="*/ 6167854 w 12139750"/>
              <a:gd name="connsiteY674" fmla="*/ 5921392 h 6858290"/>
              <a:gd name="connsiteX675" fmla="*/ 6114474 w 12139750"/>
              <a:gd name="connsiteY675" fmla="*/ 5902366 h 6858290"/>
              <a:gd name="connsiteX676" fmla="*/ 6108755 w 12139750"/>
              <a:gd name="connsiteY676" fmla="*/ 5883339 h 6858290"/>
              <a:gd name="connsiteX677" fmla="*/ 6131632 w 12139750"/>
              <a:gd name="connsiteY677" fmla="*/ 5847188 h 6858290"/>
              <a:gd name="connsiteX678" fmla="*/ 6470979 w 12139750"/>
              <a:gd name="connsiteY678" fmla="*/ 5683559 h 6858290"/>
              <a:gd name="connsiteX679" fmla="*/ 6486856 w 12139750"/>
              <a:gd name="connsiteY679" fmla="*/ 5678743 h 6858290"/>
              <a:gd name="connsiteX680" fmla="*/ 5956806 w 12139750"/>
              <a:gd name="connsiteY680" fmla="*/ 5667777 h 6858290"/>
              <a:gd name="connsiteX681" fmla="*/ 5980159 w 12139750"/>
              <a:gd name="connsiteY681" fmla="*/ 5688018 h 6858290"/>
              <a:gd name="connsiteX682" fmla="*/ 5961095 w 12139750"/>
              <a:gd name="connsiteY682" fmla="*/ 5743263 h 6858290"/>
              <a:gd name="connsiteX683" fmla="*/ 5621756 w 12139750"/>
              <a:gd name="connsiteY683" fmla="*/ 5907093 h 6858290"/>
              <a:gd name="connsiteX684" fmla="*/ 5566471 w 12139750"/>
              <a:gd name="connsiteY684" fmla="*/ 5888043 h 6858290"/>
              <a:gd name="connsiteX685" fmla="*/ 5562659 w 12139750"/>
              <a:gd name="connsiteY685" fmla="*/ 5868993 h 6858290"/>
              <a:gd name="connsiteX686" fmla="*/ 5585535 w 12139750"/>
              <a:gd name="connsiteY686" fmla="*/ 5832798 h 6858290"/>
              <a:gd name="connsiteX687" fmla="*/ 5924873 w 12139750"/>
              <a:gd name="connsiteY687" fmla="*/ 5668968 h 6858290"/>
              <a:gd name="connsiteX688" fmla="*/ 5956806 w 12139750"/>
              <a:gd name="connsiteY688" fmla="*/ 5667777 h 6858290"/>
              <a:gd name="connsiteX689" fmla="*/ 397251 w 12139750"/>
              <a:gd name="connsiteY689" fmla="*/ 5667777 h 6858290"/>
              <a:gd name="connsiteX690" fmla="*/ 420367 w 12139750"/>
              <a:gd name="connsiteY690" fmla="*/ 5688018 h 6858290"/>
              <a:gd name="connsiteX691" fmla="*/ 401303 w 12139750"/>
              <a:gd name="connsiteY691" fmla="*/ 5743263 h 6858290"/>
              <a:gd name="connsiteX692" fmla="*/ 63863 w 12139750"/>
              <a:gd name="connsiteY692" fmla="*/ 5907093 h 6858290"/>
              <a:gd name="connsiteX693" fmla="*/ 8576 w 12139750"/>
              <a:gd name="connsiteY693" fmla="*/ 5888043 h 6858290"/>
              <a:gd name="connsiteX694" fmla="*/ 4764 w 12139750"/>
              <a:gd name="connsiteY694" fmla="*/ 5868993 h 6858290"/>
              <a:gd name="connsiteX695" fmla="*/ 27641 w 12139750"/>
              <a:gd name="connsiteY695" fmla="*/ 5832798 h 6858290"/>
              <a:gd name="connsiteX696" fmla="*/ 366987 w 12139750"/>
              <a:gd name="connsiteY696" fmla="*/ 5668968 h 6858290"/>
              <a:gd name="connsiteX697" fmla="*/ 397251 w 12139750"/>
              <a:gd name="connsiteY697" fmla="*/ 5667777 h 6858290"/>
              <a:gd name="connsiteX698" fmla="*/ 5407592 w 12139750"/>
              <a:gd name="connsiteY698" fmla="*/ 5656676 h 6858290"/>
              <a:gd name="connsiteX699" fmla="*/ 5432448 w 12139750"/>
              <a:gd name="connsiteY699" fmla="*/ 5676941 h 6858290"/>
              <a:gd name="connsiteX700" fmla="*/ 5411416 w 12139750"/>
              <a:gd name="connsiteY700" fmla="*/ 5732255 h 6858290"/>
              <a:gd name="connsiteX701" fmla="*/ 5071065 w 12139750"/>
              <a:gd name="connsiteY701" fmla="*/ 5894382 h 6858290"/>
              <a:gd name="connsiteX702" fmla="*/ 5015620 w 12139750"/>
              <a:gd name="connsiteY702" fmla="*/ 5873401 h 6858290"/>
              <a:gd name="connsiteX703" fmla="*/ 5011797 w 12139750"/>
              <a:gd name="connsiteY703" fmla="*/ 5856234 h 6858290"/>
              <a:gd name="connsiteX704" fmla="*/ 5036652 w 12139750"/>
              <a:gd name="connsiteY704" fmla="*/ 5818087 h 6858290"/>
              <a:gd name="connsiteX705" fmla="*/ 5377000 w 12139750"/>
              <a:gd name="connsiteY705" fmla="*/ 5657868 h 6858290"/>
              <a:gd name="connsiteX706" fmla="*/ 5407592 w 12139750"/>
              <a:gd name="connsiteY706" fmla="*/ 5656676 h 6858290"/>
              <a:gd name="connsiteX707" fmla="*/ 941847 w 12139750"/>
              <a:gd name="connsiteY707" fmla="*/ 5656676 h 6858290"/>
              <a:gd name="connsiteX708" fmla="*/ 965201 w 12139750"/>
              <a:gd name="connsiteY708" fmla="*/ 5676941 h 6858290"/>
              <a:gd name="connsiteX709" fmla="*/ 946137 w 12139750"/>
              <a:gd name="connsiteY709" fmla="*/ 5732255 h 6858290"/>
              <a:gd name="connsiteX710" fmla="*/ 606791 w 12139750"/>
              <a:gd name="connsiteY710" fmla="*/ 5894382 h 6858290"/>
              <a:gd name="connsiteX711" fmla="*/ 551504 w 12139750"/>
              <a:gd name="connsiteY711" fmla="*/ 5873401 h 6858290"/>
              <a:gd name="connsiteX712" fmla="*/ 547691 w 12139750"/>
              <a:gd name="connsiteY712" fmla="*/ 5856234 h 6858290"/>
              <a:gd name="connsiteX713" fmla="*/ 570568 w 12139750"/>
              <a:gd name="connsiteY713" fmla="*/ 5818087 h 6858290"/>
              <a:gd name="connsiteX714" fmla="*/ 909914 w 12139750"/>
              <a:gd name="connsiteY714" fmla="*/ 5657868 h 6858290"/>
              <a:gd name="connsiteX715" fmla="*/ 941847 w 12139750"/>
              <a:gd name="connsiteY715" fmla="*/ 5656676 h 6858290"/>
              <a:gd name="connsiteX716" fmla="*/ 4853505 w 12139750"/>
              <a:gd name="connsiteY716" fmla="*/ 5644857 h 6858290"/>
              <a:gd name="connsiteX717" fmla="*/ 4876847 w 12139750"/>
              <a:gd name="connsiteY717" fmla="*/ 5665864 h 6858290"/>
              <a:gd name="connsiteX718" fmla="*/ 4855889 w 12139750"/>
              <a:gd name="connsiteY718" fmla="*/ 5723158 h 6858290"/>
              <a:gd name="connsiteX719" fmla="*/ 4516799 w 12139750"/>
              <a:gd name="connsiteY719" fmla="*/ 5881669 h 6858290"/>
              <a:gd name="connsiteX720" fmla="*/ 4461553 w 12139750"/>
              <a:gd name="connsiteY720" fmla="*/ 5860661 h 6858290"/>
              <a:gd name="connsiteX721" fmla="*/ 4457744 w 12139750"/>
              <a:gd name="connsiteY721" fmla="*/ 5843473 h 6858290"/>
              <a:gd name="connsiteX722" fmla="*/ 4482509 w 12139750"/>
              <a:gd name="connsiteY722" fmla="*/ 5805278 h 6858290"/>
              <a:gd name="connsiteX723" fmla="*/ 4821594 w 12139750"/>
              <a:gd name="connsiteY723" fmla="*/ 5646767 h 6858290"/>
              <a:gd name="connsiteX724" fmla="*/ 4853505 w 12139750"/>
              <a:gd name="connsiteY724" fmla="*/ 5644857 h 6858290"/>
              <a:gd name="connsiteX725" fmla="*/ 1487895 w 12139750"/>
              <a:gd name="connsiteY725" fmla="*/ 5644857 h 6858290"/>
              <a:gd name="connsiteX726" fmla="*/ 1512898 w 12139750"/>
              <a:gd name="connsiteY726" fmla="*/ 5665864 h 6858290"/>
              <a:gd name="connsiteX727" fmla="*/ 1491943 w 12139750"/>
              <a:gd name="connsiteY727" fmla="*/ 5723158 h 6858290"/>
              <a:gd name="connsiteX728" fmla="*/ 1152849 w 12139750"/>
              <a:gd name="connsiteY728" fmla="*/ 5881669 h 6858290"/>
              <a:gd name="connsiteX729" fmla="*/ 1097603 w 12139750"/>
              <a:gd name="connsiteY729" fmla="*/ 5860661 h 6858290"/>
              <a:gd name="connsiteX730" fmla="*/ 1093793 w 12139750"/>
              <a:gd name="connsiteY730" fmla="*/ 5843473 h 6858290"/>
              <a:gd name="connsiteX731" fmla="*/ 1116653 w 12139750"/>
              <a:gd name="connsiteY731" fmla="*/ 5805278 h 6858290"/>
              <a:gd name="connsiteX732" fmla="*/ 1455748 w 12139750"/>
              <a:gd name="connsiteY732" fmla="*/ 5646767 h 6858290"/>
              <a:gd name="connsiteX733" fmla="*/ 1487895 w 12139750"/>
              <a:gd name="connsiteY733" fmla="*/ 5644857 h 6858290"/>
              <a:gd name="connsiteX734" fmla="*/ 4280333 w 12139750"/>
              <a:gd name="connsiteY734" fmla="*/ 5631131 h 6858290"/>
              <a:gd name="connsiteX735" fmla="*/ 4319591 w 12139750"/>
              <a:gd name="connsiteY735" fmla="*/ 5654883 h 6858290"/>
              <a:gd name="connsiteX736" fmla="*/ 4298558 w 12139750"/>
              <a:gd name="connsiteY736" fmla="*/ 5711818 h 6858290"/>
              <a:gd name="connsiteX737" fmla="*/ 3958230 w 12139750"/>
              <a:gd name="connsiteY737" fmla="*/ 5867442 h 6858290"/>
              <a:gd name="connsiteX738" fmla="*/ 3902775 w 12139750"/>
              <a:gd name="connsiteY738" fmla="*/ 5846565 h 6858290"/>
              <a:gd name="connsiteX739" fmla="*/ 3898949 w 12139750"/>
              <a:gd name="connsiteY739" fmla="*/ 5829485 h 6858290"/>
              <a:gd name="connsiteX740" fmla="*/ 3923810 w 12139750"/>
              <a:gd name="connsiteY740" fmla="*/ 5789630 h 6858290"/>
              <a:gd name="connsiteX741" fmla="*/ 4264140 w 12139750"/>
              <a:gd name="connsiteY741" fmla="*/ 5635905 h 6858290"/>
              <a:gd name="connsiteX742" fmla="*/ 4280333 w 12139750"/>
              <a:gd name="connsiteY742" fmla="*/ 5631131 h 6858290"/>
              <a:gd name="connsiteX743" fmla="*/ 2025802 w 12139750"/>
              <a:gd name="connsiteY743" fmla="*/ 5631130 h 6858290"/>
              <a:gd name="connsiteX744" fmla="*/ 2066916 w 12139750"/>
              <a:gd name="connsiteY744" fmla="*/ 5654883 h 6858290"/>
              <a:gd name="connsiteX745" fmla="*/ 2045894 w 12139750"/>
              <a:gd name="connsiteY745" fmla="*/ 5711818 h 6858290"/>
              <a:gd name="connsiteX746" fmla="*/ 1705799 w 12139750"/>
              <a:gd name="connsiteY746" fmla="*/ 5867442 h 6858290"/>
              <a:gd name="connsiteX747" fmla="*/ 1648480 w 12139750"/>
              <a:gd name="connsiteY747" fmla="*/ 5846565 h 6858290"/>
              <a:gd name="connsiteX748" fmla="*/ 1644659 w 12139750"/>
              <a:gd name="connsiteY748" fmla="*/ 5829485 h 6858290"/>
              <a:gd name="connsiteX749" fmla="*/ 1669497 w 12139750"/>
              <a:gd name="connsiteY749" fmla="*/ 5789630 h 6858290"/>
              <a:gd name="connsiteX750" fmla="*/ 2009592 w 12139750"/>
              <a:gd name="connsiteY750" fmla="*/ 5635905 h 6858290"/>
              <a:gd name="connsiteX751" fmla="*/ 2025802 w 12139750"/>
              <a:gd name="connsiteY751" fmla="*/ 5631130 h 6858290"/>
              <a:gd name="connsiteX752" fmla="*/ 3732520 w 12139750"/>
              <a:gd name="connsiteY752" fmla="*/ 5620423 h 6858290"/>
              <a:gd name="connsiteX753" fmla="*/ 3756079 w 12139750"/>
              <a:gd name="connsiteY753" fmla="*/ 5642413 h 6858290"/>
              <a:gd name="connsiteX754" fmla="*/ 3735138 w 12139750"/>
              <a:gd name="connsiteY754" fmla="*/ 5699780 h 6858290"/>
              <a:gd name="connsiteX755" fmla="*/ 3396310 w 12139750"/>
              <a:gd name="connsiteY755" fmla="*/ 5854670 h 6858290"/>
              <a:gd name="connsiteX756" fmla="*/ 3339198 w 12139750"/>
              <a:gd name="connsiteY756" fmla="*/ 5833635 h 6858290"/>
              <a:gd name="connsiteX757" fmla="*/ 3335390 w 12139750"/>
              <a:gd name="connsiteY757" fmla="*/ 5814513 h 6858290"/>
              <a:gd name="connsiteX758" fmla="*/ 3360137 w 12139750"/>
              <a:gd name="connsiteY758" fmla="*/ 5776269 h 6858290"/>
              <a:gd name="connsiteX759" fmla="*/ 3698969 w 12139750"/>
              <a:gd name="connsiteY759" fmla="*/ 5621379 h 6858290"/>
              <a:gd name="connsiteX760" fmla="*/ 3732520 w 12139750"/>
              <a:gd name="connsiteY760" fmla="*/ 5620423 h 6858290"/>
              <a:gd name="connsiteX761" fmla="*/ 2598307 w 12139750"/>
              <a:gd name="connsiteY761" fmla="*/ 5620423 h 6858290"/>
              <a:gd name="connsiteX762" fmla="*/ 2622577 w 12139750"/>
              <a:gd name="connsiteY762" fmla="*/ 5642413 h 6858290"/>
              <a:gd name="connsiteX763" fmla="*/ 2601638 w 12139750"/>
              <a:gd name="connsiteY763" fmla="*/ 5699780 h 6858290"/>
              <a:gd name="connsiteX764" fmla="*/ 2262794 w 12139750"/>
              <a:gd name="connsiteY764" fmla="*/ 5854670 h 6858290"/>
              <a:gd name="connsiteX765" fmla="*/ 2205686 w 12139750"/>
              <a:gd name="connsiteY765" fmla="*/ 5833635 h 6858290"/>
              <a:gd name="connsiteX766" fmla="*/ 2201878 w 12139750"/>
              <a:gd name="connsiteY766" fmla="*/ 5814513 h 6858290"/>
              <a:gd name="connsiteX767" fmla="*/ 2226626 w 12139750"/>
              <a:gd name="connsiteY767" fmla="*/ 5776269 h 6858290"/>
              <a:gd name="connsiteX768" fmla="*/ 2565469 w 12139750"/>
              <a:gd name="connsiteY768" fmla="*/ 5621379 h 6858290"/>
              <a:gd name="connsiteX769" fmla="*/ 2598307 w 12139750"/>
              <a:gd name="connsiteY769" fmla="*/ 5620423 h 6858290"/>
              <a:gd name="connsiteX770" fmla="*/ 3160334 w 12139750"/>
              <a:gd name="connsiteY770" fmla="*/ 5609267 h 6858290"/>
              <a:gd name="connsiteX771" fmla="*/ 3184587 w 12139750"/>
              <a:gd name="connsiteY771" fmla="*/ 5631147 h 6858290"/>
              <a:gd name="connsiteX772" fmla="*/ 3161760 w 12139750"/>
              <a:gd name="connsiteY772" fmla="*/ 5688224 h 6858290"/>
              <a:gd name="connsiteX773" fmla="*/ 2823162 w 12139750"/>
              <a:gd name="connsiteY773" fmla="*/ 5840431 h 6858290"/>
              <a:gd name="connsiteX774" fmla="*/ 2766096 w 12139750"/>
              <a:gd name="connsiteY774" fmla="*/ 5817600 h 6858290"/>
              <a:gd name="connsiteX775" fmla="*/ 2762293 w 12139750"/>
              <a:gd name="connsiteY775" fmla="*/ 5800477 h 6858290"/>
              <a:gd name="connsiteX776" fmla="*/ 2787019 w 12139750"/>
              <a:gd name="connsiteY776" fmla="*/ 5760522 h 6858290"/>
              <a:gd name="connsiteX777" fmla="*/ 3127521 w 12139750"/>
              <a:gd name="connsiteY777" fmla="*/ 5610219 h 6858290"/>
              <a:gd name="connsiteX778" fmla="*/ 3160334 w 12139750"/>
              <a:gd name="connsiteY778" fmla="*/ 5609267 h 6858290"/>
              <a:gd name="connsiteX779" fmla="*/ 9870770 w 12139750"/>
              <a:gd name="connsiteY779" fmla="*/ 5423698 h 6858290"/>
              <a:gd name="connsiteX780" fmla="*/ 9891790 w 12139750"/>
              <a:gd name="connsiteY780" fmla="*/ 5439415 h 6858290"/>
              <a:gd name="connsiteX781" fmla="*/ 9878414 w 12139750"/>
              <a:gd name="connsiteY781" fmla="*/ 5488945 h 6858290"/>
              <a:gd name="connsiteX782" fmla="*/ 9542094 w 12139750"/>
              <a:gd name="connsiteY782" fmla="*/ 5683255 h 6858290"/>
              <a:gd name="connsiteX783" fmla="*/ 9492411 w 12139750"/>
              <a:gd name="connsiteY783" fmla="*/ 5669920 h 6858290"/>
              <a:gd name="connsiteX784" fmla="*/ 9488589 w 12139750"/>
              <a:gd name="connsiteY784" fmla="*/ 5650870 h 6858290"/>
              <a:gd name="connsiteX785" fmla="*/ 9505787 w 12139750"/>
              <a:gd name="connsiteY785" fmla="*/ 5620390 h 6858290"/>
              <a:gd name="connsiteX786" fmla="*/ 9844018 w 12139750"/>
              <a:gd name="connsiteY786" fmla="*/ 5427985 h 6858290"/>
              <a:gd name="connsiteX787" fmla="*/ 9870770 w 12139750"/>
              <a:gd name="connsiteY787" fmla="*/ 5423698 h 6858290"/>
              <a:gd name="connsiteX788" fmla="*/ 10454072 w 12139750"/>
              <a:gd name="connsiteY788" fmla="*/ 5413206 h 6858290"/>
              <a:gd name="connsiteX789" fmla="*/ 10476013 w 12139750"/>
              <a:gd name="connsiteY789" fmla="*/ 5429836 h 6858290"/>
              <a:gd name="connsiteX790" fmla="*/ 10460750 w 12139750"/>
              <a:gd name="connsiteY790" fmla="*/ 5479250 h 6858290"/>
              <a:gd name="connsiteX791" fmla="*/ 10123044 w 12139750"/>
              <a:gd name="connsiteY791" fmla="*/ 5667402 h 6858290"/>
              <a:gd name="connsiteX792" fmla="*/ 10075346 w 12139750"/>
              <a:gd name="connsiteY792" fmla="*/ 5654098 h 6858290"/>
              <a:gd name="connsiteX793" fmla="*/ 10069622 w 12139750"/>
              <a:gd name="connsiteY793" fmla="*/ 5636994 h 6858290"/>
              <a:gd name="connsiteX794" fmla="*/ 10088701 w 12139750"/>
              <a:gd name="connsiteY794" fmla="*/ 5604685 h 6858290"/>
              <a:gd name="connsiteX795" fmla="*/ 10426407 w 12139750"/>
              <a:gd name="connsiteY795" fmla="*/ 5416532 h 6858290"/>
              <a:gd name="connsiteX796" fmla="*/ 10454072 w 12139750"/>
              <a:gd name="connsiteY796" fmla="*/ 5413206 h 6858290"/>
              <a:gd name="connsiteX797" fmla="*/ 9292639 w 12139750"/>
              <a:gd name="connsiteY797" fmla="*/ 5413206 h 6858290"/>
              <a:gd name="connsiteX798" fmla="*/ 9313626 w 12139750"/>
              <a:gd name="connsiteY798" fmla="*/ 5429836 h 6858290"/>
              <a:gd name="connsiteX799" fmla="*/ 9300271 w 12139750"/>
              <a:gd name="connsiteY799" fmla="*/ 5479250 h 6858290"/>
              <a:gd name="connsiteX800" fmla="*/ 8962565 w 12139750"/>
              <a:gd name="connsiteY800" fmla="*/ 5667402 h 6858290"/>
              <a:gd name="connsiteX801" fmla="*/ 8912959 w 12139750"/>
              <a:gd name="connsiteY801" fmla="*/ 5654098 h 6858290"/>
              <a:gd name="connsiteX802" fmla="*/ 8909143 w 12139750"/>
              <a:gd name="connsiteY802" fmla="*/ 5636994 h 6858290"/>
              <a:gd name="connsiteX803" fmla="*/ 8928222 w 12139750"/>
              <a:gd name="connsiteY803" fmla="*/ 5604685 h 6858290"/>
              <a:gd name="connsiteX804" fmla="*/ 9265928 w 12139750"/>
              <a:gd name="connsiteY804" fmla="*/ 5416532 h 6858290"/>
              <a:gd name="connsiteX805" fmla="*/ 9292639 w 12139750"/>
              <a:gd name="connsiteY805" fmla="*/ 5413206 h 6858290"/>
              <a:gd name="connsiteX806" fmla="*/ 11031715 w 12139750"/>
              <a:gd name="connsiteY806" fmla="*/ 5402102 h 6858290"/>
              <a:gd name="connsiteX807" fmla="*/ 11053878 w 12139750"/>
              <a:gd name="connsiteY807" fmla="*/ 5418751 h 6858290"/>
              <a:gd name="connsiteX808" fmla="*/ 11038626 w 12139750"/>
              <a:gd name="connsiteY808" fmla="*/ 5470125 h 6858290"/>
              <a:gd name="connsiteX809" fmla="*/ 10701180 w 12139750"/>
              <a:gd name="connsiteY809" fmla="*/ 5654692 h 6858290"/>
              <a:gd name="connsiteX810" fmla="*/ 10649705 w 12139750"/>
              <a:gd name="connsiteY810" fmla="*/ 5639470 h 6858290"/>
              <a:gd name="connsiteX811" fmla="*/ 10645892 w 12139750"/>
              <a:gd name="connsiteY811" fmla="*/ 5622345 h 6858290"/>
              <a:gd name="connsiteX812" fmla="*/ 10664957 w 12139750"/>
              <a:gd name="connsiteY812" fmla="*/ 5589998 h 6858290"/>
              <a:gd name="connsiteX813" fmla="*/ 11002403 w 12139750"/>
              <a:gd name="connsiteY813" fmla="*/ 5405432 h 6858290"/>
              <a:gd name="connsiteX814" fmla="*/ 11031715 w 12139750"/>
              <a:gd name="connsiteY814" fmla="*/ 5402102 h 6858290"/>
              <a:gd name="connsiteX815" fmla="*/ 8722109 w 12139750"/>
              <a:gd name="connsiteY815" fmla="*/ 5402102 h 6858290"/>
              <a:gd name="connsiteX816" fmla="*/ 8744034 w 12139750"/>
              <a:gd name="connsiteY816" fmla="*/ 5418751 h 6858290"/>
              <a:gd name="connsiteX817" fmla="*/ 8728782 w 12139750"/>
              <a:gd name="connsiteY817" fmla="*/ 5470125 h 6858290"/>
              <a:gd name="connsiteX818" fmla="*/ 8391336 w 12139750"/>
              <a:gd name="connsiteY818" fmla="*/ 5654692 h 6858290"/>
              <a:gd name="connsiteX819" fmla="*/ 8341767 w 12139750"/>
              <a:gd name="connsiteY819" fmla="*/ 5639470 h 6858290"/>
              <a:gd name="connsiteX820" fmla="*/ 8336048 w 12139750"/>
              <a:gd name="connsiteY820" fmla="*/ 5622345 h 6858290"/>
              <a:gd name="connsiteX821" fmla="*/ 8355113 w 12139750"/>
              <a:gd name="connsiteY821" fmla="*/ 5589998 h 6858290"/>
              <a:gd name="connsiteX822" fmla="*/ 8694465 w 12139750"/>
              <a:gd name="connsiteY822" fmla="*/ 5405432 h 6858290"/>
              <a:gd name="connsiteX823" fmla="*/ 8722109 w 12139750"/>
              <a:gd name="connsiteY823" fmla="*/ 5402102 h 6858290"/>
              <a:gd name="connsiteX824" fmla="*/ 11601635 w 12139750"/>
              <a:gd name="connsiteY824" fmla="*/ 5389647 h 6858290"/>
              <a:gd name="connsiteX825" fmla="*/ 11623798 w 12139750"/>
              <a:gd name="connsiteY825" fmla="*/ 5407983 h 6858290"/>
              <a:gd name="connsiteX826" fmla="*/ 11608546 w 12139750"/>
              <a:gd name="connsiteY826" fmla="*/ 5459418 h 6858290"/>
              <a:gd name="connsiteX827" fmla="*/ 11271100 w 12139750"/>
              <a:gd name="connsiteY827" fmla="*/ 5638488 h 6858290"/>
              <a:gd name="connsiteX828" fmla="*/ 11219625 w 12139750"/>
              <a:gd name="connsiteY828" fmla="*/ 5623248 h 6858290"/>
              <a:gd name="connsiteX829" fmla="*/ 11215812 w 12139750"/>
              <a:gd name="connsiteY829" fmla="*/ 5606103 h 6858290"/>
              <a:gd name="connsiteX830" fmla="*/ 11234877 w 12139750"/>
              <a:gd name="connsiteY830" fmla="*/ 5571813 h 6858290"/>
              <a:gd name="connsiteX831" fmla="*/ 11572323 w 12139750"/>
              <a:gd name="connsiteY831" fmla="*/ 5392743 h 6858290"/>
              <a:gd name="connsiteX832" fmla="*/ 11601635 w 12139750"/>
              <a:gd name="connsiteY832" fmla="*/ 5389647 h 6858290"/>
              <a:gd name="connsiteX833" fmla="*/ 8158325 w 12139750"/>
              <a:gd name="connsiteY833" fmla="*/ 5389647 h 6858290"/>
              <a:gd name="connsiteX834" fmla="*/ 8180471 w 12139750"/>
              <a:gd name="connsiteY834" fmla="*/ 5407983 h 6858290"/>
              <a:gd name="connsiteX835" fmla="*/ 8165230 w 12139750"/>
              <a:gd name="connsiteY835" fmla="*/ 5459418 h 6858290"/>
              <a:gd name="connsiteX836" fmla="*/ 7826136 w 12139750"/>
              <a:gd name="connsiteY836" fmla="*/ 5638488 h 6858290"/>
              <a:gd name="connsiteX837" fmla="*/ 7774700 w 12139750"/>
              <a:gd name="connsiteY837" fmla="*/ 5623248 h 6858290"/>
              <a:gd name="connsiteX838" fmla="*/ 7770890 w 12139750"/>
              <a:gd name="connsiteY838" fmla="*/ 5606103 h 6858290"/>
              <a:gd name="connsiteX839" fmla="*/ 7791845 w 12139750"/>
              <a:gd name="connsiteY839" fmla="*/ 5571813 h 6858290"/>
              <a:gd name="connsiteX840" fmla="*/ 8129035 w 12139750"/>
              <a:gd name="connsiteY840" fmla="*/ 5392743 h 6858290"/>
              <a:gd name="connsiteX841" fmla="*/ 8158325 w 12139750"/>
              <a:gd name="connsiteY841" fmla="*/ 5389647 h 6858290"/>
              <a:gd name="connsiteX842" fmla="*/ 12139750 w 12139750"/>
              <a:gd name="connsiteY842" fmla="*/ 5380043 h 6858290"/>
              <a:gd name="connsiteX843" fmla="*/ 12139750 w 12139750"/>
              <a:gd name="connsiteY843" fmla="*/ 5467782 h 6858290"/>
              <a:gd name="connsiteX844" fmla="*/ 11833041 w 12139750"/>
              <a:gd name="connsiteY844" fmla="*/ 5626094 h 6858290"/>
              <a:gd name="connsiteX845" fmla="*/ 11781605 w 12139750"/>
              <a:gd name="connsiteY845" fmla="*/ 5608928 h 6858290"/>
              <a:gd name="connsiteX846" fmla="*/ 11777795 w 12139750"/>
              <a:gd name="connsiteY846" fmla="*/ 5591761 h 6858290"/>
              <a:gd name="connsiteX847" fmla="*/ 11798750 w 12139750"/>
              <a:gd name="connsiteY847" fmla="*/ 5557428 h 6858290"/>
              <a:gd name="connsiteX848" fmla="*/ 12135940 w 12139750"/>
              <a:gd name="connsiteY848" fmla="*/ 5381950 h 6858290"/>
              <a:gd name="connsiteX849" fmla="*/ 12139750 w 12139750"/>
              <a:gd name="connsiteY849" fmla="*/ 5380043 h 6858290"/>
              <a:gd name="connsiteX850" fmla="*/ 7599540 w 12139750"/>
              <a:gd name="connsiteY850" fmla="*/ 5379505 h 6858290"/>
              <a:gd name="connsiteX851" fmla="*/ 7621670 w 12139750"/>
              <a:gd name="connsiteY851" fmla="*/ 5398839 h 6858290"/>
              <a:gd name="connsiteX852" fmla="*/ 7604538 w 12139750"/>
              <a:gd name="connsiteY852" fmla="*/ 5450398 h 6858290"/>
              <a:gd name="connsiteX853" fmla="*/ 7267602 w 12139750"/>
              <a:gd name="connsiteY853" fmla="*/ 5626082 h 6858290"/>
              <a:gd name="connsiteX854" fmla="*/ 7214302 w 12139750"/>
              <a:gd name="connsiteY854" fmla="*/ 5608895 h 6858290"/>
              <a:gd name="connsiteX855" fmla="*/ 7210495 w 12139750"/>
              <a:gd name="connsiteY855" fmla="*/ 5591709 h 6858290"/>
              <a:gd name="connsiteX856" fmla="*/ 7231434 w 12139750"/>
              <a:gd name="connsiteY856" fmla="*/ 5557336 h 6858290"/>
              <a:gd name="connsiteX857" fmla="*/ 7570273 w 12139750"/>
              <a:gd name="connsiteY857" fmla="*/ 5381653 h 6858290"/>
              <a:gd name="connsiteX858" fmla="*/ 7599540 w 12139750"/>
              <a:gd name="connsiteY858" fmla="*/ 5379505 h 6858290"/>
              <a:gd name="connsiteX859" fmla="*/ 7046905 w 12139750"/>
              <a:gd name="connsiteY859" fmla="*/ 5368357 h 6858290"/>
              <a:gd name="connsiteX860" fmla="*/ 7070771 w 12139750"/>
              <a:gd name="connsiteY860" fmla="*/ 5387598 h 6858290"/>
              <a:gd name="connsiteX861" fmla="*/ 7051678 w 12139750"/>
              <a:gd name="connsiteY861" fmla="*/ 5440808 h 6858290"/>
              <a:gd name="connsiteX862" fmla="*/ 6713729 w 12139750"/>
              <a:gd name="connsiteY862" fmla="*/ 5611841 h 6858290"/>
              <a:gd name="connsiteX863" fmla="*/ 6660268 w 12139750"/>
              <a:gd name="connsiteY863" fmla="*/ 5594738 h 6858290"/>
              <a:gd name="connsiteX864" fmla="*/ 6656450 w 12139750"/>
              <a:gd name="connsiteY864" fmla="*/ 5575734 h 6858290"/>
              <a:gd name="connsiteX865" fmla="*/ 6677452 w 12139750"/>
              <a:gd name="connsiteY865" fmla="*/ 5541527 h 6858290"/>
              <a:gd name="connsiteX866" fmla="*/ 7017310 w 12139750"/>
              <a:gd name="connsiteY866" fmla="*/ 5370495 h 6858290"/>
              <a:gd name="connsiteX867" fmla="*/ 7046905 w 12139750"/>
              <a:gd name="connsiteY867" fmla="*/ 5368357 h 6858290"/>
              <a:gd name="connsiteX868" fmla="*/ 6501958 w 12139750"/>
              <a:gd name="connsiteY868" fmla="*/ 5357490 h 6858290"/>
              <a:gd name="connsiteX869" fmla="*/ 6524359 w 12139750"/>
              <a:gd name="connsiteY869" fmla="*/ 5378420 h 6858290"/>
              <a:gd name="connsiteX870" fmla="*/ 6507201 w 12139750"/>
              <a:gd name="connsiteY870" fmla="*/ 5431695 h 6858290"/>
              <a:gd name="connsiteX871" fmla="*/ 6167854 w 12139750"/>
              <a:gd name="connsiteY871" fmla="*/ 5597227 h 6858290"/>
              <a:gd name="connsiteX872" fmla="*/ 6114474 w 12139750"/>
              <a:gd name="connsiteY872" fmla="*/ 5580103 h 6858290"/>
              <a:gd name="connsiteX873" fmla="*/ 6108755 w 12139750"/>
              <a:gd name="connsiteY873" fmla="*/ 5561076 h 6858290"/>
              <a:gd name="connsiteX874" fmla="*/ 6131632 w 12139750"/>
              <a:gd name="connsiteY874" fmla="*/ 5524925 h 6858290"/>
              <a:gd name="connsiteX875" fmla="*/ 6470979 w 12139750"/>
              <a:gd name="connsiteY875" fmla="*/ 5359393 h 6858290"/>
              <a:gd name="connsiteX876" fmla="*/ 6501958 w 12139750"/>
              <a:gd name="connsiteY876" fmla="*/ 5357490 h 6858290"/>
              <a:gd name="connsiteX877" fmla="*/ 5956806 w 12139750"/>
              <a:gd name="connsiteY877" fmla="*/ 5347061 h 6858290"/>
              <a:gd name="connsiteX878" fmla="*/ 5980159 w 12139750"/>
              <a:gd name="connsiteY878" fmla="*/ 5367201 h 6858290"/>
              <a:gd name="connsiteX879" fmla="*/ 5961095 w 12139750"/>
              <a:gd name="connsiteY879" fmla="*/ 5422171 h 6858290"/>
              <a:gd name="connsiteX880" fmla="*/ 5621756 w 12139750"/>
              <a:gd name="connsiteY880" fmla="*/ 5583290 h 6858290"/>
              <a:gd name="connsiteX881" fmla="*/ 5566471 w 12139750"/>
              <a:gd name="connsiteY881" fmla="*/ 5564335 h 6858290"/>
              <a:gd name="connsiteX882" fmla="*/ 5562659 w 12139750"/>
              <a:gd name="connsiteY882" fmla="*/ 5547275 h 6858290"/>
              <a:gd name="connsiteX883" fmla="*/ 5585535 w 12139750"/>
              <a:gd name="connsiteY883" fmla="*/ 5509365 h 6858290"/>
              <a:gd name="connsiteX884" fmla="*/ 5924873 w 12139750"/>
              <a:gd name="connsiteY884" fmla="*/ 5348245 h 6858290"/>
              <a:gd name="connsiteX885" fmla="*/ 5956806 w 12139750"/>
              <a:gd name="connsiteY885" fmla="*/ 5347061 h 6858290"/>
              <a:gd name="connsiteX886" fmla="*/ 398204 w 12139750"/>
              <a:gd name="connsiteY886" fmla="*/ 5347061 h 6858290"/>
              <a:gd name="connsiteX887" fmla="*/ 422273 w 12139750"/>
              <a:gd name="connsiteY887" fmla="*/ 5367201 h 6858290"/>
              <a:gd name="connsiteX888" fmla="*/ 401302 w 12139750"/>
              <a:gd name="connsiteY888" fmla="*/ 5422171 h 6858290"/>
              <a:gd name="connsiteX889" fmla="*/ 63863 w 12139750"/>
              <a:gd name="connsiteY889" fmla="*/ 5583290 h 6858290"/>
              <a:gd name="connsiteX890" fmla="*/ 8576 w 12139750"/>
              <a:gd name="connsiteY890" fmla="*/ 5564335 h 6858290"/>
              <a:gd name="connsiteX891" fmla="*/ 4763 w 12139750"/>
              <a:gd name="connsiteY891" fmla="*/ 5547275 h 6858290"/>
              <a:gd name="connsiteX892" fmla="*/ 27641 w 12139750"/>
              <a:gd name="connsiteY892" fmla="*/ 5509365 h 6858290"/>
              <a:gd name="connsiteX893" fmla="*/ 366986 w 12139750"/>
              <a:gd name="connsiteY893" fmla="*/ 5348245 h 6858290"/>
              <a:gd name="connsiteX894" fmla="*/ 398204 w 12139750"/>
              <a:gd name="connsiteY894" fmla="*/ 5347061 h 6858290"/>
              <a:gd name="connsiteX895" fmla="*/ 5409026 w 12139750"/>
              <a:gd name="connsiteY895" fmla="*/ 5334662 h 6858290"/>
              <a:gd name="connsiteX896" fmla="*/ 5432448 w 12139750"/>
              <a:gd name="connsiteY896" fmla="*/ 5356624 h 6858290"/>
              <a:gd name="connsiteX897" fmla="*/ 5411416 w 12139750"/>
              <a:gd name="connsiteY897" fmla="*/ 5412008 h 6858290"/>
              <a:gd name="connsiteX898" fmla="*/ 5071065 w 12139750"/>
              <a:gd name="connsiteY898" fmla="*/ 5570519 h 6858290"/>
              <a:gd name="connsiteX899" fmla="*/ 5015620 w 12139750"/>
              <a:gd name="connsiteY899" fmla="*/ 5549511 h 6858290"/>
              <a:gd name="connsiteX900" fmla="*/ 5011797 w 12139750"/>
              <a:gd name="connsiteY900" fmla="*/ 5532323 h 6858290"/>
              <a:gd name="connsiteX901" fmla="*/ 5036652 w 12139750"/>
              <a:gd name="connsiteY901" fmla="*/ 5494128 h 6858290"/>
              <a:gd name="connsiteX902" fmla="*/ 5377000 w 12139750"/>
              <a:gd name="connsiteY902" fmla="*/ 5335617 h 6858290"/>
              <a:gd name="connsiteX903" fmla="*/ 5409026 w 12139750"/>
              <a:gd name="connsiteY903" fmla="*/ 5334662 h 6858290"/>
              <a:gd name="connsiteX904" fmla="*/ 941871 w 12139750"/>
              <a:gd name="connsiteY904" fmla="*/ 5334662 h 6858290"/>
              <a:gd name="connsiteX905" fmla="*/ 965208 w 12139750"/>
              <a:gd name="connsiteY905" fmla="*/ 5356624 h 6858290"/>
              <a:gd name="connsiteX906" fmla="*/ 946158 w 12139750"/>
              <a:gd name="connsiteY906" fmla="*/ 5412008 h 6858290"/>
              <a:gd name="connsiteX907" fmla="*/ 605159 w 12139750"/>
              <a:gd name="connsiteY907" fmla="*/ 5570519 h 6858290"/>
              <a:gd name="connsiteX908" fmla="*/ 549913 w 12139750"/>
              <a:gd name="connsiteY908" fmla="*/ 5549511 h 6858290"/>
              <a:gd name="connsiteX909" fmla="*/ 546103 w 12139750"/>
              <a:gd name="connsiteY909" fmla="*/ 5532323 h 6858290"/>
              <a:gd name="connsiteX910" fmla="*/ 570868 w 12139750"/>
              <a:gd name="connsiteY910" fmla="*/ 5494128 h 6858290"/>
              <a:gd name="connsiteX911" fmla="*/ 909962 w 12139750"/>
              <a:gd name="connsiteY911" fmla="*/ 5335617 h 6858290"/>
              <a:gd name="connsiteX912" fmla="*/ 941871 w 12139750"/>
              <a:gd name="connsiteY912" fmla="*/ 5334662 h 6858290"/>
              <a:gd name="connsiteX913" fmla="*/ 4854192 w 12139750"/>
              <a:gd name="connsiteY913" fmla="*/ 5323799 h 6858290"/>
              <a:gd name="connsiteX914" fmla="*/ 4878448 w 12139750"/>
              <a:gd name="connsiteY914" fmla="*/ 5347462 h 6858290"/>
              <a:gd name="connsiteX915" fmla="*/ 4855617 w 12139750"/>
              <a:gd name="connsiteY915" fmla="*/ 5402917 h 6858290"/>
              <a:gd name="connsiteX916" fmla="*/ 4517030 w 12139750"/>
              <a:gd name="connsiteY916" fmla="*/ 5555894 h 6858290"/>
              <a:gd name="connsiteX917" fmla="*/ 4459961 w 12139750"/>
              <a:gd name="connsiteY917" fmla="*/ 5534860 h 6858290"/>
              <a:gd name="connsiteX918" fmla="*/ 4456156 w 12139750"/>
              <a:gd name="connsiteY918" fmla="*/ 5517650 h 6858290"/>
              <a:gd name="connsiteX919" fmla="*/ 4482788 w 12139750"/>
              <a:gd name="connsiteY919" fmla="*/ 5477493 h 6858290"/>
              <a:gd name="connsiteX920" fmla="*/ 4821375 w 12139750"/>
              <a:gd name="connsiteY920" fmla="*/ 5324516 h 6858290"/>
              <a:gd name="connsiteX921" fmla="*/ 4854192 w 12139750"/>
              <a:gd name="connsiteY921" fmla="*/ 5323799 h 6858290"/>
              <a:gd name="connsiteX922" fmla="*/ 1489585 w 12139750"/>
              <a:gd name="connsiteY922" fmla="*/ 5323799 h 6858290"/>
              <a:gd name="connsiteX923" fmla="*/ 1512904 w 12139750"/>
              <a:gd name="connsiteY923" fmla="*/ 5347462 h 6858290"/>
              <a:gd name="connsiteX924" fmla="*/ 1491964 w 12139750"/>
              <a:gd name="connsiteY924" fmla="*/ 5402917 h 6858290"/>
              <a:gd name="connsiteX925" fmla="*/ 1153121 w 12139750"/>
              <a:gd name="connsiteY925" fmla="*/ 5555894 h 6858290"/>
              <a:gd name="connsiteX926" fmla="*/ 1096012 w 12139750"/>
              <a:gd name="connsiteY926" fmla="*/ 5534860 h 6858290"/>
              <a:gd name="connsiteX927" fmla="*/ 1092205 w 12139750"/>
              <a:gd name="connsiteY927" fmla="*/ 5517650 h 6858290"/>
              <a:gd name="connsiteX928" fmla="*/ 1116952 w 12139750"/>
              <a:gd name="connsiteY928" fmla="*/ 5477493 h 6858290"/>
              <a:gd name="connsiteX929" fmla="*/ 1457699 w 12139750"/>
              <a:gd name="connsiteY929" fmla="*/ 5324516 h 6858290"/>
              <a:gd name="connsiteX930" fmla="*/ 1489585 w 12139750"/>
              <a:gd name="connsiteY930" fmla="*/ 5323799 h 6858290"/>
              <a:gd name="connsiteX931" fmla="*/ 4281187 w 12139750"/>
              <a:gd name="connsiteY931" fmla="*/ 5309975 h 6858290"/>
              <a:gd name="connsiteX932" fmla="*/ 4321192 w 12139750"/>
              <a:gd name="connsiteY932" fmla="*/ 5336228 h 6858290"/>
              <a:gd name="connsiteX933" fmla="*/ 4298281 w 12139750"/>
              <a:gd name="connsiteY933" fmla="*/ 5395283 h 6858290"/>
              <a:gd name="connsiteX934" fmla="*/ 3958460 w 12139750"/>
              <a:gd name="connsiteY934" fmla="*/ 5541968 h 6858290"/>
              <a:gd name="connsiteX935" fmla="*/ 3901183 w 12139750"/>
              <a:gd name="connsiteY935" fmla="*/ 5519108 h 6858290"/>
              <a:gd name="connsiteX936" fmla="*/ 3897363 w 12139750"/>
              <a:gd name="connsiteY936" fmla="*/ 5501963 h 6858290"/>
              <a:gd name="connsiteX937" fmla="*/ 3924095 w 12139750"/>
              <a:gd name="connsiteY937" fmla="*/ 5461958 h 6858290"/>
              <a:gd name="connsiteX938" fmla="*/ 4263914 w 12139750"/>
              <a:gd name="connsiteY938" fmla="*/ 5313368 h 6858290"/>
              <a:gd name="connsiteX939" fmla="*/ 4281187 w 12139750"/>
              <a:gd name="connsiteY939" fmla="*/ 5309975 h 6858290"/>
              <a:gd name="connsiteX940" fmla="*/ 2026929 w 12139750"/>
              <a:gd name="connsiteY940" fmla="*/ 5309974 h 6858290"/>
              <a:gd name="connsiteX941" fmla="*/ 2068518 w 12139750"/>
              <a:gd name="connsiteY941" fmla="*/ 5336228 h 6858290"/>
              <a:gd name="connsiteX942" fmla="*/ 2045620 w 12139750"/>
              <a:gd name="connsiteY942" fmla="*/ 5395283 h 6858290"/>
              <a:gd name="connsiteX943" fmla="*/ 1704121 w 12139750"/>
              <a:gd name="connsiteY943" fmla="*/ 5541968 h 6858290"/>
              <a:gd name="connsiteX944" fmla="*/ 1646887 w 12139750"/>
              <a:gd name="connsiteY944" fmla="*/ 5519108 h 6858290"/>
              <a:gd name="connsiteX945" fmla="*/ 1643071 w 12139750"/>
              <a:gd name="connsiteY945" fmla="*/ 5501963 h 6858290"/>
              <a:gd name="connsiteX946" fmla="*/ 1669781 w 12139750"/>
              <a:gd name="connsiteY946" fmla="*/ 5461958 h 6858290"/>
              <a:gd name="connsiteX947" fmla="*/ 2009371 w 12139750"/>
              <a:gd name="connsiteY947" fmla="*/ 5313368 h 6858290"/>
              <a:gd name="connsiteX948" fmla="*/ 2026929 w 12139750"/>
              <a:gd name="connsiteY948" fmla="*/ 5309974 h 6858290"/>
              <a:gd name="connsiteX949" fmla="*/ 3719254 w 12139750"/>
              <a:gd name="connsiteY949" fmla="*/ 5298899 h 6858290"/>
              <a:gd name="connsiteX950" fmla="*/ 3759233 w 12139750"/>
              <a:gd name="connsiteY950" fmla="*/ 5327064 h 6858290"/>
              <a:gd name="connsiteX951" fmla="*/ 3736338 w 12139750"/>
              <a:gd name="connsiteY951" fmla="*/ 5386196 h 6858290"/>
              <a:gd name="connsiteX952" fmla="*/ 3394855 w 12139750"/>
              <a:gd name="connsiteY952" fmla="*/ 5529255 h 6858290"/>
              <a:gd name="connsiteX953" fmla="*/ 3337618 w 12139750"/>
              <a:gd name="connsiteY953" fmla="*/ 5504458 h 6858290"/>
              <a:gd name="connsiteX954" fmla="*/ 3333805 w 12139750"/>
              <a:gd name="connsiteY954" fmla="*/ 5487291 h 6858290"/>
              <a:gd name="connsiteX955" fmla="*/ 3360512 w 12139750"/>
              <a:gd name="connsiteY955" fmla="*/ 5447234 h 6858290"/>
              <a:gd name="connsiteX956" fmla="*/ 3701998 w 12139750"/>
              <a:gd name="connsiteY956" fmla="*/ 5302267 h 6858290"/>
              <a:gd name="connsiteX957" fmla="*/ 3719254 w 12139750"/>
              <a:gd name="connsiteY957" fmla="*/ 5298899 h 6858290"/>
              <a:gd name="connsiteX958" fmla="*/ 2583547 w 12139750"/>
              <a:gd name="connsiteY958" fmla="*/ 5298899 h 6858290"/>
              <a:gd name="connsiteX959" fmla="*/ 2624178 w 12139750"/>
              <a:gd name="connsiteY959" fmla="*/ 5327064 h 6858290"/>
              <a:gd name="connsiteX960" fmla="*/ 2601368 w 12139750"/>
              <a:gd name="connsiteY960" fmla="*/ 5386196 h 6858290"/>
              <a:gd name="connsiteX961" fmla="*/ 2261117 w 12139750"/>
              <a:gd name="connsiteY961" fmla="*/ 5529255 h 6858290"/>
              <a:gd name="connsiteX962" fmla="*/ 2204092 w 12139750"/>
              <a:gd name="connsiteY962" fmla="*/ 5504458 h 6858290"/>
              <a:gd name="connsiteX963" fmla="*/ 2200290 w 12139750"/>
              <a:gd name="connsiteY963" fmla="*/ 5487291 h 6858290"/>
              <a:gd name="connsiteX964" fmla="*/ 2226902 w 12139750"/>
              <a:gd name="connsiteY964" fmla="*/ 5447234 h 6858290"/>
              <a:gd name="connsiteX965" fmla="*/ 2567153 w 12139750"/>
              <a:gd name="connsiteY965" fmla="*/ 5302267 h 6858290"/>
              <a:gd name="connsiteX966" fmla="*/ 2583547 w 12139750"/>
              <a:gd name="connsiteY966" fmla="*/ 5298899 h 6858290"/>
              <a:gd name="connsiteX967" fmla="*/ 3161733 w 12139750"/>
              <a:gd name="connsiteY967" fmla="*/ 5292230 h 6858290"/>
              <a:gd name="connsiteX968" fmla="*/ 3186189 w 12139750"/>
              <a:gd name="connsiteY968" fmla="*/ 5317405 h 6858290"/>
              <a:gd name="connsiteX969" fmla="*/ 3161496 w 12139750"/>
              <a:gd name="connsiteY969" fmla="*/ 5376305 h 6858290"/>
              <a:gd name="connsiteX970" fmla="*/ 2821486 w 12139750"/>
              <a:gd name="connsiteY970" fmla="*/ 5515005 h 6858290"/>
              <a:gd name="connsiteX971" fmla="*/ 2762605 w 12139750"/>
              <a:gd name="connsiteY971" fmla="*/ 5488405 h 6858290"/>
              <a:gd name="connsiteX972" fmla="*/ 2760704 w 12139750"/>
              <a:gd name="connsiteY972" fmla="*/ 5471305 h 6858290"/>
              <a:gd name="connsiteX973" fmla="*/ 2787294 w 12139750"/>
              <a:gd name="connsiteY973" fmla="*/ 5429505 h 6858290"/>
              <a:gd name="connsiteX974" fmla="*/ 3127304 w 12139750"/>
              <a:gd name="connsiteY974" fmla="*/ 5292705 h 6858290"/>
              <a:gd name="connsiteX975" fmla="*/ 3161733 w 12139750"/>
              <a:gd name="connsiteY975" fmla="*/ 5292230 h 6858290"/>
              <a:gd name="connsiteX976" fmla="*/ 9868289 w 12139750"/>
              <a:gd name="connsiteY976" fmla="*/ 5096095 h 6858290"/>
              <a:gd name="connsiteX977" fmla="*/ 9888974 w 12139750"/>
              <a:gd name="connsiteY977" fmla="*/ 5110082 h 6858290"/>
              <a:gd name="connsiteX978" fmla="*/ 9877562 w 12139750"/>
              <a:gd name="connsiteY978" fmla="*/ 5155597 h 6858290"/>
              <a:gd name="connsiteX979" fmla="*/ 9542804 w 12139750"/>
              <a:gd name="connsiteY979" fmla="*/ 5364209 h 6858290"/>
              <a:gd name="connsiteX980" fmla="*/ 9497155 w 12139750"/>
              <a:gd name="connsiteY980" fmla="*/ 5352831 h 6858290"/>
              <a:gd name="connsiteX981" fmla="*/ 9493351 w 12139750"/>
              <a:gd name="connsiteY981" fmla="*/ 5335762 h 6858290"/>
              <a:gd name="connsiteX982" fmla="*/ 9508567 w 12139750"/>
              <a:gd name="connsiteY982" fmla="*/ 5307315 h 6858290"/>
              <a:gd name="connsiteX983" fmla="*/ 9843325 w 12139750"/>
              <a:gd name="connsiteY983" fmla="*/ 5100599 h 6858290"/>
              <a:gd name="connsiteX984" fmla="*/ 9868289 w 12139750"/>
              <a:gd name="connsiteY984" fmla="*/ 5096095 h 6858290"/>
              <a:gd name="connsiteX985" fmla="*/ 10452111 w 12139750"/>
              <a:gd name="connsiteY985" fmla="*/ 5084390 h 6858290"/>
              <a:gd name="connsiteX986" fmla="*/ 10472844 w 12139750"/>
              <a:gd name="connsiteY986" fmla="*/ 5099443 h 6858290"/>
              <a:gd name="connsiteX987" fmla="*/ 10461405 w 12139750"/>
              <a:gd name="connsiteY987" fmla="*/ 5147230 h 6858290"/>
              <a:gd name="connsiteX988" fmla="*/ 10125860 w 12139750"/>
              <a:gd name="connsiteY988" fmla="*/ 5349847 h 6858290"/>
              <a:gd name="connsiteX989" fmla="*/ 10078197 w 12139750"/>
              <a:gd name="connsiteY989" fmla="*/ 5338378 h 6858290"/>
              <a:gd name="connsiteX990" fmla="*/ 10074384 w 12139750"/>
              <a:gd name="connsiteY990" fmla="*/ 5321175 h 6858290"/>
              <a:gd name="connsiteX991" fmla="*/ 10089636 w 12139750"/>
              <a:gd name="connsiteY991" fmla="*/ 5290591 h 6858290"/>
              <a:gd name="connsiteX992" fmla="*/ 10427088 w 12139750"/>
              <a:gd name="connsiteY992" fmla="*/ 5087974 h 6858290"/>
              <a:gd name="connsiteX993" fmla="*/ 10452111 w 12139750"/>
              <a:gd name="connsiteY993" fmla="*/ 5084390 h 6858290"/>
              <a:gd name="connsiteX994" fmla="*/ 9291418 w 12139750"/>
              <a:gd name="connsiteY994" fmla="*/ 5084390 h 6858290"/>
              <a:gd name="connsiteX995" fmla="*/ 9312374 w 12139750"/>
              <a:gd name="connsiteY995" fmla="*/ 5099443 h 6858290"/>
              <a:gd name="connsiteX996" fmla="*/ 9300944 w 12139750"/>
              <a:gd name="connsiteY996" fmla="*/ 5147230 h 6858290"/>
              <a:gd name="connsiteX997" fmla="*/ 8963754 w 12139750"/>
              <a:gd name="connsiteY997" fmla="*/ 5349847 h 6858290"/>
              <a:gd name="connsiteX998" fmla="*/ 8918033 w 12139750"/>
              <a:gd name="connsiteY998" fmla="*/ 5338378 h 6858290"/>
              <a:gd name="connsiteX999" fmla="*/ 8912318 w 12139750"/>
              <a:gd name="connsiteY999" fmla="*/ 5321175 h 6858290"/>
              <a:gd name="connsiteX1000" fmla="*/ 8929463 w 12139750"/>
              <a:gd name="connsiteY1000" fmla="*/ 5290591 h 6858290"/>
              <a:gd name="connsiteX1001" fmla="*/ 9264748 w 12139750"/>
              <a:gd name="connsiteY1001" fmla="*/ 5087974 h 6858290"/>
              <a:gd name="connsiteX1002" fmla="*/ 9291418 w 12139750"/>
              <a:gd name="connsiteY1002" fmla="*/ 5084390 h 6858290"/>
              <a:gd name="connsiteX1003" fmla="*/ 11029363 w 12139750"/>
              <a:gd name="connsiteY1003" fmla="*/ 5075090 h 6858290"/>
              <a:gd name="connsiteX1004" fmla="*/ 11050367 w 12139750"/>
              <a:gd name="connsiteY1004" fmla="*/ 5091778 h 6858290"/>
              <a:gd name="connsiteX1005" fmla="*/ 11038910 w 12139750"/>
              <a:gd name="connsiteY1005" fmla="*/ 5139458 h 6858290"/>
              <a:gd name="connsiteX1006" fmla="*/ 10700944 w 12139750"/>
              <a:gd name="connsiteY1006" fmla="*/ 5333994 h 6858290"/>
              <a:gd name="connsiteX1007" fmla="*/ 10653208 w 12139750"/>
              <a:gd name="connsiteY1007" fmla="*/ 5320643 h 6858290"/>
              <a:gd name="connsiteX1008" fmla="*/ 10647480 w 12139750"/>
              <a:gd name="connsiteY1008" fmla="*/ 5303478 h 6858290"/>
              <a:gd name="connsiteX1009" fmla="*/ 10664665 w 12139750"/>
              <a:gd name="connsiteY1009" fmla="*/ 5272963 h 6858290"/>
              <a:gd name="connsiteX1010" fmla="*/ 11002631 w 12139750"/>
              <a:gd name="connsiteY1010" fmla="*/ 5078428 h 6858290"/>
              <a:gd name="connsiteX1011" fmla="*/ 11029363 w 12139750"/>
              <a:gd name="connsiteY1011" fmla="*/ 5075090 h 6858290"/>
              <a:gd name="connsiteX1012" fmla="*/ 8719756 w 12139750"/>
              <a:gd name="connsiteY1012" fmla="*/ 5075090 h 6858290"/>
              <a:gd name="connsiteX1013" fmla="*/ 8742431 w 12139750"/>
              <a:gd name="connsiteY1013" fmla="*/ 5091778 h 6858290"/>
              <a:gd name="connsiteX1014" fmla="*/ 8729065 w 12139750"/>
              <a:gd name="connsiteY1014" fmla="*/ 5139458 h 6858290"/>
              <a:gd name="connsiteX1015" fmla="*/ 8391099 w 12139750"/>
              <a:gd name="connsiteY1015" fmla="*/ 5333994 h 6858290"/>
              <a:gd name="connsiteX1016" fmla="*/ 8343363 w 12139750"/>
              <a:gd name="connsiteY1016" fmla="*/ 5320643 h 6858290"/>
              <a:gd name="connsiteX1017" fmla="*/ 8337635 w 12139750"/>
              <a:gd name="connsiteY1017" fmla="*/ 5303478 h 6858290"/>
              <a:gd name="connsiteX1018" fmla="*/ 8356729 w 12139750"/>
              <a:gd name="connsiteY1018" fmla="*/ 5272963 h 6858290"/>
              <a:gd name="connsiteX1019" fmla="*/ 8692786 w 12139750"/>
              <a:gd name="connsiteY1019" fmla="*/ 5078428 h 6858290"/>
              <a:gd name="connsiteX1020" fmla="*/ 8719756 w 12139750"/>
              <a:gd name="connsiteY1020" fmla="*/ 5075090 h 6858290"/>
              <a:gd name="connsiteX1021" fmla="*/ 11600954 w 12139750"/>
              <a:gd name="connsiteY1021" fmla="*/ 5064224 h 6858290"/>
              <a:gd name="connsiteX1022" fmla="*/ 11622196 w 12139750"/>
              <a:gd name="connsiteY1022" fmla="*/ 5082602 h 6858290"/>
              <a:gd name="connsiteX1023" fmla="*/ 11608830 w 12139750"/>
              <a:gd name="connsiteY1023" fmla="*/ 5132248 h 6858290"/>
              <a:gd name="connsiteX1024" fmla="*/ 11270864 w 12139750"/>
              <a:gd name="connsiteY1024" fmla="*/ 5319373 h 6858290"/>
              <a:gd name="connsiteX1025" fmla="*/ 11221219 w 12139750"/>
              <a:gd name="connsiteY1025" fmla="*/ 5306007 h 6858290"/>
              <a:gd name="connsiteX1026" fmla="*/ 11217400 w 12139750"/>
              <a:gd name="connsiteY1026" fmla="*/ 5288822 h 6858290"/>
              <a:gd name="connsiteX1027" fmla="*/ 11234585 w 12139750"/>
              <a:gd name="connsiteY1027" fmla="*/ 5256362 h 6858290"/>
              <a:gd name="connsiteX1028" fmla="*/ 11572551 w 12139750"/>
              <a:gd name="connsiteY1028" fmla="*/ 5067327 h 6858290"/>
              <a:gd name="connsiteX1029" fmla="*/ 11600954 w 12139750"/>
              <a:gd name="connsiteY1029" fmla="*/ 5064224 h 6858290"/>
              <a:gd name="connsiteX1030" fmla="*/ 8155460 w 12139750"/>
              <a:gd name="connsiteY1030" fmla="*/ 5064224 h 6858290"/>
              <a:gd name="connsiteX1031" fmla="*/ 8177317 w 12139750"/>
              <a:gd name="connsiteY1031" fmla="*/ 5082602 h 6858290"/>
              <a:gd name="connsiteX1032" fmla="*/ 8162112 w 12139750"/>
              <a:gd name="connsiteY1032" fmla="*/ 5132248 h 6858290"/>
              <a:gd name="connsiteX1033" fmla="*/ 7825696 w 12139750"/>
              <a:gd name="connsiteY1033" fmla="*/ 5319373 h 6858290"/>
              <a:gd name="connsiteX1034" fmla="*/ 7776279 w 12139750"/>
              <a:gd name="connsiteY1034" fmla="*/ 5306007 h 6858290"/>
              <a:gd name="connsiteX1035" fmla="*/ 7772478 w 12139750"/>
              <a:gd name="connsiteY1035" fmla="*/ 5288822 h 6858290"/>
              <a:gd name="connsiteX1036" fmla="*/ 7791484 w 12139750"/>
              <a:gd name="connsiteY1036" fmla="*/ 5256362 h 6858290"/>
              <a:gd name="connsiteX1037" fmla="*/ 8127900 w 12139750"/>
              <a:gd name="connsiteY1037" fmla="*/ 5067327 h 6858290"/>
              <a:gd name="connsiteX1038" fmla="*/ 8155460 w 12139750"/>
              <a:gd name="connsiteY1038" fmla="*/ 5064224 h 6858290"/>
              <a:gd name="connsiteX1039" fmla="*/ 12139750 w 12139750"/>
              <a:gd name="connsiteY1039" fmla="*/ 5056192 h 6858290"/>
              <a:gd name="connsiteX1040" fmla="*/ 12139750 w 12139750"/>
              <a:gd name="connsiteY1040" fmla="*/ 5139909 h 6858290"/>
              <a:gd name="connsiteX1041" fmla="*/ 11834946 w 12139750"/>
              <a:gd name="connsiteY1041" fmla="*/ 5305441 h 6858290"/>
              <a:gd name="connsiteX1042" fmla="*/ 11783510 w 12139750"/>
              <a:gd name="connsiteY1042" fmla="*/ 5290220 h 6858290"/>
              <a:gd name="connsiteX1043" fmla="*/ 11777795 w 12139750"/>
              <a:gd name="connsiteY1043" fmla="*/ 5271193 h 6858290"/>
              <a:gd name="connsiteX1044" fmla="*/ 11798750 w 12139750"/>
              <a:gd name="connsiteY1044" fmla="*/ 5238848 h 6858290"/>
              <a:gd name="connsiteX1045" fmla="*/ 12135940 w 12139750"/>
              <a:gd name="connsiteY1045" fmla="*/ 5058094 h 6858290"/>
              <a:gd name="connsiteX1046" fmla="*/ 12139750 w 12139750"/>
              <a:gd name="connsiteY1046" fmla="*/ 5056192 h 6858290"/>
              <a:gd name="connsiteX1047" fmla="*/ 7597906 w 12139750"/>
              <a:gd name="connsiteY1047" fmla="*/ 5054684 h 6858290"/>
              <a:gd name="connsiteX1048" fmla="*/ 7620068 w 12139750"/>
              <a:gd name="connsiteY1048" fmla="*/ 5073020 h 6858290"/>
              <a:gd name="connsiteX1049" fmla="*/ 7604817 w 12139750"/>
              <a:gd name="connsiteY1049" fmla="*/ 5124455 h 6858290"/>
              <a:gd name="connsiteX1050" fmla="*/ 7267371 w 12139750"/>
              <a:gd name="connsiteY1050" fmla="*/ 5305430 h 6858290"/>
              <a:gd name="connsiteX1051" fmla="*/ 7215896 w 12139750"/>
              <a:gd name="connsiteY1051" fmla="*/ 5290190 h 6858290"/>
              <a:gd name="connsiteX1052" fmla="*/ 7212083 w 12139750"/>
              <a:gd name="connsiteY1052" fmla="*/ 5271140 h 6858290"/>
              <a:gd name="connsiteX1053" fmla="*/ 7231147 w 12139750"/>
              <a:gd name="connsiteY1053" fmla="*/ 5238755 h 6858290"/>
              <a:gd name="connsiteX1054" fmla="*/ 7568594 w 12139750"/>
              <a:gd name="connsiteY1054" fmla="*/ 5057780 h 6858290"/>
              <a:gd name="connsiteX1055" fmla="*/ 7597906 w 12139750"/>
              <a:gd name="connsiteY1055" fmla="*/ 5054684 h 6858290"/>
              <a:gd name="connsiteX1056" fmla="*/ 7046964 w 12139750"/>
              <a:gd name="connsiteY1056" fmla="*/ 5044542 h 6858290"/>
              <a:gd name="connsiteX1057" fmla="*/ 7069177 w 12139750"/>
              <a:gd name="connsiteY1057" fmla="*/ 5063876 h 6858290"/>
              <a:gd name="connsiteX1058" fmla="*/ 7051980 w 12139750"/>
              <a:gd name="connsiteY1058" fmla="*/ 5115435 h 6858290"/>
              <a:gd name="connsiteX1059" fmla="*/ 6713773 w 12139750"/>
              <a:gd name="connsiteY1059" fmla="*/ 5291119 h 6858290"/>
              <a:gd name="connsiteX1060" fmla="*/ 6660271 w 12139750"/>
              <a:gd name="connsiteY1060" fmla="*/ 5273932 h 6858290"/>
              <a:gd name="connsiteX1061" fmla="*/ 6656450 w 12139750"/>
              <a:gd name="connsiteY1061" fmla="*/ 5256746 h 6858290"/>
              <a:gd name="connsiteX1062" fmla="*/ 6677468 w 12139750"/>
              <a:gd name="connsiteY1062" fmla="*/ 5222373 h 6858290"/>
              <a:gd name="connsiteX1063" fmla="*/ 7017586 w 12139750"/>
              <a:gd name="connsiteY1063" fmla="*/ 5046690 h 6858290"/>
              <a:gd name="connsiteX1064" fmla="*/ 7046964 w 12139750"/>
              <a:gd name="connsiteY1064" fmla="*/ 5044542 h 6858290"/>
              <a:gd name="connsiteX1065" fmla="*/ 6485663 w 12139750"/>
              <a:gd name="connsiteY1065" fmla="*/ 5032630 h 6858290"/>
              <a:gd name="connsiteX1066" fmla="*/ 6523112 w 12139750"/>
              <a:gd name="connsiteY1066" fmla="*/ 5054570 h 6858290"/>
              <a:gd name="connsiteX1067" fmla="*/ 6505992 w 12139750"/>
              <a:gd name="connsiteY1067" fmla="*/ 5107845 h 6858290"/>
              <a:gd name="connsiteX1068" fmla="*/ 6167407 w 12139750"/>
              <a:gd name="connsiteY1068" fmla="*/ 5275279 h 6858290"/>
              <a:gd name="connsiteX1069" fmla="*/ 6114146 w 12139750"/>
              <a:gd name="connsiteY1069" fmla="*/ 5258155 h 6858290"/>
              <a:gd name="connsiteX1070" fmla="*/ 6110342 w 12139750"/>
              <a:gd name="connsiteY1070" fmla="*/ 5239129 h 6858290"/>
              <a:gd name="connsiteX1071" fmla="*/ 6131266 w 12139750"/>
              <a:gd name="connsiteY1071" fmla="*/ 5202978 h 6858290"/>
              <a:gd name="connsiteX1072" fmla="*/ 6469851 w 12139750"/>
              <a:gd name="connsiteY1072" fmla="*/ 5037446 h 6858290"/>
              <a:gd name="connsiteX1073" fmla="*/ 6485663 w 12139750"/>
              <a:gd name="connsiteY1073" fmla="*/ 5032630 h 6858290"/>
              <a:gd name="connsiteX1074" fmla="*/ 5956806 w 12139750"/>
              <a:gd name="connsiteY1074" fmla="*/ 5024850 h 6858290"/>
              <a:gd name="connsiteX1075" fmla="*/ 5980159 w 12139750"/>
              <a:gd name="connsiteY1075" fmla="*/ 5045115 h 6858290"/>
              <a:gd name="connsiteX1076" fmla="*/ 5961095 w 12139750"/>
              <a:gd name="connsiteY1076" fmla="*/ 5100429 h 6858290"/>
              <a:gd name="connsiteX1077" fmla="*/ 5621756 w 12139750"/>
              <a:gd name="connsiteY1077" fmla="*/ 5262556 h 6858290"/>
              <a:gd name="connsiteX1078" fmla="*/ 5566471 w 12139750"/>
              <a:gd name="connsiteY1078" fmla="*/ 5241575 h 6858290"/>
              <a:gd name="connsiteX1079" fmla="*/ 5562659 w 12139750"/>
              <a:gd name="connsiteY1079" fmla="*/ 5224408 h 6858290"/>
              <a:gd name="connsiteX1080" fmla="*/ 5585535 w 12139750"/>
              <a:gd name="connsiteY1080" fmla="*/ 5186261 h 6858290"/>
              <a:gd name="connsiteX1081" fmla="*/ 5924873 w 12139750"/>
              <a:gd name="connsiteY1081" fmla="*/ 5026042 h 6858290"/>
              <a:gd name="connsiteX1082" fmla="*/ 5956806 w 12139750"/>
              <a:gd name="connsiteY1082" fmla="*/ 5024850 h 6858290"/>
              <a:gd name="connsiteX1083" fmla="*/ 398945 w 12139750"/>
              <a:gd name="connsiteY1083" fmla="*/ 5024850 h 6858290"/>
              <a:gd name="connsiteX1084" fmla="*/ 422281 w 12139750"/>
              <a:gd name="connsiteY1084" fmla="*/ 5045115 h 6858290"/>
              <a:gd name="connsiteX1085" fmla="*/ 401326 w 12139750"/>
              <a:gd name="connsiteY1085" fmla="*/ 5100429 h 6858290"/>
              <a:gd name="connsiteX1086" fmla="*/ 62232 w 12139750"/>
              <a:gd name="connsiteY1086" fmla="*/ 5262556 h 6858290"/>
              <a:gd name="connsiteX1087" fmla="*/ 8891 w 12139750"/>
              <a:gd name="connsiteY1087" fmla="*/ 5241575 h 6858290"/>
              <a:gd name="connsiteX1088" fmla="*/ 3176 w 12139750"/>
              <a:gd name="connsiteY1088" fmla="*/ 5224408 h 6858290"/>
              <a:gd name="connsiteX1089" fmla="*/ 27941 w 12139750"/>
              <a:gd name="connsiteY1089" fmla="*/ 5186261 h 6858290"/>
              <a:gd name="connsiteX1090" fmla="*/ 367035 w 12139750"/>
              <a:gd name="connsiteY1090" fmla="*/ 5026042 h 6858290"/>
              <a:gd name="connsiteX1091" fmla="*/ 398945 w 12139750"/>
              <a:gd name="connsiteY1091" fmla="*/ 5024850 h 6858290"/>
              <a:gd name="connsiteX1092" fmla="*/ 5409053 w 12139750"/>
              <a:gd name="connsiteY1092" fmla="*/ 5014180 h 6858290"/>
              <a:gd name="connsiteX1093" fmla="*/ 5432457 w 12139750"/>
              <a:gd name="connsiteY1093" fmla="*/ 5037695 h 6858290"/>
              <a:gd name="connsiteX1094" fmla="*/ 5411441 w 12139750"/>
              <a:gd name="connsiteY1094" fmla="*/ 5092800 h 6858290"/>
              <a:gd name="connsiteX1095" fmla="*/ 5071343 w 12139750"/>
              <a:gd name="connsiteY1095" fmla="*/ 5246716 h 6858290"/>
              <a:gd name="connsiteX1096" fmla="*/ 5014031 w 12139750"/>
              <a:gd name="connsiteY1096" fmla="*/ 5225814 h 6858290"/>
              <a:gd name="connsiteX1097" fmla="*/ 5010210 w 12139750"/>
              <a:gd name="connsiteY1097" fmla="*/ 5208712 h 6858290"/>
              <a:gd name="connsiteX1098" fmla="*/ 5036956 w 12139750"/>
              <a:gd name="connsiteY1098" fmla="*/ 5168808 h 6858290"/>
              <a:gd name="connsiteX1099" fmla="*/ 5377049 w 12139750"/>
              <a:gd name="connsiteY1099" fmla="*/ 5014893 h 6858290"/>
              <a:gd name="connsiteX1100" fmla="*/ 5409053 w 12139750"/>
              <a:gd name="connsiteY1100" fmla="*/ 5014180 h 6858290"/>
              <a:gd name="connsiteX1101" fmla="*/ 942531 w 12139750"/>
              <a:gd name="connsiteY1101" fmla="*/ 5014180 h 6858290"/>
              <a:gd name="connsiteX1102" fmla="*/ 966802 w 12139750"/>
              <a:gd name="connsiteY1102" fmla="*/ 5037695 h 6858290"/>
              <a:gd name="connsiteX1103" fmla="*/ 945862 w 12139750"/>
              <a:gd name="connsiteY1103" fmla="*/ 5092800 h 6858290"/>
              <a:gd name="connsiteX1104" fmla="*/ 605115 w 12139750"/>
              <a:gd name="connsiteY1104" fmla="*/ 5246716 h 6858290"/>
              <a:gd name="connsiteX1105" fmla="*/ 549910 w 12139750"/>
              <a:gd name="connsiteY1105" fmla="*/ 5225814 h 6858290"/>
              <a:gd name="connsiteX1106" fmla="*/ 546103 w 12139750"/>
              <a:gd name="connsiteY1106" fmla="*/ 5208712 h 6858290"/>
              <a:gd name="connsiteX1107" fmla="*/ 570850 w 12139750"/>
              <a:gd name="connsiteY1107" fmla="*/ 5168808 h 6858290"/>
              <a:gd name="connsiteX1108" fmla="*/ 909693 w 12139750"/>
              <a:gd name="connsiteY1108" fmla="*/ 5014893 h 6858290"/>
              <a:gd name="connsiteX1109" fmla="*/ 942531 w 12139750"/>
              <a:gd name="connsiteY1109" fmla="*/ 5014180 h 6858290"/>
              <a:gd name="connsiteX1110" fmla="*/ 4856076 w 12139750"/>
              <a:gd name="connsiteY1110" fmla="*/ 5004632 h 6858290"/>
              <a:gd name="connsiteX1111" fmla="*/ 4879690 w 12139750"/>
              <a:gd name="connsiteY1111" fmla="*/ 5028084 h 6858290"/>
              <a:gd name="connsiteX1112" fmla="*/ 4856790 w 12139750"/>
              <a:gd name="connsiteY1112" fmla="*/ 5084939 h 6858290"/>
              <a:gd name="connsiteX1113" fmla="*/ 4517206 w 12139750"/>
              <a:gd name="connsiteY1113" fmla="*/ 5230866 h 6858290"/>
              <a:gd name="connsiteX1114" fmla="*/ 4459973 w 12139750"/>
              <a:gd name="connsiteY1114" fmla="*/ 5208124 h 6858290"/>
              <a:gd name="connsiteX1115" fmla="*/ 4456156 w 12139750"/>
              <a:gd name="connsiteY1115" fmla="*/ 5191068 h 6858290"/>
              <a:gd name="connsiteX1116" fmla="*/ 4482866 w 12139750"/>
              <a:gd name="connsiteY1116" fmla="*/ 5151269 h 6858290"/>
              <a:gd name="connsiteX1117" fmla="*/ 4822447 w 12139750"/>
              <a:gd name="connsiteY1117" fmla="*/ 5005343 h 6858290"/>
              <a:gd name="connsiteX1118" fmla="*/ 4856076 w 12139750"/>
              <a:gd name="connsiteY1118" fmla="*/ 5004632 h 6858290"/>
              <a:gd name="connsiteX1119" fmla="*/ 1491734 w 12139750"/>
              <a:gd name="connsiteY1119" fmla="*/ 5004632 h 6858290"/>
              <a:gd name="connsiteX1120" fmla="*/ 1516059 w 12139750"/>
              <a:gd name="connsiteY1120" fmla="*/ 5028084 h 6858290"/>
              <a:gd name="connsiteX1121" fmla="*/ 1493165 w 12139750"/>
              <a:gd name="connsiteY1121" fmla="*/ 5084939 h 6858290"/>
              <a:gd name="connsiteX1122" fmla="*/ 1153575 w 12139750"/>
              <a:gd name="connsiteY1122" fmla="*/ 5230866 h 6858290"/>
              <a:gd name="connsiteX1123" fmla="*/ 1094433 w 12139750"/>
              <a:gd name="connsiteY1123" fmla="*/ 5208124 h 6858290"/>
              <a:gd name="connsiteX1124" fmla="*/ 1090618 w 12139750"/>
              <a:gd name="connsiteY1124" fmla="*/ 5191068 h 6858290"/>
              <a:gd name="connsiteX1125" fmla="*/ 1117327 w 12139750"/>
              <a:gd name="connsiteY1125" fmla="*/ 5151269 h 6858290"/>
              <a:gd name="connsiteX1126" fmla="*/ 1458825 w 12139750"/>
              <a:gd name="connsiteY1126" fmla="*/ 5005343 h 6858290"/>
              <a:gd name="connsiteX1127" fmla="*/ 1491734 w 12139750"/>
              <a:gd name="connsiteY1127" fmla="*/ 5004632 h 6858290"/>
              <a:gd name="connsiteX1128" fmla="*/ 4281239 w 12139750"/>
              <a:gd name="connsiteY1128" fmla="*/ 4989344 h 6858290"/>
              <a:gd name="connsiteX1129" fmla="*/ 4322794 w 12139750"/>
              <a:gd name="connsiteY1129" fmla="*/ 5017546 h 6858290"/>
              <a:gd name="connsiteX1130" fmla="*/ 4298009 w 12139750"/>
              <a:gd name="connsiteY1130" fmla="*/ 5076755 h 6858290"/>
              <a:gd name="connsiteX1131" fmla="*/ 3958691 w 12139750"/>
              <a:gd name="connsiteY1131" fmla="*/ 5218092 h 6858290"/>
              <a:gd name="connsiteX1132" fmla="*/ 3899588 w 12139750"/>
              <a:gd name="connsiteY1132" fmla="*/ 5193262 h 6858290"/>
              <a:gd name="connsiteX1133" fmla="*/ 3895778 w 12139750"/>
              <a:gd name="connsiteY1133" fmla="*/ 5176073 h 6858290"/>
              <a:gd name="connsiteX1134" fmla="*/ 3924372 w 12139750"/>
              <a:gd name="connsiteY1134" fmla="*/ 5134054 h 6858290"/>
              <a:gd name="connsiteX1135" fmla="*/ 4263693 w 12139750"/>
              <a:gd name="connsiteY1135" fmla="*/ 4992717 h 6858290"/>
              <a:gd name="connsiteX1136" fmla="*/ 4281239 w 12139750"/>
              <a:gd name="connsiteY1136" fmla="*/ 4989344 h 6858290"/>
              <a:gd name="connsiteX1137" fmla="*/ 2028590 w 12139750"/>
              <a:gd name="connsiteY1137" fmla="*/ 4989344 h 6858290"/>
              <a:gd name="connsiteX1138" fmla="*/ 2070119 w 12139750"/>
              <a:gd name="connsiteY1138" fmla="*/ 5017546 h 6858290"/>
              <a:gd name="connsiteX1139" fmla="*/ 2045348 w 12139750"/>
              <a:gd name="connsiteY1139" fmla="*/ 5076755 h 6858290"/>
              <a:gd name="connsiteX1140" fmla="*/ 1704349 w 12139750"/>
              <a:gd name="connsiteY1140" fmla="*/ 5218092 h 6858290"/>
              <a:gd name="connsiteX1141" fmla="*/ 1645293 w 12139750"/>
              <a:gd name="connsiteY1141" fmla="*/ 5193262 h 6858290"/>
              <a:gd name="connsiteX1142" fmla="*/ 1641483 w 12139750"/>
              <a:gd name="connsiteY1142" fmla="*/ 5176073 h 6858290"/>
              <a:gd name="connsiteX1143" fmla="*/ 1670059 w 12139750"/>
              <a:gd name="connsiteY1143" fmla="*/ 5134054 h 6858290"/>
              <a:gd name="connsiteX1144" fmla="*/ 2011058 w 12139750"/>
              <a:gd name="connsiteY1144" fmla="*/ 4992717 h 6858290"/>
              <a:gd name="connsiteX1145" fmla="*/ 2028590 w 12139750"/>
              <a:gd name="connsiteY1145" fmla="*/ 4989344 h 6858290"/>
              <a:gd name="connsiteX1146" fmla="*/ 3720410 w 12139750"/>
              <a:gd name="connsiteY1146" fmla="*/ 4979833 h 6858290"/>
              <a:gd name="connsiteX1147" fmla="*/ 3762740 w 12139750"/>
              <a:gd name="connsiteY1147" fmla="*/ 5009837 h 6858290"/>
              <a:gd name="connsiteX1148" fmla="*/ 3736068 w 12139750"/>
              <a:gd name="connsiteY1148" fmla="*/ 5068892 h 6858290"/>
              <a:gd name="connsiteX1149" fmla="*/ 3395084 w 12139750"/>
              <a:gd name="connsiteY1149" fmla="*/ 5202242 h 6858290"/>
              <a:gd name="connsiteX1150" fmla="*/ 3334121 w 12139750"/>
              <a:gd name="connsiteY1150" fmla="*/ 5175572 h 6858290"/>
              <a:gd name="connsiteX1151" fmla="*/ 3332216 w 12139750"/>
              <a:gd name="connsiteY1151" fmla="*/ 5158427 h 6858290"/>
              <a:gd name="connsiteX1152" fmla="*/ 3360791 w 12139750"/>
              <a:gd name="connsiteY1152" fmla="*/ 5116517 h 6858290"/>
              <a:gd name="connsiteX1153" fmla="*/ 3701777 w 12139750"/>
              <a:gd name="connsiteY1153" fmla="*/ 4983167 h 6858290"/>
              <a:gd name="connsiteX1154" fmla="*/ 3720410 w 12139750"/>
              <a:gd name="connsiteY1154" fmla="*/ 4979833 h 6858290"/>
              <a:gd name="connsiteX1155" fmla="*/ 2585923 w 12139750"/>
              <a:gd name="connsiteY1155" fmla="*/ 4979833 h 6858290"/>
              <a:gd name="connsiteX1156" fmla="*/ 2629210 w 12139750"/>
              <a:gd name="connsiteY1156" fmla="*/ 5009837 h 6858290"/>
              <a:gd name="connsiteX1157" fmla="*/ 2602443 w 12139750"/>
              <a:gd name="connsiteY1157" fmla="*/ 5068892 h 6858290"/>
              <a:gd name="connsiteX1158" fmla="*/ 2260209 w 12139750"/>
              <a:gd name="connsiteY1158" fmla="*/ 5202242 h 6858290"/>
              <a:gd name="connsiteX1159" fmla="*/ 2199027 w 12139750"/>
              <a:gd name="connsiteY1159" fmla="*/ 5175572 h 6858290"/>
              <a:gd name="connsiteX1160" fmla="*/ 2197115 w 12139750"/>
              <a:gd name="connsiteY1160" fmla="*/ 5158427 h 6858290"/>
              <a:gd name="connsiteX1161" fmla="*/ 2225794 w 12139750"/>
              <a:gd name="connsiteY1161" fmla="*/ 5116517 h 6858290"/>
              <a:gd name="connsiteX1162" fmla="*/ 2568028 w 12139750"/>
              <a:gd name="connsiteY1162" fmla="*/ 4983167 h 6858290"/>
              <a:gd name="connsiteX1163" fmla="*/ 2585923 w 12139750"/>
              <a:gd name="connsiteY1163" fmla="*/ 4979833 h 6858290"/>
              <a:gd name="connsiteX1164" fmla="*/ 3148522 w 12139750"/>
              <a:gd name="connsiteY1164" fmla="*/ 4969036 h 6858290"/>
              <a:gd name="connsiteX1165" fmla="*/ 3190911 w 12139750"/>
              <a:gd name="connsiteY1165" fmla="*/ 5000733 h 6858290"/>
              <a:gd name="connsiteX1166" fmla="*/ 3162292 w 12139750"/>
              <a:gd name="connsiteY1166" fmla="*/ 5061858 h 6858290"/>
              <a:gd name="connsiteX1167" fmla="*/ 2820805 w 12139750"/>
              <a:gd name="connsiteY1167" fmla="*/ 5187929 h 6858290"/>
              <a:gd name="connsiteX1168" fmla="*/ 2759755 w 12139750"/>
              <a:gd name="connsiteY1168" fmla="*/ 5161187 h 6858290"/>
              <a:gd name="connsiteX1169" fmla="*/ 2755939 w 12139750"/>
              <a:gd name="connsiteY1169" fmla="*/ 5143995 h 6858290"/>
              <a:gd name="connsiteX1170" fmla="*/ 2788374 w 12139750"/>
              <a:gd name="connsiteY1170" fmla="*/ 5098151 h 6858290"/>
              <a:gd name="connsiteX1171" fmla="*/ 3129863 w 12139750"/>
              <a:gd name="connsiteY1171" fmla="*/ 4972081 h 6858290"/>
              <a:gd name="connsiteX1172" fmla="*/ 3148522 w 12139750"/>
              <a:gd name="connsiteY1172" fmla="*/ 4969036 h 6858290"/>
              <a:gd name="connsiteX1173" fmla="*/ 9865943 w 12139750"/>
              <a:gd name="connsiteY1173" fmla="*/ 4767278 h 6858290"/>
              <a:gd name="connsiteX1174" fmla="*/ 9885469 w 12139750"/>
              <a:gd name="connsiteY1174" fmla="*/ 4779687 h 6858290"/>
              <a:gd name="connsiteX1175" fmla="*/ 9875944 w 12139750"/>
              <a:gd name="connsiteY1175" fmla="*/ 4821688 h 6858290"/>
              <a:gd name="connsiteX1176" fmla="*/ 9542565 w 12139750"/>
              <a:gd name="connsiteY1176" fmla="*/ 5046968 h 6858290"/>
              <a:gd name="connsiteX1177" fmla="*/ 9500654 w 12139750"/>
              <a:gd name="connsiteY1177" fmla="*/ 5037422 h 6858290"/>
              <a:gd name="connsiteX1178" fmla="*/ 9494939 w 12139750"/>
              <a:gd name="connsiteY1178" fmla="*/ 5022149 h 6858290"/>
              <a:gd name="connsiteX1179" fmla="*/ 9508274 w 12139750"/>
              <a:gd name="connsiteY1179" fmla="*/ 4997330 h 6858290"/>
              <a:gd name="connsiteX1180" fmla="*/ 9843558 w 12139750"/>
              <a:gd name="connsiteY1180" fmla="*/ 4772051 h 6858290"/>
              <a:gd name="connsiteX1181" fmla="*/ 9865943 w 12139750"/>
              <a:gd name="connsiteY1181" fmla="*/ 4767278 h 6858290"/>
              <a:gd name="connsiteX1182" fmla="*/ 10450715 w 12139750"/>
              <a:gd name="connsiteY1182" fmla="*/ 4757980 h 6858290"/>
              <a:gd name="connsiteX1183" fmla="*/ 10471242 w 12139750"/>
              <a:gd name="connsiteY1183" fmla="*/ 4772030 h 6858290"/>
              <a:gd name="connsiteX1184" fmla="*/ 10461695 w 12139750"/>
              <a:gd name="connsiteY1184" fmla="*/ 4815845 h 6858290"/>
              <a:gd name="connsiteX1185" fmla="*/ 10125619 w 12139750"/>
              <a:gd name="connsiteY1185" fmla="*/ 5029205 h 6858290"/>
              <a:gd name="connsiteX1186" fmla="*/ 10081701 w 12139750"/>
              <a:gd name="connsiteY1186" fmla="*/ 5019680 h 6858290"/>
              <a:gd name="connsiteX1187" fmla="*/ 10075972 w 12139750"/>
              <a:gd name="connsiteY1187" fmla="*/ 5004440 h 6858290"/>
              <a:gd name="connsiteX1188" fmla="*/ 10091248 w 12139750"/>
              <a:gd name="connsiteY1188" fmla="*/ 4977770 h 6858290"/>
              <a:gd name="connsiteX1189" fmla="*/ 10427323 w 12139750"/>
              <a:gd name="connsiteY1189" fmla="*/ 4762505 h 6858290"/>
              <a:gd name="connsiteX1190" fmla="*/ 10450715 w 12139750"/>
              <a:gd name="connsiteY1190" fmla="*/ 4757980 h 6858290"/>
              <a:gd name="connsiteX1191" fmla="*/ 9287869 w 12139750"/>
              <a:gd name="connsiteY1191" fmla="*/ 4757980 h 6858290"/>
              <a:gd name="connsiteX1192" fmla="*/ 9307618 w 12139750"/>
              <a:gd name="connsiteY1192" fmla="*/ 4772030 h 6858290"/>
              <a:gd name="connsiteX1193" fmla="*/ 9298101 w 12139750"/>
              <a:gd name="connsiteY1193" fmla="*/ 4815845 h 6858290"/>
              <a:gd name="connsiteX1194" fmla="*/ 8963081 w 12139750"/>
              <a:gd name="connsiteY1194" fmla="*/ 5029205 h 6858290"/>
              <a:gd name="connsiteX1195" fmla="*/ 8919300 w 12139750"/>
              <a:gd name="connsiteY1195" fmla="*/ 5019680 h 6858290"/>
              <a:gd name="connsiteX1196" fmla="*/ 8915493 w 12139750"/>
              <a:gd name="connsiteY1196" fmla="*/ 5004440 h 6858290"/>
              <a:gd name="connsiteX1197" fmla="*/ 8928818 w 12139750"/>
              <a:gd name="connsiteY1197" fmla="*/ 4977770 h 6858290"/>
              <a:gd name="connsiteX1198" fmla="*/ 9263837 w 12139750"/>
              <a:gd name="connsiteY1198" fmla="*/ 4762505 h 6858290"/>
              <a:gd name="connsiteX1199" fmla="*/ 9287869 w 12139750"/>
              <a:gd name="connsiteY1199" fmla="*/ 4757980 h 6858290"/>
              <a:gd name="connsiteX1200" fmla="*/ 11026794 w 12139750"/>
              <a:gd name="connsiteY1200" fmla="*/ 4748711 h 6858290"/>
              <a:gd name="connsiteX1201" fmla="*/ 11047527 w 12139750"/>
              <a:gd name="connsiteY1201" fmla="*/ 4764481 h 6858290"/>
              <a:gd name="connsiteX1202" fmla="*/ 11036088 w 12139750"/>
              <a:gd name="connsiteY1202" fmla="*/ 4810357 h 6858290"/>
              <a:gd name="connsiteX1203" fmla="*/ 10700543 w 12139750"/>
              <a:gd name="connsiteY1203" fmla="*/ 5014885 h 6858290"/>
              <a:gd name="connsiteX1204" fmla="*/ 10654787 w 12139750"/>
              <a:gd name="connsiteY1204" fmla="*/ 5005328 h 6858290"/>
              <a:gd name="connsiteX1205" fmla="*/ 10649067 w 12139750"/>
              <a:gd name="connsiteY1205" fmla="*/ 4988125 h 6858290"/>
              <a:gd name="connsiteX1206" fmla="*/ 10666226 w 12139750"/>
              <a:gd name="connsiteY1206" fmla="*/ 4959452 h 6858290"/>
              <a:gd name="connsiteX1207" fmla="*/ 11001771 w 12139750"/>
              <a:gd name="connsiteY1207" fmla="*/ 4753012 h 6858290"/>
              <a:gd name="connsiteX1208" fmla="*/ 11026794 w 12139750"/>
              <a:gd name="connsiteY1208" fmla="*/ 4748711 h 6858290"/>
              <a:gd name="connsiteX1209" fmla="*/ 8717757 w 12139750"/>
              <a:gd name="connsiteY1209" fmla="*/ 4748711 h 6858290"/>
              <a:gd name="connsiteX1210" fmla="*/ 8737713 w 12139750"/>
              <a:gd name="connsiteY1210" fmla="*/ 4764481 h 6858290"/>
              <a:gd name="connsiteX1211" fmla="*/ 8728210 w 12139750"/>
              <a:gd name="connsiteY1211" fmla="*/ 4810357 h 6858290"/>
              <a:gd name="connsiteX1212" fmla="*/ 8391812 w 12139750"/>
              <a:gd name="connsiteY1212" fmla="*/ 5014885 h 6858290"/>
              <a:gd name="connsiteX1213" fmla="*/ 8346199 w 12139750"/>
              <a:gd name="connsiteY1213" fmla="*/ 5005328 h 6858290"/>
              <a:gd name="connsiteX1214" fmla="*/ 8342398 w 12139750"/>
              <a:gd name="connsiteY1214" fmla="*/ 4988125 h 6858290"/>
              <a:gd name="connsiteX1215" fmla="*/ 8357602 w 12139750"/>
              <a:gd name="connsiteY1215" fmla="*/ 4959452 h 6858290"/>
              <a:gd name="connsiteX1216" fmla="*/ 8692100 w 12139750"/>
              <a:gd name="connsiteY1216" fmla="*/ 4753012 h 6858290"/>
              <a:gd name="connsiteX1217" fmla="*/ 8717757 w 12139750"/>
              <a:gd name="connsiteY1217" fmla="*/ 4748711 h 6858290"/>
              <a:gd name="connsiteX1218" fmla="*/ 11598111 w 12139750"/>
              <a:gd name="connsiteY1218" fmla="*/ 4739890 h 6858290"/>
              <a:gd name="connsiteX1219" fmla="*/ 11619050 w 12139750"/>
              <a:gd name="connsiteY1219" fmla="*/ 4754909 h 6858290"/>
              <a:gd name="connsiteX1220" fmla="*/ 11607629 w 12139750"/>
              <a:gd name="connsiteY1220" fmla="*/ 4802589 h 6858290"/>
              <a:gd name="connsiteX1221" fmla="*/ 11270700 w 12139750"/>
              <a:gd name="connsiteY1221" fmla="*/ 4999032 h 6858290"/>
              <a:gd name="connsiteX1222" fmla="*/ 11223111 w 12139750"/>
              <a:gd name="connsiteY1222" fmla="*/ 4987588 h 6858290"/>
              <a:gd name="connsiteX1223" fmla="*/ 11217400 w 12139750"/>
              <a:gd name="connsiteY1223" fmla="*/ 4968516 h 6858290"/>
              <a:gd name="connsiteX1224" fmla="*/ 11236436 w 12139750"/>
              <a:gd name="connsiteY1224" fmla="*/ 4939908 h 6858290"/>
              <a:gd name="connsiteX1225" fmla="*/ 11571461 w 12139750"/>
              <a:gd name="connsiteY1225" fmla="*/ 4743466 h 6858290"/>
              <a:gd name="connsiteX1226" fmla="*/ 11598111 w 12139750"/>
              <a:gd name="connsiteY1226" fmla="*/ 4739890 h 6858290"/>
              <a:gd name="connsiteX1227" fmla="*/ 8154062 w 12139750"/>
              <a:gd name="connsiteY1227" fmla="*/ 4739890 h 6858290"/>
              <a:gd name="connsiteX1228" fmla="*/ 8175715 w 12139750"/>
              <a:gd name="connsiteY1228" fmla="*/ 4754909 h 6858290"/>
              <a:gd name="connsiteX1229" fmla="*/ 8162390 w 12139750"/>
              <a:gd name="connsiteY1229" fmla="*/ 4802589 h 6858290"/>
              <a:gd name="connsiteX1230" fmla="*/ 7825461 w 12139750"/>
              <a:gd name="connsiteY1230" fmla="*/ 4999032 h 6858290"/>
              <a:gd name="connsiteX1231" fmla="*/ 7777872 w 12139750"/>
              <a:gd name="connsiteY1231" fmla="*/ 4987588 h 6858290"/>
              <a:gd name="connsiteX1232" fmla="*/ 7774065 w 12139750"/>
              <a:gd name="connsiteY1232" fmla="*/ 4968516 h 6858290"/>
              <a:gd name="connsiteX1233" fmla="*/ 7791197 w 12139750"/>
              <a:gd name="connsiteY1233" fmla="*/ 4939908 h 6858290"/>
              <a:gd name="connsiteX1234" fmla="*/ 8128126 w 12139750"/>
              <a:gd name="connsiteY1234" fmla="*/ 4743466 h 6858290"/>
              <a:gd name="connsiteX1235" fmla="*/ 8154062 w 12139750"/>
              <a:gd name="connsiteY1235" fmla="*/ 4739890 h 6858290"/>
              <a:gd name="connsiteX1236" fmla="*/ 12135937 w 12139750"/>
              <a:gd name="connsiteY1236" fmla="*/ 4732342 h 6858290"/>
              <a:gd name="connsiteX1237" fmla="*/ 12139750 w 12139750"/>
              <a:gd name="connsiteY1237" fmla="*/ 4732342 h 6858290"/>
              <a:gd name="connsiteX1238" fmla="*/ 12139750 w 12139750"/>
              <a:gd name="connsiteY1238" fmla="*/ 4814057 h 6858290"/>
              <a:gd name="connsiteX1239" fmla="*/ 11834677 w 12139750"/>
              <a:gd name="connsiteY1239" fmla="*/ 4983190 h 6858290"/>
              <a:gd name="connsiteX1240" fmla="*/ 11783196 w 12139750"/>
              <a:gd name="connsiteY1240" fmla="*/ 4969887 h 6858290"/>
              <a:gd name="connsiteX1241" fmla="*/ 11779383 w 12139750"/>
              <a:gd name="connsiteY1241" fmla="*/ 4950884 h 6858290"/>
              <a:gd name="connsiteX1242" fmla="*/ 11798450 w 12139750"/>
              <a:gd name="connsiteY1242" fmla="*/ 4920478 h 6858290"/>
              <a:gd name="connsiteX1243" fmla="*/ 7597191 w 12139750"/>
              <a:gd name="connsiteY1243" fmla="*/ 4729944 h 6858290"/>
              <a:gd name="connsiteX1244" fmla="*/ 7620068 w 12139750"/>
              <a:gd name="connsiteY1244" fmla="*/ 4747524 h 6858290"/>
              <a:gd name="connsiteX1245" fmla="*/ 7604817 w 12139750"/>
              <a:gd name="connsiteY1245" fmla="*/ 4796937 h 6858290"/>
              <a:gd name="connsiteX1246" fmla="*/ 7267371 w 12139750"/>
              <a:gd name="connsiteY1246" fmla="*/ 4983189 h 6858290"/>
              <a:gd name="connsiteX1247" fmla="*/ 7217802 w 12139750"/>
              <a:gd name="connsiteY1247" fmla="*/ 4969885 h 6858290"/>
              <a:gd name="connsiteX1248" fmla="*/ 7212083 w 12139750"/>
              <a:gd name="connsiteY1248" fmla="*/ 4950880 h 6858290"/>
              <a:gd name="connsiteX1249" fmla="*/ 7231147 w 12139750"/>
              <a:gd name="connsiteY1249" fmla="*/ 4920472 h 6858290"/>
              <a:gd name="connsiteX1250" fmla="*/ 7568594 w 12139750"/>
              <a:gd name="connsiteY1250" fmla="*/ 4732319 h 6858290"/>
              <a:gd name="connsiteX1251" fmla="*/ 7597191 w 12139750"/>
              <a:gd name="connsiteY1251" fmla="*/ 4729944 h 6858290"/>
              <a:gd name="connsiteX1252" fmla="*/ 7045531 w 12139750"/>
              <a:gd name="connsiteY1252" fmla="*/ 4720682 h 6858290"/>
              <a:gd name="connsiteX1253" fmla="*/ 7069177 w 12139750"/>
              <a:gd name="connsiteY1253" fmla="*/ 4739994 h 6858290"/>
              <a:gd name="connsiteX1254" fmla="*/ 7051980 w 12139750"/>
              <a:gd name="connsiteY1254" fmla="*/ 4791491 h 6858290"/>
              <a:gd name="connsiteX1255" fmla="*/ 6713773 w 12139750"/>
              <a:gd name="connsiteY1255" fmla="*/ 4968868 h 6858290"/>
              <a:gd name="connsiteX1256" fmla="*/ 6662182 w 12139750"/>
              <a:gd name="connsiteY1256" fmla="*/ 4953610 h 6858290"/>
              <a:gd name="connsiteX1257" fmla="*/ 6656450 w 12139750"/>
              <a:gd name="connsiteY1257" fmla="*/ 4934537 h 6858290"/>
              <a:gd name="connsiteX1258" fmla="*/ 6677468 w 12139750"/>
              <a:gd name="connsiteY1258" fmla="*/ 4902113 h 6858290"/>
              <a:gd name="connsiteX1259" fmla="*/ 7017586 w 12139750"/>
              <a:gd name="connsiteY1259" fmla="*/ 4722828 h 6858290"/>
              <a:gd name="connsiteX1260" fmla="*/ 7045531 w 12139750"/>
              <a:gd name="connsiteY1260" fmla="*/ 4720682 h 6858290"/>
              <a:gd name="connsiteX1261" fmla="*/ 6500048 w 12139750"/>
              <a:gd name="connsiteY1261" fmla="*/ 4711377 h 6858290"/>
              <a:gd name="connsiteX1262" fmla="*/ 6523112 w 12139750"/>
              <a:gd name="connsiteY1262" fmla="*/ 4732307 h 6858290"/>
              <a:gd name="connsiteX1263" fmla="*/ 6505992 w 12139750"/>
              <a:gd name="connsiteY1263" fmla="*/ 4785582 h 6858290"/>
              <a:gd name="connsiteX1264" fmla="*/ 6167407 w 12139750"/>
              <a:gd name="connsiteY1264" fmla="*/ 4953016 h 6858290"/>
              <a:gd name="connsiteX1265" fmla="*/ 6114146 w 12139750"/>
              <a:gd name="connsiteY1265" fmla="*/ 4935892 h 6858290"/>
              <a:gd name="connsiteX1266" fmla="*/ 6110342 w 12139750"/>
              <a:gd name="connsiteY1266" fmla="*/ 4916866 h 6858290"/>
              <a:gd name="connsiteX1267" fmla="*/ 6131266 w 12139750"/>
              <a:gd name="connsiteY1267" fmla="*/ 4882618 h 6858290"/>
              <a:gd name="connsiteX1268" fmla="*/ 6469851 w 12139750"/>
              <a:gd name="connsiteY1268" fmla="*/ 4713280 h 6858290"/>
              <a:gd name="connsiteX1269" fmla="*/ 6500048 w 12139750"/>
              <a:gd name="connsiteY1269" fmla="*/ 4711377 h 6858290"/>
              <a:gd name="connsiteX1270" fmla="*/ 5956806 w 12139750"/>
              <a:gd name="connsiteY1270" fmla="*/ 4701881 h 6858290"/>
              <a:gd name="connsiteX1271" fmla="*/ 5980159 w 12139750"/>
              <a:gd name="connsiteY1271" fmla="*/ 4722888 h 6858290"/>
              <a:gd name="connsiteX1272" fmla="*/ 5961095 w 12139750"/>
              <a:gd name="connsiteY1272" fmla="*/ 4778272 h 6858290"/>
              <a:gd name="connsiteX1273" fmla="*/ 5621756 w 12139750"/>
              <a:gd name="connsiteY1273" fmla="*/ 4938693 h 6858290"/>
              <a:gd name="connsiteX1274" fmla="*/ 5566471 w 12139750"/>
              <a:gd name="connsiteY1274" fmla="*/ 4919595 h 6858290"/>
              <a:gd name="connsiteX1275" fmla="*/ 5562659 w 12139750"/>
              <a:gd name="connsiteY1275" fmla="*/ 4900497 h 6858290"/>
              <a:gd name="connsiteX1276" fmla="*/ 5585535 w 12139750"/>
              <a:gd name="connsiteY1276" fmla="*/ 4864212 h 6858290"/>
              <a:gd name="connsiteX1277" fmla="*/ 5924873 w 12139750"/>
              <a:gd name="connsiteY1277" fmla="*/ 4703791 h 6858290"/>
              <a:gd name="connsiteX1278" fmla="*/ 5956806 w 12139750"/>
              <a:gd name="connsiteY1278" fmla="*/ 4701881 h 6858290"/>
              <a:gd name="connsiteX1279" fmla="*/ 398944 w 12139750"/>
              <a:gd name="connsiteY1279" fmla="*/ 4701881 h 6858290"/>
              <a:gd name="connsiteX1280" fmla="*/ 422281 w 12139750"/>
              <a:gd name="connsiteY1280" fmla="*/ 4722888 h 6858290"/>
              <a:gd name="connsiteX1281" fmla="*/ 401326 w 12139750"/>
              <a:gd name="connsiteY1281" fmla="*/ 4778272 h 6858290"/>
              <a:gd name="connsiteX1282" fmla="*/ 62232 w 12139750"/>
              <a:gd name="connsiteY1282" fmla="*/ 4938693 h 6858290"/>
              <a:gd name="connsiteX1283" fmla="*/ 6986 w 12139750"/>
              <a:gd name="connsiteY1283" fmla="*/ 4919595 h 6858290"/>
              <a:gd name="connsiteX1284" fmla="*/ 3176 w 12139750"/>
              <a:gd name="connsiteY1284" fmla="*/ 4900497 h 6858290"/>
              <a:gd name="connsiteX1285" fmla="*/ 27941 w 12139750"/>
              <a:gd name="connsiteY1285" fmla="*/ 4864212 h 6858290"/>
              <a:gd name="connsiteX1286" fmla="*/ 367035 w 12139750"/>
              <a:gd name="connsiteY1286" fmla="*/ 4703791 h 6858290"/>
              <a:gd name="connsiteX1287" fmla="*/ 398944 w 12139750"/>
              <a:gd name="connsiteY1287" fmla="*/ 4701881 h 6858290"/>
              <a:gd name="connsiteX1288" fmla="*/ 5409709 w 12139750"/>
              <a:gd name="connsiteY1288" fmla="*/ 4693289 h 6858290"/>
              <a:gd name="connsiteX1289" fmla="*/ 5434051 w 12139750"/>
              <a:gd name="connsiteY1289" fmla="*/ 4715197 h 6858290"/>
              <a:gd name="connsiteX1290" fmla="*/ 5411141 w 12139750"/>
              <a:gd name="connsiteY1290" fmla="*/ 4772347 h 6858290"/>
              <a:gd name="connsiteX1291" fmla="*/ 5071298 w 12139750"/>
              <a:gd name="connsiteY1291" fmla="*/ 4922842 h 6858290"/>
              <a:gd name="connsiteX1292" fmla="*/ 5014028 w 12139750"/>
              <a:gd name="connsiteY1292" fmla="*/ 4901887 h 6858290"/>
              <a:gd name="connsiteX1293" fmla="*/ 5010210 w 12139750"/>
              <a:gd name="connsiteY1293" fmla="*/ 4882837 h 6858290"/>
              <a:gd name="connsiteX1294" fmla="*/ 5036936 w 12139750"/>
              <a:gd name="connsiteY1294" fmla="*/ 4842832 h 6858290"/>
              <a:gd name="connsiteX1295" fmla="*/ 5376776 w 12139750"/>
              <a:gd name="connsiteY1295" fmla="*/ 4694242 h 6858290"/>
              <a:gd name="connsiteX1296" fmla="*/ 5409709 w 12139750"/>
              <a:gd name="connsiteY1296" fmla="*/ 4693289 h 6858290"/>
              <a:gd name="connsiteX1297" fmla="*/ 943147 w 12139750"/>
              <a:gd name="connsiteY1297" fmla="*/ 4693289 h 6858290"/>
              <a:gd name="connsiteX1298" fmla="*/ 966774 w 12139750"/>
              <a:gd name="connsiteY1298" fmla="*/ 4715197 h 6858290"/>
              <a:gd name="connsiteX1299" fmla="*/ 945772 w 12139750"/>
              <a:gd name="connsiteY1299" fmla="*/ 4772347 h 6858290"/>
              <a:gd name="connsiteX1300" fmla="*/ 604023 w 12139750"/>
              <a:gd name="connsiteY1300" fmla="*/ 4922842 h 6858290"/>
              <a:gd name="connsiteX1301" fmla="*/ 546746 w 12139750"/>
              <a:gd name="connsiteY1301" fmla="*/ 4901887 h 6858290"/>
              <a:gd name="connsiteX1302" fmla="*/ 542928 w 12139750"/>
              <a:gd name="connsiteY1302" fmla="*/ 4882837 h 6858290"/>
              <a:gd name="connsiteX1303" fmla="*/ 569657 w 12139750"/>
              <a:gd name="connsiteY1303" fmla="*/ 4842832 h 6858290"/>
              <a:gd name="connsiteX1304" fmla="*/ 909497 w 12139750"/>
              <a:gd name="connsiteY1304" fmla="*/ 4694242 h 6858290"/>
              <a:gd name="connsiteX1305" fmla="*/ 943147 w 12139750"/>
              <a:gd name="connsiteY1305" fmla="*/ 4693289 h 6858290"/>
              <a:gd name="connsiteX1306" fmla="*/ 4840042 w 12139750"/>
              <a:gd name="connsiteY1306" fmla="*/ 4679741 h 6858290"/>
              <a:gd name="connsiteX1307" fmla="*/ 4881602 w 12139750"/>
              <a:gd name="connsiteY1307" fmla="*/ 4707760 h 6858290"/>
              <a:gd name="connsiteX1308" fmla="*/ 4856815 w 12139750"/>
              <a:gd name="connsiteY1308" fmla="*/ 4766584 h 6858290"/>
              <a:gd name="connsiteX1309" fmla="*/ 4517479 w 12139750"/>
              <a:gd name="connsiteY1309" fmla="*/ 4907004 h 6858290"/>
              <a:gd name="connsiteX1310" fmla="*/ 4458382 w 12139750"/>
              <a:gd name="connsiteY1310" fmla="*/ 4882336 h 6858290"/>
              <a:gd name="connsiteX1311" fmla="*/ 4454569 w 12139750"/>
              <a:gd name="connsiteY1311" fmla="*/ 4865258 h 6858290"/>
              <a:gd name="connsiteX1312" fmla="*/ 4483165 w 12139750"/>
              <a:gd name="connsiteY1312" fmla="*/ 4823511 h 6858290"/>
              <a:gd name="connsiteX1313" fmla="*/ 4822497 w 12139750"/>
              <a:gd name="connsiteY1313" fmla="*/ 4683092 h 6858290"/>
              <a:gd name="connsiteX1314" fmla="*/ 4840042 w 12139750"/>
              <a:gd name="connsiteY1314" fmla="*/ 4679741 h 6858290"/>
              <a:gd name="connsiteX1315" fmla="*/ 1476099 w 12139750"/>
              <a:gd name="connsiteY1315" fmla="*/ 4679741 h 6858290"/>
              <a:gd name="connsiteX1316" fmla="*/ 1517653 w 12139750"/>
              <a:gd name="connsiteY1316" fmla="*/ 4707760 h 6858290"/>
              <a:gd name="connsiteX1317" fmla="*/ 1492870 w 12139750"/>
              <a:gd name="connsiteY1317" fmla="*/ 4766584 h 6858290"/>
              <a:gd name="connsiteX1318" fmla="*/ 1151623 w 12139750"/>
              <a:gd name="connsiteY1318" fmla="*/ 4907004 h 6858290"/>
              <a:gd name="connsiteX1319" fmla="*/ 1094431 w 12139750"/>
              <a:gd name="connsiteY1319" fmla="*/ 4882336 h 6858290"/>
              <a:gd name="connsiteX1320" fmla="*/ 1090618 w 12139750"/>
              <a:gd name="connsiteY1320" fmla="*/ 4865258 h 6858290"/>
              <a:gd name="connsiteX1321" fmla="*/ 1117307 w 12139750"/>
              <a:gd name="connsiteY1321" fmla="*/ 4823511 h 6858290"/>
              <a:gd name="connsiteX1322" fmla="*/ 1458554 w 12139750"/>
              <a:gd name="connsiteY1322" fmla="*/ 4683092 h 6858290"/>
              <a:gd name="connsiteX1323" fmla="*/ 1476099 w 12139750"/>
              <a:gd name="connsiteY1323" fmla="*/ 4679741 h 6858290"/>
              <a:gd name="connsiteX1324" fmla="*/ 4282901 w 12139750"/>
              <a:gd name="connsiteY1324" fmla="*/ 4670538 h 6858290"/>
              <a:gd name="connsiteX1325" fmla="*/ 4324395 w 12139750"/>
              <a:gd name="connsiteY1325" fmla="*/ 4700274 h 6858290"/>
              <a:gd name="connsiteX1326" fmla="*/ 4297744 w 12139750"/>
              <a:gd name="connsiteY1326" fmla="*/ 4761234 h 6858290"/>
              <a:gd name="connsiteX1327" fmla="*/ 3957010 w 12139750"/>
              <a:gd name="connsiteY1327" fmla="*/ 4892679 h 6858290"/>
              <a:gd name="connsiteX1328" fmla="*/ 3897997 w 12139750"/>
              <a:gd name="connsiteY1328" fmla="*/ 4866009 h 6858290"/>
              <a:gd name="connsiteX1329" fmla="*/ 3894190 w 12139750"/>
              <a:gd name="connsiteY1329" fmla="*/ 4848864 h 6858290"/>
              <a:gd name="connsiteX1330" fmla="*/ 3924648 w 12139750"/>
              <a:gd name="connsiteY1330" fmla="*/ 4805049 h 6858290"/>
              <a:gd name="connsiteX1331" fmla="*/ 4265381 w 12139750"/>
              <a:gd name="connsiteY1331" fmla="*/ 4673604 h 6858290"/>
              <a:gd name="connsiteX1332" fmla="*/ 4282901 w 12139750"/>
              <a:gd name="connsiteY1332" fmla="*/ 4670538 h 6858290"/>
              <a:gd name="connsiteX1333" fmla="*/ 2029448 w 12139750"/>
              <a:gd name="connsiteY1333" fmla="*/ 4670538 h 6858290"/>
              <a:gd name="connsiteX1334" fmla="*/ 2071719 w 12139750"/>
              <a:gd name="connsiteY1334" fmla="*/ 4700274 h 6858290"/>
              <a:gd name="connsiteX1335" fmla="*/ 2045083 w 12139750"/>
              <a:gd name="connsiteY1335" fmla="*/ 4761234 h 6858290"/>
              <a:gd name="connsiteX1336" fmla="*/ 1704573 w 12139750"/>
              <a:gd name="connsiteY1336" fmla="*/ 4892679 h 6858290"/>
              <a:gd name="connsiteX1337" fmla="*/ 1643700 w 12139750"/>
              <a:gd name="connsiteY1337" fmla="*/ 4866009 h 6858290"/>
              <a:gd name="connsiteX1338" fmla="*/ 1639895 w 12139750"/>
              <a:gd name="connsiteY1338" fmla="*/ 4848864 h 6858290"/>
              <a:gd name="connsiteX1339" fmla="*/ 1670332 w 12139750"/>
              <a:gd name="connsiteY1339" fmla="*/ 4805049 h 6858290"/>
              <a:gd name="connsiteX1340" fmla="*/ 2010841 w 12139750"/>
              <a:gd name="connsiteY1340" fmla="*/ 4673604 h 6858290"/>
              <a:gd name="connsiteX1341" fmla="*/ 2029448 w 12139750"/>
              <a:gd name="connsiteY1341" fmla="*/ 4670538 h 6858290"/>
              <a:gd name="connsiteX1342" fmla="*/ 3720840 w 12139750"/>
              <a:gd name="connsiteY1342" fmla="*/ 4661025 h 6858290"/>
              <a:gd name="connsiteX1343" fmla="*/ 3764003 w 12139750"/>
              <a:gd name="connsiteY1343" fmla="*/ 4692550 h 6858290"/>
              <a:gd name="connsiteX1344" fmla="*/ 3735407 w 12139750"/>
              <a:gd name="connsiteY1344" fmla="*/ 4755243 h 6858290"/>
              <a:gd name="connsiteX1345" fmla="*/ 3392273 w 12139750"/>
              <a:gd name="connsiteY1345" fmla="*/ 4876830 h 6858290"/>
              <a:gd name="connsiteX1346" fmla="*/ 3331267 w 12139750"/>
              <a:gd name="connsiteY1346" fmla="*/ 4848333 h 6858290"/>
              <a:gd name="connsiteX1347" fmla="*/ 3327455 w 12139750"/>
              <a:gd name="connsiteY1347" fmla="*/ 4831235 h 6858290"/>
              <a:gd name="connsiteX1348" fmla="*/ 3359861 w 12139750"/>
              <a:gd name="connsiteY1348" fmla="*/ 4785640 h 6858290"/>
              <a:gd name="connsiteX1349" fmla="*/ 3701090 w 12139750"/>
              <a:gd name="connsiteY1349" fmla="*/ 4664053 h 6858290"/>
              <a:gd name="connsiteX1350" fmla="*/ 3720840 w 12139750"/>
              <a:gd name="connsiteY1350" fmla="*/ 4661025 h 6858290"/>
              <a:gd name="connsiteX1351" fmla="*/ 2587339 w 12139750"/>
              <a:gd name="connsiteY1351" fmla="*/ 4661025 h 6858290"/>
              <a:gd name="connsiteX1352" fmla="*/ 2630501 w 12139750"/>
              <a:gd name="connsiteY1352" fmla="*/ 4692550 h 6858290"/>
              <a:gd name="connsiteX1353" fmla="*/ 2601905 w 12139750"/>
              <a:gd name="connsiteY1353" fmla="*/ 4755243 h 6858290"/>
              <a:gd name="connsiteX1354" fmla="*/ 2258757 w 12139750"/>
              <a:gd name="connsiteY1354" fmla="*/ 4876830 h 6858290"/>
              <a:gd name="connsiteX1355" fmla="*/ 2197753 w 12139750"/>
              <a:gd name="connsiteY1355" fmla="*/ 4848333 h 6858290"/>
              <a:gd name="connsiteX1356" fmla="*/ 2193940 w 12139750"/>
              <a:gd name="connsiteY1356" fmla="*/ 4831235 h 6858290"/>
              <a:gd name="connsiteX1357" fmla="*/ 2226349 w 12139750"/>
              <a:gd name="connsiteY1357" fmla="*/ 4785640 h 6858290"/>
              <a:gd name="connsiteX1358" fmla="*/ 2567591 w 12139750"/>
              <a:gd name="connsiteY1358" fmla="*/ 4664053 h 6858290"/>
              <a:gd name="connsiteX1359" fmla="*/ 2587339 w 12139750"/>
              <a:gd name="connsiteY1359" fmla="*/ 4661025 h 6858290"/>
              <a:gd name="connsiteX1360" fmla="*/ 3149677 w 12139750"/>
              <a:gd name="connsiteY1360" fmla="*/ 4651825 h 6858290"/>
              <a:gd name="connsiteX1361" fmla="*/ 3194415 w 12139750"/>
              <a:gd name="connsiteY1361" fmla="*/ 4685090 h 6858290"/>
              <a:gd name="connsiteX1362" fmla="*/ 3162028 w 12139750"/>
              <a:gd name="connsiteY1362" fmla="*/ 4748043 h 6858290"/>
              <a:gd name="connsiteX1363" fmla="*/ 2819123 w 12139750"/>
              <a:gd name="connsiteY1363" fmla="*/ 4862503 h 6858290"/>
              <a:gd name="connsiteX1364" fmla="*/ 2756258 w 12139750"/>
              <a:gd name="connsiteY1364" fmla="*/ 4830073 h 6858290"/>
              <a:gd name="connsiteX1365" fmla="*/ 2754356 w 12139750"/>
              <a:gd name="connsiteY1365" fmla="*/ 4814812 h 6858290"/>
              <a:gd name="connsiteX1366" fmla="*/ 2788641 w 12139750"/>
              <a:gd name="connsiteY1366" fmla="*/ 4767120 h 6858290"/>
              <a:gd name="connsiteX1367" fmla="*/ 3129644 w 12139750"/>
              <a:gd name="connsiteY1367" fmla="*/ 4654567 h 6858290"/>
              <a:gd name="connsiteX1368" fmla="*/ 3149677 w 12139750"/>
              <a:gd name="connsiteY1368" fmla="*/ 4651825 h 6858290"/>
              <a:gd name="connsiteX1369" fmla="*/ 9864585 w 12139750"/>
              <a:gd name="connsiteY1369" fmla="*/ 4440631 h 6858290"/>
              <a:gd name="connsiteX1370" fmla="*/ 9882263 w 12139750"/>
              <a:gd name="connsiteY1370" fmla="*/ 4452274 h 6858290"/>
              <a:gd name="connsiteX1371" fmla="*/ 9876529 w 12139750"/>
              <a:gd name="connsiteY1371" fmla="*/ 4488393 h 6858290"/>
              <a:gd name="connsiteX1372" fmla="*/ 9540160 w 12139750"/>
              <a:gd name="connsiteY1372" fmla="*/ 4727913 h 6858290"/>
              <a:gd name="connsiteX1373" fmla="*/ 9503848 w 12139750"/>
              <a:gd name="connsiteY1373" fmla="*/ 4720309 h 6858290"/>
              <a:gd name="connsiteX1374" fmla="*/ 9498114 w 12139750"/>
              <a:gd name="connsiteY1374" fmla="*/ 4705101 h 6858290"/>
              <a:gd name="connsiteX1375" fmla="*/ 9509581 w 12139750"/>
              <a:gd name="connsiteY1375" fmla="*/ 4684191 h 6858290"/>
              <a:gd name="connsiteX1376" fmla="*/ 9844039 w 12139750"/>
              <a:gd name="connsiteY1376" fmla="*/ 4444671 h 6858290"/>
              <a:gd name="connsiteX1377" fmla="*/ 9864585 w 12139750"/>
              <a:gd name="connsiteY1377" fmla="*/ 4440631 h 6858290"/>
              <a:gd name="connsiteX1378" fmla="*/ 10447906 w 12139750"/>
              <a:gd name="connsiteY1378" fmla="*/ 4432309 h 6858290"/>
              <a:gd name="connsiteX1379" fmla="*/ 10466494 w 12139750"/>
              <a:gd name="connsiteY1379" fmla="*/ 4444705 h 6858290"/>
              <a:gd name="connsiteX1380" fmla="*/ 10458868 w 12139750"/>
              <a:gd name="connsiteY1380" fmla="*/ 4484754 h 6858290"/>
              <a:gd name="connsiteX1381" fmla="*/ 10123316 w 12139750"/>
              <a:gd name="connsiteY1381" fmla="*/ 4711694 h 6858290"/>
              <a:gd name="connsiteX1382" fmla="*/ 10083279 w 12139750"/>
              <a:gd name="connsiteY1382" fmla="*/ 4704066 h 6858290"/>
              <a:gd name="connsiteX1383" fmla="*/ 10077559 w 12139750"/>
              <a:gd name="connsiteY1383" fmla="*/ 4686903 h 6858290"/>
              <a:gd name="connsiteX1384" fmla="*/ 10090905 w 12139750"/>
              <a:gd name="connsiteY1384" fmla="*/ 4664018 h 6858290"/>
              <a:gd name="connsiteX1385" fmla="*/ 10426457 w 12139750"/>
              <a:gd name="connsiteY1385" fmla="*/ 4437077 h 6858290"/>
              <a:gd name="connsiteX1386" fmla="*/ 10447906 w 12139750"/>
              <a:gd name="connsiteY1386" fmla="*/ 4432309 h 6858290"/>
              <a:gd name="connsiteX1387" fmla="*/ 9287428 w 12139750"/>
              <a:gd name="connsiteY1387" fmla="*/ 4432309 h 6858290"/>
              <a:gd name="connsiteX1388" fmla="*/ 9306016 w 12139750"/>
              <a:gd name="connsiteY1388" fmla="*/ 4444705 h 6858290"/>
              <a:gd name="connsiteX1389" fmla="*/ 9298390 w 12139750"/>
              <a:gd name="connsiteY1389" fmla="*/ 4484754 h 6858290"/>
              <a:gd name="connsiteX1390" fmla="*/ 8962838 w 12139750"/>
              <a:gd name="connsiteY1390" fmla="*/ 4711694 h 6858290"/>
              <a:gd name="connsiteX1391" fmla="*/ 8922801 w 12139750"/>
              <a:gd name="connsiteY1391" fmla="*/ 4704066 h 6858290"/>
              <a:gd name="connsiteX1392" fmla="*/ 8917081 w 12139750"/>
              <a:gd name="connsiteY1392" fmla="*/ 4686903 h 6858290"/>
              <a:gd name="connsiteX1393" fmla="*/ 8930427 w 12139750"/>
              <a:gd name="connsiteY1393" fmla="*/ 4664018 h 6858290"/>
              <a:gd name="connsiteX1394" fmla="*/ 9265979 w 12139750"/>
              <a:gd name="connsiteY1394" fmla="*/ 4437077 h 6858290"/>
              <a:gd name="connsiteX1395" fmla="*/ 9287428 w 12139750"/>
              <a:gd name="connsiteY1395" fmla="*/ 4432309 h 6858290"/>
              <a:gd name="connsiteX1396" fmla="*/ 11026206 w 12139750"/>
              <a:gd name="connsiteY1396" fmla="*/ 4423012 h 6858290"/>
              <a:gd name="connsiteX1397" fmla="*/ 11045955 w 12139750"/>
              <a:gd name="connsiteY1397" fmla="*/ 4437046 h 6858290"/>
              <a:gd name="connsiteX1398" fmla="*/ 11036438 w 12139750"/>
              <a:gd name="connsiteY1398" fmla="*/ 4478910 h 6858290"/>
              <a:gd name="connsiteX1399" fmla="*/ 10701418 w 12139750"/>
              <a:gd name="connsiteY1399" fmla="*/ 4695840 h 6858290"/>
              <a:gd name="connsiteX1400" fmla="*/ 10657637 w 12139750"/>
              <a:gd name="connsiteY1400" fmla="*/ 4686326 h 6858290"/>
              <a:gd name="connsiteX1401" fmla="*/ 10653830 w 12139750"/>
              <a:gd name="connsiteY1401" fmla="*/ 4669200 h 6858290"/>
              <a:gd name="connsiteX1402" fmla="*/ 10667155 w 12139750"/>
              <a:gd name="connsiteY1402" fmla="*/ 4642559 h 6858290"/>
              <a:gd name="connsiteX1403" fmla="*/ 11002174 w 12139750"/>
              <a:gd name="connsiteY1403" fmla="*/ 4427531 h 6858290"/>
              <a:gd name="connsiteX1404" fmla="*/ 11026206 w 12139750"/>
              <a:gd name="connsiteY1404" fmla="*/ 4423012 h 6858290"/>
              <a:gd name="connsiteX1405" fmla="*/ 8716363 w 12139750"/>
              <a:gd name="connsiteY1405" fmla="*/ 4423012 h 6858290"/>
              <a:gd name="connsiteX1406" fmla="*/ 8736111 w 12139750"/>
              <a:gd name="connsiteY1406" fmla="*/ 4437046 h 6858290"/>
              <a:gd name="connsiteX1407" fmla="*/ 8726594 w 12139750"/>
              <a:gd name="connsiteY1407" fmla="*/ 4478910 h 6858290"/>
              <a:gd name="connsiteX1408" fmla="*/ 8391574 w 12139750"/>
              <a:gd name="connsiteY1408" fmla="*/ 4695840 h 6858290"/>
              <a:gd name="connsiteX1409" fmla="*/ 8347793 w 12139750"/>
              <a:gd name="connsiteY1409" fmla="*/ 4686326 h 6858290"/>
              <a:gd name="connsiteX1410" fmla="*/ 8343986 w 12139750"/>
              <a:gd name="connsiteY1410" fmla="*/ 4669200 h 6858290"/>
              <a:gd name="connsiteX1411" fmla="*/ 8357311 w 12139750"/>
              <a:gd name="connsiteY1411" fmla="*/ 4642559 h 6858290"/>
              <a:gd name="connsiteX1412" fmla="*/ 8692330 w 12139750"/>
              <a:gd name="connsiteY1412" fmla="*/ 4427531 h 6858290"/>
              <a:gd name="connsiteX1413" fmla="*/ 8716363 w 12139750"/>
              <a:gd name="connsiteY1413" fmla="*/ 4423012 h 6858290"/>
              <a:gd name="connsiteX1414" fmla="*/ 11596714 w 12139750"/>
              <a:gd name="connsiteY1414" fmla="*/ 4414431 h 6858290"/>
              <a:gd name="connsiteX1415" fmla="*/ 11617447 w 12139750"/>
              <a:gd name="connsiteY1415" fmla="*/ 4429399 h 6858290"/>
              <a:gd name="connsiteX1416" fmla="*/ 11606008 w 12139750"/>
              <a:gd name="connsiteY1416" fmla="*/ 4475016 h 6858290"/>
              <a:gd name="connsiteX1417" fmla="*/ 11270463 w 12139750"/>
              <a:gd name="connsiteY1417" fmla="*/ 4678388 h 6858290"/>
              <a:gd name="connsiteX1418" fmla="*/ 11224707 w 12139750"/>
              <a:gd name="connsiteY1418" fmla="*/ 4666984 h 6858290"/>
              <a:gd name="connsiteX1419" fmla="*/ 11218987 w 12139750"/>
              <a:gd name="connsiteY1419" fmla="*/ 4649878 h 6858290"/>
              <a:gd name="connsiteX1420" fmla="*/ 11236146 w 12139750"/>
              <a:gd name="connsiteY1420" fmla="*/ 4621368 h 6858290"/>
              <a:gd name="connsiteX1421" fmla="*/ 11571691 w 12139750"/>
              <a:gd name="connsiteY1421" fmla="*/ 4417995 h 6858290"/>
              <a:gd name="connsiteX1422" fmla="*/ 11596714 w 12139750"/>
              <a:gd name="connsiteY1422" fmla="*/ 4414431 h 6858290"/>
              <a:gd name="connsiteX1423" fmla="*/ 8153380 w 12139750"/>
              <a:gd name="connsiteY1423" fmla="*/ 4414431 h 6858290"/>
              <a:gd name="connsiteX1424" fmla="*/ 8174113 w 12139750"/>
              <a:gd name="connsiteY1424" fmla="*/ 4429399 h 6858290"/>
              <a:gd name="connsiteX1425" fmla="*/ 8162674 w 12139750"/>
              <a:gd name="connsiteY1425" fmla="*/ 4475016 h 6858290"/>
              <a:gd name="connsiteX1426" fmla="*/ 7825222 w 12139750"/>
              <a:gd name="connsiteY1426" fmla="*/ 4678388 h 6858290"/>
              <a:gd name="connsiteX1427" fmla="*/ 7779466 w 12139750"/>
              <a:gd name="connsiteY1427" fmla="*/ 4666984 h 6858290"/>
              <a:gd name="connsiteX1428" fmla="*/ 7775653 w 12139750"/>
              <a:gd name="connsiteY1428" fmla="*/ 4649878 h 6858290"/>
              <a:gd name="connsiteX1429" fmla="*/ 7790905 w 12139750"/>
              <a:gd name="connsiteY1429" fmla="*/ 4621368 h 6858290"/>
              <a:gd name="connsiteX1430" fmla="*/ 8128357 w 12139750"/>
              <a:gd name="connsiteY1430" fmla="*/ 4417995 h 6858290"/>
              <a:gd name="connsiteX1431" fmla="*/ 8153380 w 12139750"/>
              <a:gd name="connsiteY1431" fmla="*/ 4414431 h 6858290"/>
              <a:gd name="connsiteX1432" fmla="*/ 12139750 w 12139750"/>
              <a:gd name="connsiteY1432" fmla="*/ 4406904 h 6858290"/>
              <a:gd name="connsiteX1433" fmla="*/ 12139750 w 12139750"/>
              <a:gd name="connsiteY1433" fmla="*/ 4488819 h 6858290"/>
              <a:gd name="connsiteX1434" fmla="*/ 11834405 w 12139750"/>
              <a:gd name="connsiteY1434" fmla="*/ 4664079 h 6858290"/>
              <a:gd name="connsiteX1435" fmla="*/ 11784787 w 12139750"/>
              <a:gd name="connsiteY1435" fmla="*/ 4650744 h 6858290"/>
              <a:gd name="connsiteX1436" fmla="*/ 11780970 w 12139750"/>
              <a:gd name="connsiteY1436" fmla="*/ 4633599 h 6858290"/>
              <a:gd name="connsiteX1437" fmla="*/ 11798146 w 12139750"/>
              <a:gd name="connsiteY1437" fmla="*/ 4601214 h 6858290"/>
              <a:gd name="connsiteX1438" fmla="*/ 12135933 w 12139750"/>
              <a:gd name="connsiteY1438" fmla="*/ 4408809 h 6858290"/>
              <a:gd name="connsiteX1439" fmla="*/ 12139750 w 12139750"/>
              <a:gd name="connsiteY1439" fmla="*/ 4406904 h 6858290"/>
              <a:gd name="connsiteX1440" fmla="*/ 7595041 w 12139750"/>
              <a:gd name="connsiteY1440" fmla="*/ 4405165 h 6858290"/>
              <a:gd name="connsiteX1441" fmla="*/ 7616915 w 12139750"/>
              <a:gd name="connsiteY1441" fmla="*/ 4421853 h 6858290"/>
              <a:gd name="connsiteX1442" fmla="*/ 7603601 w 12139750"/>
              <a:gd name="connsiteY1442" fmla="*/ 4471441 h 6858290"/>
              <a:gd name="connsiteX1443" fmla="*/ 7266929 w 12139750"/>
              <a:gd name="connsiteY1443" fmla="*/ 4664069 h 6858290"/>
              <a:gd name="connsiteX1444" fmla="*/ 7219376 w 12139750"/>
              <a:gd name="connsiteY1444" fmla="*/ 4650718 h 6858290"/>
              <a:gd name="connsiteX1445" fmla="*/ 7213670 w 12139750"/>
              <a:gd name="connsiteY1445" fmla="*/ 4633553 h 6858290"/>
              <a:gd name="connsiteX1446" fmla="*/ 7230789 w 12139750"/>
              <a:gd name="connsiteY1446" fmla="*/ 4601131 h 6858290"/>
              <a:gd name="connsiteX1447" fmla="*/ 7567461 w 12139750"/>
              <a:gd name="connsiteY1447" fmla="*/ 4408503 h 6858290"/>
              <a:gd name="connsiteX1448" fmla="*/ 7595041 w 12139750"/>
              <a:gd name="connsiteY1448" fmla="*/ 4405165 h 6858290"/>
              <a:gd name="connsiteX1449" fmla="*/ 7045448 w 12139750"/>
              <a:gd name="connsiteY1449" fmla="*/ 4396577 h 6858290"/>
              <a:gd name="connsiteX1450" fmla="*/ 7067610 w 12139750"/>
              <a:gd name="connsiteY1450" fmla="*/ 4414178 h 6858290"/>
              <a:gd name="connsiteX1451" fmla="*/ 7052359 w 12139750"/>
              <a:gd name="connsiteY1451" fmla="*/ 4465552 h 6858290"/>
              <a:gd name="connsiteX1452" fmla="*/ 6714913 w 12139750"/>
              <a:gd name="connsiteY1452" fmla="*/ 4646313 h 6858290"/>
              <a:gd name="connsiteX1453" fmla="*/ 6663438 w 12139750"/>
              <a:gd name="connsiteY1453" fmla="*/ 4631091 h 6858290"/>
              <a:gd name="connsiteX1454" fmla="*/ 6659625 w 12139750"/>
              <a:gd name="connsiteY1454" fmla="*/ 4613966 h 6858290"/>
              <a:gd name="connsiteX1455" fmla="*/ 6678689 w 12139750"/>
              <a:gd name="connsiteY1455" fmla="*/ 4581620 h 6858290"/>
              <a:gd name="connsiteX1456" fmla="*/ 7016136 w 12139750"/>
              <a:gd name="connsiteY1456" fmla="*/ 4398956 h 6858290"/>
              <a:gd name="connsiteX1457" fmla="*/ 7045448 w 12139750"/>
              <a:gd name="connsiteY1457" fmla="*/ 4396577 h 6858290"/>
              <a:gd name="connsiteX1458" fmla="*/ 6484860 w 12139750"/>
              <a:gd name="connsiteY1458" fmla="*/ 4386509 h 6858290"/>
              <a:gd name="connsiteX1459" fmla="*/ 6523112 w 12139750"/>
              <a:gd name="connsiteY1459" fmla="*/ 4408422 h 6858290"/>
              <a:gd name="connsiteX1460" fmla="*/ 6505992 w 12139750"/>
              <a:gd name="connsiteY1460" fmla="*/ 4461632 h 6858290"/>
              <a:gd name="connsiteX1461" fmla="*/ 6167407 w 12139750"/>
              <a:gd name="connsiteY1461" fmla="*/ 4630765 h 6858290"/>
              <a:gd name="connsiteX1462" fmla="*/ 6114146 w 12139750"/>
              <a:gd name="connsiteY1462" fmla="*/ 4613662 h 6858290"/>
              <a:gd name="connsiteX1463" fmla="*/ 6110342 w 12139750"/>
              <a:gd name="connsiteY1463" fmla="*/ 4594658 h 6858290"/>
              <a:gd name="connsiteX1464" fmla="*/ 6131266 w 12139750"/>
              <a:gd name="connsiteY1464" fmla="*/ 4560451 h 6858290"/>
              <a:gd name="connsiteX1465" fmla="*/ 6469851 w 12139750"/>
              <a:gd name="connsiteY1465" fmla="*/ 4391319 h 6858290"/>
              <a:gd name="connsiteX1466" fmla="*/ 6484860 w 12139750"/>
              <a:gd name="connsiteY1466" fmla="*/ 4386509 h 6858290"/>
              <a:gd name="connsiteX1467" fmla="*/ 5956832 w 12139750"/>
              <a:gd name="connsiteY1467" fmla="*/ 4379618 h 6858290"/>
              <a:gd name="connsiteX1468" fmla="*/ 5980168 w 12139750"/>
              <a:gd name="connsiteY1468" fmla="*/ 4400625 h 6858290"/>
              <a:gd name="connsiteX1469" fmla="*/ 5961118 w 12139750"/>
              <a:gd name="connsiteY1469" fmla="*/ 4456009 h 6858290"/>
              <a:gd name="connsiteX1470" fmla="*/ 5622031 w 12139750"/>
              <a:gd name="connsiteY1470" fmla="*/ 4616430 h 6858290"/>
              <a:gd name="connsiteX1471" fmla="*/ 5564881 w 12139750"/>
              <a:gd name="connsiteY1471" fmla="*/ 4595422 h 6858290"/>
              <a:gd name="connsiteX1472" fmla="*/ 5561071 w 12139750"/>
              <a:gd name="connsiteY1472" fmla="*/ 4578234 h 6858290"/>
              <a:gd name="connsiteX1473" fmla="*/ 5585836 w 12139750"/>
              <a:gd name="connsiteY1473" fmla="*/ 4540039 h 6858290"/>
              <a:gd name="connsiteX1474" fmla="*/ 5924923 w 12139750"/>
              <a:gd name="connsiteY1474" fmla="*/ 4381528 h 6858290"/>
              <a:gd name="connsiteX1475" fmla="*/ 5956832 w 12139750"/>
              <a:gd name="connsiteY1475" fmla="*/ 4379618 h 6858290"/>
              <a:gd name="connsiteX1476" fmla="*/ 398944 w 12139750"/>
              <a:gd name="connsiteY1476" fmla="*/ 4379618 h 6858290"/>
              <a:gd name="connsiteX1477" fmla="*/ 422281 w 12139750"/>
              <a:gd name="connsiteY1477" fmla="*/ 4400625 h 6858290"/>
              <a:gd name="connsiteX1478" fmla="*/ 401326 w 12139750"/>
              <a:gd name="connsiteY1478" fmla="*/ 4456009 h 6858290"/>
              <a:gd name="connsiteX1479" fmla="*/ 62231 w 12139750"/>
              <a:gd name="connsiteY1479" fmla="*/ 4616430 h 6858290"/>
              <a:gd name="connsiteX1480" fmla="*/ 6986 w 12139750"/>
              <a:gd name="connsiteY1480" fmla="*/ 4595422 h 6858290"/>
              <a:gd name="connsiteX1481" fmla="*/ 3176 w 12139750"/>
              <a:gd name="connsiteY1481" fmla="*/ 4578234 h 6858290"/>
              <a:gd name="connsiteX1482" fmla="*/ 27941 w 12139750"/>
              <a:gd name="connsiteY1482" fmla="*/ 4540039 h 6858290"/>
              <a:gd name="connsiteX1483" fmla="*/ 367035 w 12139750"/>
              <a:gd name="connsiteY1483" fmla="*/ 4381528 h 6858290"/>
              <a:gd name="connsiteX1484" fmla="*/ 398944 w 12139750"/>
              <a:gd name="connsiteY1484" fmla="*/ 4379618 h 6858290"/>
              <a:gd name="connsiteX1485" fmla="*/ 5410426 w 12139750"/>
              <a:gd name="connsiteY1485" fmla="*/ 4371276 h 6858290"/>
              <a:gd name="connsiteX1486" fmla="*/ 5434051 w 12139750"/>
              <a:gd name="connsiteY1486" fmla="*/ 4394881 h 6858290"/>
              <a:gd name="connsiteX1487" fmla="*/ 5411141 w 12139750"/>
              <a:gd name="connsiteY1487" fmla="*/ 4452105 h 6858290"/>
              <a:gd name="connsiteX1488" fmla="*/ 5071298 w 12139750"/>
              <a:gd name="connsiteY1488" fmla="*/ 4598979 h 6858290"/>
              <a:gd name="connsiteX1489" fmla="*/ 5014028 w 12139750"/>
              <a:gd name="connsiteY1489" fmla="*/ 4576090 h 6858290"/>
              <a:gd name="connsiteX1490" fmla="*/ 5010210 w 12139750"/>
              <a:gd name="connsiteY1490" fmla="*/ 4558923 h 6858290"/>
              <a:gd name="connsiteX1491" fmla="*/ 5036936 w 12139750"/>
              <a:gd name="connsiteY1491" fmla="*/ 4518866 h 6858290"/>
              <a:gd name="connsiteX1492" fmla="*/ 5376776 w 12139750"/>
              <a:gd name="connsiteY1492" fmla="*/ 4371991 h 6858290"/>
              <a:gd name="connsiteX1493" fmla="*/ 5410426 w 12139750"/>
              <a:gd name="connsiteY1493" fmla="*/ 4371276 h 6858290"/>
              <a:gd name="connsiteX1494" fmla="*/ 943805 w 12139750"/>
              <a:gd name="connsiteY1494" fmla="*/ 4371276 h 6858290"/>
              <a:gd name="connsiteX1495" fmla="*/ 968368 w 12139750"/>
              <a:gd name="connsiteY1495" fmla="*/ 4394881 h 6858290"/>
              <a:gd name="connsiteX1496" fmla="*/ 945475 w 12139750"/>
              <a:gd name="connsiteY1496" fmla="*/ 4452105 h 6858290"/>
              <a:gd name="connsiteX1497" fmla="*/ 603977 w 12139750"/>
              <a:gd name="connsiteY1497" fmla="*/ 4598979 h 6858290"/>
              <a:gd name="connsiteX1498" fmla="*/ 546743 w 12139750"/>
              <a:gd name="connsiteY1498" fmla="*/ 4576090 h 6858290"/>
              <a:gd name="connsiteX1499" fmla="*/ 542927 w 12139750"/>
              <a:gd name="connsiteY1499" fmla="*/ 4558923 h 6858290"/>
              <a:gd name="connsiteX1500" fmla="*/ 569637 w 12139750"/>
              <a:gd name="connsiteY1500" fmla="*/ 4518866 h 6858290"/>
              <a:gd name="connsiteX1501" fmla="*/ 909226 w 12139750"/>
              <a:gd name="connsiteY1501" fmla="*/ 4371991 h 6858290"/>
              <a:gd name="connsiteX1502" fmla="*/ 943805 w 12139750"/>
              <a:gd name="connsiteY1502" fmla="*/ 4371276 h 6858290"/>
              <a:gd name="connsiteX1503" fmla="*/ 4841668 w 12139750"/>
              <a:gd name="connsiteY1503" fmla="*/ 4359082 h 6858290"/>
              <a:gd name="connsiteX1504" fmla="*/ 4883197 w 12139750"/>
              <a:gd name="connsiteY1504" fmla="*/ 4387173 h 6858290"/>
              <a:gd name="connsiteX1505" fmla="*/ 4856523 w 12139750"/>
              <a:gd name="connsiteY1505" fmla="*/ 4448053 h 6858290"/>
              <a:gd name="connsiteX1506" fmla="*/ 4517432 w 12139750"/>
              <a:gd name="connsiteY1506" fmla="*/ 4583129 h 6858290"/>
              <a:gd name="connsiteX1507" fmla="*/ 4456473 w 12139750"/>
              <a:gd name="connsiteY1507" fmla="*/ 4556495 h 6858290"/>
              <a:gd name="connsiteX1508" fmla="*/ 4454569 w 12139750"/>
              <a:gd name="connsiteY1508" fmla="*/ 4539372 h 6858290"/>
              <a:gd name="connsiteX1509" fmla="*/ 4483145 w 12139750"/>
              <a:gd name="connsiteY1509" fmla="*/ 4497518 h 6858290"/>
              <a:gd name="connsiteX1510" fmla="*/ 4824134 w 12139750"/>
              <a:gd name="connsiteY1510" fmla="*/ 4362441 h 6858290"/>
              <a:gd name="connsiteX1511" fmla="*/ 4841668 w 12139750"/>
              <a:gd name="connsiteY1511" fmla="*/ 4359082 h 6858290"/>
              <a:gd name="connsiteX1512" fmla="*/ 1477208 w 12139750"/>
              <a:gd name="connsiteY1512" fmla="*/ 4359082 h 6858290"/>
              <a:gd name="connsiteX1513" fmla="*/ 1517660 w 12139750"/>
              <a:gd name="connsiteY1513" fmla="*/ 4387173 h 6858290"/>
              <a:gd name="connsiteX1514" fmla="*/ 1492894 w 12139750"/>
              <a:gd name="connsiteY1514" fmla="*/ 4448053 h 6858290"/>
              <a:gd name="connsiteX1515" fmla="*/ 1151895 w 12139750"/>
              <a:gd name="connsiteY1515" fmla="*/ 4583129 h 6858290"/>
              <a:gd name="connsiteX1516" fmla="*/ 1092840 w 12139750"/>
              <a:gd name="connsiteY1516" fmla="*/ 4556495 h 6858290"/>
              <a:gd name="connsiteX1517" fmla="*/ 1089029 w 12139750"/>
              <a:gd name="connsiteY1517" fmla="*/ 4539372 h 6858290"/>
              <a:gd name="connsiteX1518" fmla="*/ 1117605 w 12139750"/>
              <a:gd name="connsiteY1518" fmla="*/ 4497518 h 6858290"/>
              <a:gd name="connsiteX1519" fmla="*/ 1458604 w 12139750"/>
              <a:gd name="connsiteY1519" fmla="*/ 4362441 h 6858290"/>
              <a:gd name="connsiteX1520" fmla="*/ 1477208 w 12139750"/>
              <a:gd name="connsiteY1520" fmla="*/ 4359082 h 6858290"/>
              <a:gd name="connsiteX1521" fmla="*/ 4284028 w 12139750"/>
              <a:gd name="connsiteY1521" fmla="*/ 4349919 h 6858290"/>
              <a:gd name="connsiteX1522" fmla="*/ 4325998 w 12139750"/>
              <a:gd name="connsiteY1522" fmla="*/ 4381660 h 6858290"/>
              <a:gd name="connsiteX1523" fmla="*/ 4297483 w 12139750"/>
              <a:gd name="connsiteY1523" fmla="*/ 4442870 h 6858290"/>
              <a:gd name="connsiteX1524" fmla="*/ 3957235 w 12139750"/>
              <a:gd name="connsiteY1524" fmla="*/ 4569116 h 6858290"/>
              <a:gd name="connsiteX1525" fmla="*/ 3896403 w 12139750"/>
              <a:gd name="connsiteY1525" fmla="*/ 4538511 h 6858290"/>
              <a:gd name="connsiteX1526" fmla="*/ 3892602 w 12139750"/>
              <a:gd name="connsiteY1526" fmla="*/ 4523208 h 6858290"/>
              <a:gd name="connsiteX1527" fmla="*/ 3924919 w 12139750"/>
              <a:gd name="connsiteY1527" fmla="*/ 4477301 h 6858290"/>
              <a:gd name="connsiteX1528" fmla="*/ 4265165 w 12139750"/>
              <a:gd name="connsiteY1528" fmla="*/ 4352968 h 6858290"/>
              <a:gd name="connsiteX1529" fmla="*/ 4284028 w 12139750"/>
              <a:gd name="connsiteY1529" fmla="*/ 4349919 h 6858290"/>
              <a:gd name="connsiteX1530" fmla="*/ 2029783 w 12139750"/>
              <a:gd name="connsiteY1530" fmla="*/ 4349919 h 6858290"/>
              <a:gd name="connsiteX1531" fmla="*/ 2073628 w 12139750"/>
              <a:gd name="connsiteY1531" fmla="*/ 4381660 h 6858290"/>
              <a:gd name="connsiteX1532" fmla="*/ 2045109 w 12139750"/>
              <a:gd name="connsiteY1532" fmla="*/ 4442870 h 6858290"/>
              <a:gd name="connsiteX1533" fmla="*/ 1702940 w 12139750"/>
              <a:gd name="connsiteY1533" fmla="*/ 4569116 h 6858290"/>
              <a:gd name="connsiteX1534" fmla="*/ 1642110 w 12139750"/>
              <a:gd name="connsiteY1534" fmla="*/ 4538511 h 6858290"/>
              <a:gd name="connsiteX1535" fmla="*/ 1638308 w 12139750"/>
              <a:gd name="connsiteY1535" fmla="*/ 4523208 h 6858290"/>
              <a:gd name="connsiteX1536" fmla="*/ 1670624 w 12139750"/>
              <a:gd name="connsiteY1536" fmla="*/ 4477301 h 6858290"/>
              <a:gd name="connsiteX1537" fmla="*/ 2010892 w 12139750"/>
              <a:gd name="connsiteY1537" fmla="*/ 4352968 h 6858290"/>
              <a:gd name="connsiteX1538" fmla="*/ 2029783 w 12139750"/>
              <a:gd name="connsiteY1538" fmla="*/ 4349919 h 6858290"/>
              <a:gd name="connsiteX1539" fmla="*/ 3722769 w 12139750"/>
              <a:gd name="connsiteY1539" fmla="*/ 4341198 h 6858290"/>
              <a:gd name="connsiteX1540" fmla="*/ 3765605 w 12139750"/>
              <a:gd name="connsiteY1540" fmla="*/ 4375585 h 6858290"/>
              <a:gd name="connsiteX1541" fmla="*/ 3733239 w 12139750"/>
              <a:gd name="connsiteY1541" fmla="*/ 4438627 h 6858290"/>
              <a:gd name="connsiteX1542" fmla="*/ 3392495 w 12139750"/>
              <a:gd name="connsiteY1542" fmla="*/ 4551340 h 6858290"/>
              <a:gd name="connsiteX1543" fmla="*/ 3329672 w 12139750"/>
              <a:gd name="connsiteY1543" fmla="*/ 4518863 h 6858290"/>
              <a:gd name="connsiteX1544" fmla="*/ 3325867 w 12139750"/>
              <a:gd name="connsiteY1544" fmla="*/ 4503580 h 6858290"/>
              <a:gd name="connsiteX1545" fmla="*/ 3360130 w 12139750"/>
              <a:gd name="connsiteY1545" fmla="*/ 4455821 h 6858290"/>
              <a:gd name="connsiteX1546" fmla="*/ 3702778 w 12139750"/>
              <a:gd name="connsiteY1546" fmla="*/ 4343108 h 6858290"/>
              <a:gd name="connsiteX1547" fmla="*/ 3722769 w 12139750"/>
              <a:gd name="connsiteY1547" fmla="*/ 4341198 h 6858290"/>
              <a:gd name="connsiteX1548" fmla="*/ 2589270 w 12139750"/>
              <a:gd name="connsiteY1548" fmla="*/ 4341198 h 6858290"/>
              <a:gd name="connsiteX1549" fmla="*/ 2632102 w 12139750"/>
              <a:gd name="connsiteY1549" fmla="*/ 4375585 h 6858290"/>
              <a:gd name="connsiteX1550" fmla="*/ 2599740 w 12139750"/>
              <a:gd name="connsiteY1550" fmla="*/ 4438627 h 6858290"/>
              <a:gd name="connsiteX1551" fmla="*/ 2258982 w 12139750"/>
              <a:gd name="connsiteY1551" fmla="*/ 4551340 h 6858290"/>
              <a:gd name="connsiteX1552" fmla="*/ 2196160 w 12139750"/>
              <a:gd name="connsiteY1552" fmla="*/ 4518863 h 6858290"/>
              <a:gd name="connsiteX1553" fmla="*/ 2192353 w 12139750"/>
              <a:gd name="connsiteY1553" fmla="*/ 4503580 h 6858290"/>
              <a:gd name="connsiteX1554" fmla="*/ 2226618 w 12139750"/>
              <a:gd name="connsiteY1554" fmla="*/ 4455821 h 6858290"/>
              <a:gd name="connsiteX1555" fmla="*/ 2569281 w 12139750"/>
              <a:gd name="connsiteY1555" fmla="*/ 4343108 h 6858290"/>
              <a:gd name="connsiteX1556" fmla="*/ 2589270 w 12139750"/>
              <a:gd name="connsiteY1556" fmla="*/ 4341198 h 6858290"/>
              <a:gd name="connsiteX1557" fmla="*/ 3152166 w 12139750"/>
              <a:gd name="connsiteY1557" fmla="*/ 4331993 h 6858290"/>
              <a:gd name="connsiteX1558" fmla="*/ 3195711 w 12139750"/>
              <a:gd name="connsiteY1558" fmla="*/ 4369821 h 6858290"/>
              <a:gd name="connsiteX1559" fmla="*/ 3161515 w 12139750"/>
              <a:gd name="connsiteY1559" fmla="*/ 4434686 h 6858290"/>
              <a:gd name="connsiteX1560" fmla="*/ 2819567 w 12139750"/>
              <a:gd name="connsiteY1560" fmla="*/ 4535799 h 6858290"/>
              <a:gd name="connsiteX1561" fmla="*/ 2753076 w 12139750"/>
              <a:gd name="connsiteY1561" fmla="*/ 4499551 h 6858290"/>
              <a:gd name="connsiteX1562" fmla="*/ 2751179 w 12139750"/>
              <a:gd name="connsiteY1562" fmla="*/ 4486196 h 6858290"/>
              <a:gd name="connsiteX1563" fmla="*/ 2789171 w 12139750"/>
              <a:gd name="connsiteY1563" fmla="*/ 4434686 h 6858290"/>
              <a:gd name="connsiteX1564" fmla="*/ 3131122 w 12139750"/>
              <a:gd name="connsiteY1564" fmla="*/ 4333573 h 6858290"/>
              <a:gd name="connsiteX1565" fmla="*/ 3152166 w 12139750"/>
              <a:gd name="connsiteY1565" fmla="*/ 4331993 h 6858290"/>
              <a:gd name="connsiteX1566" fmla="*/ 9861856 w 12139750"/>
              <a:gd name="connsiteY1566" fmla="*/ 4113368 h 6858290"/>
              <a:gd name="connsiteX1567" fmla="*/ 9877547 w 12139750"/>
              <a:gd name="connsiteY1567" fmla="*/ 4123348 h 6858290"/>
              <a:gd name="connsiteX1568" fmla="*/ 9873743 w 12139750"/>
              <a:gd name="connsiteY1568" fmla="*/ 4157568 h 6858290"/>
              <a:gd name="connsiteX1569" fmla="*/ 9540914 w 12139750"/>
              <a:gd name="connsiteY1569" fmla="*/ 4410411 h 6858290"/>
              <a:gd name="connsiteX1570" fmla="*/ 9506680 w 12139750"/>
              <a:gd name="connsiteY1570" fmla="*/ 4404708 h 6858290"/>
              <a:gd name="connsiteX1571" fmla="*/ 9502876 w 12139750"/>
              <a:gd name="connsiteY1571" fmla="*/ 4391401 h 6858290"/>
              <a:gd name="connsiteX1572" fmla="*/ 9512385 w 12139750"/>
              <a:gd name="connsiteY1572" fmla="*/ 4370489 h 6858290"/>
              <a:gd name="connsiteX1573" fmla="*/ 9843313 w 12139750"/>
              <a:gd name="connsiteY1573" fmla="*/ 4117645 h 6858290"/>
              <a:gd name="connsiteX1574" fmla="*/ 9861856 w 12139750"/>
              <a:gd name="connsiteY1574" fmla="*/ 4113368 h 6858290"/>
              <a:gd name="connsiteX1575" fmla="*/ 10446896 w 12139750"/>
              <a:gd name="connsiteY1575" fmla="*/ 4105427 h 6858290"/>
              <a:gd name="connsiteX1576" fmla="*/ 10465232 w 12139750"/>
              <a:gd name="connsiteY1576" fmla="*/ 4115397 h 6858290"/>
              <a:gd name="connsiteX1577" fmla="*/ 10459517 w 12139750"/>
              <a:gd name="connsiteY1577" fmla="*/ 4153376 h 6858290"/>
              <a:gd name="connsiteX1578" fmla="*/ 10124233 w 12139750"/>
              <a:gd name="connsiteY1578" fmla="*/ 4392647 h 6858290"/>
              <a:gd name="connsiteX1579" fmla="*/ 10088037 w 12139750"/>
              <a:gd name="connsiteY1579" fmla="*/ 4386950 h 6858290"/>
              <a:gd name="connsiteX1580" fmla="*/ 10082322 w 12139750"/>
              <a:gd name="connsiteY1580" fmla="*/ 4369859 h 6858290"/>
              <a:gd name="connsiteX1581" fmla="*/ 10093752 w 12139750"/>
              <a:gd name="connsiteY1581" fmla="*/ 4348970 h 6858290"/>
              <a:gd name="connsiteX1582" fmla="*/ 10427131 w 12139750"/>
              <a:gd name="connsiteY1582" fmla="*/ 4109700 h 6858290"/>
              <a:gd name="connsiteX1583" fmla="*/ 10446896 w 12139750"/>
              <a:gd name="connsiteY1583" fmla="*/ 4105427 h 6858290"/>
              <a:gd name="connsiteX1584" fmla="*/ 9286179 w 12139750"/>
              <a:gd name="connsiteY1584" fmla="*/ 4105427 h 6858290"/>
              <a:gd name="connsiteX1585" fmla="*/ 9302848 w 12139750"/>
              <a:gd name="connsiteY1585" fmla="*/ 4115397 h 6858290"/>
              <a:gd name="connsiteX1586" fmla="*/ 9297133 w 12139750"/>
              <a:gd name="connsiteY1586" fmla="*/ 4153376 h 6858290"/>
              <a:gd name="connsiteX1587" fmla="*/ 8963754 w 12139750"/>
              <a:gd name="connsiteY1587" fmla="*/ 4392647 h 6858290"/>
              <a:gd name="connsiteX1588" fmla="*/ 8925653 w 12139750"/>
              <a:gd name="connsiteY1588" fmla="*/ 4386950 h 6858290"/>
              <a:gd name="connsiteX1589" fmla="*/ 8921843 w 12139750"/>
              <a:gd name="connsiteY1589" fmla="*/ 4369859 h 6858290"/>
              <a:gd name="connsiteX1590" fmla="*/ 8931368 w 12139750"/>
              <a:gd name="connsiteY1590" fmla="*/ 4348970 h 6858290"/>
              <a:gd name="connsiteX1591" fmla="*/ 9266652 w 12139750"/>
              <a:gd name="connsiteY1591" fmla="*/ 4109700 h 6858290"/>
              <a:gd name="connsiteX1592" fmla="*/ 9286179 w 12139750"/>
              <a:gd name="connsiteY1592" fmla="*/ 4105427 h 6858290"/>
              <a:gd name="connsiteX1593" fmla="*/ 11024810 w 12139750"/>
              <a:gd name="connsiteY1593" fmla="*/ 4097347 h 6858290"/>
              <a:gd name="connsiteX1594" fmla="*/ 11044352 w 12139750"/>
              <a:gd name="connsiteY1594" fmla="*/ 4109742 h 6858290"/>
              <a:gd name="connsiteX1595" fmla="*/ 11036726 w 12139750"/>
              <a:gd name="connsiteY1595" fmla="*/ 4149791 h 6858290"/>
              <a:gd name="connsiteX1596" fmla="*/ 10701174 w 12139750"/>
              <a:gd name="connsiteY1596" fmla="*/ 4376731 h 6858290"/>
              <a:gd name="connsiteX1597" fmla="*/ 10659230 w 12139750"/>
              <a:gd name="connsiteY1597" fmla="*/ 4369103 h 6858290"/>
              <a:gd name="connsiteX1598" fmla="*/ 10655417 w 12139750"/>
              <a:gd name="connsiteY1598" fmla="*/ 4351940 h 6858290"/>
              <a:gd name="connsiteX1599" fmla="*/ 10668763 w 12139750"/>
              <a:gd name="connsiteY1599" fmla="*/ 4327148 h 6858290"/>
              <a:gd name="connsiteX1600" fmla="*/ 11002408 w 12139750"/>
              <a:gd name="connsiteY1600" fmla="*/ 4102114 h 6858290"/>
              <a:gd name="connsiteX1601" fmla="*/ 11024810 w 12139750"/>
              <a:gd name="connsiteY1601" fmla="*/ 4097347 h 6858290"/>
              <a:gd name="connsiteX1602" fmla="*/ 8715681 w 12139750"/>
              <a:gd name="connsiteY1602" fmla="*/ 4097347 h 6858290"/>
              <a:gd name="connsiteX1603" fmla="*/ 8734508 w 12139750"/>
              <a:gd name="connsiteY1603" fmla="*/ 4109742 h 6858290"/>
              <a:gd name="connsiteX1604" fmla="*/ 8726882 w 12139750"/>
              <a:gd name="connsiteY1604" fmla="*/ 4149791 h 6858290"/>
              <a:gd name="connsiteX1605" fmla="*/ 8391330 w 12139750"/>
              <a:gd name="connsiteY1605" fmla="*/ 4376731 h 6858290"/>
              <a:gd name="connsiteX1606" fmla="*/ 8351293 w 12139750"/>
              <a:gd name="connsiteY1606" fmla="*/ 4369103 h 6858290"/>
              <a:gd name="connsiteX1607" fmla="*/ 8345573 w 12139750"/>
              <a:gd name="connsiteY1607" fmla="*/ 4351940 h 6858290"/>
              <a:gd name="connsiteX1608" fmla="*/ 8358919 w 12139750"/>
              <a:gd name="connsiteY1608" fmla="*/ 4327148 h 6858290"/>
              <a:gd name="connsiteX1609" fmla="*/ 8692564 w 12139750"/>
              <a:gd name="connsiteY1609" fmla="*/ 4102114 h 6858290"/>
              <a:gd name="connsiteX1610" fmla="*/ 8715681 w 12139750"/>
              <a:gd name="connsiteY1610" fmla="*/ 4097347 h 6858290"/>
              <a:gd name="connsiteX1611" fmla="*/ 11596149 w 12139750"/>
              <a:gd name="connsiteY1611" fmla="*/ 4089007 h 6858290"/>
              <a:gd name="connsiteX1612" fmla="*/ 11615883 w 12139750"/>
              <a:gd name="connsiteY1612" fmla="*/ 4104009 h 6858290"/>
              <a:gd name="connsiteX1613" fmla="*/ 11606373 w 12139750"/>
              <a:gd name="connsiteY1613" fmla="*/ 4147824 h 6858290"/>
              <a:gd name="connsiteX1614" fmla="*/ 11271615 w 12139750"/>
              <a:gd name="connsiteY1614" fmla="*/ 4359279 h 6858290"/>
              <a:gd name="connsiteX1615" fmla="*/ 11227868 w 12139750"/>
              <a:gd name="connsiteY1615" fmla="*/ 4349754 h 6858290"/>
              <a:gd name="connsiteX1616" fmla="*/ 11222162 w 12139750"/>
              <a:gd name="connsiteY1616" fmla="*/ 4332609 h 6858290"/>
              <a:gd name="connsiteX1617" fmla="*/ 11237378 w 12139750"/>
              <a:gd name="connsiteY1617" fmla="*/ 4305939 h 6858290"/>
              <a:gd name="connsiteX1618" fmla="*/ 11572136 w 12139750"/>
              <a:gd name="connsiteY1618" fmla="*/ 4092579 h 6858290"/>
              <a:gd name="connsiteX1619" fmla="*/ 11596149 w 12139750"/>
              <a:gd name="connsiteY1619" fmla="*/ 4089007 h 6858290"/>
              <a:gd name="connsiteX1620" fmla="*/ 8152699 w 12139750"/>
              <a:gd name="connsiteY1620" fmla="*/ 4089007 h 6858290"/>
              <a:gd name="connsiteX1621" fmla="*/ 8172510 w 12139750"/>
              <a:gd name="connsiteY1621" fmla="*/ 4104009 h 6858290"/>
              <a:gd name="connsiteX1622" fmla="*/ 8162963 w 12139750"/>
              <a:gd name="connsiteY1622" fmla="*/ 4147824 h 6858290"/>
              <a:gd name="connsiteX1623" fmla="*/ 7824978 w 12139750"/>
              <a:gd name="connsiteY1623" fmla="*/ 4359279 h 6858290"/>
              <a:gd name="connsiteX1624" fmla="*/ 7781059 w 12139750"/>
              <a:gd name="connsiteY1624" fmla="*/ 4349754 h 6858290"/>
              <a:gd name="connsiteX1625" fmla="*/ 7777240 w 12139750"/>
              <a:gd name="connsiteY1625" fmla="*/ 4332609 h 6858290"/>
              <a:gd name="connsiteX1626" fmla="*/ 7792516 w 12139750"/>
              <a:gd name="connsiteY1626" fmla="*/ 4305939 h 6858290"/>
              <a:gd name="connsiteX1627" fmla="*/ 8128591 w 12139750"/>
              <a:gd name="connsiteY1627" fmla="*/ 4092579 h 6858290"/>
              <a:gd name="connsiteX1628" fmla="*/ 8152699 w 12139750"/>
              <a:gd name="connsiteY1628" fmla="*/ 4089007 h 6858290"/>
              <a:gd name="connsiteX1629" fmla="*/ 12139750 w 12139750"/>
              <a:gd name="connsiteY1629" fmla="*/ 4083054 h 6858290"/>
              <a:gd name="connsiteX1630" fmla="*/ 12139750 w 12139750"/>
              <a:gd name="connsiteY1630" fmla="*/ 4162969 h 6858290"/>
              <a:gd name="connsiteX1631" fmla="*/ 11834405 w 12139750"/>
              <a:gd name="connsiteY1631" fmla="*/ 4341828 h 6858290"/>
              <a:gd name="connsiteX1632" fmla="*/ 11786695 w 12139750"/>
              <a:gd name="connsiteY1632" fmla="*/ 4330411 h 6858290"/>
              <a:gd name="connsiteX1633" fmla="*/ 11780970 w 12139750"/>
              <a:gd name="connsiteY1633" fmla="*/ 4313287 h 6858290"/>
              <a:gd name="connsiteX1634" fmla="*/ 11798146 w 12139750"/>
              <a:gd name="connsiteY1634" fmla="*/ 4282843 h 6858290"/>
              <a:gd name="connsiteX1635" fmla="*/ 12135933 w 12139750"/>
              <a:gd name="connsiteY1635" fmla="*/ 4084957 h 6858290"/>
              <a:gd name="connsiteX1636" fmla="*/ 12139750 w 12139750"/>
              <a:gd name="connsiteY1636" fmla="*/ 4083054 h 6858290"/>
              <a:gd name="connsiteX1637" fmla="*/ 7594358 w 12139750"/>
              <a:gd name="connsiteY1637" fmla="*/ 4081069 h 6858290"/>
              <a:gd name="connsiteX1638" fmla="*/ 7615314 w 12139750"/>
              <a:gd name="connsiteY1638" fmla="*/ 4096071 h 6858290"/>
              <a:gd name="connsiteX1639" fmla="*/ 7603883 w 12139750"/>
              <a:gd name="connsiteY1639" fmla="*/ 4143696 h 6858290"/>
              <a:gd name="connsiteX1640" fmla="*/ 7266694 w 12139750"/>
              <a:gd name="connsiteY1640" fmla="*/ 4341816 h 6858290"/>
              <a:gd name="connsiteX1641" fmla="*/ 7219068 w 12139750"/>
              <a:gd name="connsiteY1641" fmla="*/ 4330386 h 6858290"/>
              <a:gd name="connsiteX1642" fmla="*/ 7215258 w 12139750"/>
              <a:gd name="connsiteY1642" fmla="*/ 4313241 h 6858290"/>
              <a:gd name="connsiteX1643" fmla="*/ 7232403 w 12139750"/>
              <a:gd name="connsiteY1643" fmla="*/ 4282761 h 6858290"/>
              <a:gd name="connsiteX1644" fmla="*/ 7567688 w 12139750"/>
              <a:gd name="connsiteY1644" fmla="*/ 4084641 h 6858290"/>
              <a:gd name="connsiteX1645" fmla="*/ 7594358 w 12139750"/>
              <a:gd name="connsiteY1645" fmla="*/ 4081069 h 6858290"/>
              <a:gd name="connsiteX1646" fmla="*/ 7045448 w 12139750"/>
              <a:gd name="connsiteY1646" fmla="*/ 4072718 h 6858290"/>
              <a:gd name="connsiteX1647" fmla="*/ 7067610 w 12139750"/>
              <a:gd name="connsiteY1647" fmla="*/ 4090298 h 6858290"/>
              <a:gd name="connsiteX1648" fmla="*/ 7052359 w 12139750"/>
              <a:gd name="connsiteY1648" fmla="*/ 4141612 h 6858290"/>
              <a:gd name="connsiteX1649" fmla="*/ 6714913 w 12139750"/>
              <a:gd name="connsiteY1649" fmla="*/ 4325963 h 6858290"/>
              <a:gd name="connsiteX1650" fmla="*/ 6665344 w 12139750"/>
              <a:gd name="connsiteY1650" fmla="*/ 4310759 h 6858290"/>
              <a:gd name="connsiteX1651" fmla="*/ 6659625 w 12139750"/>
              <a:gd name="connsiteY1651" fmla="*/ 4293654 h 6858290"/>
              <a:gd name="connsiteX1652" fmla="*/ 6678689 w 12139750"/>
              <a:gd name="connsiteY1652" fmla="*/ 4259445 h 6858290"/>
              <a:gd name="connsiteX1653" fmla="*/ 7016136 w 12139750"/>
              <a:gd name="connsiteY1653" fmla="*/ 4075094 h 6858290"/>
              <a:gd name="connsiteX1654" fmla="*/ 7045448 w 12139750"/>
              <a:gd name="connsiteY1654" fmla="*/ 4072718 h 6858290"/>
              <a:gd name="connsiteX1655" fmla="*/ 6500048 w 12139750"/>
              <a:gd name="connsiteY1655" fmla="*/ 4065063 h 6858290"/>
              <a:gd name="connsiteX1656" fmla="*/ 6523112 w 12139750"/>
              <a:gd name="connsiteY1656" fmla="*/ 4084421 h 6858290"/>
              <a:gd name="connsiteX1657" fmla="*/ 6505992 w 12139750"/>
              <a:gd name="connsiteY1657" fmla="*/ 4137956 h 6858290"/>
              <a:gd name="connsiteX1658" fmla="*/ 6167407 w 12139750"/>
              <a:gd name="connsiteY1658" fmla="*/ 4310032 h 6858290"/>
              <a:gd name="connsiteX1659" fmla="*/ 6114146 w 12139750"/>
              <a:gd name="connsiteY1659" fmla="*/ 4292824 h 6858290"/>
              <a:gd name="connsiteX1660" fmla="*/ 6110342 w 12139750"/>
              <a:gd name="connsiteY1660" fmla="*/ 4273705 h 6858290"/>
              <a:gd name="connsiteX1661" fmla="*/ 6131266 w 12139750"/>
              <a:gd name="connsiteY1661" fmla="*/ 4239290 h 6858290"/>
              <a:gd name="connsiteX1662" fmla="*/ 6469851 w 12139750"/>
              <a:gd name="connsiteY1662" fmla="*/ 4067214 h 6858290"/>
              <a:gd name="connsiteX1663" fmla="*/ 6500048 w 12139750"/>
              <a:gd name="connsiteY1663" fmla="*/ 4065063 h 6858290"/>
              <a:gd name="connsiteX1664" fmla="*/ 5941057 w 12139750"/>
              <a:gd name="connsiteY1664" fmla="*/ 4054783 h 6858290"/>
              <a:gd name="connsiteX1665" fmla="*/ 5980168 w 12139750"/>
              <a:gd name="connsiteY1665" fmla="*/ 4078685 h 6858290"/>
              <a:gd name="connsiteX1666" fmla="*/ 5961118 w 12139750"/>
              <a:gd name="connsiteY1666" fmla="*/ 4135978 h 6858290"/>
              <a:gd name="connsiteX1667" fmla="*/ 5622031 w 12139750"/>
              <a:gd name="connsiteY1667" fmla="*/ 4292580 h 6858290"/>
              <a:gd name="connsiteX1668" fmla="*/ 5564881 w 12139750"/>
              <a:gd name="connsiteY1668" fmla="*/ 4271572 h 6858290"/>
              <a:gd name="connsiteX1669" fmla="*/ 5561071 w 12139750"/>
              <a:gd name="connsiteY1669" fmla="*/ 4254384 h 6858290"/>
              <a:gd name="connsiteX1670" fmla="*/ 5585836 w 12139750"/>
              <a:gd name="connsiteY1670" fmla="*/ 4216189 h 6858290"/>
              <a:gd name="connsiteX1671" fmla="*/ 5924923 w 12139750"/>
              <a:gd name="connsiteY1671" fmla="*/ 4059588 h 6858290"/>
              <a:gd name="connsiteX1672" fmla="*/ 5941057 w 12139750"/>
              <a:gd name="connsiteY1672" fmla="*/ 4054783 h 6858290"/>
              <a:gd name="connsiteX1673" fmla="*/ 383168 w 12139750"/>
              <a:gd name="connsiteY1673" fmla="*/ 4054783 h 6858290"/>
              <a:gd name="connsiteX1674" fmla="*/ 422281 w 12139750"/>
              <a:gd name="connsiteY1674" fmla="*/ 4078685 h 6858290"/>
              <a:gd name="connsiteX1675" fmla="*/ 401325 w 12139750"/>
              <a:gd name="connsiteY1675" fmla="*/ 4135978 h 6858290"/>
              <a:gd name="connsiteX1676" fmla="*/ 62231 w 12139750"/>
              <a:gd name="connsiteY1676" fmla="*/ 4292580 h 6858290"/>
              <a:gd name="connsiteX1677" fmla="*/ 6986 w 12139750"/>
              <a:gd name="connsiteY1677" fmla="*/ 4271572 h 6858290"/>
              <a:gd name="connsiteX1678" fmla="*/ 3175 w 12139750"/>
              <a:gd name="connsiteY1678" fmla="*/ 4254384 h 6858290"/>
              <a:gd name="connsiteX1679" fmla="*/ 27941 w 12139750"/>
              <a:gd name="connsiteY1679" fmla="*/ 4216189 h 6858290"/>
              <a:gd name="connsiteX1680" fmla="*/ 367035 w 12139750"/>
              <a:gd name="connsiteY1680" fmla="*/ 4059588 h 6858290"/>
              <a:gd name="connsiteX1681" fmla="*/ 383168 w 12139750"/>
              <a:gd name="connsiteY1681" fmla="*/ 4054783 h 6858290"/>
              <a:gd name="connsiteX1682" fmla="*/ 5394100 w 12139750"/>
              <a:gd name="connsiteY1682" fmla="*/ 4046339 h 6858290"/>
              <a:gd name="connsiteX1683" fmla="*/ 5435653 w 12139750"/>
              <a:gd name="connsiteY1683" fmla="*/ 4072660 h 6858290"/>
              <a:gd name="connsiteX1684" fmla="*/ 5410869 w 12139750"/>
              <a:gd name="connsiteY1684" fmla="*/ 4131869 h 6858290"/>
              <a:gd name="connsiteX1685" fmla="*/ 5071527 w 12139750"/>
              <a:gd name="connsiteY1685" fmla="*/ 4275116 h 6858290"/>
              <a:gd name="connsiteX1686" fmla="*/ 5012435 w 12139750"/>
              <a:gd name="connsiteY1686" fmla="*/ 4252196 h 6858290"/>
              <a:gd name="connsiteX1687" fmla="*/ 5008622 w 12139750"/>
              <a:gd name="connsiteY1687" fmla="*/ 4235007 h 6858290"/>
              <a:gd name="connsiteX1688" fmla="*/ 5037216 w 12139750"/>
              <a:gd name="connsiteY1688" fmla="*/ 4192988 h 6858290"/>
              <a:gd name="connsiteX1689" fmla="*/ 5376554 w 12139750"/>
              <a:gd name="connsiteY1689" fmla="*/ 4049741 h 6858290"/>
              <a:gd name="connsiteX1690" fmla="*/ 5394100 w 12139750"/>
              <a:gd name="connsiteY1690" fmla="*/ 4046339 h 6858290"/>
              <a:gd name="connsiteX1691" fmla="*/ 926784 w 12139750"/>
              <a:gd name="connsiteY1691" fmla="*/ 4046338 h 6858290"/>
              <a:gd name="connsiteX1692" fmla="*/ 968368 w 12139750"/>
              <a:gd name="connsiteY1692" fmla="*/ 4072660 h 6858290"/>
              <a:gd name="connsiteX1693" fmla="*/ 945475 w 12139750"/>
              <a:gd name="connsiteY1693" fmla="*/ 4131869 h 6858290"/>
              <a:gd name="connsiteX1694" fmla="*/ 603977 w 12139750"/>
              <a:gd name="connsiteY1694" fmla="*/ 4275116 h 6858290"/>
              <a:gd name="connsiteX1695" fmla="*/ 544835 w 12139750"/>
              <a:gd name="connsiteY1695" fmla="*/ 4252196 h 6858290"/>
              <a:gd name="connsiteX1696" fmla="*/ 542927 w 12139750"/>
              <a:gd name="connsiteY1696" fmla="*/ 4235007 h 6858290"/>
              <a:gd name="connsiteX1697" fmla="*/ 569637 w 12139750"/>
              <a:gd name="connsiteY1697" fmla="*/ 4192988 h 6858290"/>
              <a:gd name="connsiteX1698" fmla="*/ 909226 w 12139750"/>
              <a:gd name="connsiteY1698" fmla="*/ 4049741 h 6858290"/>
              <a:gd name="connsiteX1699" fmla="*/ 926784 w 12139750"/>
              <a:gd name="connsiteY1699" fmla="*/ 4046338 h 6858290"/>
              <a:gd name="connsiteX1700" fmla="*/ 4823917 w 12139750"/>
              <a:gd name="connsiteY1700" fmla="*/ 4041420 h 6858290"/>
              <a:gd name="connsiteX1701" fmla="*/ 4884800 w 12139750"/>
              <a:gd name="connsiteY1701" fmla="*/ 4069841 h 6858290"/>
              <a:gd name="connsiteX1702" fmla="*/ 4856262 w 12139750"/>
              <a:gd name="connsiteY1702" fmla="*/ 4130474 h 6858290"/>
              <a:gd name="connsiteX1703" fmla="*/ 4515758 w 12139750"/>
              <a:gd name="connsiteY1703" fmla="*/ 4259317 h 6858290"/>
              <a:gd name="connsiteX1704" fmla="*/ 4454884 w 12139750"/>
              <a:gd name="connsiteY1704" fmla="*/ 4230896 h 6858290"/>
              <a:gd name="connsiteX1705" fmla="*/ 4452982 w 12139750"/>
              <a:gd name="connsiteY1705" fmla="*/ 4215738 h 6858290"/>
              <a:gd name="connsiteX1706" fmla="*/ 4483419 w 12139750"/>
              <a:gd name="connsiteY1706" fmla="*/ 4170263 h 6858290"/>
              <a:gd name="connsiteX1707" fmla="*/ 4823917 w 12139750"/>
              <a:gd name="connsiteY1707" fmla="*/ 4041420 h 6858290"/>
              <a:gd name="connsiteX1708" fmla="*/ 1458388 w 12139750"/>
              <a:gd name="connsiteY1708" fmla="*/ 4041420 h 6858290"/>
              <a:gd name="connsiteX1709" fmla="*/ 1519261 w 12139750"/>
              <a:gd name="connsiteY1709" fmla="*/ 4069841 h 6858290"/>
              <a:gd name="connsiteX1710" fmla="*/ 1492629 w 12139750"/>
              <a:gd name="connsiteY1710" fmla="*/ 4130474 h 6858290"/>
              <a:gd name="connsiteX1711" fmla="*/ 1152120 w 12139750"/>
              <a:gd name="connsiteY1711" fmla="*/ 4259317 h 6858290"/>
              <a:gd name="connsiteX1712" fmla="*/ 1091247 w 12139750"/>
              <a:gd name="connsiteY1712" fmla="*/ 4230896 h 6858290"/>
              <a:gd name="connsiteX1713" fmla="*/ 1087442 w 12139750"/>
              <a:gd name="connsiteY1713" fmla="*/ 4215738 h 6858290"/>
              <a:gd name="connsiteX1714" fmla="*/ 1117879 w 12139750"/>
              <a:gd name="connsiteY1714" fmla="*/ 4170263 h 6858290"/>
              <a:gd name="connsiteX1715" fmla="*/ 1458388 w 12139750"/>
              <a:gd name="connsiteY1715" fmla="*/ 4041420 h 6858290"/>
              <a:gd name="connsiteX1716" fmla="*/ 4286101 w 12139750"/>
              <a:gd name="connsiteY1716" fmla="*/ 4031102 h 6858290"/>
              <a:gd name="connsiteX1717" fmla="*/ 4329117 w 12139750"/>
              <a:gd name="connsiteY1717" fmla="*/ 4064321 h 6858290"/>
              <a:gd name="connsiteX1718" fmla="*/ 4298528 w 12139750"/>
              <a:gd name="connsiteY1718" fmla="*/ 4127186 h 6858290"/>
              <a:gd name="connsiteX1719" fmla="*/ 3956339 w 12139750"/>
              <a:gd name="connsiteY1719" fmla="*/ 4243391 h 6858290"/>
              <a:gd name="connsiteX1720" fmla="*/ 3893249 w 12139750"/>
              <a:gd name="connsiteY1720" fmla="*/ 4212911 h 6858290"/>
              <a:gd name="connsiteX1721" fmla="*/ 3889424 w 12139750"/>
              <a:gd name="connsiteY1721" fmla="*/ 4195766 h 6858290"/>
              <a:gd name="connsiteX1722" fmla="*/ 3923838 w 12139750"/>
              <a:gd name="connsiteY1722" fmla="*/ 4150046 h 6858290"/>
              <a:gd name="connsiteX1723" fmla="*/ 4266027 w 12139750"/>
              <a:gd name="connsiteY1723" fmla="*/ 4033841 h 6858290"/>
              <a:gd name="connsiteX1724" fmla="*/ 4286101 w 12139750"/>
              <a:gd name="connsiteY1724" fmla="*/ 4031102 h 6858290"/>
              <a:gd name="connsiteX1725" fmla="*/ 2031406 w 12139750"/>
              <a:gd name="connsiteY1725" fmla="*/ 4031102 h 6858290"/>
              <a:gd name="connsiteX1726" fmla="*/ 2075220 w 12139750"/>
              <a:gd name="connsiteY1726" fmla="*/ 4064321 h 6858290"/>
              <a:gd name="connsiteX1727" fmla="*/ 2042922 w 12139750"/>
              <a:gd name="connsiteY1727" fmla="*/ 4127186 h 6858290"/>
              <a:gd name="connsiteX1728" fmla="*/ 1702894 w 12139750"/>
              <a:gd name="connsiteY1728" fmla="*/ 4243391 h 6858290"/>
              <a:gd name="connsiteX1729" fmla="*/ 1640208 w 12139750"/>
              <a:gd name="connsiteY1729" fmla="*/ 4212911 h 6858290"/>
              <a:gd name="connsiteX1730" fmla="*/ 1638308 w 12139750"/>
              <a:gd name="connsiteY1730" fmla="*/ 4195766 h 6858290"/>
              <a:gd name="connsiteX1731" fmla="*/ 1670601 w 12139750"/>
              <a:gd name="connsiteY1731" fmla="*/ 4150046 h 6858290"/>
              <a:gd name="connsiteX1732" fmla="*/ 2012528 w 12139750"/>
              <a:gd name="connsiteY1732" fmla="*/ 4033841 h 6858290"/>
              <a:gd name="connsiteX1733" fmla="*/ 2031406 w 12139750"/>
              <a:gd name="connsiteY1733" fmla="*/ 4031102 h 6858290"/>
              <a:gd name="connsiteX1734" fmla="*/ 3725865 w 12139750"/>
              <a:gd name="connsiteY1734" fmla="*/ 4022421 h 6858290"/>
              <a:gd name="connsiteX1735" fmla="*/ 3770669 w 12139750"/>
              <a:gd name="connsiteY1735" fmla="*/ 4060194 h 6858290"/>
              <a:gd name="connsiteX1736" fmla="*/ 3734419 w 12139750"/>
              <a:gd name="connsiteY1736" fmla="*/ 4124964 h 6858290"/>
              <a:gd name="connsiteX1737" fmla="*/ 3391050 w 12139750"/>
              <a:gd name="connsiteY1737" fmla="*/ 4225929 h 6858290"/>
              <a:gd name="connsiteX1738" fmla="*/ 3326186 w 12139750"/>
              <a:gd name="connsiteY1738" fmla="*/ 4191639 h 6858290"/>
              <a:gd name="connsiteX1739" fmla="*/ 3324277 w 12139750"/>
              <a:gd name="connsiteY1739" fmla="*/ 4176399 h 6858290"/>
              <a:gd name="connsiteX1740" fmla="*/ 3362431 w 12139750"/>
              <a:gd name="connsiteY1740" fmla="*/ 4126869 h 6858290"/>
              <a:gd name="connsiteX1741" fmla="*/ 3705802 w 12139750"/>
              <a:gd name="connsiteY1741" fmla="*/ 4023999 h 6858290"/>
              <a:gd name="connsiteX1742" fmla="*/ 3725865 w 12139750"/>
              <a:gd name="connsiteY1742" fmla="*/ 4022421 h 6858290"/>
              <a:gd name="connsiteX1743" fmla="*/ 2590959 w 12139750"/>
              <a:gd name="connsiteY1743" fmla="*/ 4022421 h 6858290"/>
              <a:gd name="connsiteX1744" fmla="*/ 2635603 w 12139750"/>
              <a:gd name="connsiteY1744" fmla="*/ 4060194 h 6858290"/>
              <a:gd name="connsiteX1745" fmla="*/ 2599484 w 12139750"/>
              <a:gd name="connsiteY1745" fmla="*/ 4124964 h 6858290"/>
              <a:gd name="connsiteX1746" fmla="*/ 2257300 w 12139750"/>
              <a:gd name="connsiteY1746" fmla="*/ 4225929 h 6858290"/>
              <a:gd name="connsiteX1747" fmla="*/ 2192666 w 12139750"/>
              <a:gd name="connsiteY1747" fmla="*/ 4191639 h 6858290"/>
              <a:gd name="connsiteX1748" fmla="*/ 2190765 w 12139750"/>
              <a:gd name="connsiteY1748" fmla="*/ 4176399 h 6858290"/>
              <a:gd name="connsiteX1749" fmla="*/ 2228785 w 12139750"/>
              <a:gd name="connsiteY1749" fmla="*/ 4126869 h 6858290"/>
              <a:gd name="connsiteX1750" fmla="*/ 2570968 w 12139750"/>
              <a:gd name="connsiteY1750" fmla="*/ 4023999 h 6858290"/>
              <a:gd name="connsiteX1751" fmla="*/ 2590959 w 12139750"/>
              <a:gd name="connsiteY1751" fmla="*/ 4022421 h 6858290"/>
              <a:gd name="connsiteX1752" fmla="*/ 3155345 w 12139750"/>
              <a:gd name="connsiteY1752" fmla="*/ 4014781 h 6858290"/>
              <a:gd name="connsiteX1753" fmla="*/ 3200742 w 12139750"/>
              <a:gd name="connsiteY1753" fmla="*/ 4054161 h 6858290"/>
              <a:gd name="connsiteX1754" fmla="*/ 3160628 w 12139750"/>
              <a:gd name="connsiteY1754" fmla="*/ 4120836 h 6858290"/>
              <a:gd name="connsiteX1755" fmla="*/ 2816774 w 12139750"/>
              <a:gd name="connsiteY1755" fmla="*/ 4210371 h 6858290"/>
              <a:gd name="connsiteX1756" fmla="*/ 2749912 w 12139750"/>
              <a:gd name="connsiteY1756" fmla="*/ 4170366 h 6858290"/>
              <a:gd name="connsiteX1757" fmla="*/ 2748004 w 12139750"/>
              <a:gd name="connsiteY1757" fmla="*/ 4157031 h 6858290"/>
              <a:gd name="connsiteX1758" fmla="*/ 2788118 w 12139750"/>
              <a:gd name="connsiteY1758" fmla="*/ 4103691 h 6858290"/>
              <a:gd name="connsiteX1759" fmla="*/ 3133884 w 12139750"/>
              <a:gd name="connsiteY1759" fmla="*/ 4016061 h 6858290"/>
              <a:gd name="connsiteX1760" fmla="*/ 3155345 w 12139750"/>
              <a:gd name="connsiteY1760" fmla="*/ 4014781 h 6858290"/>
              <a:gd name="connsiteX1761" fmla="*/ 9861718 w 12139750"/>
              <a:gd name="connsiteY1761" fmla="*/ 3784929 h 6858290"/>
              <a:gd name="connsiteX1762" fmla="*/ 9876255 w 12139750"/>
              <a:gd name="connsiteY1762" fmla="*/ 3792579 h 6858290"/>
              <a:gd name="connsiteX1763" fmla="*/ 9872442 w 12139750"/>
              <a:gd name="connsiteY1763" fmla="*/ 3823182 h 6858290"/>
              <a:gd name="connsiteX1764" fmla="*/ 9540690 w 12139750"/>
              <a:gd name="connsiteY1764" fmla="*/ 4092865 h 6858290"/>
              <a:gd name="connsiteX1765" fmla="*/ 9510184 w 12139750"/>
              <a:gd name="connsiteY1765" fmla="*/ 4089040 h 6858290"/>
              <a:gd name="connsiteX1766" fmla="*/ 9504464 w 12139750"/>
              <a:gd name="connsiteY1766" fmla="*/ 4075651 h 6858290"/>
              <a:gd name="connsiteX1767" fmla="*/ 9513997 w 12139750"/>
              <a:gd name="connsiteY1767" fmla="*/ 4058438 h 6858290"/>
              <a:gd name="connsiteX1768" fmla="*/ 9845750 w 12139750"/>
              <a:gd name="connsiteY1768" fmla="*/ 3788754 h 6858290"/>
              <a:gd name="connsiteX1769" fmla="*/ 9861718 w 12139750"/>
              <a:gd name="connsiteY1769" fmla="*/ 3784929 h 6858290"/>
              <a:gd name="connsiteX1770" fmla="*/ 10445981 w 12139750"/>
              <a:gd name="connsiteY1770" fmla="*/ 3777074 h 6858290"/>
              <a:gd name="connsiteX1771" fmla="*/ 10461723 w 12139750"/>
              <a:gd name="connsiteY1771" fmla="*/ 3786867 h 6858290"/>
              <a:gd name="connsiteX1772" fmla="*/ 10457907 w 12139750"/>
              <a:gd name="connsiteY1772" fmla="*/ 3821263 h 6858290"/>
              <a:gd name="connsiteX1773" fmla="*/ 10123980 w 12139750"/>
              <a:gd name="connsiteY1773" fmla="*/ 4075410 h 6858290"/>
              <a:gd name="connsiteX1774" fmla="*/ 10089633 w 12139750"/>
              <a:gd name="connsiteY1774" fmla="*/ 4069678 h 6858290"/>
              <a:gd name="connsiteX1775" fmla="*/ 10083909 w 12139750"/>
              <a:gd name="connsiteY1775" fmla="*/ 4054391 h 6858290"/>
              <a:gd name="connsiteX1776" fmla="*/ 10093450 w 12139750"/>
              <a:gd name="connsiteY1776" fmla="*/ 4035282 h 6858290"/>
              <a:gd name="connsiteX1777" fmla="*/ 10427377 w 12139750"/>
              <a:gd name="connsiteY1777" fmla="*/ 3783045 h 6858290"/>
              <a:gd name="connsiteX1778" fmla="*/ 10445981 w 12139750"/>
              <a:gd name="connsiteY1778" fmla="*/ 3777074 h 6858290"/>
              <a:gd name="connsiteX1779" fmla="*/ 9284313 w 12139750"/>
              <a:gd name="connsiteY1779" fmla="*/ 3777074 h 6858290"/>
              <a:gd name="connsiteX1780" fmla="*/ 9300003 w 12139750"/>
              <a:gd name="connsiteY1780" fmla="*/ 3786867 h 6858290"/>
              <a:gd name="connsiteX1781" fmla="*/ 9296200 w 12139750"/>
              <a:gd name="connsiteY1781" fmla="*/ 3821263 h 6858290"/>
              <a:gd name="connsiteX1782" fmla="*/ 8963371 w 12139750"/>
              <a:gd name="connsiteY1782" fmla="*/ 4075410 h 6858290"/>
              <a:gd name="connsiteX1783" fmla="*/ 8929137 w 12139750"/>
              <a:gd name="connsiteY1783" fmla="*/ 4069678 h 6858290"/>
              <a:gd name="connsiteX1784" fmla="*/ 8923431 w 12139750"/>
              <a:gd name="connsiteY1784" fmla="*/ 4054391 h 6858290"/>
              <a:gd name="connsiteX1785" fmla="*/ 8932940 w 12139750"/>
              <a:gd name="connsiteY1785" fmla="*/ 4035282 h 6858290"/>
              <a:gd name="connsiteX1786" fmla="*/ 9265770 w 12139750"/>
              <a:gd name="connsiteY1786" fmla="*/ 3783045 h 6858290"/>
              <a:gd name="connsiteX1787" fmla="*/ 9284313 w 12139750"/>
              <a:gd name="connsiteY1787" fmla="*/ 3777074 h 6858290"/>
              <a:gd name="connsiteX1788" fmla="*/ 8714826 w 12139750"/>
              <a:gd name="connsiteY1788" fmla="*/ 3771656 h 6858290"/>
              <a:gd name="connsiteX1789" fmla="*/ 8733221 w 12139750"/>
              <a:gd name="connsiteY1789" fmla="*/ 3782349 h 6858290"/>
              <a:gd name="connsiteX1790" fmla="*/ 8725577 w 12139750"/>
              <a:gd name="connsiteY1790" fmla="*/ 3820368 h 6858290"/>
              <a:gd name="connsiteX1791" fmla="*/ 8391118 w 12139750"/>
              <a:gd name="connsiteY1791" fmla="*/ 4056086 h 6858290"/>
              <a:gd name="connsiteX1792" fmla="*/ 8352895 w 12139750"/>
              <a:gd name="connsiteY1792" fmla="*/ 4050383 h 6858290"/>
              <a:gd name="connsiteX1793" fmla="*/ 8347161 w 12139750"/>
              <a:gd name="connsiteY1793" fmla="*/ 4035176 h 6858290"/>
              <a:gd name="connsiteX1794" fmla="*/ 8358628 w 12139750"/>
              <a:gd name="connsiteY1794" fmla="*/ 4012364 h 6858290"/>
              <a:gd name="connsiteX1795" fmla="*/ 8694997 w 12139750"/>
              <a:gd name="connsiteY1795" fmla="*/ 3776646 h 6858290"/>
              <a:gd name="connsiteX1796" fmla="*/ 8714826 w 12139750"/>
              <a:gd name="connsiteY1796" fmla="*/ 3771656 h 6858290"/>
              <a:gd name="connsiteX1797" fmla="*/ 11022950 w 12139750"/>
              <a:gd name="connsiteY1797" fmla="*/ 3771656 h 6858290"/>
              <a:gd name="connsiteX1798" fmla="*/ 11041509 w 12139750"/>
              <a:gd name="connsiteY1798" fmla="*/ 3782349 h 6858290"/>
              <a:gd name="connsiteX1799" fmla="*/ 11033895 w 12139750"/>
              <a:gd name="connsiteY1799" fmla="*/ 3820368 h 6858290"/>
              <a:gd name="connsiteX1800" fmla="*/ 10700785 w 12139750"/>
              <a:gd name="connsiteY1800" fmla="*/ 4056086 h 6858290"/>
              <a:gd name="connsiteX1801" fmla="*/ 10662715 w 12139750"/>
              <a:gd name="connsiteY1801" fmla="*/ 4050383 h 6858290"/>
              <a:gd name="connsiteX1802" fmla="*/ 10657005 w 12139750"/>
              <a:gd name="connsiteY1802" fmla="*/ 4035176 h 6858290"/>
              <a:gd name="connsiteX1803" fmla="*/ 10668426 w 12139750"/>
              <a:gd name="connsiteY1803" fmla="*/ 4012364 h 6858290"/>
              <a:gd name="connsiteX1804" fmla="*/ 11001536 w 12139750"/>
              <a:gd name="connsiteY1804" fmla="*/ 3776646 h 6858290"/>
              <a:gd name="connsiteX1805" fmla="*/ 11022950 w 12139750"/>
              <a:gd name="connsiteY1805" fmla="*/ 3771656 h 6858290"/>
              <a:gd name="connsiteX1806" fmla="*/ 8151418 w 12139750"/>
              <a:gd name="connsiteY1806" fmla="*/ 3763955 h 6858290"/>
              <a:gd name="connsiteX1807" fmla="*/ 8170945 w 12139750"/>
              <a:gd name="connsiteY1807" fmla="*/ 3776310 h 6858290"/>
              <a:gd name="connsiteX1808" fmla="*/ 8161420 w 12139750"/>
              <a:gd name="connsiteY1808" fmla="*/ 3820029 h 6858290"/>
              <a:gd name="connsiteX1809" fmla="*/ 7826135 w 12139750"/>
              <a:gd name="connsiteY1809" fmla="*/ 4038624 h 6858290"/>
              <a:gd name="connsiteX1810" fmla="*/ 7784225 w 12139750"/>
              <a:gd name="connsiteY1810" fmla="*/ 4031020 h 6858290"/>
              <a:gd name="connsiteX1811" fmla="*/ 7780415 w 12139750"/>
              <a:gd name="connsiteY1811" fmla="*/ 4013913 h 6858290"/>
              <a:gd name="connsiteX1812" fmla="*/ 7793750 w 12139750"/>
              <a:gd name="connsiteY1812" fmla="*/ 3987302 h 6858290"/>
              <a:gd name="connsiteX1813" fmla="*/ 8129034 w 12139750"/>
              <a:gd name="connsiteY1813" fmla="*/ 3768707 h 6858290"/>
              <a:gd name="connsiteX1814" fmla="*/ 8151418 w 12139750"/>
              <a:gd name="connsiteY1814" fmla="*/ 3763955 h 6858290"/>
              <a:gd name="connsiteX1815" fmla="*/ 11596182 w 12139750"/>
              <a:gd name="connsiteY1815" fmla="*/ 3763955 h 6858290"/>
              <a:gd name="connsiteX1816" fmla="*/ 11614280 w 12139750"/>
              <a:gd name="connsiteY1816" fmla="*/ 3776310 h 6858290"/>
              <a:gd name="connsiteX1817" fmla="*/ 11606660 w 12139750"/>
              <a:gd name="connsiteY1817" fmla="*/ 3820029 h 6858290"/>
              <a:gd name="connsiteX1818" fmla="*/ 11271376 w 12139750"/>
              <a:gd name="connsiteY1818" fmla="*/ 4038624 h 6858290"/>
              <a:gd name="connsiteX1819" fmla="*/ 11229465 w 12139750"/>
              <a:gd name="connsiteY1819" fmla="*/ 4031020 h 6858290"/>
              <a:gd name="connsiteX1820" fmla="*/ 11223750 w 12139750"/>
              <a:gd name="connsiteY1820" fmla="*/ 4013913 h 6858290"/>
              <a:gd name="connsiteX1821" fmla="*/ 11237085 w 12139750"/>
              <a:gd name="connsiteY1821" fmla="*/ 3987302 h 6858290"/>
              <a:gd name="connsiteX1822" fmla="*/ 11572369 w 12139750"/>
              <a:gd name="connsiteY1822" fmla="*/ 3768707 h 6858290"/>
              <a:gd name="connsiteX1823" fmla="*/ 11596182 w 12139750"/>
              <a:gd name="connsiteY1823" fmla="*/ 3763955 h 6858290"/>
              <a:gd name="connsiteX1824" fmla="*/ 12139750 w 12139750"/>
              <a:gd name="connsiteY1824" fmla="*/ 3759203 h 6858290"/>
              <a:gd name="connsiteX1825" fmla="*/ 12139750 w 12139750"/>
              <a:gd name="connsiteY1825" fmla="*/ 3835137 h 6858290"/>
              <a:gd name="connsiteX1826" fmla="*/ 11835489 w 12139750"/>
              <a:gd name="connsiteY1826" fmla="*/ 4021174 h 6858290"/>
              <a:gd name="connsiteX1827" fmla="*/ 11789850 w 12139750"/>
              <a:gd name="connsiteY1827" fmla="*/ 4009784 h 6858290"/>
              <a:gd name="connsiteX1828" fmla="*/ 11784145 w 12139750"/>
              <a:gd name="connsiteY1828" fmla="*/ 3992699 h 6858290"/>
              <a:gd name="connsiteX1829" fmla="*/ 11799358 w 12139750"/>
              <a:gd name="connsiteY1829" fmla="*/ 3964224 h 6858290"/>
              <a:gd name="connsiteX1830" fmla="*/ 12135947 w 12139750"/>
              <a:gd name="connsiteY1830" fmla="*/ 3761101 h 6858290"/>
              <a:gd name="connsiteX1831" fmla="*/ 12139750 w 12139750"/>
              <a:gd name="connsiteY1831" fmla="*/ 3759203 h 6858290"/>
              <a:gd name="connsiteX1832" fmla="*/ 7593700 w 12139750"/>
              <a:gd name="connsiteY1832" fmla="*/ 3756493 h 6858290"/>
              <a:gd name="connsiteX1833" fmla="*/ 7613718 w 12139750"/>
              <a:gd name="connsiteY1833" fmla="*/ 3772173 h 6858290"/>
              <a:gd name="connsiteX1834" fmla="*/ 7604186 w 12139750"/>
              <a:gd name="connsiteY1834" fmla="*/ 3817790 h 6858290"/>
              <a:gd name="connsiteX1835" fmla="*/ 7266734 w 12139750"/>
              <a:gd name="connsiteY1835" fmla="*/ 4021162 h 6858290"/>
              <a:gd name="connsiteX1836" fmla="*/ 7220977 w 12139750"/>
              <a:gd name="connsiteY1836" fmla="*/ 4009758 h 6858290"/>
              <a:gd name="connsiteX1837" fmla="*/ 7215258 w 12139750"/>
              <a:gd name="connsiteY1837" fmla="*/ 3992652 h 6858290"/>
              <a:gd name="connsiteX1838" fmla="*/ 7232416 w 12139750"/>
              <a:gd name="connsiteY1838" fmla="*/ 3964142 h 6858290"/>
              <a:gd name="connsiteX1839" fmla="*/ 7567962 w 12139750"/>
              <a:gd name="connsiteY1839" fmla="*/ 3760769 h 6858290"/>
              <a:gd name="connsiteX1840" fmla="*/ 7593700 w 12139750"/>
              <a:gd name="connsiteY1840" fmla="*/ 3756493 h 6858290"/>
              <a:gd name="connsiteX1841" fmla="*/ 7044469 w 12139750"/>
              <a:gd name="connsiteY1841" fmla="*/ 3749140 h 6858290"/>
              <a:gd name="connsiteX1842" fmla="*/ 7065695 w 12139750"/>
              <a:gd name="connsiteY1842" fmla="*/ 3766564 h 6858290"/>
              <a:gd name="connsiteX1843" fmla="*/ 7052340 w 12139750"/>
              <a:gd name="connsiteY1843" fmla="*/ 3816209 h 6858290"/>
              <a:gd name="connsiteX1844" fmla="*/ 6714634 w 12139750"/>
              <a:gd name="connsiteY1844" fmla="*/ 4005244 h 6858290"/>
              <a:gd name="connsiteX1845" fmla="*/ 6665028 w 12139750"/>
              <a:gd name="connsiteY1845" fmla="*/ 3989968 h 6858290"/>
              <a:gd name="connsiteX1846" fmla="*/ 6661212 w 12139750"/>
              <a:gd name="connsiteY1846" fmla="*/ 3972783 h 6858290"/>
              <a:gd name="connsiteX1847" fmla="*/ 6678383 w 12139750"/>
              <a:gd name="connsiteY1847" fmla="*/ 3940323 h 6858290"/>
              <a:gd name="connsiteX1848" fmla="*/ 7016089 w 12139750"/>
              <a:gd name="connsiteY1848" fmla="*/ 3753198 h 6858290"/>
              <a:gd name="connsiteX1849" fmla="*/ 7044469 w 12139750"/>
              <a:gd name="connsiteY1849" fmla="*/ 3749140 h 6858290"/>
              <a:gd name="connsiteX1850" fmla="*/ 6500048 w 12139750"/>
              <a:gd name="connsiteY1850" fmla="*/ 3741441 h 6858290"/>
              <a:gd name="connsiteX1851" fmla="*/ 6523112 w 12139750"/>
              <a:gd name="connsiteY1851" fmla="*/ 3762447 h 6858290"/>
              <a:gd name="connsiteX1852" fmla="*/ 6505992 w 12139750"/>
              <a:gd name="connsiteY1852" fmla="*/ 3814006 h 6858290"/>
              <a:gd name="connsiteX1853" fmla="*/ 6167407 w 12139750"/>
              <a:gd name="connsiteY1853" fmla="*/ 3987780 h 6858290"/>
              <a:gd name="connsiteX1854" fmla="*/ 6114146 w 12139750"/>
              <a:gd name="connsiteY1854" fmla="*/ 3970593 h 6858290"/>
              <a:gd name="connsiteX1855" fmla="*/ 6110342 w 12139750"/>
              <a:gd name="connsiteY1855" fmla="*/ 3951497 h 6858290"/>
              <a:gd name="connsiteX1856" fmla="*/ 6131266 w 12139750"/>
              <a:gd name="connsiteY1856" fmla="*/ 3917125 h 6858290"/>
              <a:gd name="connsiteX1857" fmla="*/ 6469851 w 12139750"/>
              <a:gd name="connsiteY1857" fmla="*/ 3743351 h 6858290"/>
              <a:gd name="connsiteX1858" fmla="*/ 6500048 w 12139750"/>
              <a:gd name="connsiteY1858" fmla="*/ 3741441 h 6858290"/>
              <a:gd name="connsiteX1859" fmla="*/ 5958238 w 12139750"/>
              <a:gd name="connsiteY1859" fmla="*/ 3734460 h 6858290"/>
              <a:gd name="connsiteX1860" fmla="*/ 5983314 w 12139750"/>
              <a:gd name="connsiteY1860" fmla="*/ 3756422 h 6858290"/>
              <a:gd name="connsiteX1861" fmla="*/ 5962297 w 12139750"/>
              <a:gd name="connsiteY1861" fmla="*/ 3813715 h 6858290"/>
              <a:gd name="connsiteX1862" fmla="*/ 5622210 w 12139750"/>
              <a:gd name="connsiteY1862" fmla="*/ 3970317 h 6858290"/>
              <a:gd name="connsiteX1863" fmla="*/ 5564892 w 12139750"/>
              <a:gd name="connsiteY1863" fmla="*/ 3949309 h 6858290"/>
              <a:gd name="connsiteX1864" fmla="*/ 5561071 w 12139750"/>
              <a:gd name="connsiteY1864" fmla="*/ 3930212 h 6858290"/>
              <a:gd name="connsiteX1865" fmla="*/ 5585909 w 12139750"/>
              <a:gd name="connsiteY1865" fmla="*/ 3892016 h 6858290"/>
              <a:gd name="connsiteX1866" fmla="*/ 5925997 w 12139750"/>
              <a:gd name="connsiteY1866" fmla="*/ 3735415 h 6858290"/>
              <a:gd name="connsiteX1867" fmla="*/ 5958238 w 12139750"/>
              <a:gd name="connsiteY1867" fmla="*/ 3734460 h 6858290"/>
              <a:gd name="connsiteX1868" fmla="*/ 398944 w 12139750"/>
              <a:gd name="connsiteY1868" fmla="*/ 3734460 h 6858290"/>
              <a:gd name="connsiteX1869" fmla="*/ 422280 w 12139750"/>
              <a:gd name="connsiteY1869" fmla="*/ 3756422 h 6858290"/>
              <a:gd name="connsiteX1870" fmla="*/ 401325 w 12139750"/>
              <a:gd name="connsiteY1870" fmla="*/ 3813715 h 6858290"/>
              <a:gd name="connsiteX1871" fmla="*/ 62231 w 12139750"/>
              <a:gd name="connsiteY1871" fmla="*/ 3970317 h 6858290"/>
              <a:gd name="connsiteX1872" fmla="*/ 6986 w 12139750"/>
              <a:gd name="connsiteY1872" fmla="*/ 3949309 h 6858290"/>
              <a:gd name="connsiteX1873" fmla="*/ 3175 w 12139750"/>
              <a:gd name="connsiteY1873" fmla="*/ 3930212 h 6858290"/>
              <a:gd name="connsiteX1874" fmla="*/ 27941 w 12139750"/>
              <a:gd name="connsiteY1874" fmla="*/ 3892016 h 6858290"/>
              <a:gd name="connsiteX1875" fmla="*/ 367035 w 12139750"/>
              <a:gd name="connsiteY1875" fmla="*/ 3735415 h 6858290"/>
              <a:gd name="connsiteX1876" fmla="*/ 398944 w 12139750"/>
              <a:gd name="connsiteY1876" fmla="*/ 3734460 h 6858290"/>
              <a:gd name="connsiteX1877" fmla="*/ 5394100 w 12139750"/>
              <a:gd name="connsiteY1877" fmla="*/ 3725661 h 6858290"/>
              <a:gd name="connsiteX1878" fmla="*/ 5435653 w 12139750"/>
              <a:gd name="connsiteY1878" fmla="*/ 3753716 h 6858290"/>
              <a:gd name="connsiteX1879" fmla="*/ 5410869 w 12139750"/>
              <a:gd name="connsiteY1879" fmla="*/ 3812616 h 6858290"/>
              <a:gd name="connsiteX1880" fmla="*/ 5071527 w 12139750"/>
              <a:gd name="connsiteY1880" fmla="*/ 3951316 h 6858290"/>
              <a:gd name="connsiteX1881" fmla="*/ 5012435 w 12139750"/>
              <a:gd name="connsiteY1881" fmla="*/ 3928516 h 6858290"/>
              <a:gd name="connsiteX1882" fmla="*/ 5008622 w 12139750"/>
              <a:gd name="connsiteY1882" fmla="*/ 3911416 h 6858290"/>
              <a:gd name="connsiteX1883" fmla="*/ 5037216 w 12139750"/>
              <a:gd name="connsiteY1883" fmla="*/ 3869616 h 6858290"/>
              <a:gd name="connsiteX1884" fmla="*/ 5376554 w 12139750"/>
              <a:gd name="connsiteY1884" fmla="*/ 3729016 h 6858290"/>
              <a:gd name="connsiteX1885" fmla="*/ 5394100 w 12139750"/>
              <a:gd name="connsiteY1885" fmla="*/ 3725661 h 6858290"/>
              <a:gd name="connsiteX1886" fmla="*/ 927625 w 12139750"/>
              <a:gd name="connsiteY1886" fmla="*/ 3725661 h 6858290"/>
              <a:gd name="connsiteX1887" fmla="*/ 968374 w 12139750"/>
              <a:gd name="connsiteY1887" fmla="*/ 3753716 h 6858290"/>
              <a:gd name="connsiteX1888" fmla="*/ 945497 w 12139750"/>
              <a:gd name="connsiteY1888" fmla="*/ 3812616 h 6858290"/>
              <a:gd name="connsiteX1889" fmla="*/ 604250 w 12139750"/>
              <a:gd name="connsiteY1889" fmla="*/ 3951316 h 6858290"/>
              <a:gd name="connsiteX1890" fmla="*/ 545152 w 12139750"/>
              <a:gd name="connsiteY1890" fmla="*/ 3928516 h 6858290"/>
              <a:gd name="connsiteX1891" fmla="*/ 541339 w 12139750"/>
              <a:gd name="connsiteY1891" fmla="*/ 3911416 h 6858290"/>
              <a:gd name="connsiteX1892" fmla="*/ 569935 w 12139750"/>
              <a:gd name="connsiteY1892" fmla="*/ 3869616 h 6858290"/>
              <a:gd name="connsiteX1893" fmla="*/ 909276 w 12139750"/>
              <a:gd name="connsiteY1893" fmla="*/ 3729016 h 6858290"/>
              <a:gd name="connsiteX1894" fmla="*/ 927625 w 12139750"/>
              <a:gd name="connsiteY1894" fmla="*/ 3725661 h 6858290"/>
              <a:gd name="connsiteX1895" fmla="*/ 4842646 w 12139750"/>
              <a:gd name="connsiteY1895" fmla="*/ 3718049 h 6858290"/>
              <a:gd name="connsiteX1896" fmla="*/ 4884772 w 12139750"/>
              <a:gd name="connsiteY1896" fmla="*/ 3749574 h 6858290"/>
              <a:gd name="connsiteX1897" fmla="*/ 4856151 w 12139750"/>
              <a:gd name="connsiteY1897" fmla="*/ 3810367 h 6858290"/>
              <a:gd name="connsiteX1898" fmla="*/ 4514669 w 12139750"/>
              <a:gd name="connsiteY1898" fmla="*/ 3933854 h 6858290"/>
              <a:gd name="connsiteX1899" fmla="*/ 4453622 w 12139750"/>
              <a:gd name="connsiteY1899" fmla="*/ 3905357 h 6858290"/>
              <a:gd name="connsiteX1900" fmla="*/ 4449806 w 12139750"/>
              <a:gd name="connsiteY1900" fmla="*/ 3890159 h 6858290"/>
              <a:gd name="connsiteX1901" fmla="*/ 4482239 w 12139750"/>
              <a:gd name="connsiteY1901" fmla="*/ 3844564 h 6858290"/>
              <a:gd name="connsiteX1902" fmla="*/ 4823714 w 12139750"/>
              <a:gd name="connsiteY1902" fmla="*/ 3721077 h 6858290"/>
              <a:gd name="connsiteX1903" fmla="*/ 4842646 w 12139750"/>
              <a:gd name="connsiteY1903" fmla="*/ 3718049 h 6858290"/>
              <a:gd name="connsiteX1904" fmla="*/ 1478619 w 12139750"/>
              <a:gd name="connsiteY1904" fmla="*/ 3718049 h 6858290"/>
              <a:gd name="connsiteX1905" fmla="*/ 1520856 w 12139750"/>
              <a:gd name="connsiteY1905" fmla="*/ 3749574 h 6858290"/>
              <a:gd name="connsiteX1906" fmla="*/ 1492342 w 12139750"/>
              <a:gd name="connsiteY1906" fmla="*/ 3810367 h 6858290"/>
              <a:gd name="connsiteX1907" fmla="*/ 1152074 w 12139750"/>
              <a:gd name="connsiteY1907" fmla="*/ 3933854 h 6858290"/>
              <a:gd name="connsiteX1908" fmla="*/ 1089343 w 12139750"/>
              <a:gd name="connsiteY1908" fmla="*/ 3905357 h 6858290"/>
              <a:gd name="connsiteX1909" fmla="*/ 1087442 w 12139750"/>
              <a:gd name="connsiteY1909" fmla="*/ 3890159 h 6858290"/>
              <a:gd name="connsiteX1910" fmla="*/ 1117857 w 12139750"/>
              <a:gd name="connsiteY1910" fmla="*/ 3844564 h 6858290"/>
              <a:gd name="connsiteX1911" fmla="*/ 1460026 w 12139750"/>
              <a:gd name="connsiteY1911" fmla="*/ 3721077 h 6858290"/>
              <a:gd name="connsiteX1912" fmla="*/ 1478619 w 12139750"/>
              <a:gd name="connsiteY1912" fmla="*/ 3718049 h 6858290"/>
              <a:gd name="connsiteX1913" fmla="*/ 2033482 w 12139750"/>
              <a:gd name="connsiteY1913" fmla="*/ 3710438 h 6858290"/>
              <a:gd name="connsiteX1914" fmla="*/ 2078351 w 12139750"/>
              <a:gd name="connsiteY1914" fmla="*/ 3745431 h 6858290"/>
              <a:gd name="connsiteX1915" fmla="*/ 2043959 w 12139750"/>
              <a:gd name="connsiteY1915" fmla="*/ 3810017 h 6858290"/>
              <a:gd name="connsiteX1916" fmla="*/ 1701997 w 12139750"/>
              <a:gd name="connsiteY1916" fmla="*/ 3916393 h 6858290"/>
              <a:gd name="connsiteX1917" fmla="*/ 1637043 w 12139750"/>
              <a:gd name="connsiteY1917" fmla="*/ 3884100 h 6858290"/>
              <a:gd name="connsiteX1918" fmla="*/ 1635133 w 12139750"/>
              <a:gd name="connsiteY1918" fmla="*/ 3868904 h 6858290"/>
              <a:gd name="connsiteX1919" fmla="*/ 1669520 w 12139750"/>
              <a:gd name="connsiteY1919" fmla="*/ 3819515 h 6858290"/>
              <a:gd name="connsiteX1920" fmla="*/ 2013393 w 12139750"/>
              <a:gd name="connsiteY1920" fmla="*/ 3713139 h 6858290"/>
              <a:gd name="connsiteX1921" fmla="*/ 2033482 w 12139750"/>
              <a:gd name="connsiteY1921" fmla="*/ 3710438 h 6858290"/>
              <a:gd name="connsiteX1922" fmla="*/ 4287765 w 12139750"/>
              <a:gd name="connsiteY1922" fmla="*/ 3710438 h 6858290"/>
              <a:gd name="connsiteX1923" fmla="*/ 4330719 w 12139750"/>
              <a:gd name="connsiteY1923" fmla="*/ 3745431 h 6858290"/>
              <a:gd name="connsiteX1924" fmla="*/ 4298264 w 12139750"/>
              <a:gd name="connsiteY1924" fmla="*/ 3810017 h 6858290"/>
              <a:gd name="connsiteX1925" fmla="*/ 3954657 w 12139750"/>
              <a:gd name="connsiteY1925" fmla="*/ 3916393 h 6858290"/>
              <a:gd name="connsiteX1926" fmla="*/ 3891655 w 12139750"/>
              <a:gd name="connsiteY1926" fmla="*/ 3884100 h 6858290"/>
              <a:gd name="connsiteX1927" fmla="*/ 3887839 w 12139750"/>
              <a:gd name="connsiteY1927" fmla="*/ 3868904 h 6858290"/>
              <a:gd name="connsiteX1928" fmla="*/ 3924112 w 12139750"/>
              <a:gd name="connsiteY1928" fmla="*/ 3819515 h 6858290"/>
              <a:gd name="connsiteX1929" fmla="*/ 4267718 w 12139750"/>
              <a:gd name="connsiteY1929" fmla="*/ 3713139 h 6858290"/>
              <a:gd name="connsiteX1930" fmla="*/ 4287765 w 12139750"/>
              <a:gd name="connsiteY1930" fmla="*/ 3710438 h 6858290"/>
              <a:gd name="connsiteX1931" fmla="*/ 3726990 w 12139750"/>
              <a:gd name="connsiteY1931" fmla="*/ 3702866 h 6858290"/>
              <a:gd name="connsiteX1932" fmla="*/ 3772266 w 12139750"/>
              <a:gd name="connsiteY1932" fmla="*/ 3743256 h 6858290"/>
              <a:gd name="connsiteX1933" fmla="*/ 3734163 w 12139750"/>
              <a:gd name="connsiteY1933" fmla="*/ 3807929 h 6858290"/>
              <a:gd name="connsiteX1934" fmla="*/ 3391272 w 12139750"/>
              <a:gd name="connsiteY1934" fmla="*/ 3899232 h 6858290"/>
              <a:gd name="connsiteX1935" fmla="*/ 3324595 w 12139750"/>
              <a:gd name="connsiteY1935" fmla="*/ 3861189 h 6858290"/>
              <a:gd name="connsiteX1936" fmla="*/ 3322690 w 12139750"/>
              <a:gd name="connsiteY1936" fmla="*/ 3847874 h 6858290"/>
              <a:gd name="connsiteX1937" fmla="*/ 3362695 w 12139750"/>
              <a:gd name="connsiteY1937" fmla="*/ 3796517 h 6858290"/>
              <a:gd name="connsiteX1938" fmla="*/ 3705586 w 12139750"/>
              <a:gd name="connsiteY1938" fmla="*/ 3705214 h 6858290"/>
              <a:gd name="connsiteX1939" fmla="*/ 3726990 w 12139750"/>
              <a:gd name="connsiteY1939" fmla="*/ 3702866 h 6858290"/>
              <a:gd name="connsiteX1940" fmla="*/ 2593305 w 12139750"/>
              <a:gd name="connsiteY1940" fmla="*/ 3702866 h 6858290"/>
              <a:gd name="connsiteX1941" fmla="*/ 2638736 w 12139750"/>
              <a:gd name="connsiteY1941" fmla="*/ 3743256 h 6858290"/>
              <a:gd name="connsiteX1942" fmla="*/ 2600503 w 12139750"/>
              <a:gd name="connsiteY1942" fmla="*/ 3807929 h 6858290"/>
              <a:gd name="connsiteX1943" fmla="*/ 2256408 w 12139750"/>
              <a:gd name="connsiteY1943" fmla="*/ 3899232 h 6858290"/>
              <a:gd name="connsiteX1944" fmla="*/ 2189501 w 12139750"/>
              <a:gd name="connsiteY1944" fmla="*/ 3861189 h 6858290"/>
              <a:gd name="connsiteX1945" fmla="*/ 2187589 w 12139750"/>
              <a:gd name="connsiteY1945" fmla="*/ 3847874 h 6858290"/>
              <a:gd name="connsiteX1946" fmla="*/ 2227734 w 12139750"/>
              <a:gd name="connsiteY1946" fmla="*/ 3796517 h 6858290"/>
              <a:gd name="connsiteX1947" fmla="*/ 2571828 w 12139750"/>
              <a:gd name="connsiteY1947" fmla="*/ 3705214 h 6858290"/>
              <a:gd name="connsiteX1948" fmla="*/ 2593305 w 12139750"/>
              <a:gd name="connsiteY1948" fmla="*/ 3702866 h 6858290"/>
              <a:gd name="connsiteX1949" fmla="*/ 3135574 w 12139750"/>
              <a:gd name="connsiteY1949" fmla="*/ 3696656 h 6858290"/>
              <a:gd name="connsiteX1950" fmla="*/ 3202340 w 12139750"/>
              <a:gd name="connsiteY1950" fmla="*/ 3740471 h 6858290"/>
              <a:gd name="connsiteX1951" fmla="*/ 3160374 w 12139750"/>
              <a:gd name="connsiteY1951" fmla="*/ 3809051 h 6858290"/>
              <a:gd name="connsiteX1952" fmla="*/ 2815091 w 12139750"/>
              <a:gd name="connsiteY1952" fmla="*/ 3883346 h 6858290"/>
              <a:gd name="connsiteX1953" fmla="*/ 2746414 w 12139750"/>
              <a:gd name="connsiteY1953" fmla="*/ 3841436 h 6858290"/>
              <a:gd name="connsiteX1954" fmla="*/ 2746414 w 12139750"/>
              <a:gd name="connsiteY1954" fmla="*/ 3828101 h 6858290"/>
              <a:gd name="connsiteX1955" fmla="*/ 2790292 w 12139750"/>
              <a:gd name="connsiteY1955" fmla="*/ 3772856 h 6858290"/>
              <a:gd name="connsiteX1956" fmla="*/ 3135574 w 12139750"/>
              <a:gd name="connsiteY1956" fmla="*/ 3696656 h 6858290"/>
              <a:gd name="connsiteX1957" fmla="*/ 9858878 w 12139750"/>
              <a:gd name="connsiteY1957" fmla="*/ 3457894 h 6858290"/>
              <a:gd name="connsiteX1958" fmla="*/ 9871499 w 12139750"/>
              <a:gd name="connsiteY1958" fmla="*/ 3465507 h 6858290"/>
              <a:gd name="connsiteX1959" fmla="*/ 9869594 w 12139750"/>
              <a:gd name="connsiteY1959" fmla="*/ 3492151 h 6858290"/>
              <a:gd name="connsiteX1960" fmla="*/ 9538119 w 12139750"/>
              <a:gd name="connsiteY1960" fmla="*/ 3773816 h 6858290"/>
              <a:gd name="connsiteX1961" fmla="*/ 9511449 w 12139750"/>
              <a:gd name="connsiteY1961" fmla="*/ 3771913 h 6858290"/>
              <a:gd name="connsiteX1962" fmla="*/ 9507639 w 12139750"/>
              <a:gd name="connsiteY1962" fmla="*/ 3760494 h 6858290"/>
              <a:gd name="connsiteX1963" fmla="*/ 9513354 w 12139750"/>
              <a:gd name="connsiteY1963" fmla="*/ 3745269 h 6858290"/>
              <a:gd name="connsiteX1964" fmla="*/ 9844829 w 12139750"/>
              <a:gd name="connsiteY1964" fmla="*/ 3461700 h 6858290"/>
              <a:gd name="connsiteX1965" fmla="*/ 9858878 w 12139750"/>
              <a:gd name="connsiteY1965" fmla="*/ 3457894 h 6858290"/>
              <a:gd name="connsiteX1966" fmla="*/ 10444338 w 12139750"/>
              <a:gd name="connsiteY1966" fmla="*/ 3451145 h 6858290"/>
              <a:gd name="connsiteX1967" fmla="*/ 10458875 w 12139750"/>
              <a:gd name="connsiteY1967" fmla="*/ 3459471 h 6858290"/>
              <a:gd name="connsiteX1968" fmla="*/ 10455062 w 12139750"/>
              <a:gd name="connsiteY1968" fmla="*/ 3489921 h 6858290"/>
              <a:gd name="connsiteX1969" fmla="*/ 10123310 w 12139750"/>
              <a:gd name="connsiteY1969" fmla="*/ 3756353 h 6858290"/>
              <a:gd name="connsiteX1970" fmla="*/ 10090897 w 12139750"/>
              <a:gd name="connsiteY1970" fmla="*/ 3752547 h 6858290"/>
              <a:gd name="connsiteX1971" fmla="*/ 10087084 w 12139750"/>
              <a:gd name="connsiteY1971" fmla="*/ 3737323 h 6858290"/>
              <a:gd name="connsiteX1972" fmla="*/ 10094710 w 12139750"/>
              <a:gd name="connsiteY1972" fmla="*/ 3720195 h 6858290"/>
              <a:gd name="connsiteX1973" fmla="*/ 10428370 w 12139750"/>
              <a:gd name="connsiteY1973" fmla="*/ 3455665 h 6858290"/>
              <a:gd name="connsiteX1974" fmla="*/ 10444338 w 12139750"/>
              <a:gd name="connsiteY1974" fmla="*/ 3451145 h 6858290"/>
              <a:gd name="connsiteX1975" fmla="*/ 9282925 w 12139750"/>
              <a:gd name="connsiteY1975" fmla="*/ 3451145 h 6858290"/>
              <a:gd name="connsiteX1976" fmla="*/ 9298403 w 12139750"/>
              <a:gd name="connsiteY1976" fmla="*/ 3459471 h 6858290"/>
              <a:gd name="connsiteX1977" fmla="*/ 9294593 w 12139750"/>
              <a:gd name="connsiteY1977" fmla="*/ 3489921 h 6858290"/>
              <a:gd name="connsiteX1978" fmla="*/ 8961213 w 12139750"/>
              <a:gd name="connsiteY1978" fmla="*/ 3756353 h 6858290"/>
              <a:gd name="connsiteX1979" fmla="*/ 8930733 w 12139750"/>
              <a:gd name="connsiteY1979" fmla="*/ 3752547 h 6858290"/>
              <a:gd name="connsiteX1980" fmla="*/ 8925018 w 12139750"/>
              <a:gd name="connsiteY1980" fmla="*/ 3737323 h 6858290"/>
              <a:gd name="connsiteX1981" fmla="*/ 8934543 w 12139750"/>
              <a:gd name="connsiteY1981" fmla="*/ 3720195 h 6858290"/>
              <a:gd name="connsiteX1982" fmla="*/ 9266017 w 12139750"/>
              <a:gd name="connsiteY1982" fmla="*/ 3455665 h 6858290"/>
              <a:gd name="connsiteX1983" fmla="*/ 9282925 w 12139750"/>
              <a:gd name="connsiteY1983" fmla="*/ 3451145 h 6858290"/>
              <a:gd name="connsiteX1984" fmla="*/ 8712667 w 12139750"/>
              <a:gd name="connsiteY1984" fmla="*/ 3443688 h 6858290"/>
              <a:gd name="connsiteX1985" fmla="*/ 8730065 w 12139750"/>
              <a:gd name="connsiteY1985" fmla="*/ 3453451 h 6858290"/>
              <a:gd name="connsiteX1986" fmla="*/ 8724345 w 12139750"/>
              <a:gd name="connsiteY1986" fmla="*/ 3489646 h 6858290"/>
              <a:gd name="connsiteX1987" fmla="*/ 8390693 w 12139750"/>
              <a:gd name="connsiteY1987" fmla="*/ 3737296 h 6858290"/>
              <a:gd name="connsiteX1988" fmla="*/ 8354468 w 12139750"/>
              <a:gd name="connsiteY1988" fmla="*/ 3731581 h 6858290"/>
              <a:gd name="connsiteX1989" fmla="*/ 8348748 w 12139750"/>
              <a:gd name="connsiteY1989" fmla="*/ 3716341 h 6858290"/>
              <a:gd name="connsiteX1990" fmla="*/ 8360187 w 12139750"/>
              <a:gd name="connsiteY1990" fmla="*/ 3695386 h 6858290"/>
              <a:gd name="connsiteX1991" fmla="*/ 8693840 w 12139750"/>
              <a:gd name="connsiteY1991" fmla="*/ 3449641 h 6858290"/>
              <a:gd name="connsiteX1992" fmla="*/ 8712667 w 12139750"/>
              <a:gd name="connsiteY1992" fmla="*/ 3443688 h 6858290"/>
              <a:gd name="connsiteX1993" fmla="*/ 11022273 w 12139750"/>
              <a:gd name="connsiteY1993" fmla="*/ 3443688 h 6858290"/>
              <a:gd name="connsiteX1994" fmla="*/ 11038002 w 12139750"/>
              <a:gd name="connsiteY1994" fmla="*/ 3453451 h 6858290"/>
              <a:gd name="connsiteX1995" fmla="*/ 11034189 w 12139750"/>
              <a:gd name="connsiteY1995" fmla="*/ 3489646 h 6858290"/>
              <a:gd name="connsiteX1996" fmla="*/ 10700537 w 12139750"/>
              <a:gd name="connsiteY1996" fmla="*/ 3737296 h 6858290"/>
              <a:gd name="connsiteX1997" fmla="*/ 10664312 w 12139750"/>
              <a:gd name="connsiteY1997" fmla="*/ 3731581 h 6858290"/>
              <a:gd name="connsiteX1998" fmla="*/ 10658592 w 12139750"/>
              <a:gd name="connsiteY1998" fmla="*/ 3716341 h 6858290"/>
              <a:gd name="connsiteX1999" fmla="*/ 10670031 w 12139750"/>
              <a:gd name="connsiteY1999" fmla="*/ 3695386 h 6858290"/>
              <a:gd name="connsiteX2000" fmla="*/ 11003684 w 12139750"/>
              <a:gd name="connsiteY2000" fmla="*/ 3449641 h 6858290"/>
              <a:gd name="connsiteX2001" fmla="*/ 11022273 w 12139750"/>
              <a:gd name="connsiteY2001" fmla="*/ 3443688 h 6858290"/>
              <a:gd name="connsiteX2002" fmla="*/ 11595028 w 12139750"/>
              <a:gd name="connsiteY2002" fmla="*/ 3438528 h 6858290"/>
              <a:gd name="connsiteX2003" fmla="*/ 11614586 w 12139750"/>
              <a:gd name="connsiteY2003" fmla="*/ 3450911 h 6858290"/>
              <a:gd name="connsiteX2004" fmla="*/ 11606953 w 12139750"/>
              <a:gd name="connsiteY2004" fmla="*/ 3490916 h 6858290"/>
              <a:gd name="connsiteX2005" fmla="*/ 11271132 w 12139750"/>
              <a:gd name="connsiteY2005" fmla="*/ 3719516 h 6858290"/>
              <a:gd name="connsiteX2006" fmla="*/ 11231062 w 12139750"/>
              <a:gd name="connsiteY2006" fmla="*/ 3711896 h 6858290"/>
              <a:gd name="connsiteX2007" fmla="*/ 11225338 w 12139750"/>
              <a:gd name="connsiteY2007" fmla="*/ 3696656 h 6858290"/>
              <a:gd name="connsiteX2008" fmla="*/ 11238695 w 12139750"/>
              <a:gd name="connsiteY2008" fmla="*/ 3671891 h 6858290"/>
              <a:gd name="connsiteX2009" fmla="*/ 11572608 w 12139750"/>
              <a:gd name="connsiteY2009" fmla="*/ 3443291 h 6858290"/>
              <a:gd name="connsiteX2010" fmla="*/ 11595028 w 12139750"/>
              <a:gd name="connsiteY2010" fmla="*/ 3438528 h 6858290"/>
              <a:gd name="connsiteX2011" fmla="*/ 8149264 w 12139750"/>
              <a:gd name="connsiteY2011" fmla="*/ 3438528 h 6858290"/>
              <a:gd name="connsiteX2012" fmla="*/ 8167794 w 12139750"/>
              <a:gd name="connsiteY2012" fmla="*/ 3450911 h 6858290"/>
              <a:gd name="connsiteX2013" fmla="*/ 8160192 w 12139750"/>
              <a:gd name="connsiteY2013" fmla="*/ 3490916 h 6858290"/>
              <a:gd name="connsiteX2014" fmla="*/ 7825713 w 12139750"/>
              <a:gd name="connsiteY2014" fmla="*/ 3719516 h 6858290"/>
              <a:gd name="connsiteX2015" fmla="*/ 7785804 w 12139750"/>
              <a:gd name="connsiteY2015" fmla="*/ 3711896 h 6858290"/>
              <a:gd name="connsiteX2016" fmla="*/ 7782003 w 12139750"/>
              <a:gd name="connsiteY2016" fmla="*/ 3696656 h 6858290"/>
              <a:gd name="connsiteX2017" fmla="*/ 7793405 w 12139750"/>
              <a:gd name="connsiteY2017" fmla="*/ 3671891 h 6858290"/>
              <a:gd name="connsiteX2018" fmla="*/ 8127884 w 12139750"/>
              <a:gd name="connsiteY2018" fmla="*/ 3443291 h 6858290"/>
              <a:gd name="connsiteX2019" fmla="*/ 8149264 w 12139750"/>
              <a:gd name="connsiteY2019" fmla="*/ 3438528 h 6858290"/>
              <a:gd name="connsiteX2020" fmla="*/ 12139750 w 12139750"/>
              <a:gd name="connsiteY2020" fmla="*/ 3433766 h 6858290"/>
              <a:gd name="connsiteX2021" fmla="*/ 12139750 w 12139750"/>
              <a:gd name="connsiteY2021" fmla="*/ 3509879 h 6858290"/>
              <a:gd name="connsiteX2022" fmla="*/ 11835219 w 12139750"/>
              <a:gd name="connsiteY2022" fmla="*/ 3702065 h 6858290"/>
              <a:gd name="connsiteX2023" fmla="*/ 11789540 w 12139750"/>
              <a:gd name="connsiteY2023" fmla="*/ 3690648 h 6858290"/>
              <a:gd name="connsiteX2024" fmla="*/ 11785733 w 12139750"/>
              <a:gd name="connsiteY2024" fmla="*/ 3673522 h 6858290"/>
              <a:gd name="connsiteX2025" fmla="*/ 11800960 w 12139750"/>
              <a:gd name="connsiteY2025" fmla="*/ 3646883 h 6858290"/>
              <a:gd name="connsiteX2026" fmla="*/ 12135943 w 12139750"/>
              <a:gd name="connsiteY2026" fmla="*/ 3435669 h 6858290"/>
              <a:gd name="connsiteX2027" fmla="*/ 12139750 w 12139750"/>
              <a:gd name="connsiteY2027" fmla="*/ 3433766 h 6858290"/>
              <a:gd name="connsiteX2028" fmla="*/ 7592961 w 12139750"/>
              <a:gd name="connsiteY2028" fmla="*/ 3431781 h 6858290"/>
              <a:gd name="connsiteX2029" fmla="*/ 7613711 w 12139750"/>
              <a:gd name="connsiteY2029" fmla="*/ 3446783 h 6858290"/>
              <a:gd name="connsiteX2030" fmla="*/ 7602263 w 12139750"/>
              <a:gd name="connsiteY2030" fmla="*/ 3490598 h 6858290"/>
              <a:gd name="connsiteX2031" fmla="*/ 7266453 w 12139750"/>
              <a:gd name="connsiteY2031" fmla="*/ 3702053 h 6858290"/>
              <a:gd name="connsiteX2032" fmla="*/ 7222569 w 12139750"/>
              <a:gd name="connsiteY2032" fmla="*/ 3690623 h 6858290"/>
              <a:gd name="connsiteX2033" fmla="*/ 7216845 w 12139750"/>
              <a:gd name="connsiteY2033" fmla="*/ 3673478 h 6858290"/>
              <a:gd name="connsiteX2034" fmla="*/ 7232109 w 12139750"/>
              <a:gd name="connsiteY2034" fmla="*/ 3646808 h 6858290"/>
              <a:gd name="connsiteX2035" fmla="*/ 7567918 w 12139750"/>
              <a:gd name="connsiteY2035" fmla="*/ 3435353 h 6858290"/>
              <a:gd name="connsiteX2036" fmla="*/ 7592961 w 12139750"/>
              <a:gd name="connsiteY2036" fmla="*/ 3431781 h 6858290"/>
              <a:gd name="connsiteX2037" fmla="*/ 7042583 w 12139750"/>
              <a:gd name="connsiteY2037" fmla="*/ 3425684 h 6858290"/>
              <a:gd name="connsiteX2038" fmla="*/ 7064457 w 12139750"/>
              <a:gd name="connsiteY2038" fmla="*/ 3442391 h 6858290"/>
              <a:gd name="connsiteX2039" fmla="*/ 7051143 w 12139750"/>
              <a:gd name="connsiteY2039" fmla="*/ 3490127 h 6858290"/>
              <a:gd name="connsiteX2040" fmla="*/ 6714471 w 12139750"/>
              <a:gd name="connsiteY2040" fmla="*/ 3682981 h 6858290"/>
              <a:gd name="connsiteX2041" fmla="*/ 6665016 w 12139750"/>
              <a:gd name="connsiteY2041" fmla="*/ 3669615 h 6858290"/>
              <a:gd name="connsiteX2042" fmla="*/ 6661212 w 12139750"/>
              <a:gd name="connsiteY2042" fmla="*/ 3652430 h 6858290"/>
              <a:gd name="connsiteX2043" fmla="*/ 6678331 w 12139750"/>
              <a:gd name="connsiteY2043" fmla="*/ 3619969 h 6858290"/>
              <a:gd name="connsiteX2044" fmla="*/ 7015003 w 12139750"/>
              <a:gd name="connsiteY2044" fmla="*/ 3429025 h 6858290"/>
              <a:gd name="connsiteX2045" fmla="*/ 7042583 w 12139750"/>
              <a:gd name="connsiteY2045" fmla="*/ 3425684 h 6858290"/>
              <a:gd name="connsiteX2046" fmla="*/ 6499335 w 12139750"/>
              <a:gd name="connsiteY2046" fmla="*/ 3418940 h 6858290"/>
              <a:gd name="connsiteX2047" fmla="*/ 6523112 w 12139750"/>
              <a:gd name="connsiteY2047" fmla="*/ 3438274 h 6858290"/>
              <a:gd name="connsiteX2048" fmla="*/ 6505992 w 12139750"/>
              <a:gd name="connsiteY2048" fmla="*/ 3491743 h 6858290"/>
              <a:gd name="connsiteX2049" fmla="*/ 6167407 w 12139750"/>
              <a:gd name="connsiteY2049" fmla="*/ 3663607 h 6858290"/>
              <a:gd name="connsiteX2050" fmla="*/ 6116048 w 12139750"/>
              <a:gd name="connsiteY2050" fmla="*/ 3648330 h 6858290"/>
              <a:gd name="connsiteX2051" fmla="*/ 6110342 w 12139750"/>
              <a:gd name="connsiteY2051" fmla="*/ 3629234 h 6858290"/>
              <a:gd name="connsiteX2052" fmla="*/ 6131266 w 12139750"/>
              <a:gd name="connsiteY2052" fmla="*/ 3594862 h 6858290"/>
              <a:gd name="connsiteX2053" fmla="*/ 6469851 w 12139750"/>
              <a:gd name="connsiteY2053" fmla="*/ 3421090 h 6858290"/>
              <a:gd name="connsiteX2054" fmla="*/ 6499335 w 12139750"/>
              <a:gd name="connsiteY2054" fmla="*/ 3418940 h 6858290"/>
              <a:gd name="connsiteX2055" fmla="*/ 5958954 w 12139750"/>
              <a:gd name="connsiteY2055" fmla="*/ 3413743 h 6858290"/>
              <a:gd name="connsiteX2056" fmla="*/ 5983314 w 12139750"/>
              <a:gd name="connsiteY2056" fmla="*/ 3435593 h 6858290"/>
              <a:gd name="connsiteX2057" fmla="*/ 5962297 w 12139750"/>
              <a:gd name="connsiteY2057" fmla="*/ 3492599 h 6858290"/>
              <a:gd name="connsiteX2058" fmla="*/ 5622210 w 12139750"/>
              <a:gd name="connsiteY2058" fmla="*/ 3646514 h 6858290"/>
              <a:gd name="connsiteX2059" fmla="*/ 5564892 w 12139750"/>
              <a:gd name="connsiteY2059" fmla="*/ 3625612 h 6858290"/>
              <a:gd name="connsiteX2060" fmla="*/ 5561071 w 12139750"/>
              <a:gd name="connsiteY2060" fmla="*/ 3608510 h 6858290"/>
              <a:gd name="connsiteX2061" fmla="*/ 5585909 w 12139750"/>
              <a:gd name="connsiteY2061" fmla="*/ 3568606 h 6858290"/>
              <a:gd name="connsiteX2062" fmla="*/ 5925997 w 12139750"/>
              <a:gd name="connsiteY2062" fmla="*/ 3414692 h 6858290"/>
              <a:gd name="connsiteX2063" fmla="*/ 5958954 w 12139750"/>
              <a:gd name="connsiteY2063" fmla="*/ 3413743 h 6858290"/>
              <a:gd name="connsiteX2064" fmla="*/ 398651 w 12139750"/>
              <a:gd name="connsiteY2064" fmla="*/ 3413741 h 6858290"/>
              <a:gd name="connsiteX2065" fmla="*/ 421971 w 12139750"/>
              <a:gd name="connsiteY2065" fmla="*/ 3435593 h 6858290"/>
              <a:gd name="connsiteX2066" fmla="*/ 401031 w 12139750"/>
              <a:gd name="connsiteY2066" fmla="*/ 3492599 h 6858290"/>
              <a:gd name="connsiteX2067" fmla="*/ 62187 w 12139750"/>
              <a:gd name="connsiteY2067" fmla="*/ 3646514 h 6858290"/>
              <a:gd name="connsiteX2068" fmla="*/ 6982 w 12139750"/>
              <a:gd name="connsiteY2068" fmla="*/ 3625612 h 6858290"/>
              <a:gd name="connsiteX2069" fmla="*/ 3175 w 12139750"/>
              <a:gd name="connsiteY2069" fmla="*/ 3608510 h 6858290"/>
              <a:gd name="connsiteX2070" fmla="*/ 27922 w 12139750"/>
              <a:gd name="connsiteY2070" fmla="*/ 3568606 h 6858290"/>
              <a:gd name="connsiteX2071" fmla="*/ 366766 w 12139750"/>
              <a:gd name="connsiteY2071" fmla="*/ 3414692 h 6858290"/>
              <a:gd name="connsiteX2072" fmla="*/ 398651 w 12139750"/>
              <a:gd name="connsiteY2072" fmla="*/ 3413741 h 6858290"/>
              <a:gd name="connsiteX2073" fmla="*/ 5394960 w 12139750"/>
              <a:gd name="connsiteY2073" fmla="*/ 3403430 h 6858290"/>
              <a:gd name="connsiteX2074" fmla="*/ 5437255 w 12139750"/>
              <a:gd name="connsiteY2074" fmla="*/ 3433353 h 6858290"/>
              <a:gd name="connsiteX2075" fmla="*/ 5410604 w 12139750"/>
              <a:gd name="connsiteY2075" fmla="*/ 3492253 h 6858290"/>
              <a:gd name="connsiteX2076" fmla="*/ 5069848 w 12139750"/>
              <a:gd name="connsiteY2076" fmla="*/ 3629053 h 6858290"/>
              <a:gd name="connsiteX2077" fmla="*/ 5010843 w 12139750"/>
              <a:gd name="connsiteY2077" fmla="*/ 3602453 h 6858290"/>
              <a:gd name="connsiteX2078" fmla="*/ 5007036 w 12139750"/>
              <a:gd name="connsiteY2078" fmla="*/ 3585353 h 6858290"/>
              <a:gd name="connsiteX2079" fmla="*/ 5037490 w 12139750"/>
              <a:gd name="connsiteY2079" fmla="*/ 3543553 h 6858290"/>
              <a:gd name="connsiteX2080" fmla="*/ 5376339 w 12139750"/>
              <a:gd name="connsiteY2080" fmla="*/ 3406755 h 6858290"/>
              <a:gd name="connsiteX2081" fmla="*/ 5394960 w 12139750"/>
              <a:gd name="connsiteY2081" fmla="*/ 3403430 h 6858290"/>
              <a:gd name="connsiteX2082" fmla="*/ 928445 w 12139750"/>
              <a:gd name="connsiteY2082" fmla="*/ 3403428 h 6858290"/>
              <a:gd name="connsiteX2083" fmla="*/ 969969 w 12139750"/>
              <a:gd name="connsiteY2083" fmla="*/ 3433353 h 6858290"/>
              <a:gd name="connsiteX2084" fmla="*/ 945204 w 12139750"/>
              <a:gd name="connsiteY2084" fmla="*/ 3492253 h 6858290"/>
              <a:gd name="connsiteX2085" fmla="*/ 604205 w 12139750"/>
              <a:gd name="connsiteY2085" fmla="*/ 3629053 h 6858290"/>
              <a:gd name="connsiteX2086" fmla="*/ 543244 w 12139750"/>
              <a:gd name="connsiteY2086" fmla="*/ 3602453 h 6858290"/>
              <a:gd name="connsiteX2087" fmla="*/ 541339 w 12139750"/>
              <a:gd name="connsiteY2087" fmla="*/ 3585353 h 6858290"/>
              <a:gd name="connsiteX2088" fmla="*/ 569914 w 12139750"/>
              <a:gd name="connsiteY2088" fmla="*/ 3543553 h 6858290"/>
              <a:gd name="connsiteX2089" fmla="*/ 910913 w 12139750"/>
              <a:gd name="connsiteY2089" fmla="*/ 3406753 h 6858290"/>
              <a:gd name="connsiteX2090" fmla="*/ 928445 w 12139750"/>
              <a:gd name="connsiteY2090" fmla="*/ 3403428 h 6858290"/>
              <a:gd name="connsiteX2091" fmla="*/ 4843466 w 12139750"/>
              <a:gd name="connsiteY2091" fmla="*/ 3396591 h 6858290"/>
              <a:gd name="connsiteX2092" fmla="*/ 4886367 w 12139750"/>
              <a:gd name="connsiteY2092" fmla="*/ 3429004 h 6858290"/>
              <a:gd name="connsiteX2093" fmla="*/ 4855862 w 12139750"/>
              <a:gd name="connsiteY2093" fmla="*/ 3491868 h 6858290"/>
              <a:gd name="connsiteX2094" fmla="*/ 4514622 w 12139750"/>
              <a:gd name="connsiteY2094" fmla="*/ 3609978 h 6858290"/>
              <a:gd name="connsiteX2095" fmla="*/ 4451713 w 12139750"/>
              <a:gd name="connsiteY2095" fmla="*/ 3579498 h 6858290"/>
              <a:gd name="connsiteX2096" fmla="*/ 4449806 w 12139750"/>
              <a:gd name="connsiteY2096" fmla="*/ 3564258 h 6858290"/>
              <a:gd name="connsiteX2097" fmla="*/ 4482215 w 12139750"/>
              <a:gd name="connsiteY2097" fmla="*/ 3518538 h 6858290"/>
              <a:gd name="connsiteX2098" fmla="*/ 4823447 w 12139750"/>
              <a:gd name="connsiteY2098" fmla="*/ 3398526 h 6858290"/>
              <a:gd name="connsiteX2099" fmla="*/ 4843466 w 12139750"/>
              <a:gd name="connsiteY2099" fmla="*/ 3396591 h 6858290"/>
              <a:gd name="connsiteX2100" fmla="*/ 1478769 w 12139750"/>
              <a:gd name="connsiteY2100" fmla="*/ 3396589 h 6858290"/>
              <a:gd name="connsiteX2101" fmla="*/ 1522735 w 12139750"/>
              <a:gd name="connsiteY2101" fmla="*/ 3429004 h 6858290"/>
              <a:gd name="connsiteX2102" fmla="*/ 1492233 w 12139750"/>
              <a:gd name="connsiteY2102" fmla="*/ 3491868 h 6858290"/>
              <a:gd name="connsiteX2103" fmla="*/ 1149084 w 12139750"/>
              <a:gd name="connsiteY2103" fmla="*/ 3609978 h 6858290"/>
              <a:gd name="connsiteX2104" fmla="*/ 1088080 w 12139750"/>
              <a:gd name="connsiteY2104" fmla="*/ 3579498 h 6858290"/>
              <a:gd name="connsiteX2105" fmla="*/ 1084267 w 12139750"/>
              <a:gd name="connsiteY2105" fmla="*/ 3564258 h 6858290"/>
              <a:gd name="connsiteX2106" fmla="*/ 1116676 w 12139750"/>
              <a:gd name="connsiteY2106" fmla="*/ 3518538 h 6858290"/>
              <a:gd name="connsiteX2107" fmla="*/ 1459824 w 12139750"/>
              <a:gd name="connsiteY2107" fmla="*/ 3398524 h 6858290"/>
              <a:gd name="connsiteX2108" fmla="*/ 1478769 w 12139750"/>
              <a:gd name="connsiteY2108" fmla="*/ 3396589 h 6858290"/>
              <a:gd name="connsiteX2109" fmla="*/ 4288621 w 12139750"/>
              <a:gd name="connsiteY2109" fmla="*/ 3390094 h 6858290"/>
              <a:gd name="connsiteX2110" fmla="*/ 4332319 w 12139750"/>
              <a:gd name="connsiteY2110" fmla="*/ 3426845 h 6858290"/>
              <a:gd name="connsiteX2111" fmla="*/ 4298005 w 12139750"/>
              <a:gd name="connsiteY2111" fmla="*/ 3491709 h 6858290"/>
              <a:gd name="connsiteX2112" fmla="*/ 3954880 w 12139750"/>
              <a:gd name="connsiteY2112" fmla="*/ 3592822 h 6858290"/>
              <a:gd name="connsiteX2113" fmla="*/ 3888156 w 12139750"/>
              <a:gd name="connsiteY2113" fmla="*/ 3556574 h 6858290"/>
              <a:gd name="connsiteX2114" fmla="*/ 3886249 w 12139750"/>
              <a:gd name="connsiteY2114" fmla="*/ 3541311 h 6858290"/>
              <a:gd name="connsiteX2115" fmla="*/ 3924379 w 12139750"/>
              <a:gd name="connsiteY2115" fmla="*/ 3491709 h 6858290"/>
              <a:gd name="connsiteX2116" fmla="*/ 4267501 w 12139750"/>
              <a:gd name="connsiteY2116" fmla="*/ 3392508 h 6858290"/>
              <a:gd name="connsiteX2117" fmla="*/ 4288621 w 12139750"/>
              <a:gd name="connsiteY2117" fmla="*/ 3390094 h 6858290"/>
              <a:gd name="connsiteX2118" fmla="*/ 2035411 w 12139750"/>
              <a:gd name="connsiteY2118" fmla="*/ 3390091 h 6858290"/>
              <a:gd name="connsiteX2119" fmla="*/ 2079949 w 12139750"/>
              <a:gd name="connsiteY2119" fmla="*/ 3426845 h 6858290"/>
              <a:gd name="connsiteX2120" fmla="*/ 2043698 w 12139750"/>
              <a:gd name="connsiteY2120" fmla="*/ 3491709 h 6858290"/>
              <a:gd name="connsiteX2121" fmla="*/ 1700314 w 12139750"/>
              <a:gd name="connsiteY2121" fmla="*/ 3592822 h 6858290"/>
              <a:gd name="connsiteX2122" fmla="*/ 1635452 w 12139750"/>
              <a:gd name="connsiteY2122" fmla="*/ 3556574 h 6858290"/>
              <a:gd name="connsiteX2123" fmla="*/ 1633545 w 12139750"/>
              <a:gd name="connsiteY2123" fmla="*/ 3541311 h 6858290"/>
              <a:gd name="connsiteX2124" fmla="*/ 1671698 w 12139750"/>
              <a:gd name="connsiteY2124" fmla="*/ 3491709 h 6858290"/>
              <a:gd name="connsiteX2125" fmla="*/ 2015083 w 12139750"/>
              <a:gd name="connsiteY2125" fmla="*/ 3392506 h 6858290"/>
              <a:gd name="connsiteX2126" fmla="*/ 2035411 w 12139750"/>
              <a:gd name="connsiteY2126" fmla="*/ 3390091 h 6858290"/>
              <a:gd name="connsiteX2127" fmla="*/ 3729542 w 12139750"/>
              <a:gd name="connsiteY2127" fmla="*/ 3384855 h 6858290"/>
              <a:gd name="connsiteX2128" fmla="*/ 3773838 w 12139750"/>
              <a:gd name="connsiteY2128" fmla="*/ 3427580 h 6858290"/>
              <a:gd name="connsiteX2129" fmla="*/ 3733746 w 12139750"/>
              <a:gd name="connsiteY2129" fmla="*/ 3494046 h 6858290"/>
              <a:gd name="connsiteX2130" fmla="*/ 3388241 w 12139750"/>
              <a:gd name="connsiteY2130" fmla="*/ 3575706 h 6858290"/>
              <a:gd name="connsiteX2131" fmla="*/ 3321424 w 12139750"/>
              <a:gd name="connsiteY2131" fmla="*/ 3533926 h 6858290"/>
              <a:gd name="connsiteX2132" fmla="*/ 3319514 w 12139750"/>
              <a:gd name="connsiteY2132" fmla="*/ 3520633 h 6858290"/>
              <a:gd name="connsiteX2133" fmla="*/ 3361513 w 12139750"/>
              <a:gd name="connsiteY2133" fmla="*/ 3465560 h 6858290"/>
              <a:gd name="connsiteX2134" fmla="*/ 3707020 w 12139750"/>
              <a:gd name="connsiteY2134" fmla="*/ 3385804 h 6858290"/>
              <a:gd name="connsiteX2135" fmla="*/ 3729542 w 12139750"/>
              <a:gd name="connsiteY2135" fmla="*/ 3384855 h 6858290"/>
              <a:gd name="connsiteX2136" fmla="*/ 2596041 w 12139750"/>
              <a:gd name="connsiteY2136" fmla="*/ 3384850 h 6858290"/>
              <a:gd name="connsiteX2137" fmla="*/ 2640335 w 12139750"/>
              <a:gd name="connsiteY2137" fmla="*/ 3427579 h 6858290"/>
              <a:gd name="connsiteX2138" fmla="*/ 2598337 w 12139750"/>
              <a:gd name="connsiteY2138" fmla="*/ 3494046 h 6858290"/>
              <a:gd name="connsiteX2139" fmla="*/ 2254725 w 12139750"/>
              <a:gd name="connsiteY2139" fmla="*/ 3575706 h 6858290"/>
              <a:gd name="connsiteX2140" fmla="*/ 2187911 w 12139750"/>
              <a:gd name="connsiteY2140" fmla="*/ 3533926 h 6858290"/>
              <a:gd name="connsiteX2141" fmla="*/ 2186002 w 12139750"/>
              <a:gd name="connsiteY2141" fmla="*/ 3520633 h 6858290"/>
              <a:gd name="connsiteX2142" fmla="*/ 2227999 w 12139750"/>
              <a:gd name="connsiteY2142" fmla="*/ 3465560 h 6858290"/>
              <a:gd name="connsiteX2143" fmla="*/ 2573521 w 12139750"/>
              <a:gd name="connsiteY2143" fmla="*/ 3385799 h 6858290"/>
              <a:gd name="connsiteX2144" fmla="*/ 2596041 w 12139750"/>
              <a:gd name="connsiteY2144" fmla="*/ 3384850 h 6858290"/>
              <a:gd name="connsiteX2145" fmla="*/ 3137315 w 12139750"/>
              <a:gd name="connsiteY2145" fmla="*/ 3377575 h 6858290"/>
              <a:gd name="connsiteX2146" fmla="*/ 3205849 w 12139750"/>
              <a:gd name="connsiteY2146" fmla="*/ 3425194 h 6858290"/>
              <a:gd name="connsiteX2147" fmla="*/ 3158257 w 12139750"/>
              <a:gd name="connsiteY2147" fmla="*/ 3493773 h 6858290"/>
              <a:gd name="connsiteX2148" fmla="*/ 2813679 w 12139750"/>
              <a:gd name="connsiteY2148" fmla="*/ 3556638 h 6858290"/>
              <a:gd name="connsiteX2149" fmla="*/ 2745145 w 12139750"/>
              <a:gd name="connsiteY2149" fmla="*/ 3509013 h 6858290"/>
              <a:gd name="connsiteX2150" fmla="*/ 2743240 w 12139750"/>
              <a:gd name="connsiteY2150" fmla="*/ 3497583 h 6858290"/>
              <a:gd name="connsiteX2151" fmla="*/ 2792738 w 12139750"/>
              <a:gd name="connsiteY2151" fmla="*/ 3440433 h 6858290"/>
              <a:gd name="connsiteX2152" fmla="*/ 3137315 w 12139750"/>
              <a:gd name="connsiteY2152" fmla="*/ 3377575 h 6858290"/>
              <a:gd name="connsiteX2153" fmla="*/ 9858814 w 12139750"/>
              <a:gd name="connsiteY2153" fmla="*/ 3131368 h 6858290"/>
              <a:gd name="connsiteX2154" fmla="*/ 9870234 w 12139750"/>
              <a:gd name="connsiteY2154" fmla="*/ 3136605 h 6858290"/>
              <a:gd name="connsiteX2155" fmla="*/ 9868331 w 12139750"/>
              <a:gd name="connsiteY2155" fmla="*/ 3159443 h 6858290"/>
              <a:gd name="connsiteX2156" fmla="*/ 9539049 w 12139750"/>
              <a:gd name="connsiteY2156" fmla="*/ 3458218 h 6858290"/>
              <a:gd name="connsiteX2157" fmla="*/ 9516209 w 12139750"/>
              <a:gd name="connsiteY2157" fmla="*/ 3456315 h 6858290"/>
              <a:gd name="connsiteX2158" fmla="*/ 9512402 w 12139750"/>
              <a:gd name="connsiteY2158" fmla="*/ 3444896 h 6858290"/>
              <a:gd name="connsiteX2159" fmla="*/ 9516209 w 12139750"/>
              <a:gd name="connsiteY2159" fmla="*/ 3433477 h 6858290"/>
              <a:gd name="connsiteX2160" fmla="*/ 9847394 w 12139750"/>
              <a:gd name="connsiteY2160" fmla="*/ 3134702 h 6858290"/>
              <a:gd name="connsiteX2161" fmla="*/ 9858814 w 12139750"/>
              <a:gd name="connsiteY2161" fmla="*/ 3131368 h 6858290"/>
              <a:gd name="connsiteX2162" fmla="*/ 9282539 w 12139750"/>
              <a:gd name="connsiteY2162" fmla="*/ 3124787 h 6858290"/>
              <a:gd name="connsiteX2163" fmla="*/ 9295203 w 12139750"/>
              <a:gd name="connsiteY2163" fmla="*/ 3132178 h 6858290"/>
              <a:gd name="connsiteX2164" fmla="*/ 9293291 w 12139750"/>
              <a:gd name="connsiteY2164" fmla="*/ 3160778 h 6858290"/>
              <a:gd name="connsiteX2165" fmla="*/ 8960690 w 12139750"/>
              <a:gd name="connsiteY2165" fmla="*/ 3437250 h 6858290"/>
              <a:gd name="connsiteX2166" fmla="*/ 8932017 w 12139750"/>
              <a:gd name="connsiteY2166" fmla="*/ 3435343 h 6858290"/>
              <a:gd name="connsiteX2167" fmla="*/ 8928194 w 12139750"/>
              <a:gd name="connsiteY2167" fmla="*/ 3421997 h 6858290"/>
              <a:gd name="connsiteX2168" fmla="*/ 8935840 w 12139750"/>
              <a:gd name="connsiteY2168" fmla="*/ 3406743 h 6858290"/>
              <a:gd name="connsiteX2169" fmla="*/ 9268442 w 12139750"/>
              <a:gd name="connsiteY2169" fmla="*/ 3130267 h 6858290"/>
              <a:gd name="connsiteX2170" fmla="*/ 9282539 w 12139750"/>
              <a:gd name="connsiteY2170" fmla="*/ 3124787 h 6858290"/>
              <a:gd name="connsiteX2171" fmla="*/ 10443256 w 12139750"/>
              <a:gd name="connsiteY2171" fmla="*/ 3124763 h 6858290"/>
              <a:gd name="connsiteX2172" fmla="*/ 10457593 w 12139750"/>
              <a:gd name="connsiteY2172" fmla="*/ 3132152 h 6858290"/>
              <a:gd name="connsiteX2173" fmla="*/ 10453769 w 12139750"/>
              <a:gd name="connsiteY2173" fmla="*/ 3160755 h 6858290"/>
              <a:gd name="connsiteX2174" fmla="*/ 10121168 w 12139750"/>
              <a:gd name="connsiteY2174" fmla="*/ 3437250 h 6858290"/>
              <a:gd name="connsiteX2175" fmla="*/ 10094407 w 12139750"/>
              <a:gd name="connsiteY2175" fmla="*/ 3435343 h 6858290"/>
              <a:gd name="connsiteX2176" fmla="*/ 10088672 w 12139750"/>
              <a:gd name="connsiteY2176" fmla="*/ 3421995 h 6858290"/>
              <a:gd name="connsiteX2177" fmla="*/ 10096318 w 12139750"/>
              <a:gd name="connsiteY2177" fmla="*/ 3406741 h 6858290"/>
              <a:gd name="connsiteX2178" fmla="*/ 10428920 w 12139750"/>
              <a:gd name="connsiteY2178" fmla="*/ 3130246 h 6858290"/>
              <a:gd name="connsiteX2179" fmla="*/ 10443256 w 12139750"/>
              <a:gd name="connsiteY2179" fmla="*/ 3124763 h 6858290"/>
              <a:gd name="connsiteX2180" fmla="*/ 8711378 w 12139750"/>
              <a:gd name="connsiteY2180" fmla="*/ 3118284 h 6858290"/>
              <a:gd name="connsiteX2181" fmla="*/ 8728495 w 12139750"/>
              <a:gd name="connsiteY2181" fmla="*/ 3128067 h 6858290"/>
              <a:gd name="connsiteX2182" fmla="*/ 8722790 w 12139750"/>
              <a:gd name="connsiteY2182" fmla="*/ 3160517 h 6858290"/>
              <a:gd name="connsiteX2183" fmla="*/ 8391863 w 12139750"/>
              <a:gd name="connsiteY2183" fmla="*/ 3418193 h 6858290"/>
              <a:gd name="connsiteX2184" fmla="*/ 8357629 w 12139750"/>
              <a:gd name="connsiteY2184" fmla="*/ 3414376 h 6858290"/>
              <a:gd name="connsiteX2185" fmla="*/ 8351923 w 12139750"/>
              <a:gd name="connsiteY2185" fmla="*/ 3399106 h 6858290"/>
              <a:gd name="connsiteX2186" fmla="*/ 8361432 w 12139750"/>
              <a:gd name="connsiteY2186" fmla="*/ 3380018 h 6858290"/>
              <a:gd name="connsiteX2187" fmla="*/ 8694262 w 12139750"/>
              <a:gd name="connsiteY2187" fmla="*/ 3124249 h 6858290"/>
              <a:gd name="connsiteX2188" fmla="*/ 8711378 w 12139750"/>
              <a:gd name="connsiteY2188" fmla="*/ 3118284 h 6858290"/>
              <a:gd name="connsiteX2189" fmla="*/ 11020985 w 12139750"/>
              <a:gd name="connsiteY2189" fmla="*/ 3118259 h 6858290"/>
              <a:gd name="connsiteX2190" fmla="*/ 11036438 w 12139750"/>
              <a:gd name="connsiteY2190" fmla="*/ 3128041 h 6858290"/>
              <a:gd name="connsiteX2191" fmla="*/ 11032634 w 12139750"/>
              <a:gd name="connsiteY2191" fmla="*/ 3160492 h 6858290"/>
              <a:gd name="connsiteX2192" fmla="*/ 10699805 w 12139750"/>
              <a:gd name="connsiteY2192" fmla="*/ 3418193 h 6858290"/>
              <a:gd name="connsiteX2193" fmla="*/ 10667473 w 12139750"/>
              <a:gd name="connsiteY2193" fmla="*/ 3414376 h 6858290"/>
              <a:gd name="connsiteX2194" fmla="*/ 10661767 w 12139750"/>
              <a:gd name="connsiteY2194" fmla="*/ 3399103 h 6858290"/>
              <a:gd name="connsiteX2195" fmla="*/ 10671276 w 12139750"/>
              <a:gd name="connsiteY2195" fmla="*/ 3380016 h 6858290"/>
              <a:gd name="connsiteX2196" fmla="*/ 11004106 w 12139750"/>
              <a:gd name="connsiteY2196" fmla="*/ 3124224 h 6858290"/>
              <a:gd name="connsiteX2197" fmla="*/ 11020985 w 12139750"/>
              <a:gd name="connsiteY2197" fmla="*/ 3118259 h 6858290"/>
              <a:gd name="connsiteX2198" fmla="*/ 8147892 w 12139750"/>
              <a:gd name="connsiteY2198" fmla="*/ 3113506 h 6858290"/>
              <a:gd name="connsiteX2199" fmla="*/ 8166198 w 12139750"/>
              <a:gd name="connsiteY2199" fmla="*/ 3125150 h 6858290"/>
              <a:gd name="connsiteX2200" fmla="*/ 8160492 w 12139750"/>
              <a:gd name="connsiteY2200" fmla="*/ 3163167 h 6858290"/>
              <a:gd name="connsiteX2201" fmla="*/ 7825748 w 12139750"/>
              <a:gd name="connsiteY2201" fmla="*/ 3398864 h 6858290"/>
              <a:gd name="connsiteX2202" fmla="*/ 7787709 w 12139750"/>
              <a:gd name="connsiteY2202" fmla="*/ 3393162 h 6858290"/>
              <a:gd name="connsiteX2203" fmla="*/ 7782003 w 12139750"/>
              <a:gd name="connsiteY2203" fmla="*/ 3376054 h 6858290"/>
              <a:gd name="connsiteX2204" fmla="*/ 7795316 w 12139750"/>
              <a:gd name="connsiteY2204" fmla="*/ 3353251 h 6858290"/>
              <a:gd name="connsiteX2205" fmla="*/ 8128159 w 12139750"/>
              <a:gd name="connsiteY2205" fmla="*/ 3117545 h 6858290"/>
              <a:gd name="connsiteX2206" fmla="*/ 8147892 w 12139750"/>
              <a:gd name="connsiteY2206" fmla="*/ 3113506 h 6858290"/>
              <a:gd name="connsiteX2207" fmla="*/ 11592870 w 12139750"/>
              <a:gd name="connsiteY2207" fmla="*/ 3113497 h 6858290"/>
              <a:gd name="connsiteX2208" fmla="*/ 11611429 w 12139750"/>
              <a:gd name="connsiteY2208" fmla="*/ 3125143 h 6858290"/>
              <a:gd name="connsiteX2209" fmla="*/ 11603815 w 12139750"/>
              <a:gd name="connsiteY2209" fmla="*/ 3163160 h 6858290"/>
              <a:gd name="connsiteX2210" fmla="*/ 11270705 w 12139750"/>
              <a:gd name="connsiteY2210" fmla="*/ 3398861 h 6858290"/>
              <a:gd name="connsiteX2211" fmla="*/ 11232635 w 12139750"/>
              <a:gd name="connsiteY2211" fmla="*/ 3393157 h 6858290"/>
              <a:gd name="connsiteX2212" fmla="*/ 11226925 w 12139750"/>
              <a:gd name="connsiteY2212" fmla="*/ 3376052 h 6858290"/>
              <a:gd name="connsiteX2213" fmla="*/ 11238346 w 12139750"/>
              <a:gd name="connsiteY2213" fmla="*/ 3353249 h 6858290"/>
              <a:gd name="connsiteX2214" fmla="*/ 11571456 w 12139750"/>
              <a:gd name="connsiteY2214" fmla="*/ 3117537 h 6858290"/>
              <a:gd name="connsiteX2215" fmla="*/ 11592870 w 12139750"/>
              <a:gd name="connsiteY2215" fmla="*/ 3113497 h 6858290"/>
              <a:gd name="connsiteX2216" fmla="*/ 12139750 w 12139750"/>
              <a:gd name="connsiteY2216" fmla="*/ 3109931 h 6858290"/>
              <a:gd name="connsiteX2217" fmla="*/ 12139750 w 12139750"/>
              <a:gd name="connsiteY2217" fmla="*/ 3184058 h 6858290"/>
              <a:gd name="connsiteX2218" fmla="*/ 11835219 w 12139750"/>
              <a:gd name="connsiteY2218" fmla="*/ 3379813 h 6858290"/>
              <a:gd name="connsiteX2219" fmla="*/ 11791443 w 12139750"/>
              <a:gd name="connsiteY2219" fmla="*/ 3370310 h 6858290"/>
              <a:gd name="connsiteX2220" fmla="*/ 11785733 w 12139750"/>
              <a:gd name="connsiteY2220" fmla="*/ 3353211 h 6858290"/>
              <a:gd name="connsiteX2221" fmla="*/ 11800960 w 12139750"/>
              <a:gd name="connsiteY2221" fmla="*/ 3326605 h 6858290"/>
              <a:gd name="connsiteX2222" fmla="*/ 12135943 w 12139750"/>
              <a:gd name="connsiteY2222" fmla="*/ 3111832 h 6858290"/>
              <a:gd name="connsiteX2223" fmla="*/ 12139750 w 12139750"/>
              <a:gd name="connsiteY2223" fmla="*/ 3109931 h 6858290"/>
              <a:gd name="connsiteX2224" fmla="*/ 7592396 w 12139750"/>
              <a:gd name="connsiteY2224" fmla="*/ 3107000 h 6858290"/>
              <a:gd name="connsiteX2225" fmla="*/ 7612145 w 12139750"/>
              <a:gd name="connsiteY2225" fmla="*/ 3121034 h 6858290"/>
              <a:gd name="connsiteX2226" fmla="*/ 7602628 w 12139750"/>
              <a:gd name="connsiteY2226" fmla="*/ 3164800 h 6858290"/>
              <a:gd name="connsiteX2227" fmla="*/ 7267608 w 12139750"/>
              <a:gd name="connsiteY2227" fmla="*/ 3379811 h 6858290"/>
              <a:gd name="connsiteX2228" fmla="*/ 7223827 w 12139750"/>
              <a:gd name="connsiteY2228" fmla="*/ 3370294 h 6858290"/>
              <a:gd name="connsiteX2229" fmla="*/ 7220020 w 12139750"/>
              <a:gd name="connsiteY2229" fmla="*/ 3353176 h 6858290"/>
              <a:gd name="connsiteX2230" fmla="*/ 7233344 w 12139750"/>
              <a:gd name="connsiteY2230" fmla="*/ 3326538 h 6858290"/>
              <a:gd name="connsiteX2231" fmla="*/ 7568364 w 12139750"/>
              <a:gd name="connsiteY2231" fmla="*/ 3111519 h 6858290"/>
              <a:gd name="connsiteX2232" fmla="*/ 7592396 w 12139750"/>
              <a:gd name="connsiteY2232" fmla="*/ 3107000 h 6858290"/>
              <a:gd name="connsiteX2233" fmla="*/ 7041870 w 12139750"/>
              <a:gd name="connsiteY2233" fmla="*/ 3101853 h 6858290"/>
              <a:gd name="connsiteX2234" fmla="*/ 7064457 w 12139750"/>
              <a:gd name="connsiteY2234" fmla="*/ 3118540 h 6858290"/>
              <a:gd name="connsiteX2235" fmla="*/ 7051143 w 12139750"/>
              <a:gd name="connsiteY2235" fmla="*/ 3166221 h 6858290"/>
              <a:gd name="connsiteX2236" fmla="*/ 6714471 w 12139750"/>
              <a:gd name="connsiteY2236" fmla="*/ 3360742 h 6858290"/>
              <a:gd name="connsiteX2237" fmla="*/ 6666918 w 12139750"/>
              <a:gd name="connsiteY2237" fmla="*/ 3347395 h 6858290"/>
              <a:gd name="connsiteX2238" fmla="*/ 6661212 w 12139750"/>
              <a:gd name="connsiteY2238" fmla="*/ 3330234 h 6858290"/>
              <a:gd name="connsiteX2239" fmla="*/ 6680233 w 12139750"/>
              <a:gd name="connsiteY2239" fmla="*/ 3299719 h 6858290"/>
              <a:gd name="connsiteX2240" fmla="*/ 7015003 w 12139750"/>
              <a:gd name="connsiteY2240" fmla="*/ 3105192 h 6858290"/>
              <a:gd name="connsiteX2241" fmla="*/ 7041870 w 12139750"/>
              <a:gd name="connsiteY2241" fmla="*/ 3101853 h 6858290"/>
              <a:gd name="connsiteX2242" fmla="*/ 6499097 w 12139750"/>
              <a:gd name="connsiteY2242" fmla="*/ 3095115 h 6858290"/>
              <a:gd name="connsiteX2243" fmla="*/ 6521210 w 12139750"/>
              <a:gd name="connsiteY2243" fmla="*/ 3114451 h 6858290"/>
              <a:gd name="connsiteX2244" fmla="*/ 6505992 w 12139750"/>
              <a:gd name="connsiteY2244" fmla="*/ 3167917 h 6858290"/>
              <a:gd name="connsiteX2245" fmla="*/ 6167407 w 12139750"/>
              <a:gd name="connsiteY2245" fmla="*/ 3341686 h 6858290"/>
              <a:gd name="connsiteX2246" fmla="*/ 6116048 w 12139750"/>
              <a:gd name="connsiteY2246" fmla="*/ 3326407 h 6858290"/>
              <a:gd name="connsiteX2247" fmla="*/ 6110342 w 12139750"/>
              <a:gd name="connsiteY2247" fmla="*/ 3307313 h 6858290"/>
              <a:gd name="connsiteX2248" fmla="*/ 6131266 w 12139750"/>
              <a:gd name="connsiteY2248" fmla="*/ 3272944 h 6858290"/>
              <a:gd name="connsiteX2249" fmla="*/ 6469851 w 12139750"/>
              <a:gd name="connsiteY2249" fmla="*/ 3097266 h 6858290"/>
              <a:gd name="connsiteX2250" fmla="*/ 6499097 w 12139750"/>
              <a:gd name="connsiteY2250" fmla="*/ 3095115 h 6858290"/>
              <a:gd name="connsiteX2251" fmla="*/ 5958954 w 12139750"/>
              <a:gd name="connsiteY2251" fmla="*/ 3091506 h 6858290"/>
              <a:gd name="connsiteX2252" fmla="*/ 5983314 w 12139750"/>
              <a:gd name="connsiteY2252" fmla="*/ 3113357 h 6858290"/>
              <a:gd name="connsiteX2253" fmla="*/ 5962297 w 12139750"/>
              <a:gd name="connsiteY2253" fmla="*/ 3170362 h 6858290"/>
              <a:gd name="connsiteX2254" fmla="*/ 5620300 w 12139750"/>
              <a:gd name="connsiteY2254" fmla="*/ 3324270 h 6858290"/>
              <a:gd name="connsiteX2255" fmla="*/ 5564892 w 12139750"/>
              <a:gd name="connsiteY2255" fmla="*/ 3301471 h 6858290"/>
              <a:gd name="connsiteX2256" fmla="*/ 5561071 w 12139750"/>
              <a:gd name="connsiteY2256" fmla="*/ 3284371 h 6858290"/>
              <a:gd name="connsiteX2257" fmla="*/ 5585909 w 12139750"/>
              <a:gd name="connsiteY2257" fmla="*/ 3246366 h 6858290"/>
              <a:gd name="connsiteX2258" fmla="*/ 5925997 w 12139750"/>
              <a:gd name="connsiteY2258" fmla="*/ 3092457 h 6858290"/>
              <a:gd name="connsiteX2259" fmla="*/ 5958954 w 12139750"/>
              <a:gd name="connsiteY2259" fmla="*/ 3091506 h 6858290"/>
              <a:gd name="connsiteX2260" fmla="*/ 399603 w 12139750"/>
              <a:gd name="connsiteY2260" fmla="*/ 3091494 h 6858290"/>
              <a:gd name="connsiteX2261" fmla="*/ 423874 w 12139750"/>
              <a:gd name="connsiteY2261" fmla="*/ 3113346 h 6858290"/>
              <a:gd name="connsiteX2262" fmla="*/ 401031 w 12139750"/>
              <a:gd name="connsiteY2262" fmla="*/ 3170351 h 6858290"/>
              <a:gd name="connsiteX2263" fmla="*/ 62187 w 12139750"/>
              <a:gd name="connsiteY2263" fmla="*/ 3324262 h 6858290"/>
              <a:gd name="connsiteX2264" fmla="*/ 6982 w 12139750"/>
              <a:gd name="connsiteY2264" fmla="*/ 3301463 h 6858290"/>
              <a:gd name="connsiteX2265" fmla="*/ 3175 w 12139750"/>
              <a:gd name="connsiteY2265" fmla="*/ 3284360 h 6858290"/>
              <a:gd name="connsiteX2266" fmla="*/ 27922 w 12139750"/>
              <a:gd name="connsiteY2266" fmla="*/ 3246356 h 6858290"/>
              <a:gd name="connsiteX2267" fmla="*/ 366766 w 12139750"/>
              <a:gd name="connsiteY2267" fmla="*/ 3092445 h 6858290"/>
              <a:gd name="connsiteX2268" fmla="*/ 399603 w 12139750"/>
              <a:gd name="connsiteY2268" fmla="*/ 3091494 h 6858290"/>
              <a:gd name="connsiteX2269" fmla="*/ 5376339 w 12139750"/>
              <a:gd name="connsiteY2269" fmla="*/ 3084226 h 6858290"/>
              <a:gd name="connsiteX2270" fmla="*/ 5437255 w 12139750"/>
              <a:gd name="connsiteY2270" fmla="*/ 3110894 h 6858290"/>
              <a:gd name="connsiteX2271" fmla="*/ 5410604 w 12139750"/>
              <a:gd name="connsiteY2271" fmla="*/ 3171854 h 6858290"/>
              <a:gd name="connsiteX2272" fmla="*/ 5069848 w 12139750"/>
              <a:gd name="connsiteY2272" fmla="*/ 3305199 h 6858290"/>
              <a:gd name="connsiteX2273" fmla="*/ 5010843 w 12139750"/>
              <a:gd name="connsiteY2273" fmla="*/ 3278532 h 6858290"/>
              <a:gd name="connsiteX2274" fmla="*/ 5007036 w 12139750"/>
              <a:gd name="connsiteY2274" fmla="*/ 3261388 h 6858290"/>
              <a:gd name="connsiteX2275" fmla="*/ 5037490 w 12139750"/>
              <a:gd name="connsiteY2275" fmla="*/ 3217574 h 6858290"/>
              <a:gd name="connsiteX2276" fmla="*/ 5376339 w 12139750"/>
              <a:gd name="connsiteY2276" fmla="*/ 3084226 h 6858290"/>
              <a:gd name="connsiteX2277" fmla="*/ 910963 w 12139750"/>
              <a:gd name="connsiteY2277" fmla="*/ 3084210 h 6858290"/>
              <a:gd name="connsiteX2278" fmla="*/ 969977 w 12139750"/>
              <a:gd name="connsiteY2278" fmla="*/ 3110879 h 6858290"/>
              <a:gd name="connsiteX2279" fmla="*/ 945229 w 12139750"/>
              <a:gd name="connsiteY2279" fmla="*/ 3171840 h 6858290"/>
              <a:gd name="connsiteX2280" fmla="*/ 604476 w 12139750"/>
              <a:gd name="connsiteY2280" fmla="*/ 3305187 h 6858290"/>
              <a:gd name="connsiteX2281" fmla="*/ 543559 w 12139750"/>
              <a:gd name="connsiteY2281" fmla="*/ 3278518 h 6858290"/>
              <a:gd name="connsiteX2282" fmla="*/ 539752 w 12139750"/>
              <a:gd name="connsiteY2282" fmla="*/ 3261374 h 6858290"/>
              <a:gd name="connsiteX2283" fmla="*/ 570210 w 12139750"/>
              <a:gd name="connsiteY2283" fmla="*/ 3217559 h 6858290"/>
              <a:gd name="connsiteX2284" fmla="*/ 910963 w 12139750"/>
              <a:gd name="connsiteY2284" fmla="*/ 3084210 h 6858290"/>
              <a:gd name="connsiteX2285" fmla="*/ 4845141 w 12139750"/>
              <a:gd name="connsiteY2285" fmla="*/ 3075495 h 6858290"/>
              <a:gd name="connsiteX2286" fmla="*/ 4888279 w 12139750"/>
              <a:gd name="connsiteY2286" fmla="*/ 3110635 h 6858290"/>
              <a:gd name="connsiteX2287" fmla="*/ 4855889 w 12139750"/>
              <a:gd name="connsiteY2287" fmla="*/ 3173587 h 6858290"/>
              <a:gd name="connsiteX2288" fmla="*/ 4514891 w 12139750"/>
              <a:gd name="connsiteY2288" fmla="*/ 3286137 h 6858290"/>
              <a:gd name="connsiteX2289" fmla="*/ 4450123 w 12139750"/>
              <a:gd name="connsiteY2289" fmla="*/ 3253707 h 6858290"/>
              <a:gd name="connsiteX2290" fmla="*/ 4448219 w 12139750"/>
              <a:gd name="connsiteY2290" fmla="*/ 3238443 h 6858290"/>
              <a:gd name="connsiteX2291" fmla="*/ 4482509 w 12139750"/>
              <a:gd name="connsiteY2291" fmla="*/ 3190757 h 6858290"/>
              <a:gd name="connsiteX2292" fmla="*/ 4825403 w 12139750"/>
              <a:gd name="connsiteY2292" fmla="*/ 3078206 h 6858290"/>
              <a:gd name="connsiteX2293" fmla="*/ 4845141 w 12139750"/>
              <a:gd name="connsiteY2293" fmla="*/ 3075495 h 6858290"/>
              <a:gd name="connsiteX2294" fmla="*/ 1479596 w 12139750"/>
              <a:gd name="connsiteY2294" fmla="*/ 3075477 h 6858290"/>
              <a:gd name="connsiteX2295" fmla="*/ 1522429 w 12139750"/>
              <a:gd name="connsiteY2295" fmla="*/ 3110619 h 6858290"/>
              <a:gd name="connsiteX2296" fmla="*/ 1491970 w 12139750"/>
              <a:gd name="connsiteY2296" fmla="*/ 3173573 h 6858290"/>
              <a:gd name="connsiteX2297" fmla="*/ 1149308 w 12139750"/>
              <a:gd name="connsiteY2297" fmla="*/ 3286122 h 6858290"/>
              <a:gd name="connsiteX2298" fmla="*/ 1086486 w 12139750"/>
              <a:gd name="connsiteY2298" fmla="*/ 3253693 h 6858290"/>
              <a:gd name="connsiteX2299" fmla="*/ 1082679 w 12139750"/>
              <a:gd name="connsiteY2299" fmla="*/ 3238431 h 6858290"/>
              <a:gd name="connsiteX2300" fmla="*/ 1118849 w 12139750"/>
              <a:gd name="connsiteY2300" fmla="*/ 3190741 h 6858290"/>
              <a:gd name="connsiteX2301" fmla="*/ 1459607 w 12139750"/>
              <a:gd name="connsiteY2301" fmla="*/ 3078189 h 6858290"/>
              <a:gd name="connsiteX2302" fmla="*/ 1479596 w 12139750"/>
              <a:gd name="connsiteY2302" fmla="*/ 3075477 h 6858290"/>
              <a:gd name="connsiteX2303" fmla="*/ 4290284 w 12139750"/>
              <a:gd name="connsiteY2303" fmla="*/ 3070235 h 6858290"/>
              <a:gd name="connsiteX2304" fmla="*/ 4333921 w 12139750"/>
              <a:gd name="connsiteY2304" fmla="*/ 3109556 h 6858290"/>
              <a:gd name="connsiteX2305" fmla="*/ 4295846 w 12139750"/>
              <a:gd name="connsiteY2305" fmla="*/ 3176127 h 6858290"/>
              <a:gd name="connsiteX2306" fmla="*/ 3953199 w 12139750"/>
              <a:gd name="connsiteY2306" fmla="*/ 3267431 h 6858290"/>
              <a:gd name="connsiteX2307" fmla="*/ 3886567 w 12139750"/>
              <a:gd name="connsiteY2307" fmla="*/ 3229387 h 6858290"/>
              <a:gd name="connsiteX2308" fmla="*/ 3884663 w 12139750"/>
              <a:gd name="connsiteY2308" fmla="*/ 3216076 h 6858290"/>
              <a:gd name="connsiteX2309" fmla="*/ 3924644 w 12139750"/>
              <a:gd name="connsiteY2309" fmla="*/ 3164719 h 6858290"/>
              <a:gd name="connsiteX2310" fmla="*/ 4269194 w 12139750"/>
              <a:gd name="connsiteY2310" fmla="*/ 3071515 h 6858290"/>
              <a:gd name="connsiteX2311" fmla="*/ 4290284 w 12139750"/>
              <a:gd name="connsiteY2311" fmla="*/ 3070235 h 6858290"/>
              <a:gd name="connsiteX2312" fmla="*/ 2036269 w 12139750"/>
              <a:gd name="connsiteY2312" fmla="*/ 3070217 h 6858290"/>
              <a:gd name="connsiteX2313" fmla="*/ 2081548 w 12139750"/>
              <a:gd name="connsiteY2313" fmla="*/ 3109537 h 6858290"/>
              <a:gd name="connsiteX2314" fmla="*/ 2043442 w 12139750"/>
              <a:gd name="connsiteY2314" fmla="*/ 3176111 h 6858290"/>
              <a:gd name="connsiteX2315" fmla="*/ 1700538 w 12139750"/>
              <a:gd name="connsiteY2315" fmla="*/ 3267414 h 6858290"/>
              <a:gd name="connsiteX2316" fmla="*/ 1633862 w 12139750"/>
              <a:gd name="connsiteY2316" fmla="*/ 3229371 h 6858290"/>
              <a:gd name="connsiteX2317" fmla="*/ 1631957 w 12139750"/>
              <a:gd name="connsiteY2317" fmla="*/ 3216056 h 6858290"/>
              <a:gd name="connsiteX2318" fmla="*/ 1671963 w 12139750"/>
              <a:gd name="connsiteY2318" fmla="*/ 3164700 h 6858290"/>
              <a:gd name="connsiteX2319" fmla="*/ 2014867 w 12139750"/>
              <a:gd name="connsiteY2319" fmla="*/ 3071495 h 6858290"/>
              <a:gd name="connsiteX2320" fmla="*/ 2036269 w 12139750"/>
              <a:gd name="connsiteY2320" fmla="*/ 3070217 h 6858290"/>
              <a:gd name="connsiteX2321" fmla="*/ 3731231 w 12139750"/>
              <a:gd name="connsiteY2321" fmla="*/ 3064531 h 6858290"/>
              <a:gd name="connsiteX2322" fmla="*/ 3777341 w 12139750"/>
              <a:gd name="connsiteY2322" fmla="*/ 3109072 h 6858290"/>
              <a:gd name="connsiteX2323" fmla="*/ 3731587 w 12139750"/>
              <a:gd name="connsiteY2323" fmla="*/ 3177762 h 6858290"/>
              <a:gd name="connsiteX2324" fmla="*/ 3386556 w 12139750"/>
              <a:gd name="connsiteY2324" fmla="*/ 3250263 h 6858290"/>
              <a:gd name="connsiteX2325" fmla="*/ 3317928 w 12139750"/>
              <a:gd name="connsiteY2325" fmla="*/ 3204472 h 6858290"/>
              <a:gd name="connsiteX2326" fmla="*/ 3317928 w 12139750"/>
              <a:gd name="connsiteY2326" fmla="*/ 3193023 h 6858290"/>
              <a:gd name="connsiteX2327" fmla="*/ 3363681 w 12139750"/>
              <a:gd name="connsiteY2327" fmla="*/ 3135786 h 6858290"/>
              <a:gd name="connsiteX2328" fmla="*/ 3708711 w 12139750"/>
              <a:gd name="connsiteY2328" fmla="*/ 3065187 h 6858290"/>
              <a:gd name="connsiteX2329" fmla="*/ 3731231 w 12139750"/>
              <a:gd name="connsiteY2329" fmla="*/ 3064531 h 6858290"/>
              <a:gd name="connsiteX2330" fmla="*/ 2597729 w 12139750"/>
              <a:gd name="connsiteY2330" fmla="*/ 3064510 h 6858290"/>
              <a:gd name="connsiteX2331" fmla="*/ 2643839 w 12139750"/>
              <a:gd name="connsiteY2331" fmla="*/ 3109051 h 6858290"/>
              <a:gd name="connsiteX2332" fmla="*/ 2598086 w 12139750"/>
              <a:gd name="connsiteY2332" fmla="*/ 3177742 h 6858290"/>
              <a:gd name="connsiteX2333" fmla="*/ 2253042 w 12139750"/>
              <a:gd name="connsiteY2333" fmla="*/ 3250246 h 6858290"/>
              <a:gd name="connsiteX2334" fmla="*/ 2184414 w 12139750"/>
              <a:gd name="connsiteY2334" fmla="*/ 3204454 h 6858290"/>
              <a:gd name="connsiteX2335" fmla="*/ 2184414 w 12139750"/>
              <a:gd name="connsiteY2335" fmla="*/ 3193005 h 6858290"/>
              <a:gd name="connsiteX2336" fmla="*/ 2230166 w 12139750"/>
              <a:gd name="connsiteY2336" fmla="*/ 3135765 h 6858290"/>
              <a:gd name="connsiteX2337" fmla="*/ 2575210 w 12139750"/>
              <a:gd name="connsiteY2337" fmla="*/ 3065166 h 6858290"/>
              <a:gd name="connsiteX2338" fmla="*/ 2597729 w 12139750"/>
              <a:gd name="connsiteY2338" fmla="*/ 3064510 h 6858290"/>
              <a:gd name="connsiteX2339" fmla="*/ 3139000 w 12139750"/>
              <a:gd name="connsiteY2339" fmla="*/ 3058190 h 6858290"/>
              <a:gd name="connsiteX2340" fmla="*/ 3209346 w 12139750"/>
              <a:gd name="connsiteY2340" fmla="*/ 3111529 h 6858290"/>
              <a:gd name="connsiteX2341" fmla="*/ 3156114 w 12139750"/>
              <a:gd name="connsiteY2341" fmla="*/ 3180110 h 6858290"/>
              <a:gd name="connsiteX2342" fmla="*/ 2811998 w 12139750"/>
              <a:gd name="connsiteY2342" fmla="*/ 3231537 h 6858290"/>
              <a:gd name="connsiteX2343" fmla="*/ 2741652 w 12139750"/>
              <a:gd name="connsiteY2343" fmla="*/ 3180110 h 6858290"/>
              <a:gd name="connsiteX2344" fmla="*/ 2741652 w 12139750"/>
              <a:gd name="connsiteY2344" fmla="*/ 3170583 h 6858290"/>
              <a:gd name="connsiteX2345" fmla="*/ 2792987 w 12139750"/>
              <a:gd name="connsiteY2345" fmla="*/ 3109626 h 6858290"/>
              <a:gd name="connsiteX2346" fmla="*/ 3139000 w 12139750"/>
              <a:gd name="connsiteY2346" fmla="*/ 3058190 h 6858290"/>
              <a:gd name="connsiteX2347" fmla="*/ 9858218 w 12139750"/>
              <a:gd name="connsiteY2347" fmla="*/ 2803158 h 6858290"/>
              <a:gd name="connsiteX2348" fmla="*/ 9867044 w 12139750"/>
              <a:gd name="connsiteY2348" fmla="*/ 2807683 h 6858290"/>
              <a:gd name="connsiteX2349" fmla="*/ 9867044 w 12139750"/>
              <a:gd name="connsiteY2349" fmla="*/ 2826731 h 6858290"/>
              <a:gd name="connsiteX2350" fmla="*/ 9536890 w 12139750"/>
              <a:gd name="connsiteY2350" fmla="*/ 3139152 h 6858290"/>
              <a:gd name="connsiteX2351" fmla="*/ 9517806 w 12139750"/>
              <a:gd name="connsiteY2351" fmla="*/ 3139152 h 6858290"/>
              <a:gd name="connsiteX2352" fmla="*/ 9513989 w 12139750"/>
              <a:gd name="connsiteY2352" fmla="*/ 3129628 h 6858290"/>
              <a:gd name="connsiteX2353" fmla="*/ 9519714 w 12139750"/>
              <a:gd name="connsiteY2353" fmla="*/ 3120101 h 6858290"/>
              <a:gd name="connsiteX2354" fmla="*/ 9847960 w 12139750"/>
              <a:gd name="connsiteY2354" fmla="*/ 2805777 h 6858290"/>
              <a:gd name="connsiteX2355" fmla="*/ 9858218 w 12139750"/>
              <a:gd name="connsiteY2355" fmla="*/ 2803158 h 6858290"/>
              <a:gd name="connsiteX2356" fmla="*/ 9280452 w 12139750"/>
              <a:gd name="connsiteY2356" fmla="*/ 2798866 h 6858290"/>
              <a:gd name="connsiteX2357" fmla="*/ 9292080 w 12139750"/>
              <a:gd name="connsiteY2357" fmla="*/ 2804804 h 6858290"/>
              <a:gd name="connsiteX2358" fmla="*/ 9290182 w 12139750"/>
              <a:gd name="connsiteY2358" fmla="*/ 2829495 h 6858290"/>
              <a:gd name="connsiteX2359" fmla="*/ 8961745 w 12139750"/>
              <a:gd name="connsiteY2359" fmla="*/ 3118217 h 6858290"/>
              <a:gd name="connsiteX2360" fmla="*/ 8937064 w 12139750"/>
              <a:gd name="connsiteY2360" fmla="*/ 3116319 h 6858290"/>
              <a:gd name="connsiteX2361" fmla="*/ 8931369 w 12139750"/>
              <a:gd name="connsiteY2361" fmla="*/ 3104922 h 6858290"/>
              <a:gd name="connsiteX2362" fmla="*/ 8937064 w 12139750"/>
              <a:gd name="connsiteY2362" fmla="*/ 3091625 h 6858290"/>
              <a:gd name="connsiteX2363" fmla="*/ 9267400 w 12139750"/>
              <a:gd name="connsiteY2363" fmla="*/ 2802904 h 6858290"/>
              <a:gd name="connsiteX2364" fmla="*/ 9280452 w 12139750"/>
              <a:gd name="connsiteY2364" fmla="*/ 2798866 h 6858290"/>
              <a:gd name="connsiteX2365" fmla="*/ 10442418 w 12139750"/>
              <a:gd name="connsiteY2365" fmla="*/ 2798842 h 6858290"/>
              <a:gd name="connsiteX2366" fmla="*/ 10454106 w 12139750"/>
              <a:gd name="connsiteY2366" fmla="*/ 2804777 h 6858290"/>
              <a:gd name="connsiteX2367" fmla="*/ 10454106 w 12139750"/>
              <a:gd name="connsiteY2367" fmla="*/ 2829471 h 6858290"/>
              <a:gd name="connsiteX2368" fmla="*/ 10122059 w 12139750"/>
              <a:gd name="connsiteY2368" fmla="*/ 3118194 h 6858290"/>
              <a:gd name="connsiteX2369" fmla="*/ 10097251 w 12139750"/>
              <a:gd name="connsiteY2369" fmla="*/ 3116295 h 6858290"/>
              <a:gd name="connsiteX2370" fmla="*/ 10093434 w 12139750"/>
              <a:gd name="connsiteY2370" fmla="*/ 3104898 h 6858290"/>
              <a:gd name="connsiteX2371" fmla="*/ 10099159 w 12139750"/>
              <a:gd name="connsiteY2371" fmla="*/ 3091603 h 6858290"/>
              <a:gd name="connsiteX2372" fmla="*/ 10429298 w 12139750"/>
              <a:gd name="connsiteY2372" fmla="*/ 2802878 h 6858290"/>
              <a:gd name="connsiteX2373" fmla="*/ 10442418 w 12139750"/>
              <a:gd name="connsiteY2373" fmla="*/ 2798842 h 6858290"/>
              <a:gd name="connsiteX2374" fmla="*/ 8710745 w 12139750"/>
              <a:gd name="connsiteY2374" fmla="*/ 2792356 h 6858290"/>
              <a:gd name="connsiteX2375" fmla="*/ 8725295 w 12139750"/>
              <a:gd name="connsiteY2375" fmla="*/ 2800675 h 6858290"/>
              <a:gd name="connsiteX2376" fmla="*/ 8723387 w 12139750"/>
              <a:gd name="connsiteY2376" fmla="*/ 2831093 h 6858290"/>
              <a:gd name="connsiteX2377" fmla="*/ 8389446 w 12139750"/>
              <a:gd name="connsiteY2377" fmla="*/ 3099164 h 6858290"/>
              <a:gd name="connsiteX2378" fmla="*/ 8358914 w 12139750"/>
              <a:gd name="connsiteY2378" fmla="*/ 3095358 h 6858290"/>
              <a:gd name="connsiteX2379" fmla="*/ 8355098 w 12139750"/>
              <a:gd name="connsiteY2379" fmla="*/ 3082053 h 6858290"/>
              <a:gd name="connsiteX2380" fmla="*/ 8362731 w 12139750"/>
              <a:gd name="connsiteY2380" fmla="*/ 3064941 h 6858290"/>
              <a:gd name="connsiteX2381" fmla="*/ 8694763 w 12139750"/>
              <a:gd name="connsiteY2381" fmla="*/ 2796872 h 6858290"/>
              <a:gd name="connsiteX2382" fmla="*/ 8710745 w 12139750"/>
              <a:gd name="connsiteY2382" fmla="*/ 2792356 h 6858290"/>
              <a:gd name="connsiteX2383" fmla="*/ 11020609 w 12139750"/>
              <a:gd name="connsiteY2383" fmla="*/ 2792330 h 6858290"/>
              <a:gd name="connsiteX2384" fmla="*/ 11035147 w 12139750"/>
              <a:gd name="connsiteY2384" fmla="*/ 2800648 h 6858290"/>
              <a:gd name="connsiteX2385" fmla="*/ 11031333 w 12139750"/>
              <a:gd name="connsiteY2385" fmla="*/ 2831067 h 6858290"/>
              <a:gd name="connsiteX2386" fmla="*/ 10699581 w 12139750"/>
              <a:gd name="connsiteY2386" fmla="*/ 3099136 h 6858290"/>
              <a:gd name="connsiteX2387" fmla="*/ 10669075 w 12139750"/>
              <a:gd name="connsiteY2387" fmla="*/ 3095334 h 6858290"/>
              <a:gd name="connsiteX2388" fmla="*/ 10663355 w 12139750"/>
              <a:gd name="connsiteY2388" fmla="*/ 3082025 h 6858290"/>
              <a:gd name="connsiteX2389" fmla="*/ 10672888 w 12139750"/>
              <a:gd name="connsiteY2389" fmla="*/ 3064914 h 6858290"/>
              <a:gd name="connsiteX2390" fmla="*/ 11004641 w 12139750"/>
              <a:gd name="connsiteY2390" fmla="*/ 2796846 h 6858290"/>
              <a:gd name="connsiteX2391" fmla="*/ 11020609 w 12139750"/>
              <a:gd name="connsiteY2391" fmla="*/ 2792330 h 6858290"/>
              <a:gd name="connsiteX2392" fmla="*/ 8147926 w 12139750"/>
              <a:gd name="connsiteY2392" fmla="*/ 2787441 h 6858290"/>
              <a:gd name="connsiteX2393" fmla="*/ 8164595 w 12139750"/>
              <a:gd name="connsiteY2393" fmla="*/ 2798157 h 6858290"/>
              <a:gd name="connsiteX2394" fmla="*/ 8158880 w 12139750"/>
              <a:gd name="connsiteY2394" fmla="*/ 2834352 h 6858290"/>
              <a:gd name="connsiteX2395" fmla="*/ 7825500 w 12139750"/>
              <a:gd name="connsiteY2395" fmla="*/ 3078192 h 6858290"/>
              <a:gd name="connsiteX2396" fmla="*/ 7789305 w 12139750"/>
              <a:gd name="connsiteY2396" fmla="*/ 3072478 h 6858290"/>
              <a:gd name="connsiteX2397" fmla="*/ 7783590 w 12139750"/>
              <a:gd name="connsiteY2397" fmla="*/ 3057236 h 6858290"/>
              <a:gd name="connsiteX2398" fmla="*/ 7795020 w 12139750"/>
              <a:gd name="connsiteY2398" fmla="*/ 3036282 h 6858290"/>
              <a:gd name="connsiteX2399" fmla="*/ 8128399 w 12139750"/>
              <a:gd name="connsiteY2399" fmla="*/ 2792440 h 6858290"/>
              <a:gd name="connsiteX2400" fmla="*/ 8147926 w 12139750"/>
              <a:gd name="connsiteY2400" fmla="*/ 2787441 h 6858290"/>
              <a:gd name="connsiteX2401" fmla="*/ 11592432 w 12139750"/>
              <a:gd name="connsiteY2401" fmla="*/ 2787434 h 6858290"/>
              <a:gd name="connsiteX2402" fmla="*/ 11609830 w 12139750"/>
              <a:gd name="connsiteY2402" fmla="*/ 2798149 h 6858290"/>
              <a:gd name="connsiteX2403" fmla="*/ 11604110 w 12139750"/>
              <a:gd name="connsiteY2403" fmla="*/ 2834343 h 6858290"/>
              <a:gd name="connsiteX2404" fmla="*/ 11270458 w 12139750"/>
              <a:gd name="connsiteY2404" fmla="*/ 3078185 h 6858290"/>
              <a:gd name="connsiteX2405" fmla="*/ 11234233 w 12139750"/>
              <a:gd name="connsiteY2405" fmla="*/ 3072469 h 6858290"/>
              <a:gd name="connsiteX2406" fmla="*/ 11228513 w 12139750"/>
              <a:gd name="connsiteY2406" fmla="*/ 3057229 h 6858290"/>
              <a:gd name="connsiteX2407" fmla="*/ 11238046 w 12139750"/>
              <a:gd name="connsiteY2407" fmla="*/ 3036275 h 6858290"/>
              <a:gd name="connsiteX2408" fmla="*/ 11573605 w 12139750"/>
              <a:gd name="connsiteY2408" fmla="*/ 2792433 h 6858290"/>
              <a:gd name="connsiteX2409" fmla="*/ 11592432 w 12139750"/>
              <a:gd name="connsiteY2409" fmla="*/ 2787434 h 6858290"/>
              <a:gd name="connsiteX2410" fmla="*/ 12139750 w 12139750"/>
              <a:gd name="connsiteY2410" fmla="*/ 2786083 h 6858290"/>
              <a:gd name="connsiteX2411" fmla="*/ 12139750 w 12139750"/>
              <a:gd name="connsiteY2411" fmla="*/ 2858148 h 6858290"/>
              <a:gd name="connsiteX2412" fmla="*/ 11834946 w 12139750"/>
              <a:gd name="connsiteY2412" fmla="*/ 3059175 h 6858290"/>
              <a:gd name="connsiteX2413" fmla="*/ 11793035 w 12139750"/>
              <a:gd name="connsiteY2413" fmla="*/ 3049691 h 6858290"/>
              <a:gd name="connsiteX2414" fmla="*/ 11787320 w 12139750"/>
              <a:gd name="connsiteY2414" fmla="*/ 3032623 h 6858290"/>
              <a:gd name="connsiteX2415" fmla="*/ 11800655 w 12139750"/>
              <a:gd name="connsiteY2415" fmla="*/ 3007970 h 6858290"/>
              <a:gd name="connsiteX2416" fmla="*/ 12135940 w 12139750"/>
              <a:gd name="connsiteY2416" fmla="*/ 2787978 h 6858290"/>
              <a:gd name="connsiteX2417" fmla="*/ 12139750 w 12139750"/>
              <a:gd name="connsiteY2417" fmla="*/ 2786083 h 6858290"/>
              <a:gd name="connsiteX2418" fmla="*/ 7592452 w 12139750"/>
              <a:gd name="connsiteY2418" fmla="*/ 2782900 h 6858290"/>
              <a:gd name="connsiteX2419" fmla="*/ 7610550 w 12139750"/>
              <a:gd name="connsiteY2419" fmla="*/ 2795241 h 6858290"/>
              <a:gd name="connsiteX2420" fmla="*/ 7602930 w 12139750"/>
              <a:gd name="connsiteY2420" fmla="*/ 2837016 h 6858290"/>
              <a:gd name="connsiteX2421" fmla="*/ 7267645 w 12139750"/>
              <a:gd name="connsiteY2421" fmla="*/ 3059173 h 6858290"/>
              <a:gd name="connsiteX2422" fmla="*/ 7225735 w 12139750"/>
              <a:gd name="connsiteY2422" fmla="*/ 3049680 h 6858290"/>
              <a:gd name="connsiteX2423" fmla="*/ 7220020 w 12139750"/>
              <a:gd name="connsiteY2423" fmla="*/ 3032591 h 6858290"/>
              <a:gd name="connsiteX2424" fmla="*/ 7233355 w 12139750"/>
              <a:gd name="connsiteY2424" fmla="*/ 3007907 h 6858290"/>
              <a:gd name="connsiteX2425" fmla="*/ 7568639 w 12139750"/>
              <a:gd name="connsiteY2425" fmla="*/ 2787648 h 6858290"/>
              <a:gd name="connsiteX2426" fmla="*/ 7592452 w 12139750"/>
              <a:gd name="connsiteY2426" fmla="*/ 2782900 h 6858290"/>
              <a:gd name="connsiteX2427" fmla="*/ 7041900 w 12139750"/>
              <a:gd name="connsiteY2427" fmla="*/ 2777758 h 6858290"/>
              <a:gd name="connsiteX2428" fmla="*/ 7062856 w 12139750"/>
              <a:gd name="connsiteY2428" fmla="*/ 2792757 h 6858290"/>
              <a:gd name="connsiteX2429" fmla="*/ 7051425 w 12139750"/>
              <a:gd name="connsiteY2429" fmla="*/ 2840384 h 6858290"/>
              <a:gd name="connsiteX2430" fmla="*/ 6714236 w 12139750"/>
              <a:gd name="connsiteY2430" fmla="*/ 3038503 h 6858290"/>
              <a:gd name="connsiteX2431" fmla="*/ 6666610 w 12139750"/>
              <a:gd name="connsiteY2431" fmla="*/ 3027077 h 6858290"/>
              <a:gd name="connsiteX2432" fmla="*/ 6662800 w 12139750"/>
              <a:gd name="connsiteY2432" fmla="*/ 3009931 h 6858290"/>
              <a:gd name="connsiteX2433" fmla="*/ 6679945 w 12139750"/>
              <a:gd name="connsiteY2433" fmla="*/ 2979450 h 6858290"/>
              <a:gd name="connsiteX2434" fmla="*/ 7015230 w 12139750"/>
              <a:gd name="connsiteY2434" fmla="*/ 2781330 h 6858290"/>
              <a:gd name="connsiteX2435" fmla="*/ 7041900 w 12139750"/>
              <a:gd name="connsiteY2435" fmla="*/ 2777758 h 6858290"/>
              <a:gd name="connsiteX2436" fmla="*/ 6499388 w 12139750"/>
              <a:gd name="connsiteY2436" fmla="*/ 2774400 h 6858290"/>
              <a:gd name="connsiteX2437" fmla="*/ 6521517 w 12139750"/>
              <a:gd name="connsiteY2437" fmla="*/ 2793615 h 6858290"/>
              <a:gd name="connsiteX2438" fmla="*/ 6506288 w 12139750"/>
              <a:gd name="connsiteY2438" fmla="*/ 2844865 h 6858290"/>
              <a:gd name="connsiteX2439" fmla="*/ 6167449 w 12139750"/>
              <a:gd name="connsiteY2439" fmla="*/ 3019490 h 6858290"/>
              <a:gd name="connsiteX2440" fmla="*/ 6116053 w 12139750"/>
              <a:gd name="connsiteY2440" fmla="*/ 3002408 h 6858290"/>
              <a:gd name="connsiteX2441" fmla="*/ 6110342 w 12139750"/>
              <a:gd name="connsiteY2441" fmla="*/ 2985324 h 6858290"/>
              <a:gd name="connsiteX2442" fmla="*/ 6131281 w 12139750"/>
              <a:gd name="connsiteY2442" fmla="*/ 2951160 h 6858290"/>
              <a:gd name="connsiteX2443" fmla="*/ 6470120 w 12139750"/>
              <a:gd name="connsiteY2443" fmla="*/ 2776533 h 6858290"/>
              <a:gd name="connsiteX2444" fmla="*/ 6499388 w 12139750"/>
              <a:gd name="connsiteY2444" fmla="*/ 2774400 h 6858290"/>
              <a:gd name="connsiteX2445" fmla="*/ 5959672 w 12139750"/>
              <a:gd name="connsiteY2445" fmla="*/ 2769256 h 6858290"/>
              <a:gd name="connsiteX2446" fmla="*/ 5983314 w 12139750"/>
              <a:gd name="connsiteY2446" fmla="*/ 2791133 h 6858290"/>
              <a:gd name="connsiteX2447" fmla="*/ 5962297 w 12139750"/>
              <a:gd name="connsiteY2447" fmla="*/ 2848210 h 6858290"/>
              <a:gd name="connsiteX2448" fmla="*/ 5620300 w 12139750"/>
              <a:gd name="connsiteY2448" fmla="*/ 3000418 h 6858290"/>
              <a:gd name="connsiteX2449" fmla="*/ 5564892 w 12139750"/>
              <a:gd name="connsiteY2449" fmla="*/ 2979489 h 6858290"/>
              <a:gd name="connsiteX2450" fmla="*/ 5561071 w 12139750"/>
              <a:gd name="connsiteY2450" fmla="*/ 2960466 h 6858290"/>
              <a:gd name="connsiteX2451" fmla="*/ 5585909 w 12139750"/>
              <a:gd name="connsiteY2451" fmla="*/ 2922412 h 6858290"/>
              <a:gd name="connsiteX2452" fmla="*/ 5925997 w 12139750"/>
              <a:gd name="connsiteY2452" fmla="*/ 2770208 h 6858290"/>
              <a:gd name="connsiteX2453" fmla="*/ 5959672 w 12139750"/>
              <a:gd name="connsiteY2453" fmla="*/ 2769256 h 6858290"/>
              <a:gd name="connsiteX2454" fmla="*/ 399603 w 12139750"/>
              <a:gd name="connsiteY2454" fmla="*/ 2769241 h 6858290"/>
              <a:gd name="connsiteX2455" fmla="*/ 423874 w 12139750"/>
              <a:gd name="connsiteY2455" fmla="*/ 2791121 h 6858290"/>
              <a:gd name="connsiteX2456" fmla="*/ 401030 w 12139750"/>
              <a:gd name="connsiteY2456" fmla="*/ 2848199 h 6858290"/>
              <a:gd name="connsiteX2457" fmla="*/ 62187 w 12139750"/>
              <a:gd name="connsiteY2457" fmla="*/ 3000404 h 6858290"/>
              <a:gd name="connsiteX2458" fmla="*/ 6982 w 12139750"/>
              <a:gd name="connsiteY2458" fmla="*/ 2979476 h 6858290"/>
              <a:gd name="connsiteX2459" fmla="*/ 3175 w 12139750"/>
              <a:gd name="connsiteY2459" fmla="*/ 2960451 h 6858290"/>
              <a:gd name="connsiteX2460" fmla="*/ 27922 w 12139750"/>
              <a:gd name="connsiteY2460" fmla="*/ 2922399 h 6858290"/>
              <a:gd name="connsiteX2461" fmla="*/ 366765 w 12139750"/>
              <a:gd name="connsiteY2461" fmla="*/ 2770194 h 6858290"/>
              <a:gd name="connsiteX2462" fmla="*/ 399603 w 12139750"/>
              <a:gd name="connsiteY2462" fmla="*/ 2769241 h 6858290"/>
              <a:gd name="connsiteX2463" fmla="*/ 5396030 w 12139750"/>
              <a:gd name="connsiteY2463" fmla="*/ 2760546 h 6858290"/>
              <a:gd name="connsiteX2464" fmla="*/ 5437255 w 12139750"/>
              <a:gd name="connsiteY2464" fmla="*/ 2790586 h 6858290"/>
              <a:gd name="connsiteX2465" fmla="*/ 5410604 w 12139750"/>
              <a:gd name="connsiteY2465" fmla="*/ 2851628 h 6858290"/>
              <a:gd name="connsiteX2466" fmla="*/ 5069848 w 12139750"/>
              <a:gd name="connsiteY2466" fmla="*/ 2981344 h 6858290"/>
              <a:gd name="connsiteX2467" fmla="*/ 5008939 w 12139750"/>
              <a:gd name="connsiteY2467" fmla="*/ 2954638 h 6858290"/>
              <a:gd name="connsiteX2468" fmla="*/ 5007036 w 12139750"/>
              <a:gd name="connsiteY2468" fmla="*/ 2937469 h 6858290"/>
              <a:gd name="connsiteX2469" fmla="*/ 5037490 w 12139750"/>
              <a:gd name="connsiteY2469" fmla="*/ 2893596 h 6858290"/>
              <a:gd name="connsiteX2470" fmla="*/ 5378244 w 12139750"/>
              <a:gd name="connsiteY2470" fmla="*/ 2763882 h 6858290"/>
              <a:gd name="connsiteX2471" fmla="*/ 5396030 w 12139750"/>
              <a:gd name="connsiteY2471" fmla="*/ 2760546 h 6858290"/>
              <a:gd name="connsiteX2472" fmla="*/ 930706 w 12139750"/>
              <a:gd name="connsiteY2472" fmla="*/ 2760528 h 6858290"/>
              <a:gd name="connsiteX2473" fmla="*/ 973124 w 12139750"/>
              <a:gd name="connsiteY2473" fmla="*/ 2790570 h 6858290"/>
              <a:gd name="connsiteX2474" fmla="*/ 946396 w 12139750"/>
              <a:gd name="connsiteY2474" fmla="*/ 2851614 h 6858290"/>
              <a:gd name="connsiteX2475" fmla="*/ 604662 w 12139750"/>
              <a:gd name="connsiteY2475" fmla="*/ 2981328 h 6858290"/>
              <a:gd name="connsiteX2476" fmla="*/ 543570 w 12139750"/>
              <a:gd name="connsiteY2476" fmla="*/ 2954621 h 6858290"/>
              <a:gd name="connsiteX2477" fmla="*/ 539752 w 12139750"/>
              <a:gd name="connsiteY2477" fmla="*/ 2937453 h 6858290"/>
              <a:gd name="connsiteX2478" fmla="*/ 570298 w 12139750"/>
              <a:gd name="connsiteY2478" fmla="*/ 2893580 h 6858290"/>
              <a:gd name="connsiteX2479" fmla="*/ 912032 w 12139750"/>
              <a:gd name="connsiteY2479" fmla="*/ 2763867 h 6858290"/>
              <a:gd name="connsiteX2480" fmla="*/ 930706 w 12139750"/>
              <a:gd name="connsiteY2480" fmla="*/ 2760528 h 6858290"/>
              <a:gd name="connsiteX2481" fmla="*/ 4845194 w 12139750"/>
              <a:gd name="connsiteY2481" fmla="*/ 2755586 h 6858290"/>
              <a:gd name="connsiteX2482" fmla="*/ 4889877 w 12139750"/>
              <a:gd name="connsiteY2482" fmla="*/ 2791428 h 6858290"/>
              <a:gd name="connsiteX2483" fmla="*/ 4855631 w 12139750"/>
              <a:gd name="connsiteY2483" fmla="*/ 2856106 h 6858290"/>
              <a:gd name="connsiteX2484" fmla="*/ 4513213 w 12139750"/>
              <a:gd name="connsiteY2484" fmla="*/ 2962635 h 6858290"/>
              <a:gd name="connsiteX2485" fmla="*/ 4448533 w 12139750"/>
              <a:gd name="connsiteY2485" fmla="*/ 2928394 h 6858290"/>
              <a:gd name="connsiteX2486" fmla="*/ 4446631 w 12139750"/>
              <a:gd name="connsiteY2486" fmla="*/ 2913176 h 6858290"/>
              <a:gd name="connsiteX2487" fmla="*/ 4482777 w 12139750"/>
              <a:gd name="connsiteY2487" fmla="*/ 2863715 h 6858290"/>
              <a:gd name="connsiteX2488" fmla="*/ 4825187 w 12139750"/>
              <a:gd name="connsiteY2488" fmla="*/ 2757192 h 6858290"/>
              <a:gd name="connsiteX2489" fmla="*/ 4845194 w 12139750"/>
              <a:gd name="connsiteY2489" fmla="*/ 2755586 h 6858290"/>
              <a:gd name="connsiteX2490" fmla="*/ 1482623 w 12139750"/>
              <a:gd name="connsiteY2490" fmla="*/ 2755567 h 6858290"/>
              <a:gd name="connsiteX2491" fmla="*/ 1525577 w 12139750"/>
              <a:gd name="connsiteY2491" fmla="*/ 2791412 h 6858290"/>
              <a:gd name="connsiteX2492" fmla="*/ 1493123 w 12139750"/>
              <a:gd name="connsiteY2492" fmla="*/ 2856090 h 6858290"/>
              <a:gd name="connsiteX2493" fmla="*/ 1149495 w 12139750"/>
              <a:gd name="connsiteY2493" fmla="*/ 2962617 h 6858290"/>
              <a:gd name="connsiteX2494" fmla="*/ 1084588 w 12139750"/>
              <a:gd name="connsiteY2494" fmla="*/ 2928375 h 6858290"/>
              <a:gd name="connsiteX2495" fmla="*/ 1082679 w 12139750"/>
              <a:gd name="connsiteY2495" fmla="*/ 2913158 h 6858290"/>
              <a:gd name="connsiteX2496" fmla="*/ 1118950 w 12139750"/>
              <a:gd name="connsiteY2496" fmla="*/ 2863698 h 6858290"/>
              <a:gd name="connsiteX2497" fmla="*/ 1462578 w 12139750"/>
              <a:gd name="connsiteY2497" fmla="*/ 2757173 h 6858290"/>
              <a:gd name="connsiteX2498" fmla="*/ 1482623 w 12139750"/>
              <a:gd name="connsiteY2498" fmla="*/ 2755567 h 6858290"/>
              <a:gd name="connsiteX2499" fmla="*/ 4291651 w 12139750"/>
              <a:gd name="connsiteY2499" fmla="*/ 2750401 h 6858290"/>
              <a:gd name="connsiteX2500" fmla="*/ 4335825 w 12139750"/>
              <a:gd name="connsiteY2500" fmla="*/ 2792587 h 6858290"/>
              <a:gd name="connsiteX2501" fmla="*/ 4295846 w 12139750"/>
              <a:gd name="connsiteY2501" fmla="*/ 2859470 h 6858290"/>
              <a:gd name="connsiteX2502" fmla="*/ 3953199 w 12139750"/>
              <a:gd name="connsiteY2502" fmla="*/ 2943550 h 6858290"/>
              <a:gd name="connsiteX2503" fmla="*/ 3884663 w 12139750"/>
              <a:gd name="connsiteY2503" fmla="*/ 2901512 h 6858290"/>
              <a:gd name="connsiteX2504" fmla="*/ 3884663 w 12139750"/>
              <a:gd name="connsiteY2504" fmla="*/ 2888136 h 6858290"/>
              <a:gd name="connsiteX2505" fmla="*/ 3926546 w 12139750"/>
              <a:gd name="connsiteY2505" fmla="*/ 2834629 h 6858290"/>
              <a:gd name="connsiteX2506" fmla="*/ 4269194 w 12139750"/>
              <a:gd name="connsiteY2506" fmla="*/ 2750551 h 6858290"/>
              <a:gd name="connsiteX2507" fmla="*/ 4291651 w 12139750"/>
              <a:gd name="connsiteY2507" fmla="*/ 2750401 h 6858290"/>
              <a:gd name="connsiteX2508" fmla="*/ 2037928 w 12139750"/>
              <a:gd name="connsiteY2508" fmla="*/ 2750381 h 6858290"/>
              <a:gd name="connsiteX2509" fmla="*/ 2083145 w 12139750"/>
              <a:gd name="connsiteY2509" fmla="*/ 2792570 h 6858290"/>
              <a:gd name="connsiteX2510" fmla="*/ 2043190 w 12139750"/>
              <a:gd name="connsiteY2510" fmla="*/ 2859451 h 6858290"/>
              <a:gd name="connsiteX2511" fmla="*/ 1698856 w 12139750"/>
              <a:gd name="connsiteY2511" fmla="*/ 2943529 h 6858290"/>
              <a:gd name="connsiteX2512" fmla="*/ 1632272 w 12139750"/>
              <a:gd name="connsiteY2512" fmla="*/ 2901491 h 6858290"/>
              <a:gd name="connsiteX2513" fmla="*/ 1630369 w 12139750"/>
              <a:gd name="connsiteY2513" fmla="*/ 2888114 h 6858290"/>
              <a:gd name="connsiteX2514" fmla="*/ 1672222 w 12139750"/>
              <a:gd name="connsiteY2514" fmla="*/ 2834609 h 6858290"/>
              <a:gd name="connsiteX2515" fmla="*/ 2016556 w 12139750"/>
              <a:gd name="connsiteY2515" fmla="*/ 2750531 h 6858290"/>
              <a:gd name="connsiteX2516" fmla="*/ 2037928 w 12139750"/>
              <a:gd name="connsiteY2516" fmla="*/ 2750381 h 6858290"/>
              <a:gd name="connsiteX2517" fmla="*/ 3710449 w 12139750"/>
              <a:gd name="connsiteY2517" fmla="*/ 2745770 h 6858290"/>
              <a:gd name="connsiteX2518" fmla="*/ 3778940 w 12139750"/>
              <a:gd name="connsiteY2518" fmla="*/ 2795297 h 6858290"/>
              <a:gd name="connsiteX2519" fmla="*/ 3731377 w 12139750"/>
              <a:gd name="connsiteY2519" fmla="*/ 2863880 h 6858290"/>
              <a:gd name="connsiteX2520" fmla="*/ 3385144 w 12139750"/>
              <a:gd name="connsiteY2520" fmla="*/ 2924842 h 6858290"/>
              <a:gd name="connsiteX2521" fmla="*/ 3316656 w 12139750"/>
              <a:gd name="connsiteY2521" fmla="*/ 2875310 h 6858290"/>
              <a:gd name="connsiteX2522" fmla="*/ 3314753 w 12139750"/>
              <a:gd name="connsiteY2522" fmla="*/ 2865784 h 6858290"/>
              <a:gd name="connsiteX2523" fmla="*/ 3364218 w 12139750"/>
              <a:gd name="connsiteY2523" fmla="*/ 2806729 h 6858290"/>
              <a:gd name="connsiteX2524" fmla="*/ 3710449 w 12139750"/>
              <a:gd name="connsiteY2524" fmla="*/ 2745770 h 6858290"/>
              <a:gd name="connsiteX2525" fmla="*/ 2576948 w 12139750"/>
              <a:gd name="connsiteY2525" fmla="*/ 2745748 h 6858290"/>
              <a:gd name="connsiteX2526" fmla="*/ 2645436 w 12139750"/>
              <a:gd name="connsiteY2526" fmla="*/ 2795278 h 6858290"/>
              <a:gd name="connsiteX2527" fmla="*/ 2595972 w 12139750"/>
              <a:gd name="connsiteY2527" fmla="*/ 2863857 h 6858290"/>
              <a:gd name="connsiteX2528" fmla="*/ 2251629 w 12139750"/>
              <a:gd name="connsiteY2528" fmla="*/ 2924818 h 6858290"/>
              <a:gd name="connsiteX2529" fmla="*/ 2183141 w 12139750"/>
              <a:gd name="connsiteY2529" fmla="*/ 2875287 h 6858290"/>
              <a:gd name="connsiteX2530" fmla="*/ 2181239 w 12139750"/>
              <a:gd name="connsiteY2530" fmla="*/ 2865763 h 6858290"/>
              <a:gd name="connsiteX2531" fmla="*/ 2230702 w 12139750"/>
              <a:gd name="connsiteY2531" fmla="*/ 2806708 h 6858290"/>
              <a:gd name="connsiteX2532" fmla="*/ 2576948 w 12139750"/>
              <a:gd name="connsiteY2532" fmla="*/ 2745748 h 6858290"/>
              <a:gd name="connsiteX2533" fmla="*/ 3140489 w 12139750"/>
              <a:gd name="connsiteY2533" fmla="*/ 2739132 h 6858290"/>
              <a:gd name="connsiteX2534" fmla="*/ 3210928 w 12139750"/>
              <a:gd name="connsiteY2534" fmla="*/ 2796698 h 6858290"/>
              <a:gd name="connsiteX2535" fmla="*/ 3153815 w 12139750"/>
              <a:gd name="connsiteY2535" fmla="*/ 2867700 h 6858290"/>
              <a:gd name="connsiteX2536" fmla="*/ 2807330 w 12139750"/>
              <a:gd name="connsiteY2536" fmla="*/ 2906081 h 6858290"/>
              <a:gd name="connsiteX2537" fmla="*/ 2736892 w 12139750"/>
              <a:gd name="connsiteY2537" fmla="*/ 2848510 h 6858290"/>
              <a:gd name="connsiteX2538" fmla="*/ 2736892 w 12139750"/>
              <a:gd name="connsiteY2538" fmla="*/ 2840833 h 6858290"/>
              <a:gd name="connsiteX2539" fmla="*/ 2794004 w 12139750"/>
              <a:gd name="connsiteY2539" fmla="*/ 2777510 h 6858290"/>
              <a:gd name="connsiteX2540" fmla="*/ 3140489 w 12139750"/>
              <a:gd name="connsiteY2540" fmla="*/ 2739132 h 6858290"/>
              <a:gd name="connsiteX2541" fmla="*/ 9848939 w 12139750"/>
              <a:gd name="connsiteY2541" fmla="*/ 2478758 h 6858290"/>
              <a:gd name="connsiteX2542" fmla="*/ 9864193 w 12139750"/>
              <a:gd name="connsiteY2542" fmla="*/ 2478758 h 6858290"/>
              <a:gd name="connsiteX2543" fmla="*/ 9864193 w 12139750"/>
              <a:gd name="connsiteY2543" fmla="*/ 2494003 h 6858290"/>
              <a:gd name="connsiteX2544" fmla="*/ 9536231 w 12139750"/>
              <a:gd name="connsiteY2544" fmla="*/ 2823558 h 6858290"/>
              <a:gd name="connsiteX2545" fmla="*/ 9520977 w 12139750"/>
              <a:gd name="connsiteY2545" fmla="*/ 2823558 h 6858290"/>
              <a:gd name="connsiteX2546" fmla="*/ 9517164 w 12139750"/>
              <a:gd name="connsiteY2546" fmla="*/ 2815937 h 6858290"/>
              <a:gd name="connsiteX2547" fmla="*/ 9520977 w 12139750"/>
              <a:gd name="connsiteY2547" fmla="*/ 2808317 h 6858290"/>
              <a:gd name="connsiteX2548" fmla="*/ 9848939 w 12139750"/>
              <a:gd name="connsiteY2548" fmla="*/ 2478758 h 6858290"/>
              <a:gd name="connsiteX2549" fmla="*/ 9280068 w 12139750"/>
              <a:gd name="connsiteY2549" fmla="*/ 2470987 h 6858290"/>
              <a:gd name="connsiteX2550" fmla="*/ 9290784 w 12139750"/>
              <a:gd name="connsiteY2550" fmla="*/ 2476239 h 6858290"/>
              <a:gd name="connsiteX2551" fmla="*/ 9288879 w 12139750"/>
              <a:gd name="connsiteY2551" fmla="*/ 2497260 h 6858290"/>
              <a:gd name="connsiteX2552" fmla="*/ 8959309 w 12139750"/>
              <a:gd name="connsiteY2552" fmla="*/ 2800997 h 6858290"/>
              <a:gd name="connsiteX2553" fmla="*/ 8938354 w 12139750"/>
              <a:gd name="connsiteY2553" fmla="*/ 2800997 h 6858290"/>
              <a:gd name="connsiteX2554" fmla="*/ 8934544 w 12139750"/>
              <a:gd name="connsiteY2554" fmla="*/ 2789535 h 6858290"/>
              <a:gd name="connsiteX2555" fmla="*/ 8938354 w 12139750"/>
              <a:gd name="connsiteY2555" fmla="*/ 2778073 h 6858290"/>
              <a:gd name="connsiteX2556" fmla="*/ 9267924 w 12139750"/>
              <a:gd name="connsiteY2556" fmla="*/ 2474329 h 6858290"/>
              <a:gd name="connsiteX2557" fmla="*/ 9280068 w 12139750"/>
              <a:gd name="connsiteY2557" fmla="*/ 2470987 h 6858290"/>
              <a:gd name="connsiteX2558" fmla="*/ 10440785 w 12139750"/>
              <a:gd name="connsiteY2558" fmla="*/ 2470956 h 6858290"/>
              <a:gd name="connsiteX2559" fmla="*/ 10451262 w 12139750"/>
              <a:gd name="connsiteY2559" fmla="*/ 2476209 h 6858290"/>
              <a:gd name="connsiteX2560" fmla="*/ 10451262 w 12139750"/>
              <a:gd name="connsiteY2560" fmla="*/ 2497223 h 6858290"/>
              <a:gd name="connsiteX2561" fmla="*/ 10121692 w 12139750"/>
              <a:gd name="connsiteY2561" fmla="*/ 2800974 h 6858290"/>
              <a:gd name="connsiteX2562" fmla="*/ 10098832 w 12139750"/>
              <a:gd name="connsiteY2562" fmla="*/ 2800974 h 6858290"/>
              <a:gd name="connsiteX2563" fmla="*/ 10095022 w 12139750"/>
              <a:gd name="connsiteY2563" fmla="*/ 2789511 h 6858290"/>
              <a:gd name="connsiteX2564" fmla="*/ 10100737 w 12139750"/>
              <a:gd name="connsiteY2564" fmla="*/ 2778049 h 6858290"/>
              <a:gd name="connsiteX2565" fmla="*/ 10430307 w 12139750"/>
              <a:gd name="connsiteY2565" fmla="*/ 2474298 h 6858290"/>
              <a:gd name="connsiteX2566" fmla="*/ 10440785 w 12139750"/>
              <a:gd name="connsiteY2566" fmla="*/ 2470956 h 6858290"/>
              <a:gd name="connsiteX2567" fmla="*/ 8710792 w 12139750"/>
              <a:gd name="connsiteY2567" fmla="*/ 2467329 h 6858290"/>
              <a:gd name="connsiteX2568" fmla="*/ 8723695 w 12139750"/>
              <a:gd name="connsiteY2568" fmla="*/ 2474959 h 6858290"/>
              <a:gd name="connsiteX2569" fmla="*/ 8721783 w 12139750"/>
              <a:gd name="connsiteY2569" fmla="*/ 2501658 h 6858290"/>
              <a:gd name="connsiteX2570" fmla="*/ 8389182 w 12139750"/>
              <a:gd name="connsiteY2570" fmla="*/ 2780051 h 6858290"/>
              <a:gd name="connsiteX2571" fmla="*/ 8360509 w 12139750"/>
              <a:gd name="connsiteY2571" fmla="*/ 2778145 h 6858290"/>
              <a:gd name="connsiteX2572" fmla="*/ 8356686 w 12139750"/>
              <a:gd name="connsiteY2572" fmla="*/ 2764800 h 6858290"/>
              <a:gd name="connsiteX2573" fmla="*/ 8364332 w 12139750"/>
              <a:gd name="connsiteY2573" fmla="*/ 2749541 h 6858290"/>
              <a:gd name="connsiteX2574" fmla="*/ 8695022 w 12139750"/>
              <a:gd name="connsiteY2574" fmla="*/ 2471144 h 6858290"/>
              <a:gd name="connsiteX2575" fmla="*/ 8710792 w 12139750"/>
              <a:gd name="connsiteY2575" fmla="*/ 2467329 h 6858290"/>
              <a:gd name="connsiteX2576" fmla="*/ 11018422 w 12139750"/>
              <a:gd name="connsiteY2576" fmla="*/ 2467296 h 6858290"/>
              <a:gd name="connsiteX2577" fmla="*/ 11031984 w 12139750"/>
              <a:gd name="connsiteY2577" fmla="*/ 2474925 h 6858290"/>
              <a:gd name="connsiteX2578" fmla="*/ 11030081 w 12139750"/>
              <a:gd name="connsiteY2578" fmla="*/ 2501621 h 6858290"/>
              <a:gd name="connsiteX2579" fmla="*/ 10698888 w 12139750"/>
              <a:gd name="connsiteY2579" fmla="*/ 2780026 h 6858290"/>
              <a:gd name="connsiteX2580" fmla="*/ 10670337 w 12139750"/>
              <a:gd name="connsiteY2580" fmla="*/ 2778118 h 6858290"/>
              <a:gd name="connsiteX2581" fmla="*/ 10666530 w 12139750"/>
              <a:gd name="connsiteY2581" fmla="*/ 2764770 h 6858290"/>
              <a:gd name="connsiteX2582" fmla="*/ 10672240 w 12139750"/>
              <a:gd name="connsiteY2582" fmla="*/ 2749515 h 6858290"/>
              <a:gd name="connsiteX2583" fmla="*/ 11003433 w 12139750"/>
              <a:gd name="connsiteY2583" fmla="*/ 2471111 h 6858290"/>
              <a:gd name="connsiteX2584" fmla="*/ 11018422 w 12139750"/>
              <a:gd name="connsiteY2584" fmla="*/ 2467296 h 6858290"/>
              <a:gd name="connsiteX2585" fmla="*/ 8147250 w 12139750"/>
              <a:gd name="connsiteY2585" fmla="*/ 2462181 h 6858290"/>
              <a:gd name="connsiteX2586" fmla="*/ 8162992 w 12139750"/>
              <a:gd name="connsiteY2586" fmla="*/ 2470551 h 6858290"/>
              <a:gd name="connsiteX2587" fmla="*/ 8159176 w 12139750"/>
              <a:gd name="connsiteY2587" fmla="*/ 2506900 h 6858290"/>
              <a:gd name="connsiteX2588" fmla="*/ 7825249 w 12139750"/>
              <a:gd name="connsiteY2588" fmla="*/ 2759395 h 6858290"/>
              <a:gd name="connsiteX2589" fmla="*/ 7790902 w 12139750"/>
              <a:gd name="connsiteY2589" fmla="*/ 2755567 h 6858290"/>
              <a:gd name="connsiteX2590" fmla="*/ 7785178 w 12139750"/>
              <a:gd name="connsiteY2590" fmla="*/ 2740262 h 6858290"/>
              <a:gd name="connsiteX2591" fmla="*/ 7794719 w 12139750"/>
              <a:gd name="connsiteY2591" fmla="*/ 2719221 h 6858290"/>
              <a:gd name="connsiteX2592" fmla="*/ 8128645 w 12139750"/>
              <a:gd name="connsiteY2592" fmla="*/ 2466726 h 6858290"/>
              <a:gd name="connsiteX2593" fmla="*/ 8147250 w 12139750"/>
              <a:gd name="connsiteY2593" fmla="*/ 2462181 h 6858290"/>
              <a:gd name="connsiteX2594" fmla="*/ 11591857 w 12139750"/>
              <a:gd name="connsiteY2594" fmla="*/ 2462171 h 6858290"/>
              <a:gd name="connsiteX2595" fmla="*/ 11608260 w 12139750"/>
              <a:gd name="connsiteY2595" fmla="*/ 2470542 h 6858290"/>
              <a:gd name="connsiteX2596" fmla="*/ 11602555 w 12139750"/>
              <a:gd name="connsiteY2596" fmla="*/ 2506889 h 6858290"/>
              <a:gd name="connsiteX2597" fmla="*/ 11271628 w 12139750"/>
              <a:gd name="connsiteY2597" fmla="*/ 2759383 h 6858290"/>
              <a:gd name="connsiteX2598" fmla="*/ 11235492 w 12139750"/>
              <a:gd name="connsiteY2598" fmla="*/ 2755558 h 6858290"/>
              <a:gd name="connsiteX2599" fmla="*/ 11231688 w 12139750"/>
              <a:gd name="connsiteY2599" fmla="*/ 2740254 h 6858290"/>
              <a:gd name="connsiteX2600" fmla="*/ 11241197 w 12139750"/>
              <a:gd name="connsiteY2600" fmla="*/ 2719210 h 6858290"/>
              <a:gd name="connsiteX2601" fmla="*/ 11574027 w 12139750"/>
              <a:gd name="connsiteY2601" fmla="*/ 2466717 h 6858290"/>
              <a:gd name="connsiteX2602" fmla="*/ 11591857 w 12139750"/>
              <a:gd name="connsiteY2602" fmla="*/ 2462171 h 6858290"/>
              <a:gd name="connsiteX2603" fmla="*/ 7591001 w 12139750"/>
              <a:gd name="connsiteY2603" fmla="*/ 2459079 h 6858290"/>
              <a:gd name="connsiteX2604" fmla="*/ 7610543 w 12139750"/>
              <a:gd name="connsiteY2604" fmla="*/ 2471476 h 6858290"/>
              <a:gd name="connsiteX2605" fmla="*/ 7602917 w 12139750"/>
              <a:gd name="connsiteY2605" fmla="*/ 2511529 h 6858290"/>
              <a:gd name="connsiteX2606" fmla="*/ 7267365 w 12139750"/>
              <a:gd name="connsiteY2606" fmla="*/ 2738458 h 6858290"/>
              <a:gd name="connsiteX2607" fmla="*/ 7227327 w 12139750"/>
              <a:gd name="connsiteY2607" fmla="*/ 2730832 h 6858290"/>
              <a:gd name="connsiteX2608" fmla="*/ 7221608 w 12139750"/>
              <a:gd name="connsiteY2608" fmla="*/ 2715570 h 6858290"/>
              <a:gd name="connsiteX2609" fmla="*/ 7234954 w 12139750"/>
              <a:gd name="connsiteY2609" fmla="*/ 2690775 h 6858290"/>
              <a:gd name="connsiteX2610" fmla="*/ 7568599 w 12139750"/>
              <a:gd name="connsiteY2610" fmla="*/ 2463845 h 6858290"/>
              <a:gd name="connsiteX2611" fmla="*/ 7591001 w 12139750"/>
              <a:gd name="connsiteY2611" fmla="*/ 2459079 h 6858290"/>
              <a:gd name="connsiteX2612" fmla="*/ 12139750 w 12139750"/>
              <a:gd name="connsiteY2612" fmla="*/ 2459059 h 6858290"/>
              <a:gd name="connsiteX2613" fmla="*/ 12139750 w 12139750"/>
              <a:gd name="connsiteY2613" fmla="*/ 2529860 h 6858290"/>
              <a:gd name="connsiteX2614" fmla="*/ 11834670 w 12139750"/>
              <a:gd name="connsiteY2614" fmla="*/ 2738414 h 6858290"/>
              <a:gd name="connsiteX2615" fmla="*/ 11792721 w 12139750"/>
              <a:gd name="connsiteY2615" fmla="*/ 2730760 h 6858290"/>
              <a:gd name="connsiteX2616" fmla="*/ 11788908 w 12139750"/>
              <a:gd name="connsiteY2616" fmla="*/ 2715453 h 6858290"/>
              <a:gd name="connsiteX2617" fmla="*/ 11800349 w 12139750"/>
              <a:gd name="connsiteY2617" fmla="*/ 2690576 h 6858290"/>
              <a:gd name="connsiteX2618" fmla="*/ 12135937 w 12139750"/>
              <a:gd name="connsiteY2618" fmla="*/ 2462887 h 6858290"/>
              <a:gd name="connsiteX2619" fmla="*/ 12139750 w 12139750"/>
              <a:gd name="connsiteY2619" fmla="*/ 2459059 h 6858290"/>
              <a:gd name="connsiteX2620" fmla="*/ 7041900 w 12139750"/>
              <a:gd name="connsiteY2620" fmla="*/ 2453933 h 6858290"/>
              <a:gd name="connsiteX2621" fmla="*/ 7062856 w 12139750"/>
              <a:gd name="connsiteY2621" fmla="*/ 2468988 h 6858290"/>
              <a:gd name="connsiteX2622" fmla="*/ 7051425 w 12139750"/>
              <a:gd name="connsiteY2622" fmla="*/ 2516781 h 6858290"/>
              <a:gd name="connsiteX2623" fmla="*/ 6714236 w 12139750"/>
              <a:gd name="connsiteY2623" fmla="*/ 2719384 h 6858290"/>
              <a:gd name="connsiteX2624" fmla="*/ 6668515 w 12139750"/>
              <a:gd name="connsiteY2624" fmla="*/ 2706003 h 6858290"/>
              <a:gd name="connsiteX2625" fmla="*/ 6662800 w 12139750"/>
              <a:gd name="connsiteY2625" fmla="*/ 2688796 h 6858290"/>
              <a:gd name="connsiteX2626" fmla="*/ 6679945 w 12139750"/>
              <a:gd name="connsiteY2626" fmla="*/ 2660125 h 6858290"/>
              <a:gd name="connsiteX2627" fmla="*/ 7015230 w 12139750"/>
              <a:gd name="connsiteY2627" fmla="*/ 2457516 h 6858290"/>
              <a:gd name="connsiteX2628" fmla="*/ 7041900 w 12139750"/>
              <a:gd name="connsiteY2628" fmla="*/ 2453933 h 6858290"/>
              <a:gd name="connsiteX2629" fmla="*/ 6499365 w 12139750"/>
              <a:gd name="connsiteY2629" fmla="*/ 2450542 h 6858290"/>
              <a:gd name="connsiteX2630" fmla="*/ 6521511 w 12139750"/>
              <a:gd name="connsiteY2630" fmla="*/ 2469741 h 6858290"/>
              <a:gd name="connsiteX2631" fmla="*/ 6506270 w 12139750"/>
              <a:gd name="connsiteY2631" fmla="*/ 2520932 h 6858290"/>
              <a:gd name="connsiteX2632" fmla="*/ 6167176 w 12139750"/>
              <a:gd name="connsiteY2632" fmla="*/ 2697234 h 6858290"/>
              <a:gd name="connsiteX2633" fmla="*/ 6115740 w 12139750"/>
              <a:gd name="connsiteY2633" fmla="*/ 2680171 h 6858290"/>
              <a:gd name="connsiteX2634" fmla="*/ 6111930 w 12139750"/>
              <a:gd name="connsiteY2634" fmla="*/ 2663105 h 6858290"/>
              <a:gd name="connsiteX2635" fmla="*/ 6130980 w 12139750"/>
              <a:gd name="connsiteY2635" fmla="*/ 2628984 h 6858290"/>
              <a:gd name="connsiteX2636" fmla="*/ 6470075 w 12139750"/>
              <a:gd name="connsiteY2636" fmla="*/ 2452675 h 6858290"/>
              <a:gd name="connsiteX2637" fmla="*/ 6499365 w 12139750"/>
              <a:gd name="connsiteY2637" fmla="*/ 2450542 h 6858290"/>
              <a:gd name="connsiteX2638" fmla="*/ 5959672 w 12139750"/>
              <a:gd name="connsiteY2638" fmla="*/ 2446994 h 6858290"/>
              <a:gd name="connsiteX2639" fmla="*/ 5983314 w 12139750"/>
              <a:gd name="connsiteY2639" fmla="*/ 2468881 h 6858290"/>
              <a:gd name="connsiteX2640" fmla="*/ 5962297 w 12139750"/>
              <a:gd name="connsiteY2640" fmla="*/ 2525960 h 6858290"/>
              <a:gd name="connsiteX2641" fmla="*/ 5620300 w 12139750"/>
              <a:gd name="connsiteY2641" fmla="*/ 2676247 h 6858290"/>
              <a:gd name="connsiteX2642" fmla="*/ 5564892 w 12139750"/>
              <a:gd name="connsiteY2642" fmla="*/ 2655321 h 6858290"/>
              <a:gd name="connsiteX2643" fmla="*/ 5561071 w 12139750"/>
              <a:gd name="connsiteY2643" fmla="*/ 2638199 h 6858290"/>
              <a:gd name="connsiteX2644" fmla="*/ 5585909 w 12139750"/>
              <a:gd name="connsiteY2644" fmla="*/ 2598249 h 6858290"/>
              <a:gd name="connsiteX2645" fmla="*/ 5925997 w 12139750"/>
              <a:gd name="connsiteY2645" fmla="*/ 2447945 h 6858290"/>
              <a:gd name="connsiteX2646" fmla="*/ 5959672 w 12139750"/>
              <a:gd name="connsiteY2646" fmla="*/ 2446994 h 6858290"/>
              <a:gd name="connsiteX2647" fmla="*/ 399503 w 12139750"/>
              <a:gd name="connsiteY2647" fmla="*/ 2446979 h 6858290"/>
              <a:gd name="connsiteX2648" fmla="*/ 423846 w 12139750"/>
              <a:gd name="connsiteY2648" fmla="*/ 2468864 h 6858290"/>
              <a:gd name="connsiteX2649" fmla="*/ 400935 w 12139750"/>
              <a:gd name="connsiteY2649" fmla="*/ 2525942 h 6858290"/>
              <a:gd name="connsiteX2650" fmla="*/ 61095 w 12139750"/>
              <a:gd name="connsiteY2650" fmla="*/ 2676238 h 6858290"/>
              <a:gd name="connsiteX2651" fmla="*/ 3818 w 12139750"/>
              <a:gd name="connsiteY2651" fmla="*/ 2655311 h 6858290"/>
              <a:gd name="connsiteX2652" fmla="*/ 0 w 12139750"/>
              <a:gd name="connsiteY2652" fmla="*/ 2638187 h 6858290"/>
              <a:gd name="connsiteX2653" fmla="*/ 26729 w 12139750"/>
              <a:gd name="connsiteY2653" fmla="*/ 2598233 h 6858290"/>
              <a:gd name="connsiteX2654" fmla="*/ 366569 w 12139750"/>
              <a:gd name="connsiteY2654" fmla="*/ 2447930 h 6858290"/>
              <a:gd name="connsiteX2655" fmla="*/ 399503 w 12139750"/>
              <a:gd name="connsiteY2655" fmla="*/ 2446979 h 6858290"/>
              <a:gd name="connsiteX2656" fmla="*/ 5396620 w 12139750"/>
              <a:gd name="connsiteY2656" fmla="*/ 2440131 h 6858290"/>
              <a:gd name="connsiteX2657" fmla="*/ 5438855 w 12139750"/>
              <a:gd name="connsiteY2657" fmla="*/ 2471621 h 6858290"/>
              <a:gd name="connsiteX2658" fmla="*/ 5410341 w 12139750"/>
              <a:gd name="connsiteY2658" fmla="*/ 2532340 h 6858290"/>
              <a:gd name="connsiteX2659" fmla="*/ 5070072 w 12139750"/>
              <a:gd name="connsiteY2659" fmla="*/ 2657538 h 6858290"/>
              <a:gd name="connsiteX2660" fmla="*/ 5009249 w 12139750"/>
              <a:gd name="connsiteY2660" fmla="*/ 2629084 h 6858290"/>
              <a:gd name="connsiteX2661" fmla="*/ 5005447 w 12139750"/>
              <a:gd name="connsiteY2661" fmla="*/ 2613907 h 6858290"/>
              <a:gd name="connsiteX2662" fmla="*/ 5037761 w 12139750"/>
              <a:gd name="connsiteY2662" fmla="*/ 2568382 h 6858290"/>
              <a:gd name="connsiteX2663" fmla="*/ 5378027 w 12139750"/>
              <a:gd name="connsiteY2663" fmla="*/ 2443156 h 6858290"/>
              <a:gd name="connsiteX2664" fmla="*/ 5396620 w 12139750"/>
              <a:gd name="connsiteY2664" fmla="*/ 2440131 h 6858290"/>
              <a:gd name="connsiteX2665" fmla="*/ 930705 w 12139750"/>
              <a:gd name="connsiteY2665" fmla="*/ 2440114 h 6858290"/>
              <a:gd name="connsiteX2666" fmla="*/ 973124 w 12139750"/>
              <a:gd name="connsiteY2666" fmla="*/ 2471600 h 6858290"/>
              <a:gd name="connsiteX2667" fmla="*/ 944487 w 12139750"/>
              <a:gd name="connsiteY2667" fmla="*/ 2532315 h 6858290"/>
              <a:gd name="connsiteX2668" fmla="*/ 602753 w 12139750"/>
              <a:gd name="connsiteY2668" fmla="*/ 2657525 h 6858290"/>
              <a:gd name="connsiteX2669" fmla="*/ 541661 w 12139750"/>
              <a:gd name="connsiteY2669" fmla="*/ 2629070 h 6858290"/>
              <a:gd name="connsiteX2670" fmla="*/ 539751 w 12139750"/>
              <a:gd name="connsiteY2670" fmla="*/ 2613892 h 6858290"/>
              <a:gd name="connsiteX2671" fmla="*/ 570297 w 12139750"/>
              <a:gd name="connsiteY2671" fmla="*/ 2568362 h 6858290"/>
              <a:gd name="connsiteX2672" fmla="*/ 912032 w 12139750"/>
              <a:gd name="connsiteY2672" fmla="*/ 2443139 h 6858290"/>
              <a:gd name="connsiteX2673" fmla="*/ 930705 w 12139750"/>
              <a:gd name="connsiteY2673" fmla="*/ 2440114 h 6858290"/>
              <a:gd name="connsiteX2674" fmla="*/ 4847389 w 12139750"/>
              <a:gd name="connsiteY2674" fmla="*/ 2434959 h 6858290"/>
              <a:gd name="connsiteX2675" fmla="*/ 4891125 w 12139750"/>
              <a:gd name="connsiteY2675" fmla="*/ 2472791 h 6858290"/>
              <a:gd name="connsiteX2676" fmla="*/ 4856779 w 12139750"/>
              <a:gd name="connsiteY2676" fmla="*/ 2537664 h 6858290"/>
              <a:gd name="connsiteX2677" fmla="*/ 4513402 w 12139750"/>
              <a:gd name="connsiteY2677" fmla="*/ 2638759 h 6858290"/>
              <a:gd name="connsiteX2678" fmla="*/ 4448539 w 12139750"/>
              <a:gd name="connsiteY2678" fmla="*/ 2602516 h 6858290"/>
              <a:gd name="connsiteX2679" fmla="*/ 4446631 w 12139750"/>
              <a:gd name="connsiteY2679" fmla="*/ 2587256 h 6858290"/>
              <a:gd name="connsiteX2680" fmla="*/ 4482878 w 12139750"/>
              <a:gd name="connsiteY2680" fmla="*/ 2537664 h 6858290"/>
              <a:gd name="connsiteX2681" fmla="*/ 4826251 w 12139750"/>
              <a:gd name="connsiteY2681" fmla="*/ 2436537 h 6858290"/>
              <a:gd name="connsiteX2682" fmla="*/ 4847389 w 12139750"/>
              <a:gd name="connsiteY2682" fmla="*/ 2434959 h 6858290"/>
              <a:gd name="connsiteX2683" fmla="*/ 1482958 w 12139750"/>
              <a:gd name="connsiteY2683" fmla="*/ 2434939 h 6858290"/>
              <a:gd name="connsiteX2684" fmla="*/ 1527491 w 12139750"/>
              <a:gd name="connsiteY2684" fmla="*/ 2472769 h 6858290"/>
              <a:gd name="connsiteX2685" fmla="*/ 1491245 w 12139750"/>
              <a:gd name="connsiteY2685" fmla="*/ 2537636 h 6858290"/>
              <a:gd name="connsiteX2686" fmla="*/ 1147861 w 12139750"/>
              <a:gd name="connsiteY2686" fmla="*/ 2638743 h 6858290"/>
              <a:gd name="connsiteX2687" fmla="*/ 1082999 w 12139750"/>
              <a:gd name="connsiteY2687" fmla="*/ 2602496 h 6858290"/>
              <a:gd name="connsiteX2688" fmla="*/ 1081092 w 12139750"/>
              <a:gd name="connsiteY2688" fmla="*/ 2587234 h 6858290"/>
              <a:gd name="connsiteX2689" fmla="*/ 1119245 w 12139750"/>
              <a:gd name="connsiteY2689" fmla="*/ 2537636 h 6858290"/>
              <a:gd name="connsiteX2690" fmla="*/ 1462630 w 12139750"/>
              <a:gd name="connsiteY2690" fmla="*/ 2436519 h 6858290"/>
              <a:gd name="connsiteX2691" fmla="*/ 1482958 w 12139750"/>
              <a:gd name="connsiteY2691" fmla="*/ 2434939 h 6858290"/>
              <a:gd name="connsiteX2692" fmla="*/ 4270882 w 12139750"/>
              <a:gd name="connsiteY2692" fmla="*/ 2431445 h 6858290"/>
              <a:gd name="connsiteX2693" fmla="*/ 4339323 w 12139750"/>
              <a:gd name="connsiteY2693" fmla="*/ 2475264 h 6858290"/>
              <a:gd name="connsiteX2694" fmla="*/ 4295596 w 12139750"/>
              <a:gd name="connsiteY2694" fmla="*/ 2543855 h 6858290"/>
              <a:gd name="connsiteX2695" fmla="*/ 3951515 w 12139750"/>
              <a:gd name="connsiteY2695" fmla="*/ 2618134 h 6858290"/>
              <a:gd name="connsiteX2696" fmla="*/ 3883074 w 12139750"/>
              <a:gd name="connsiteY2696" fmla="*/ 2574330 h 6858290"/>
              <a:gd name="connsiteX2697" fmla="*/ 3883074 w 12139750"/>
              <a:gd name="connsiteY2697" fmla="*/ 2562902 h 6858290"/>
              <a:gd name="connsiteX2698" fmla="*/ 3926800 w 12139750"/>
              <a:gd name="connsiteY2698" fmla="*/ 2507657 h 6858290"/>
              <a:gd name="connsiteX2699" fmla="*/ 4270882 w 12139750"/>
              <a:gd name="connsiteY2699" fmla="*/ 2431445 h 6858290"/>
              <a:gd name="connsiteX2700" fmla="*/ 2016607 w 12139750"/>
              <a:gd name="connsiteY2700" fmla="*/ 2431425 h 6858290"/>
              <a:gd name="connsiteX2701" fmla="*/ 2085053 w 12139750"/>
              <a:gd name="connsiteY2701" fmla="*/ 2475241 h 6858290"/>
              <a:gd name="connsiteX2702" fmla="*/ 2041322 w 12139750"/>
              <a:gd name="connsiteY2702" fmla="*/ 2543824 h 6858290"/>
              <a:gd name="connsiteX2703" fmla="*/ 1697222 w 12139750"/>
              <a:gd name="connsiteY2703" fmla="*/ 2618115 h 6858290"/>
              <a:gd name="connsiteX2704" fmla="*/ 1630683 w 12139750"/>
              <a:gd name="connsiteY2704" fmla="*/ 2574302 h 6858290"/>
              <a:gd name="connsiteX2705" fmla="*/ 1628782 w 12139750"/>
              <a:gd name="connsiteY2705" fmla="*/ 2562874 h 6858290"/>
              <a:gd name="connsiteX2706" fmla="*/ 1674409 w 12139750"/>
              <a:gd name="connsiteY2706" fmla="*/ 2507628 h 6858290"/>
              <a:gd name="connsiteX2707" fmla="*/ 2016607 w 12139750"/>
              <a:gd name="connsiteY2707" fmla="*/ 2431425 h 6858290"/>
              <a:gd name="connsiteX2708" fmla="*/ 2799530 w 12139750"/>
              <a:gd name="connsiteY2708" fmla="*/ 2428905 h 6858290"/>
              <a:gd name="connsiteX2709" fmla="*/ 3148602 w 12139750"/>
              <a:gd name="connsiteY2709" fmla="*/ 2428905 h 6858290"/>
              <a:gd name="connsiteX2710" fmla="*/ 3221084 w 12139750"/>
              <a:gd name="connsiteY2710" fmla="*/ 2499561 h 6858290"/>
              <a:gd name="connsiteX2711" fmla="*/ 3148602 w 12139750"/>
              <a:gd name="connsiteY2711" fmla="*/ 2570203 h 6858290"/>
              <a:gd name="connsiteX2712" fmla="*/ 2799530 w 12139750"/>
              <a:gd name="connsiteY2712" fmla="*/ 2570203 h 6858290"/>
              <a:gd name="connsiteX2713" fmla="*/ 2728954 w 12139750"/>
              <a:gd name="connsiteY2713" fmla="*/ 2499561 h 6858290"/>
              <a:gd name="connsiteX2714" fmla="*/ 2799530 w 12139750"/>
              <a:gd name="connsiteY2714" fmla="*/ 2428905 h 6858290"/>
              <a:gd name="connsiteX2715" fmla="*/ 3713473 w 12139750"/>
              <a:gd name="connsiteY2715" fmla="*/ 2424778 h 6858290"/>
              <a:gd name="connsiteX2716" fmla="*/ 3782104 w 12139750"/>
              <a:gd name="connsiteY2716" fmla="*/ 2478123 h 6858290"/>
              <a:gd name="connsiteX2717" fmla="*/ 3730631 w 12139750"/>
              <a:gd name="connsiteY2717" fmla="*/ 2546711 h 6858290"/>
              <a:gd name="connsiteX2718" fmla="*/ 3383700 w 12139750"/>
              <a:gd name="connsiteY2718" fmla="*/ 2598132 h 6858290"/>
              <a:gd name="connsiteX2719" fmla="*/ 3315070 w 12139750"/>
              <a:gd name="connsiteY2719" fmla="*/ 2546711 h 6858290"/>
              <a:gd name="connsiteX2720" fmla="*/ 3313164 w 12139750"/>
              <a:gd name="connsiteY2720" fmla="*/ 2537188 h 6858290"/>
              <a:gd name="connsiteX2721" fmla="*/ 3366541 w 12139750"/>
              <a:gd name="connsiteY2721" fmla="*/ 2476218 h 6858290"/>
              <a:gd name="connsiteX2722" fmla="*/ 3713473 w 12139750"/>
              <a:gd name="connsiteY2722" fmla="*/ 2424778 h 6858290"/>
              <a:gd name="connsiteX2723" fmla="*/ 2578386 w 12139750"/>
              <a:gd name="connsiteY2723" fmla="*/ 2424755 h 6858290"/>
              <a:gd name="connsiteX2724" fmla="*/ 2647013 w 12139750"/>
              <a:gd name="connsiteY2724" fmla="*/ 2478098 h 6858290"/>
              <a:gd name="connsiteX2725" fmla="*/ 2595543 w 12139750"/>
              <a:gd name="connsiteY2725" fmla="*/ 2546678 h 6858290"/>
              <a:gd name="connsiteX2726" fmla="*/ 2248597 w 12139750"/>
              <a:gd name="connsiteY2726" fmla="*/ 2598110 h 6858290"/>
              <a:gd name="connsiteX2727" fmla="*/ 2179970 w 12139750"/>
              <a:gd name="connsiteY2727" fmla="*/ 2546678 h 6858290"/>
              <a:gd name="connsiteX2728" fmla="*/ 2178063 w 12139750"/>
              <a:gd name="connsiteY2728" fmla="*/ 2537153 h 6858290"/>
              <a:gd name="connsiteX2729" fmla="*/ 2231440 w 12139750"/>
              <a:gd name="connsiteY2729" fmla="*/ 2476192 h 6858290"/>
              <a:gd name="connsiteX2730" fmla="*/ 2578386 w 12139750"/>
              <a:gd name="connsiteY2730" fmla="*/ 2424755 h 6858290"/>
              <a:gd name="connsiteX2731" fmla="*/ 9856995 w 12139750"/>
              <a:gd name="connsiteY2731" fmla="*/ 2158848 h 6858290"/>
              <a:gd name="connsiteX2732" fmla="*/ 9865791 w 12139750"/>
              <a:gd name="connsiteY2732" fmla="*/ 2163134 h 6858290"/>
              <a:gd name="connsiteX2733" fmla="*/ 9869594 w 12139750"/>
              <a:gd name="connsiteY2733" fmla="*/ 2172659 h 6858290"/>
              <a:gd name="connsiteX2734" fmla="*/ 9865791 w 12139750"/>
              <a:gd name="connsiteY2734" fmla="*/ 2182184 h 6858290"/>
              <a:gd name="connsiteX2735" fmla="*/ 9536809 w 12139750"/>
              <a:gd name="connsiteY2735" fmla="*/ 2494604 h 6858290"/>
              <a:gd name="connsiteX2736" fmla="*/ 9517792 w 12139750"/>
              <a:gd name="connsiteY2736" fmla="*/ 2494604 h 6858290"/>
              <a:gd name="connsiteX2737" fmla="*/ 9519694 w 12139750"/>
              <a:gd name="connsiteY2737" fmla="*/ 2475555 h 6858290"/>
              <a:gd name="connsiteX2738" fmla="*/ 9846774 w 12139750"/>
              <a:gd name="connsiteY2738" fmla="*/ 2163134 h 6858290"/>
              <a:gd name="connsiteX2739" fmla="*/ 9856995 w 12139750"/>
              <a:gd name="connsiteY2739" fmla="*/ 2158848 h 6858290"/>
              <a:gd name="connsiteX2740" fmla="*/ 9280994 w 12139750"/>
              <a:gd name="connsiteY2740" fmla="*/ 2152757 h 6858290"/>
              <a:gd name="connsiteX2741" fmla="*/ 9292682 w 12139750"/>
              <a:gd name="connsiteY2741" fmla="*/ 2158723 h 6858290"/>
              <a:gd name="connsiteX2742" fmla="*/ 9296499 w 12139750"/>
              <a:gd name="connsiteY2742" fmla="*/ 2170175 h 6858290"/>
              <a:gd name="connsiteX2743" fmla="*/ 9290774 w 12139750"/>
              <a:gd name="connsiteY2743" fmla="*/ 2183535 h 6858290"/>
              <a:gd name="connsiteX2744" fmla="*/ 8960635 w 12139750"/>
              <a:gd name="connsiteY2744" fmla="*/ 2475567 h 6858290"/>
              <a:gd name="connsiteX2745" fmla="*/ 8935827 w 12139750"/>
              <a:gd name="connsiteY2745" fmla="*/ 2473653 h 6858290"/>
              <a:gd name="connsiteX2746" fmla="*/ 8935827 w 12139750"/>
              <a:gd name="connsiteY2746" fmla="*/ 2448839 h 6858290"/>
              <a:gd name="connsiteX2747" fmla="*/ 9267874 w 12139750"/>
              <a:gd name="connsiteY2747" fmla="*/ 2156814 h 6858290"/>
              <a:gd name="connsiteX2748" fmla="*/ 9280994 w 12139750"/>
              <a:gd name="connsiteY2748" fmla="*/ 2152757 h 6858290"/>
              <a:gd name="connsiteX2749" fmla="*/ 10441167 w 12139750"/>
              <a:gd name="connsiteY2749" fmla="*/ 2152737 h 6858290"/>
              <a:gd name="connsiteX2750" fmla="*/ 10452845 w 12139750"/>
              <a:gd name="connsiteY2750" fmla="*/ 2158701 h 6858290"/>
              <a:gd name="connsiteX2751" fmla="*/ 10458565 w 12139750"/>
              <a:gd name="connsiteY2751" fmla="*/ 2170154 h 6858290"/>
              <a:gd name="connsiteX2752" fmla="*/ 10452845 w 12139750"/>
              <a:gd name="connsiteY2752" fmla="*/ 2183515 h 6858290"/>
              <a:gd name="connsiteX2753" fmla="*/ 10121085 w 12139750"/>
              <a:gd name="connsiteY2753" fmla="*/ 2475541 h 6858290"/>
              <a:gd name="connsiteX2754" fmla="*/ 10096299 w 12139750"/>
              <a:gd name="connsiteY2754" fmla="*/ 2473632 h 6858290"/>
              <a:gd name="connsiteX2755" fmla="*/ 10098205 w 12139750"/>
              <a:gd name="connsiteY2755" fmla="*/ 2448819 h 6858290"/>
              <a:gd name="connsiteX2756" fmla="*/ 10428058 w 12139750"/>
              <a:gd name="connsiteY2756" fmla="*/ 2156792 h 6858290"/>
              <a:gd name="connsiteX2757" fmla="*/ 10441167 w 12139750"/>
              <a:gd name="connsiteY2757" fmla="*/ 2152737 h 6858290"/>
              <a:gd name="connsiteX2758" fmla="*/ 8711083 w 12139750"/>
              <a:gd name="connsiteY2758" fmla="*/ 2147846 h 6858290"/>
              <a:gd name="connsiteX2759" fmla="*/ 8725621 w 12139750"/>
              <a:gd name="connsiteY2759" fmla="*/ 2156214 h 6858290"/>
              <a:gd name="connsiteX2760" fmla="*/ 8731341 w 12139750"/>
              <a:gd name="connsiteY2760" fmla="*/ 2169603 h 6858290"/>
              <a:gd name="connsiteX2761" fmla="*/ 8723715 w 12139750"/>
              <a:gd name="connsiteY2761" fmla="*/ 2186815 h 6858290"/>
              <a:gd name="connsiteX2762" fmla="*/ 8390055 w 12139750"/>
              <a:gd name="connsiteY2762" fmla="*/ 2454587 h 6858290"/>
              <a:gd name="connsiteX2763" fmla="*/ 8359549 w 12139750"/>
              <a:gd name="connsiteY2763" fmla="*/ 2450760 h 6858290"/>
              <a:gd name="connsiteX2764" fmla="*/ 8363363 w 12139750"/>
              <a:gd name="connsiteY2764" fmla="*/ 2420157 h 6858290"/>
              <a:gd name="connsiteX2765" fmla="*/ 8695115 w 12139750"/>
              <a:gd name="connsiteY2765" fmla="*/ 2152388 h 6858290"/>
              <a:gd name="connsiteX2766" fmla="*/ 8711083 w 12139750"/>
              <a:gd name="connsiteY2766" fmla="*/ 2147846 h 6858290"/>
              <a:gd name="connsiteX2767" fmla="*/ 11019424 w 12139750"/>
              <a:gd name="connsiteY2767" fmla="*/ 2147822 h 6858290"/>
              <a:gd name="connsiteX2768" fmla="*/ 11033901 w 12139750"/>
              <a:gd name="connsiteY2768" fmla="*/ 2156190 h 6858290"/>
              <a:gd name="connsiteX2769" fmla="*/ 11039597 w 12139750"/>
              <a:gd name="connsiteY2769" fmla="*/ 2169578 h 6858290"/>
              <a:gd name="connsiteX2770" fmla="*/ 11030104 w 12139750"/>
              <a:gd name="connsiteY2770" fmla="*/ 2186792 h 6858290"/>
              <a:gd name="connsiteX2771" fmla="*/ 10699740 w 12139750"/>
              <a:gd name="connsiteY2771" fmla="*/ 2454563 h 6858290"/>
              <a:gd name="connsiteX2772" fmla="*/ 10669362 w 12139750"/>
              <a:gd name="connsiteY2772" fmla="*/ 2450738 h 6858290"/>
              <a:gd name="connsiteX2773" fmla="*/ 10673159 w 12139750"/>
              <a:gd name="connsiteY2773" fmla="*/ 2420136 h 6858290"/>
              <a:gd name="connsiteX2774" fmla="*/ 11003523 w 12139750"/>
              <a:gd name="connsiteY2774" fmla="*/ 2152364 h 6858290"/>
              <a:gd name="connsiteX2775" fmla="*/ 11019424 w 12139750"/>
              <a:gd name="connsiteY2775" fmla="*/ 2147822 h 6858290"/>
              <a:gd name="connsiteX2776" fmla="*/ 8148561 w 12139750"/>
              <a:gd name="connsiteY2776" fmla="*/ 2143310 h 6858290"/>
              <a:gd name="connsiteX2777" fmla="*/ 8165230 w 12139750"/>
              <a:gd name="connsiteY2777" fmla="*/ 2153323 h 6858290"/>
              <a:gd name="connsiteX2778" fmla="*/ 8170945 w 12139750"/>
              <a:gd name="connsiteY2778" fmla="*/ 2168580 h 6858290"/>
              <a:gd name="connsiteX2779" fmla="*/ 8159515 w 12139750"/>
              <a:gd name="connsiteY2779" fmla="*/ 2189556 h 6858290"/>
              <a:gd name="connsiteX2780" fmla="*/ 7826135 w 12139750"/>
              <a:gd name="connsiteY2780" fmla="*/ 2433651 h 6858290"/>
              <a:gd name="connsiteX2781" fmla="*/ 7789940 w 12139750"/>
              <a:gd name="connsiteY2781" fmla="*/ 2427930 h 6858290"/>
              <a:gd name="connsiteX2782" fmla="*/ 7795655 w 12139750"/>
              <a:gd name="connsiteY2782" fmla="*/ 2391692 h 6858290"/>
              <a:gd name="connsiteX2783" fmla="*/ 8129034 w 12139750"/>
              <a:gd name="connsiteY2783" fmla="*/ 2147602 h 6858290"/>
              <a:gd name="connsiteX2784" fmla="*/ 8148561 w 12139750"/>
              <a:gd name="connsiteY2784" fmla="*/ 2143310 h 6858290"/>
              <a:gd name="connsiteX2785" fmla="*/ 11593070 w 12139750"/>
              <a:gd name="connsiteY2785" fmla="*/ 2143308 h 6858290"/>
              <a:gd name="connsiteX2786" fmla="*/ 11610468 w 12139750"/>
              <a:gd name="connsiteY2786" fmla="*/ 2153320 h 6858290"/>
              <a:gd name="connsiteX2787" fmla="*/ 11614281 w 12139750"/>
              <a:gd name="connsiteY2787" fmla="*/ 2168577 h 6858290"/>
              <a:gd name="connsiteX2788" fmla="*/ 11604748 w 12139750"/>
              <a:gd name="connsiteY2788" fmla="*/ 2189556 h 6858290"/>
              <a:gd name="connsiteX2789" fmla="*/ 11271096 w 12139750"/>
              <a:gd name="connsiteY2789" fmla="*/ 2433649 h 6858290"/>
              <a:gd name="connsiteX2790" fmla="*/ 11232964 w 12139750"/>
              <a:gd name="connsiteY2790" fmla="*/ 2427928 h 6858290"/>
              <a:gd name="connsiteX2791" fmla="*/ 11238684 w 12139750"/>
              <a:gd name="connsiteY2791" fmla="*/ 2391689 h 6858290"/>
              <a:gd name="connsiteX2792" fmla="*/ 11574243 w 12139750"/>
              <a:gd name="connsiteY2792" fmla="*/ 2147600 h 6858290"/>
              <a:gd name="connsiteX2793" fmla="*/ 11593070 w 12139750"/>
              <a:gd name="connsiteY2793" fmla="*/ 2143308 h 6858290"/>
              <a:gd name="connsiteX2794" fmla="*/ 12139750 w 12139750"/>
              <a:gd name="connsiteY2794" fmla="*/ 2139967 h 6858290"/>
              <a:gd name="connsiteX2795" fmla="*/ 12139750 w 12139750"/>
              <a:gd name="connsiteY2795" fmla="*/ 2212438 h 6858290"/>
              <a:gd name="connsiteX2796" fmla="*/ 11835489 w 12139750"/>
              <a:gd name="connsiteY2796" fmla="*/ 2414592 h 6858290"/>
              <a:gd name="connsiteX2797" fmla="*/ 11793653 w 12139750"/>
              <a:gd name="connsiteY2797" fmla="*/ 2406965 h 6858290"/>
              <a:gd name="connsiteX2798" fmla="*/ 11801260 w 12139750"/>
              <a:gd name="connsiteY2798" fmla="*/ 2363100 h 6858290"/>
              <a:gd name="connsiteX2799" fmla="*/ 12135947 w 12139750"/>
              <a:gd name="connsiteY2799" fmla="*/ 2141874 h 6858290"/>
              <a:gd name="connsiteX2800" fmla="*/ 12139750 w 12139750"/>
              <a:gd name="connsiteY2800" fmla="*/ 2139967 h 6858290"/>
              <a:gd name="connsiteX2801" fmla="*/ 7591500 w 12139750"/>
              <a:gd name="connsiteY2801" fmla="*/ 2137042 h 6858290"/>
              <a:gd name="connsiteX2802" fmla="*/ 7609598 w 12139750"/>
              <a:gd name="connsiteY2802" fmla="*/ 2151126 h 6858290"/>
              <a:gd name="connsiteX2803" fmla="*/ 7615313 w 12139750"/>
              <a:gd name="connsiteY2803" fmla="*/ 2168310 h 6858290"/>
              <a:gd name="connsiteX2804" fmla="*/ 7601978 w 12139750"/>
              <a:gd name="connsiteY2804" fmla="*/ 2193129 h 6858290"/>
              <a:gd name="connsiteX2805" fmla="*/ 7266693 w 12139750"/>
              <a:gd name="connsiteY2805" fmla="*/ 2414586 h 6858290"/>
              <a:gd name="connsiteX2806" fmla="*/ 7224783 w 12139750"/>
              <a:gd name="connsiteY2806" fmla="*/ 2406948 h 6858290"/>
              <a:gd name="connsiteX2807" fmla="*/ 7232403 w 12139750"/>
              <a:gd name="connsiteY2807" fmla="*/ 2363036 h 6858290"/>
              <a:gd name="connsiteX2808" fmla="*/ 7567687 w 12139750"/>
              <a:gd name="connsiteY2808" fmla="*/ 2141577 h 6858290"/>
              <a:gd name="connsiteX2809" fmla="*/ 7591500 w 12139750"/>
              <a:gd name="connsiteY2809" fmla="*/ 2137042 h 6858290"/>
              <a:gd name="connsiteX2810" fmla="*/ 7042453 w 12139750"/>
              <a:gd name="connsiteY2810" fmla="*/ 2131898 h 6858290"/>
              <a:gd name="connsiteX2811" fmla="*/ 7063473 w 12139750"/>
              <a:gd name="connsiteY2811" fmla="*/ 2148647 h 6858290"/>
              <a:gd name="connsiteX2812" fmla="*/ 7069206 w 12139750"/>
              <a:gd name="connsiteY2812" fmla="*/ 2165871 h 6858290"/>
              <a:gd name="connsiteX2813" fmla="*/ 7052008 w 12139750"/>
              <a:gd name="connsiteY2813" fmla="*/ 2196489 h 6858290"/>
              <a:gd name="connsiteX2814" fmla="*/ 6713777 w 12139750"/>
              <a:gd name="connsiteY2814" fmla="*/ 2395511 h 6858290"/>
              <a:gd name="connsiteX2815" fmla="*/ 6666004 w 12139750"/>
              <a:gd name="connsiteY2815" fmla="*/ 2382111 h 6858290"/>
              <a:gd name="connsiteX2816" fmla="*/ 6679381 w 12139750"/>
              <a:gd name="connsiteY2816" fmla="*/ 2334271 h 6858290"/>
              <a:gd name="connsiteX2817" fmla="*/ 7015700 w 12139750"/>
              <a:gd name="connsiteY2817" fmla="*/ 2135246 h 6858290"/>
              <a:gd name="connsiteX2818" fmla="*/ 7042453 w 12139750"/>
              <a:gd name="connsiteY2818" fmla="*/ 2131898 h 6858290"/>
              <a:gd name="connsiteX2819" fmla="*/ 6500021 w 12139750"/>
              <a:gd name="connsiteY2819" fmla="*/ 2128305 h 6858290"/>
              <a:gd name="connsiteX2820" fmla="*/ 6522150 w 12139750"/>
              <a:gd name="connsiteY2820" fmla="*/ 2147621 h 6858290"/>
              <a:gd name="connsiteX2821" fmla="*/ 6527861 w 12139750"/>
              <a:gd name="connsiteY2821" fmla="*/ 2164788 h 6858290"/>
              <a:gd name="connsiteX2822" fmla="*/ 6506921 w 12139750"/>
              <a:gd name="connsiteY2822" fmla="*/ 2199117 h 6858290"/>
              <a:gd name="connsiteX2823" fmla="*/ 6168083 w 12139750"/>
              <a:gd name="connsiteY2823" fmla="*/ 2374582 h 6858290"/>
              <a:gd name="connsiteX2824" fmla="*/ 6116686 w 12139750"/>
              <a:gd name="connsiteY2824" fmla="*/ 2359325 h 6858290"/>
              <a:gd name="connsiteX2825" fmla="*/ 6131914 w 12139750"/>
              <a:gd name="connsiteY2825" fmla="*/ 2305910 h 6858290"/>
              <a:gd name="connsiteX2826" fmla="*/ 6470753 w 12139750"/>
              <a:gd name="connsiteY2826" fmla="*/ 2130452 h 6858290"/>
              <a:gd name="connsiteX2827" fmla="*/ 6500021 w 12139750"/>
              <a:gd name="connsiteY2827" fmla="*/ 2128305 h 6858290"/>
              <a:gd name="connsiteX2828" fmla="*/ 5959154 w 12139750"/>
              <a:gd name="connsiteY2828" fmla="*/ 2123129 h 6858290"/>
              <a:gd name="connsiteX2829" fmla="*/ 5982710 w 12139750"/>
              <a:gd name="connsiteY2829" fmla="*/ 2145011 h 6858290"/>
              <a:gd name="connsiteX2830" fmla="*/ 5986518 w 12139750"/>
              <a:gd name="connsiteY2830" fmla="*/ 2164036 h 6858290"/>
              <a:gd name="connsiteX2831" fmla="*/ 5961771 w 12139750"/>
              <a:gd name="connsiteY2831" fmla="*/ 2202088 h 6858290"/>
              <a:gd name="connsiteX2832" fmla="*/ 5621031 w 12139750"/>
              <a:gd name="connsiteY2832" fmla="*/ 2354289 h 6858290"/>
              <a:gd name="connsiteX2833" fmla="*/ 5565827 w 12139750"/>
              <a:gd name="connsiteY2833" fmla="*/ 2333361 h 6858290"/>
              <a:gd name="connsiteX2834" fmla="*/ 5586767 w 12139750"/>
              <a:gd name="connsiteY2834" fmla="*/ 2276282 h 6858290"/>
              <a:gd name="connsiteX2835" fmla="*/ 5925602 w 12139750"/>
              <a:gd name="connsiteY2835" fmla="*/ 2124078 h 6858290"/>
              <a:gd name="connsiteX2836" fmla="*/ 5959154 w 12139750"/>
              <a:gd name="connsiteY2836" fmla="*/ 2123129 h 6858290"/>
              <a:gd name="connsiteX2837" fmla="*/ 398983 w 12139750"/>
              <a:gd name="connsiteY2837" fmla="*/ 2123125 h 6858290"/>
              <a:gd name="connsiteX2838" fmla="*/ 423236 w 12139750"/>
              <a:gd name="connsiteY2838" fmla="*/ 2145008 h 6858290"/>
              <a:gd name="connsiteX2839" fmla="*/ 427040 w 12139750"/>
              <a:gd name="connsiteY2839" fmla="*/ 2164035 h 6858290"/>
              <a:gd name="connsiteX2840" fmla="*/ 402311 w 12139750"/>
              <a:gd name="connsiteY2840" fmla="*/ 2202084 h 6858290"/>
              <a:gd name="connsiteX2841" fmla="*/ 61813 w 12139750"/>
              <a:gd name="connsiteY2841" fmla="*/ 2354287 h 6858290"/>
              <a:gd name="connsiteX2842" fmla="*/ 6649 w 12139750"/>
              <a:gd name="connsiteY2842" fmla="*/ 2333359 h 6858290"/>
              <a:gd name="connsiteX2843" fmla="*/ 27573 w 12139750"/>
              <a:gd name="connsiteY2843" fmla="*/ 2276282 h 6858290"/>
              <a:gd name="connsiteX2844" fmla="*/ 366169 w 12139750"/>
              <a:gd name="connsiteY2844" fmla="*/ 2124076 h 6858290"/>
              <a:gd name="connsiteX2845" fmla="*/ 398983 w 12139750"/>
              <a:gd name="connsiteY2845" fmla="*/ 2123125 h 6858290"/>
              <a:gd name="connsiteX2846" fmla="*/ 5396847 w 12139750"/>
              <a:gd name="connsiteY2846" fmla="*/ 2116229 h 6858290"/>
              <a:gd name="connsiteX2847" fmla="*/ 5438190 w 12139750"/>
              <a:gd name="connsiteY2847" fmla="*/ 2145804 h 6858290"/>
              <a:gd name="connsiteX2848" fmla="*/ 5442009 w 12139750"/>
              <a:gd name="connsiteY2848" fmla="*/ 2162858 h 6858290"/>
              <a:gd name="connsiteX2849" fmla="*/ 5411464 w 12139750"/>
              <a:gd name="connsiteY2849" fmla="*/ 2206436 h 6858290"/>
              <a:gd name="connsiteX2850" fmla="*/ 5069728 w 12139750"/>
              <a:gd name="connsiteY2850" fmla="*/ 2335278 h 6858290"/>
              <a:gd name="connsiteX2851" fmla="*/ 5008642 w 12139750"/>
              <a:gd name="connsiteY2851" fmla="*/ 2308745 h 6858290"/>
              <a:gd name="connsiteX2852" fmla="*/ 5037275 w 12139750"/>
              <a:gd name="connsiteY2852" fmla="*/ 2248119 h 6858290"/>
              <a:gd name="connsiteX2853" fmla="*/ 5379009 w 12139750"/>
              <a:gd name="connsiteY2853" fmla="*/ 2119278 h 6858290"/>
              <a:gd name="connsiteX2854" fmla="*/ 5396847 w 12139750"/>
              <a:gd name="connsiteY2854" fmla="*/ 2116229 h 6858290"/>
              <a:gd name="connsiteX2855" fmla="*/ 930370 w 12139750"/>
              <a:gd name="connsiteY2855" fmla="*/ 2116224 h 6858290"/>
              <a:gd name="connsiteX2856" fmla="*/ 972820 w 12139750"/>
              <a:gd name="connsiteY2856" fmla="*/ 2145802 h 6858290"/>
              <a:gd name="connsiteX2857" fmla="*/ 974730 w 12139750"/>
              <a:gd name="connsiteY2857" fmla="*/ 2162856 h 6858290"/>
              <a:gd name="connsiteX2858" fmla="*/ 944162 w 12139750"/>
              <a:gd name="connsiteY2858" fmla="*/ 2206434 h 6858290"/>
              <a:gd name="connsiteX2859" fmla="*/ 602179 w 12139750"/>
              <a:gd name="connsiteY2859" fmla="*/ 2335276 h 6858290"/>
              <a:gd name="connsiteX2860" fmla="*/ 542953 w 12139750"/>
              <a:gd name="connsiteY2860" fmla="*/ 2308745 h 6858290"/>
              <a:gd name="connsiteX2861" fmla="*/ 569700 w 12139750"/>
              <a:gd name="connsiteY2861" fmla="*/ 2248116 h 6858290"/>
              <a:gd name="connsiteX2862" fmla="*/ 911683 w 12139750"/>
              <a:gd name="connsiteY2862" fmla="*/ 2119276 h 6858290"/>
              <a:gd name="connsiteX2863" fmla="*/ 930370 w 12139750"/>
              <a:gd name="connsiteY2863" fmla="*/ 2116224 h 6858290"/>
              <a:gd name="connsiteX2864" fmla="*/ 4845975 w 12139750"/>
              <a:gd name="connsiteY2864" fmla="*/ 2110281 h 6858290"/>
              <a:gd name="connsiteX2865" fmla="*/ 4890814 w 12139750"/>
              <a:gd name="connsiteY2865" fmla="*/ 2147142 h 6858290"/>
              <a:gd name="connsiteX2866" fmla="*/ 4892723 w 12139750"/>
              <a:gd name="connsiteY2866" fmla="*/ 2162340 h 6858290"/>
              <a:gd name="connsiteX2867" fmla="*/ 4856445 w 12139750"/>
              <a:gd name="connsiteY2867" fmla="*/ 2209828 h 6858290"/>
              <a:gd name="connsiteX2868" fmla="*/ 4512821 w 12139750"/>
              <a:gd name="connsiteY2868" fmla="*/ 2316199 h 6858290"/>
              <a:gd name="connsiteX2869" fmla="*/ 4449824 w 12139750"/>
              <a:gd name="connsiteY2869" fmla="*/ 2283899 h 6858290"/>
              <a:gd name="connsiteX2870" fmla="*/ 4482278 w 12139750"/>
              <a:gd name="connsiteY2870" fmla="*/ 2219324 h 6858290"/>
              <a:gd name="connsiteX2871" fmla="*/ 4825898 w 12139750"/>
              <a:gd name="connsiteY2871" fmla="*/ 2112951 h 6858290"/>
              <a:gd name="connsiteX2872" fmla="*/ 4845975 w 12139750"/>
              <a:gd name="connsiteY2872" fmla="*/ 2110281 h 6858290"/>
              <a:gd name="connsiteX2873" fmla="*/ 1482447 w 12139750"/>
              <a:gd name="connsiteY2873" fmla="*/ 2110278 h 6858290"/>
              <a:gd name="connsiteX2874" fmla="*/ 1525280 w 12139750"/>
              <a:gd name="connsiteY2874" fmla="*/ 2147139 h 6858290"/>
              <a:gd name="connsiteX2875" fmla="*/ 1527184 w 12139750"/>
              <a:gd name="connsiteY2875" fmla="*/ 2162337 h 6858290"/>
              <a:gd name="connsiteX2876" fmla="*/ 1492917 w 12139750"/>
              <a:gd name="connsiteY2876" fmla="*/ 2209825 h 6858290"/>
              <a:gd name="connsiteX2877" fmla="*/ 1150255 w 12139750"/>
              <a:gd name="connsiteY2877" fmla="*/ 2316198 h 6858290"/>
              <a:gd name="connsiteX2878" fmla="*/ 1085530 w 12139750"/>
              <a:gd name="connsiteY2878" fmla="*/ 2283899 h 6858290"/>
              <a:gd name="connsiteX2879" fmla="*/ 1119796 w 12139750"/>
              <a:gd name="connsiteY2879" fmla="*/ 2219322 h 6858290"/>
              <a:gd name="connsiteX2880" fmla="*/ 1462458 w 12139750"/>
              <a:gd name="connsiteY2880" fmla="*/ 2112949 h 6858290"/>
              <a:gd name="connsiteX2881" fmla="*/ 1482447 w 12139750"/>
              <a:gd name="connsiteY2881" fmla="*/ 2110278 h 6858290"/>
              <a:gd name="connsiteX2882" fmla="*/ 4292467 w 12139750"/>
              <a:gd name="connsiteY2882" fmla="*/ 2106615 h 6858290"/>
              <a:gd name="connsiteX2883" fmla="*/ 4338673 w 12139750"/>
              <a:gd name="connsiteY2883" fmla="*/ 2147679 h 6858290"/>
              <a:gd name="connsiteX2884" fmla="*/ 4338673 w 12139750"/>
              <a:gd name="connsiteY2884" fmla="*/ 2160953 h 6858290"/>
              <a:gd name="connsiteX2885" fmla="*/ 4296646 w 12139750"/>
              <a:gd name="connsiteY2885" fmla="*/ 2214045 h 6858290"/>
              <a:gd name="connsiteX2886" fmla="*/ 3952805 w 12139750"/>
              <a:gd name="connsiteY2886" fmla="*/ 2297470 h 6858290"/>
              <a:gd name="connsiteX2887" fmla="*/ 3884033 w 12139750"/>
              <a:gd name="connsiteY2887" fmla="*/ 2257656 h 6858290"/>
              <a:gd name="connsiteX2888" fmla="*/ 3926060 w 12139750"/>
              <a:gd name="connsiteY2888" fmla="*/ 2191291 h 6858290"/>
              <a:gd name="connsiteX2889" fmla="*/ 4269902 w 12139750"/>
              <a:gd name="connsiteY2889" fmla="*/ 2107861 h 6858290"/>
              <a:gd name="connsiteX2890" fmla="*/ 4292467 w 12139750"/>
              <a:gd name="connsiteY2890" fmla="*/ 2106615 h 6858290"/>
              <a:gd name="connsiteX2891" fmla="*/ 2038710 w 12139750"/>
              <a:gd name="connsiteY2891" fmla="*/ 2106612 h 6858290"/>
              <a:gd name="connsiteX2892" fmla="*/ 2084082 w 12139750"/>
              <a:gd name="connsiteY2892" fmla="*/ 2147677 h 6858290"/>
              <a:gd name="connsiteX2893" fmla="*/ 2085991 w 12139750"/>
              <a:gd name="connsiteY2893" fmla="*/ 2160951 h 6858290"/>
              <a:gd name="connsiteX2894" fmla="*/ 2043989 w 12139750"/>
              <a:gd name="connsiteY2894" fmla="*/ 2214042 h 6858290"/>
              <a:gd name="connsiteX2895" fmla="*/ 1698467 w 12139750"/>
              <a:gd name="connsiteY2895" fmla="*/ 2297470 h 6858290"/>
              <a:gd name="connsiteX2896" fmla="*/ 1631654 w 12139750"/>
              <a:gd name="connsiteY2896" fmla="*/ 2257654 h 6858290"/>
              <a:gd name="connsiteX2897" fmla="*/ 1671742 w 12139750"/>
              <a:gd name="connsiteY2897" fmla="*/ 2191289 h 6858290"/>
              <a:gd name="connsiteX2898" fmla="*/ 2017264 w 12139750"/>
              <a:gd name="connsiteY2898" fmla="*/ 2107857 h 6858290"/>
              <a:gd name="connsiteX2899" fmla="*/ 2038710 w 12139750"/>
              <a:gd name="connsiteY2899" fmla="*/ 2106612 h 6858290"/>
              <a:gd name="connsiteX2900" fmla="*/ 3734742 w 12139750"/>
              <a:gd name="connsiteY2900" fmla="*/ 2101215 h 6858290"/>
              <a:gd name="connsiteX2901" fmla="*/ 3779871 w 12139750"/>
              <a:gd name="connsiteY2901" fmla="*/ 2149168 h 6858290"/>
              <a:gd name="connsiteX2902" fmla="*/ 3779871 w 12139750"/>
              <a:gd name="connsiteY2902" fmla="*/ 2158693 h 6858290"/>
              <a:gd name="connsiteX2903" fmla="*/ 3732116 w 12139750"/>
              <a:gd name="connsiteY2903" fmla="*/ 2217746 h 6858290"/>
              <a:gd name="connsiteX2904" fmla="*/ 3384469 w 12139750"/>
              <a:gd name="connsiteY2904" fmla="*/ 2278704 h 6858290"/>
              <a:gd name="connsiteX2905" fmla="*/ 3315701 w 12139750"/>
              <a:gd name="connsiteY2905" fmla="*/ 2231081 h 6858290"/>
              <a:gd name="connsiteX2906" fmla="*/ 3363456 w 12139750"/>
              <a:gd name="connsiteY2906" fmla="*/ 2160598 h 6858290"/>
              <a:gd name="connsiteX2907" fmla="*/ 3711103 w 12139750"/>
              <a:gd name="connsiteY2907" fmla="*/ 2101543 h 6858290"/>
              <a:gd name="connsiteX2908" fmla="*/ 3734742 w 12139750"/>
              <a:gd name="connsiteY2908" fmla="*/ 2101215 h 6858290"/>
              <a:gd name="connsiteX2909" fmla="*/ 2601252 w 12139750"/>
              <a:gd name="connsiteY2909" fmla="*/ 2101212 h 6858290"/>
              <a:gd name="connsiteX2910" fmla="*/ 2646380 w 12139750"/>
              <a:gd name="connsiteY2910" fmla="*/ 2149163 h 6858290"/>
              <a:gd name="connsiteX2911" fmla="*/ 2646380 w 12139750"/>
              <a:gd name="connsiteY2911" fmla="*/ 2158690 h 6858290"/>
              <a:gd name="connsiteX2912" fmla="*/ 2596716 w 12139750"/>
              <a:gd name="connsiteY2912" fmla="*/ 2217744 h 6858290"/>
              <a:gd name="connsiteX2913" fmla="*/ 2250972 w 12139750"/>
              <a:gd name="connsiteY2913" fmla="*/ 2278703 h 6858290"/>
              <a:gd name="connsiteX2914" fmla="*/ 2182206 w 12139750"/>
              <a:gd name="connsiteY2914" fmla="*/ 2231079 h 6858290"/>
              <a:gd name="connsiteX2915" fmla="*/ 2229960 w 12139750"/>
              <a:gd name="connsiteY2915" fmla="*/ 2160595 h 6858290"/>
              <a:gd name="connsiteX2916" fmla="*/ 2577613 w 12139750"/>
              <a:gd name="connsiteY2916" fmla="*/ 2101540 h 6858290"/>
              <a:gd name="connsiteX2917" fmla="*/ 2601252 w 12139750"/>
              <a:gd name="connsiteY2917" fmla="*/ 2101212 h 6858290"/>
              <a:gd name="connsiteX2918" fmla="*/ 3141099 w 12139750"/>
              <a:gd name="connsiteY2918" fmla="*/ 2094548 h 6858290"/>
              <a:gd name="connsiteX2919" fmla="*/ 3211538 w 12139750"/>
              <a:gd name="connsiteY2919" fmla="*/ 2151594 h 6858290"/>
              <a:gd name="connsiteX2920" fmla="*/ 3211538 w 12139750"/>
              <a:gd name="connsiteY2920" fmla="*/ 2159200 h 6858290"/>
              <a:gd name="connsiteX2921" fmla="*/ 3156330 w 12139750"/>
              <a:gd name="connsiteY2921" fmla="*/ 2221949 h 6858290"/>
              <a:gd name="connsiteX2922" fmla="*/ 2807941 w 12139750"/>
              <a:gd name="connsiteY2922" fmla="*/ 2259980 h 6858290"/>
              <a:gd name="connsiteX2923" fmla="*/ 2737501 w 12139750"/>
              <a:gd name="connsiteY2923" fmla="*/ 2202934 h 6858290"/>
              <a:gd name="connsiteX2924" fmla="*/ 2794614 w 12139750"/>
              <a:gd name="connsiteY2924" fmla="*/ 2132575 h 6858290"/>
              <a:gd name="connsiteX2925" fmla="*/ 3141099 w 12139750"/>
              <a:gd name="connsiteY2925" fmla="*/ 2094548 h 6858290"/>
              <a:gd name="connsiteX2926" fmla="*/ 9859129 w 12139750"/>
              <a:gd name="connsiteY2926" fmla="*/ 1839997 h 6858290"/>
              <a:gd name="connsiteX2927" fmla="*/ 9870549 w 12139750"/>
              <a:gd name="connsiteY2927" fmla="*/ 1845944 h 6858290"/>
              <a:gd name="connsiteX2928" fmla="*/ 9874356 w 12139750"/>
              <a:gd name="connsiteY2928" fmla="*/ 1857363 h 6858290"/>
              <a:gd name="connsiteX2929" fmla="*/ 9868646 w 12139750"/>
              <a:gd name="connsiteY2929" fmla="*/ 1868782 h 6858290"/>
              <a:gd name="connsiteX2930" fmla="*/ 9539364 w 12139750"/>
              <a:gd name="connsiteY2930" fmla="*/ 2165681 h 6858290"/>
              <a:gd name="connsiteX2931" fmla="*/ 9516524 w 12139750"/>
              <a:gd name="connsiteY2931" fmla="*/ 2165681 h 6858290"/>
              <a:gd name="connsiteX2932" fmla="*/ 9516524 w 12139750"/>
              <a:gd name="connsiteY2932" fmla="*/ 2142843 h 6858290"/>
              <a:gd name="connsiteX2933" fmla="*/ 9847709 w 12139750"/>
              <a:gd name="connsiteY2933" fmla="*/ 1844041 h 6858290"/>
              <a:gd name="connsiteX2934" fmla="*/ 9859129 w 12139750"/>
              <a:gd name="connsiteY2934" fmla="*/ 1839997 h 6858290"/>
              <a:gd name="connsiteX2935" fmla="*/ 9281354 w 12139750"/>
              <a:gd name="connsiteY2935" fmla="*/ 1833512 h 6858290"/>
              <a:gd name="connsiteX2936" fmla="*/ 9293964 w 12139750"/>
              <a:gd name="connsiteY2936" fmla="*/ 1841846 h 6858290"/>
              <a:gd name="connsiteX2937" fmla="*/ 9299674 w 12139750"/>
              <a:gd name="connsiteY2937" fmla="*/ 1853277 h 6858290"/>
              <a:gd name="connsiteX2938" fmla="*/ 9292060 w 12139750"/>
              <a:gd name="connsiteY2938" fmla="*/ 1868517 h 6858290"/>
              <a:gd name="connsiteX2939" fmla="*/ 8960867 w 12139750"/>
              <a:gd name="connsiteY2939" fmla="*/ 2146642 h 6858290"/>
              <a:gd name="connsiteX2940" fmla="*/ 8932316 w 12139750"/>
              <a:gd name="connsiteY2940" fmla="*/ 2144739 h 6858290"/>
              <a:gd name="connsiteX2941" fmla="*/ 8936123 w 12139750"/>
              <a:gd name="connsiteY2941" fmla="*/ 2116162 h 6858290"/>
              <a:gd name="connsiteX2942" fmla="*/ 9267316 w 12139750"/>
              <a:gd name="connsiteY2942" fmla="*/ 1838036 h 6858290"/>
              <a:gd name="connsiteX2943" fmla="*/ 9281354 w 12139750"/>
              <a:gd name="connsiteY2943" fmla="*/ 1833512 h 6858290"/>
              <a:gd name="connsiteX2944" fmla="*/ 10443580 w 12139750"/>
              <a:gd name="connsiteY2944" fmla="*/ 1833487 h 6858290"/>
              <a:gd name="connsiteX2945" fmla="*/ 10457916 w 12139750"/>
              <a:gd name="connsiteY2945" fmla="*/ 1841822 h 6858290"/>
              <a:gd name="connsiteX2946" fmla="*/ 10461739 w 12139750"/>
              <a:gd name="connsiteY2946" fmla="*/ 1853252 h 6858290"/>
              <a:gd name="connsiteX2947" fmla="*/ 10454093 w 12139750"/>
              <a:gd name="connsiteY2947" fmla="*/ 1868492 h 6858290"/>
              <a:gd name="connsiteX2948" fmla="*/ 10121491 w 12139750"/>
              <a:gd name="connsiteY2948" fmla="*/ 2146621 h 6858290"/>
              <a:gd name="connsiteX2949" fmla="*/ 10094730 w 12139750"/>
              <a:gd name="connsiteY2949" fmla="*/ 2144715 h 6858290"/>
              <a:gd name="connsiteX2950" fmla="*/ 10096642 w 12139750"/>
              <a:gd name="connsiteY2950" fmla="*/ 2116141 h 6858290"/>
              <a:gd name="connsiteX2951" fmla="*/ 10429243 w 12139750"/>
              <a:gd name="connsiteY2951" fmla="*/ 1838012 h 6858290"/>
              <a:gd name="connsiteX2952" fmla="*/ 10443580 w 12139750"/>
              <a:gd name="connsiteY2952" fmla="*/ 1833487 h 6858290"/>
              <a:gd name="connsiteX2953" fmla="*/ 8711664 w 12139750"/>
              <a:gd name="connsiteY2953" fmla="*/ 1828739 h 6858290"/>
              <a:gd name="connsiteX2954" fmla="*/ 8727194 w 12139750"/>
              <a:gd name="connsiteY2954" fmla="*/ 1837048 h 6858290"/>
              <a:gd name="connsiteX2955" fmla="*/ 8732928 w 12139750"/>
              <a:gd name="connsiteY2955" fmla="*/ 1852242 h 6858290"/>
              <a:gd name="connsiteX2956" fmla="*/ 8723371 w 12139750"/>
              <a:gd name="connsiteY2956" fmla="*/ 1871234 h 6858290"/>
              <a:gd name="connsiteX2957" fmla="*/ 8390798 w 12139750"/>
              <a:gd name="connsiteY2957" fmla="*/ 2127610 h 6858290"/>
              <a:gd name="connsiteX2958" fmla="*/ 8356393 w 12139750"/>
              <a:gd name="connsiteY2958" fmla="*/ 2123813 h 6858290"/>
              <a:gd name="connsiteX2959" fmla="*/ 8360216 w 12139750"/>
              <a:gd name="connsiteY2959" fmla="*/ 2089634 h 6858290"/>
              <a:gd name="connsiteX2960" fmla="*/ 8694701 w 12139750"/>
              <a:gd name="connsiteY2960" fmla="*/ 1833250 h 6858290"/>
              <a:gd name="connsiteX2961" fmla="*/ 8711664 w 12139750"/>
              <a:gd name="connsiteY2961" fmla="*/ 1828739 h 6858290"/>
              <a:gd name="connsiteX2962" fmla="*/ 11021508 w 12139750"/>
              <a:gd name="connsiteY2962" fmla="*/ 1828712 h 6858290"/>
              <a:gd name="connsiteX2963" fmla="*/ 11037038 w 12139750"/>
              <a:gd name="connsiteY2963" fmla="*/ 1837021 h 6858290"/>
              <a:gd name="connsiteX2964" fmla="*/ 11042772 w 12139750"/>
              <a:gd name="connsiteY2964" fmla="*/ 1852214 h 6858290"/>
              <a:gd name="connsiteX2965" fmla="*/ 11033215 w 12139750"/>
              <a:gd name="connsiteY2965" fmla="*/ 1871206 h 6858290"/>
              <a:gd name="connsiteX2966" fmla="*/ 10698730 w 12139750"/>
              <a:gd name="connsiteY2966" fmla="*/ 2127592 h 6858290"/>
              <a:gd name="connsiteX2967" fmla="*/ 10666237 w 12139750"/>
              <a:gd name="connsiteY2967" fmla="*/ 2123794 h 6858290"/>
              <a:gd name="connsiteX2968" fmla="*/ 10670060 w 12139750"/>
              <a:gd name="connsiteY2968" fmla="*/ 2089609 h 6858290"/>
              <a:gd name="connsiteX2969" fmla="*/ 11004545 w 12139750"/>
              <a:gd name="connsiteY2969" fmla="*/ 1833223 h 6858290"/>
              <a:gd name="connsiteX2970" fmla="*/ 11021508 w 12139750"/>
              <a:gd name="connsiteY2970" fmla="*/ 1828712 h 6858290"/>
              <a:gd name="connsiteX2971" fmla="*/ 8148424 w 12139750"/>
              <a:gd name="connsiteY2971" fmla="*/ 1822231 h 6858290"/>
              <a:gd name="connsiteX2972" fmla="*/ 8166804 w 12139750"/>
              <a:gd name="connsiteY2972" fmla="*/ 1832924 h 6858290"/>
              <a:gd name="connsiteX2973" fmla="*/ 8172533 w 12139750"/>
              <a:gd name="connsiteY2973" fmla="*/ 1850033 h 6858290"/>
              <a:gd name="connsiteX2974" fmla="*/ 8161075 w 12139750"/>
              <a:gd name="connsiteY2974" fmla="*/ 1872844 h 6858290"/>
              <a:gd name="connsiteX2975" fmla="*/ 7824980 w 12139750"/>
              <a:gd name="connsiteY2975" fmla="*/ 2108561 h 6858290"/>
              <a:gd name="connsiteX2976" fmla="*/ 7786788 w 12139750"/>
              <a:gd name="connsiteY2976" fmla="*/ 2100956 h 6858290"/>
              <a:gd name="connsiteX2977" fmla="*/ 7792517 w 12139750"/>
              <a:gd name="connsiteY2977" fmla="*/ 2062938 h 6858290"/>
              <a:gd name="connsiteX2978" fmla="*/ 8128611 w 12139750"/>
              <a:gd name="connsiteY2978" fmla="*/ 1827221 h 6858290"/>
              <a:gd name="connsiteX2979" fmla="*/ 8148424 w 12139750"/>
              <a:gd name="connsiteY2979" fmla="*/ 1822231 h 6858290"/>
              <a:gd name="connsiteX2980" fmla="*/ 11593502 w 12139750"/>
              <a:gd name="connsiteY2980" fmla="*/ 1822227 h 6858290"/>
              <a:gd name="connsiteX2981" fmla="*/ 11612061 w 12139750"/>
              <a:gd name="connsiteY2981" fmla="*/ 1832920 h 6858290"/>
              <a:gd name="connsiteX2982" fmla="*/ 11615868 w 12139750"/>
              <a:gd name="connsiteY2982" fmla="*/ 1850029 h 6858290"/>
              <a:gd name="connsiteX2983" fmla="*/ 11604447 w 12139750"/>
              <a:gd name="connsiteY2983" fmla="*/ 1872840 h 6858290"/>
              <a:gd name="connsiteX2984" fmla="*/ 11271337 w 12139750"/>
              <a:gd name="connsiteY2984" fmla="*/ 2108557 h 6858290"/>
              <a:gd name="connsiteX2985" fmla="*/ 11233267 w 12139750"/>
              <a:gd name="connsiteY2985" fmla="*/ 2100952 h 6858290"/>
              <a:gd name="connsiteX2986" fmla="*/ 11238978 w 12139750"/>
              <a:gd name="connsiteY2986" fmla="*/ 2062934 h 6858290"/>
              <a:gd name="connsiteX2987" fmla="*/ 11572088 w 12139750"/>
              <a:gd name="connsiteY2987" fmla="*/ 1827217 h 6858290"/>
              <a:gd name="connsiteX2988" fmla="*/ 11593502 w 12139750"/>
              <a:gd name="connsiteY2988" fmla="*/ 1822227 h 6858290"/>
              <a:gd name="connsiteX2989" fmla="*/ 12139750 w 12139750"/>
              <a:gd name="connsiteY2989" fmla="*/ 1819296 h 6858290"/>
              <a:gd name="connsiteX2990" fmla="*/ 12139750 w 12139750"/>
              <a:gd name="connsiteY2990" fmla="*/ 1893845 h 6858290"/>
              <a:gd name="connsiteX2991" fmla="*/ 11834405 w 12139750"/>
              <a:gd name="connsiteY2991" fmla="*/ 2090726 h 6858290"/>
              <a:gd name="connsiteX2992" fmla="*/ 11790512 w 12139750"/>
              <a:gd name="connsiteY2992" fmla="*/ 2081169 h 6858290"/>
              <a:gd name="connsiteX2993" fmla="*/ 11800054 w 12139750"/>
              <a:gd name="connsiteY2993" fmla="*/ 2037205 h 6858290"/>
              <a:gd name="connsiteX2994" fmla="*/ 12135933 w 12139750"/>
              <a:gd name="connsiteY2994" fmla="*/ 1821208 h 6858290"/>
              <a:gd name="connsiteX2995" fmla="*/ 12139750 w 12139750"/>
              <a:gd name="connsiteY2995" fmla="*/ 1819296 h 6858290"/>
              <a:gd name="connsiteX2996" fmla="*/ 7591461 w 12139750"/>
              <a:gd name="connsiteY2996" fmla="*/ 1816389 h 6858290"/>
              <a:gd name="connsiteX2997" fmla="*/ 7611195 w 12139750"/>
              <a:gd name="connsiteY2997" fmla="*/ 1830500 h 6858290"/>
              <a:gd name="connsiteX2998" fmla="*/ 7616901 w 12139750"/>
              <a:gd name="connsiteY2998" fmla="*/ 1847721 h 6858290"/>
              <a:gd name="connsiteX2999" fmla="*/ 7601685 w 12139750"/>
              <a:gd name="connsiteY2999" fmla="*/ 1874509 h 6858290"/>
              <a:gd name="connsiteX3000" fmla="*/ 7266927 w 12139750"/>
              <a:gd name="connsiteY3000" fmla="*/ 2090722 h 6858290"/>
              <a:gd name="connsiteX3001" fmla="*/ 7223180 w 12139750"/>
              <a:gd name="connsiteY3001" fmla="*/ 2081155 h 6858290"/>
              <a:gd name="connsiteX3002" fmla="*/ 7232690 w 12139750"/>
              <a:gd name="connsiteY3002" fmla="*/ 2037147 h 6858290"/>
              <a:gd name="connsiteX3003" fmla="*/ 7567448 w 12139750"/>
              <a:gd name="connsiteY3003" fmla="*/ 1820933 h 6858290"/>
              <a:gd name="connsiteX3004" fmla="*/ 7591461 w 12139750"/>
              <a:gd name="connsiteY3004" fmla="*/ 1816389 h 6858290"/>
              <a:gd name="connsiteX3005" fmla="*/ 7042453 w 12139750"/>
              <a:gd name="connsiteY3005" fmla="*/ 1811445 h 6858290"/>
              <a:gd name="connsiteX3006" fmla="*/ 7063473 w 12139750"/>
              <a:gd name="connsiteY3006" fmla="*/ 1827876 h 6858290"/>
              <a:gd name="connsiteX3007" fmla="*/ 7069206 w 12139750"/>
              <a:gd name="connsiteY3007" fmla="*/ 1845021 h 6858290"/>
              <a:gd name="connsiteX3008" fmla="*/ 7052008 w 12139750"/>
              <a:gd name="connsiteY3008" fmla="*/ 1875501 h 6858290"/>
              <a:gd name="connsiteX3009" fmla="*/ 6713777 w 12139750"/>
              <a:gd name="connsiteY3009" fmla="*/ 2071714 h 6858290"/>
              <a:gd name="connsiteX3010" fmla="*/ 6666004 w 12139750"/>
              <a:gd name="connsiteY3010" fmla="*/ 2058379 h 6858290"/>
              <a:gd name="connsiteX3011" fmla="*/ 6679381 w 12139750"/>
              <a:gd name="connsiteY3011" fmla="*/ 2010756 h 6858290"/>
              <a:gd name="connsiteX3012" fmla="*/ 7015700 w 12139750"/>
              <a:gd name="connsiteY3012" fmla="*/ 1816445 h 6858290"/>
              <a:gd name="connsiteX3013" fmla="*/ 7042453 w 12139750"/>
              <a:gd name="connsiteY3013" fmla="*/ 1811445 h 6858290"/>
              <a:gd name="connsiteX3014" fmla="*/ 6499936 w 12139750"/>
              <a:gd name="connsiteY3014" fmla="*/ 1806065 h 6858290"/>
              <a:gd name="connsiteX3015" fmla="*/ 6522132 w 12139750"/>
              <a:gd name="connsiteY3015" fmla="*/ 1825400 h 6858290"/>
              <a:gd name="connsiteX3016" fmla="*/ 6527860 w 12139750"/>
              <a:gd name="connsiteY3016" fmla="*/ 1842587 h 6858290"/>
              <a:gd name="connsiteX3017" fmla="*/ 6506857 w 12139750"/>
              <a:gd name="connsiteY3017" fmla="*/ 1876960 h 6858290"/>
              <a:gd name="connsiteX3018" fmla="*/ 6166999 w 12139750"/>
              <a:gd name="connsiteY3018" fmla="*/ 2052641 h 6858290"/>
              <a:gd name="connsiteX3019" fmla="*/ 6115448 w 12139750"/>
              <a:gd name="connsiteY3019" fmla="*/ 2035456 h 6858290"/>
              <a:gd name="connsiteX3020" fmla="*/ 6130722 w 12139750"/>
              <a:gd name="connsiteY3020" fmla="*/ 1983897 h 6858290"/>
              <a:gd name="connsiteX3021" fmla="*/ 6470580 w 12139750"/>
              <a:gd name="connsiteY3021" fmla="*/ 1808213 h 6858290"/>
              <a:gd name="connsiteX3022" fmla="*/ 6499936 w 12139750"/>
              <a:gd name="connsiteY3022" fmla="*/ 1806065 h 6858290"/>
              <a:gd name="connsiteX3023" fmla="*/ 5958440 w 12139750"/>
              <a:gd name="connsiteY3023" fmla="*/ 1800931 h 6858290"/>
              <a:gd name="connsiteX3024" fmla="*/ 5982710 w 12139750"/>
              <a:gd name="connsiteY3024" fmla="*/ 1822950 h 6858290"/>
              <a:gd name="connsiteX3025" fmla="*/ 5986518 w 12139750"/>
              <a:gd name="connsiteY3025" fmla="*/ 1840183 h 6858290"/>
              <a:gd name="connsiteX3026" fmla="*/ 5961771 w 12139750"/>
              <a:gd name="connsiteY3026" fmla="*/ 1878478 h 6858290"/>
              <a:gd name="connsiteX3027" fmla="*/ 5622934 w 12139750"/>
              <a:gd name="connsiteY3027" fmla="*/ 2033566 h 6858290"/>
              <a:gd name="connsiteX3028" fmla="*/ 5565827 w 12139750"/>
              <a:gd name="connsiteY3028" fmla="*/ 2012506 h 6858290"/>
              <a:gd name="connsiteX3029" fmla="*/ 5586767 w 12139750"/>
              <a:gd name="connsiteY3029" fmla="*/ 1955065 h 6858290"/>
              <a:gd name="connsiteX3030" fmla="*/ 5925602 w 12139750"/>
              <a:gd name="connsiteY3030" fmla="*/ 1801889 h 6858290"/>
              <a:gd name="connsiteX3031" fmla="*/ 5958440 w 12139750"/>
              <a:gd name="connsiteY3031" fmla="*/ 1800931 h 6858290"/>
              <a:gd name="connsiteX3032" fmla="*/ 398962 w 12139750"/>
              <a:gd name="connsiteY3032" fmla="*/ 1800922 h 6858290"/>
              <a:gd name="connsiteX3033" fmla="*/ 423233 w 12139750"/>
              <a:gd name="connsiteY3033" fmla="*/ 1822941 h 6858290"/>
              <a:gd name="connsiteX3034" fmla="*/ 427041 w 12139750"/>
              <a:gd name="connsiteY3034" fmla="*/ 1840174 h 6858290"/>
              <a:gd name="connsiteX3035" fmla="*/ 400390 w 12139750"/>
              <a:gd name="connsiteY3035" fmla="*/ 1878468 h 6858290"/>
              <a:gd name="connsiteX3036" fmla="*/ 61546 w 12139750"/>
              <a:gd name="connsiteY3036" fmla="*/ 2033558 h 6858290"/>
              <a:gd name="connsiteX3037" fmla="*/ 6342 w 12139750"/>
              <a:gd name="connsiteY3037" fmla="*/ 2012496 h 6858290"/>
              <a:gd name="connsiteX3038" fmla="*/ 27281 w 12139750"/>
              <a:gd name="connsiteY3038" fmla="*/ 1955055 h 6858290"/>
              <a:gd name="connsiteX3039" fmla="*/ 366125 w 12139750"/>
              <a:gd name="connsiteY3039" fmla="*/ 1801879 h 6858290"/>
              <a:gd name="connsiteX3040" fmla="*/ 398962 w 12139750"/>
              <a:gd name="connsiteY3040" fmla="*/ 1800922 h 6858290"/>
              <a:gd name="connsiteX3041" fmla="*/ 5395741 w 12139750"/>
              <a:gd name="connsiteY3041" fmla="*/ 1792156 h 6858290"/>
              <a:gd name="connsiteX3042" fmla="*/ 5438189 w 12139750"/>
              <a:gd name="connsiteY3042" fmla="*/ 1822160 h 6858290"/>
              <a:gd name="connsiteX3043" fmla="*/ 5442010 w 12139750"/>
              <a:gd name="connsiteY3043" fmla="*/ 1839306 h 6858290"/>
              <a:gd name="connsiteX3044" fmla="*/ 5411443 w 12139750"/>
              <a:gd name="connsiteY3044" fmla="*/ 1883121 h 6858290"/>
              <a:gd name="connsiteX3045" fmla="*/ 5069457 w 12139750"/>
              <a:gd name="connsiteY3045" fmla="*/ 2014565 h 6858290"/>
              <a:gd name="connsiteX3046" fmla="*/ 5010238 w 12139750"/>
              <a:gd name="connsiteY3046" fmla="*/ 1989801 h 6858290"/>
              <a:gd name="connsiteX3047" fmla="*/ 5036982 w 12139750"/>
              <a:gd name="connsiteY3047" fmla="*/ 1928841 h 6858290"/>
              <a:gd name="connsiteX3048" fmla="*/ 5377053 w 12139750"/>
              <a:gd name="connsiteY3048" fmla="*/ 1795490 h 6858290"/>
              <a:gd name="connsiteX3049" fmla="*/ 5395741 w 12139750"/>
              <a:gd name="connsiteY3049" fmla="*/ 1792156 h 6858290"/>
              <a:gd name="connsiteX3050" fmla="*/ 929266 w 12139750"/>
              <a:gd name="connsiteY3050" fmla="*/ 1792145 h 6858290"/>
              <a:gd name="connsiteX3051" fmla="*/ 970909 w 12139750"/>
              <a:gd name="connsiteY3051" fmla="*/ 1822149 h 6858290"/>
              <a:gd name="connsiteX3052" fmla="*/ 974730 w 12139750"/>
              <a:gd name="connsiteY3052" fmla="*/ 1839294 h 6858290"/>
              <a:gd name="connsiteX3053" fmla="*/ 946072 w 12139750"/>
              <a:gd name="connsiteY3053" fmla="*/ 1883109 h 6858290"/>
              <a:gd name="connsiteX3054" fmla="*/ 604089 w 12139750"/>
              <a:gd name="connsiteY3054" fmla="*/ 2014554 h 6858290"/>
              <a:gd name="connsiteX3055" fmla="*/ 542953 w 12139750"/>
              <a:gd name="connsiteY3055" fmla="*/ 1989789 h 6858290"/>
              <a:gd name="connsiteX3056" fmla="*/ 569700 w 12139750"/>
              <a:gd name="connsiteY3056" fmla="*/ 1928829 h 6858290"/>
              <a:gd name="connsiteX3057" fmla="*/ 911683 w 12139750"/>
              <a:gd name="connsiteY3057" fmla="*/ 1795478 h 6858290"/>
              <a:gd name="connsiteX3058" fmla="*/ 929266 w 12139750"/>
              <a:gd name="connsiteY3058" fmla="*/ 1792145 h 6858290"/>
              <a:gd name="connsiteX3059" fmla="*/ 4845291 w 12139750"/>
              <a:gd name="connsiteY3059" fmla="*/ 1786421 h 6858290"/>
              <a:gd name="connsiteX3060" fmla="*/ 4889232 w 12139750"/>
              <a:gd name="connsiteY3060" fmla="*/ 1819733 h 6858290"/>
              <a:gd name="connsiteX3061" fmla="*/ 4891138 w 12139750"/>
              <a:gd name="connsiteY3061" fmla="*/ 1836927 h 6858290"/>
              <a:gd name="connsiteX3062" fmla="*/ 4856840 w 12139750"/>
              <a:gd name="connsiteY3062" fmla="*/ 1884687 h 6858290"/>
              <a:gd name="connsiteX3063" fmla="*/ 4515847 w 12139750"/>
              <a:gd name="connsiteY3063" fmla="*/ 1997399 h 6858290"/>
              <a:gd name="connsiteX3064" fmla="*/ 4451077 w 12139750"/>
              <a:gd name="connsiteY3064" fmla="*/ 1964923 h 6858290"/>
              <a:gd name="connsiteX3065" fmla="*/ 4483463 w 12139750"/>
              <a:gd name="connsiteY3065" fmla="*/ 1901881 h 6858290"/>
              <a:gd name="connsiteX3066" fmla="*/ 4826356 w 12139750"/>
              <a:gd name="connsiteY3066" fmla="*/ 1789167 h 6858290"/>
              <a:gd name="connsiteX3067" fmla="*/ 4845291 w 12139750"/>
              <a:gd name="connsiteY3067" fmla="*/ 1786421 h 6858290"/>
              <a:gd name="connsiteX3068" fmla="*/ 1480544 w 12139750"/>
              <a:gd name="connsiteY3068" fmla="*/ 1786407 h 6858290"/>
              <a:gd name="connsiteX3069" fmla="*/ 1523376 w 12139750"/>
              <a:gd name="connsiteY3069" fmla="*/ 1819719 h 6858290"/>
              <a:gd name="connsiteX3070" fmla="*/ 1527184 w 12139750"/>
              <a:gd name="connsiteY3070" fmla="*/ 1836913 h 6858290"/>
              <a:gd name="connsiteX3071" fmla="*/ 1492918 w 12139750"/>
              <a:gd name="connsiteY3071" fmla="*/ 1884672 h 6858290"/>
              <a:gd name="connsiteX3072" fmla="*/ 1150255 w 12139750"/>
              <a:gd name="connsiteY3072" fmla="*/ 1997385 h 6858290"/>
              <a:gd name="connsiteX3073" fmla="*/ 1087434 w 12139750"/>
              <a:gd name="connsiteY3073" fmla="*/ 1964908 h 6858290"/>
              <a:gd name="connsiteX3074" fmla="*/ 1119796 w 12139750"/>
              <a:gd name="connsiteY3074" fmla="*/ 1901866 h 6858290"/>
              <a:gd name="connsiteX3075" fmla="*/ 1460555 w 12139750"/>
              <a:gd name="connsiteY3075" fmla="*/ 1789153 h 6858290"/>
              <a:gd name="connsiteX3076" fmla="*/ 1480544 w 12139750"/>
              <a:gd name="connsiteY3076" fmla="*/ 1786407 h 6858290"/>
              <a:gd name="connsiteX3077" fmla="*/ 4289928 w 12139750"/>
              <a:gd name="connsiteY3077" fmla="*/ 1779643 h 6858290"/>
              <a:gd name="connsiteX3078" fmla="*/ 4333596 w 12139750"/>
              <a:gd name="connsiteY3078" fmla="*/ 1819260 h 6858290"/>
              <a:gd name="connsiteX3079" fmla="*/ 4335502 w 12139750"/>
              <a:gd name="connsiteY3079" fmla="*/ 1834591 h 6858290"/>
              <a:gd name="connsiteX3080" fmla="*/ 4295494 w 12139750"/>
              <a:gd name="connsiteY3080" fmla="*/ 1886336 h 6858290"/>
              <a:gd name="connsiteX3081" fmla="*/ 3952611 w 12139750"/>
              <a:gd name="connsiteY3081" fmla="*/ 1978325 h 6858290"/>
              <a:gd name="connsiteX3082" fmla="*/ 3885933 w 12139750"/>
              <a:gd name="connsiteY3082" fmla="*/ 1939996 h 6858290"/>
              <a:gd name="connsiteX3083" fmla="*/ 3924035 w 12139750"/>
              <a:gd name="connsiteY3083" fmla="*/ 1872921 h 6858290"/>
              <a:gd name="connsiteX3084" fmla="*/ 4268823 w 12139750"/>
              <a:gd name="connsiteY3084" fmla="*/ 1780930 h 6858290"/>
              <a:gd name="connsiteX3085" fmla="*/ 4289928 w 12139750"/>
              <a:gd name="connsiteY3085" fmla="*/ 1779643 h 6858290"/>
              <a:gd name="connsiteX3086" fmla="*/ 2035631 w 12139750"/>
              <a:gd name="connsiteY3086" fmla="*/ 1779626 h 6858290"/>
              <a:gd name="connsiteX3087" fmla="*/ 2080910 w 12139750"/>
              <a:gd name="connsiteY3087" fmla="*/ 1819243 h 6858290"/>
              <a:gd name="connsiteX3088" fmla="*/ 2082815 w 12139750"/>
              <a:gd name="connsiteY3088" fmla="*/ 1834574 h 6858290"/>
              <a:gd name="connsiteX3089" fmla="*/ 2042805 w 12139750"/>
              <a:gd name="connsiteY3089" fmla="*/ 1886319 h 6858290"/>
              <a:gd name="connsiteX3090" fmla="*/ 1699901 w 12139750"/>
              <a:gd name="connsiteY3090" fmla="*/ 1978307 h 6858290"/>
              <a:gd name="connsiteX3091" fmla="*/ 1633225 w 12139750"/>
              <a:gd name="connsiteY3091" fmla="*/ 1939979 h 6858290"/>
              <a:gd name="connsiteX3092" fmla="*/ 1671326 w 12139750"/>
              <a:gd name="connsiteY3092" fmla="*/ 1872903 h 6858290"/>
              <a:gd name="connsiteX3093" fmla="*/ 2014230 w 12139750"/>
              <a:gd name="connsiteY3093" fmla="*/ 1780914 h 6858290"/>
              <a:gd name="connsiteX3094" fmla="*/ 2035631 w 12139750"/>
              <a:gd name="connsiteY3094" fmla="*/ 1779626 h 6858290"/>
              <a:gd name="connsiteX3095" fmla="*/ 3732186 w 12139750"/>
              <a:gd name="connsiteY3095" fmla="*/ 1775478 h 6858290"/>
              <a:gd name="connsiteX3096" fmla="*/ 3778298 w 12139750"/>
              <a:gd name="connsiteY3096" fmla="*/ 1820020 h 6858290"/>
              <a:gd name="connsiteX3097" fmla="*/ 3778298 w 12139750"/>
              <a:gd name="connsiteY3097" fmla="*/ 1831468 h 6858290"/>
              <a:gd name="connsiteX3098" fmla="*/ 3732542 w 12139750"/>
              <a:gd name="connsiteY3098" fmla="*/ 1888710 h 6858290"/>
              <a:gd name="connsiteX3099" fmla="*/ 3387515 w 12139750"/>
              <a:gd name="connsiteY3099" fmla="*/ 1959308 h 6858290"/>
              <a:gd name="connsiteX3100" fmla="*/ 3318884 w 12139750"/>
              <a:gd name="connsiteY3100" fmla="*/ 1915423 h 6858290"/>
              <a:gd name="connsiteX3101" fmla="*/ 3364636 w 12139750"/>
              <a:gd name="connsiteY3101" fmla="*/ 1846733 h 6858290"/>
              <a:gd name="connsiteX3102" fmla="*/ 3709666 w 12139750"/>
              <a:gd name="connsiteY3102" fmla="*/ 1776134 h 6858290"/>
              <a:gd name="connsiteX3103" fmla="*/ 3732186 w 12139750"/>
              <a:gd name="connsiteY3103" fmla="*/ 1775478 h 6858290"/>
              <a:gd name="connsiteX3104" fmla="*/ 2597096 w 12139750"/>
              <a:gd name="connsiteY3104" fmla="*/ 1775459 h 6858290"/>
              <a:gd name="connsiteX3105" fmla="*/ 2643205 w 12139750"/>
              <a:gd name="connsiteY3105" fmla="*/ 1820000 h 6858290"/>
              <a:gd name="connsiteX3106" fmla="*/ 2643205 w 12139750"/>
              <a:gd name="connsiteY3106" fmla="*/ 1831449 h 6858290"/>
              <a:gd name="connsiteX3107" fmla="*/ 2597454 w 12139750"/>
              <a:gd name="connsiteY3107" fmla="*/ 1888690 h 6858290"/>
              <a:gd name="connsiteX3108" fmla="*/ 2252409 w 12139750"/>
              <a:gd name="connsiteY3108" fmla="*/ 1959288 h 6858290"/>
              <a:gd name="connsiteX3109" fmla="*/ 2183781 w 12139750"/>
              <a:gd name="connsiteY3109" fmla="*/ 1915403 h 6858290"/>
              <a:gd name="connsiteX3110" fmla="*/ 2229533 w 12139750"/>
              <a:gd name="connsiteY3110" fmla="*/ 1846713 h 6858290"/>
              <a:gd name="connsiteX3111" fmla="*/ 2574577 w 12139750"/>
              <a:gd name="connsiteY3111" fmla="*/ 1776115 h 6858290"/>
              <a:gd name="connsiteX3112" fmla="*/ 2597096 w 12139750"/>
              <a:gd name="connsiteY3112" fmla="*/ 1775459 h 6858290"/>
              <a:gd name="connsiteX3113" fmla="*/ 3139439 w 12139750"/>
              <a:gd name="connsiteY3113" fmla="*/ 1767857 h 6858290"/>
              <a:gd name="connsiteX3114" fmla="*/ 3209972 w 12139750"/>
              <a:gd name="connsiteY3114" fmla="*/ 1819203 h 6858290"/>
              <a:gd name="connsiteX3115" fmla="*/ 3209972 w 12139750"/>
              <a:gd name="connsiteY3115" fmla="*/ 1828711 h 6858290"/>
              <a:gd name="connsiteX3116" fmla="*/ 3156597 w 12139750"/>
              <a:gd name="connsiteY3116" fmla="*/ 1889566 h 6858290"/>
              <a:gd name="connsiteX3117" fmla="*/ 2811555 w 12139750"/>
              <a:gd name="connsiteY3117" fmla="*/ 1939010 h 6858290"/>
              <a:gd name="connsiteX3118" fmla="*/ 2741022 w 12139750"/>
              <a:gd name="connsiteY3118" fmla="*/ 1887665 h 6858290"/>
              <a:gd name="connsiteX3119" fmla="*/ 2792492 w 12139750"/>
              <a:gd name="connsiteY3119" fmla="*/ 1819203 h 6858290"/>
              <a:gd name="connsiteX3120" fmla="*/ 3139439 w 12139750"/>
              <a:gd name="connsiteY3120" fmla="*/ 1767857 h 6858290"/>
              <a:gd name="connsiteX3121" fmla="*/ 9859195 w 12139750"/>
              <a:gd name="connsiteY3121" fmla="*/ 1522734 h 6858290"/>
              <a:gd name="connsiteX3122" fmla="*/ 9871816 w 12139750"/>
              <a:gd name="connsiteY3122" fmla="*/ 1530346 h 6858290"/>
              <a:gd name="connsiteX3123" fmla="*/ 9877531 w 12139750"/>
              <a:gd name="connsiteY3123" fmla="*/ 1541765 h 6858290"/>
              <a:gd name="connsiteX3124" fmla="*/ 9869911 w 12139750"/>
              <a:gd name="connsiteY3124" fmla="*/ 1556990 h 6858290"/>
              <a:gd name="connsiteX3125" fmla="*/ 9538436 w 12139750"/>
              <a:gd name="connsiteY3125" fmla="*/ 1838657 h 6858290"/>
              <a:gd name="connsiteX3126" fmla="*/ 9511766 w 12139750"/>
              <a:gd name="connsiteY3126" fmla="*/ 1836754 h 6858290"/>
              <a:gd name="connsiteX3127" fmla="*/ 9513671 w 12139750"/>
              <a:gd name="connsiteY3127" fmla="*/ 1810110 h 6858290"/>
              <a:gd name="connsiteX3128" fmla="*/ 9845146 w 12139750"/>
              <a:gd name="connsiteY3128" fmla="*/ 1526540 h 6858290"/>
              <a:gd name="connsiteX3129" fmla="*/ 9859195 w 12139750"/>
              <a:gd name="connsiteY3129" fmla="*/ 1522734 h 6858290"/>
              <a:gd name="connsiteX3130" fmla="*/ 9283544 w 12139750"/>
              <a:gd name="connsiteY3130" fmla="*/ 1516005 h 6858290"/>
              <a:gd name="connsiteX3131" fmla="*/ 9299036 w 12139750"/>
              <a:gd name="connsiteY3131" fmla="*/ 1524331 h 6858290"/>
              <a:gd name="connsiteX3132" fmla="*/ 9302849 w 12139750"/>
              <a:gd name="connsiteY3132" fmla="*/ 1537653 h 6858290"/>
              <a:gd name="connsiteX3133" fmla="*/ 9295223 w 12139750"/>
              <a:gd name="connsiteY3133" fmla="*/ 1554780 h 6858290"/>
              <a:gd name="connsiteX3134" fmla="*/ 8961563 w 12139750"/>
              <a:gd name="connsiteY3134" fmla="*/ 1821217 h 6858290"/>
              <a:gd name="connsiteX3135" fmla="*/ 8931057 w 12139750"/>
              <a:gd name="connsiteY3135" fmla="*/ 1817411 h 6858290"/>
              <a:gd name="connsiteX3136" fmla="*/ 8934871 w 12139750"/>
              <a:gd name="connsiteY3136" fmla="*/ 1785058 h 6858290"/>
              <a:gd name="connsiteX3137" fmla="*/ 9266623 w 12139750"/>
              <a:gd name="connsiteY3137" fmla="*/ 1520524 h 6858290"/>
              <a:gd name="connsiteX3138" fmla="*/ 9283544 w 12139750"/>
              <a:gd name="connsiteY3138" fmla="*/ 1516005 h 6858290"/>
              <a:gd name="connsiteX3139" fmla="*/ 10444673 w 12139750"/>
              <a:gd name="connsiteY3139" fmla="*/ 1515983 h 6858290"/>
              <a:gd name="connsiteX3140" fmla="*/ 10459199 w 12139750"/>
              <a:gd name="connsiteY3140" fmla="*/ 1524309 h 6858290"/>
              <a:gd name="connsiteX3141" fmla="*/ 10464914 w 12139750"/>
              <a:gd name="connsiteY3141" fmla="*/ 1537630 h 6858290"/>
              <a:gd name="connsiteX3142" fmla="*/ 10455389 w 12139750"/>
              <a:gd name="connsiteY3142" fmla="*/ 1554759 h 6858290"/>
              <a:gd name="connsiteX3143" fmla="*/ 10123915 w 12139750"/>
              <a:gd name="connsiteY3143" fmla="*/ 1821192 h 6858290"/>
              <a:gd name="connsiteX3144" fmla="*/ 10091529 w 12139750"/>
              <a:gd name="connsiteY3144" fmla="*/ 1817385 h 6858290"/>
              <a:gd name="connsiteX3145" fmla="*/ 10095339 w 12139750"/>
              <a:gd name="connsiteY3145" fmla="*/ 1785033 h 6858290"/>
              <a:gd name="connsiteX3146" fmla="*/ 10428719 w 12139750"/>
              <a:gd name="connsiteY3146" fmla="*/ 1520503 h 6858290"/>
              <a:gd name="connsiteX3147" fmla="*/ 10444673 w 12139750"/>
              <a:gd name="connsiteY3147" fmla="*/ 1515983 h 6858290"/>
              <a:gd name="connsiteX3148" fmla="*/ 8713305 w 12139750"/>
              <a:gd name="connsiteY3148" fmla="*/ 1508547 h 6858290"/>
              <a:gd name="connsiteX3149" fmla="*/ 8730703 w 12139750"/>
              <a:gd name="connsiteY3149" fmla="*/ 1518310 h 6858290"/>
              <a:gd name="connsiteX3150" fmla="*/ 8734516 w 12139750"/>
              <a:gd name="connsiteY3150" fmla="*/ 1533551 h 6858290"/>
              <a:gd name="connsiteX3151" fmla="*/ 8724983 w 12139750"/>
              <a:gd name="connsiteY3151" fmla="*/ 1554506 h 6858290"/>
              <a:gd name="connsiteX3152" fmla="*/ 8391331 w 12139750"/>
              <a:gd name="connsiteY3152" fmla="*/ 1802160 h 6858290"/>
              <a:gd name="connsiteX3153" fmla="*/ 8355106 w 12139750"/>
              <a:gd name="connsiteY3153" fmla="*/ 1796444 h 6858290"/>
              <a:gd name="connsiteX3154" fmla="*/ 8360826 w 12139750"/>
              <a:gd name="connsiteY3154" fmla="*/ 1760249 h 6858290"/>
              <a:gd name="connsiteX3155" fmla="*/ 8694478 w 12139750"/>
              <a:gd name="connsiteY3155" fmla="*/ 1514500 h 6858290"/>
              <a:gd name="connsiteX3156" fmla="*/ 8713305 w 12139750"/>
              <a:gd name="connsiteY3156" fmla="*/ 1508547 h 6858290"/>
              <a:gd name="connsiteX3157" fmla="*/ 11022911 w 12139750"/>
              <a:gd name="connsiteY3157" fmla="*/ 1508523 h 6858290"/>
              <a:gd name="connsiteX3158" fmla="*/ 11038640 w 12139750"/>
              <a:gd name="connsiteY3158" fmla="*/ 1518286 h 6858290"/>
              <a:gd name="connsiteX3159" fmla="*/ 11044360 w 12139750"/>
              <a:gd name="connsiteY3159" fmla="*/ 1533526 h 6858290"/>
              <a:gd name="connsiteX3160" fmla="*/ 11034827 w 12139750"/>
              <a:gd name="connsiteY3160" fmla="*/ 1554481 h 6858290"/>
              <a:gd name="connsiteX3161" fmla="*/ 10701175 w 12139750"/>
              <a:gd name="connsiteY3161" fmla="*/ 1802131 h 6858290"/>
              <a:gd name="connsiteX3162" fmla="*/ 10664950 w 12139750"/>
              <a:gd name="connsiteY3162" fmla="*/ 1796416 h 6858290"/>
              <a:gd name="connsiteX3163" fmla="*/ 10670670 w 12139750"/>
              <a:gd name="connsiteY3163" fmla="*/ 1760221 h 6858290"/>
              <a:gd name="connsiteX3164" fmla="*/ 11004322 w 12139750"/>
              <a:gd name="connsiteY3164" fmla="*/ 1514476 h 6858290"/>
              <a:gd name="connsiteX3165" fmla="*/ 11022911 w 12139750"/>
              <a:gd name="connsiteY3165" fmla="*/ 1508523 h 6858290"/>
              <a:gd name="connsiteX3166" fmla="*/ 8149812 w 12139750"/>
              <a:gd name="connsiteY3166" fmla="*/ 1501800 h 6858290"/>
              <a:gd name="connsiteX3167" fmla="*/ 8168401 w 12139750"/>
              <a:gd name="connsiteY3167" fmla="*/ 1514182 h 6858290"/>
              <a:gd name="connsiteX3168" fmla="*/ 8174121 w 12139750"/>
              <a:gd name="connsiteY3168" fmla="*/ 1531327 h 6858290"/>
              <a:gd name="connsiteX3169" fmla="*/ 8160775 w 12139750"/>
              <a:gd name="connsiteY3169" fmla="*/ 1554187 h 6858290"/>
              <a:gd name="connsiteX3170" fmla="*/ 7825223 w 12139750"/>
              <a:gd name="connsiteY3170" fmla="*/ 1782791 h 6858290"/>
              <a:gd name="connsiteX3171" fmla="*/ 7785185 w 12139750"/>
              <a:gd name="connsiteY3171" fmla="*/ 1775171 h 6858290"/>
              <a:gd name="connsiteX3172" fmla="*/ 7792812 w 12139750"/>
              <a:gd name="connsiteY3172" fmla="*/ 1735166 h 6858290"/>
              <a:gd name="connsiteX3173" fmla="*/ 8128364 w 12139750"/>
              <a:gd name="connsiteY3173" fmla="*/ 1506563 h 6858290"/>
              <a:gd name="connsiteX3174" fmla="*/ 8149812 w 12139750"/>
              <a:gd name="connsiteY3174" fmla="*/ 1501800 h 6858290"/>
              <a:gd name="connsiteX3175" fmla="*/ 11594174 w 12139750"/>
              <a:gd name="connsiteY3175" fmla="*/ 1501795 h 6858290"/>
              <a:gd name="connsiteX3176" fmla="*/ 11613654 w 12139750"/>
              <a:gd name="connsiteY3176" fmla="*/ 1514178 h 6858290"/>
              <a:gd name="connsiteX3177" fmla="*/ 11617455 w 12139750"/>
              <a:gd name="connsiteY3177" fmla="*/ 1531323 h 6858290"/>
              <a:gd name="connsiteX3178" fmla="*/ 11606052 w 12139750"/>
              <a:gd name="connsiteY3178" fmla="*/ 1554183 h 6858290"/>
              <a:gd name="connsiteX3179" fmla="*/ 11271574 w 12139750"/>
              <a:gd name="connsiteY3179" fmla="*/ 1782786 h 6858290"/>
              <a:gd name="connsiteX3180" fmla="*/ 11231664 w 12139750"/>
              <a:gd name="connsiteY3180" fmla="*/ 1775166 h 6858290"/>
              <a:gd name="connsiteX3181" fmla="*/ 11239266 w 12139750"/>
              <a:gd name="connsiteY3181" fmla="*/ 1735161 h 6858290"/>
              <a:gd name="connsiteX3182" fmla="*/ 11571844 w 12139750"/>
              <a:gd name="connsiteY3182" fmla="*/ 1506558 h 6858290"/>
              <a:gd name="connsiteX3183" fmla="*/ 11594174 w 12139750"/>
              <a:gd name="connsiteY3183" fmla="*/ 1501795 h 6858290"/>
              <a:gd name="connsiteX3184" fmla="*/ 12139750 w 12139750"/>
              <a:gd name="connsiteY3184" fmla="*/ 1497031 h 6858290"/>
              <a:gd name="connsiteX3185" fmla="*/ 12139750 w 12139750"/>
              <a:gd name="connsiteY3185" fmla="*/ 1573231 h 6858290"/>
              <a:gd name="connsiteX3186" fmla="*/ 11834677 w 12139750"/>
              <a:gd name="connsiteY3186" fmla="*/ 1763733 h 6858290"/>
              <a:gd name="connsiteX3187" fmla="*/ 11788917 w 12139750"/>
              <a:gd name="connsiteY3187" fmla="*/ 1754208 h 6858290"/>
              <a:gd name="connsiteX3188" fmla="*/ 11800357 w 12139750"/>
              <a:gd name="connsiteY3188" fmla="*/ 1710392 h 6858290"/>
              <a:gd name="connsiteX3189" fmla="*/ 12135937 w 12139750"/>
              <a:gd name="connsiteY3189" fmla="*/ 1498936 h 6858290"/>
              <a:gd name="connsiteX3190" fmla="*/ 12139750 w 12139750"/>
              <a:gd name="connsiteY3190" fmla="*/ 1497031 h 6858290"/>
              <a:gd name="connsiteX3191" fmla="*/ 7592412 w 12139750"/>
              <a:gd name="connsiteY3191" fmla="*/ 1496614 h 6858290"/>
              <a:gd name="connsiteX3192" fmla="*/ 7613097 w 12139750"/>
              <a:gd name="connsiteY3192" fmla="*/ 1511548 h 6858290"/>
              <a:gd name="connsiteX3193" fmla="*/ 7616901 w 12139750"/>
              <a:gd name="connsiteY3193" fmla="*/ 1528616 h 6858290"/>
              <a:gd name="connsiteX3194" fmla="*/ 7601685 w 12139750"/>
              <a:gd name="connsiteY3194" fmla="*/ 1555168 h 6858290"/>
              <a:gd name="connsiteX3195" fmla="*/ 7266927 w 12139750"/>
              <a:gd name="connsiteY3195" fmla="*/ 1763784 h 6858290"/>
              <a:gd name="connsiteX3196" fmla="*/ 7223180 w 12139750"/>
              <a:gd name="connsiteY3196" fmla="*/ 1754301 h 6858290"/>
              <a:gd name="connsiteX3197" fmla="*/ 7232690 w 12139750"/>
              <a:gd name="connsiteY3197" fmla="*/ 1710681 h 6858290"/>
              <a:gd name="connsiteX3198" fmla="*/ 7567448 w 12139750"/>
              <a:gd name="connsiteY3198" fmla="*/ 1500170 h 6858290"/>
              <a:gd name="connsiteX3199" fmla="*/ 7592412 w 12139750"/>
              <a:gd name="connsiteY3199" fmla="*/ 1496614 h 6858290"/>
              <a:gd name="connsiteX3200" fmla="*/ 7043429 w 12139750"/>
              <a:gd name="connsiteY3200" fmla="*/ 1490543 h 6858290"/>
              <a:gd name="connsiteX3201" fmla="*/ 7065387 w 12139750"/>
              <a:gd name="connsiteY3201" fmla="*/ 1507250 h 6858290"/>
              <a:gd name="connsiteX3202" fmla="*/ 7069206 w 12139750"/>
              <a:gd name="connsiteY3202" fmla="*/ 1524435 h 6858290"/>
              <a:gd name="connsiteX3203" fmla="*/ 7052021 w 12139750"/>
              <a:gd name="connsiteY3203" fmla="*/ 1554987 h 6858290"/>
              <a:gd name="connsiteX3204" fmla="*/ 6714055 w 12139750"/>
              <a:gd name="connsiteY3204" fmla="*/ 1747844 h 6858290"/>
              <a:gd name="connsiteX3205" fmla="*/ 6664410 w 12139750"/>
              <a:gd name="connsiteY3205" fmla="*/ 1734477 h 6858290"/>
              <a:gd name="connsiteX3206" fmla="*/ 6677776 w 12139750"/>
              <a:gd name="connsiteY3206" fmla="*/ 1684830 h 6858290"/>
              <a:gd name="connsiteX3207" fmla="*/ 7015742 w 12139750"/>
              <a:gd name="connsiteY3207" fmla="*/ 1493885 h 6858290"/>
              <a:gd name="connsiteX3208" fmla="*/ 7043429 w 12139750"/>
              <a:gd name="connsiteY3208" fmla="*/ 1490543 h 6858290"/>
              <a:gd name="connsiteX3209" fmla="*/ 6500175 w 12139750"/>
              <a:gd name="connsiteY3209" fmla="*/ 1483801 h 6858290"/>
              <a:gd name="connsiteX3210" fmla="*/ 6524041 w 12139750"/>
              <a:gd name="connsiteY3210" fmla="*/ 1503135 h 6858290"/>
              <a:gd name="connsiteX3211" fmla="*/ 6527860 w 12139750"/>
              <a:gd name="connsiteY3211" fmla="*/ 1520321 h 6858290"/>
              <a:gd name="connsiteX3212" fmla="*/ 6506857 w 12139750"/>
              <a:gd name="connsiteY3212" fmla="*/ 1554694 h 6858290"/>
              <a:gd name="connsiteX3213" fmla="*/ 6166999 w 12139750"/>
              <a:gd name="connsiteY3213" fmla="*/ 1728470 h 6858290"/>
              <a:gd name="connsiteX3214" fmla="*/ 6113538 w 12139750"/>
              <a:gd name="connsiteY3214" fmla="*/ 1711284 h 6858290"/>
              <a:gd name="connsiteX3215" fmla="*/ 6130722 w 12139750"/>
              <a:gd name="connsiteY3215" fmla="*/ 1659723 h 6858290"/>
              <a:gd name="connsiteX3216" fmla="*/ 6470580 w 12139750"/>
              <a:gd name="connsiteY3216" fmla="*/ 1485949 h 6858290"/>
              <a:gd name="connsiteX3217" fmla="*/ 6500175 w 12139750"/>
              <a:gd name="connsiteY3217" fmla="*/ 1483801 h 6858290"/>
              <a:gd name="connsiteX3218" fmla="*/ 5958440 w 12139750"/>
              <a:gd name="connsiteY3218" fmla="*/ 1477068 h 6858290"/>
              <a:gd name="connsiteX3219" fmla="*/ 5982710 w 12139750"/>
              <a:gd name="connsiteY3219" fmla="*/ 1499058 h 6858290"/>
              <a:gd name="connsiteX3220" fmla="*/ 5986518 w 12139750"/>
              <a:gd name="connsiteY3220" fmla="*/ 1516267 h 6858290"/>
              <a:gd name="connsiteX3221" fmla="*/ 5961771 w 12139750"/>
              <a:gd name="connsiteY3221" fmla="*/ 1556424 h 6858290"/>
              <a:gd name="connsiteX3222" fmla="*/ 5622934 w 12139750"/>
              <a:gd name="connsiteY3222" fmla="*/ 1711317 h 6858290"/>
              <a:gd name="connsiteX3223" fmla="*/ 5565827 w 12139750"/>
              <a:gd name="connsiteY3223" fmla="*/ 1690282 h 6858290"/>
              <a:gd name="connsiteX3224" fmla="*/ 5586767 w 12139750"/>
              <a:gd name="connsiteY3224" fmla="*/ 1632914 h 6858290"/>
              <a:gd name="connsiteX3225" fmla="*/ 5925602 w 12139750"/>
              <a:gd name="connsiteY3225" fmla="*/ 1478023 h 6858290"/>
              <a:gd name="connsiteX3226" fmla="*/ 5958440 w 12139750"/>
              <a:gd name="connsiteY3226" fmla="*/ 1477068 h 6858290"/>
              <a:gd name="connsiteX3227" fmla="*/ 398249 w 12139750"/>
              <a:gd name="connsiteY3227" fmla="*/ 1477059 h 6858290"/>
              <a:gd name="connsiteX3228" fmla="*/ 423234 w 12139750"/>
              <a:gd name="connsiteY3228" fmla="*/ 1499048 h 6858290"/>
              <a:gd name="connsiteX3229" fmla="*/ 427041 w 12139750"/>
              <a:gd name="connsiteY3229" fmla="*/ 1516259 h 6858290"/>
              <a:gd name="connsiteX3230" fmla="*/ 402294 w 12139750"/>
              <a:gd name="connsiteY3230" fmla="*/ 1556416 h 6858290"/>
              <a:gd name="connsiteX3231" fmla="*/ 61547 w 12139750"/>
              <a:gd name="connsiteY3231" fmla="*/ 1711307 h 6858290"/>
              <a:gd name="connsiteX3232" fmla="*/ 6342 w 12139750"/>
              <a:gd name="connsiteY3232" fmla="*/ 1690272 h 6858290"/>
              <a:gd name="connsiteX3233" fmla="*/ 27282 w 12139750"/>
              <a:gd name="connsiteY3233" fmla="*/ 1632905 h 6858290"/>
              <a:gd name="connsiteX3234" fmla="*/ 366125 w 12139750"/>
              <a:gd name="connsiteY3234" fmla="*/ 1478015 h 6858290"/>
              <a:gd name="connsiteX3235" fmla="*/ 398249 w 12139750"/>
              <a:gd name="connsiteY3235" fmla="*/ 1477059 h 6858290"/>
              <a:gd name="connsiteX3236" fmla="*/ 5394603 w 12139750"/>
              <a:gd name="connsiteY3236" fmla="*/ 1468287 h 6858290"/>
              <a:gd name="connsiteX3237" fmla="*/ 5436930 w 12139750"/>
              <a:gd name="connsiteY3237" fmla="*/ 1498212 h 6858290"/>
              <a:gd name="connsiteX3238" fmla="*/ 5438835 w 12139750"/>
              <a:gd name="connsiteY3238" fmla="*/ 1515311 h 6858290"/>
              <a:gd name="connsiteX3239" fmla="*/ 5410261 w 12139750"/>
              <a:gd name="connsiteY3239" fmla="*/ 1557113 h 6858290"/>
              <a:gd name="connsiteX3240" fmla="*/ 5069259 w 12139750"/>
              <a:gd name="connsiteY3240" fmla="*/ 1693914 h 6858290"/>
              <a:gd name="connsiteX3241" fmla="*/ 5010210 w 12139750"/>
              <a:gd name="connsiteY3241" fmla="*/ 1667314 h 6858290"/>
              <a:gd name="connsiteX3242" fmla="*/ 5036877 w 12139750"/>
              <a:gd name="connsiteY3242" fmla="*/ 1608413 h 6858290"/>
              <a:gd name="connsiteX3243" fmla="*/ 5375970 w 12139750"/>
              <a:gd name="connsiteY3243" fmla="*/ 1471613 h 6858290"/>
              <a:gd name="connsiteX3244" fmla="*/ 5394603 w 12139750"/>
              <a:gd name="connsiteY3244" fmla="*/ 1468287 h 6858290"/>
              <a:gd name="connsiteX3245" fmla="*/ 929397 w 12139750"/>
              <a:gd name="connsiteY3245" fmla="*/ 1468276 h 6858290"/>
              <a:gd name="connsiteX3246" fmla="*/ 970920 w 12139750"/>
              <a:gd name="connsiteY3246" fmla="*/ 1498200 h 6858290"/>
              <a:gd name="connsiteX3247" fmla="*/ 974730 w 12139750"/>
              <a:gd name="connsiteY3247" fmla="*/ 1515301 h 6858290"/>
              <a:gd name="connsiteX3248" fmla="*/ 946155 w 12139750"/>
              <a:gd name="connsiteY3248" fmla="*/ 1557101 h 6858290"/>
              <a:gd name="connsiteX3249" fmla="*/ 605156 w 12139750"/>
              <a:gd name="connsiteY3249" fmla="*/ 1693902 h 6858290"/>
              <a:gd name="connsiteX3250" fmla="*/ 546100 w 12139750"/>
              <a:gd name="connsiteY3250" fmla="*/ 1667301 h 6858290"/>
              <a:gd name="connsiteX3251" fmla="*/ 570866 w 12139750"/>
              <a:gd name="connsiteY3251" fmla="*/ 1608401 h 6858290"/>
              <a:gd name="connsiteX3252" fmla="*/ 911865 w 12139750"/>
              <a:gd name="connsiteY3252" fmla="*/ 1471601 h 6858290"/>
              <a:gd name="connsiteX3253" fmla="*/ 929397 w 12139750"/>
              <a:gd name="connsiteY3253" fmla="*/ 1468276 h 6858290"/>
              <a:gd name="connsiteX3254" fmla="*/ 4844457 w 12139750"/>
              <a:gd name="connsiteY3254" fmla="*/ 1461448 h 6858290"/>
              <a:gd name="connsiteX3255" fmla="*/ 4887326 w 12139750"/>
              <a:gd name="connsiteY3255" fmla="*/ 1493862 h 6858290"/>
              <a:gd name="connsiteX3256" fmla="*/ 4891138 w 12139750"/>
              <a:gd name="connsiteY3256" fmla="*/ 1511006 h 6858290"/>
              <a:gd name="connsiteX3257" fmla="*/ 4856840 w 12139750"/>
              <a:gd name="connsiteY3257" fmla="*/ 1556728 h 6858290"/>
              <a:gd name="connsiteX3258" fmla="*/ 4515847 w 12139750"/>
              <a:gd name="connsiteY3258" fmla="*/ 1674839 h 6858290"/>
              <a:gd name="connsiteX3259" fmla="*/ 4452982 w 12139750"/>
              <a:gd name="connsiteY3259" fmla="*/ 1644358 h 6858290"/>
              <a:gd name="connsiteX3260" fmla="*/ 4483463 w 12139750"/>
              <a:gd name="connsiteY3260" fmla="*/ 1583397 h 6858290"/>
              <a:gd name="connsiteX3261" fmla="*/ 4824450 w 12139750"/>
              <a:gd name="connsiteY3261" fmla="*/ 1463382 h 6858290"/>
              <a:gd name="connsiteX3262" fmla="*/ 4844457 w 12139750"/>
              <a:gd name="connsiteY3262" fmla="*/ 1461448 h 6858290"/>
              <a:gd name="connsiteX3263" fmla="*/ 1479724 w 12139750"/>
              <a:gd name="connsiteY3263" fmla="*/ 1461434 h 6858290"/>
              <a:gd name="connsiteX3264" fmla="*/ 1523689 w 12139750"/>
              <a:gd name="connsiteY3264" fmla="*/ 1493848 h 6858290"/>
              <a:gd name="connsiteX3265" fmla="*/ 1525596 w 12139750"/>
              <a:gd name="connsiteY3265" fmla="*/ 1510993 h 6858290"/>
              <a:gd name="connsiteX3266" fmla="*/ 1493187 w 12139750"/>
              <a:gd name="connsiteY3266" fmla="*/ 1556713 h 6858290"/>
              <a:gd name="connsiteX3267" fmla="*/ 1150039 w 12139750"/>
              <a:gd name="connsiteY3267" fmla="*/ 1674825 h 6858290"/>
              <a:gd name="connsiteX3268" fmla="*/ 1089034 w 12139750"/>
              <a:gd name="connsiteY3268" fmla="*/ 1644344 h 6858290"/>
              <a:gd name="connsiteX3269" fmla="*/ 1117630 w 12139750"/>
              <a:gd name="connsiteY3269" fmla="*/ 1583384 h 6858290"/>
              <a:gd name="connsiteX3270" fmla="*/ 1460779 w 12139750"/>
              <a:gd name="connsiteY3270" fmla="*/ 1463368 h 6858290"/>
              <a:gd name="connsiteX3271" fmla="*/ 1479724 w 12139750"/>
              <a:gd name="connsiteY3271" fmla="*/ 1461434 h 6858290"/>
              <a:gd name="connsiteX3272" fmla="*/ 4287991 w 12139750"/>
              <a:gd name="connsiteY3272" fmla="*/ 1454950 h 6858290"/>
              <a:gd name="connsiteX3273" fmla="*/ 4331690 w 12139750"/>
              <a:gd name="connsiteY3273" fmla="*/ 1491704 h 6858290"/>
              <a:gd name="connsiteX3274" fmla="*/ 4335502 w 12139750"/>
              <a:gd name="connsiteY3274" fmla="*/ 1506966 h 6858290"/>
              <a:gd name="connsiteX3275" fmla="*/ 4297375 w 12139750"/>
              <a:gd name="connsiteY3275" fmla="*/ 1558477 h 6858290"/>
              <a:gd name="connsiteX3276" fmla="*/ 3954252 w 12139750"/>
              <a:gd name="connsiteY3276" fmla="*/ 1657683 h 6858290"/>
              <a:gd name="connsiteX3277" fmla="*/ 3887526 w 12139750"/>
              <a:gd name="connsiteY3277" fmla="*/ 1621435 h 6858290"/>
              <a:gd name="connsiteX3278" fmla="*/ 3923748 w 12139750"/>
              <a:gd name="connsiteY3278" fmla="*/ 1556569 h 6858290"/>
              <a:gd name="connsiteX3279" fmla="*/ 4266871 w 12139750"/>
              <a:gd name="connsiteY3279" fmla="*/ 1457365 h 6858290"/>
              <a:gd name="connsiteX3280" fmla="*/ 4287991 w 12139750"/>
              <a:gd name="connsiteY3280" fmla="*/ 1454950 h 6858290"/>
              <a:gd name="connsiteX3281" fmla="*/ 2034947 w 12139750"/>
              <a:gd name="connsiteY3281" fmla="*/ 1454934 h 6858290"/>
              <a:gd name="connsiteX3282" fmla="*/ 2079328 w 12139750"/>
              <a:gd name="connsiteY3282" fmla="*/ 1491688 h 6858290"/>
              <a:gd name="connsiteX3283" fmla="*/ 2081229 w 12139750"/>
              <a:gd name="connsiteY3283" fmla="*/ 1506950 h 6858290"/>
              <a:gd name="connsiteX3284" fmla="*/ 2043205 w 12139750"/>
              <a:gd name="connsiteY3284" fmla="*/ 1558461 h 6858290"/>
              <a:gd name="connsiteX3285" fmla="*/ 1701020 w 12139750"/>
              <a:gd name="connsiteY3285" fmla="*/ 1657667 h 6858290"/>
              <a:gd name="connsiteX3286" fmla="*/ 1636385 w 12139750"/>
              <a:gd name="connsiteY3286" fmla="*/ 1621418 h 6858290"/>
              <a:gd name="connsiteX3287" fmla="*/ 1672505 w 12139750"/>
              <a:gd name="connsiteY3287" fmla="*/ 1556553 h 6858290"/>
              <a:gd name="connsiteX3288" fmla="*/ 2014689 w 12139750"/>
              <a:gd name="connsiteY3288" fmla="*/ 1457348 h 6858290"/>
              <a:gd name="connsiteX3289" fmla="*/ 2034947 w 12139750"/>
              <a:gd name="connsiteY3289" fmla="*/ 1454934 h 6858290"/>
              <a:gd name="connsiteX3290" fmla="*/ 3729077 w 12139750"/>
              <a:gd name="connsiteY3290" fmla="*/ 1449679 h 6858290"/>
              <a:gd name="connsiteX3291" fmla="*/ 3773220 w 12139750"/>
              <a:gd name="connsiteY3291" fmla="*/ 1490538 h 6858290"/>
              <a:gd name="connsiteX3292" fmla="*/ 3775123 w 12139750"/>
              <a:gd name="connsiteY3292" fmla="*/ 1503831 h 6858290"/>
              <a:gd name="connsiteX3293" fmla="*/ 3733267 w 12139750"/>
              <a:gd name="connsiteY3293" fmla="*/ 1558905 h 6858290"/>
              <a:gd name="connsiteX3294" fmla="*/ 3388946 w 12139750"/>
              <a:gd name="connsiteY3294" fmla="*/ 1638666 h 6858290"/>
              <a:gd name="connsiteX3295" fmla="*/ 3322361 w 12139750"/>
              <a:gd name="connsiteY3295" fmla="*/ 1598786 h 6858290"/>
              <a:gd name="connsiteX3296" fmla="*/ 3362311 w 12139750"/>
              <a:gd name="connsiteY3296" fmla="*/ 1530418 h 6858290"/>
              <a:gd name="connsiteX3297" fmla="*/ 3706634 w 12139750"/>
              <a:gd name="connsiteY3297" fmla="*/ 1450658 h 6858290"/>
              <a:gd name="connsiteX3298" fmla="*/ 3729077 w 12139750"/>
              <a:gd name="connsiteY3298" fmla="*/ 1449679 h 6858290"/>
              <a:gd name="connsiteX3299" fmla="*/ 2595306 w 12139750"/>
              <a:gd name="connsiteY3299" fmla="*/ 1449661 h 6858290"/>
              <a:gd name="connsiteX3300" fmla="*/ 2639715 w 12139750"/>
              <a:gd name="connsiteY3300" fmla="*/ 1490520 h 6858290"/>
              <a:gd name="connsiteX3301" fmla="*/ 2641617 w 12139750"/>
              <a:gd name="connsiteY3301" fmla="*/ 1503814 h 6858290"/>
              <a:gd name="connsiteX3302" fmla="*/ 2597862 w 12139750"/>
              <a:gd name="connsiteY3302" fmla="*/ 1558887 h 6858290"/>
              <a:gd name="connsiteX3303" fmla="*/ 2255431 w 12139750"/>
              <a:gd name="connsiteY3303" fmla="*/ 1638648 h 6858290"/>
              <a:gd name="connsiteX3304" fmla="*/ 2188847 w 12139750"/>
              <a:gd name="connsiteY3304" fmla="*/ 1598767 h 6858290"/>
              <a:gd name="connsiteX3305" fmla="*/ 2228797 w 12139750"/>
              <a:gd name="connsiteY3305" fmla="*/ 1530401 h 6858290"/>
              <a:gd name="connsiteX3306" fmla="*/ 2573131 w 12139750"/>
              <a:gd name="connsiteY3306" fmla="*/ 1450640 h 6858290"/>
              <a:gd name="connsiteX3307" fmla="*/ 2595306 w 12139750"/>
              <a:gd name="connsiteY3307" fmla="*/ 1449661 h 6858290"/>
              <a:gd name="connsiteX3308" fmla="*/ 3137756 w 12139750"/>
              <a:gd name="connsiteY3308" fmla="*/ 1442427 h 6858290"/>
              <a:gd name="connsiteX3309" fmla="*/ 3206475 w 12139750"/>
              <a:gd name="connsiteY3309" fmla="*/ 1490052 h 6858290"/>
              <a:gd name="connsiteX3310" fmla="*/ 3208386 w 12139750"/>
              <a:gd name="connsiteY3310" fmla="*/ 1499576 h 6858290"/>
              <a:gd name="connsiteX3311" fmla="*/ 3158755 w 12139750"/>
              <a:gd name="connsiteY3311" fmla="*/ 1558632 h 6858290"/>
              <a:gd name="connsiteX3312" fmla="*/ 2813246 w 12139750"/>
              <a:gd name="connsiteY3312" fmla="*/ 1621498 h 6858290"/>
              <a:gd name="connsiteX3313" fmla="*/ 2744525 w 12139750"/>
              <a:gd name="connsiteY3313" fmla="*/ 1573872 h 6858290"/>
              <a:gd name="connsiteX3314" fmla="*/ 2792248 w 12139750"/>
              <a:gd name="connsiteY3314" fmla="*/ 1505291 h 6858290"/>
              <a:gd name="connsiteX3315" fmla="*/ 3137756 w 12139750"/>
              <a:gd name="connsiteY3315" fmla="*/ 1442427 h 6858290"/>
              <a:gd name="connsiteX3316" fmla="*/ 9860829 w 12139750"/>
              <a:gd name="connsiteY3316" fmla="*/ 1204612 h 6858290"/>
              <a:gd name="connsiteX3317" fmla="*/ 9875319 w 12139750"/>
              <a:gd name="connsiteY3317" fmla="*/ 1211306 h 6858290"/>
              <a:gd name="connsiteX3318" fmla="*/ 9879119 w 12139750"/>
              <a:gd name="connsiteY3318" fmla="*/ 1226607 h 6858290"/>
              <a:gd name="connsiteX3319" fmla="*/ 9871518 w 12139750"/>
              <a:gd name="connsiteY3319" fmla="*/ 1243820 h 6858290"/>
              <a:gd name="connsiteX3320" fmla="*/ 9540880 w 12139750"/>
              <a:gd name="connsiteY3320" fmla="*/ 1511592 h 6858290"/>
              <a:gd name="connsiteX3321" fmla="*/ 9510477 w 12139750"/>
              <a:gd name="connsiteY3321" fmla="*/ 1509680 h 6858290"/>
              <a:gd name="connsiteX3322" fmla="*/ 9514277 w 12139750"/>
              <a:gd name="connsiteY3322" fmla="*/ 1479077 h 6858290"/>
              <a:gd name="connsiteX3323" fmla="*/ 9844915 w 12139750"/>
              <a:gd name="connsiteY3323" fmla="*/ 1209393 h 6858290"/>
              <a:gd name="connsiteX3324" fmla="*/ 9860829 w 12139750"/>
              <a:gd name="connsiteY3324" fmla="*/ 1204612 h 6858290"/>
              <a:gd name="connsiteX3325" fmla="*/ 9284557 w 12139750"/>
              <a:gd name="connsiteY3325" fmla="*/ 1198509 h 6858290"/>
              <a:gd name="connsiteX3326" fmla="*/ 9300299 w 12139750"/>
              <a:gd name="connsiteY3326" fmla="*/ 1206835 h 6858290"/>
              <a:gd name="connsiteX3327" fmla="*/ 9306023 w 12139750"/>
              <a:gd name="connsiteY3327" fmla="*/ 1222058 h 6858290"/>
              <a:gd name="connsiteX3328" fmla="*/ 9296482 w 12139750"/>
              <a:gd name="connsiteY3328" fmla="*/ 1242988 h 6858290"/>
              <a:gd name="connsiteX3329" fmla="*/ 8962556 w 12139750"/>
              <a:gd name="connsiteY3329" fmla="*/ 1494190 h 6858290"/>
              <a:gd name="connsiteX3330" fmla="*/ 8928209 w 12139750"/>
              <a:gd name="connsiteY3330" fmla="*/ 1490384 h 6858290"/>
              <a:gd name="connsiteX3331" fmla="*/ 8932025 w 12139750"/>
              <a:gd name="connsiteY3331" fmla="*/ 1454228 h 6858290"/>
              <a:gd name="connsiteX3332" fmla="*/ 9265952 w 12139750"/>
              <a:gd name="connsiteY3332" fmla="*/ 1203029 h 6858290"/>
              <a:gd name="connsiteX3333" fmla="*/ 9284557 w 12139750"/>
              <a:gd name="connsiteY3333" fmla="*/ 1198509 h 6858290"/>
              <a:gd name="connsiteX3334" fmla="*/ 10445106 w 12139750"/>
              <a:gd name="connsiteY3334" fmla="*/ 1198483 h 6858290"/>
              <a:gd name="connsiteX3335" fmla="*/ 10460796 w 12139750"/>
              <a:gd name="connsiteY3335" fmla="*/ 1206809 h 6858290"/>
              <a:gd name="connsiteX3336" fmla="*/ 10466502 w 12139750"/>
              <a:gd name="connsiteY3336" fmla="*/ 1222033 h 6858290"/>
              <a:gd name="connsiteX3337" fmla="*/ 10456993 w 12139750"/>
              <a:gd name="connsiteY3337" fmla="*/ 1242967 h 6858290"/>
              <a:gd name="connsiteX3338" fmla="*/ 10124163 w 12139750"/>
              <a:gd name="connsiteY3338" fmla="*/ 1494166 h 6858290"/>
              <a:gd name="connsiteX3339" fmla="*/ 10089930 w 12139750"/>
              <a:gd name="connsiteY3339" fmla="*/ 1490360 h 6858290"/>
              <a:gd name="connsiteX3340" fmla="*/ 10093733 w 12139750"/>
              <a:gd name="connsiteY3340" fmla="*/ 1454203 h 6858290"/>
              <a:gd name="connsiteX3341" fmla="*/ 10426563 w 12139750"/>
              <a:gd name="connsiteY3341" fmla="*/ 1203003 h 6858290"/>
              <a:gd name="connsiteX3342" fmla="*/ 10445106 w 12139750"/>
              <a:gd name="connsiteY3342" fmla="*/ 1198483 h 6858290"/>
              <a:gd name="connsiteX3343" fmla="*/ 8713976 w 12139750"/>
              <a:gd name="connsiteY3343" fmla="*/ 1190406 h 6858290"/>
              <a:gd name="connsiteX3344" fmla="*/ 8732297 w 12139750"/>
              <a:gd name="connsiteY3344" fmla="*/ 1201099 h 6858290"/>
              <a:gd name="connsiteX3345" fmla="*/ 8736104 w 12139750"/>
              <a:gd name="connsiteY3345" fmla="*/ 1218208 h 6858290"/>
              <a:gd name="connsiteX3346" fmla="*/ 8724683 w 12139750"/>
              <a:gd name="connsiteY3346" fmla="*/ 1241015 h 6858290"/>
              <a:gd name="connsiteX3347" fmla="*/ 8391573 w 12139750"/>
              <a:gd name="connsiteY3347" fmla="*/ 1476736 h 6858290"/>
              <a:gd name="connsiteX3348" fmla="*/ 8353503 w 12139750"/>
              <a:gd name="connsiteY3348" fmla="*/ 1469132 h 6858290"/>
              <a:gd name="connsiteX3349" fmla="*/ 8359214 w 12139750"/>
              <a:gd name="connsiteY3349" fmla="*/ 1431112 h 6858290"/>
              <a:gd name="connsiteX3350" fmla="*/ 8694227 w 12139750"/>
              <a:gd name="connsiteY3350" fmla="*/ 1195396 h 6858290"/>
              <a:gd name="connsiteX3351" fmla="*/ 8713976 w 12139750"/>
              <a:gd name="connsiteY3351" fmla="*/ 1190406 h 6858290"/>
              <a:gd name="connsiteX3352" fmla="*/ 11023582 w 12139750"/>
              <a:gd name="connsiteY3352" fmla="*/ 1190378 h 6858290"/>
              <a:gd name="connsiteX3353" fmla="*/ 11042141 w 12139750"/>
              <a:gd name="connsiteY3353" fmla="*/ 1201071 h 6858290"/>
              <a:gd name="connsiteX3354" fmla="*/ 11045948 w 12139750"/>
              <a:gd name="connsiteY3354" fmla="*/ 1218180 h 6858290"/>
              <a:gd name="connsiteX3355" fmla="*/ 11034527 w 12139750"/>
              <a:gd name="connsiteY3355" fmla="*/ 1240991 h 6858290"/>
              <a:gd name="connsiteX3356" fmla="*/ 10701417 w 12139750"/>
              <a:gd name="connsiteY3356" fmla="*/ 1476710 h 6858290"/>
              <a:gd name="connsiteX3357" fmla="*/ 10663347 w 12139750"/>
              <a:gd name="connsiteY3357" fmla="*/ 1469106 h 6858290"/>
              <a:gd name="connsiteX3358" fmla="*/ 10669058 w 12139750"/>
              <a:gd name="connsiteY3358" fmla="*/ 1431087 h 6858290"/>
              <a:gd name="connsiteX3359" fmla="*/ 11002168 w 12139750"/>
              <a:gd name="connsiteY3359" fmla="*/ 1195368 h 6858290"/>
              <a:gd name="connsiteX3360" fmla="*/ 11023582 w 12139750"/>
              <a:gd name="connsiteY3360" fmla="*/ 1190378 h 6858290"/>
              <a:gd name="connsiteX3361" fmla="*/ 8150486 w 12139750"/>
              <a:gd name="connsiteY3361" fmla="*/ 1182942 h 6858290"/>
              <a:gd name="connsiteX3362" fmla="*/ 8169997 w 12139750"/>
              <a:gd name="connsiteY3362" fmla="*/ 1196960 h 6858290"/>
              <a:gd name="connsiteX3363" fmla="*/ 8175708 w 12139750"/>
              <a:gd name="connsiteY3363" fmla="*/ 1212168 h 6858290"/>
              <a:gd name="connsiteX3364" fmla="*/ 8160480 w 12139750"/>
              <a:gd name="connsiteY3364" fmla="*/ 1238776 h 6858290"/>
              <a:gd name="connsiteX3365" fmla="*/ 7825460 w 12139750"/>
              <a:gd name="connsiteY3365" fmla="*/ 1457373 h 6858290"/>
              <a:gd name="connsiteX3366" fmla="*/ 7783582 w 12139750"/>
              <a:gd name="connsiteY3366" fmla="*/ 1449769 h 6858290"/>
              <a:gd name="connsiteX3367" fmla="*/ 7793100 w 12139750"/>
              <a:gd name="connsiteY3367" fmla="*/ 1407952 h 6858290"/>
              <a:gd name="connsiteX3368" fmla="*/ 8128120 w 12139750"/>
              <a:gd name="connsiteY3368" fmla="*/ 1187458 h 6858290"/>
              <a:gd name="connsiteX3369" fmla="*/ 8150486 w 12139750"/>
              <a:gd name="connsiteY3369" fmla="*/ 1182942 h 6858290"/>
              <a:gd name="connsiteX3370" fmla="*/ 11595229 w 12139750"/>
              <a:gd name="connsiteY3370" fmla="*/ 1182937 h 6858290"/>
              <a:gd name="connsiteX3371" fmla="*/ 11613327 w 12139750"/>
              <a:gd name="connsiteY3371" fmla="*/ 1196955 h 6858290"/>
              <a:gd name="connsiteX3372" fmla="*/ 11619042 w 12139750"/>
              <a:gd name="connsiteY3372" fmla="*/ 1212161 h 6858290"/>
              <a:gd name="connsiteX3373" fmla="*/ 11605707 w 12139750"/>
              <a:gd name="connsiteY3373" fmla="*/ 1238770 h 6858290"/>
              <a:gd name="connsiteX3374" fmla="*/ 11270423 w 12139750"/>
              <a:gd name="connsiteY3374" fmla="*/ 1457367 h 6858290"/>
              <a:gd name="connsiteX3375" fmla="*/ 11228512 w 12139750"/>
              <a:gd name="connsiteY3375" fmla="*/ 1449763 h 6858290"/>
              <a:gd name="connsiteX3376" fmla="*/ 11236132 w 12139750"/>
              <a:gd name="connsiteY3376" fmla="*/ 1407946 h 6858290"/>
              <a:gd name="connsiteX3377" fmla="*/ 11571416 w 12139750"/>
              <a:gd name="connsiteY3377" fmla="*/ 1187451 h 6858290"/>
              <a:gd name="connsiteX3378" fmla="*/ 11595229 w 12139750"/>
              <a:gd name="connsiteY3378" fmla="*/ 1182937 h 6858290"/>
              <a:gd name="connsiteX3379" fmla="*/ 12139750 w 12139750"/>
              <a:gd name="connsiteY3379" fmla="*/ 1177944 h 6858290"/>
              <a:gd name="connsiteX3380" fmla="*/ 12139750 w 12139750"/>
              <a:gd name="connsiteY3380" fmla="*/ 1255774 h 6858290"/>
              <a:gd name="connsiteX3381" fmla="*/ 11834677 w 12139750"/>
              <a:gd name="connsiteY3381" fmla="*/ 1439913 h 6858290"/>
              <a:gd name="connsiteX3382" fmla="*/ 11788917 w 12139750"/>
              <a:gd name="connsiteY3382" fmla="*/ 1428524 h 6858290"/>
              <a:gd name="connsiteX3383" fmla="*/ 11798450 w 12139750"/>
              <a:gd name="connsiteY3383" fmla="*/ 1382965 h 6858290"/>
              <a:gd name="connsiteX3384" fmla="*/ 12135937 w 12139750"/>
              <a:gd name="connsiteY3384" fmla="*/ 1179842 h 6858290"/>
              <a:gd name="connsiteX3385" fmla="*/ 12139750 w 12139750"/>
              <a:gd name="connsiteY3385" fmla="*/ 1177944 h 6858290"/>
              <a:gd name="connsiteX3386" fmla="*/ 7594338 w 12139750"/>
              <a:gd name="connsiteY3386" fmla="*/ 1175955 h 6858290"/>
              <a:gd name="connsiteX3387" fmla="*/ 7614356 w 12139750"/>
              <a:gd name="connsiteY3387" fmla="*/ 1190924 h 6858290"/>
              <a:gd name="connsiteX3388" fmla="*/ 7620076 w 12139750"/>
              <a:gd name="connsiteY3388" fmla="*/ 1208030 h 6858290"/>
              <a:gd name="connsiteX3389" fmla="*/ 7604824 w 12139750"/>
              <a:gd name="connsiteY3389" fmla="*/ 1236536 h 6858290"/>
              <a:gd name="connsiteX3390" fmla="*/ 7267372 w 12139750"/>
              <a:gd name="connsiteY3390" fmla="*/ 1439910 h 6858290"/>
              <a:gd name="connsiteX3391" fmla="*/ 7221615 w 12139750"/>
              <a:gd name="connsiteY3391" fmla="*/ 1428505 h 6858290"/>
              <a:gd name="connsiteX3392" fmla="*/ 7233054 w 12139750"/>
              <a:gd name="connsiteY3392" fmla="*/ 1382889 h 6858290"/>
              <a:gd name="connsiteX3393" fmla="*/ 7568600 w 12139750"/>
              <a:gd name="connsiteY3393" fmla="*/ 1179519 h 6858290"/>
              <a:gd name="connsiteX3394" fmla="*/ 7594338 w 12139750"/>
              <a:gd name="connsiteY3394" fmla="*/ 1175955 h 6858290"/>
              <a:gd name="connsiteX3395" fmla="*/ 7043844 w 12139750"/>
              <a:gd name="connsiteY3395" fmla="*/ 1168289 h 6858290"/>
              <a:gd name="connsiteX3396" fmla="*/ 7065070 w 12139750"/>
              <a:gd name="connsiteY3396" fmla="*/ 1185018 h 6858290"/>
              <a:gd name="connsiteX3397" fmla="*/ 7070794 w 12139750"/>
              <a:gd name="connsiteY3397" fmla="*/ 1204137 h 6858290"/>
              <a:gd name="connsiteX3398" fmla="*/ 7051714 w 12139750"/>
              <a:gd name="connsiteY3398" fmla="*/ 1234720 h 6858290"/>
              <a:gd name="connsiteX3399" fmla="*/ 6714009 w 12139750"/>
              <a:gd name="connsiteY3399" fmla="*/ 1423981 h 6858290"/>
              <a:gd name="connsiteX3400" fmla="*/ 6664402 w 12139750"/>
              <a:gd name="connsiteY3400" fmla="*/ 1410601 h 6858290"/>
              <a:gd name="connsiteX3401" fmla="*/ 6677758 w 12139750"/>
              <a:gd name="connsiteY3401" fmla="*/ 1360894 h 6858290"/>
              <a:gd name="connsiteX3402" fmla="*/ 7015463 w 12139750"/>
              <a:gd name="connsiteY3402" fmla="*/ 1171635 h 6858290"/>
              <a:gd name="connsiteX3403" fmla="*/ 7043844 w 12139750"/>
              <a:gd name="connsiteY3403" fmla="*/ 1168289 h 6858290"/>
              <a:gd name="connsiteX3404" fmla="*/ 6500891 w 12139750"/>
              <a:gd name="connsiteY3404" fmla="*/ 1161548 h 6858290"/>
              <a:gd name="connsiteX3405" fmla="*/ 6524041 w 12139750"/>
              <a:gd name="connsiteY3405" fmla="*/ 1180908 h 6858290"/>
              <a:gd name="connsiteX3406" fmla="*/ 6527860 w 12139750"/>
              <a:gd name="connsiteY3406" fmla="*/ 1198115 h 6858290"/>
              <a:gd name="connsiteX3407" fmla="*/ 6506857 w 12139750"/>
              <a:gd name="connsiteY3407" fmla="*/ 1234440 h 6858290"/>
              <a:gd name="connsiteX3408" fmla="*/ 6166999 w 12139750"/>
              <a:gd name="connsiteY3408" fmla="*/ 1406519 h 6858290"/>
              <a:gd name="connsiteX3409" fmla="*/ 6113538 w 12139750"/>
              <a:gd name="connsiteY3409" fmla="*/ 1389310 h 6858290"/>
              <a:gd name="connsiteX3410" fmla="*/ 6130722 w 12139750"/>
              <a:gd name="connsiteY3410" fmla="*/ 1335774 h 6858290"/>
              <a:gd name="connsiteX3411" fmla="*/ 6470580 w 12139750"/>
              <a:gd name="connsiteY3411" fmla="*/ 1163700 h 6858290"/>
              <a:gd name="connsiteX3412" fmla="*/ 6500891 w 12139750"/>
              <a:gd name="connsiteY3412" fmla="*/ 1161548 h 6858290"/>
              <a:gd name="connsiteX3413" fmla="*/ 5957727 w 12139750"/>
              <a:gd name="connsiteY3413" fmla="*/ 1155628 h 6858290"/>
              <a:gd name="connsiteX3414" fmla="*/ 5982710 w 12139750"/>
              <a:gd name="connsiteY3414" fmla="*/ 1178193 h 6858290"/>
              <a:gd name="connsiteX3415" fmla="*/ 5986518 w 12139750"/>
              <a:gd name="connsiteY3415" fmla="*/ 1195296 h 6858290"/>
              <a:gd name="connsiteX3416" fmla="*/ 5961771 w 12139750"/>
              <a:gd name="connsiteY3416" fmla="*/ 1233296 h 6858290"/>
              <a:gd name="connsiteX3417" fmla="*/ 5622934 w 12139750"/>
              <a:gd name="connsiteY3417" fmla="*/ 1389114 h 6858290"/>
              <a:gd name="connsiteX3418" fmla="*/ 5565827 w 12139750"/>
              <a:gd name="connsiteY3418" fmla="*/ 1368212 h 6858290"/>
              <a:gd name="connsiteX3419" fmla="*/ 5586767 w 12139750"/>
              <a:gd name="connsiteY3419" fmla="*/ 1313104 h 6858290"/>
              <a:gd name="connsiteX3420" fmla="*/ 5925602 w 12139750"/>
              <a:gd name="connsiteY3420" fmla="*/ 1157291 h 6858290"/>
              <a:gd name="connsiteX3421" fmla="*/ 5957727 w 12139750"/>
              <a:gd name="connsiteY3421" fmla="*/ 1155628 h 6858290"/>
              <a:gd name="connsiteX3422" fmla="*/ 398307 w 12139750"/>
              <a:gd name="connsiteY3422" fmla="*/ 1155617 h 6858290"/>
              <a:gd name="connsiteX3423" fmla="*/ 421644 w 12139750"/>
              <a:gd name="connsiteY3423" fmla="*/ 1178183 h 6858290"/>
              <a:gd name="connsiteX3424" fmla="*/ 425454 w 12139750"/>
              <a:gd name="connsiteY3424" fmla="*/ 1195284 h 6858290"/>
              <a:gd name="connsiteX3425" fmla="*/ 402594 w 12139750"/>
              <a:gd name="connsiteY3425" fmla="*/ 1233286 h 6858290"/>
              <a:gd name="connsiteX3426" fmla="*/ 61595 w 12139750"/>
              <a:gd name="connsiteY3426" fmla="*/ 1389103 h 6858290"/>
              <a:gd name="connsiteX3427" fmla="*/ 6349 w 12139750"/>
              <a:gd name="connsiteY3427" fmla="*/ 1368201 h 6858290"/>
              <a:gd name="connsiteX3428" fmla="*/ 27304 w 12139750"/>
              <a:gd name="connsiteY3428" fmla="*/ 1313094 h 6858290"/>
              <a:gd name="connsiteX3429" fmla="*/ 366398 w 12139750"/>
              <a:gd name="connsiteY3429" fmla="*/ 1157280 h 6858290"/>
              <a:gd name="connsiteX3430" fmla="*/ 398307 w 12139750"/>
              <a:gd name="connsiteY3430" fmla="*/ 1155617 h 6858290"/>
              <a:gd name="connsiteX3431" fmla="*/ 5393468 w 12139750"/>
              <a:gd name="connsiteY3431" fmla="*/ 1144402 h 6858290"/>
              <a:gd name="connsiteX3432" fmla="*/ 5435021 w 12139750"/>
              <a:gd name="connsiteY3432" fmla="*/ 1172421 h 6858290"/>
              <a:gd name="connsiteX3433" fmla="*/ 5438834 w 12139750"/>
              <a:gd name="connsiteY3433" fmla="*/ 1189500 h 6858290"/>
              <a:gd name="connsiteX3434" fmla="*/ 5410239 w 12139750"/>
              <a:gd name="connsiteY3434" fmla="*/ 1231244 h 6858290"/>
              <a:gd name="connsiteX3435" fmla="*/ 5070896 w 12139750"/>
              <a:gd name="connsiteY3435" fmla="*/ 1371665 h 6858290"/>
              <a:gd name="connsiteX3436" fmla="*/ 5011805 w 12139750"/>
              <a:gd name="connsiteY3436" fmla="*/ 1346995 h 6858290"/>
              <a:gd name="connsiteX3437" fmla="*/ 5036586 w 12139750"/>
              <a:gd name="connsiteY3437" fmla="*/ 1288169 h 6858290"/>
              <a:gd name="connsiteX3438" fmla="*/ 5375924 w 12139750"/>
              <a:gd name="connsiteY3438" fmla="*/ 1147752 h 6858290"/>
              <a:gd name="connsiteX3439" fmla="*/ 5393468 w 12139750"/>
              <a:gd name="connsiteY3439" fmla="*/ 1144402 h 6858290"/>
              <a:gd name="connsiteX3440" fmla="*/ 929385 w 12139750"/>
              <a:gd name="connsiteY3440" fmla="*/ 1144389 h 6858290"/>
              <a:gd name="connsiteX3441" fmla="*/ 969330 w 12139750"/>
              <a:gd name="connsiteY3441" fmla="*/ 1172407 h 6858290"/>
              <a:gd name="connsiteX3442" fmla="*/ 973143 w 12139750"/>
              <a:gd name="connsiteY3442" fmla="*/ 1189486 h 6858290"/>
              <a:gd name="connsiteX3443" fmla="*/ 946453 w 12139750"/>
              <a:gd name="connsiteY3443" fmla="*/ 1231231 h 6858290"/>
              <a:gd name="connsiteX3444" fmla="*/ 605206 w 12139750"/>
              <a:gd name="connsiteY3444" fmla="*/ 1371652 h 6858290"/>
              <a:gd name="connsiteX3445" fmla="*/ 546108 w 12139750"/>
              <a:gd name="connsiteY3445" fmla="*/ 1346983 h 6858290"/>
              <a:gd name="connsiteX3446" fmla="*/ 570891 w 12139750"/>
              <a:gd name="connsiteY3446" fmla="*/ 1288158 h 6858290"/>
              <a:gd name="connsiteX3447" fmla="*/ 912138 w 12139750"/>
              <a:gd name="connsiteY3447" fmla="*/ 1147739 h 6858290"/>
              <a:gd name="connsiteX3448" fmla="*/ 929385 w 12139750"/>
              <a:gd name="connsiteY3448" fmla="*/ 1144389 h 6858290"/>
              <a:gd name="connsiteX3449" fmla="*/ 4842182 w 12139750"/>
              <a:gd name="connsiteY3449" fmla="*/ 1136797 h 6858290"/>
              <a:gd name="connsiteX3450" fmla="*/ 4884158 w 12139750"/>
              <a:gd name="connsiteY3450" fmla="*/ 1168322 h 6858290"/>
              <a:gd name="connsiteX3451" fmla="*/ 4887962 w 12139750"/>
              <a:gd name="connsiteY3451" fmla="*/ 1185422 h 6858290"/>
              <a:gd name="connsiteX3452" fmla="*/ 4855639 w 12139750"/>
              <a:gd name="connsiteY3452" fmla="*/ 1231014 h 6858290"/>
              <a:gd name="connsiteX3453" fmla="*/ 4515380 w 12139750"/>
              <a:gd name="connsiteY3453" fmla="*/ 1354501 h 6858290"/>
              <a:gd name="connsiteX3454" fmla="*/ 4454549 w 12139750"/>
              <a:gd name="connsiteY3454" fmla="*/ 1326004 h 6858290"/>
              <a:gd name="connsiteX3455" fmla="*/ 4483062 w 12139750"/>
              <a:gd name="connsiteY3455" fmla="*/ 1263308 h 6858290"/>
              <a:gd name="connsiteX3456" fmla="*/ 4823320 w 12139750"/>
              <a:gd name="connsiteY3456" fmla="*/ 1139825 h 6858290"/>
              <a:gd name="connsiteX3457" fmla="*/ 4842182 w 12139750"/>
              <a:gd name="connsiteY3457" fmla="*/ 1136797 h 6858290"/>
              <a:gd name="connsiteX3458" fmla="*/ 1478252 w 12139750"/>
              <a:gd name="connsiteY3458" fmla="*/ 1136782 h 6858290"/>
              <a:gd name="connsiteX3459" fmla="*/ 1520519 w 12139750"/>
              <a:gd name="connsiteY3459" fmla="*/ 1168307 h 6858290"/>
              <a:gd name="connsiteX3460" fmla="*/ 1522421 w 12139750"/>
              <a:gd name="connsiteY3460" fmla="*/ 1185406 h 6858290"/>
              <a:gd name="connsiteX3461" fmla="*/ 1491984 w 12139750"/>
              <a:gd name="connsiteY3461" fmla="*/ 1231000 h 6858290"/>
              <a:gd name="connsiteX3462" fmla="*/ 1151475 w 12139750"/>
              <a:gd name="connsiteY3462" fmla="*/ 1354486 h 6858290"/>
              <a:gd name="connsiteX3463" fmla="*/ 1088700 w 12139750"/>
              <a:gd name="connsiteY3463" fmla="*/ 1325989 h 6858290"/>
              <a:gd name="connsiteX3464" fmla="*/ 1117234 w 12139750"/>
              <a:gd name="connsiteY3464" fmla="*/ 1263296 h 6858290"/>
              <a:gd name="connsiteX3465" fmla="*/ 1459646 w 12139750"/>
              <a:gd name="connsiteY3465" fmla="*/ 1139810 h 6858290"/>
              <a:gd name="connsiteX3466" fmla="*/ 1478252 w 12139750"/>
              <a:gd name="connsiteY3466" fmla="*/ 1136782 h 6858290"/>
              <a:gd name="connsiteX3467" fmla="*/ 4287305 w 12139750"/>
              <a:gd name="connsiteY3467" fmla="*/ 1129713 h 6858290"/>
              <a:gd name="connsiteX3468" fmla="*/ 4330109 w 12139750"/>
              <a:gd name="connsiteY3468" fmla="*/ 1165826 h 6858290"/>
              <a:gd name="connsiteX3469" fmla="*/ 4333914 w 12139750"/>
              <a:gd name="connsiteY3469" fmla="*/ 1181045 h 6858290"/>
              <a:gd name="connsiteX3470" fmla="*/ 4297769 w 12139750"/>
              <a:gd name="connsiteY3470" fmla="*/ 1228599 h 6858290"/>
              <a:gd name="connsiteX3471" fmla="*/ 3955368 w 12139750"/>
              <a:gd name="connsiteY3471" fmla="*/ 1337029 h 6858290"/>
              <a:gd name="connsiteX3472" fmla="*/ 3890686 w 12139750"/>
              <a:gd name="connsiteY3472" fmla="*/ 1302787 h 6858290"/>
              <a:gd name="connsiteX3473" fmla="*/ 3924929 w 12139750"/>
              <a:gd name="connsiteY3473" fmla="*/ 1240012 h 6858290"/>
              <a:gd name="connsiteX3474" fmla="*/ 4267332 w 12139750"/>
              <a:gd name="connsiteY3474" fmla="*/ 1131585 h 6858290"/>
              <a:gd name="connsiteX3475" fmla="*/ 4287305 w 12139750"/>
              <a:gd name="connsiteY3475" fmla="*/ 1129713 h 6858290"/>
              <a:gd name="connsiteX3476" fmla="*/ 2033027 w 12139750"/>
              <a:gd name="connsiteY3476" fmla="*/ 1129695 h 6858290"/>
              <a:gd name="connsiteX3477" fmla="*/ 2077737 w 12139750"/>
              <a:gd name="connsiteY3477" fmla="*/ 1165808 h 6858290"/>
              <a:gd name="connsiteX3478" fmla="*/ 2079642 w 12139750"/>
              <a:gd name="connsiteY3478" fmla="*/ 1181027 h 6858290"/>
              <a:gd name="connsiteX3479" fmla="*/ 2043467 w 12139750"/>
              <a:gd name="connsiteY3479" fmla="*/ 1228582 h 6858290"/>
              <a:gd name="connsiteX3480" fmla="*/ 1702708 w 12139750"/>
              <a:gd name="connsiteY3480" fmla="*/ 1337012 h 6858290"/>
              <a:gd name="connsiteX3481" fmla="*/ 1637983 w 12139750"/>
              <a:gd name="connsiteY3481" fmla="*/ 1302771 h 6858290"/>
              <a:gd name="connsiteX3482" fmla="*/ 1670346 w 12139750"/>
              <a:gd name="connsiteY3482" fmla="*/ 1239996 h 6858290"/>
              <a:gd name="connsiteX3483" fmla="*/ 2013008 w 12139750"/>
              <a:gd name="connsiteY3483" fmla="*/ 1131568 h 6858290"/>
              <a:gd name="connsiteX3484" fmla="*/ 2033027 w 12139750"/>
              <a:gd name="connsiteY3484" fmla="*/ 1129695 h 6858290"/>
              <a:gd name="connsiteX3485" fmla="*/ 3726351 w 12139750"/>
              <a:gd name="connsiteY3485" fmla="*/ 1122417 h 6858290"/>
              <a:gd name="connsiteX3486" fmla="*/ 3771628 w 12139750"/>
              <a:gd name="connsiteY3486" fmla="*/ 1162034 h 6858290"/>
              <a:gd name="connsiteX3487" fmla="*/ 3773536 w 12139750"/>
              <a:gd name="connsiteY3487" fmla="*/ 1175449 h 6858290"/>
              <a:gd name="connsiteX3488" fmla="*/ 3733526 w 12139750"/>
              <a:gd name="connsiteY3488" fmla="*/ 1229108 h 6858290"/>
              <a:gd name="connsiteX3489" fmla="*/ 3390639 w 12139750"/>
              <a:gd name="connsiteY3489" fmla="*/ 1321097 h 6858290"/>
              <a:gd name="connsiteX3490" fmla="*/ 3323960 w 12139750"/>
              <a:gd name="connsiteY3490" fmla="*/ 1282766 h 6858290"/>
              <a:gd name="connsiteX3491" fmla="*/ 3362059 w 12139750"/>
              <a:gd name="connsiteY3491" fmla="*/ 1215695 h 6858290"/>
              <a:gd name="connsiteX3492" fmla="*/ 3704953 w 12139750"/>
              <a:gd name="connsiteY3492" fmla="*/ 1123705 h 6858290"/>
              <a:gd name="connsiteX3493" fmla="*/ 3726351 w 12139750"/>
              <a:gd name="connsiteY3493" fmla="*/ 1122417 h 6858290"/>
              <a:gd name="connsiteX3494" fmla="*/ 2592851 w 12139750"/>
              <a:gd name="connsiteY3494" fmla="*/ 1122397 h 6858290"/>
              <a:gd name="connsiteX3495" fmla="*/ 2638126 w 12139750"/>
              <a:gd name="connsiteY3495" fmla="*/ 1162013 h 6858290"/>
              <a:gd name="connsiteX3496" fmla="*/ 2640031 w 12139750"/>
              <a:gd name="connsiteY3496" fmla="*/ 1175429 h 6858290"/>
              <a:gd name="connsiteX3497" fmla="*/ 2600026 w 12139750"/>
              <a:gd name="connsiteY3497" fmla="*/ 1229089 h 6858290"/>
              <a:gd name="connsiteX3498" fmla="*/ 2257122 w 12139750"/>
              <a:gd name="connsiteY3498" fmla="*/ 1321078 h 6858290"/>
              <a:gd name="connsiteX3499" fmla="*/ 2190445 w 12139750"/>
              <a:gd name="connsiteY3499" fmla="*/ 1282749 h 6858290"/>
              <a:gd name="connsiteX3500" fmla="*/ 2228546 w 12139750"/>
              <a:gd name="connsiteY3500" fmla="*/ 1215674 h 6858290"/>
              <a:gd name="connsiteX3501" fmla="*/ 2571449 w 12139750"/>
              <a:gd name="connsiteY3501" fmla="*/ 1123685 h 6858290"/>
              <a:gd name="connsiteX3502" fmla="*/ 2592851 w 12139750"/>
              <a:gd name="connsiteY3502" fmla="*/ 1122397 h 6858290"/>
              <a:gd name="connsiteX3503" fmla="*/ 3157611 w 12139750"/>
              <a:gd name="connsiteY3503" fmla="*/ 1116357 h 6858290"/>
              <a:gd name="connsiteX3504" fmla="*/ 3201720 w 12139750"/>
              <a:gd name="connsiteY3504" fmla="*/ 1159220 h 6858290"/>
              <a:gd name="connsiteX3505" fmla="*/ 3203622 w 12139750"/>
              <a:gd name="connsiteY3505" fmla="*/ 1172555 h 6858290"/>
              <a:gd name="connsiteX3506" fmla="*/ 3159900 w 12139750"/>
              <a:gd name="connsiteY3506" fmla="*/ 1227799 h 6858290"/>
              <a:gd name="connsiteX3507" fmla="*/ 2815798 w 12139750"/>
              <a:gd name="connsiteY3507" fmla="*/ 1303997 h 6858290"/>
              <a:gd name="connsiteX3508" fmla="*/ 2747356 w 12139750"/>
              <a:gd name="connsiteY3508" fmla="*/ 1260182 h 6858290"/>
              <a:gd name="connsiteX3509" fmla="*/ 2791085 w 12139750"/>
              <a:gd name="connsiteY3509" fmla="*/ 1191605 h 6858290"/>
              <a:gd name="connsiteX3510" fmla="*/ 3135178 w 12139750"/>
              <a:gd name="connsiteY3510" fmla="*/ 1117309 h 6858290"/>
              <a:gd name="connsiteX3511" fmla="*/ 3157611 w 12139750"/>
              <a:gd name="connsiteY3511" fmla="*/ 1116357 h 6858290"/>
              <a:gd name="connsiteX3512" fmla="*/ 9862398 w 12139750"/>
              <a:gd name="connsiteY3512" fmla="*/ 887331 h 6858290"/>
              <a:gd name="connsiteX3513" fmla="*/ 9878153 w 12139750"/>
              <a:gd name="connsiteY3513" fmla="*/ 895649 h 6858290"/>
              <a:gd name="connsiteX3514" fmla="*/ 9883882 w 12139750"/>
              <a:gd name="connsiteY3514" fmla="*/ 910857 h 6858290"/>
              <a:gd name="connsiteX3515" fmla="*/ 9874333 w 12139750"/>
              <a:gd name="connsiteY3515" fmla="*/ 929868 h 6858290"/>
              <a:gd name="connsiteX3516" fmla="*/ 9540128 w 12139750"/>
              <a:gd name="connsiteY3516" fmla="*/ 1184614 h 6858290"/>
              <a:gd name="connsiteX3517" fmla="*/ 9505753 w 12139750"/>
              <a:gd name="connsiteY3517" fmla="*/ 1178911 h 6858290"/>
              <a:gd name="connsiteX3518" fmla="*/ 9511482 w 12139750"/>
              <a:gd name="connsiteY3518" fmla="*/ 1144691 h 6858290"/>
              <a:gd name="connsiteX3519" fmla="*/ 9843777 w 12139750"/>
              <a:gd name="connsiteY3519" fmla="*/ 891846 h 6858290"/>
              <a:gd name="connsiteX3520" fmla="*/ 9862398 w 12139750"/>
              <a:gd name="connsiteY3520" fmla="*/ 887331 h 6858290"/>
              <a:gd name="connsiteX3521" fmla="*/ 9285227 w 12139750"/>
              <a:gd name="connsiteY3521" fmla="*/ 879270 h 6858290"/>
              <a:gd name="connsiteX3522" fmla="*/ 9301896 w 12139750"/>
              <a:gd name="connsiteY3522" fmla="*/ 890009 h 6858290"/>
              <a:gd name="connsiteX3523" fmla="*/ 9307611 w 12139750"/>
              <a:gd name="connsiteY3523" fmla="*/ 905281 h 6858290"/>
              <a:gd name="connsiteX3524" fmla="*/ 9296181 w 12139750"/>
              <a:gd name="connsiteY3524" fmla="*/ 928189 h 6858290"/>
              <a:gd name="connsiteX3525" fmla="*/ 8962802 w 12139750"/>
              <a:gd name="connsiteY3525" fmla="*/ 1168731 h 6858290"/>
              <a:gd name="connsiteX3526" fmla="*/ 8924701 w 12139750"/>
              <a:gd name="connsiteY3526" fmla="*/ 1161095 h 6858290"/>
              <a:gd name="connsiteX3527" fmla="*/ 8930416 w 12139750"/>
              <a:gd name="connsiteY3527" fmla="*/ 1124823 h 6858290"/>
              <a:gd name="connsiteX3528" fmla="*/ 9265700 w 12139750"/>
              <a:gd name="connsiteY3528" fmla="*/ 884282 h 6858290"/>
              <a:gd name="connsiteX3529" fmla="*/ 9285227 w 12139750"/>
              <a:gd name="connsiteY3529" fmla="*/ 879270 h 6858290"/>
              <a:gd name="connsiteX3530" fmla="*/ 10445943 w 12139750"/>
              <a:gd name="connsiteY3530" fmla="*/ 879249 h 6858290"/>
              <a:gd name="connsiteX3531" fmla="*/ 10464279 w 12139750"/>
              <a:gd name="connsiteY3531" fmla="*/ 889987 h 6858290"/>
              <a:gd name="connsiteX3532" fmla="*/ 10468089 w 12139750"/>
              <a:gd name="connsiteY3532" fmla="*/ 905259 h 6858290"/>
              <a:gd name="connsiteX3533" fmla="*/ 10458564 w 12139750"/>
              <a:gd name="connsiteY3533" fmla="*/ 928168 h 6858290"/>
              <a:gd name="connsiteX3534" fmla="*/ 10123280 w 12139750"/>
              <a:gd name="connsiteY3534" fmla="*/ 1168705 h 6858290"/>
              <a:gd name="connsiteX3535" fmla="*/ 10087084 w 12139750"/>
              <a:gd name="connsiteY3535" fmla="*/ 1161069 h 6858290"/>
              <a:gd name="connsiteX3536" fmla="*/ 10092799 w 12139750"/>
              <a:gd name="connsiteY3536" fmla="*/ 1124797 h 6858290"/>
              <a:gd name="connsiteX3537" fmla="*/ 10426178 w 12139750"/>
              <a:gd name="connsiteY3537" fmla="*/ 884260 h 6858290"/>
              <a:gd name="connsiteX3538" fmla="*/ 10445943 w 12139750"/>
              <a:gd name="connsiteY3538" fmla="*/ 879249 h 6858290"/>
              <a:gd name="connsiteX3539" fmla="*/ 8716319 w 12139750"/>
              <a:gd name="connsiteY3539" fmla="*/ 870617 h 6858290"/>
              <a:gd name="connsiteX3540" fmla="*/ 8735146 w 12139750"/>
              <a:gd name="connsiteY3540" fmla="*/ 883981 h 6858290"/>
              <a:gd name="connsiteX3541" fmla="*/ 8740866 w 12139750"/>
              <a:gd name="connsiteY3541" fmla="*/ 899254 h 6858290"/>
              <a:gd name="connsiteX3542" fmla="*/ 8727520 w 12139750"/>
              <a:gd name="connsiteY3542" fmla="*/ 924073 h 6858290"/>
              <a:gd name="connsiteX3543" fmla="*/ 8391968 w 12139750"/>
              <a:gd name="connsiteY3543" fmla="*/ 1151267 h 6858290"/>
              <a:gd name="connsiteX3544" fmla="*/ 8351931 w 12139750"/>
              <a:gd name="connsiteY3544" fmla="*/ 1141721 h 6858290"/>
              <a:gd name="connsiteX3545" fmla="*/ 8359557 w 12139750"/>
              <a:gd name="connsiteY3545" fmla="*/ 1101629 h 6858290"/>
              <a:gd name="connsiteX3546" fmla="*/ 8693202 w 12139750"/>
              <a:gd name="connsiteY3546" fmla="*/ 874435 h 6858290"/>
              <a:gd name="connsiteX3547" fmla="*/ 8716319 w 12139750"/>
              <a:gd name="connsiteY3547" fmla="*/ 870617 h 6858290"/>
              <a:gd name="connsiteX3548" fmla="*/ 11024254 w 12139750"/>
              <a:gd name="connsiteY3548" fmla="*/ 870594 h 6858290"/>
              <a:gd name="connsiteX3549" fmla="*/ 11043734 w 12139750"/>
              <a:gd name="connsiteY3549" fmla="*/ 883958 h 6858290"/>
              <a:gd name="connsiteX3550" fmla="*/ 11047535 w 12139750"/>
              <a:gd name="connsiteY3550" fmla="*/ 899231 h 6858290"/>
              <a:gd name="connsiteX3551" fmla="*/ 11036132 w 12139750"/>
              <a:gd name="connsiteY3551" fmla="*/ 924050 h 6858290"/>
              <a:gd name="connsiteX3552" fmla="*/ 10701654 w 12139750"/>
              <a:gd name="connsiteY3552" fmla="*/ 1151239 h 6858290"/>
              <a:gd name="connsiteX3553" fmla="*/ 10659844 w 12139750"/>
              <a:gd name="connsiteY3553" fmla="*/ 1141693 h 6858290"/>
              <a:gd name="connsiteX3554" fmla="*/ 10669346 w 12139750"/>
              <a:gd name="connsiteY3554" fmla="*/ 1101601 h 6858290"/>
              <a:gd name="connsiteX3555" fmla="*/ 11001924 w 12139750"/>
              <a:gd name="connsiteY3555" fmla="*/ 874412 h 6858290"/>
              <a:gd name="connsiteX3556" fmla="*/ 11024254 w 12139750"/>
              <a:gd name="connsiteY3556" fmla="*/ 870594 h 6858290"/>
              <a:gd name="connsiteX3557" fmla="*/ 8152171 w 12139750"/>
              <a:gd name="connsiteY3557" fmla="*/ 862274 h 6858290"/>
              <a:gd name="connsiteX3558" fmla="*/ 8171905 w 12139750"/>
              <a:gd name="connsiteY3558" fmla="*/ 876324 h 6858290"/>
              <a:gd name="connsiteX3559" fmla="*/ 8175709 w 12139750"/>
              <a:gd name="connsiteY3559" fmla="*/ 893468 h 6858290"/>
              <a:gd name="connsiteX3560" fmla="*/ 8162395 w 12139750"/>
              <a:gd name="connsiteY3560" fmla="*/ 920138 h 6858290"/>
              <a:gd name="connsiteX3561" fmla="*/ 7825735 w 12139750"/>
              <a:gd name="connsiteY3561" fmla="*/ 1133503 h 6858290"/>
              <a:gd name="connsiteX3562" fmla="*/ 7781988 w 12139750"/>
              <a:gd name="connsiteY3562" fmla="*/ 1123978 h 6858290"/>
              <a:gd name="connsiteX3563" fmla="*/ 7791498 w 12139750"/>
              <a:gd name="connsiteY3563" fmla="*/ 1078258 h 6858290"/>
              <a:gd name="connsiteX3564" fmla="*/ 8128158 w 12139750"/>
              <a:gd name="connsiteY3564" fmla="*/ 866799 h 6858290"/>
              <a:gd name="connsiteX3565" fmla="*/ 8152171 w 12139750"/>
              <a:gd name="connsiteY3565" fmla="*/ 862274 h 6858290"/>
              <a:gd name="connsiteX3566" fmla="*/ 11596678 w 12139750"/>
              <a:gd name="connsiteY3566" fmla="*/ 862268 h 6858290"/>
              <a:gd name="connsiteX3567" fmla="*/ 11616489 w 12139750"/>
              <a:gd name="connsiteY3567" fmla="*/ 876317 h 6858290"/>
              <a:gd name="connsiteX3568" fmla="*/ 11622218 w 12139750"/>
              <a:gd name="connsiteY3568" fmla="*/ 893462 h 6858290"/>
              <a:gd name="connsiteX3569" fmla="*/ 11606942 w 12139750"/>
              <a:gd name="connsiteY3569" fmla="*/ 920132 h 6858290"/>
              <a:gd name="connsiteX3570" fmla="*/ 11270867 w 12139750"/>
              <a:gd name="connsiteY3570" fmla="*/ 1133497 h 6858290"/>
              <a:gd name="connsiteX3571" fmla="*/ 11226948 w 12139750"/>
              <a:gd name="connsiteY3571" fmla="*/ 1123971 h 6858290"/>
              <a:gd name="connsiteX3572" fmla="*/ 11236495 w 12139750"/>
              <a:gd name="connsiteY3572" fmla="*/ 1078251 h 6858290"/>
              <a:gd name="connsiteX3573" fmla="*/ 11572571 w 12139750"/>
              <a:gd name="connsiteY3573" fmla="*/ 866793 h 6858290"/>
              <a:gd name="connsiteX3574" fmla="*/ 11596678 w 12139750"/>
              <a:gd name="connsiteY3574" fmla="*/ 862268 h 6858290"/>
              <a:gd name="connsiteX3575" fmla="*/ 12139750 w 12139750"/>
              <a:gd name="connsiteY3575" fmla="*/ 857266 h 6858290"/>
              <a:gd name="connsiteX3576" fmla="*/ 12139750 w 12139750"/>
              <a:gd name="connsiteY3576" fmla="*/ 935278 h 6858290"/>
              <a:gd name="connsiteX3577" fmla="*/ 11834946 w 12139750"/>
              <a:gd name="connsiteY3577" fmla="*/ 1116043 h 6858290"/>
              <a:gd name="connsiteX3578" fmla="*/ 11787320 w 12139750"/>
              <a:gd name="connsiteY3578" fmla="*/ 1104626 h 6858290"/>
              <a:gd name="connsiteX3579" fmla="*/ 11798750 w 12139750"/>
              <a:gd name="connsiteY3579" fmla="*/ 1057058 h 6858290"/>
              <a:gd name="connsiteX3580" fmla="*/ 12135940 w 12139750"/>
              <a:gd name="connsiteY3580" fmla="*/ 859168 h 6858290"/>
              <a:gd name="connsiteX3581" fmla="*/ 12139750 w 12139750"/>
              <a:gd name="connsiteY3581" fmla="*/ 857266 h 6858290"/>
              <a:gd name="connsiteX3582" fmla="*/ 7595013 w 12139750"/>
              <a:gd name="connsiteY3582" fmla="*/ 854170 h 6858290"/>
              <a:gd name="connsiteX3583" fmla="*/ 7615952 w 12139750"/>
              <a:gd name="connsiteY3583" fmla="*/ 870582 h 6858290"/>
              <a:gd name="connsiteX3584" fmla="*/ 7621663 w 12139750"/>
              <a:gd name="connsiteY3584" fmla="*/ 887708 h 6858290"/>
              <a:gd name="connsiteX3585" fmla="*/ 7604531 w 12139750"/>
              <a:gd name="connsiteY3585" fmla="*/ 918153 h 6858290"/>
              <a:gd name="connsiteX3586" fmla="*/ 7267601 w 12139750"/>
              <a:gd name="connsiteY3586" fmla="*/ 1116053 h 6858290"/>
              <a:gd name="connsiteX3587" fmla="*/ 7220013 w 12139750"/>
              <a:gd name="connsiteY3587" fmla="*/ 1104635 h 6858290"/>
              <a:gd name="connsiteX3588" fmla="*/ 7233337 w 12139750"/>
              <a:gd name="connsiteY3588" fmla="*/ 1057064 h 6858290"/>
              <a:gd name="connsiteX3589" fmla="*/ 7568363 w 12139750"/>
              <a:gd name="connsiteY3589" fmla="*/ 859165 h 6858290"/>
              <a:gd name="connsiteX3590" fmla="*/ 7595013 w 12139750"/>
              <a:gd name="connsiteY3590" fmla="*/ 854170 h 6858290"/>
              <a:gd name="connsiteX3591" fmla="*/ 7044817 w 12139750"/>
              <a:gd name="connsiteY3591" fmla="*/ 846270 h 6858290"/>
              <a:gd name="connsiteX3592" fmla="*/ 7066980 w 12139750"/>
              <a:gd name="connsiteY3592" fmla="*/ 864693 h 6858290"/>
              <a:gd name="connsiteX3593" fmla="*/ 7070793 w 12139750"/>
              <a:gd name="connsiteY3593" fmla="*/ 881918 h 6858290"/>
              <a:gd name="connsiteX3594" fmla="*/ 7051728 w 12139750"/>
              <a:gd name="connsiteY3594" fmla="*/ 914456 h 6858290"/>
              <a:gd name="connsiteX3595" fmla="*/ 6714282 w 12139750"/>
              <a:gd name="connsiteY3595" fmla="*/ 1100119 h 6858290"/>
              <a:gd name="connsiteX3596" fmla="*/ 6664714 w 12139750"/>
              <a:gd name="connsiteY3596" fmla="*/ 1084808 h 6858290"/>
              <a:gd name="connsiteX3597" fmla="*/ 6678059 w 12139750"/>
              <a:gd name="connsiteY3597" fmla="*/ 1035038 h 6858290"/>
              <a:gd name="connsiteX3598" fmla="*/ 7015505 w 12139750"/>
              <a:gd name="connsiteY3598" fmla="*/ 849380 h 6858290"/>
              <a:gd name="connsiteX3599" fmla="*/ 7044817 w 12139750"/>
              <a:gd name="connsiteY3599" fmla="*/ 846270 h 6858290"/>
              <a:gd name="connsiteX3600" fmla="*/ 6485646 w 12139750"/>
              <a:gd name="connsiteY3600" fmla="*/ 836909 h 6858290"/>
              <a:gd name="connsiteX3601" fmla="*/ 6524041 w 12139750"/>
              <a:gd name="connsiteY3601" fmla="*/ 858929 h 6858290"/>
              <a:gd name="connsiteX3602" fmla="*/ 6527860 w 12139750"/>
              <a:gd name="connsiteY3602" fmla="*/ 876115 h 6858290"/>
              <a:gd name="connsiteX3603" fmla="*/ 6506857 w 12139750"/>
              <a:gd name="connsiteY3603" fmla="*/ 912398 h 6858290"/>
              <a:gd name="connsiteX3604" fmla="*/ 6166999 w 12139750"/>
              <a:gd name="connsiteY3604" fmla="*/ 1082357 h 6858290"/>
              <a:gd name="connsiteX3605" fmla="*/ 6113538 w 12139750"/>
              <a:gd name="connsiteY3605" fmla="*/ 1065171 h 6858290"/>
              <a:gd name="connsiteX3606" fmla="*/ 6130722 w 12139750"/>
              <a:gd name="connsiteY3606" fmla="*/ 1011697 h 6858290"/>
              <a:gd name="connsiteX3607" fmla="*/ 6470580 w 12139750"/>
              <a:gd name="connsiteY3607" fmla="*/ 841743 h 6858290"/>
              <a:gd name="connsiteX3608" fmla="*/ 6485646 w 12139750"/>
              <a:gd name="connsiteY3608" fmla="*/ 836909 h 6858290"/>
              <a:gd name="connsiteX3609" fmla="*/ 5957785 w 12139750"/>
              <a:gd name="connsiteY3609" fmla="*/ 832476 h 6858290"/>
              <a:gd name="connsiteX3610" fmla="*/ 5981120 w 12139750"/>
              <a:gd name="connsiteY3610" fmla="*/ 854301 h 6858290"/>
              <a:gd name="connsiteX3611" fmla="*/ 5984930 w 12139750"/>
              <a:gd name="connsiteY3611" fmla="*/ 871381 h 6858290"/>
              <a:gd name="connsiteX3612" fmla="*/ 5962070 w 12139750"/>
              <a:gd name="connsiteY3612" fmla="*/ 909338 h 6858290"/>
              <a:gd name="connsiteX3613" fmla="*/ 5622984 w 12139750"/>
              <a:gd name="connsiteY3613" fmla="*/ 1066863 h 6858290"/>
              <a:gd name="connsiteX3614" fmla="*/ 5565833 w 12139750"/>
              <a:gd name="connsiteY3614" fmla="*/ 1045982 h 6858290"/>
              <a:gd name="connsiteX3615" fmla="*/ 5586789 w 12139750"/>
              <a:gd name="connsiteY3615" fmla="*/ 990945 h 6858290"/>
              <a:gd name="connsiteX3616" fmla="*/ 5925877 w 12139750"/>
              <a:gd name="connsiteY3616" fmla="*/ 833424 h 6858290"/>
              <a:gd name="connsiteX3617" fmla="*/ 5957785 w 12139750"/>
              <a:gd name="connsiteY3617" fmla="*/ 832476 h 6858290"/>
              <a:gd name="connsiteX3618" fmla="*/ 398307 w 12139750"/>
              <a:gd name="connsiteY3618" fmla="*/ 832466 h 6858290"/>
              <a:gd name="connsiteX3619" fmla="*/ 421644 w 12139750"/>
              <a:gd name="connsiteY3619" fmla="*/ 854291 h 6858290"/>
              <a:gd name="connsiteX3620" fmla="*/ 425454 w 12139750"/>
              <a:gd name="connsiteY3620" fmla="*/ 871371 h 6858290"/>
              <a:gd name="connsiteX3621" fmla="*/ 400689 w 12139750"/>
              <a:gd name="connsiteY3621" fmla="*/ 909328 h 6858290"/>
              <a:gd name="connsiteX3622" fmla="*/ 61595 w 12139750"/>
              <a:gd name="connsiteY3622" fmla="*/ 1066852 h 6858290"/>
              <a:gd name="connsiteX3623" fmla="*/ 6349 w 12139750"/>
              <a:gd name="connsiteY3623" fmla="*/ 1045972 h 6858290"/>
              <a:gd name="connsiteX3624" fmla="*/ 27304 w 12139750"/>
              <a:gd name="connsiteY3624" fmla="*/ 990935 h 6858290"/>
              <a:gd name="connsiteX3625" fmla="*/ 366398 w 12139750"/>
              <a:gd name="connsiteY3625" fmla="*/ 833414 h 6858290"/>
              <a:gd name="connsiteX3626" fmla="*/ 398307 w 12139750"/>
              <a:gd name="connsiteY3626" fmla="*/ 832466 h 6858290"/>
              <a:gd name="connsiteX3627" fmla="*/ 5410477 w 12139750"/>
              <a:gd name="connsiteY3627" fmla="*/ 824774 h 6858290"/>
              <a:gd name="connsiteX3628" fmla="*/ 5435021 w 12139750"/>
              <a:gd name="connsiteY3628" fmla="*/ 848257 h 6858290"/>
              <a:gd name="connsiteX3629" fmla="*/ 5438834 w 12139750"/>
              <a:gd name="connsiteY3629" fmla="*/ 865335 h 6858290"/>
              <a:gd name="connsiteX3630" fmla="*/ 5410239 w 12139750"/>
              <a:gd name="connsiteY3630" fmla="*/ 907081 h 6858290"/>
              <a:gd name="connsiteX3631" fmla="*/ 5070896 w 12139750"/>
              <a:gd name="connsiteY3631" fmla="*/ 1049397 h 6858290"/>
              <a:gd name="connsiteX3632" fmla="*/ 5011805 w 12139750"/>
              <a:gd name="connsiteY3632" fmla="*/ 1024730 h 6858290"/>
              <a:gd name="connsiteX3633" fmla="*/ 5034678 w 12139750"/>
              <a:gd name="connsiteY3633" fmla="*/ 967803 h 6858290"/>
              <a:gd name="connsiteX3634" fmla="*/ 5375924 w 12139750"/>
              <a:gd name="connsiteY3634" fmla="*/ 825486 h 6858290"/>
              <a:gd name="connsiteX3635" fmla="*/ 5410477 w 12139750"/>
              <a:gd name="connsiteY3635" fmla="*/ 824774 h 6858290"/>
              <a:gd name="connsiteX3636" fmla="*/ 944785 w 12139750"/>
              <a:gd name="connsiteY3636" fmla="*/ 824762 h 6858290"/>
              <a:gd name="connsiteX3637" fmla="*/ 969330 w 12139750"/>
              <a:gd name="connsiteY3637" fmla="*/ 848245 h 6858290"/>
              <a:gd name="connsiteX3638" fmla="*/ 973143 w 12139750"/>
              <a:gd name="connsiteY3638" fmla="*/ 865323 h 6858290"/>
              <a:gd name="connsiteX3639" fmla="*/ 946453 w 12139750"/>
              <a:gd name="connsiteY3639" fmla="*/ 907069 h 6858290"/>
              <a:gd name="connsiteX3640" fmla="*/ 605206 w 12139750"/>
              <a:gd name="connsiteY3640" fmla="*/ 1049386 h 6858290"/>
              <a:gd name="connsiteX3641" fmla="*/ 546108 w 12139750"/>
              <a:gd name="connsiteY3641" fmla="*/ 1024718 h 6858290"/>
              <a:gd name="connsiteX3642" fmla="*/ 570891 w 12139750"/>
              <a:gd name="connsiteY3642" fmla="*/ 967791 h 6858290"/>
              <a:gd name="connsiteX3643" fmla="*/ 910231 w 12139750"/>
              <a:gd name="connsiteY3643" fmla="*/ 825474 h 6858290"/>
              <a:gd name="connsiteX3644" fmla="*/ 944785 w 12139750"/>
              <a:gd name="connsiteY3644" fmla="*/ 824762 h 6858290"/>
              <a:gd name="connsiteX3645" fmla="*/ 4842165 w 12139750"/>
              <a:gd name="connsiteY3645" fmla="*/ 812941 h 6858290"/>
              <a:gd name="connsiteX3646" fmla="*/ 4884469 w 12139750"/>
              <a:gd name="connsiteY3646" fmla="*/ 842717 h 6858290"/>
              <a:gd name="connsiteX3647" fmla="*/ 4886373 w 12139750"/>
              <a:gd name="connsiteY3647" fmla="*/ 859885 h 6858290"/>
              <a:gd name="connsiteX3648" fmla="*/ 4855912 w 12139750"/>
              <a:gd name="connsiteY3648" fmla="*/ 903759 h 6858290"/>
              <a:gd name="connsiteX3649" fmla="*/ 4515162 w 12139750"/>
              <a:gd name="connsiteY3649" fmla="*/ 1033473 h 6858290"/>
              <a:gd name="connsiteX3650" fmla="*/ 4454246 w 12139750"/>
              <a:gd name="connsiteY3650" fmla="*/ 1006767 h 6858290"/>
              <a:gd name="connsiteX3651" fmla="*/ 4482802 w 12139750"/>
              <a:gd name="connsiteY3651" fmla="*/ 945725 h 6858290"/>
              <a:gd name="connsiteX3652" fmla="*/ 4823545 w 12139750"/>
              <a:gd name="connsiteY3652" fmla="*/ 816011 h 6858290"/>
              <a:gd name="connsiteX3653" fmla="*/ 4842165 w 12139750"/>
              <a:gd name="connsiteY3653" fmla="*/ 812941 h 6858290"/>
              <a:gd name="connsiteX3654" fmla="*/ 1476350 w 12139750"/>
              <a:gd name="connsiteY3654" fmla="*/ 812927 h 6858290"/>
              <a:gd name="connsiteX3655" fmla="*/ 1518617 w 12139750"/>
              <a:gd name="connsiteY3655" fmla="*/ 842703 h 6858290"/>
              <a:gd name="connsiteX3656" fmla="*/ 1522421 w 12139750"/>
              <a:gd name="connsiteY3656" fmla="*/ 859871 h 6858290"/>
              <a:gd name="connsiteX3657" fmla="*/ 1491985 w 12139750"/>
              <a:gd name="connsiteY3657" fmla="*/ 903745 h 6858290"/>
              <a:gd name="connsiteX3658" fmla="*/ 1151475 w 12139750"/>
              <a:gd name="connsiteY3658" fmla="*/ 1033459 h 6858290"/>
              <a:gd name="connsiteX3659" fmla="*/ 1090602 w 12139750"/>
              <a:gd name="connsiteY3659" fmla="*/ 1006753 h 6858290"/>
              <a:gd name="connsiteX3660" fmla="*/ 1117234 w 12139750"/>
              <a:gd name="connsiteY3660" fmla="*/ 945711 h 6858290"/>
              <a:gd name="connsiteX3661" fmla="*/ 1457744 w 12139750"/>
              <a:gd name="connsiteY3661" fmla="*/ 815997 h 6858290"/>
              <a:gd name="connsiteX3662" fmla="*/ 1476350 w 12139750"/>
              <a:gd name="connsiteY3662" fmla="*/ 812927 h 6858290"/>
              <a:gd name="connsiteX3663" fmla="*/ 4285653 w 12139750"/>
              <a:gd name="connsiteY3663" fmla="*/ 804258 h 6858290"/>
              <a:gd name="connsiteX3664" fmla="*/ 4328517 w 12139750"/>
              <a:gd name="connsiteY3664" fmla="*/ 838596 h 6858290"/>
              <a:gd name="connsiteX3665" fmla="*/ 4332326 w 12139750"/>
              <a:gd name="connsiteY3665" fmla="*/ 853857 h 6858290"/>
              <a:gd name="connsiteX3666" fmla="*/ 4298036 w 12139750"/>
              <a:gd name="connsiteY3666" fmla="*/ 901549 h 6858290"/>
              <a:gd name="connsiteX3667" fmla="*/ 3957054 w 12139750"/>
              <a:gd name="connsiteY3667" fmla="*/ 1017917 h 6858290"/>
              <a:gd name="connsiteX3668" fmla="*/ 3894188 w 12139750"/>
              <a:gd name="connsiteY3668" fmla="*/ 985486 h 6858290"/>
              <a:gd name="connsiteX3669" fmla="*/ 3924670 w 12139750"/>
              <a:gd name="connsiteY3669" fmla="*/ 922533 h 6858290"/>
              <a:gd name="connsiteX3670" fmla="*/ 4265648 w 12139750"/>
              <a:gd name="connsiteY3670" fmla="*/ 806166 h 6858290"/>
              <a:gd name="connsiteX3671" fmla="*/ 4285653 w 12139750"/>
              <a:gd name="connsiteY3671" fmla="*/ 804258 h 6858290"/>
              <a:gd name="connsiteX3672" fmla="*/ 2032209 w 12139750"/>
              <a:gd name="connsiteY3672" fmla="*/ 804242 h 6858290"/>
              <a:gd name="connsiteX3673" fmla="*/ 2076149 w 12139750"/>
              <a:gd name="connsiteY3673" fmla="*/ 838580 h 6858290"/>
              <a:gd name="connsiteX3674" fmla="*/ 2078054 w 12139750"/>
              <a:gd name="connsiteY3674" fmla="*/ 853842 h 6858290"/>
              <a:gd name="connsiteX3675" fmla="*/ 2043758 w 12139750"/>
              <a:gd name="connsiteY3675" fmla="*/ 901533 h 6858290"/>
              <a:gd name="connsiteX3676" fmla="*/ 1702759 w 12139750"/>
              <a:gd name="connsiteY3676" fmla="*/ 1017901 h 6858290"/>
              <a:gd name="connsiteX3677" fmla="*/ 1639894 w 12139750"/>
              <a:gd name="connsiteY3677" fmla="*/ 985471 h 6858290"/>
              <a:gd name="connsiteX3678" fmla="*/ 1670374 w 12139750"/>
              <a:gd name="connsiteY3678" fmla="*/ 922518 h 6858290"/>
              <a:gd name="connsiteX3679" fmla="*/ 2013278 w 12139750"/>
              <a:gd name="connsiteY3679" fmla="*/ 806150 h 6858290"/>
              <a:gd name="connsiteX3680" fmla="*/ 2032209 w 12139750"/>
              <a:gd name="connsiteY3680" fmla="*/ 804242 h 6858290"/>
              <a:gd name="connsiteX3681" fmla="*/ 3725237 w 12139750"/>
              <a:gd name="connsiteY3681" fmla="*/ 796620 h 6858290"/>
              <a:gd name="connsiteX3682" fmla="*/ 3770041 w 12139750"/>
              <a:gd name="connsiteY3682" fmla="*/ 832569 h 6858290"/>
              <a:gd name="connsiteX3683" fmla="*/ 3771946 w 12139750"/>
              <a:gd name="connsiteY3683" fmla="*/ 847831 h 6858290"/>
              <a:gd name="connsiteX3684" fmla="*/ 3733792 w 12139750"/>
              <a:gd name="connsiteY3684" fmla="*/ 897434 h 6858290"/>
              <a:gd name="connsiteX3685" fmla="*/ 3390422 w 12139750"/>
              <a:gd name="connsiteY3685" fmla="*/ 1000454 h 6858290"/>
              <a:gd name="connsiteX3686" fmla="*/ 3325558 w 12139750"/>
              <a:gd name="connsiteY3686" fmla="*/ 964206 h 6858290"/>
              <a:gd name="connsiteX3687" fmla="*/ 3361805 w 12139750"/>
              <a:gd name="connsiteY3687" fmla="*/ 899342 h 6858290"/>
              <a:gd name="connsiteX3688" fmla="*/ 3705176 w 12139750"/>
              <a:gd name="connsiteY3688" fmla="*/ 798229 h 6858290"/>
              <a:gd name="connsiteX3689" fmla="*/ 3725237 w 12139750"/>
              <a:gd name="connsiteY3689" fmla="*/ 796620 h 6858290"/>
              <a:gd name="connsiteX3690" fmla="*/ 2591734 w 12139750"/>
              <a:gd name="connsiteY3690" fmla="*/ 796602 h 6858290"/>
              <a:gd name="connsiteX3691" fmla="*/ 2636535 w 12139750"/>
              <a:gd name="connsiteY3691" fmla="*/ 832551 h 6858290"/>
              <a:gd name="connsiteX3692" fmla="*/ 2638443 w 12139750"/>
              <a:gd name="connsiteY3692" fmla="*/ 847814 h 6858290"/>
              <a:gd name="connsiteX3693" fmla="*/ 2600289 w 12139750"/>
              <a:gd name="connsiteY3693" fmla="*/ 897416 h 6858290"/>
              <a:gd name="connsiteX3694" fmla="*/ 2256905 w 12139750"/>
              <a:gd name="connsiteY3694" fmla="*/ 1000437 h 6858290"/>
              <a:gd name="connsiteX3695" fmla="*/ 2192043 w 12139750"/>
              <a:gd name="connsiteY3695" fmla="*/ 964189 h 6858290"/>
              <a:gd name="connsiteX3696" fmla="*/ 2228290 w 12139750"/>
              <a:gd name="connsiteY3696" fmla="*/ 899324 h 6858290"/>
              <a:gd name="connsiteX3697" fmla="*/ 2571674 w 12139750"/>
              <a:gd name="connsiteY3697" fmla="*/ 798211 h 6858290"/>
              <a:gd name="connsiteX3698" fmla="*/ 2591734 w 12139750"/>
              <a:gd name="connsiteY3698" fmla="*/ 796602 h 6858290"/>
              <a:gd name="connsiteX3699" fmla="*/ 3154889 w 12139750"/>
              <a:gd name="connsiteY3699" fmla="*/ 787711 h 6858290"/>
              <a:gd name="connsiteX3700" fmla="*/ 3200131 w 12139750"/>
              <a:gd name="connsiteY3700" fmla="*/ 828698 h 6858290"/>
              <a:gd name="connsiteX3701" fmla="*/ 3202035 w 12139750"/>
              <a:gd name="connsiteY3701" fmla="*/ 842033 h 6858290"/>
              <a:gd name="connsiteX3702" fmla="*/ 3160154 w 12139750"/>
              <a:gd name="connsiteY3702" fmla="*/ 895372 h 6858290"/>
              <a:gd name="connsiteX3703" fmla="*/ 2817485 w 12139750"/>
              <a:gd name="connsiteY3703" fmla="*/ 983002 h 6858290"/>
              <a:gd name="connsiteX3704" fmla="*/ 2750856 w 12139750"/>
              <a:gd name="connsiteY3704" fmla="*/ 944903 h 6858290"/>
              <a:gd name="connsiteX3705" fmla="*/ 2788928 w 12139750"/>
              <a:gd name="connsiteY3705" fmla="*/ 878228 h 6858290"/>
              <a:gd name="connsiteX3706" fmla="*/ 3133501 w 12139750"/>
              <a:gd name="connsiteY3706" fmla="*/ 788693 h 6858290"/>
              <a:gd name="connsiteX3707" fmla="*/ 3154889 w 12139750"/>
              <a:gd name="connsiteY3707" fmla="*/ 787711 h 6858290"/>
              <a:gd name="connsiteX3708" fmla="*/ 9863739 w 12139750"/>
              <a:gd name="connsiteY3708" fmla="*/ 570068 h 6858290"/>
              <a:gd name="connsiteX3709" fmla="*/ 9881347 w 12139750"/>
              <a:gd name="connsiteY3709" fmla="*/ 580048 h 6858290"/>
              <a:gd name="connsiteX3710" fmla="*/ 9887057 w 12139750"/>
              <a:gd name="connsiteY3710" fmla="*/ 597157 h 6858290"/>
              <a:gd name="connsiteX3711" fmla="*/ 9875636 w 12139750"/>
              <a:gd name="connsiteY3711" fmla="*/ 618067 h 6858290"/>
              <a:gd name="connsiteX3712" fmla="*/ 9540623 w 12139750"/>
              <a:gd name="connsiteY3712" fmla="*/ 857587 h 6858290"/>
              <a:gd name="connsiteX3713" fmla="*/ 9504456 w 12139750"/>
              <a:gd name="connsiteY3713" fmla="*/ 849984 h 6858290"/>
              <a:gd name="connsiteX3714" fmla="*/ 9510167 w 12139750"/>
              <a:gd name="connsiteY3714" fmla="*/ 811965 h 6858290"/>
              <a:gd name="connsiteX3715" fmla="*/ 9843277 w 12139750"/>
              <a:gd name="connsiteY3715" fmla="*/ 574345 h 6858290"/>
              <a:gd name="connsiteX3716" fmla="*/ 9863739 w 12139750"/>
              <a:gd name="connsiteY3716" fmla="*/ 570068 h 6858290"/>
              <a:gd name="connsiteX3717" fmla="*/ 9288066 w 12139750"/>
              <a:gd name="connsiteY3717" fmla="*/ 561743 h 6858290"/>
              <a:gd name="connsiteX3718" fmla="*/ 9306654 w 12139750"/>
              <a:gd name="connsiteY3718" fmla="*/ 574308 h 6858290"/>
              <a:gd name="connsiteX3719" fmla="*/ 9312374 w 12139750"/>
              <a:gd name="connsiteY3719" fmla="*/ 589483 h 6858290"/>
              <a:gd name="connsiteX3720" fmla="*/ 9299028 w 12139750"/>
              <a:gd name="connsiteY3720" fmla="*/ 614140 h 6858290"/>
              <a:gd name="connsiteX3721" fmla="*/ 8963476 w 12139750"/>
              <a:gd name="connsiteY3721" fmla="*/ 839853 h 6858290"/>
              <a:gd name="connsiteX3722" fmla="*/ 8923439 w 12139750"/>
              <a:gd name="connsiteY3722" fmla="*/ 832266 h 6858290"/>
              <a:gd name="connsiteX3723" fmla="*/ 8931065 w 12139750"/>
              <a:gd name="connsiteY3723" fmla="*/ 792434 h 6858290"/>
              <a:gd name="connsiteX3724" fmla="*/ 9266617 w 12139750"/>
              <a:gd name="connsiteY3724" fmla="*/ 564825 h 6858290"/>
              <a:gd name="connsiteX3725" fmla="*/ 9288066 w 12139750"/>
              <a:gd name="connsiteY3725" fmla="*/ 561743 h 6858290"/>
              <a:gd name="connsiteX3726" fmla="*/ 10448544 w 12139750"/>
              <a:gd name="connsiteY3726" fmla="*/ 561719 h 6858290"/>
              <a:gd name="connsiteX3727" fmla="*/ 10467132 w 12139750"/>
              <a:gd name="connsiteY3727" fmla="*/ 574285 h 6858290"/>
              <a:gd name="connsiteX3728" fmla="*/ 10472852 w 12139750"/>
              <a:gd name="connsiteY3728" fmla="*/ 589459 h 6858290"/>
              <a:gd name="connsiteX3729" fmla="*/ 10459506 w 12139750"/>
              <a:gd name="connsiteY3729" fmla="*/ 614117 h 6858290"/>
              <a:gd name="connsiteX3730" fmla="*/ 10123954 w 12139750"/>
              <a:gd name="connsiteY3730" fmla="*/ 839831 h 6858290"/>
              <a:gd name="connsiteX3731" fmla="*/ 10083917 w 12139750"/>
              <a:gd name="connsiteY3731" fmla="*/ 832244 h 6858290"/>
              <a:gd name="connsiteX3732" fmla="*/ 10091543 w 12139750"/>
              <a:gd name="connsiteY3732" fmla="*/ 792412 h 6858290"/>
              <a:gd name="connsiteX3733" fmla="*/ 10427095 w 12139750"/>
              <a:gd name="connsiteY3733" fmla="*/ 564801 h 6858290"/>
              <a:gd name="connsiteX3734" fmla="*/ 10448544 w 12139750"/>
              <a:gd name="connsiteY3734" fmla="*/ 561719 h 6858290"/>
              <a:gd name="connsiteX3735" fmla="*/ 8716914 w 12139750"/>
              <a:gd name="connsiteY3735" fmla="*/ 552708 h 6858290"/>
              <a:gd name="connsiteX3736" fmla="*/ 8736725 w 12139750"/>
              <a:gd name="connsiteY3736" fmla="*/ 566742 h 6858290"/>
              <a:gd name="connsiteX3737" fmla="*/ 8742454 w 12139750"/>
              <a:gd name="connsiteY3737" fmla="*/ 583868 h 6858290"/>
              <a:gd name="connsiteX3738" fmla="*/ 8727178 w 12139750"/>
              <a:gd name="connsiteY3738" fmla="*/ 608605 h 6858290"/>
              <a:gd name="connsiteX3739" fmla="*/ 8391103 w 12139750"/>
              <a:gd name="connsiteY3739" fmla="*/ 825535 h 6858290"/>
              <a:gd name="connsiteX3740" fmla="*/ 8347184 w 12139750"/>
              <a:gd name="connsiteY3740" fmla="*/ 816021 h 6858290"/>
              <a:gd name="connsiteX3741" fmla="*/ 8356731 w 12139750"/>
              <a:gd name="connsiteY3741" fmla="*/ 772254 h 6858290"/>
              <a:gd name="connsiteX3742" fmla="*/ 8692807 w 12139750"/>
              <a:gd name="connsiteY3742" fmla="*/ 557227 h 6858290"/>
              <a:gd name="connsiteX3743" fmla="*/ 8716914 w 12139750"/>
              <a:gd name="connsiteY3743" fmla="*/ 552708 h 6858290"/>
              <a:gd name="connsiteX3744" fmla="*/ 11026758 w 12139750"/>
              <a:gd name="connsiteY3744" fmla="*/ 552682 h 6858290"/>
              <a:gd name="connsiteX3745" fmla="*/ 11046569 w 12139750"/>
              <a:gd name="connsiteY3745" fmla="*/ 566716 h 6858290"/>
              <a:gd name="connsiteX3746" fmla="*/ 11052298 w 12139750"/>
              <a:gd name="connsiteY3746" fmla="*/ 583843 h 6858290"/>
              <a:gd name="connsiteX3747" fmla="*/ 11037022 w 12139750"/>
              <a:gd name="connsiteY3747" fmla="*/ 608580 h 6858290"/>
              <a:gd name="connsiteX3748" fmla="*/ 10700947 w 12139750"/>
              <a:gd name="connsiteY3748" fmla="*/ 825511 h 6858290"/>
              <a:gd name="connsiteX3749" fmla="*/ 10657028 w 12139750"/>
              <a:gd name="connsiteY3749" fmla="*/ 815996 h 6858290"/>
              <a:gd name="connsiteX3750" fmla="*/ 10666575 w 12139750"/>
              <a:gd name="connsiteY3750" fmla="*/ 772230 h 6858290"/>
              <a:gd name="connsiteX3751" fmla="*/ 11002651 w 12139750"/>
              <a:gd name="connsiteY3751" fmla="*/ 557202 h 6858290"/>
              <a:gd name="connsiteX3752" fmla="*/ 11026758 w 12139750"/>
              <a:gd name="connsiteY3752" fmla="*/ 552682 h 6858290"/>
              <a:gd name="connsiteX3753" fmla="*/ 8152845 w 12139750"/>
              <a:gd name="connsiteY3753" fmla="*/ 544127 h 6858290"/>
              <a:gd name="connsiteX3754" fmla="*/ 8173498 w 12139750"/>
              <a:gd name="connsiteY3754" fmla="*/ 559095 h 6858290"/>
              <a:gd name="connsiteX3755" fmla="*/ 8177296 w 12139750"/>
              <a:gd name="connsiteY3755" fmla="*/ 576201 h 6858290"/>
              <a:gd name="connsiteX3756" fmla="*/ 8162103 w 12139750"/>
              <a:gd name="connsiteY3756" fmla="*/ 604711 h 6858290"/>
              <a:gd name="connsiteX3757" fmla="*/ 7825963 w 12139750"/>
              <a:gd name="connsiteY3757" fmla="*/ 808083 h 6858290"/>
              <a:gd name="connsiteX3758" fmla="*/ 7780385 w 12139750"/>
              <a:gd name="connsiteY3758" fmla="*/ 796679 h 6858290"/>
              <a:gd name="connsiteX3759" fmla="*/ 7791780 w 12139750"/>
              <a:gd name="connsiteY3759" fmla="*/ 751063 h 6858290"/>
              <a:gd name="connsiteX3760" fmla="*/ 8127919 w 12139750"/>
              <a:gd name="connsiteY3760" fmla="*/ 547691 h 6858290"/>
              <a:gd name="connsiteX3761" fmla="*/ 8152845 w 12139750"/>
              <a:gd name="connsiteY3761" fmla="*/ 544127 h 6858290"/>
              <a:gd name="connsiteX3762" fmla="*/ 11598067 w 12139750"/>
              <a:gd name="connsiteY3762" fmla="*/ 544120 h 6858290"/>
              <a:gd name="connsiteX3763" fmla="*/ 11618085 w 12139750"/>
              <a:gd name="connsiteY3763" fmla="*/ 559088 h 6858290"/>
              <a:gd name="connsiteX3764" fmla="*/ 11623805 w 12139750"/>
              <a:gd name="connsiteY3764" fmla="*/ 576194 h 6858290"/>
              <a:gd name="connsiteX3765" fmla="*/ 11606646 w 12139750"/>
              <a:gd name="connsiteY3765" fmla="*/ 604704 h 6858290"/>
              <a:gd name="connsiteX3766" fmla="*/ 11271101 w 12139750"/>
              <a:gd name="connsiteY3766" fmla="*/ 808077 h 6858290"/>
              <a:gd name="connsiteX3767" fmla="*/ 11225345 w 12139750"/>
              <a:gd name="connsiteY3767" fmla="*/ 796673 h 6858290"/>
              <a:gd name="connsiteX3768" fmla="*/ 11236784 w 12139750"/>
              <a:gd name="connsiteY3768" fmla="*/ 751056 h 6858290"/>
              <a:gd name="connsiteX3769" fmla="*/ 11572329 w 12139750"/>
              <a:gd name="connsiteY3769" fmla="*/ 547684 h 6858290"/>
              <a:gd name="connsiteX3770" fmla="*/ 11598067 w 12139750"/>
              <a:gd name="connsiteY3770" fmla="*/ 544120 h 6858290"/>
              <a:gd name="connsiteX3771" fmla="*/ 12139750 w 12139750"/>
              <a:gd name="connsiteY3771" fmla="*/ 535003 h 6858290"/>
              <a:gd name="connsiteX3772" fmla="*/ 12139750 w 12139750"/>
              <a:gd name="connsiteY3772" fmla="*/ 616918 h 6858290"/>
              <a:gd name="connsiteX3773" fmla="*/ 11835212 w 12139750"/>
              <a:gd name="connsiteY3773" fmla="*/ 792178 h 6858290"/>
              <a:gd name="connsiteX3774" fmla="*/ 11785725 w 12139750"/>
              <a:gd name="connsiteY3774" fmla="*/ 778843 h 6858290"/>
              <a:gd name="connsiteX3775" fmla="*/ 11799048 w 12139750"/>
              <a:gd name="connsiteY3775" fmla="*/ 729313 h 6858290"/>
              <a:gd name="connsiteX3776" fmla="*/ 12135943 w 12139750"/>
              <a:gd name="connsiteY3776" fmla="*/ 536908 h 6858290"/>
              <a:gd name="connsiteX3777" fmla="*/ 12139750 w 12139750"/>
              <a:gd name="connsiteY3777" fmla="*/ 535003 h 6858290"/>
              <a:gd name="connsiteX3778" fmla="*/ 7595886 w 12139750"/>
              <a:gd name="connsiteY3778" fmla="*/ 534825 h 6858290"/>
              <a:gd name="connsiteX3779" fmla="*/ 7617844 w 12139750"/>
              <a:gd name="connsiteY3779" fmla="*/ 551417 h 6858290"/>
              <a:gd name="connsiteX3780" fmla="*/ 7621663 w 12139750"/>
              <a:gd name="connsiteY3780" fmla="*/ 568482 h 6858290"/>
              <a:gd name="connsiteX3781" fmla="*/ 7604478 w 12139750"/>
              <a:gd name="connsiteY3781" fmla="*/ 600717 h 6858290"/>
              <a:gd name="connsiteX3782" fmla="*/ 7266512 w 12139750"/>
              <a:gd name="connsiteY3782" fmla="*/ 792231 h 6858290"/>
              <a:gd name="connsiteX3783" fmla="*/ 7218776 w 12139750"/>
              <a:gd name="connsiteY3783" fmla="*/ 778957 h 6858290"/>
              <a:gd name="connsiteX3784" fmla="*/ 7230233 w 12139750"/>
              <a:gd name="connsiteY3784" fmla="*/ 729657 h 6858290"/>
              <a:gd name="connsiteX3785" fmla="*/ 7568199 w 12139750"/>
              <a:gd name="connsiteY3785" fmla="*/ 538144 h 6858290"/>
              <a:gd name="connsiteX3786" fmla="*/ 7595886 w 12139750"/>
              <a:gd name="connsiteY3786" fmla="*/ 534825 h 6858290"/>
              <a:gd name="connsiteX3787" fmla="*/ 7044520 w 12139750"/>
              <a:gd name="connsiteY3787" fmla="*/ 526281 h 6858290"/>
              <a:gd name="connsiteX3788" fmla="*/ 7066666 w 12139750"/>
              <a:gd name="connsiteY3788" fmla="*/ 543903 h 6858290"/>
              <a:gd name="connsiteX3789" fmla="*/ 7072381 w 12139750"/>
              <a:gd name="connsiteY3789" fmla="*/ 562953 h 6858290"/>
              <a:gd name="connsiteX3790" fmla="*/ 7051425 w 12139750"/>
              <a:gd name="connsiteY3790" fmla="*/ 595337 h 6858290"/>
              <a:gd name="connsiteX3791" fmla="*/ 6714236 w 12139750"/>
              <a:gd name="connsiteY3791" fmla="*/ 776312 h 6858290"/>
              <a:gd name="connsiteX3792" fmla="*/ 6662800 w 12139750"/>
              <a:gd name="connsiteY3792" fmla="*/ 761072 h 6858290"/>
              <a:gd name="connsiteX3793" fmla="*/ 6678040 w 12139750"/>
              <a:gd name="connsiteY3793" fmla="*/ 709637 h 6858290"/>
              <a:gd name="connsiteX3794" fmla="*/ 7015230 w 12139750"/>
              <a:gd name="connsiteY3794" fmla="*/ 528663 h 6858290"/>
              <a:gd name="connsiteX3795" fmla="*/ 7044520 w 12139750"/>
              <a:gd name="connsiteY3795" fmla="*/ 526281 h 6858290"/>
              <a:gd name="connsiteX3796" fmla="*/ 6500891 w 12139750"/>
              <a:gd name="connsiteY3796" fmla="*/ 517214 h 6858290"/>
              <a:gd name="connsiteX3797" fmla="*/ 6524041 w 12139750"/>
              <a:gd name="connsiteY3797" fmla="*/ 538118 h 6858290"/>
              <a:gd name="connsiteX3798" fmla="*/ 6527860 w 12139750"/>
              <a:gd name="connsiteY3798" fmla="*/ 555221 h 6858290"/>
              <a:gd name="connsiteX3799" fmla="*/ 6506857 w 12139750"/>
              <a:gd name="connsiteY3799" fmla="*/ 591328 h 6858290"/>
              <a:gd name="connsiteX3800" fmla="*/ 6166999 w 12139750"/>
              <a:gd name="connsiteY3800" fmla="*/ 760460 h 6858290"/>
              <a:gd name="connsiteX3801" fmla="*/ 6113538 w 12139750"/>
              <a:gd name="connsiteY3801" fmla="*/ 743357 h 6858290"/>
              <a:gd name="connsiteX3802" fmla="*/ 6130722 w 12139750"/>
              <a:gd name="connsiteY3802" fmla="*/ 690147 h 6858290"/>
              <a:gd name="connsiteX3803" fmla="*/ 6470580 w 12139750"/>
              <a:gd name="connsiteY3803" fmla="*/ 519114 h 6858290"/>
              <a:gd name="connsiteX3804" fmla="*/ 6500891 w 12139750"/>
              <a:gd name="connsiteY3804" fmla="*/ 517214 h 6858290"/>
              <a:gd name="connsiteX3805" fmla="*/ 5942009 w 12139750"/>
              <a:gd name="connsiteY3805" fmla="*/ 506693 h 6858290"/>
              <a:gd name="connsiteX3806" fmla="*/ 5981120 w 12139750"/>
              <a:gd name="connsiteY3806" fmla="*/ 530416 h 6858290"/>
              <a:gd name="connsiteX3807" fmla="*/ 5984930 w 12139750"/>
              <a:gd name="connsiteY3807" fmla="*/ 547475 h 6858290"/>
              <a:gd name="connsiteX3808" fmla="*/ 5962070 w 12139750"/>
              <a:gd name="connsiteY3808" fmla="*/ 585386 h 6858290"/>
              <a:gd name="connsiteX3809" fmla="*/ 5622984 w 12139750"/>
              <a:gd name="connsiteY3809" fmla="*/ 744609 h 6858290"/>
              <a:gd name="connsiteX3810" fmla="*/ 5565833 w 12139750"/>
              <a:gd name="connsiteY3810" fmla="*/ 723759 h 6858290"/>
              <a:gd name="connsiteX3811" fmla="*/ 5586789 w 12139750"/>
              <a:gd name="connsiteY3811" fmla="*/ 668789 h 6858290"/>
              <a:gd name="connsiteX3812" fmla="*/ 5925877 w 12139750"/>
              <a:gd name="connsiteY3812" fmla="*/ 511460 h 6858290"/>
              <a:gd name="connsiteX3813" fmla="*/ 5942009 w 12139750"/>
              <a:gd name="connsiteY3813" fmla="*/ 506693 h 6858290"/>
              <a:gd name="connsiteX3814" fmla="*/ 382532 w 12139750"/>
              <a:gd name="connsiteY3814" fmla="*/ 506681 h 6858290"/>
              <a:gd name="connsiteX3815" fmla="*/ 421644 w 12139750"/>
              <a:gd name="connsiteY3815" fmla="*/ 530405 h 6858290"/>
              <a:gd name="connsiteX3816" fmla="*/ 425454 w 12139750"/>
              <a:gd name="connsiteY3816" fmla="*/ 547464 h 6858290"/>
              <a:gd name="connsiteX3817" fmla="*/ 400689 w 12139750"/>
              <a:gd name="connsiteY3817" fmla="*/ 585374 h 6858290"/>
              <a:gd name="connsiteX3818" fmla="*/ 61595 w 12139750"/>
              <a:gd name="connsiteY3818" fmla="*/ 744598 h 6858290"/>
              <a:gd name="connsiteX3819" fmla="*/ 6349 w 12139750"/>
              <a:gd name="connsiteY3819" fmla="*/ 723747 h 6858290"/>
              <a:gd name="connsiteX3820" fmla="*/ 27305 w 12139750"/>
              <a:gd name="connsiteY3820" fmla="*/ 668777 h 6858290"/>
              <a:gd name="connsiteX3821" fmla="*/ 366399 w 12139750"/>
              <a:gd name="connsiteY3821" fmla="*/ 511449 h 6858290"/>
              <a:gd name="connsiteX3822" fmla="*/ 382532 w 12139750"/>
              <a:gd name="connsiteY3822" fmla="*/ 506681 h 6858290"/>
              <a:gd name="connsiteX3823" fmla="*/ 5409823 w 12139750"/>
              <a:gd name="connsiteY3823" fmla="*/ 500973 h 6858290"/>
              <a:gd name="connsiteX3824" fmla="*/ 5433432 w 12139750"/>
              <a:gd name="connsiteY3824" fmla="*/ 524577 h 6858290"/>
              <a:gd name="connsiteX3825" fmla="*/ 5437247 w 12139750"/>
              <a:gd name="connsiteY3825" fmla="*/ 541744 h 6858290"/>
              <a:gd name="connsiteX3826" fmla="*/ 5410538 w 12139750"/>
              <a:gd name="connsiteY3826" fmla="*/ 581801 h 6858290"/>
              <a:gd name="connsiteX3827" fmla="*/ 5070946 w 12139750"/>
              <a:gd name="connsiteY3827" fmla="*/ 728676 h 6858290"/>
              <a:gd name="connsiteX3828" fmla="*/ 5011810 w 12139750"/>
              <a:gd name="connsiteY3828" fmla="*/ 705786 h 6858290"/>
              <a:gd name="connsiteX3829" fmla="*/ 5034702 w 12139750"/>
              <a:gd name="connsiteY3829" fmla="*/ 648562 h 6858290"/>
              <a:gd name="connsiteX3830" fmla="*/ 5376199 w 12139750"/>
              <a:gd name="connsiteY3830" fmla="*/ 501688 h 6858290"/>
              <a:gd name="connsiteX3831" fmla="*/ 5409823 w 12139750"/>
              <a:gd name="connsiteY3831" fmla="*/ 500973 h 6858290"/>
              <a:gd name="connsiteX3832" fmla="*/ 943575 w 12139750"/>
              <a:gd name="connsiteY3832" fmla="*/ 500959 h 6858290"/>
              <a:gd name="connsiteX3833" fmla="*/ 968066 w 12139750"/>
              <a:gd name="connsiteY3833" fmla="*/ 524564 h 6858290"/>
              <a:gd name="connsiteX3834" fmla="*/ 969968 w 12139750"/>
              <a:gd name="connsiteY3834" fmla="*/ 541731 h 6858290"/>
              <a:gd name="connsiteX3835" fmla="*/ 945239 w 12139750"/>
              <a:gd name="connsiteY3835" fmla="*/ 581788 h 6858290"/>
              <a:gd name="connsiteX3836" fmla="*/ 604741 w 12139750"/>
              <a:gd name="connsiteY3836" fmla="*/ 728662 h 6858290"/>
              <a:gd name="connsiteX3837" fmla="*/ 547674 w 12139750"/>
              <a:gd name="connsiteY3837" fmla="*/ 705773 h 6858290"/>
              <a:gd name="connsiteX3838" fmla="*/ 570501 w 12139750"/>
              <a:gd name="connsiteY3838" fmla="*/ 648549 h 6858290"/>
              <a:gd name="connsiteX3839" fmla="*/ 909097 w 12139750"/>
              <a:gd name="connsiteY3839" fmla="*/ 501674 h 6858290"/>
              <a:gd name="connsiteX3840" fmla="*/ 943575 w 12139750"/>
              <a:gd name="connsiteY3840" fmla="*/ 500959 h 6858290"/>
              <a:gd name="connsiteX3841" fmla="*/ 4841065 w 12139750"/>
              <a:gd name="connsiteY3841" fmla="*/ 488779 h 6858290"/>
              <a:gd name="connsiteX3842" fmla="*/ 4882566 w 12139750"/>
              <a:gd name="connsiteY3842" fmla="*/ 516870 h 6858290"/>
              <a:gd name="connsiteX3843" fmla="*/ 4886373 w 12139750"/>
              <a:gd name="connsiteY3843" fmla="*/ 533993 h 6858290"/>
              <a:gd name="connsiteX3844" fmla="*/ 4855912 w 12139750"/>
              <a:gd name="connsiteY3844" fmla="*/ 577749 h 6858290"/>
              <a:gd name="connsiteX3845" fmla="*/ 4517068 w 12139750"/>
              <a:gd name="connsiteY3845" fmla="*/ 712825 h 6858290"/>
              <a:gd name="connsiteX3846" fmla="*/ 4456150 w 12139750"/>
              <a:gd name="connsiteY3846" fmla="*/ 686191 h 6858290"/>
              <a:gd name="connsiteX3847" fmla="*/ 4482802 w 12139750"/>
              <a:gd name="connsiteY3847" fmla="*/ 627214 h 6858290"/>
              <a:gd name="connsiteX3848" fmla="*/ 4823545 w 12139750"/>
              <a:gd name="connsiteY3848" fmla="*/ 492138 h 6858290"/>
              <a:gd name="connsiteX3849" fmla="*/ 4841065 w 12139750"/>
              <a:gd name="connsiteY3849" fmla="*/ 488779 h 6858290"/>
              <a:gd name="connsiteX3850" fmla="*/ 1475768 w 12139750"/>
              <a:gd name="connsiteY3850" fmla="*/ 488763 h 6858290"/>
              <a:gd name="connsiteX3851" fmla="*/ 1517023 w 12139750"/>
              <a:gd name="connsiteY3851" fmla="*/ 516854 h 6858290"/>
              <a:gd name="connsiteX3852" fmla="*/ 1520833 w 12139750"/>
              <a:gd name="connsiteY3852" fmla="*/ 533977 h 6858290"/>
              <a:gd name="connsiteX3853" fmla="*/ 1492258 w 12139750"/>
              <a:gd name="connsiteY3853" fmla="*/ 577734 h 6858290"/>
              <a:gd name="connsiteX3854" fmla="*/ 1151259 w 12139750"/>
              <a:gd name="connsiteY3854" fmla="*/ 712810 h 6858290"/>
              <a:gd name="connsiteX3855" fmla="*/ 1092203 w 12139750"/>
              <a:gd name="connsiteY3855" fmla="*/ 686175 h 6858290"/>
              <a:gd name="connsiteX3856" fmla="*/ 1116969 w 12139750"/>
              <a:gd name="connsiteY3856" fmla="*/ 627198 h 6858290"/>
              <a:gd name="connsiteX3857" fmla="*/ 1457968 w 12139750"/>
              <a:gd name="connsiteY3857" fmla="*/ 492122 h 6858290"/>
              <a:gd name="connsiteX3858" fmla="*/ 1475768 w 12139750"/>
              <a:gd name="connsiteY3858" fmla="*/ 488763 h 6858290"/>
              <a:gd name="connsiteX3859" fmla="*/ 4284536 w 12139750"/>
              <a:gd name="connsiteY3859" fmla="*/ 479572 h 6858290"/>
              <a:gd name="connsiteX3860" fmla="*/ 4326924 w 12139750"/>
              <a:gd name="connsiteY3860" fmla="*/ 511096 h 6858290"/>
              <a:gd name="connsiteX3861" fmla="*/ 4330739 w 12139750"/>
              <a:gd name="connsiteY3861" fmla="*/ 528194 h 6858290"/>
              <a:gd name="connsiteX3862" fmla="*/ 4298308 w 12139750"/>
              <a:gd name="connsiteY3862" fmla="*/ 571889 h 6858290"/>
              <a:gd name="connsiteX3863" fmla="*/ 3956841 w 12139750"/>
              <a:gd name="connsiteY3863" fmla="*/ 695376 h 6858290"/>
              <a:gd name="connsiteX3864" fmla="*/ 3895790 w 12139750"/>
              <a:gd name="connsiteY3864" fmla="*/ 666879 h 6858290"/>
              <a:gd name="connsiteX3865" fmla="*/ 3924406 w 12139750"/>
              <a:gd name="connsiteY3865" fmla="*/ 606085 h 6858290"/>
              <a:gd name="connsiteX3866" fmla="*/ 4265875 w 12139750"/>
              <a:gd name="connsiteY3866" fmla="*/ 482599 h 6858290"/>
              <a:gd name="connsiteX3867" fmla="*/ 4284536 w 12139750"/>
              <a:gd name="connsiteY3867" fmla="*/ 479572 h 6858290"/>
              <a:gd name="connsiteX3868" fmla="*/ 2030557 w 12139750"/>
              <a:gd name="connsiteY3868" fmla="*/ 479554 h 6858290"/>
              <a:gd name="connsiteX3869" fmla="*/ 2074559 w 12139750"/>
              <a:gd name="connsiteY3869" fmla="*/ 511078 h 6858290"/>
              <a:gd name="connsiteX3870" fmla="*/ 2076466 w 12139750"/>
              <a:gd name="connsiteY3870" fmla="*/ 528177 h 6858290"/>
              <a:gd name="connsiteX3871" fmla="*/ 2045939 w 12139750"/>
              <a:gd name="connsiteY3871" fmla="*/ 571872 h 6858290"/>
              <a:gd name="connsiteX3872" fmla="*/ 1702543 w 12139750"/>
              <a:gd name="connsiteY3872" fmla="*/ 695358 h 6858290"/>
              <a:gd name="connsiteX3873" fmla="*/ 1641495 w 12139750"/>
              <a:gd name="connsiteY3873" fmla="*/ 666862 h 6858290"/>
              <a:gd name="connsiteX3874" fmla="*/ 1670112 w 12139750"/>
              <a:gd name="connsiteY3874" fmla="*/ 606068 h 6858290"/>
              <a:gd name="connsiteX3875" fmla="*/ 2011599 w 12139750"/>
              <a:gd name="connsiteY3875" fmla="*/ 482582 h 6858290"/>
              <a:gd name="connsiteX3876" fmla="*/ 2030557 w 12139750"/>
              <a:gd name="connsiteY3876" fmla="*/ 479554 h 6858290"/>
              <a:gd name="connsiteX3877" fmla="*/ 3723550 w 12139750"/>
              <a:gd name="connsiteY3877" fmla="*/ 470402 h 6858290"/>
              <a:gd name="connsiteX3878" fmla="*/ 3766538 w 12139750"/>
              <a:gd name="connsiteY3878" fmla="*/ 505544 h 6858290"/>
              <a:gd name="connsiteX3879" fmla="*/ 3770359 w 12139750"/>
              <a:gd name="connsiteY3879" fmla="*/ 520805 h 6858290"/>
              <a:gd name="connsiteX3880" fmla="*/ 3734059 w 12139750"/>
              <a:gd name="connsiteY3880" fmla="*/ 568497 h 6858290"/>
              <a:gd name="connsiteX3881" fmla="*/ 3392114 w 12139750"/>
              <a:gd name="connsiteY3881" fmla="*/ 681049 h 6858290"/>
              <a:gd name="connsiteX3882" fmla="*/ 3329067 w 12139750"/>
              <a:gd name="connsiteY3882" fmla="*/ 648619 h 6858290"/>
              <a:gd name="connsiteX3883" fmla="*/ 3359634 w 12139750"/>
              <a:gd name="connsiteY3883" fmla="*/ 585666 h 6858290"/>
              <a:gd name="connsiteX3884" fmla="*/ 3703492 w 12139750"/>
              <a:gd name="connsiteY3884" fmla="*/ 473114 h 6858290"/>
              <a:gd name="connsiteX3885" fmla="*/ 3723550 w 12139750"/>
              <a:gd name="connsiteY3885" fmla="*/ 470402 h 6858290"/>
              <a:gd name="connsiteX3886" fmla="*/ 2590051 w 12139750"/>
              <a:gd name="connsiteY3886" fmla="*/ 470381 h 6858290"/>
              <a:gd name="connsiteX3887" fmla="*/ 2633035 w 12139750"/>
              <a:gd name="connsiteY3887" fmla="*/ 505524 h 6858290"/>
              <a:gd name="connsiteX3888" fmla="*/ 2636856 w 12139750"/>
              <a:gd name="connsiteY3888" fmla="*/ 520785 h 6858290"/>
              <a:gd name="connsiteX3889" fmla="*/ 2600558 w 12139750"/>
              <a:gd name="connsiteY3889" fmla="*/ 568477 h 6858290"/>
              <a:gd name="connsiteX3890" fmla="*/ 2258596 w 12139750"/>
              <a:gd name="connsiteY3890" fmla="*/ 681030 h 6858290"/>
              <a:gd name="connsiteX3891" fmla="*/ 2195553 w 12139750"/>
              <a:gd name="connsiteY3891" fmla="*/ 648599 h 6858290"/>
              <a:gd name="connsiteX3892" fmla="*/ 2226119 w 12139750"/>
              <a:gd name="connsiteY3892" fmla="*/ 585646 h 6858290"/>
              <a:gd name="connsiteX3893" fmla="*/ 2569992 w 12139750"/>
              <a:gd name="connsiteY3893" fmla="*/ 473094 h 6858290"/>
              <a:gd name="connsiteX3894" fmla="*/ 2590051 w 12139750"/>
              <a:gd name="connsiteY3894" fmla="*/ 470381 h 6858290"/>
              <a:gd name="connsiteX3895" fmla="*/ 3153226 w 12139750"/>
              <a:gd name="connsiteY3895" fmla="*/ 461689 h 6858290"/>
              <a:gd name="connsiteX3896" fmla="*/ 3196952 w 12139750"/>
              <a:gd name="connsiteY3896" fmla="*/ 499516 h 6858290"/>
              <a:gd name="connsiteX3897" fmla="*/ 3198860 w 12139750"/>
              <a:gd name="connsiteY3897" fmla="*/ 512871 h 6858290"/>
              <a:gd name="connsiteX3898" fmla="*/ 3162613 w 12139750"/>
              <a:gd name="connsiteY3898" fmla="*/ 564381 h 6858290"/>
              <a:gd name="connsiteX3899" fmla="*/ 2819230 w 12139750"/>
              <a:gd name="connsiteY3899" fmla="*/ 665493 h 6858290"/>
              <a:gd name="connsiteX3900" fmla="*/ 2754365 w 12139750"/>
              <a:gd name="connsiteY3900" fmla="*/ 629246 h 6858290"/>
              <a:gd name="connsiteX3901" fmla="*/ 2788707 w 12139750"/>
              <a:gd name="connsiteY3901" fmla="*/ 564381 h 6858290"/>
              <a:gd name="connsiteX3902" fmla="*/ 3132091 w 12139750"/>
              <a:gd name="connsiteY3902" fmla="*/ 463269 h 6858290"/>
              <a:gd name="connsiteX3903" fmla="*/ 3153226 w 12139750"/>
              <a:gd name="connsiteY3903" fmla="*/ 461689 h 6858290"/>
              <a:gd name="connsiteX3904" fmla="*/ 9865382 w 12139750"/>
              <a:gd name="connsiteY3904" fmla="*/ 251073 h 6858290"/>
              <a:gd name="connsiteX3905" fmla="*/ 9884846 w 12139750"/>
              <a:gd name="connsiteY3905" fmla="*/ 265137 h 6858290"/>
              <a:gd name="connsiteX3906" fmla="*/ 9888644 w 12139750"/>
              <a:gd name="connsiteY3906" fmla="*/ 280394 h 6858290"/>
              <a:gd name="connsiteX3907" fmla="*/ 9875351 w 12139750"/>
              <a:gd name="connsiteY3907" fmla="*/ 305186 h 6858290"/>
              <a:gd name="connsiteX3908" fmla="*/ 9543036 w 12139750"/>
              <a:gd name="connsiteY3908" fmla="*/ 530219 h 6858290"/>
              <a:gd name="connsiteX3909" fmla="*/ 9501259 w 12139750"/>
              <a:gd name="connsiteY3909" fmla="*/ 520684 h 6858290"/>
              <a:gd name="connsiteX3910" fmla="*/ 9508855 w 12139750"/>
              <a:gd name="connsiteY3910" fmla="*/ 480636 h 6858290"/>
              <a:gd name="connsiteX3911" fmla="*/ 9843069 w 12139750"/>
              <a:gd name="connsiteY3911" fmla="*/ 255602 h 6858290"/>
              <a:gd name="connsiteX3912" fmla="*/ 9865382 w 12139750"/>
              <a:gd name="connsiteY3912" fmla="*/ 251073 h 6858290"/>
              <a:gd name="connsiteX3913" fmla="*/ 9288660 w 12139750"/>
              <a:gd name="connsiteY3913" fmla="*/ 242274 h 6858290"/>
              <a:gd name="connsiteX3914" fmla="*/ 9308232 w 12139750"/>
              <a:gd name="connsiteY3914" fmla="*/ 255594 h 6858290"/>
              <a:gd name="connsiteX3915" fmla="*/ 9313961 w 12139750"/>
              <a:gd name="connsiteY3915" fmla="*/ 272720 h 6858290"/>
              <a:gd name="connsiteX3916" fmla="*/ 9298685 w 12139750"/>
              <a:gd name="connsiteY3916" fmla="*/ 299361 h 6858290"/>
              <a:gd name="connsiteX3917" fmla="*/ 8962610 w 12139750"/>
              <a:gd name="connsiteY3917" fmla="*/ 514388 h 6858290"/>
              <a:gd name="connsiteX3918" fmla="*/ 8918691 w 12139750"/>
              <a:gd name="connsiteY3918" fmla="*/ 504873 h 6858290"/>
              <a:gd name="connsiteX3919" fmla="*/ 8928238 w 12139750"/>
              <a:gd name="connsiteY3919" fmla="*/ 461107 h 6858290"/>
              <a:gd name="connsiteX3920" fmla="*/ 9266223 w 12139750"/>
              <a:gd name="connsiteY3920" fmla="*/ 246080 h 6858290"/>
              <a:gd name="connsiteX3921" fmla="*/ 9288660 w 12139750"/>
              <a:gd name="connsiteY3921" fmla="*/ 242274 h 6858290"/>
              <a:gd name="connsiteX3922" fmla="*/ 10450170 w 12139750"/>
              <a:gd name="connsiteY3922" fmla="*/ 242248 h 6858290"/>
              <a:gd name="connsiteX3923" fmla="*/ 10470633 w 12139750"/>
              <a:gd name="connsiteY3923" fmla="*/ 255569 h 6858290"/>
              <a:gd name="connsiteX3924" fmla="*/ 10474440 w 12139750"/>
              <a:gd name="connsiteY3924" fmla="*/ 272695 h 6858290"/>
              <a:gd name="connsiteX3925" fmla="*/ 10461115 w 12139750"/>
              <a:gd name="connsiteY3925" fmla="*/ 299335 h 6858290"/>
              <a:gd name="connsiteX3926" fmla="*/ 10124192 w 12139750"/>
              <a:gd name="connsiteY3926" fmla="*/ 514363 h 6858290"/>
              <a:gd name="connsiteX3927" fmla="*/ 10082315 w 12139750"/>
              <a:gd name="connsiteY3927" fmla="*/ 504848 h 6858290"/>
              <a:gd name="connsiteX3928" fmla="*/ 10091832 w 12139750"/>
              <a:gd name="connsiteY3928" fmla="*/ 461082 h 6858290"/>
              <a:gd name="connsiteX3929" fmla="*/ 10426852 w 12139750"/>
              <a:gd name="connsiteY3929" fmla="*/ 246054 h 6858290"/>
              <a:gd name="connsiteX3930" fmla="*/ 10450170 w 12139750"/>
              <a:gd name="connsiteY3930" fmla="*/ 242248 h 6858290"/>
              <a:gd name="connsiteX3931" fmla="*/ 8718303 w 12139750"/>
              <a:gd name="connsiteY3931" fmla="*/ 233007 h 6858290"/>
              <a:gd name="connsiteX3932" fmla="*/ 8738321 w 12139750"/>
              <a:gd name="connsiteY3932" fmla="*/ 248042 h 6858290"/>
              <a:gd name="connsiteX3933" fmla="*/ 8744041 w 12139750"/>
              <a:gd name="connsiteY3933" fmla="*/ 265226 h 6858290"/>
              <a:gd name="connsiteX3934" fmla="*/ 8728789 w 12139750"/>
              <a:gd name="connsiteY3934" fmla="*/ 293865 h 6858290"/>
              <a:gd name="connsiteX3935" fmla="*/ 8391337 w 12139750"/>
              <a:gd name="connsiteY3935" fmla="*/ 500068 h 6858290"/>
              <a:gd name="connsiteX3936" fmla="*/ 8345581 w 12139750"/>
              <a:gd name="connsiteY3936" fmla="*/ 488612 h 6858290"/>
              <a:gd name="connsiteX3937" fmla="*/ 8357020 w 12139750"/>
              <a:gd name="connsiteY3937" fmla="*/ 442790 h 6858290"/>
              <a:gd name="connsiteX3938" fmla="*/ 8692565 w 12139750"/>
              <a:gd name="connsiteY3938" fmla="*/ 236587 h 6858290"/>
              <a:gd name="connsiteX3939" fmla="*/ 8718303 w 12139750"/>
              <a:gd name="connsiteY3939" fmla="*/ 233007 h 6858290"/>
              <a:gd name="connsiteX3940" fmla="*/ 11027432 w 12139750"/>
              <a:gd name="connsiteY3940" fmla="*/ 232979 h 6858290"/>
              <a:gd name="connsiteX3941" fmla="*/ 11048165 w 12139750"/>
              <a:gd name="connsiteY3941" fmla="*/ 248015 h 6858290"/>
              <a:gd name="connsiteX3942" fmla="*/ 11053885 w 12139750"/>
              <a:gd name="connsiteY3942" fmla="*/ 265198 h 6858290"/>
              <a:gd name="connsiteX3943" fmla="*/ 11036726 w 12139750"/>
              <a:gd name="connsiteY3943" fmla="*/ 293838 h 6858290"/>
              <a:gd name="connsiteX3944" fmla="*/ 10701181 w 12139750"/>
              <a:gd name="connsiteY3944" fmla="*/ 500041 h 6858290"/>
              <a:gd name="connsiteX3945" fmla="*/ 10655425 w 12139750"/>
              <a:gd name="connsiteY3945" fmla="*/ 488585 h 6858290"/>
              <a:gd name="connsiteX3946" fmla="*/ 10666864 w 12139750"/>
              <a:gd name="connsiteY3946" fmla="*/ 442762 h 6858290"/>
              <a:gd name="connsiteX3947" fmla="*/ 11002409 w 12139750"/>
              <a:gd name="connsiteY3947" fmla="*/ 236559 h 6858290"/>
              <a:gd name="connsiteX3948" fmla="*/ 11027432 w 12139750"/>
              <a:gd name="connsiteY3948" fmla="*/ 232979 h 6858290"/>
              <a:gd name="connsiteX3949" fmla="*/ 8154912 w 12139750"/>
              <a:gd name="connsiteY3949" fmla="*/ 223468 h 6858290"/>
              <a:gd name="connsiteX3950" fmla="*/ 8176649 w 12139750"/>
              <a:gd name="connsiteY3950" fmla="*/ 238470 h 6858290"/>
              <a:gd name="connsiteX3951" fmla="*/ 8180471 w 12139750"/>
              <a:gd name="connsiteY3951" fmla="*/ 257520 h 6858290"/>
              <a:gd name="connsiteX3952" fmla="*/ 8163273 w 12139750"/>
              <a:gd name="connsiteY3952" fmla="*/ 288000 h 6858290"/>
              <a:gd name="connsiteX3953" fmla="*/ 7825042 w 12139750"/>
              <a:gd name="connsiteY3953" fmla="*/ 484214 h 6858290"/>
              <a:gd name="connsiteX3954" fmla="*/ 7777269 w 12139750"/>
              <a:gd name="connsiteY3954" fmla="*/ 470879 h 6858290"/>
              <a:gd name="connsiteX3955" fmla="*/ 7790646 w 12139750"/>
              <a:gd name="connsiteY3955" fmla="*/ 423255 h 6858290"/>
              <a:gd name="connsiteX3956" fmla="*/ 8128876 w 12139750"/>
              <a:gd name="connsiteY3956" fmla="*/ 227040 h 6858290"/>
              <a:gd name="connsiteX3957" fmla="*/ 8154912 w 12139750"/>
              <a:gd name="connsiteY3957" fmla="*/ 223468 h 6858290"/>
              <a:gd name="connsiteX3958" fmla="*/ 11598743 w 12139750"/>
              <a:gd name="connsiteY3958" fmla="*/ 223460 h 6858290"/>
              <a:gd name="connsiteX3959" fmla="*/ 11619682 w 12139750"/>
              <a:gd name="connsiteY3959" fmla="*/ 238461 h 6858290"/>
              <a:gd name="connsiteX3960" fmla="*/ 11625393 w 12139750"/>
              <a:gd name="connsiteY3960" fmla="*/ 257511 h 6858290"/>
              <a:gd name="connsiteX3961" fmla="*/ 11608261 w 12139750"/>
              <a:gd name="connsiteY3961" fmla="*/ 287991 h 6858290"/>
              <a:gd name="connsiteX3962" fmla="*/ 11271332 w 12139750"/>
              <a:gd name="connsiteY3962" fmla="*/ 484206 h 6858290"/>
              <a:gd name="connsiteX3963" fmla="*/ 11223743 w 12139750"/>
              <a:gd name="connsiteY3963" fmla="*/ 470871 h 6858290"/>
              <a:gd name="connsiteX3964" fmla="*/ 11237068 w 12139750"/>
              <a:gd name="connsiteY3964" fmla="*/ 423246 h 6858290"/>
              <a:gd name="connsiteX3965" fmla="*/ 11572093 w 12139750"/>
              <a:gd name="connsiteY3965" fmla="*/ 227031 h 6858290"/>
              <a:gd name="connsiteX3966" fmla="*/ 11598743 w 12139750"/>
              <a:gd name="connsiteY3966" fmla="*/ 223460 h 6858290"/>
              <a:gd name="connsiteX3967" fmla="*/ 12139750 w 12139750"/>
              <a:gd name="connsiteY3967" fmla="*/ 215916 h 6858290"/>
              <a:gd name="connsiteX3968" fmla="*/ 12139750 w 12139750"/>
              <a:gd name="connsiteY3968" fmla="*/ 297535 h 6858290"/>
              <a:gd name="connsiteX3969" fmla="*/ 11835475 w 12139750"/>
              <a:gd name="connsiteY3969" fmla="*/ 466465 h 6858290"/>
              <a:gd name="connsiteX3970" fmla="*/ 11784129 w 12139750"/>
              <a:gd name="connsiteY3970" fmla="*/ 453179 h 6858290"/>
              <a:gd name="connsiteX3971" fmla="*/ 11799342 w 12139750"/>
              <a:gd name="connsiteY3971" fmla="*/ 403828 h 6858290"/>
              <a:gd name="connsiteX3972" fmla="*/ 12135947 w 12139750"/>
              <a:gd name="connsiteY3972" fmla="*/ 217814 h 6858290"/>
              <a:gd name="connsiteX3973" fmla="*/ 12139750 w 12139750"/>
              <a:gd name="connsiteY3973" fmla="*/ 215916 h 6858290"/>
              <a:gd name="connsiteX3974" fmla="*/ 7596540 w 12139750"/>
              <a:gd name="connsiteY3974" fmla="*/ 214167 h 6858290"/>
              <a:gd name="connsiteX3975" fmla="*/ 7619435 w 12139750"/>
              <a:gd name="connsiteY3975" fmla="*/ 230796 h 6858290"/>
              <a:gd name="connsiteX3976" fmla="*/ 7623251 w 12139750"/>
              <a:gd name="connsiteY3976" fmla="*/ 247901 h 6858290"/>
              <a:gd name="connsiteX3977" fmla="*/ 7604171 w 12139750"/>
              <a:gd name="connsiteY3977" fmla="*/ 280210 h 6858290"/>
              <a:gd name="connsiteX3978" fmla="*/ 7266466 w 12139750"/>
              <a:gd name="connsiteY3978" fmla="*/ 466461 h 6858290"/>
              <a:gd name="connsiteX3979" fmla="*/ 7216859 w 12139750"/>
              <a:gd name="connsiteY3979" fmla="*/ 453158 h 6858290"/>
              <a:gd name="connsiteX3980" fmla="*/ 7230215 w 12139750"/>
              <a:gd name="connsiteY3980" fmla="*/ 403744 h 6858290"/>
              <a:gd name="connsiteX3981" fmla="*/ 7567920 w 12139750"/>
              <a:gd name="connsiteY3981" fmla="*/ 217493 h 6858290"/>
              <a:gd name="connsiteX3982" fmla="*/ 7596540 w 12139750"/>
              <a:gd name="connsiteY3982" fmla="*/ 214167 h 6858290"/>
              <a:gd name="connsiteX3983" fmla="*/ 7044758 w 12139750"/>
              <a:gd name="connsiteY3983" fmla="*/ 204259 h 6858290"/>
              <a:gd name="connsiteX3984" fmla="*/ 7068571 w 12139750"/>
              <a:gd name="connsiteY3984" fmla="*/ 223547 h 6858290"/>
              <a:gd name="connsiteX3985" fmla="*/ 7072381 w 12139750"/>
              <a:gd name="connsiteY3985" fmla="*/ 240692 h 6858290"/>
              <a:gd name="connsiteX3986" fmla="*/ 7051425 w 12139750"/>
              <a:gd name="connsiteY3986" fmla="*/ 274982 h 6858290"/>
              <a:gd name="connsiteX3987" fmla="*/ 6714236 w 12139750"/>
              <a:gd name="connsiteY3987" fmla="*/ 452146 h 6858290"/>
              <a:gd name="connsiteX3988" fmla="*/ 6662800 w 12139750"/>
              <a:gd name="connsiteY3988" fmla="*/ 436906 h 6858290"/>
              <a:gd name="connsiteX3989" fmla="*/ 6678040 w 12139750"/>
              <a:gd name="connsiteY3989" fmla="*/ 385472 h 6858290"/>
              <a:gd name="connsiteX3990" fmla="*/ 7015230 w 12139750"/>
              <a:gd name="connsiteY3990" fmla="*/ 206402 h 6858290"/>
              <a:gd name="connsiteX3991" fmla="*/ 7044758 w 12139750"/>
              <a:gd name="connsiteY3991" fmla="*/ 204259 h 6858290"/>
              <a:gd name="connsiteX3992" fmla="*/ 6500891 w 12139750"/>
              <a:gd name="connsiteY3992" fmla="*/ 194963 h 6858290"/>
              <a:gd name="connsiteX3993" fmla="*/ 6524041 w 12139750"/>
              <a:gd name="connsiteY3993" fmla="*/ 215892 h 6858290"/>
              <a:gd name="connsiteX3994" fmla="*/ 6527860 w 12139750"/>
              <a:gd name="connsiteY3994" fmla="*/ 233016 h 6858290"/>
              <a:gd name="connsiteX3995" fmla="*/ 6506857 w 12139750"/>
              <a:gd name="connsiteY3995" fmla="*/ 269166 h 6858290"/>
              <a:gd name="connsiteX3996" fmla="*/ 6166999 w 12139750"/>
              <a:gd name="connsiteY3996" fmla="*/ 436601 h 6858290"/>
              <a:gd name="connsiteX3997" fmla="*/ 6113538 w 12139750"/>
              <a:gd name="connsiteY3997" fmla="*/ 419477 h 6858290"/>
              <a:gd name="connsiteX3998" fmla="*/ 6130722 w 12139750"/>
              <a:gd name="connsiteY3998" fmla="*/ 366202 h 6858290"/>
              <a:gd name="connsiteX3999" fmla="*/ 6470580 w 12139750"/>
              <a:gd name="connsiteY3999" fmla="*/ 196865 h 6858290"/>
              <a:gd name="connsiteX4000" fmla="*/ 6500891 w 12139750"/>
              <a:gd name="connsiteY4000" fmla="*/ 194963 h 6858290"/>
              <a:gd name="connsiteX4001" fmla="*/ 5957785 w 12139750"/>
              <a:gd name="connsiteY4001" fmla="*/ 186367 h 6858290"/>
              <a:gd name="connsiteX4002" fmla="*/ 5981120 w 12139750"/>
              <a:gd name="connsiteY4002" fmla="*/ 208192 h 6858290"/>
              <a:gd name="connsiteX4003" fmla="*/ 5984930 w 12139750"/>
              <a:gd name="connsiteY4003" fmla="*/ 225273 h 6858290"/>
              <a:gd name="connsiteX4004" fmla="*/ 5962070 w 12139750"/>
              <a:gd name="connsiteY4004" fmla="*/ 263230 h 6858290"/>
              <a:gd name="connsiteX4005" fmla="*/ 5622984 w 12139750"/>
              <a:gd name="connsiteY4005" fmla="*/ 420750 h 6858290"/>
              <a:gd name="connsiteX4006" fmla="*/ 5567739 w 12139750"/>
              <a:gd name="connsiteY4006" fmla="*/ 401772 h 6858290"/>
              <a:gd name="connsiteX4007" fmla="*/ 5586789 w 12139750"/>
              <a:gd name="connsiteY4007" fmla="*/ 346734 h 6858290"/>
              <a:gd name="connsiteX4008" fmla="*/ 5925877 w 12139750"/>
              <a:gd name="connsiteY4008" fmla="*/ 187316 h 6858290"/>
              <a:gd name="connsiteX4009" fmla="*/ 5957785 w 12139750"/>
              <a:gd name="connsiteY4009" fmla="*/ 186367 h 6858290"/>
              <a:gd name="connsiteX4010" fmla="*/ 398308 w 12139750"/>
              <a:gd name="connsiteY4010" fmla="*/ 186354 h 6858290"/>
              <a:gd name="connsiteX4011" fmla="*/ 421644 w 12139750"/>
              <a:gd name="connsiteY4011" fmla="*/ 208179 h 6858290"/>
              <a:gd name="connsiteX4012" fmla="*/ 425454 w 12139750"/>
              <a:gd name="connsiteY4012" fmla="*/ 225260 h 6858290"/>
              <a:gd name="connsiteX4013" fmla="*/ 400689 w 12139750"/>
              <a:gd name="connsiteY4013" fmla="*/ 263217 h 6858290"/>
              <a:gd name="connsiteX4014" fmla="*/ 61595 w 12139750"/>
              <a:gd name="connsiteY4014" fmla="*/ 420738 h 6858290"/>
              <a:gd name="connsiteX4015" fmla="*/ 6349 w 12139750"/>
              <a:gd name="connsiteY4015" fmla="*/ 401759 h 6858290"/>
              <a:gd name="connsiteX4016" fmla="*/ 27305 w 12139750"/>
              <a:gd name="connsiteY4016" fmla="*/ 346722 h 6858290"/>
              <a:gd name="connsiteX4017" fmla="*/ 366399 w 12139750"/>
              <a:gd name="connsiteY4017" fmla="*/ 187303 h 6858290"/>
              <a:gd name="connsiteX4018" fmla="*/ 398308 w 12139750"/>
              <a:gd name="connsiteY4018" fmla="*/ 186354 h 6858290"/>
              <a:gd name="connsiteX4019" fmla="*/ 5409190 w 12139750"/>
              <a:gd name="connsiteY4019" fmla="*/ 176874 h 6858290"/>
              <a:gd name="connsiteX4020" fmla="*/ 5433442 w 12139750"/>
              <a:gd name="connsiteY4020" fmla="*/ 198782 h 6858290"/>
              <a:gd name="connsiteX4021" fmla="*/ 5437247 w 12139750"/>
              <a:gd name="connsiteY4021" fmla="*/ 217832 h 6858290"/>
              <a:gd name="connsiteX4022" fmla="*/ 5410617 w 12139750"/>
              <a:gd name="connsiteY4022" fmla="*/ 255932 h 6858290"/>
              <a:gd name="connsiteX4023" fmla="*/ 5072019 w 12139750"/>
              <a:gd name="connsiteY4023" fmla="*/ 406426 h 6858290"/>
              <a:gd name="connsiteX4024" fmla="*/ 5014958 w 12139750"/>
              <a:gd name="connsiteY4024" fmla="*/ 385471 h 6858290"/>
              <a:gd name="connsiteX4025" fmla="*/ 5035880 w 12139750"/>
              <a:gd name="connsiteY4025" fmla="*/ 328321 h 6858290"/>
              <a:gd name="connsiteX4026" fmla="*/ 5376377 w 12139750"/>
              <a:gd name="connsiteY4026" fmla="*/ 177827 h 6858290"/>
              <a:gd name="connsiteX4027" fmla="*/ 5409190 w 12139750"/>
              <a:gd name="connsiteY4027" fmla="*/ 176874 h 6858290"/>
              <a:gd name="connsiteX4028" fmla="*/ 942624 w 12139750"/>
              <a:gd name="connsiteY4028" fmla="*/ 176859 h 6858290"/>
              <a:gd name="connsiteX4029" fmla="*/ 966164 w 12139750"/>
              <a:gd name="connsiteY4029" fmla="*/ 198766 h 6858290"/>
              <a:gd name="connsiteX4030" fmla="*/ 969968 w 12139750"/>
              <a:gd name="connsiteY4030" fmla="*/ 217816 h 6858290"/>
              <a:gd name="connsiteX4031" fmla="*/ 945239 w 12139750"/>
              <a:gd name="connsiteY4031" fmla="*/ 255916 h 6858290"/>
              <a:gd name="connsiteX4032" fmla="*/ 604741 w 12139750"/>
              <a:gd name="connsiteY4032" fmla="*/ 406411 h 6858290"/>
              <a:gd name="connsiteX4033" fmla="*/ 547674 w 12139750"/>
              <a:gd name="connsiteY4033" fmla="*/ 385456 h 6858290"/>
              <a:gd name="connsiteX4034" fmla="*/ 570501 w 12139750"/>
              <a:gd name="connsiteY4034" fmla="*/ 328306 h 6858290"/>
              <a:gd name="connsiteX4035" fmla="*/ 909097 w 12139750"/>
              <a:gd name="connsiteY4035" fmla="*/ 177812 h 6858290"/>
              <a:gd name="connsiteX4036" fmla="*/ 942624 w 12139750"/>
              <a:gd name="connsiteY4036" fmla="*/ 176859 h 6858290"/>
              <a:gd name="connsiteX4037" fmla="*/ 4856423 w 12139750"/>
              <a:gd name="connsiteY4037" fmla="*/ 167564 h 6858290"/>
              <a:gd name="connsiteX4038" fmla="*/ 4880971 w 12139750"/>
              <a:gd name="connsiteY4038" fmla="*/ 191077 h 6858290"/>
              <a:gd name="connsiteX4039" fmla="*/ 4884786 w 12139750"/>
              <a:gd name="connsiteY4039" fmla="*/ 208176 h 6858290"/>
              <a:gd name="connsiteX4040" fmla="*/ 4856184 w 12139750"/>
              <a:gd name="connsiteY4040" fmla="*/ 249976 h 6858290"/>
              <a:gd name="connsiteX4041" fmla="*/ 4516851 w 12139750"/>
              <a:gd name="connsiteY4041" fmla="*/ 390576 h 6858290"/>
              <a:gd name="connsiteX4042" fmla="*/ 4457750 w 12139750"/>
              <a:gd name="connsiteY4042" fmla="*/ 367776 h 6858290"/>
              <a:gd name="connsiteX4043" fmla="*/ 4482534 w 12139750"/>
              <a:gd name="connsiteY4043" fmla="*/ 308876 h 6858290"/>
              <a:gd name="connsiteX4044" fmla="*/ 4821864 w 12139750"/>
              <a:gd name="connsiteY4044" fmla="*/ 168277 h 6858290"/>
              <a:gd name="connsiteX4045" fmla="*/ 4856423 w 12139750"/>
              <a:gd name="connsiteY4045" fmla="*/ 167564 h 6858290"/>
              <a:gd name="connsiteX4046" fmla="*/ 1492476 w 12139750"/>
              <a:gd name="connsiteY4046" fmla="*/ 167547 h 6858290"/>
              <a:gd name="connsiteX4047" fmla="*/ 1517021 w 12139750"/>
              <a:gd name="connsiteY4047" fmla="*/ 191059 h 6858290"/>
              <a:gd name="connsiteX4048" fmla="*/ 1520833 w 12139750"/>
              <a:gd name="connsiteY4048" fmla="*/ 208159 h 6858290"/>
              <a:gd name="connsiteX4049" fmla="*/ 1492237 w 12139750"/>
              <a:gd name="connsiteY4049" fmla="*/ 249959 h 6858290"/>
              <a:gd name="connsiteX4050" fmla="*/ 1150990 w 12139750"/>
              <a:gd name="connsiteY4050" fmla="*/ 390559 h 6858290"/>
              <a:gd name="connsiteX4051" fmla="*/ 1093798 w 12139750"/>
              <a:gd name="connsiteY4051" fmla="*/ 367759 h 6858290"/>
              <a:gd name="connsiteX4052" fmla="*/ 1116675 w 12139750"/>
              <a:gd name="connsiteY4052" fmla="*/ 308859 h 6858290"/>
              <a:gd name="connsiteX4053" fmla="*/ 1457922 w 12139750"/>
              <a:gd name="connsiteY4053" fmla="*/ 168259 h 6858290"/>
              <a:gd name="connsiteX4054" fmla="*/ 1492476 w 12139750"/>
              <a:gd name="connsiteY4054" fmla="*/ 167547 h 6858290"/>
              <a:gd name="connsiteX4055" fmla="*/ 4266102 w 12139750"/>
              <a:gd name="connsiteY4055" fmla="*/ 156882 h 6858290"/>
              <a:gd name="connsiteX4056" fmla="*/ 4325330 w 12139750"/>
              <a:gd name="connsiteY4056" fmla="*/ 183588 h 6858290"/>
              <a:gd name="connsiteX4057" fmla="*/ 4329151 w 12139750"/>
              <a:gd name="connsiteY4057" fmla="*/ 200756 h 6858290"/>
              <a:gd name="connsiteX4058" fmla="*/ 4298581 w 12139750"/>
              <a:gd name="connsiteY4058" fmla="*/ 244630 h 6858290"/>
              <a:gd name="connsiteX4059" fmla="*/ 3956620 w 12139750"/>
              <a:gd name="connsiteY4059" fmla="*/ 376251 h 6858290"/>
              <a:gd name="connsiteX4060" fmla="*/ 3897391 w 12139750"/>
              <a:gd name="connsiteY4060" fmla="*/ 349546 h 6858290"/>
              <a:gd name="connsiteX4061" fmla="*/ 3924139 w 12139750"/>
              <a:gd name="connsiteY4061" fmla="*/ 290411 h 6858290"/>
              <a:gd name="connsiteX4062" fmla="*/ 4266102 w 12139750"/>
              <a:gd name="connsiteY4062" fmla="*/ 156882 h 6858290"/>
              <a:gd name="connsiteX4063" fmla="*/ 2010467 w 12139750"/>
              <a:gd name="connsiteY4063" fmla="*/ 156862 h 6858290"/>
              <a:gd name="connsiteX4064" fmla="*/ 2071389 w 12139750"/>
              <a:gd name="connsiteY4064" fmla="*/ 183568 h 6858290"/>
              <a:gd name="connsiteX4065" fmla="*/ 2073291 w 12139750"/>
              <a:gd name="connsiteY4065" fmla="*/ 200736 h 6858290"/>
              <a:gd name="connsiteX4066" fmla="*/ 2044733 w 12139750"/>
              <a:gd name="connsiteY4066" fmla="*/ 244610 h 6858290"/>
              <a:gd name="connsiteX4067" fmla="*/ 1703979 w 12139750"/>
              <a:gd name="connsiteY4067" fmla="*/ 376232 h 6858290"/>
              <a:gd name="connsiteX4068" fmla="*/ 1643062 w 12139750"/>
              <a:gd name="connsiteY4068" fmla="*/ 349526 h 6858290"/>
              <a:gd name="connsiteX4069" fmla="*/ 1669713 w 12139750"/>
              <a:gd name="connsiteY4069" fmla="*/ 290392 h 6858290"/>
              <a:gd name="connsiteX4070" fmla="*/ 2010467 w 12139750"/>
              <a:gd name="connsiteY4070" fmla="*/ 156862 h 6858290"/>
              <a:gd name="connsiteX4071" fmla="*/ 3720655 w 12139750"/>
              <a:gd name="connsiteY4071" fmla="*/ 144611 h 6858290"/>
              <a:gd name="connsiteX4072" fmla="*/ 3763695 w 12139750"/>
              <a:gd name="connsiteY4072" fmla="*/ 176135 h 6858290"/>
              <a:gd name="connsiteX4073" fmla="*/ 3765597 w 12139750"/>
              <a:gd name="connsiteY4073" fmla="*/ 193233 h 6858290"/>
              <a:gd name="connsiteX4074" fmla="*/ 3735180 w 12139750"/>
              <a:gd name="connsiteY4074" fmla="*/ 238828 h 6858290"/>
              <a:gd name="connsiteX4075" fmla="*/ 3393026 w 12139750"/>
              <a:gd name="connsiteY4075" fmla="*/ 360415 h 6858290"/>
              <a:gd name="connsiteX4076" fmla="*/ 3332194 w 12139750"/>
              <a:gd name="connsiteY4076" fmla="*/ 331918 h 6858290"/>
              <a:gd name="connsiteX4077" fmla="*/ 3360709 w 12139750"/>
              <a:gd name="connsiteY4077" fmla="*/ 271125 h 6858290"/>
              <a:gd name="connsiteX4078" fmla="*/ 3700965 w 12139750"/>
              <a:gd name="connsiteY4078" fmla="*/ 147639 h 6858290"/>
              <a:gd name="connsiteX4079" fmla="*/ 3720655 w 12139750"/>
              <a:gd name="connsiteY4079" fmla="*/ 144611 h 6858290"/>
              <a:gd name="connsiteX4080" fmla="*/ 2586993 w 12139750"/>
              <a:gd name="connsiteY4080" fmla="*/ 144589 h 6858290"/>
              <a:gd name="connsiteX4081" fmla="*/ 2630185 w 12139750"/>
              <a:gd name="connsiteY4081" fmla="*/ 176114 h 6858290"/>
              <a:gd name="connsiteX4082" fmla="*/ 2632093 w 12139750"/>
              <a:gd name="connsiteY4082" fmla="*/ 193212 h 6858290"/>
              <a:gd name="connsiteX4083" fmla="*/ 2601569 w 12139750"/>
              <a:gd name="connsiteY4083" fmla="*/ 238807 h 6858290"/>
              <a:gd name="connsiteX4084" fmla="*/ 2258175 w 12139750"/>
              <a:gd name="connsiteY4084" fmla="*/ 360394 h 6858290"/>
              <a:gd name="connsiteX4085" fmla="*/ 2197127 w 12139750"/>
              <a:gd name="connsiteY4085" fmla="*/ 331897 h 6858290"/>
              <a:gd name="connsiteX4086" fmla="*/ 2225743 w 12139750"/>
              <a:gd name="connsiteY4086" fmla="*/ 271103 h 6858290"/>
              <a:gd name="connsiteX4087" fmla="*/ 2567230 w 12139750"/>
              <a:gd name="connsiteY4087" fmla="*/ 147617 h 6858290"/>
              <a:gd name="connsiteX4088" fmla="*/ 2586993 w 12139750"/>
              <a:gd name="connsiteY4088" fmla="*/ 144589 h 6858290"/>
              <a:gd name="connsiteX4089" fmla="*/ 3149046 w 12139750"/>
              <a:gd name="connsiteY4089" fmla="*/ 135364 h 6858290"/>
              <a:gd name="connsiteX4090" fmla="*/ 3191880 w 12139750"/>
              <a:gd name="connsiteY4090" fmla="*/ 168396 h 6858290"/>
              <a:gd name="connsiteX4091" fmla="*/ 3195686 w 12139750"/>
              <a:gd name="connsiteY4091" fmla="*/ 185444 h 6858290"/>
              <a:gd name="connsiteX4092" fmla="*/ 3161419 w 12139750"/>
              <a:gd name="connsiteY4092" fmla="*/ 232802 h 6858290"/>
              <a:gd name="connsiteX4093" fmla="*/ 2818756 w 12139750"/>
              <a:gd name="connsiteY4093" fmla="*/ 344567 h 6858290"/>
              <a:gd name="connsiteX4094" fmla="*/ 2755934 w 12139750"/>
              <a:gd name="connsiteY4094" fmla="*/ 314258 h 6858290"/>
              <a:gd name="connsiteX4095" fmla="*/ 2788294 w 12139750"/>
              <a:gd name="connsiteY4095" fmla="*/ 249851 h 6858290"/>
              <a:gd name="connsiteX4096" fmla="*/ 3129057 w 12139750"/>
              <a:gd name="connsiteY4096" fmla="*/ 138087 h 6858290"/>
              <a:gd name="connsiteX4097" fmla="*/ 3149046 w 12139750"/>
              <a:gd name="connsiteY4097" fmla="*/ 135364 h 6858290"/>
              <a:gd name="connsiteX4098" fmla="*/ 9144187 w 12139750"/>
              <a:gd name="connsiteY4098" fmla="*/ 30 h 6858290"/>
              <a:gd name="connsiteX4099" fmla="*/ 9275861 w 12139750"/>
              <a:gd name="connsiteY4099" fmla="*/ 30 h 6858290"/>
              <a:gd name="connsiteX4100" fmla="*/ 8962897 w 12139750"/>
              <a:gd name="connsiteY4100" fmla="*/ 187323 h 6858290"/>
              <a:gd name="connsiteX4101" fmla="*/ 8917098 w 12139750"/>
              <a:gd name="connsiteY4101" fmla="*/ 175856 h 6858290"/>
              <a:gd name="connsiteX4102" fmla="*/ 8928547 w 12139750"/>
              <a:gd name="connsiteY4102" fmla="*/ 129989 h 6858290"/>
              <a:gd name="connsiteX4103" fmla="*/ 9144187 w 12139750"/>
              <a:gd name="connsiteY4103" fmla="*/ 30 h 6858290"/>
              <a:gd name="connsiteX4104" fmla="*/ 8549535 w 12139750"/>
              <a:gd name="connsiteY4104" fmla="*/ 29 h 6858290"/>
              <a:gd name="connsiteX4105" fmla="*/ 8688477 w 12139750"/>
              <a:gd name="connsiteY4105" fmla="*/ 29 h 6858290"/>
              <a:gd name="connsiteX4106" fmla="*/ 8391560 w 12139750"/>
              <a:gd name="connsiteY4106" fmla="*/ 173083 h 6858290"/>
              <a:gd name="connsiteX4107" fmla="*/ 8343977 w 12139750"/>
              <a:gd name="connsiteY4107" fmla="*/ 159771 h 6858290"/>
              <a:gd name="connsiteX4108" fmla="*/ 8357300 w 12139750"/>
              <a:gd name="connsiteY4108" fmla="*/ 112230 h 6858290"/>
              <a:gd name="connsiteX4109" fmla="*/ 8549535 w 12139750"/>
              <a:gd name="connsiteY4109" fmla="*/ 29 h 6858290"/>
              <a:gd name="connsiteX4110" fmla="*/ 7958714 w 12139750"/>
              <a:gd name="connsiteY4110" fmla="*/ 29 h 6858290"/>
              <a:gd name="connsiteX4111" fmla="*/ 8107445 w 12139750"/>
              <a:gd name="connsiteY4111" fmla="*/ 29 h 6858290"/>
              <a:gd name="connsiteX4112" fmla="*/ 7825239 w 12139750"/>
              <a:gd name="connsiteY4112" fmla="*/ 158743 h 6858290"/>
              <a:gd name="connsiteX4113" fmla="*/ 7775662 w 12139750"/>
              <a:gd name="connsiteY4113" fmla="*/ 145357 h 6858290"/>
              <a:gd name="connsiteX4114" fmla="*/ 7790916 w 12139750"/>
              <a:gd name="connsiteY4114" fmla="*/ 95640 h 6858290"/>
              <a:gd name="connsiteX4115" fmla="*/ 7958714 w 12139750"/>
              <a:gd name="connsiteY4115" fmla="*/ 29 h 6858290"/>
              <a:gd name="connsiteX4116" fmla="*/ 7373861 w 12139750"/>
              <a:gd name="connsiteY4116" fmla="*/ 29 h 6858290"/>
              <a:gd name="connsiteX4117" fmla="*/ 7534349 w 12139750"/>
              <a:gd name="connsiteY4117" fmla="*/ 29 h 6858290"/>
              <a:gd name="connsiteX4118" fmla="*/ 7266870 w 12139750"/>
              <a:gd name="connsiteY4118" fmla="*/ 142904 h 6858290"/>
              <a:gd name="connsiteX4119" fmla="*/ 7215285 w 12139750"/>
              <a:gd name="connsiteY4119" fmla="*/ 127664 h 6858290"/>
              <a:gd name="connsiteX4120" fmla="*/ 7230569 w 12139750"/>
              <a:gd name="connsiteY4120" fmla="*/ 76229 h 6858290"/>
              <a:gd name="connsiteX4121" fmla="*/ 7373861 w 12139750"/>
              <a:gd name="connsiteY4121" fmla="*/ 29 h 6858290"/>
              <a:gd name="connsiteX4122" fmla="*/ 6792947 w 12139750"/>
              <a:gd name="connsiteY4122" fmla="*/ 29 h 6858290"/>
              <a:gd name="connsiteX4123" fmla="*/ 6962841 w 12139750"/>
              <a:gd name="connsiteY4123" fmla="*/ 29 h 6858290"/>
              <a:gd name="connsiteX4124" fmla="*/ 6714681 w 12139750"/>
              <a:gd name="connsiteY4124" fmla="*/ 130160 h 6858290"/>
              <a:gd name="connsiteX4125" fmla="*/ 6661231 w 12139750"/>
              <a:gd name="connsiteY4125" fmla="*/ 112937 h 6858290"/>
              <a:gd name="connsiteX4126" fmla="*/ 6678412 w 12139750"/>
              <a:gd name="connsiteY4126" fmla="*/ 59354 h 6858290"/>
              <a:gd name="connsiteX4127" fmla="*/ 6792947 w 12139750"/>
              <a:gd name="connsiteY4127" fmla="*/ 29 h 6858290"/>
              <a:gd name="connsiteX4128" fmla="*/ 6214724 w 12139750"/>
              <a:gd name="connsiteY4128" fmla="*/ 29 h 6858290"/>
              <a:gd name="connsiteX4129" fmla="*/ 6396096 w 12139750"/>
              <a:gd name="connsiteY4129" fmla="*/ 29 h 6858290"/>
              <a:gd name="connsiteX4130" fmla="*/ 6166995 w 12139750"/>
              <a:gd name="connsiteY4130" fmla="*/ 114329 h 6858290"/>
              <a:gd name="connsiteX4131" fmla="*/ 6113538 w 12139750"/>
              <a:gd name="connsiteY4131" fmla="*/ 95279 h 6858290"/>
              <a:gd name="connsiteX4132" fmla="*/ 6130720 w 12139750"/>
              <a:gd name="connsiteY4132" fmla="*/ 41939 h 6858290"/>
              <a:gd name="connsiteX4133" fmla="*/ 6214724 w 12139750"/>
              <a:gd name="connsiteY4133" fmla="*/ 29 h 6858290"/>
              <a:gd name="connsiteX4134" fmla="*/ 5637626 w 12139750"/>
              <a:gd name="connsiteY4134" fmla="*/ 29 h 6858290"/>
              <a:gd name="connsiteX4135" fmla="*/ 5829356 w 12139750"/>
              <a:gd name="connsiteY4135" fmla="*/ 29 h 6858290"/>
              <a:gd name="connsiteX4136" fmla="*/ 5622440 w 12139750"/>
              <a:gd name="connsiteY4136" fmla="*/ 99958 h 6858290"/>
              <a:gd name="connsiteX4137" fmla="*/ 5567388 w 12139750"/>
              <a:gd name="connsiteY4137" fmla="*/ 80741 h 6858290"/>
              <a:gd name="connsiteX4138" fmla="*/ 5586371 w 12139750"/>
              <a:gd name="connsiteY4138" fmla="*/ 25011 h 6858290"/>
              <a:gd name="connsiteX4139" fmla="*/ 5637626 w 12139750"/>
              <a:gd name="connsiteY4139" fmla="*/ 29 h 6858290"/>
              <a:gd name="connsiteX4140" fmla="*/ 5050991 w 12139750"/>
              <a:gd name="connsiteY4140" fmla="*/ 29 h 6858290"/>
              <a:gd name="connsiteX4141" fmla="*/ 5257856 w 12139750"/>
              <a:gd name="connsiteY4141" fmla="*/ 29 h 6858290"/>
              <a:gd name="connsiteX4142" fmla="*/ 5071865 w 12139750"/>
              <a:gd name="connsiteY4142" fmla="*/ 83849 h 6858290"/>
              <a:gd name="connsiteX4143" fmla="*/ 5014936 w 12139750"/>
              <a:gd name="connsiteY4143" fmla="*/ 62894 h 6858290"/>
              <a:gd name="connsiteX4144" fmla="*/ 5037707 w 12139750"/>
              <a:gd name="connsiteY4144" fmla="*/ 7649 h 6858290"/>
              <a:gd name="connsiteX4145" fmla="*/ 5050991 w 12139750"/>
              <a:gd name="connsiteY4145" fmla="*/ 29 h 6858290"/>
              <a:gd name="connsiteX4146" fmla="*/ 4468137 w 12139750"/>
              <a:gd name="connsiteY4146" fmla="*/ 29 h 6858290"/>
              <a:gd name="connsiteX4147" fmla="*/ 4678410 w 12139750"/>
              <a:gd name="connsiteY4147" fmla="*/ 29 h 6858290"/>
              <a:gd name="connsiteX4148" fmla="*/ 4517388 w 12139750"/>
              <a:gd name="connsiteY4148" fmla="*/ 71353 h 6858290"/>
              <a:gd name="connsiteX4149" fmla="*/ 4460559 w 12139750"/>
              <a:gd name="connsiteY4149" fmla="*/ 48221 h 6858290"/>
              <a:gd name="connsiteX4150" fmla="*/ 4468137 w 12139750"/>
              <a:gd name="connsiteY4150" fmla="*/ 29 h 6858290"/>
              <a:gd name="connsiteX4151" fmla="*/ 3898004 w 12139750"/>
              <a:gd name="connsiteY4151" fmla="*/ 29 h 6858290"/>
              <a:gd name="connsiteX4152" fmla="*/ 4092633 w 12139750"/>
              <a:gd name="connsiteY4152" fmla="*/ 29 h 6858290"/>
              <a:gd name="connsiteX4153" fmla="*/ 3959064 w 12139750"/>
              <a:gd name="connsiteY4153" fmla="*/ 55545 h 6858290"/>
              <a:gd name="connsiteX4154" fmla="*/ 3899911 w 12139750"/>
              <a:gd name="connsiteY4154" fmla="*/ 30658 h 6858290"/>
              <a:gd name="connsiteX4155" fmla="*/ 3898004 w 12139750"/>
              <a:gd name="connsiteY4155" fmla="*/ 29 h 6858290"/>
              <a:gd name="connsiteX4156" fmla="*/ 3332214 w 12139750"/>
              <a:gd name="connsiteY4156" fmla="*/ 29 h 6858290"/>
              <a:gd name="connsiteX4157" fmla="*/ 3497315 w 12139750"/>
              <a:gd name="connsiteY4157" fmla="*/ 29 h 6858290"/>
              <a:gd name="connsiteX4158" fmla="*/ 3394843 w 12139750"/>
              <a:gd name="connsiteY4158" fmla="*/ 41670 h 6858290"/>
              <a:gd name="connsiteX4159" fmla="*/ 3334112 w 12139750"/>
              <a:gd name="connsiteY4159" fmla="*/ 15171 h 6858290"/>
              <a:gd name="connsiteX4160" fmla="*/ 3332214 w 12139750"/>
              <a:gd name="connsiteY4160" fmla="*/ 29 h 6858290"/>
              <a:gd name="connsiteX4161" fmla="*/ 2760704 w 12139750"/>
              <a:gd name="connsiteY4161" fmla="*/ 28 h 6858290"/>
              <a:gd name="connsiteX4162" fmla="*/ 2890879 w 12139750"/>
              <a:gd name="connsiteY4162" fmla="*/ 28 h 6858290"/>
              <a:gd name="connsiteX4163" fmla="*/ 2821076 w 12139750"/>
              <a:gd name="connsiteY4163" fmla="*/ 27192 h 6858290"/>
              <a:gd name="connsiteX4164" fmla="*/ 2760704 w 12139750"/>
              <a:gd name="connsiteY4164" fmla="*/ 28 h 6858290"/>
              <a:gd name="connsiteX4165" fmla="*/ 11404328 w 12139750"/>
              <a:gd name="connsiteY4165" fmla="*/ 19 h 6858290"/>
              <a:gd name="connsiteX4166" fmla="*/ 11552367 w 12139750"/>
              <a:gd name="connsiteY4166" fmla="*/ 19 h 6858290"/>
              <a:gd name="connsiteX4167" fmla="*/ 11271473 w 12139750"/>
              <a:gd name="connsiteY4167" fmla="*/ 158733 h 6858290"/>
              <a:gd name="connsiteX4168" fmla="*/ 11222127 w 12139750"/>
              <a:gd name="connsiteY4168" fmla="*/ 145347 h 6858290"/>
              <a:gd name="connsiteX4169" fmla="*/ 11235412 w 12139750"/>
              <a:gd name="connsiteY4169" fmla="*/ 95630 h 6858290"/>
              <a:gd name="connsiteX4170" fmla="*/ 11404328 w 12139750"/>
              <a:gd name="connsiteY4170" fmla="*/ 19 h 6858290"/>
              <a:gd name="connsiteX4171" fmla="*/ 11942099 w 12139750"/>
              <a:gd name="connsiteY4171" fmla="*/ 17 h 6858290"/>
              <a:gd name="connsiteX4172" fmla="*/ 12100062 w 12139750"/>
              <a:gd name="connsiteY4172" fmla="*/ 17 h 6858290"/>
              <a:gd name="connsiteX4173" fmla="*/ 11835521 w 12139750"/>
              <a:gd name="connsiteY4173" fmla="*/ 142892 h 6858290"/>
              <a:gd name="connsiteX4174" fmla="*/ 11784136 w 12139750"/>
              <a:gd name="connsiteY4174" fmla="*/ 127652 h 6858290"/>
              <a:gd name="connsiteX4175" fmla="*/ 11799361 w 12139750"/>
              <a:gd name="connsiteY4175" fmla="*/ 76217 h 6858290"/>
              <a:gd name="connsiteX4176" fmla="*/ 11942099 w 12139750"/>
              <a:gd name="connsiteY4176" fmla="*/ 17 h 6858290"/>
              <a:gd name="connsiteX4177" fmla="*/ 76928 w 12139750"/>
              <a:gd name="connsiteY4177" fmla="*/ 14 h 6858290"/>
              <a:gd name="connsiteX4178" fmla="*/ 271465 w 12139750"/>
              <a:gd name="connsiteY4178" fmla="*/ 14 h 6858290"/>
              <a:gd name="connsiteX4179" fmla="*/ 63577 w 12139750"/>
              <a:gd name="connsiteY4179" fmla="*/ 99944 h 6858290"/>
              <a:gd name="connsiteX4180" fmla="*/ 8268 w 12139750"/>
              <a:gd name="connsiteY4180" fmla="*/ 80727 h 6858290"/>
              <a:gd name="connsiteX4181" fmla="*/ 27340 w 12139750"/>
              <a:gd name="connsiteY4181" fmla="*/ 24997 h 6858290"/>
              <a:gd name="connsiteX4182" fmla="*/ 76928 w 12139750"/>
              <a:gd name="connsiteY4182" fmla="*/ 14 h 6858290"/>
              <a:gd name="connsiteX4183" fmla="*/ 583733 w 12139750"/>
              <a:gd name="connsiteY4183" fmla="*/ 12 h 6858290"/>
              <a:gd name="connsiteX4184" fmla="*/ 792167 w 12139750"/>
              <a:gd name="connsiteY4184" fmla="*/ 12 h 6858290"/>
              <a:gd name="connsiteX4185" fmla="*/ 604767 w 12139750"/>
              <a:gd name="connsiteY4185" fmla="*/ 83832 h 6858290"/>
              <a:gd name="connsiteX4186" fmla="*/ 549312 w 12139750"/>
              <a:gd name="connsiteY4186" fmla="*/ 62877 h 6858290"/>
              <a:gd name="connsiteX4187" fmla="*/ 570347 w 12139750"/>
              <a:gd name="connsiteY4187" fmla="*/ 7632 h 6858290"/>
              <a:gd name="connsiteX4188" fmla="*/ 583733 w 12139750"/>
              <a:gd name="connsiteY4188" fmla="*/ 12 h 6858290"/>
              <a:gd name="connsiteX4189" fmla="*/ 1102307 w 12139750"/>
              <a:gd name="connsiteY4189" fmla="*/ 10 h 6858290"/>
              <a:gd name="connsiteX4190" fmla="*/ 1312869 w 12139750"/>
              <a:gd name="connsiteY4190" fmla="*/ 10 h 6858290"/>
              <a:gd name="connsiteX4191" fmla="*/ 1153525 w 12139750"/>
              <a:gd name="connsiteY4191" fmla="*/ 71334 h 6858290"/>
              <a:gd name="connsiteX4192" fmla="*/ 1094719 w 12139750"/>
              <a:gd name="connsiteY4192" fmla="*/ 48202 h 6858290"/>
              <a:gd name="connsiteX4193" fmla="*/ 1102307 w 12139750"/>
              <a:gd name="connsiteY4193" fmla="*/ 10 h 6858290"/>
              <a:gd name="connsiteX4194" fmla="*/ 1643393 w 12139750"/>
              <a:gd name="connsiteY4194" fmla="*/ 7 h 6858290"/>
              <a:gd name="connsiteX4195" fmla="*/ 1838335 w 12139750"/>
              <a:gd name="connsiteY4195" fmla="*/ 7 h 6858290"/>
              <a:gd name="connsiteX4196" fmla="*/ 1704551 w 12139750"/>
              <a:gd name="connsiteY4196" fmla="*/ 55524 h 6858290"/>
              <a:gd name="connsiteX4197" fmla="*/ 1645304 w 12139750"/>
              <a:gd name="connsiteY4197" fmla="*/ 30637 h 6858290"/>
              <a:gd name="connsiteX4198" fmla="*/ 1643393 w 12139750"/>
              <a:gd name="connsiteY4198" fmla="*/ 7 h 6858290"/>
              <a:gd name="connsiteX4199" fmla="*/ 2197113 w 12139750"/>
              <a:gd name="connsiteY4199" fmla="*/ 5 h 6858290"/>
              <a:gd name="connsiteX4200" fmla="*/ 2363803 w 12139750"/>
              <a:gd name="connsiteY4200" fmla="*/ 5 h 6858290"/>
              <a:gd name="connsiteX4201" fmla="*/ 2260340 w 12139750"/>
              <a:gd name="connsiteY4201" fmla="*/ 41647 h 6858290"/>
              <a:gd name="connsiteX4202" fmla="*/ 2199030 w 12139750"/>
              <a:gd name="connsiteY4202" fmla="*/ 15147 h 6858290"/>
              <a:gd name="connsiteX4203" fmla="*/ 2197113 w 12139750"/>
              <a:gd name="connsiteY4203" fmla="*/ 5 h 6858290"/>
              <a:gd name="connsiteX4204" fmla="*/ 9742489 w 12139750"/>
              <a:gd name="connsiteY4204" fmla="*/ 4 h 6858290"/>
              <a:gd name="connsiteX4205" fmla="*/ 9866419 w 12139750"/>
              <a:gd name="connsiteY4205" fmla="*/ 4 h 6858290"/>
              <a:gd name="connsiteX4206" fmla="*/ 9542293 w 12139750"/>
              <a:gd name="connsiteY4206" fmla="*/ 201631 h 6858290"/>
              <a:gd name="connsiteX4207" fmla="*/ 9496534 w 12139750"/>
              <a:gd name="connsiteY4207" fmla="*/ 192120 h 6858290"/>
              <a:gd name="connsiteX4208" fmla="*/ 9507974 w 12139750"/>
              <a:gd name="connsiteY4208" fmla="*/ 146469 h 6858290"/>
              <a:gd name="connsiteX4209" fmla="*/ 9742489 w 12139750"/>
              <a:gd name="connsiteY4209" fmla="*/ 4 h 6858290"/>
              <a:gd name="connsiteX4210" fmla="*/ 10304665 w 12139750"/>
              <a:gd name="connsiteY4210" fmla="*/ 2 h 6858290"/>
              <a:gd name="connsiteX4211" fmla="*/ 10436339 w 12139750"/>
              <a:gd name="connsiteY4211" fmla="*/ 2 h 6858290"/>
              <a:gd name="connsiteX4212" fmla="*/ 10125283 w 12139750"/>
              <a:gd name="connsiteY4212" fmla="*/ 187296 h 6858290"/>
              <a:gd name="connsiteX4213" fmla="*/ 10077576 w 12139750"/>
              <a:gd name="connsiteY4213" fmla="*/ 175829 h 6858290"/>
              <a:gd name="connsiteX4214" fmla="*/ 10089025 w 12139750"/>
              <a:gd name="connsiteY4214" fmla="*/ 129961 h 6858290"/>
              <a:gd name="connsiteX4215" fmla="*/ 10304665 w 12139750"/>
              <a:gd name="connsiteY4215" fmla="*/ 2 h 6858290"/>
              <a:gd name="connsiteX4216" fmla="*/ 10857477 w 12139750"/>
              <a:gd name="connsiteY4216" fmla="*/ 0 h 6858290"/>
              <a:gd name="connsiteX4217" fmla="*/ 10998322 w 12139750"/>
              <a:gd name="connsiteY4217" fmla="*/ 0 h 6858290"/>
              <a:gd name="connsiteX4218" fmla="*/ 10701405 w 12139750"/>
              <a:gd name="connsiteY4218" fmla="*/ 173054 h 6858290"/>
              <a:gd name="connsiteX4219" fmla="*/ 10653822 w 12139750"/>
              <a:gd name="connsiteY4219" fmla="*/ 159742 h 6858290"/>
              <a:gd name="connsiteX4220" fmla="*/ 10665241 w 12139750"/>
              <a:gd name="connsiteY4220" fmla="*/ 112200 h 6858290"/>
              <a:gd name="connsiteX4221" fmla="*/ 10857477 w 12139750"/>
              <a:gd name="connsiteY4221" fmla="*/ 0 h 6858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</a:cxnLst>
            <a:rect l="l" t="t" r="r" b="b"/>
            <a:pathLst>
              <a:path w="12139750" h="6858290">
                <a:moveTo>
                  <a:pt x="9863865" y="6730848"/>
                </a:moveTo>
                <a:cubicBezTo>
                  <a:pt x="9882230" y="6731206"/>
                  <a:pt x="9898990" y="6742279"/>
                  <a:pt x="9906123" y="6760852"/>
                </a:cubicBezTo>
                <a:cubicBezTo>
                  <a:pt x="9915632" y="6783712"/>
                  <a:pt x="9904221" y="6810382"/>
                  <a:pt x="9879496" y="6819907"/>
                </a:cubicBezTo>
                <a:cubicBezTo>
                  <a:pt x="9879496" y="6819907"/>
                  <a:pt x="9879496" y="6819907"/>
                  <a:pt x="9782500" y="6858007"/>
                </a:cubicBezTo>
                <a:cubicBezTo>
                  <a:pt x="9782500" y="6858007"/>
                  <a:pt x="9782500" y="6858007"/>
                  <a:pt x="9531452" y="6858007"/>
                </a:cubicBezTo>
                <a:cubicBezTo>
                  <a:pt x="9531452" y="6858007"/>
                  <a:pt x="9531452" y="6858007"/>
                  <a:pt x="9845262" y="6734182"/>
                </a:cubicBezTo>
                <a:cubicBezTo>
                  <a:pt x="9851443" y="6731801"/>
                  <a:pt x="9857743" y="6730729"/>
                  <a:pt x="9863865" y="6730848"/>
                </a:cubicBezTo>
                <a:close/>
                <a:moveTo>
                  <a:pt x="10445577" y="6718092"/>
                </a:moveTo>
                <a:cubicBezTo>
                  <a:pt x="10463182" y="6718359"/>
                  <a:pt x="10479983" y="6729028"/>
                  <a:pt x="10487132" y="6746099"/>
                </a:cubicBezTo>
                <a:cubicBezTo>
                  <a:pt x="10496665" y="6768860"/>
                  <a:pt x="10485226" y="6795414"/>
                  <a:pt x="10462348" y="6804898"/>
                </a:cubicBezTo>
                <a:cubicBezTo>
                  <a:pt x="10462348" y="6804898"/>
                  <a:pt x="10462348" y="6804898"/>
                  <a:pt x="10328892" y="6858007"/>
                </a:cubicBezTo>
                <a:cubicBezTo>
                  <a:pt x="10328892" y="6858007"/>
                  <a:pt x="10328892" y="6858007"/>
                  <a:pt x="10088672" y="6858007"/>
                </a:cubicBezTo>
                <a:cubicBezTo>
                  <a:pt x="10088672" y="6858007"/>
                  <a:pt x="10088672" y="6858007"/>
                  <a:pt x="10428031" y="6721441"/>
                </a:cubicBezTo>
                <a:cubicBezTo>
                  <a:pt x="10433751" y="6719070"/>
                  <a:pt x="10439708" y="6718003"/>
                  <a:pt x="10445577" y="6718092"/>
                </a:cubicBezTo>
                <a:close/>
                <a:moveTo>
                  <a:pt x="9285099" y="6718092"/>
                </a:moveTo>
                <a:cubicBezTo>
                  <a:pt x="9302704" y="6718359"/>
                  <a:pt x="9319505" y="6729028"/>
                  <a:pt x="9326654" y="6746099"/>
                </a:cubicBezTo>
                <a:cubicBezTo>
                  <a:pt x="9336187" y="6768860"/>
                  <a:pt x="9324748" y="6795414"/>
                  <a:pt x="9301870" y="6804898"/>
                </a:cubicBezTo>
                <a:cubicBezTo>
                  <a:pt x="9301870" y="6804898"/>
                  <a:pt x="9301870" y="6804898"/>
                  <a:pt x="9168414" y="6858007"/>
                </a:cubicBezTo>
                <a:cubicBezTo>
                  <a:pt x="9168414" y="6858007"/>
                  <a:pt x="9168414" y="6858007"/>
                  <a:pt x="8928194" y="6858007"/>
                </a:cubicBezTo>
                <a:cubicBezTo>
                  <a:pt x="8928194" y="6858007"/>
                  <a:pt x="8928194" y="6858007"/>
                  <a:pt x="9267553" y="6721441"/>
                </a:cubicBezTo>
                <a:cubicBezTo>
                  <a:pt x="9273273" y="6719070"/>
                  <a:pt x="9279230" y="6718003"/>
                  <a:pt x="9285099" y="6718092"/>
                </a:cubicBezTo>
                <a:close/>
                <a:moveTo>
                  <a:pt x="11021925" y="6702243"/>
                </a:moveTo>
                <a:cubicBezTo>
                  <a:pt x="11039503" y="6702511"/>
                  <a:pt x="11056279" y="6713227"/>
                  <a:pt x="11063417" y="6730372"/>
                </a:cubicBezTo>
                <a:cubicBezTo>
                  <a:pt x="11072935" y="6753232"/>
                  <a:pt x="11061513" y="6779902"/>
                  <a:pt x="11038670" y="6789427"/>
                </a:cubicBezTo>
                <a:cubicBezTo>
                  <a:pt x="11038670" y="6789427"/>
                  <a:pt x="11038670" y="6789427"/>
                  <a:pt x="10873058" y="6858007"/>
                </a:cubicBezTo>
                <a:cubicBezTo>
                  <a:pt x="10873058" y="6858007"/>
                  <a:pt x="10873058" y="6858007"/>
                  <a:pt x="10652242" y="6858007"/>
                </a:cubicBezTo>
                <a:cubicBezTo>
                  <a:pt x="10656049" y="6854197"/>
                  <a:pt x="10659856" y="6852292"/>
                  <a:pt x="10665567" y="6850387"/>
                </a:cubicBezTo>
                <a:cubicBezTo>
                  <a:pt x="10665567" y="6850387"/>
                  <a:pt x="10665567" y="6850387"/>
                  <a:pt x="11004406" y="6705607"/>
                </a:cubicBezTo>
                <a:cubicBezTo>
                  <a:pt x="11010117" y="6703225"/>
                  <a:pt x="11016065" y="6702154"/>
                  <a:pt x="11021925" y="6702243"/>
                </a:cubicBezTo>
                <a:close/>
                <a:moveTo>
                  <a:pt x="8712081" y="6702243"/>
                </a:moveTo>
                <a:cubicBezTo>
                  <a:pt x="8729659" y="6702511"/>
                  <a:pt x="8746435" y="6713227"/>
                  <a:pt x="8753573" y="6730372"/>
                </a:cubicBezTo>
                <a:cubicBezTo>
                  <a:pt x="8763091" y="6753232"/>
                  <a:pt x="8753573" y="6779902"/>
                  <a:pt x="8730730" y="6789427"/>
                </a:cubicBezTo>
                <a:cubicBezTo>
                  <a:pt x="8730730" y="6789427"/>
                  <a:pt x="8730730" y="6789427"/>
                  <a:pt x="8565118" y="6858007"/>
                </a:cubicBezTo>
                <a:cubicBezTo>
                  <a:pt x="8565118" y="6858007"/>
                  <a:pt x="8565118" y="6858007"/>
                  <a:pt x="8342398" y="6858007"/>
                </a:cubicBezTo>
                <a:cubicBezTo>
                  <a:pt x="8346205" y="6854197"/>
                  <a:pt x="8350012" y="6852292"/>
                  <a:pt x="8355723" y="6850387"/>
                </a:cubicBezTo>
                <a:cubicBezTo>
                  <a:pt x="8355723" y="6850387"/>
                  <a:pt x="8355723" y="6850387"/>
                  <a:pt x="8694562" y="6705607"/>
                </a:cubicBezTo>
                <a:cubicBezTo>
                  <a:pt x="8700273" y="6703226"/>
                  <a:pt x="8706221" y="6702154"/>
                  <a:pt x="8712081" y="6702243"/>
                </a:cubicBezTo>
                <a:close/>
                <a:moveTo>
                  <a:pt x="11608144" y="6692160"/>
                </a:moveTo>
                <a:cubicBezTo>
                  <a:pt x="11618391" y="6696194"/>
                  <a:pt x="11626970" y="6704261"/>
                  <a:pt x="11631736" y="6715650"/>
                </a:cubicBezTo>
                <a:cubicBezTo>
                  <a:pt x="11641268" y="6738427"/>
                  <a:pt x="11631736" y="6763102"/>
                  <a:pt x="11608859" y="6772593"/>
                </a:cubicBezTo>
                <a:cubicBezTo>
                  <a:pt x="11608859" y="6772593"/>
                  <a:pt x="11608859" y="6772593"/>
                  <a:pt x="11412495" y="6858007"/>
                </a:cubicBezTo>
                <a:cubicBezTo>
                  <a:pt x="11412495" y="6858007"/>
                  <a:pt x="11412495" y="6858007"/>
                  <a:pt x="11214225" y="6858007"/>
                </a:cubicBezTo>
                <a:cubicBezTo>
                  <a:pt x="11219944" y="6850415"/>
                  <a:pt x="11225664" y="6844721"/>
                  <a:pt x="11235196" y="6840924"/>
                </a:cubicBezTo>
                <a:cubicBezTo>
                  <a:pt x="11235196" y="6840924"/>
                  <a:pt x="11235196" y="6840924"/>
                  <a:pt x="11574543" y="6692872"/>
                </a:cubicBezTo>
                <a:cubicBezTo>
                  <a:pt x="11585982" y="6688127"/>
                  <a:pt x="11597897" y="6688127"/>
                  <a:pt x="11608144" y="6692160"/>
                </a:cubicBezTo>
                <a:close/>
                <a:moveTo>
                  <a:pt x="8162632" y="6692160"/>
                </a:moveTo>
                <a:cubicBezTo>
                  <a:pt x="8173079" y="6696194"/>
                  <a:pt x="8182101" y="6704261"/>
                  <a:pt x="8186849" y="6715650"/>
                </a:cubicBezTo>
                <a:cubicBezTo>
                  <a:pt x="8196346" y="6738427"/>
                  <a:pt x="8186849" y="6763102"/>
                  <a:pt x="8164057" y="6772593"/>
                </a:cubicBezTo>
                <a:cubicBezTo>
                  <a:pt x="8164057" y="6772593"/>
                  <a:pt x="8164057" y="6772593"/>
                  <a:pt x="7966524" y="6858007"/>
                </a:cubicBezTo>
                <a:cubicBezTo>
                  <a:pt x="7966524" y="6858007"/>
                  <a:pt x="7966524" y="6858007"/>
                  <a:pt x="7770890" y="6858007"/>
                </a:cubicBezTo>
                <a:cubicBezTo>
                  <a:pt x="7774688" y="6850415"/>
                  <a:pt x="7782286" y="6844721"/>
                  <a:pt x="7789883" y="6840924"/>
                </a:cubicBezTo>
                <a:cubicBezTo>
                  <a:pt x="7789883" y="6840924"/>
                  <a:pt x="7789883" y="6840924"/>
                  <a:pt x="8129868" y="6692872"/>
                </a:cubicBezTo>
                <a:cubicBezTo>
                  <a:pt x="8140315" y="6688127"/>
                  <a:pt x="8152186" y="6688127"/>
                  <a:pt x="8162632" y="6692160"/>
                </a:cubicBezTo>
                <a:close/>
                <a:moveTo>
                  <a:pt x="7602161" y="6677681"/>
                </a:moveTo>
                <a:cubicBezTo>
                  <a:pt x="7612631" y="6681497"/>
                  <a:pt x="7621673" y="6689130"/>
                  <a:pt x="7626432" y="6699625"/>
                </a:cubicBezTo>
                <a:cubicBezTo>
                  <a:pt x="7635950" y="6720616"/>
                  <a:pt x="7626432" y="6747331"/>
                  <a:pt x="7605492" y="6756872"/>
                </a:cubicBezTo>
                <a:cubicBezTo>
                  <a:pt x="7605492" y="6756872"/>
                  <a:pt x="7605492" y="6756872"/>
                  <a:pt x="7378961" y="6858007"/>
                </a:cubicBezTo>
                <a:cubicBezTo>
                  <a:pt x="7378961" y="6858007"/>
                  <a:pt x="7378961" y="6858007"/>
                  <a:pt x="7205732" y="6858007"/>
                </a:cubicBezTo>
                <a:cubicBezTo>
                  <a:pt x="7209539" y="6846558"/>
                  <a:pt x="7219057" y="6837017"/>
                  <a:pt x="7230479" y="6831292"/>
                </a:cubicBezTo>
                <a:cubicBezTo>
                  <a:pt x="7230479" y="6831292"/>
                  <a:pt x="7230479" y="6831292"/>
                  <a:pt x="7569323" y="6678635"/>
                </a:cubicBezTo>
                <a:cubicBezTo>
                  <a:pt x="7579793" y="6673864"/>
                  <a:pt x="7591691" y="6673864"/>
                  <a:pt x="7602161" y="6677681"/>
                </a:cubicBezTo>
                <a:close/>
                <a:moveTo>
                  <a:pt x="12139750" y="6677032"/>
                </a:moveTo>
                <a:cubicBezTo>
                  <a:pt x="12139750" y="6677032"/>
                  <a:pt x="12139750" y="6677032"/>
                  <a:pt x="12139750" y="6770377"/>
                </a:cubicBezTo>
                <a:cubicBezTo>
                  <a:pt x="12139750" y="6770377"/>
                  <a:pt x="12139750" y="6770377"/>
                  <a:pt x="12139750" y="6858007"/>
                </a:cubicBezTo>
                <a:cubicBezTo>
                  <a:pt x="12139750" y="6858007"/>
                  <a:pt x="12139750" y="6858007"/>
                  <a:pt x="11945775" y="6858007"/>
                </a:cubicBezTo>
                <a:cubicBezTo>
                  <a:pt x="11945775" y="6858007"/>
                  <a:pt x="11945775" y="6858007"/>
                  <a:pt x="11774620" y="6858007"/>
                </a:cubicBezTo>
                <a:cubicBezTo>
                  <a:pt x="11778423" y="6846577"/>
                  <a:pt x="11786030" y="6837052"/>
                  <a:pt x="11797441" y="6831337"/>
                </a:cubicBezTo>
                <a:lnTo>
                  <a:pt x="12137848" y="6678937"/>
                </a:lnTo>
                <a:cubicBezTo>
                  <a:pt x="12137848" y="6678937"/>
                  <a:pt x="12139750" y="6677032"/>
                  <a:pt x="12139750" y="6677032"/>
                </a:cubicBezTo>
                <a:close/>
                <a:moveTo>
                  <a:pt x="7049044" y="6663353"/>
                </a:moveTo>
                <a:cubicBezTo>
                  <a:pt x="7059045" y="6667151"/>
                  <a:pt x="7067618" y="6674747"/>
                  <a:pt x="7072381" y="6685192"/>
                </a:cubicBezTo>
                <a:cubicBezTo>
                  <a:pt x="7081906" y="6706082"/>
                  <a:pt x="7074286" y="6730770"/>
                  <a:pt x="7051425" y="6742164"/>
                </a:cubicBezTo>
                <a:cubicBezTo>
                  <a:pt x="7051425" y="6742164"/>
                  <a:pt x="7051425" y="6742164"/>
                  <a:pt x="6798057" y="6858007"/>
                </a:cubicBezTo>
                <a:cubicBezTo>
                  <a:pt x="6798057" y="6858007"/>
                  <a:pt x="6798057" y="6858007"/>
                  <a:pt x="6653275" y="6858007"/>
                </a:cubicBezTo>
                <a:cubicBezTo>
                  <a:pt x="6653275" y="6842815"/>
                  <a:pt x="6662800" y="6829521"/>
                  <a:pt x="6678040" y="6821925"/>
                </a:cubicBezTo>
                <a:cubicBezTo>
                  <a:pt x="6678040" y="6821925"/>
                  <a:pt x="6678040" y="6821925"/>
                  <a:pt x="7017135" y="6664302"/>
                </a:cubicBezTo>
                <a:cubicBezTo>
                  <a:pt x="7027613" y="6659555"/>
                  <a:pt x="7039043" y="6659555"/>
                  <a:pt x="7049044" y="6663353"/>
                </a:cubicBezTo>
                <a:close/>
                <a:moveTo>
                  <a:pt x="6502912" y="6648865"/>
                </a:moveTo>
                <a:cubicBezTo>
                  <a:pt x="6512921" y="6652443"/>
                  <a:pt x="6521500" y="6659597"/>
                  <a:pt x="6526266" y="6669136"/>
                </a:cubicBezTo>
                <a:cubicBezTo>
                  <a:pt x="6535798" y="6690121"/>
                  <a:pt x="6528172" y="6714923"/>
                  <a:pt x="6507201" y="6724462"/>
                </a:cubicBezTo>
                <a:cubicBezTo>
                  <a:pt x="6507201" y="6724462"/>
                  <a:pt x="6507201" y="6724462"/>
                  <a:pt x="6226954" y="6858007"/>
                </a:cubicBezTo>
                <a:cubicBezTo>
                  <a:pt x="6226954" y="6858007"/>
                  <a:pt x="6226954" y="6858007"/>
                  <a:pt x="6108755" y="6858007"/>
                </a:cubicBezTo>
                <a:cubicBezTo>
                  <a:pt x="6108755" y="6856099"/>
                  <a:pt x="6108755" y="6852284"/>
                  <a:pt x="6108755" y="6850376"/>
                </a:cubicBezTo>
                <a:cubicBezTo>
                  <a:pt x="6108755" y="6835114"/>
                  <a:pt x="6118287" y="6819851"/>
                  <a:pt x="6131632" y="6812220"/>
                </a:cubicBezTo>
                <a:cubicBezTo>
                  <a:pt x="6131632" y="6812220"/>
                  <a:pt x="6131632" y="6812220"/>
                  <a:pt x="6470979" y="6650058"/>
                </a:cubicBezTo>
                <a:cubicBezTo>
                  <a:pt x="6481464" y="6645288"/>
                  <a:pt x="6492903" y="6645288"/>
                  <a:pt x="6502912" y="6648865"/>
                </a:cubicBezTo>
                <a:close/>
                <a:moveTo>
                  <a:pt x="5955433" y="6635428"/>
                </a:moveTo>
                <a:cubicBezTo>
                  <a:pt x="5965211" y="6638757"/>
                  <a:pt x="5973796" y="6645891"/>
                  <a:pt x="5978566" y="6656354"/>
                </a:cubicBezTo>
                <a:cubicBezTo>
                  <a:pt x="5988105" y="6675378"/>
                  <a:pt x="5980473" y="6700109"/>
                  <a:pt x="5961395" y="6709621"/>
                </a:cubicBezTo>
                <a:cubicBezTo>
                  <a:pt x="5961395" y="6709621"/>
                  <a:pt x="5961395" y="6709621"/>
                  <a:pt x="5656142" y="6858007"/>
                </a:cubicBezTo>
                <a:cubicBezTo>
                  <a:pt x="5656142" y="6858007"/>
                  <a:pt x="5656142" y="6858007"/>
                  <a:pt x="5568382" y="6858007"/>
                </a:cubicBezTo>
                <a:cubicBezTo>
                  <a:pt x="5568382" y="6858007"/>
                  <a:pt x="5568382" y="6858007"/>
                  <a:pt x="5566474" y="6858007"/>
                </a:cubicBezTo>
                <a:cubicBezTo>
                  <a:pt x="5564566" y="6852300"/>
                  <a:pt x="5562659" y="6844691"/>
                  <a:pt x="5562659" y="6838983"/>
                </a:cubicBezTo>
                <a:cubicBezTo>
                  <a:pt x="5562659" y="6823764"/>
                  <a:pt x="5572198" y="6810448"/>
                  <a:pt x="5585552" y="6802838"/>
                </a:cubicBezTo>
                <a:cubicBezTo>
                  <a:pt x="5585552" y="6802838"/>
                  <a:pt x="5585552" y="6802838"/>
                  <a:pt x="5925146" y="6637331"/>
                </a:cubicBezTo>
                <a:cubicBezTo>
                  <a:pt x="5934685" y="6632575"/>
                  <a:pt x="5945655" y="6632099"/>
                  <a:pt x="5955433" y="6635428"/>
                </a:cubicBezTo>
                <a:close/>
                <a:moveTo>
                  <a:pt x="396081" y="6635428"/>
                </a:moveTo>
                <a:cubicBezTo>
                  <a:pt x="405822" y="6638757"/>
                  <a:pt x="414376" y="6645891"/>
                  <a:pt x="419127" y="6656354"/>
                </a:cubicBezTo>
                <a:cubicBezTo>
                  <a:pt x="428631" y="6675378"/>
                  <a:pt x="421028" y="6700109"/>
                  <a:pt x="400120" y="6709621"/>
                </a:cubicBezTo>
                <a:cubicBezTo>
                  <a:pt x="400120" y="6709621"/>
                  <a:pt x="400120" y="6709621"/>
                  <a:pt x="97901" y="6858007"/>
                </a:cubicBezTo>
                <a:cubicBezTo>
                  <a:pt x="97901" y="6858007"/>
                  <a:pt x="97901" y="6858007"/>
                  <a:pt x="10466" y="6858007"/>
                </a:cubicBezTo>
                <a:cubicBezTo>
                  <a:pt x="10466" y="6858007"/>
                  <a:pt x="8566" y="6858007"/>
                  <a:pt x="8566" y="6858007"/>
                </a:cubicBezTo>
                <a:cubicBezTo>
                  <a:pt x="6665" y="6852300"/>
                  <a:pt x="4764" y="6844691"/>
                  <a:pt x="4764" y="6838983"/>
                </a:cubicBezTo>
                <a:cubicBezTo>
                  <a:pt x="4764" y="6823764"/>
                  <a:pt x="12367" y="6810448"/>
                  <a:pt x="27573" y="6802838"/>
                </a:cubicBezTo>
                <a:cubicBezTo>
                  <a:pt x="27573" y="6802838"/>
                  <a:pt x="27573" y="6802838"/>
                  <a:pt x="365906" y="6637331"/>
                </a:cubicBezTo>
                <a:cubicBezTo>
                  <a:pt x="375410" y="6632575"/>
                  <a:pt x="386339" y="6632099"/>
                  <a:pt x="396081" y="6635428"/>
                </a:cubicBezTo>
                <a:close/>
                <a:moveTo>
                  <a:pt x="5405387" y="6619812"/>
                </a:moveTo>
                <a:cubicBezTo>
                  <a:pt x="5414897" y="6622912"/>
                  <a:pt x="5422981" y="6630065"/>
                  <a:pt x="5427736" y="6640556"/>
                </a:cubicBezTo>
                <a:cubicBezTo>
                  <a:pt x="5437247" y="6659630"/>
                  <a:pt x="5429639" y="6682520"/>
                  <a:pt x="5410617" y="6693965"/>
                </a:cubicBezTo>
                <a:cubicBezTo>
                  <a:pt x="5410617" y="6693965"/>
                  <a:pt x="5410617" y="6693965"/>
                  <a:pt x="5083441" y="6858007"/>
                </a:cubicBezTo>
                <a:cubicBezTo>
                  <a:pt x="5083441" y="6858007"/>
                  <a:pt x="5083441" y="6858007"/>
                  <a:pt x="5028285" y="6858007"/>
                </a:cubicBezTo>
                <a:cubicBezTo>
                  <a:pt x="5024482" y="6856100"/>
                  <a:pt x="5022579" y="6852285"/>
                  <a:pt x="5020677" y="6846562"/>
                </a:cubicBezTo>
                <a:cubicBezTo>
                  <a:pt x="5016874" y="6840840"/>
                  <a:pt x="5014972" y="6835118"/>
                  <a:pt x="5014972" y="6829395"/>
                </a:cubicBezTo>
                <a:cubicBezTo>
                  <a:pt x="5014972" y="6814136"/>
                  <a:pt x="5024482" y="6800783"/>
                  <a:pt x="5037797" y="6793153"/>
                </a:cubicBezTo>
                <a:cubicBezTo>
                  <a:pt x="5037797" y="6793153"/>
                  <a:pt x="5037797" y="6793153"/>
                  <a:pt x="5374478" y="6623389"/>
                </a:cubicBezTo>
                <a:cubicBezTo>
                  <a:pt x="5384938" y="6617666"/>
                  <a:pt x="5395876" y="6616713"/>
                  <a:pt x="5405387" y="6619812"/>
                </a:cubicBezTo>
                <a:close/>
                <a:moveTo>
                  <a:pt x="939733" y="6619812"/>
                </a:moveTo>
                <a:cubicBezTo>
                  <a:pt x="949279" y="6622912"/>
                  <a:pt x="957871" y="6630065"/>
                  <a:pt x="963599" y="6640556"/>
                </a:cubicBezTo>
                <a:cubicBezTo>
                  <a:pt x="973146" y="6659630"/>
                  <a:pt x="965508" y="6682520"/>
                  <a:pt x="944506" y="6693965"/>
                </a:cubicBezTo>
                <a:cubicBezTo>
                  <a:pt x="944506" y="6693965"/>
                  <a:pt x="944506" y="6693965"/>
                  <a:pt x="618014" y="6858007"/>
                </a:cubicBezTo>
                <a:cubicBezTo>
                  <a:pt x="618014" y="6858007"/>
                  <a:pt x="618014" y="6858007"/>
                  <a:pt x="562644" y="6858007"/>
                </a:cubicBezTo>
                <a:cubicBezTo>
                  <a:pt x="558825" y="6856100"/>
                  <a:pt x="555007" y="6852285"/>
                  <a:pt x="553097" y="6846562"/>
                </a:cubicBezTo>
                <a:cubicBezTo>
                  <a:pt x="549279" y="6840840"/>
                  <a:pt x="549279" y="6835118"/>
                  <a:pt x="549279" y="6829395"/>
                </a:cubicBezTo>
                <a:cubicBezTo>
                  <a:pt x="549279" y="6814136"/>
                  <a:pt x="556916" y="6800783"/>
                  <a:pt x="570281" y="6793153"/>
                </a:cubicBezTo>
                <a:cubicBezTo>
                  <a:pt x="570281" y="6793153"/>
                  <a:pt x="570281" y="6793153"/>
                  <a:pt x="910138" y="6623389"/>
                </a:cubicBezTo>
                <a:cubicBezTo>
                  <a:pt x="919685" y="6617666"/>
                  <a:pt x="930186" y="6616712"/>
                  <a:pt x="939733" y="6619812"/>
                </a:cubicBezTo>
                <a:close/>
                <a:moveTo>
                  <a:pt x="4850593" y="6606634"/>
                </a:moveTo>
                <a:cubicBezTo>
                  <a:pt x="4860352" y="6609734"/>
                  <a:pt x="4868919" y="6616409"/>
                  <a:pt x="4873679" y="6625946"/>
                </a:cubicBezTo>
                <a:cubicBezTo>
                  <a:pt x="4883197" y="6645019"/>
                  <a:pt x="4875583" y="6667906"/>
                  <a:pt x="4856545" y="6677443"/>
                </a:cubicBezTo>
                <a:cubicBezTo>
                  <a:pt x="4856545" y="6677443"/>
                  <a:pt x="4856545" y="6677443"/>
                  <a:pt x="4519612" y="6852914"/>
                </a:cubicBezTo>
                <a:cubicBezTo>
                  <a:pt x="4500578" y="6864357"/>
                  <a:pt x="4477736" y="6856728"/>
                  <a:pt x="4466313" y="6837655"/>
                </a:cubicBezTo>
                <a:cubicBezTo>
                  <a:pt x="4464410" y="6831933"/>
                  <a:pt x="4462507" y="6824304"/>
                  <a:pt x="4462507" y="6818582"/>
                </a:cubicBezTo>
                <a:cubicBezTo>
                  <a:pt x="4462507" y="6805231"/>
                  <a:pt x="4470122" y="6791880"/>
                  <a:pt x="4483446" y="6784251"/>
                </a:cubicBezTo>
                <a:cubicBezTo>
                  <a:pt x="4483446" y="6784251"/>
                  <a:pt x="4483446" y="6784251"/>
                  <a:pt x="4820371" y="6608780"/>
                </a:cubicBezTo>
                <a:cubicBezTo>
                  <a:pt x="4829888" y="6604012"/>
                  <a:pt x="4840837" y="6603535"/>
                  <a:pt x="4850593" y="6606634"/>
                </a:cubicBezTo>
                <a:close/>
                <a:moveTo>
                  <a:pt x="1485698" y="6606634"/>
                </a:moveTo>
                <a:cubicBezTo>
                  <a:pt x="1494978" y="6609734"/>
                  <a:pt x="1503069" y="6616409"/>
                  <a:pt x="1507827" y="6625946"/>
                </a:cubicBezTo>
                <a:cubicBezTo>
                  <a:pt x="1519249" y="6645019"/>
                  <a:pt x="1511635" y="6667906"/>
                  <a:pt x="1492599" y="6677443"/>
                </a:cubicBezTo>
                <a:cubicBezTo>
                  <a:pt x="1492599" y="6677443"/>
                  <a:pt x="1492599" y="6677443"/>
                  <a:pt x="1153761" y="6852914"/>
                </a:cubicBezTo>
                <a:cubicBezTo>
                  <a:pt x="1134725" y="6864357"/>
                  <a:pt x="1111882" y="6856728"/>
                  <a:pt x="1102364" y="6837655"/>
                </a:cubicBezTo>
                <a:cubicBezTo>
                  <a:pt x="1098557" y="6831933"/>
                  <a:pt x="1098557" y="6824304"/>
                  <a:pt x="1098557" y="6818582"/>
                </a:cubicBezTo>
                <a:cubicBezTo>
                  <a:pt x="1098557" y="6805231"/>
                  <a:pt x="1106171" y="6791880"/>
                  <a:pt x="1119496" y="6784251"/>
                </a:cubicBezTo>
                <a:cubicBezTo>
                  <a:pt x="1119496" y="6784251"/>
                  <a:pt x="1119496" y="6784251"/>
                  <a:pt x="1456431" y="6608780"/>
                </a:cubicBezTo>
                <a:cubicBezTo>
                  <a:pt x="1465949" y="6604012"/>
                  <a:pt x="1476418" y="6603535"/>
                  <a:pt x="1485698" y="6606634"/>
                </a:cubicBezTo>
                <a:close/>
                <a:moveTo>
                  <a:pt x="4291129" y="6592973"/>
                </a:moveTo>
                <a:cubicBezTo>
                  <a:pt x="4300416" y="6595593"/>
                  <a:pt x="4308513" y="6601784"/>
                  <a:pt x="4313276" y="6611309"/>
                </a:cubicBezTo>
                <a:cubicBezTo>
                  <a:pt x="4322801" y="6630359"/>
                  <a:pt x="4317086" y="6653219"/>
                  <a:pt x="4298036" y="6662744"/>
                </a:cubicBezTo>
                <a:cubicBezTo>
                  <a:pt x="4298036" y="6662744"/>
                  <a:pt x="4298036" y="6662744"/>
                  <a:pt x="3960866" y="6841814"/>
                </a:cubicBezTo>
                <a:cubicBezTo>
                  <a:pt x="3941816" y="6853244"/>
                  <a:pt x="3918955" y="6845624"/>
                  <a:pt x="3909428" y="6826574"/>
                </a:cubicBezTo>
                <a:cubicBezTo>
                  <a:pt x="3905618" y="6820859"/>
                  <a:pt x="3903714" y="6815144"/>
                  <a:pt x="3903714" y="6809429"/>
                </a:cubicBezTo>
                <a:cubicBezTo>
                  <a:pt x="3903714" y="6796094"/>
                  <a:pt x="3911332" y="6782759"/>
                  <a:pt x="3924671" y="6775139"/>
                </a:cubicBezTo>
                <a:cubicBezTo>
                  <a:pt x="3924671" y="6775139"/>
                  <a:pt x="3924671" y="6775139"/>
                  <a:pt x="4261839" y="6596069"/>
                </a:cubicBezTo>
                <a:cubicBezTo>
                  <a:pt x="4271364" y="6591306"/>
                  <a:pt x="4281843" y="6590354"/>
                  <a:pt x="4291129" y="6592973"/>
                </a:cubicBezTo>
                <a:close/>
                <a:moveTo>
                  <a:pt x="2037015" y="6592973"/>
                </a:moveTo>
                <a:cubicBezTo>
                  <a:pt x="2046302" y="6595592"/>
                  <a:pt x="2054881" y="6601784"/>
                  <a:pt x="2060596" y="6611309"/>
                </a:cubicBezTo>
                <a:cubicBezTo>
                  <a:pt x="2070120" y="6630359"/>
                  <a:pt x="2062500" y="6653219"/>
                  <a:pt x="2043445" y="6662744"/>
                </a:cubicBezTo>
                <a:cubicBezTo>
                  <a:pt x="2043445" y="6662744"/>
                  <a:pt x="2043445" y="6662744"/>
                  <a:pt x="1706255" y="6841814"/>
                </a:cubicBezTo>
                <a:cubicBezTo>
                  <a:pt x="1687205" y="6853244"/>
                  <a:pt x="1664344" y="6845624"/>
                  <a:pt x="1654819" y="6826574"/>
                </a:cubicBezTo>
                <a:cubicBezTo>
                  <a:pt x="1652914" y="6820859"/>
                  <a:pt x="1651009" y="6815144"/>
                  <a:pt x="1651009" y="6809429"/>
                </a:cubicBezTo>
                <a:cubicBezTo>
                  <a:pt x="1651009" y="6796094"/>
                  <a:pt x="1658629" y="6782759"/>
                  <a:pt x="1670059" y="6775139"/>
                </a:cubicBezTo>
                <a:cubicBezTo>
                  <a:pt x="1670059" y="6775139"/>
                  <a:pt x="1670059" y="6775139"/>
                  <a:pt x="2009154" y="6596069"/>
                </a:cubicBezTo>
                <a:cubicBezTo>
                  <a:pt x="2017727" y="6591306"/>
                  <a:pt x="2027728" y="6590354"/>
                  <a:pt x="2037015" y="6592973"/>
                </a:cubicBezTo>
                <a:close/>
                <a:moveTo>
                  <a:pt x="3727788" y="6578033"/>
                </a:moveTo>
                <a:cubicBezTo>
                  <a:pt x="3736845" y="6580647"/>
                  <a:pt x="3744949" y="6586823"/>
                  <a:pt x="3749713" y="6595376"/>
                </a:cubicBezTo>
                <a:cubicBezTo>
                  <a:pt x="3759249" y="6614381"/>
                  <a:pt x="3753527" y="6635287"/>
                  <a:pt x="3734461" y="6646690"/>
                </a:cubicBezTo>
                <a:cubicBezTo>
                  <a:pt x="3734461" y="6646690"/>
                  <a:pt x="3734461" y="6646690"/>
                  <a:pt x="3397031" y="6831042"/>
                </a:cubicBezTo>
                <a:cubicBezTo>
                  <a:pt x="3379871" y="6840544"/>
                  <a:pt x="3356993" y="6832942"/>
                  <a:pt x="3347460" y="6815837"/>
                </a:cubicBezTo>
                <a:cubicBezTo>
                  <a:pt x="3343648" y="6810136"/>
                  <a:pt x="3341740" y="6804434"/>
                  <a:pt x="3341740" y="6798733"/>
                </a:cubicBezTo>
                <a:cubicBezTo>
                  <a:pt x="3341740" y="6785429"/>
                  <a:pt x="3349368" y="6772125"/>
                  <a:pt x="3362712" y="6764523"/>
                </a:cubicBezTo>
                <a:cubicBezTo>
                  <a:pt x="3362712" y="6764523"/>
                  <a:pt x="3362712" y="6764523"/>
                  <a:pt x="3700145" y="6582072"/>
                </a:cubicBezTo>
                <a:cubicBezTo>
                  <a:pt x="3708725" y="6576370"/>
                  <a:pt x="3718734" y="6575420"/>
                  <a:pt x="3727788" y="6578033"/>
                </a:cubicBezTo>
                <a:close/>
                <a:moveTo>
                  <a:pt x="2592701" y="6578033"/>
                </a:moveTo>
                <a:cubicBezTo>
                  <a:pt x="2601758" y="6580646"/>
                  <a:pt x="2609859" y="6586823"/>
                  <a:pt x="2614625" y="6595376"/>
                </a:cubicBezTo>
                <a:cubicBezTo>
                  <a:pt x="2624159" y="6614381"/>
                  <a:pt x="2618440" y="6635287"/>
                  <a:pt x="2599374" y="6646690"/>
                </a:cubicBezTo>
                <a:cubicBezTo>
                  <a:pt x="2599374" y="6646690"/>
                  <a:pt x="2599374" y="6646690"/>
                  <a:pt x="2261929" y="6831042"/>
                </a:cubicBezTo>
                <a:cubicBezTo>
                  <a:pt x="2244771" y="6840544"/>
                  <a:pt x="2221893" y="6832942"/>
                  <a:pt x="2212361" y="6815837"/>
                </a:cubicBezTo>
                <a:cubicBezTo>
                  <a:pt x="2208548" y="6810136"/>
                  <a:pt x="2206641" y="6804434"/>
                  <a:pt x="2206641" y="6798733"/>
                </a:cubicBezTo>
                <a:cubicBezTo>
                  <a:pt x="2206641" y="6785429"/>
                  <a:pt x="2214267" y="6772125"/>
                  <a:pt x="2225706" y="6764523"/>
                </a:cubicBezTo>
                <a:cubicBezTo>
                  <a:pt x="2225706" y="6764523"/>
                  <a:pt x="2225706" y="6764523"/>
                  <a:pt x="2565057" y="6582072"/>
                </a:cubicBezTo>
                <a:cubicBezTo>
                  <a:pt x="2573637" y="6576370"/>
                  <a:pt x="2583646" y="6575420"/>
                  <a:pt x="2592701" y="6578033"/>
                </a:cubicBezTo>
                <a:close/>
                <a:moveTo>
                  <a:pt x="3153212" y="6564138"/>
                </a:moveTo>
                <a:cubicBezTo>
                  <a:pt x="3162242" y="6566511"/>
                  <a:pt x="3170318" y="6572206"/>
                  <a:pt x="3175071" y="6580749"/>
                </a:cubicBezTo>
                <a:cubicBezTo>
                  <a:pt x="3184575" y="6599732"/>
                  <a:pt x="3178875" y="6620614"/>
                  <a:pt x="3161765" y="6630106"/>
                </a:cubicBezTo>
                <a:cubicBezTo>
                  <a:pt x="3161765" y="6630106"/>
                  <a:pt x="3161765" y="6630106"/>
                  <a:pt x="2825349" y="6819941"/>
                </a:cubicBezTo>
                <a:cubicBezTo>
                  <a:pt x="2808242" y="6829432"/>
                  <a:pt x="2785435" y="6823737"/>
                  <a:pt x="2775933" y="6804754"/>
                </a:cubicBezTo>
                <a:cubicBezTo>
                  <a:pt x="2772130" y="6799059"/>
                  <a:pt x="2770229" y="6793364"/>
                  <a:pt x="2770229" y="6787669"/>
                </a:cubicBezTo>
                <a:cubicBezTo>
                  <a:pt x="2770229" y="6774380"/>
                  <a:pt x="2777830" y="6762990"/>
                  <a:pt x="2789238" y="6757295"/>
                </a:cubicBezTo>
                <a:cubicBezTo>
                  <a:pt x="2789238" y="6757295"/>
                  <a:pt x="2789238" y="6757295"/>
                  <a:pt x="3125653" y="6567460"/>
                </a:cubicBezTo>
                <a:cubicBezTo>
                  <a:pt x="3134208" y="6562715"/>
                  <a:pt x="3144188" y="6561765"/>
                  <a:pt x="3153212" y="6564138"/>
                </a:cubicBezTo>
                <a:close/>
                <a:moveTo>
                  <a:pt x="9862101" y="6403755"/>
                </a:moveTo>
                <a:cubicBezTo>
                  <a:pt x="9878927" y="6403933"/>
                  <a:pt x="9895752" y="6414278"/>
                  <a:pt x="9902911" y="6429975"/>
                </a:cubicBezTo>
                <a:cubicBezTo>
                  <a:pt x="9912457" y="6452806"/>
                  <a:pt x="9902911" y="6477539"/>
                  <a:pt x="9880000" y="6487052"/>
                </a:cubicBezTo>
                <a:lnTo>
                  <a:pt x="9540159" y="6637356"/>
                </a:lnTo>
                <a:cubicBezTo>
                  <a:pt x="9517248" y="6646869"/>
                  <a:pt x="9492429" y="6635453"/>
                  <a:pt x="9482882" y="6614525"/>
                </a:cubicBezTo>
                <a:cubicBezTo>
                  <a:pt x="9479064" y="6608817"/>
                  <a:pt x="9479064" y="6603109"/>
                  <a:pt x="9479064" y="6597402"/>
                </a:cubicBezTo>
                <a:cubicBezTo>
                  <a:pt x="9479064" y="6580278"/>
                  <a:pt x="9488610" y="6565058"/>
                  <a:pt x="9505793" y="6557447"/>
                </a:cubicBezTo>
                <a:cubicBezTo>
                  <a:pt x="9505793" y="6557447"/>
                  <a:pt x="9505793" y="6557447"/>
                  <a:pt x="9845634" y="6407144"/>
                </a:cubicBezTo>
                <a:cubicBezTo>
                  <a:pt x="9850884" y="6404766"/>
                  <a:pt x="9856493" y="6403695"/>
                  <a:pt x="9862101" y="6403755"/>
                </a:cubicBezTo>
                <a:close/>
                <a:moveTo>
                  <a:pt x="10444610" y="6390314"/>
                </a:moveTo>
                <a:cubicBezTo>
                  <a:pt x="10460838" y="6389686"/>
                  <a:pt x="10476531" y="6400097"/>
                  <a:pt x="10483665" y="6415894"/>
                </a:cubicBezTo>
                <a:cubicBezTo>
                  <a:pt x="10495078" y="6436955"/>
                  <a:pt x="10483665" y="6463761"/>
                  <a:pt x="10462740" y="6473334"/>
                </a:cubicBezTo>
                <a:cubicBezTo>
                  <a:pt x="10462740" y="6473334"/>
                  <a:pt x="10462740" y="6473334"/>
                  <a:pt x="10124143" y="6624595"/>
                </a:cubicBezTo>
                <a:cubicBezTo>
                  <a:pt x="10101317" y="6634169"/>
                  <a:pt x="10076588" y="6624595"/>
                  <a:pt x="10067076" y="6603534"/>
                </a:cubicBezTo>
                <a:cubicBezTo>
                  <a:pt x="10065174" y="6597790"/>
                  <a:pt x="10063272" y="6592045"/>
                  <a:pt x="10063272" y="6586301"/>
                </a:cubicBezTo>
                <a:cubicBezTo>
                  <a:pt x="10063272" y="6569069"/>
                  <a:pt x="10072783" y="6553752"/>
                  <a:pt x="10088001" y="6546093"/>
                </a:cubicBezTo>
                <a:cubicBezTo>
                  <a:pt x="10088001" y="6546093"/>
                  <a:pt x="10088001" y="6546093"/>
                  <a:pt x="10428500" y="6394832"/>
                </a:cubicBezTo>
                <a:cubicBezTo>
                  <a:pt x="10433731" y="6391960"/>
                  <a:pt x="10439200" y="6390524"/>
                  <a:pt x="10444610" y="6390314"/>
                </a:cubicBezTo>
                <a:close/>
                <a:moveTo>
                  <a:pt x="9283606" y="6390314"/>
                </a:moveTo>
                <a:cubicBezTo>
                  <a:pt x="9300650" y="6389686"/>
                  <a:pt x="9316354" y="6400097"/>
                  <a:pt x="9323493" y="6415894"/>
                </a:cubicBezTo>
                <a:cubicBezTo>
                  <a:pt x="9333011" y="6436955"/>
                  <a:pt x="9323493" y="6463761"/>
                  <a:pt x="9302553" y="6473334"/>
                </a:cubicBezTo>
                <a:cubicBezTo>
                  <a:pt x="9302553" y="6473334"/>
                  <a:pt x="9302553" y="6473334"/>
                  <a:pt x="8961805" y="6624595"/>
                </a:cubicBezTo>
                <a:cubicBezTo>
                  <a:pt x="8940865" y="6634169"/>
                  <a:pt x="8916118" y="6624595"/>
                  <a:pt x="8906600" y="6603534"/>
                </a:cubicBezTo>
                <a:cubicBezTo>
                  <a:pt x="8902793" y="6597790"/>
                  <a:pt x="8902793" y="6592045"/>
                  <a:pt x="8902793" y="6586301"/>
                </a:cubicBezTo>
                <a:cubicBezTo>
                  <a:pt x="8902793" y="6569069"/>
                  <a:pt x="8912311" y="6553752"/>
                  <a:pt x="8927540" y="6546093"/>
                </a:cubicBezTo>
                <a:cubicBezTo>
                  <a:pt x="8927540" y="6546093"/>
                  <a:pt x="8927540" y="6546093"/>
                  <a:pt x="9266384" y="6394832"/>
                </a:cubicBezTo>
                <a:cubicBezTo>
                  <a:pt x="9272095" y="6391960"/>
                  <a:pt x="9277925" y="6390524"/>
                  <a:pt x="9283606" y="6390314"/>
                </a:cubicBezTo>
                <a:close/>
                <a:moveTo>
                  <a:pt x="11020686" y="6377294"/>
                </a:moveTo>
                <a:cubicBezTo>
                  <a:pt x="11037076" y="6376226"/>
                  <a:pt x="11053197" y="6385845"/>
                  <a:pt x="11061795" y="6402947"/>
                </a:cubicBezTo>
                <a:cubicBezTo>
                  <a:pt x="11071348" y="6423849"/>
                  <a:pt x="11061795" y="6448552"/>
                  <a:pt x="11038867" y="6458052"/>
                </a:cubicBezTo>
                <a:cubicBezTo>
                  <a:pt x="11038867" y="6458052"/>
                  <a:pt x="11038867" y="6458052"/>
                  <a:pt x="10698772" y="6611968"/>
                </a:cubicBezTo>
                <a:cubicBezTo>
                  <a:pt x="10677755" y="6621469"/>
                  <a:pt x="10652917" y="6611968"/>
                  <a:pt x="10643363" y="6591066"/>
                </a:cubicBezTo>
                <a:cubicBezTo>
                  <a:pt x="10639542" y="6585365"/>
                  <a:pt x="10639542" y="6579665"/>
                  <a:pt x="10639542" y="6573964"/>
                </a:cubicBezTo>
                <a:cubicBezTo>
                  <a:pt x="10639542" y="6556862"/>
                  <a:pt x="10647185" y="6541661"/>
                  <a:pt x="10664380" y="6534060"/>
                </a:cubicBezTo>
                <a:cubicBezTo>
                  <a:pt x="10664380" y="6534060"/>
                  <a:pt x="10664380" y="6534060"/>
                  <a:pt x="11004475" y="6382045"/>
                </a:cubicBezTo>
                <a:cubicBezTo>
                  <a:pt x="11009729" y="6379195"/>
                  <a:pt x="11015223" y="6377651"/>
                  <a:pt x="11020686" y="6377294"/>
                </a:cubicBezTo>
                <a:close/>
                <a:moveTo>
                  <a:pt x="8711111" y="6377294"/>
                </a:moveTo>
                <a:cubicBezTo>
                  <a:pt x="8727949" y="6376226"/>
                  <a:pt x="8744786" y="6385845"/>
                  <a:pt x="8751951" y="6402947"/>
                </a:cubicBezTo>
                <a:cubicBezTo>
                  <a:pt x="8761504" y="6423849"/>
                  <a:pt x="8751951" y="6448552"/>
                  <a:pt x="8730934" y="6458052"/>
                </a:cubicBezTo>
                <a:cubicBezTo>
                  <a:pt x="8730934" y="6458052"/>
                  <a:pt x="8730934" y="6458052"/>
                  <a:pt x="8388928" y="6611968"/>
                </a:cubicBezTo>
                <a:cubicBezTo>
                  <a:pt x="8367911" y="6621469"/>
                  <a:pt x="8343073" y="6611968"/>
                  <a:pt x="8333519" y="6591066"/>
                </a:cubicBezTo>
                <a:cubicBezTo>
                  <a:pt x="8329698" y="6585365"/>
                  <a:pt x="8329698" y="6579665"/>
                  <a:pt x="8329698" y="6573964"/>
                </a:cubicBezTo>
                <a:cubicBezTo>
                  <a:pt x="8329698" y="6556862"/>
                  <a:pt x="8339251" y="6541661"/>
                  <a:pt x="8354536" y="6534060"/>
                </a:cubicBezTo>
                <a:cubicBezTo>
                  <a:pt x="8354536" y="6534060"/>
                  <a:pt x="8354536" y="6534060"/>
                  <a:pt x="8694631" y="6382045"/>
                </a:cubicBezTo>
                <a:cubicBezTo>
                  <a:pt x="8699885" y="6379195"/>
                  <a:pt x="8705498" y="6377651"/>
                  <a:pt x="8711111" y="6377294"/>
                </a:cubicBezTo>
                <a:close/>
                <a:moveTo>
                  <a:pt x="8145353" y="6364557"/>
                </a:moveTo>
                <a:cubicBezTo>
                  <a:pt x="8162396" y="6363400"/>
                  <a:pt x="8178101" y="6372652"/>
                  <a:pt x="8185240" y="6388309"/>
                </a:cubicBezTo>
                <a:cubicBezTo>
                  <a:pt x="8194758" y="6411083"/>
                  <a:pt x="8185240" y="6435755"/>
                  <a:pt x="8164300" y="6445244"/>
                </a:cubicBezTo>
                <a:cubicBezTo>
                  <a:pt x="8164300" y="6445244"/>
                  <a:pt x="8164300" y="6445244"/>
                  <a:pt x="7825456" y="6600868"/>
                </a:cubicBezTo>
                <a:cubicBezTo>
                  <a:pt x="7804516" y="6610357"/>
                  <a:pt x="7779769" y="6600868"/>
                  <a:pt x="7768347" y="6579991"/>
                </a:cubicBezTo>
                <a:cubicBezTo>
                  <a:pt x="7766443" y="6574298"/>
                  <a:pt x="7764540" y="6568604"/>
                  <a:pt x="7764540" y="6562911"/>
                </a:cubicBezTo>
                <a:cubicBezTo>
                  <a:pt x="7764540" y="6545830"/>
                  <a:pt x="7774058" y="6530647"/>
                  <a:pt x="7789287" y="6523056"/>
                </a:cubicBezTo>
                <a:cubicBezTo>
                  <a:pt x="7789287" y="6523056"/>
                  <a:pt x="7789287" y="6523056"/>
                  <a:pt x="8128131" y="6369331"/>
                </a:cubicBezTo>
                <a:cubicBezTo>
                  <a:pt x="8133842" y="6366484"/>
                  <a:pt x="8139672" y="6364942"/>
                  <a:pt x="8145353" y="6364557"/>
                </a:cubicBezTo>
                <a:close/>
                <a:moveTo>
                  <a:pt x="11589455" y="6364556"/>
                </a:moveTo>
                <a:cubicBezTo>
                  <a:pt x="11605707" y="6363400"/>
                  <a:pt x="11621424" y="6372652"/>
                  <a:pt x="11628568" y="6388309"/>
                </a:cubicBezTo>
                <a:cubicBezTo>
                  <a:pt x="11638093" y="6411083"/>
                  <a:pt x="11630473" y="6435755"/>
                  <a:pt x="11607613" y="6445244"/>
                </a:cubicBezTo>
                <a:cubicBezTo>
                  <a:pt x="11607613" y="6445244"/>
                  <a:pt x="11607613" y="6445244"/>
                  <a:pt x="11268518" y="6600868"/>
                </a:cubicBezTo>
                <a:cubicBezTo>
                  <a:pt x="11247563" y="6610357"/>
                  <a:pt x="11222797" y="6600868"/>
                  <a:pt x="11213272" y="6579991"/>
                </a:cubicBezTo>
                <a:cubicBezTo>
                  <a:pt x="11211367" y="6574298"/>
                  <a:pt x="11209462" y="6568604"/>
                  <a:pt x="11209462" y="6562911"/>
                </a:cubicBezTo>
                <a:cubicBezTo>
                  <a:pt x="11209462" y="6545830"/>
                  <a:pt x="11218987" y="6530647"/>
                  <a:pt x="11234227" y="6523056"/>
                </a:cubicBezTo>
                <a:cubicBezTo>
                  <a:pt x="11234227" y="6523056"/>
                  <a:pt x="11234227" y="6523056"/>
                  <a:pt x="11573322" y="6369331"/>
                </a:cubicBezTo>
                <a:cubicBezTo>
                  <a:pt x="11578561" y="6366484"/>
                  <a:pt x="11584038" y="6364942"/>
                  <a:pt x="11589455" y="6364556"/>
                </a:cubicBezTo>
                <a:close/>
                <a:moveTo>
                  <a:pt x="12139750" y="6353181"/>
                </a:moveTo>
                <a:cubicBezTo>
                  <a:pt x="12139750" y="6353181"/>
                  <a:pt x="12139750" y="6353181"/>
                  <a:pt x="12139750" y="6444739"/>
                </a:cubicBezTo>
                <a:cubicBezTo>
                  <a:pt x="12139750" y="6444739"/>
                  <a:pt x="12139750" y="6444739"/>
                  <a:pt x="11833573" y="6587799"/>
                </a:cubicBezTo>
                <a:cubicBezTo>
                  <a:pt x="11812654" y="6599244"/>
                  <a:pt x="11787932" y="6589706"/>
                  <a:pt x="11778423" y="6568724"/>
                </a:cubicBezTo>
                <a:cubicBezTo>
                  <a:pt x="11774620" y="6563002"/>
                  <a:pt x="11774620" y="6557280"/>
                  <a:pt x="11774620" y="6551557"/>
                </a:cubicBezTo>
                <a:cubicBezTo>
                  <a:pt x="11774620" y="6534390"/>
                  <a:pt x="11782227" y="6519130"/>
                  <a:pt x="11797441" y="6513408"/>
                </a:cubicBezTo>
                <a:lnTo>
                  <a:pt x="12135947" y="6355088"/>
                </a:lnTo>
                <a:cubicBezTo>
                  <a:pt x="12137848" y="6353181"/>
                  <a:pt x="12139750" y="6353181"/>
                  <a:pt x="12139750" y="6353181"/>
                </a:cubicBezTo>
                <a:close/>
                <a:moveTo>
                  <a:pt x="7585725" y="6350302"/>
                </a:moveTo>
                <a:cubicBezTo>
                  <a:pt x="7601977" y="6349140"/>
                  <a:pt x="7617694" y="6358438"/>
                  <a:pt x="7624838" y="6374174"/>
                </a:cubicBezTo>
                <a:cubicBezTo>
                  <a:pt x="7634363" y="6395155"/>
                  <a:pt x="7624838" y="6419951"/>
                  <a:pt x="7605787" y="6429488"/>
                </a:cubicBezTo>
                <a:cubicBezTo>
                  <a:pt x="7605787" y="6429488"/>
                  <a:pt x="7605787" y="6429488"/>
                  <a:pt x="7264788" y="6587800"/>
                </a:cubicBezTo>
                <a:cubicBezTo>
                  <a:pt x="7243832" y="6599244"/>
                  <a:pt x="7219067" y="6589707"/>
                  <a:pt x="7209542" y="6568726"/>
                </a:cubicBezTo>
                <a:cubicBezTo>
                  <a:pt x="7207637" y="6563004"/>
                  <a:pt x="7205732" y="6557282"/>
                  <a:pt x="7205732" y="6551559"/>
                </a:cubicBezTo>
                <a:cubicBezTo>
                  <a:pt x="7205732" y="6534393"/>
                  <a:pt x="7215257" y="6519134"/>
                  <a:pt x="7230497" y="6513412"/>
                </a:cubicBezTo>
                <a:cubicBezTo>
                  <a:pt x="7230497" y="6513412"/>
                  <a:pt x="7230497" y="6513412"/>
                  <a:pt x="7569592" y="6355100"/>
                </a:cubicBezTo>
                <a:cubicBezTo>
                  <a:pt x="7574831" y="6352239"/>
                  <a:pt x="7580308" y="6350689"/>
                  <a:pt x="7585725" y="6350302"/>
                </a:cubicBezTo>
                <a:close/>
                <a:moveTo>
                  <a:pt x="7049044" y="6340183"/>
                </a:moveTo>
                <a:cubicBezTo>
                  <a:pt x="7059045" y="6343525"/>
                  <a:pt x="7067618" y="6350687"/>
                  <a:pt x="7072381" y="6361190"/>
                </a:cubicBezTo>
                <a:cubicBezTo>
                  <a:pt x="7081906" y="6382198"/>
                  <a:pt x="7072381" y="6407025"/>
                  <a:pt x="7051425" y="6416574"/>
                </a:cubicBezTo>
                <a:cubicBezTo>
                  <a:pt x="7051425" y="6416574"/>
                  <a:pt x="7051425" y="6416574"/>
                  <a:pt x="6714236" y="6576995"/>
                </a:cubicBezTo>
                <a:cubicBezTo>
                  <a:pt x="6693280" y="6586544"/>
                  <a:pt x="6668515" y="6578905"/>
                  <a:pt x="6658990" y="6557897"/>
                </a:cubicBezTo>
                <a:cubicBezTo>
                  <a:pt x="6655180" y="6552168"/>
                  <a:pt x="6653275" y="6546438"/>
                  <a:pt x="6653275" y="6540709"/>
                </a:cubicBezTo>
                <a:cubicBezTo>
                  <a:pt x="6653275" y="6523521"/>
                  <a:pt x="6662800" y="6510153"/>
                  <a:pt x="6678040" y="6502514"/>
                </a:cubicBezTo>
                <a:cubicBezTo>
                  <a:pt x="6678040" y="6502514"/>
                  <a:pt x="6678040" y="6502514"/>
                  <a:pt x="7017135" y="6342093"/>
                </a:cubicBezTo>
                <a:cubicBezTo>
                  <a:pt x="7027612" y="6337318"/>
                  <a:pt x="7039043" y="6336841"/>
                  <a:pt x="7049044" y="6340183"/>
                </a:cubicBezTo>
                <a:close/>
                <a:moveTo>
                  <a:pt x="6502912" y="6327426"/>
                </a:moveTo>
                <a:cubicBezTo>
                  <a:pt x="6512921" y="6330743"/>
                  <a:pt x="6521500" y="6337851"/>
                  <a:pt x="6526266" y="6348277"/>
                </a:cubicBezTo>
                <a:cubicBezTo>
                  <a:pt x="6535798" y="6367232"/>
                  <a:pt x="6528172" y="6391874"/>
                  <a:pt x="6507201" y="6401351"/>
                </a:cubicBezTo>
                <a:cubicBezTo>
                  <a:pt x="6507201" y="6401351"/>
                  <a:pt x="6507201" y="6401351"/>
                  <a:pt x="6167854" y="6564366"/>
                </a:cubicBezTo>
                <a:cubicBezTo>
                  <a:pt x="6146884" y="6573844"/>
                  <a:pt x="6122100" y="6566262"/>
                  <a:pt x="6112568" y="6545411"/>
                </a:cubicBezTo>
                <a:cubicBezTo>
                  <a:pt x="6110661" y="6539724"/>
                  <a:pt x="6108755" y="6534038"/>
                  <a:pt x="6108755" y="6528351"/>
                </a:cubicBezTo>
                <a:cubicBezTo>
                  <a:pt x="6108755" y="6513187"/>
                  <a:pt x="6118287" y="6498023"/>
                  <a:pt x="6131632" y="6490441"/>
                </a:cubicBezTo>
                <a:cubicBezTo>
                  <a:pt x="6131632" y="6490441"/>
                  <a:pt x="6131632" y="6490441"/>
                  <a:pt x="6470979" y="6329321"/>
                </a:cubicBezTo>
                <a:cubicBezTo>
                  <a:pt x="6481464" y="6324583"/>
                  <a:pt x="6492903" y="6324109"/>
                  <a:pt x="6502912" y="6327426"/>
                </a:cubicBezTo>
                <a:close/>
                <a:moveTo>
                  <a:pt x="5955853" y="6313176"/>
                </a:moveTo>
                <a:cubicBezTo>
                  <a:pt x="5965385" y="6316510"/>
                  <a:pt x="5973487" y="6323653"/>
                  <a:pt x="5978253" y="6334131"/>
                </a:cubicBezTo>
                <a:cubicBezTo>
                  <a:pt x="5989691" y="6353181"/>
                  <a:pt x="5980159" y="6377946"/>
                  <a:pt x="5961095" y="6387471"/>
                </a:cubicBezTo>
                <a:cubicBezTo>
                  <a:pt x="5961095" y="6387471"/>
                  <a:pt x="5961095" y="6387471"/>
                  <a:pt x="5621756" y="6553206"/>
                </a:cubicBezTo>
                <a:cubicBezTo>
                  <a:pt x="5600786" y="6562731"/>
                  <a:pt x="5576003" y="6553206"/>
                  <a:pt x="5566471" y="6534156"/>
                </a:cubicBezTo>
                <a:cubicBezTo>
                  <a:pt x="5564565" y="6528441"/>
                  <a:pt x="5562659" y="6522726"/>
                  <a:pt x="5562659" y="6517011"/>
                </a:cubicBezTo>
                <a:cubicBezTo>
                  <a:pt x="5562659" y="6501771"/>
                  <a:pt x="5572190" y="6486531"/>
                  <a:pt x="5585535" y="6478911"/>
                </a:cubicBezTo>
                <a:cubicBezTo>
                  <a:pt x="5585535" y="6478911"/>
                  <a:pt x="5585535" y="6478911"/>
                  <a:pt x="5924873" y="6315081"/>
                </a:cubicBezTo>
                <a:cubicBezTo>
                  <a:pt x="5935358" y="6310318"/>
                  <a:pt x="5946322" y="6309842"/>
                  <a:pt x="5955853" y="6313176"/>
                </a:cubicBezTo>
                <a:close/>
                <a:moveTo>
                  <a:pt x="396081" y="6313176"/>
                </a:moveTo>
                <a:cubicBezTo>
                  <a:pt x="405822" y="6316509"/>
                  <a:pt x="414375" y="6323653"/>
                  <a:pt x="419127" y="6334131"/>
                </a:cubicBezTo>
                <a:cubicBezTo>
                  <a:pt x="428631" y="6353181"/>
                  <a:pt x="421028" y="6377946"/>
                  <a:pt x="400120" y="6387471"/>
                </a:cubicBezTo>
                <a:cubicBezTo>
                  <a:pt x="400120" y="6387471"/>
                  <a:pt x="400120" y="6387471"/>
                  <a:pt x="63687" y="6553206"/>
                </a:cubicBezTo>
                <a:cubicBezTo>
                  <a:pt x="42779" y="6562731"/>
                  <a:pt x="18069" y="6553206"/>
                  <a:pt x="8565" y="6534156"/>
                </a:cubicBezTo>
                <a:cubicBezTo>
                  <a:pt x="6665" y="6528441"/>
                  <a:pt x="4764" y="6522726"/>
                  <a:pt x="4764" y="6517011"/>
                </a:cubicBezTo>
                <a:cubicBezTo>
                  <a:pt x="4764" y="6501771"/>
                  <a:pt x="12367" y="6486531"/>
                  <a:pt x="27573" y="6478911"/>
                </a:cubicBezTo>
                <a:cubicBezTo>
                  <a:pt x="27573" y="6478911"/>
                  <a:pt x="27573" y="6478911"/>
                  <a:pt x="365906" y="6315081"/>
                </a:cubicBezTo>
                <a:cubicBezTo>
                  <a:pt x="375410" y="6310318"/>
                  <a:pt x="386339" y="6309842"/>
                  <a:pt x="396081" y="6313176"/>
                </a:cubicBezTo>
                <a:close/>
                <a:moveTo>
                  <a:pt x="5405334" y="6300229"/>
                </a:moveTo>
                <a:cubicBezTo>
                  <a:pt x="5415075" y="6303320"/>
                  <a:pt x="5423629" y="6309980"/>
                  <a:pt x="5429330" y="6319493"/>
                </a:cubicBezTo>
                <a:cubicBezTo>
                  <a:pt x="5438834" y="6340422"/>
                  <a:pt x="5431231" y="6363255"/>
                  <a:pt x="5410323" y="6372768"/>
                </a:cubicBezTo>
                <a:cubicBezTo>
                  <a:pt x="5410323" y="6372768"/>
                  <a:pt x="5410323" y="6372768"/>
                  <a:pt x="5071987" y="6540203"/>
                </a:cubicBezTo>
                <a:cubicBezTo>
                  <a:pt x="5052982" y="6551619"/>
                  <a:pt x="5028276" y="6542105"/>
                  <a:pt x="5018773" y="6523079"/>
                </a:cubicBezTo>
                <a:cubicBezTo>
                  <a:pt x="5016873" y="6517371"/>
                  <a:pt x="5014972" y="6511663"/>
                  <a:pt x="5014972" y="6505955"/>
                </a:cubicBezTo>
                <a:cubicBezTo>
                  <a:pt x="5014972" y="6490733"/>
                  <a:pt x="5022575" y="6475512"/>
                  <a:pt x="5037779" y="6469804"/>
                </a:cubicBezTo>
                <a:cubicBezTo>
                  <a:pt x="5037779" y="6469804"/>
                  <a:pt x="5037779" y="6469804"/>
                  <a:pt x="5374210" y="6302369"/>
                </a:cubicBezTo>
                <a:cubicBezTo>
                  <a:pt x="5384664" y="6297613"/>
                  <a:pt x="5395593" y="6297137"/>
                  <a:pt x="5405334" y="6300229"/>
                </a:cubicBezTo>
                <a:close/>
                <a:moveTo>
                  <a:pt x="940474" y="6300229"/>
                </a:moveTo>
                <a:cubicBezTo>
                  <a:pt x="950252" y="6303320"/>
                  <a:pt x="958837" y="6309980"/>
                  <a:pt x="963607" y="6319493"/>
                </a:cubicBezTo>
                <a:cubicBezTo>
                  <a:pt x="973147" y="6340422"/>
                  <a:pt x="965515" y="6363255"/>
                  <a:pt x="944528" y="6372768"/>
                </a:cubicBezTo>
                <a:cubicBezTo>
                  <a:pt x="944528" y="6372768"/>
                  <a:pt x="944528" y="6372768"/>
                  <a:pt x="606835" y="6540203"/>
                </a:cubicBezTo>
                <a:cubicBezTo>
                  <a:pt x="585849" y="6551619"/>
                  <a:pt x="562954" y="6542105"/>
                  <a:pt x="551507" y="6523079"/>
                </a:cubicBezTo>
                <a:cubicBezTo>
                  <a:pt x="549599" y="6517371"/>
                  <a:pt x="547691" y="6511663"/>
                  <a:pt x="547691" y="6505955"/>
                </a:cubicBezTo>
                <a:cubicBezTo>
                  <a:pt x="547691" y="6490733"/>
                  <a:pt x="557231" y="6475512"/>
                  <a:pt x="570586" y="6469804"/>
                </a:cubicBezTo>
                <a:cubicBezTo>
                  <a:pt x="570586" y="6469804"/>
                  <a:pt x="570586" y="6469804"/>
                  <a:pt x="910187" y="6302369"/>
                </a:cubicBezTo>
                <a:cubicBezTo>
                  <a:pt x="919726" y="6297613"/>
                  <a:pt x="930696" y="6297137"/>
                  <a:pt x="940474" y="6300229"/>
                </a:cubicBezTo>
                <a:close/>
                <a:moveTo>
                  <a:pt x="4851393" y="6285987"/>
                </a:moveTo>
                <a:cubicBezTo>
                  <a:pt x="4860933" y="6289098"/>
                  <a:pt x="4869519" y="6295798"/>
                  <a:pt x="4875244" y="6305369"/>
                </a:cubicBezTo>
                <a:cubicBezTo>
                  <a:pt x="4884786" y="6324513"/>
                  <a:pt x="4877153" y="6349399"/>
                  <a:pt x="4856165" y="6358971"/>
                </a:cubicBezTo>
                <a:cubicBezTo>
                  <a:pt x="4856165" y="6358971"/>
                  <a:pt x="4856165" y="6358971"/>
                  <a:pt x="4518477" y="6529347"/>
                </a:cubicBezTo>
                <a:cubicBezTo>
                  <a:pt x="4497490" y="6538919"/>
                  <a:pt x="4474595" y="6531261"/>
                  <a:pt x="4465055" y="6512118"/>
                </a:cubicBezTo>
                <a:cubicBezTo>
                  <a:pt x="4461240" y="6506375"/>
                  <a:pt x="4459331" y="6500632"/>
                  <a:pt x="4459331" y="6494889"/>
                </a:cubicBezTo>
                <a:cubicBezTo>
                  <a:pt x="4459331" y="6479574"/>
                  <a:pt x="4468871" y="6466174"/>
                  <a:pt x="4482227" y="6458517"/>
                </a:cubicBezTo>
                <a:cubicBezTo>
                  <a:pt x="4482227" y="6458517"/>
                  <a:pt x="4482227" y="6458517"/>
                  <a:pt x="4821819" y="6288140"/>
                </a:cubicBezTo>
                <a:cubicBezTo>
                  <a:pt x="4831358" y="6283355"/>
                  <a:pt x="4841851" y="6282876"/>
                  <a:pt x="4851393" y="6285987"/>
                </a:cubicBezTo>
                <a:close/>
                <a:moveTo>
                  <a:pt x="1486674" y="6285987"/>
                </a:moveTo>
                <a:cubicBezTo>
                  <a:pt x="1496423" y="6289098"/>
                  <a:pt x="1504982" y="6295798"/>
                  <a:pt x="1509738" y="6305369"/>
                </a:cubicBezTo>
                <a:cubicBezTo>
                  <a:pt x="1519249" y="6324513"/>
                  <a:pt x="1511640" y="6349399"/>
                  <a:pt x="1492618" y="6358971"/>
                </a:cubicBezTo>
                <a:cubicBezTo>
                  <a:pt x="1492618" y="6358971"/>
                  <a:pt x="1492618" y="6358971"/>
                  <a:pt x="1154033" y="6529347"/>
                </a:cubicBezTo>
                <a:cubicBezTo>
                  <a:pt x="1135012" y="6538919"/>
                  <a:pt x="1110284" y="6531261"/>
                  <a:pt x="1100773" y="6512118"/>
                </a:cubicBezTo>
                <a:cubicBezTo>
                  <a:pt x="1098871" y="6506375"/>
                  <a:pt x="1096968" y="6500632"/>
                  <a:pt x="1096968" y="6494889"/>
                </a:cubicBezTo>
                <a:cubicBezTo>
                  <a:pt x="1096968" y="6479574"/>
                  <a:pt x="1104577" y="6466174"/>
                  <a:pt x="1117892" y="6458517"/>
                </a:cubicBezTo>
                <a:cubicBezTo>
                  <a:pt x="1117892" y="6458517"/>
                  <a:pt x="1117892" y="6458517"/>
                  <a:pt x="1456477" y="6288140"/>
                </a:cubicBezTo>
                <a:cubicBezTo>
                  <a:pt x="1465988" y="6283355"/>
                  <a:pt x="1476926" y="6282876"/>
                  <a:pt x="1486674" y="6285987"/>
                </a:cubicBezTo>
                <a:close/>
                <a:moveTo>
                  <a:pt x="4292528" y="6273233"/>
                </a:moveTo>
                <a:cubicBezTo>
                  <a:pt x="4302039" y="6276321"/>
                  <a:pt x="4310122" y="6282972"/>
                  <a:pt x="4314878" y="6292474"/>
                </a:cubicBezTo>
                <a:cubicBezTo>
                  <a:pt x="4324389" y="6311478"/>
                  <a:pt x="4316781" y="6334282"/>
                  <a:pt x="4297758" y="6345684"/>
                </a:cubicBezTo>
                <a:cubicBezTo>
                  <a:pt x="4297758" y="6345684"/>
                  <a:pt x="4297758" y="6345684"/>
                  <a:pt x="3961097" y="6516717"/>
                </a:cubicBezTo>
                <a:cubicBezTo>
                  <a:pt x="3940170" y="6526219"/>
                  <a:pt x="3917344" y="6518617"/>
                  <a:pt x="3907836" y="6499614"/>
                </a:cubicBezTo>
                <a:cubicBezTo>
                  <a:pt x="3904028" y="6493913"/>
                  <a:pt x="3902129" y="6488211"/>
                  <a:pt x="3902129" y="6482510"/>
                </a:cubicBezTo>
                <a:cubicBezTo>
                  <a:pt x="3902129" y="6467307"/>
                  <a:pt x="3911639" y="6454005"/>
                  <a:pt x="3924955" y="6446403"/>
                </a:cubicBezTo>
                <a:cubicBezTo>
                  <a:pt x="3924955" y="6446403"/>
                  <a:pt x="3924955" y="6446403"/>
                  <a:pt x="4261616" y="6275371"/>
                </a:cubicBezTo>
                <a:cubicBezTo>
                  <a:pt x="4272078" y="6270620"/>
                  <a:pt x="4283016" y="6270145"/>
                  <a:pt x="4292528" y="6273233"/>
                </a:cubicBezTo>
                <a:close/>
                <a:moveTo>
                  <a:pt x="2038415" y="6273233"/>
                </a:moveTo>
                <a:cubicBezTo>
                  <a:pt x="2047926" y="6276321"/>
                  <a:pt x="2056491" y="6282972"/>
                  <a:pt x="2062197" y="6292474"/>
                </a:cubicBezTo>
                <a:cubicBezTo>
                  <a:pt x="2071708" y="6311478"/>
                  <a:pt x="2064099" y="6334282"/>
                  <a:pt x="2045072" y="6345684"/>
                </a:cubicBezTo>
                <a:cubicBezTo>
                  <a:pt x="2045072" y="6345684"/>
                  <a:pt x="2045072" y="6345684"/>
                  <a:pt x="1706487" y="6516717"/>
                </a:cubicBezTo>
                <a:cubicBezTo>
                  <a:pt x="1687465" y="6526219"/>
                  <a:pt x="1662737" y="6518617"/>
                  <a:pt x="1653226" y="6499614"/>
                </a:cubicBezTo>
                <a:cubicBezTo>
                  <a:pt x="1651324" y="6493913"/>
                  <a:pt x="1649422" y="6488211"/>
                  <a:pt x="1649422" y="6482510"/>
                </a:cubicBezTo>
                <a:cubicBezTo>
                  <a:pt x="1649422" y="6467307"/>
                  <a:pt x="1657031" y="6454005"/>
                  <a:pt x="1670346" y="6446403"/>
                </a:cubicBezTo>
                <a:cubicBezTo>
                  <a:pt x="1670346" y="6446403"/>
                  <a:pt x="1670346" y="6446403"/>
                  <a:pt x="2008931" y="6275371"/>
                </a:cubicBezTo>
                <a:cubicBezTo>
                  <a:pt x="2018442" y="6270620"/>
                  <a:pt x="2028904" y="6270145"/>
                  <a:pt x="2038415" y="6273233"/>
                </a:cubicBezTo>
                <a:close/>
                <a:moveTo>
                  <a:pt x="3729185" y="6260524"/>
                </a:moveTo>
                <a:cubicBezTo>
                  <a:pt x="3738466" y="6263608"/>
                  <a:pt x="3746556" y="6270252"/>
                  <a:pt x="3751317" y="6279742"/>
                </a:cubicBezTo>
                <a:cubicBezTo>
                  <a:pt x="3760834" y="6298723"/>
                  <a:pt x="3755123" y="6321500"/>
                  <a:pt x="3736088" y="6330991"/>
                </a:cubicBezTo>
                <a:cubicBezTo>
                  <a:pt x="3736088" y="6330991"/>
                  <a:pt x="3736088" y="6330991"/>
                  <a:pt x="3397263" y="6505616"/>
                </a:cubicBezTo>
                <a:cubicBezTo>
                  <a:pt x="3378225" y="6515107"/>
                  <a:pt x="3355382" y="6507514"/>
                  <a:pt x="3345863" y="6488533"/>
                </a:cubicBezTo>
                <a:cubicBezTo>
                  <a:pt x="3342056" y="6482839"/>
                  <a:pt x="3340155" y="6477145"/>
                  <a:pt x="3340155" y="6469552"/>
                </a:cubicBezTo>
                <a:cubicBezTo>
                  <a:pt x="3340155" y="6456266"/>
                  <a:pt x="3347767" y="6442979"/>
                  <a:pt x="3361092" y="6435386"/>
                </a:cubicBezTo>
                <a:cubicBezTo>
                  <a:pt x="3361092" y="6435386"/>
                  <a:pt x="3361092" y="6435386"/>
                  <a:pt x="3699918" y="6262659"/>
                </a:cubicBezTo>
                <a:cubicBezTo>
                  <a:pt x="3709435" y="6257914"/>
                  <a:pt x="3719905" y="6257440"/>
                  <a:pt x="3729185" y="6260524"/>
                </a:cubicBezTo>
                <a:close/>
                <a:moveTo>
                  <a:pt x="2595567" y="6260524"/>
                </a:moveTo>
                <a:cubicBezTo>
                  <a:pt x="2604882" y="6263608"/>
                  <a:pt x="2613003" y="6270252"/>
                  <a:pt x="2617780" y="6279742"/>
                </a:cubicBezTo>
                <a:cubicBezTo>
                  <a:pt x="2627334" y="6298723"/>
                  <a:pt x="2621602" y="6321500"/>
                  <a:pt x="2600583" y="6330991"/>
                </a:cubicBezTo>
                <a:cubicBezTo>
                  <a:pt x="2600583" y="6330991"/>
                  <a:pt x="2600583" y="6330991"/>
                  <a:pt x="2262377" y="6505616"/>
                </a:cubicBezTo>
                <a:cubicBezTo>
                  <a:pt x="2243270" y="6515107"/>
                  <a:pt x="2220340" y="6507514"/>
                  <a:pt x="2210786" y="6488533"/>
                </a:cubicBezTo>
                <a:cubicBezTo>
                  <a:pt x="2206965" y="6482839"/>
                  <a:pt x="2205054" y="6477145"/>
                  <a:pt x="2205054" y="6469552"/>
                </a:cubicBezTo>
                <a:cubicBezTo>
                  <a:pt x="2205054" y="6456266"/>
                  <a:pt x="2212697" y="6442979"/>
                  <a:pt x="2226072" y="6435386"/>
                </a:cubicBezTo>
                <a:cubicBezTo>
                  <a:pt x="2226072" y="6435386"/>
                  <a:pt x="2226072" y="6435386"/>
                  <a:pt x="2566189" y="6262659"/>
                </a:cubicBezTo>
                <a:cubicBezTo>
                  <a:pt x="2575744" y="6257914"/>
                  <a:pt x="2586253" y="6257440"/>
                  <a:pt x="2595567" y="6260524"/>
                </a:cubicBezTo>
                <a:close/>
                <a:moveTo>
                  <a:pt x="3155660" y="6245326"/>
                </a:moveTo>
                <a:cubicBezTo>
                  <a:pt x="3164974" y="6247952"/>
                  <a:pt x="3173095" y="6254158"/>
                  <a:pt x="3177873" y="6263706"/>
                </a:cubicBezTo>
                <a:cubicBezTo>
                  <a:pt x="3189335" y="6282802"/>
                  <a:pt x="3181695" y="6305717"/>
                  <a:pt x="3162585" y="6317174"/>
                </a:cubicBezTo>
                <a:cubicBezTo>
                  <a:pt x="3162585" y="6317174"/>
                  <a:pt x="3162585" y="6317174"/>
                  <a:pt x="2822466" y="6492858"/>
                </a:cubicBezTo>
                <a:cubicBezTo>
                  <a:pt x="2805270" y="6502406"/>
                  <a:pt x="2780429" y="6496677"/>
                  <a:pt x="2770875" y="6477581"/>
                </a:cubicBezTo>
                <a:cubicBezTo>
                  <a:pt x="2768965" y="6471852"/>
                  <a:pt x="2767054" y="6466123"/>
                  <a:pt x="2767054" y="6458485"/>
                </a:cubicBezTo>
                <a:cubicBezTo>
                  <a:pt x="2767054" y="6445118"/>
                  <a:pt x="2774696" y="6431751"/>
                  <a:pt x="2788073" y="6426022"/>
                </a:cubicBezTo>
                <a:cubicBezTo>
                  <a:pt x="2788073" y="6426022"/>
                  <a:pt x="2788073" y="6426022"/>
                  <a:pt x="3126282" y="6248429"/>
                </a:cubicBezTo>
                <a:cubicBezTo>
                  <a:pt x="3135835" y="6243655"/>
                  <a:pt x="3146344" y="6242700"/>
                  <a:pt x="3155660" y="6245326"/>
                </a:cubicBezTo>
                <a:close/>
                <a:moveTo>
                  <a:pt x="9874931" y="6079814"/>
                </a:moveTo>
                <a:cubicBezTo>
                  <a:pt x="9884903" y="6083147"/>
                  <a:pt x="9893450" y="6090291"/>
                  <a:pt x="9898198" y="6100769"/>
                </a:cubicBezTo>
                <a:cubicBezTo>
                  <a:pt x="9907695" y="6119819"/>
                  <a:pt x="9900098" y="6144584"/>
                  <a:pt x="9879205" y="6154109"/>
                </a:cubicBezTo>
                <a:cubicBezTo>
                  <a:pt x="9879205" y="6154109"/>
                  <a:pt x="9879205" y="6154109"/>
                  <a:pt x="9541119" y="6319844"/>
                </a:cubicBezTo>
                <a:cubicBezTo>
                  <a:pt x="9522125" y="6329369"/>
                  <a:pt x="9497434" y="6319844"/>
                  <a:pt x="9487937" y="6300794"/>
                </a:cubicBezTo>
                <a:cubicBezTo>
                  <a:pt x="9484138" y="6295079"/>
                  <a:pt x="9482239" y="6287459"/>
                  <a:pt x="9482239" y="6281744"/>
                </a:cubicBezTo>
                <a:cubicBezTo>
                  <a:pt x="9482239" y="6266504"/>
                  <a:pt x="9491736" y="6253169"/>
                  <a:pt x="9506931" y="6245549"/>
                </a:cubicBezTo>
                <a:cubicBezTo>
                  <a:pt x="9506931" y="6245549"/>
                  <a:pt x="9506931" y="6245549"/>
                  <a:pt x="9843117" y="6081719"/>
                </a:cubicBezTo>
                <a:cubicBezTo>
                  <a:pt x="9853563" y="6076956"/>
                  <a:pt x="9864959" y="6076480"/>
                  <a:pt x="9874931" y="6079814"/>
                </a:cubicBezTo>
                <a:close/>
                <a:moveTo>
                  <a:pt x="10459016" y="6066240"/>
                </a:moveTo>
                <a:cubicBezTo>
                  <a:pt x="10469025" y="6069812"/>
                  <a:pt x="10477604" y="6076956"/>
                  <a:pt x="10482370" y="6086481"/>
                </a:cubicBezTo>
                <a:cubicBezTo>
                  <a:pt x="10491902" y="6107436"/>
                  <a:pt x="10484276" y="6132201"/>
                  <a:pt x="10463305" y="6141726"/>
                </a:cubicBezTo>
                <a:cubicBezTo>
                  <a:pt x="10463305" y="6141726"/>
                  <a:pt x="10463305" y="6141726"/>
                  <a:pt x="10123959" y="6305556"/>
                </a:cubicBezTo>
                <a:cubicBezTo>
                  <a:pt x="10102988" y="6315081"/>
                  <a:pt x="10080111" y="6307461"/>
                  <a:pt x="10068672" y="6286506"/>
                </a:cubicBezTo>
                <a:cubicBezTo>
                  <a:pt x="10066765" y="6280791"/>
                  <a:pt x="10064859" y="6275076"/>
                  <a:pt x="10064859" y="6269361"/>
                </a:cubicBezTo>
                <a:cubicBezTo>
                  <a:pt x="10064859" y="6254121"/>
                  <a:pt x="10074391" y="6238881"/>
                  <a:pt x="10087736" y="6231261"/>
                </a:cubicBezTo>
                <a:cubicBezTo>
                  <a:pt x="10087736" y="6231261"/>
                  <a:pt x="10087736" y="6231261"/>
                  <a:pt x="10427083" y="6067431"/>
                </a:cubicBezTo>
                <a:cubicBezTo>
                  <a:pt x="10437569" y="6062668"/>
                  <a:pt x="10449007" y="6062668"/>
                  <a:pt x="10459016" y="6066240"/>
                </a:cubicBezTo>
                <a:close/>
                <a:moveTo>
                  <a:pt x="9297823" y="6066240"/>
                </a:moveTo>
                <a:cubicBezTo>
                  <a:pt x="9307593" y="6069812"/>
                  <a:pt x="9316173" y="6076956"/>
                  <a:pt x="9321892" y="6086481"/>
                </a:cubicBezTo>
                <a:cubicBezTo>
                  <a:pt x="9331424" y="6107436"/>
                  <a:pt x="9321892" y="6132201"/>
                  <a:pt x="9302827" y="6141726"/>
                </a:cubicBezTo>
                <a:cubicBezTo>
                  <a:pt x="9302827" y="6141726"/>
                  <a:pt x="9302827" y="6141726"/>
                  <a:pt x="8963481" y="6305556"/>
                </a:cubicBezTo>
                <a:cubicBezTo>
                  <a:pt x="8942510" y="6315081"/>
                  <a:pt x="8917726" y="6307461"/>
                  <a:pt x="8908194" y="6286506"/>
                </a:cubicBezTo>
                <a:cubicBezTo>
                  <a:pt x="8906287" y="6280791"/>
                  <a:pt x="8904381" y="6275076"/>
                  <a:pt x="8904381" y="6269361"/>
                </a:cubicBezTo>
                <a:cubicBezTo>
                  <a:pt x="8904381" y="6254121"/>
                  <a:pt x="8912007" y="6238881"/>
                  <a:pt x="8927258" y="6231261"/>
                </a:cubicBezTo>
                <a:cubicBezTo>
                  <a:pt x="8927258" y="6231261"/>
                  <a:pt x="8927258" y="6231261"/>
                  <a:pt x="9266605" y="6067431"/>
                </a:cubicBezTo>
                <a:cubicBezTo>
                  <a:pt x="9277090" y="6062668"/>
                  <a:pt x="9288052" y="6062668"/>
                  <a:pt x="9297823" y="6066240"/>
                </a:cubicBezTo>
                <a:close/>
                <a:moveTo>
                  <a:pt x="11018858" y="6051844"/>
                </a:moveTo>
                <a:cubicBezTo>
                  <a:pt x="11034272" y="6050683"/>
                  <a:pt x="11049953" y="6059970"/>
                  <a:pt x="11057081" y="6075686"/>
                </a:cubicBezTo>
                <a:cubicBezTo>
                  <a:pt x="11066585" y="6094736"/>
                  <a:pt x="11058982" y="6119501"/>
                  <a:pt x="11038074" y="6129026"/>
                </a:cubicBezTo>
                <a:cubicBezTo>
                  <a:pt x="11038074" y="6129026"/>
                  <a:pt x="11038074" y="6129026"/>
                  <a:pt x="10699740" y="6292856"/>
                </a:cubicBezTo>
                <a:cubicBezTo>
                  <a:pt x="10680732" y="6302381"/>
                  <a:pt x="10656022" y="6294761"/>
                  <a:pt x="10646519" y="6273806"/>
                </a:cubicBezTo>
                <a:cubicBezTo>
                  <a:pt x="10642717" y="6268091"/>
                  <a:pt x="10642717" y="6262376"/>
                  <a:pt x="10642717" y="6256661"/>
                </a:cubicBezTo>
                <a:cubicBezTo>
                  <a:pt x="10642717" y="6241421"/>
                  <a:pt x="10650320" y="6226181"/>
                  <a:pt x="10665526" y="6220466"/>
                </a:cubicBezTo>
                <a:cubicBezTo>
                  <a:pt x="10665526" y="6220466"/>
                  <a:pt x="10665526" y="6220466"/>
                  <a:pt x="11003860" y="6056636"/>
                </a:cubicBezTo>
                <a:cubicBezTo>
                  <a:pt x="11008612" y="6053778"/>
                  <a:pt x="11013720" y="6052230"/>
                  <a:pt x="11018858" y="6051844"/>
                </a:cubicBezTo>
                <a:close/>
                <a:moveTo>
                  <a:pt x="8710944" y="6051843"/>
                </a:moveTo>
                <a:cubicBezTo>
                  <a:pt x="8726672" y="6050683"/>
                  <a:pt x="8741328" y="6059970"/>
                  <a:pt x="8748477" y="6075686"/>
                </a:cubicBezTo>
                <a:cubicBezTo>
                  <a:pt x="8759916" y="6094736"/>
                  <a:pt x="8750384" y="6119501"/>
                  <a:pt x="8731319" y="6129026"/>
                </a:cubicBezTo>
                <a:cubicBezTo>
                  <a:pt x="8731319" y="6129026"/>
                  <a:pt x="8731319" y="6129026"/>
                  <a:pt x="8391973" y="6292856"/>
                </a:cubicBezTo>
                <a:cubicBezTo>
                  <a:pt x="8371002" y="6302381"/>
                  <a:pt x="8346218" y="6294761"/>
                  <a:pt x="8336686" y="6273806"/>
                </a:cubicBezTo>
                <a:cubicBezTo>
                  <a:pt x="8334779" y="6268091"/>
                  <a:pt x="8332873" y="6262376"/>
                  <a:pt x="8332873" y="6256661"/>
                </a:cubicBezTo>
                <a:cubicBezTo>
                  <a:pt x="8332873" y="6241421"/>
                  <a:pt x="8340499" y="6226181"/>
                  <a:pt x="8355750" y="6220466"/>
                </a:cubicBezTo>
                <a:cubicBezTo>
                  <a:pt x="8355750" y="6220466"/>
                  <a:pt x="8355750" y="6220466"/>
                  <a:pt x="8695097" y="6056636"/>
                </a:cubicBezTo>
                <a:cubicBezTo>
                  <a:pt x="8700340" y="6053778"/>
                  <a:pt x="8705702" y="6052230"/>
                  <a:pt x="8710944" y="6051843"/>
                </a:cubicBezTo>
                <a:close/>
                <a:moveTo>
                  <a:pt x="11603954" y="6041714"/>
                </a:moveTo>
                <a:cubicBezTo>
                  <a:pt x="11613696" y="6045048"/>
                  <a:pt x="11622249" y="6052191"/>
                  <a:pt x="11627001" y="6062669"/>
                </a:cubicBezTo>
                <a:cubicBezTo>
                  <a:pt x="11636505" y="6083624"/>
                  <a:pt x="11628902" y="6106484"/>
                  <a:pt x="11607994" y="6117914"/>
                </a:cubicBezTo>
                <a:cubicBezTo>
                  <a:pt x="11607994" y="6117914"/>
                  <a:pt x="11607994" y="6117914"/>
                  <a:pt x="11271560" y="6281744"/>
                </a:cubicBezTo>
                <a:cubicBezTo>
                  <a:pt x="11250652" y="6291269"/>
                  <a:pt x="11225942" y="6281744"/>
                  <a:pt x="11216439" y="6262694"/>
                </a:cubicBezTo>
                <a:cubicBezTo>
                  <a:pt x="11212637" y="6256979"/>
                  <a:pt x="11212637" y="6251264"/>
                  <a:pt x="11212637" y="6243644"/>
                </a:cubicBezTo>
                <a:cubicBezTo>
                  <a:pt x="11212637" y="6228404"/>
                  <a:pt x="11220240" y="6215069"/>
                  <a:pt x="11235446" y="6207449"/>
                </a:cubicBezTo>
                <a:cubicBezTo>
                  <a:pt x="11235446" y="6207449"/>
                  <a:pt x="11235446" y="6207449"/>
                  <a:pt x="11573780" y="6043619"/>
                </a:cubicBezTo>
                <a:cubicBezTo>
                  <a:pt x="11583284" y="6038856"/>
                  <a:pt x="11594213" y="6038380"/>
                  <a:pt x="11603954" y="6041714"/>
                </a:cubicBezTo>
                <a:close/>
                <a:moveTo>
                  <a:pt x="8160285" y="6041714"/>
                </a:moveTo>
                <a:cubicBezTo>
                  <a:pt x="8170294" y="6045048"/>
                  <a:pt x="8178872" y="6052191"/>
                  <a:pt x="8183639" y="6062669"/>
                </a:cubicBezTo>
                <a:cubicBezTo>
                  <a:pt x="8193171" y="6083624"/>
                  <a:pt x="8183639" y="6106484"/>
                  <a:pt x="8164574" y="6117914"/>
                </a:cubicBezTo>
                <a:cubicBezTo>
                  <a:pt x="8164574" y="6117914"/>
                  <a:pt x="8164574" y="6117914"/>
                  <a:pt x="7825227" y="6281744"/>
                </a:cubicBezTo>
                <a:cubicBezTo>
                  <a:pt x="7804257" y="6291269"/>
                  <a:pt x="7781379" y="6281744"/>
                  <a:pt x="7769941" y="6262694"/>
                </a:cubicBezTo>
                <a:cubicBezTo>
                  <a:pt x="7768034" y="6256979"/>
                  <a:pt x="7766128" y="6251264"/>
                  <a:pt x="7766128" y="6243644"/>
                </a:cubicBezTo>
                <a:cubicBezTo>
                  <a:pt x="7766128" y="6228404"/>
                  <a:pt x="7775660" y="6215069"/>
                  <a:pt x="7789005" y="6207449"/>
                </a:cubicBezTo>
                <a:cubicBezTo>
                  <a:pt x="7789005" y="6207449"/>
                  <a:pt x="7789005" y="6207449"/>
                  <a:pt x="8128352" y="6043619"/>
                </a:cubicBezTo>
                <a:cubicBezTo>
                  <a:pt x="8138837" y="6038856"/>
                  <a:pt x="8150276" y="6038380"/>
                  <a:pt x="8160285" y="6041714"/>
                </a:cubicBezTo>
                <a:close/>
                <a:moveTo>
                  <a:pt x="12135947" y="6029331"/>
                </a:moveTo>
                <a:cubicBezTo>
                  <a:pt x="12137848" y="6029331"/>
                  <a:pt x="12139750" y="6029331"/>
                  <a:pt x="12139750" y="6029331"/>
                </a:cubicBezTo>
                <a:cubicBezTo>
                  <a:pt x="12139750" y="6029331"/>
                  <a:pt x="12139750" y="6029331"/>
                  <a:pt x="12139750" y="6118866"/>
                </a:cubicBezTo>
                <a:cubicBezTo>
                  <a:pt x="12139750" y="6118866"/>
                  <a:pt x="12139750" y="6118866"/>
                  <a:pt x="11833573" y="6267456"/>
                </a:cubicBezTo>
                <a:cubicBezTo>
                  <a:pt x="11814556" y="6276981"/>
                  <a:pt x="11789834" y="6269361"/>
                  <a:pt x="11780325" y="6248406"/>
                </a:cubicBezTo>
                <a:cubicBezTo>
                  <a:pt x="11776522" y="6242691"/>
                  <a:pt x="11774620" y="6236976"/>
                  <a:pt x="11774620" y="6231261"/>
                </a:cubicBezTo>
                <a:cubicBezTo>
                  <a:pt x="11774620" y="6216021"/>
                  <a:pt x="11784129" y="6200781"/>
                  <a:pt x="11797441" y="6195066"/>
                </a:cubicBezTo>
                <a:close/>
                <a:moveTo>
                  <a:pt x="7599809" y="6028140"/>
                </a:moveTo>
                <a:cubicBezTo>
                  <a:pt x="7609579" y="6031712"/>
                  <a:pt x="7618158" y="6038856"/>
                  <a:pt x="7622924" y="6048381"/>
                </a:cubicBezTo>
                <a:cubicBezTo>
                  <a:pt x="7634363" y="6069336"/>
                  <a:pt x="7624831" y="6094101"/>
                  <a:pt x="7603860" y="6103626"/>
                </a:cubicBezTo>
                <a:cubicBezTo>
                  <a:pt x="7603860" y="6103626"/>
                  <a:pt x="7603860" y="6103626"/>
                  <a:pt x="7266419" y="6267456"/>
                </a:cubicBezTo>
                <a:cubicBezTo>
                  <a:pt x="7245449" y="6276981"/>
                  <a:pt x="7220665" y="6269361"/>
                  <a:pt x="7211133" y="6248406"/>
                </a:cubicBezTo>
                <a:cubicBezTo>
                  <a:pt x="7209226" y="6242691"/>
                  <a:pt x="7207320" y="6236976"/>
                  <a:pt x="7207320" y="6231261"/>
                </a:cubicBezTo>
                <a:cubicBezTo>
                  <a:pt x="7207320" y="6216021"/>
                  <a:pt x="7214946" y="6200781"/>
                  <a:pt x="7230197" y="6195066"/>
                </a:cubicBezTo>
                <a:cubicBezTo>
                  <a:pt x="7230197" y="6195066"/>
                  <a:pt x="7230197" y="6195066"/>
                  <a:pt x="7569544" y="6029331"/>
                </a:cubicBezTo>
                <a:cubicBezTo>
                  <a:pt x="7579076" y="6024568"/>
                  <a:pt x="7590038" y="6024568"/>
                  <a:pt x="7599809" y="6028140"/>
                </a:cubicBezTo>
                <a:close/>
                <a:moveTo>
                  <a:pt x="7047351" y="6016314"/>
                </a:moveTo>
                <a:cubicBezTo>
                  <a:pt x="7057121" y="6019648"/>
                  <a:pt x="7065700" y="6026791"/>
                  <a:pt x="7070466" y="6037269"/>
                </a:cubicBezTo>
                <a:cubicBezTo>
                  <a:pt x="7081905" y="6056319"/>
                  <a:pt x="7072373" y="6081084"/>
                  <a:pt x="7051402" y="6090609"/>
                </a:cubicBezTo>
                <a:cubicBezTo>
                  <a:pt x="7051402" y="6090609"/>
                  <a:pt x="7051402" y="6090609"/>
                  <a:pt x="6713961" y="6254439"/>
                </a:cubicBezTo>
                <a:cubicBezTo>
                  <a:pt x="6692991" y="6265869"/>
                  <a:pt x="6668207" y="6256344"/>
                  <a:pt x="6658675" y="6235389"/>
                </a:cubicBezTo>
                <a:cubicBezTo>
                  <a:pt x="6656768" y="6229674"/>
                  <a:pt x="6654862" y="6223959"/>
                  <a:pt x="6654862" y="6218244"/>
                </a:cubicBezTo>
                <a:cubicBezTo>
                  <a:pt x="6654862" y="6203004"/>
                  <a:pt x="6662488" y="6189669"/>
                  <a:pt x="6677739" y="6182049"/>
                </a:cubicBezTo>
                <a:cubicBezTo>
                  <a:pt x="6677739" y="6182049"/>
                  <a:pt x="6677739" y="6182049"/>
                  <a:pt x="7017086" y="6018219"/>
                </a:cubicBezTo>
                <a:cubicBezTo>
                  <a:pt x="7026618" y="6013456"/>
                  <a:pt x="7037580" y="6012980"/>
                  <a:pt x="7047351" y="6016314"/>
                </a:cubicBezTo>
                <a:close/>
                <a:moveTo>
                  <a:pt x="6502912" y="6003613"/>
                </a:moveTo>
                <a:cubicBezTo>
                  <a:pt x="6512921" y="6006947"/>
                  <a:pt x="6521499" y="6014090"/>
                  <a:pt x="6526266" y="6024568"/>
                </a:cubicBezTo>
                <a:cubicBezTo>
                  <a:pt x="6535798" y="6045523"/>
                  <a:pt x="6526266" y="6070288"/>
                  <a:pt x="6507201" y="6079813"/>
                </a:cubicBezTo>
                <a:cubicBezTo>
                  <a:pt x="6507201" y="6079813"/>
                  <a:pt x="6507201" y="6079813"/>
                  <a:pt x="6167854" y="6243643"/>
                </a:cubicBezTo>
                <a:cubicBezTo>
                  <a:pt x="6146884" y="6253168"/>
                  <a:pt x="6124006" y="6243643"/>
                  <a:pt x="6112568" y="6224593"/>
                </a:cubicBezTo>
                <a:cubicBezTo>
                  <a:pt x="6110661" y="6218878"/>
                  <a:pt x="6108755" y="6213163"/>
                  <a:pt x="6108755" y="6207448"/>
                </a:cubicBezTo>
                <a:cubicBezTo>
                  <a:pt x="6108755" y="6192208"/>
                  <a:pt x="6118287" y="6176968"/>
                  <a:pt x="6131632" y="6169348"/>
                </a:cubicBezTo>
                <a:cubicBezTo>
                  <a:pt x="6131632" y="6169348"/>
                  <a:pt x="6131632" y="6169348"/>
                  <a:pt x="6470979" y="6005518"/>
                </a:cubicBezTo>
                <a:cubicBezTo>
                  <a:pt x="6481464" y="6000755"/>
                  <a:pt x="6492903" y="6000279"/>
                  <a:pt x="6502912" y="6003613"/>
                </a:cubicBezTo>
                <a:close/>
                <a:moveTo>
                  <a:pt x="5940750" y="5988314"/>
                </a:moveTo>
                <a:cubicBezTo>
                  <a:pt x="5956568" y="5987064"/>
                  <a:pt x="5971580" y="5995993"/>
                  <a:pt x="5980159" y="6010281"/>
                </a:cubicBezTo>
                <a:cubicBezTo>
                  <a:pt x="5989691" y="6031236"/>
                  <a:pt x="5980159" y="6056001"/>
                  <a:pt x="5961095" y="6065526"/>
                </a:cubicBezTo>
                <a:cubicBezTo>
                  <a:pt x="5961095" y="6065526"/>
                  <a:pt x="5961095" y="6065526"/>
                  <a:pt x="5621756" y="6229356"/>
                </a:cubicBezTo>
                <a:cubicBezTo>
                  <a:pt x="5600786" y="6238881"/>
                  <a:pt x="5576003" y="6231261"/>
                  <a:pt x="5566471" y="6210306"/>
                </a:cubicBezTo>
                <a:cubicBezTo>
                  <a:pt x="5564565" y="6204591"/>
                  <a:pt x="5562659" y="6198876"/>
                  <a:pt x="5562659" y="6193161"/>
                </a:cubicBezTo>
                <a:cubicBezTo>
                  <a:pt x="5562659" y="6177921"/>
                  <a:pt x="5570284" y="6162681"/>
                  <a:pt x="5585535" y="6156966"/>
                </a:cubicBezTo>
                <a:cubicBezTo>
                  <a:pt x="5585535" y="6156966"/>
                  <a:pt x="5585535" y="6156966"/>
                  <a:pt x="5924873" y="5993136"/>
                </a:cubicBezTo>
                <a:cubicBezTo>
                  <a:pt x="5930116" y="5990278"/>
                  <a:pt x="5935479" y="5988730"/>
                  <a:pt x="5940750" y="5988314"/>
                </a:cubicBezTo>
                <a:close/>
                <a:moveTo>
                  <a:pt x="380904" y="5988314"/>
                </a:moveTo>
                <a:cubicBezTo>
                  <a:pt x="396318" y="5987064"/>
                  <a:pt x="411999" y="5995993"/>
                  <a:pt x="419127" y="6010281"/>
                </a:cubicBezTo>
                <a:cubicBezTo>
                  <a:pt x="428631" y="6031236"/>
                  <a:pt x="421028" y="6056001"/>
                  <a:pt x="400119" y="6065526"/>
                </a:cubicBezTo>
                <a:cubicBezTo>
                  <a:pt x="400119" y="6065526"/>
                  <a:pt x="400119" y="6065526"/>
                  <a:pt x="63687" y="6229356"/>
                </a:cubicBezTo>
                <a:cubicBezTo>
                  <a:pt x="42779" y="6238881"/>
                  <a:pt x="18069" y="6231261"/>
                  <a:pt x="8565" y="6210306"/>
                </a:cubicBezTo>
                <a:cubicBezTo>
                  <a:pt x="6664" y="6204591"/>
                  <a:pt x="4764" y="6198876"/>
                  <a:pt x="4764" y="6193161"/>
                </a:cubicBezTo>
                <a:cubicBezTo>
                  <a:pt x="4764" y="6177921"/>
                  <a:pt x="12367" y="6162681"/>
                  <a:pt x="27573" y="6156966"/>
                </a:cubicBezTo>
                <a:cubicBezTo>
                  <a:pt x="27573" y="6156966"/>
                  <a:pt x="27573" y="6156966"/>
                  <a:pt x="365906" y="5993136"/>
                </a:cubicBezTo>
                <a:cubicBezTo>
                  <a:pt x="370658" y="5990278"/>
                  <a:pt x="375766" y="5988730"/>
                  <a:pt x="380904" y="5988314"/>
                </a:cubicBezTo>
                <a:close/>
                <a:moveTo>
                  <a:pt x="5406285" y="5978213"/>
                </a:moveTo>
                <a:cubicBezTo>
                  <a:pt x="5416026" y="5981547"/>
                  <a:pt x="5424578" y="5988690"/>
                  <a:pt x="5429330" y="5999168"/>
                </a:cubicBezTo>
                <a:cubicBezTo>
                  <a:pt x="5438834" y="6018218"/>
                  <a:pt x="5431231" y="6042983"/>
                  <a:pt x="5410323" y="6052508"/>
                </a:cubicBezTo>
                <a:cubicBezTo>
                  <a:pt x="5410323" y="6052508"/>
                  <a:pt x="5410323" y="6052508"/>
                  <a:pt x="5071987" y="6218243"/>
                </a:cubicBezTo>
                <a:cubicBezTo>
                  <a:pt x="5052982" y="6227768"/>
                  <a:pt x="5028276" y="6218243"/>
                  <a:pt x="5018773" y="6199193"/>
                </a:cubicBezTo>
                <a:cubicBezTo>
                  <a:pt x="5014972" y="6193478"/>
                  <a:pt x="5014972" y="6185858"/>
                  <a:pt x="5014972" y="6180143"/>
                </a:cubicBezTo>
                <a:cubicBezTo>
                  <a:pt x="5014972" y="6164903"/>
                  <a:pt x="5022575" y="6151568"/>
                  <a:pt x="5037779" y="6143948"/>
                </a:cubicBezTo>
                <a:cubicBezTo>
                  <a:pt x="5037779" y="6143948"/>
                  <a:pt x="5037779" y="6143948"/>
                  <a:pt x="5376110" y="5980118"/>
                </a:cubicBezTo>
                <a:cubicBezTo>
                  <a:pt x="5385614" y="5975355"/>
                  <a:pt x="5396543" y="5974879"/>
                  <a:pt x="5406285" y="5978213"/>
                </a:cubicBezTo>
                <a:close/>
                <a:moveTo>
                  <a:pt x="940179" y="5978213"/>
                </a:moveTo>
                <a:cubicBezTo>
                  <a:pt x="949950" y="5981546"/>
                  <a:pt x="958529" y="5988690"/>
                  <a:pt x="963295" y="5999168"/>
                </a:cubicBezTo>
                <a:cubicBezTo>
                  <a:pt x="974733" y="6018218"/>
                  <a:pt x="965201" y="6042983"/>
                  <a:pt x="944230" y="6052508"/>
                </a:cubicBezTo>
                <a:cubicBezTo>
                  <a:pt x="944230" y="6052508"/>
                  <a:pt x="944230" y="6052508"/>
                  <a:pt x="606791" y="6218243"/>
                </a:cubicBezTo>
                <a:cubicBezTo>
                  <a:pt x="585820" y="6227768"/>
                  <a:pt x="561036" y="6218243"/>
                  <a:pt x="551504" y="6199193"/>
                </a:cubicBezTo>
                <a:cubicBezTo>
                  <a:pt x="549598" y="6193478"/>
                  <a:pt x="547691" y="6185858"/>
                  <a:pt x="547691" y="6180143"/>
                </a:cubicBezTo>
                <a:cubicBezTo>
                  <a:pt x="547691" y="6164903"/>
                  <a:pt x="555317" y="6151568"/>
                  <a:pt x="570568" y="6143948"/>
                </a:cubicBezTo>
                <a:cubicBezTo>
                  <a:pt x="570568" y="6143948"/>
                  <a:pt x="570568" y="6143948"/>
                  <a:pt x="909915" y="5980118"/>
                </a:cubicBezTo>
                <a:cubicBezTo>
                  <a:pt x="919447" y="5975355"/>
                  <a:pt x="930409" y="5974879"/>
                  <a:pt x="940179" y="5978213"/>
                </a:cubicBezTo>
                <a:close/>
                <a:moveTo>
                  <a:pt x="4852107" y="5966227"/>
                </a:moveTo>
                <a:cubicBezTo>
                  <a:pt x="4861889" y="5969799"/>
                  <a:pt x="4870476" y="5976943"/>
                  <a:pt x="4875244" y="5986468"/>
                </a:cubicBezTo>
                <a:cubicBezTo>
                  <a:pt x="4884786" y="6007423"/>
                  <a:pt x="4877153" y="6032188"/>
                  <a:pt x="4856165" y="6041713"/>
                </a:cubicBezTo>
                <a:cubicBezTo>
                  <a:pt x="4856165" y="6041713"/>
                  <a:pt x="4856165" y="6041713"/>
                  <a:pt x="4516568" y="6205543"/>
                </a:cubicBezTo>
                <a:cubicBezTo>
                  <a:pt x="4497490" y="6215068"/>
                  <a:pt x="4472687" y="6207448"/>
                  <a:pt x="4463148" y="6186493"/>
                </a:cubicBezTo>
                <a:cubicBezTo>
                  <a:pt x="4459331" y="6180778"/>
                  <a:pt x="4459331" y="6175063"/>
                  <a:pt x="4459331" y="6169348"/>
                </a:cubicBezTo>
                <a:cubicBezTo>
                  <a:pt x="4459331" y="6154108"/>
                  <a:pt x="4466963" y="6138868"/>
                  <a:pt x="4482227" y="6131248"/>
                </a:cubicBezTo>
                <a:cubicBezTo>
                  <a:pt x="4482227" y="6131248"/>
                  <a:pt x="4482227" y="6131248"/>
                  <a:pt x="4821819" y="5967418"/>
                </a:cubicBezTo>
                <a:cubicBezTo>
                  <a:pt x="4831358" y="5962655"/>
                  <a:pt x="4842329" y="5962655"/>
                  <a:pt x="4852107" y="5966227"/>
                </a:cubicBezTo>
                <a:close/>
                <a:moveTo>
                  <a:pt x="1487950" y="5966227"/>
                </a:moveTo>
                <a:cubicBezTo>
                  <a:pt x="1497958" y="5969799"/>
                  <a:pt x="1506537" y="5976943"/>
                  <a:pt x="1511303" y="5986468"/>
                </a:cubicBezTo>
                <a:cubicBezTo>
                  <a:pt x="1520836" y="6007423"/>
                  <a:pt x="1513210" y="6032188"/>
                  <a:pt x="1492239" y="6041713"/>
                </a:cubicBezTo>
                <a:cubicBezTo>
                  <a:pt x="1492239" y="6041713"/>
                  <a:pt x="1492239" y="6041713"/>
                  <a:pt x="1152893" y="6205543"/>
                </a:cubicBezTo>
                <a:cubicBezTo>
                  <a:pt x="1131922" y="6215068"/>
                  <a:pt x="1109045" y="6207448"/>
                  <a:pt x="1097606" y="6186493"/>
                </a:cubicBezTo>
                <a:cubicBezTo>
                  <a:pt x="1095700" y="6180778"/>
                  <a:pt x="1093793" y="6175063"/>
                  <a:pt x="1093793" y="6169348"/>
                </a:cubicBezTo>
                <a:cubicBezTo>
                  <a:pt x="1093793" y="6154108"/>
                  <a:pt x="1103326" y="6138868"/>
                  <a:pt x="1116671" y="6131248"/>
                </a:cubicBezTo>
                <a:cubicBezTo>
                  <a:pt x="1116671" y="6131248"/>
                  <a:pt x="1116671" y="6131248"/>
                  <a:pt x="1456017" y="5967418"/>
                </a:cubicBezTo>
                <a:cubicBezTo>
                  <a:pt x="1466502" y="5962655"/>
                  <a:pt x="1477941" y="5962655"/>
                  <a:pt x="1487950" y="5966227"/>
                </a:cubicBezTo>
                <a:close/>
                <a:moveTo>
                  <a:pt x="4293424" y="5952822"/>
                </a:moveTo>
                <a:cubicBezTo>
                  <a:pt x="4303166" y="5956160"/>
                  <a:pt x="4311720" y="5963313"/>
                  <a:pt x="4316472" y="5973803"/>
                </a:cubicBezTo>
                <a:cubicBezTo>
                  <a:pt x="4325976" y="5992877"/>
                  <a:pt x="4318373" y="6017673"/>
                  <a:pt x="4297464" y="6027210"/>
                </a:cubicBezTo>
                <a:cubicBezTo>
                  <a:pt x="4297464" y="6027210"/>
                  <a:pt x="4297464" y="6027210"/>
                  <a:pt x="3959151" y="6191244"/>
                </a:cubicBezTo>
                <a:cubicBezTo>
                  <a:pt x="3940144" y="6200781"/>
                  <a:pt x="3915433" y="6193151"/>
                  <a:pt x="3905929" y="6172170"/>
                </a:cubicBezTo>
                <a:cubicBezTo>
                  <a:pt x="3902129" y="6166448"/>
                  <a:pt x="3902129" y="6160726"/>
                  <a:pt x="3902129" y="6155004"/>
                </a:cubicBezTo>
                <a:cubicBezTo>
                  <a:pt x="3902129" y="6139745"/>
                  <a:pt x="3909731" y="6124486"/>
                  <a:pt x="3924936" y="6118764"/>
                </a:cubicBezTo>
                <a:cubicBezTo>
                  <a:pt x="3924936" y="6118764"/>
                  <a:pt x="3924936" y="6118764"/>
                  <a:pt x="4263250" y="5954730"/>
                </a:cubicBezTo>
                <a:cubicBezTo>
                  <a:pt x="4272755" y="5949961"/>
                  <a:pt x="4283683" y="5949484"/>
                  <a:pt x="4293424" y="5952822"/>
                </a:cubicBezTo>
                <a:close/>
                <a:moveTo>
                  <a:pt x="2039813" y="5952822"/>
                </a:moveTo>
                <a:cubicBezTo>
                  <a:pt x="2049553" y="5956160"/>
                  <a:pt x="2058100" y="5963313"/>
                  <a:pt x="2063798" y="5973803"/>
                </a:cubicBezTo>
                <a:cubicBezTo>
                  <a:pt x="2073294" y="5992877"/>
                  <a:pt x="2063798" y="6017673"/>
                  <a:pt x="2044799" y="6027210"/>
                </a:cubicBezTo>
                <a:cubicBezTo>
                  <a:pt x="2044799" y="6027210"/>
                  <a:pt x="2044799" y="6027210"/>
                  <a:pt x="1706714" y="6191244"/>
                </a:cubicBezTo>
                <a:cubicBezTo>
                  <a:pt x="1685821" y="6200781"/>
                  <a:pt x="1661129" y="6193151"/>
                  <a:pt x="1651633" y="6172170"/>
                </a:cubicBezTo>
                <a:cubicBezTo>
                  <a:pt x="1649733" y="6166448"/>
                  <a:pt x="1647834" y="6160726"/>
                  <a:pt x="1647834" y="6155004"/>
                </a:cubicBezTo>
                <a:cubicBezTo>
                  <a:pt x="1647834" y="6139745"/>
                  <a:pt x="1655431" y="6124486"/>
                  <a:pt x="1670626" y="6118764"/>
                </a:cubicBezTo>
                <a:cubicBezTo>
                  <a:pt x="1670626" y="6118764"/>
                  <a:pt x="1670626" y="6118764"/>
                  <a:pt x="2008712" y="5954730"/>
                </a:cubicBezTo>
                <a:cubicBezTo>
                  <a:pt x="2019158" y="5949961"/>
                  <a:pt x="2030079" y="5949484"/>
                  <a:pt x="2039813" y="5952822"/>
                </a:cubicBezTo>
                <a:close/>
                <a:moveTo>
                  <a:pt x="3730406" y="5940113"/>
                </a:moveTo>
                <a:cubicBezTo>
                  <a:pt x="3740180" y="5943447"/>
                  <a:pt x="3748760" y="5950590"/>
                  <a:pt x="3754477" y="5961068"/>
                </a:cubicBezTo>
                <a:cubicBezTo>
                  <a:pt x="3764010" y="5982023"/>
                  <a:pt x="3754477" y="6004883"/>
                  <a:pt x="3735413" y="6016313"/>
                </a:cubicBezTo>
                <a:cubicBezTo>
                  <a:pt x="3735413" y="6016313"/>
                  <a:pt x="3735413" y="6016313"/>
                  <a:pt x="3396079" y="6180143"/>
                </a:cubicBezTo>
                <a:cubicBezTo>
                  <a:pt x="3375108" y="6189668"/>
                  <a:pt x="3350324" y="6180143"/>
                  <a:pt x="3340792" y="6161093"/>
                </a:cubicBezTo>
                <a:cubicBezTo>
                  <a:pt x="3338885" y="6155378"/>
                  <a:pt x="3336978" y="6149663"/>
                  <a:pt x="3336978" y="6142043"/>
                </a:cubicBezTo>
                <a:cubicBezTo>
                  <a:pt x="3336978" y="6126803"/>
                  <a:pt x="3346510" y="6113468"/>
                  <a:pt x="3359858" y="6105848"/>
                </a:cubicBezTo>
                <a:cubicBezTo>
                  <a:pt x="3359858" y="6105848"/>
                  <a:pt x="3359858" y="6105848"/>
                  <a:pt x="3699190" y="5942018"/>
                </a:cubicBezTo>
                <a:cubicBezTo>
                  <a:pt x="3709675" y="5937255"/>
                  <a:pt x="3720636" y="5936779"/>
                  <a:pt x="3730406" y="5940113"/>
                </a:cubicBezTo>
                <a:close/>
                <a:moveTo>
                  <a:pt x="2596908" y="5940113"/>
                </a:moveTo>
                <a:cubicBezTo>
                  <a:pt x="2606678" y="5943447"/>
                  <a:pt x="2615256" y="5950590"/>
                  <a:pt x="2620975" y="5961068"/>
                </a:cubicBezTo>
                <a:cubicBezTo>
                  <a:pt x="2630507" y="5982023"/>
                  <a:pt x="2620975" y="6004883"/>
                  <a:pt x="2601911" y="6016313"/>
                </a:cubicBezTo>
                <a:cubicBezTo>
                  <a:pt x="2601911" y="6016313"/>
                  <a:pt x="2601911" y="6016313"/>
                  <a:pt x="2262565" y="6180143"/>
                </a:cubicBezTo>
                <a:cubicBezTo>
                  <a:pt x="2241595" y="6189668"/>
                  <a:pt x="2216811" y="6180143"/>
                  <a:pt x="2207278" y="6161093"/>
                </a:cubicBezTo>
                <a:cubicBezTo>
                  <a:pt x="2205372" y="6155378"/>
                  <a:pt x="2203466" y="6149663"/>
                  <a:pt x="2203466" y="6142043"/>
                </a:cubicBezTo>
                <a:cubicBezTo>
                  <a:pt x="2203466" y="6126803"/>
                  <a:pt x="2211092" y="6113468"/>
                  <a:pt x="2226343" y="6105848"/>
                </a:cubicBezTo>
                <a:cubicBezTo>
                  <a:pt x="2226343" y="6105848"/>
                  <a:pt x="2226343" y="6105848"/>
                  <a:pt x="2565688" y="5942018"/>
                </a:cubicBezTo>
                <a:cubicBezTo>
                  <a:pt x="2576174" y="5937255"/>
                  <a:pt x="2587136" y="5936779"/>
                  <a:pt x="2596908" y="5940113"/>
                </a:cubicBezTo>
                <a:close/>
                <a:moveTo>
                  <a:pt x="3158037" y="5928127"/>
                </a:moveTo>
                <a:cubicBezTo>
                  <a:pt x="3168045" y="5931699"/>
                  <a:pt x="3176626" y="5938843"/>
                  <a:pt x="3181391" y="5948368"/>
                </a:cubicBezTo>
                <a:cubicBezTo>
                  <a:pt x="3190925" y="5969323"/>
                  <a:pt x="3183297" y="5994088"/>
                  <a:pt x="3162327" y="6003613"/>
                </a:cubicBezTo>
                <a:cubicBezTo>
                  <a:pt x="3162327" y="6003613"/>
                  <a:pt x="3162327" y="6003613"/>
                  <a:pt x="2822979" y="6167443"/>
                </a:cubicBezTo>
                <a:cubicBezTo>
                  <a:pt x="2803914" y="6176968"/>
                  <a:pt x="2779130" y="6169348"/>
                  <a:pt x="2769600" y="6148393"/>
                </a:cubicBezTo>
                <a:cubicBezTo>
                  <a:pt x="2765787" y="6142678"/>
                  <a:pt x="2763879" y="6136963"/>
                  <a:pt x="2763879" y="6131248"/>
                </a:cubicBezTo>
                <a:cubicBezTo>
                  <a:pt x="2763879" y="6116008"/>
                  <a:pt x="2773411" y="6100768"/>
                  <a:pt x="2788663" y="6093148"/>
                </a:cubicBezTo>
                <a:cubicBezTo>
                  <a:pt x="2788663" y="6093148"/>
                  <a:pt x="2788663" y="6093148"/>
                  <a:pt x="3126104" y="5929318"/>
                </a:cubicBezTo>
                <a:cubicBezTo>
                  <a:pt x="3136589" y="5924555"/>
                  <a:pt x="3148027" y="5924555"/>
                  <a:pt x="3158037" y="5928127"/>
                </a:cubicBezTo>
                <a:close/>
                <a:moveTo>
                  <a:pt x="9872849" y="5750963"/>
                </a:moveTo>
                <a:cubicBezTo>
                  <a:pt x="9882136" y="5754058"/>
                  <a:pt x="9890232" y="5760726"/>
                  <a:pt x="9894995" y="5770251"/>
                </a:cubicBezTo>
                <a:cubicBezTo>
                  <a:pt x="9904520" y="5787396"/>
                  <a:pt x="9898805" y="5810256"/>
                  <a:pt x="9879755" y="5821686"/>
                </a:cubicBezTo>
                <a:cubicBezTo>
                  <a:pt x="9879755" y="5821686"/>
                  <a:pt x="9879755" y="5821686"/>
                  <a:pt x="9542565" y="6000756"/>
                </a:cubicBezTo>
                <a:cubicBezTo>
                  <a:pt x="9523515" y="6010281"/>
                  <a:pt x="9500654" y="6002661"/>
                  <a:pt x="9489224" y="5983611"/>
                </a:cubicBezTo>
                <a:cubicBezTo>
                  <a:pt x="9487319" y="5977896"/>
                  <a:pt x="9485414" y="5972181"/>
                  <a:pt x="9485414" y="5966466"/>
                </a:cubicBezTo>
                <a:cubicBezTo>
                  <a:pt x="9485414" y="5953131"/>
                  <a:pt x="9493034" y="5939796"/>
                  <a:pt x="9506369" y="5932176"/>
                </a:cubicBezTo>
                <a:cubicBezTo>
                  <a:pt x="9506369" y="5932176"/>
                  <a:pt x="9506369" y="5932176"/>
                  <a:pt x="9843559" y="5753106"/>
                </a:cubicBezTo>
                <a:cubicBezTo>
                  <a:pt x="9853084" y="5748343"/>
                  <a:pt x="9863562" y="5747867"/>
                  <a:pt x="9872849" y="5750963"/>
                </a:cubicBezTo>
                <a:close/>
                <a:moveTo>
                  <a:pt x="10455469" y="5739858"/>
                </a:moveTo>
                <a:cubicBezTo>
                  <a:pt x="10464756" y="5742958"/>
                  <a:pt x="10472852" y="5749633"/>
                  <a:pt x="10477615" y="5759170"/>
                </a:cubicBezTo>
                <a:cubicBezTo>
                  <a:pt x="10487140" y="5776335"/>
                  <a:pt x="10481425" y="5801130"/>
                  <a:pt x="10462375" y="5810667"/>
                </a:cubicBezTo>
                <a:cubicBezTo>
                  <a:pt x="10462375" y="5810667"/>
                  <a:pt x="10462375" y="5810667"/>
                  <a:pt x="10123280" y="5988044"/>
                </a:cubicBezTo>
                <a:cubicBezTo>
                  <a:pt x="10104230" y="5997581"/>
                  <a:pt x="10081369" y="5989952"/>
                  <a:pt x="10071844" y="5970879"/>
                </a:cubicBezTo>
                <a:cubicBezTo>
                  <a:pt x="10068034" y="5965157"/>
                  <a:pt x="10068034" y="5959435"/>
                  <a:pt x="10068034" y="5953713"/>
                </a:cubicBezTo>
                <a:cubicBezTo>
                  <a:pt x="10068034" y="5938455"/>
                  <a:pt x="10075654" y="5925104"/>
                  <a:pt x="10088989" y="5919382"/>
                </a:cubicBezTo>
                <a:cubicBezTo>
                  <a:pt x="10088989" y="5919382"/>
                  <a:pt x="10088989" y="5919382"/>
                  <a:pt x="10426179" y="5742004"/>
                </a:cubicBezTo>
                <a:cubicBezTo>
                  <a:pt x="10435704" y="5737236"/>
                  <a:pt x="10446182" y="5736759"/>
                  <a:pt x="10455469" y="5739858"/>
                </a:cubicBezTo>
                <a:close/>
                <a:moveTo>
                  <a:pt x="9295014" y="5739858"/>
                </a:moveTo>
                <a:cubicBezTo>
                  <a:pt x="9304294" y="5742958"/>
                  <a:pt x="9312384" y="5749633"/>
                  <a:pt x="9317143" y="5759170"/>
                </a:cubicBezTo>
                <a:cubicBezTo>
                  <a:pt x="9326661" y="5776335"/>
                  <a:pt x="9319047" y="5801130"/>
                  <a:pt x="9300011" y="5810667"/>
                </a:cubicBezTo>
                <a:cubicBezTo>
                  <a:pt x="9300011" y="5810667"/>
                  <a:pt x="9300011" y="5810667"/>
                  <a:pt x="8963076" y="5988044"/>
                </a:cubicBezTo>
                <a:cubicBezTo>
                  <a:pt x="8944040" y="5997581"/>
                  <a:pt x="8921197" y="5989952"/>
                  <a:pt x="8911679" y="5970879"/>
                </a:cubicBezTo>
                <a:cubicBezTo>
                  <a:pt x="8907872" y="5965157"/>
                  <a:pt x="8905968" y="5959435"/>
                  <a:pt x="8905968" y="5953713"/>
                </a:cubicBezTo>
                <a:cubicBezTo>
                  <a:pt x="8905968" y="5938455"/>
                  <a:pt x="8913582" y="5925104"/>
                  <a:pt x="8926907" y="5919382"/>
                </a:cubicBezTo>
                <a:cubicBezTo>
                  <a:pt x="8926907" y="5919382"/>
                  <a:pt x="8926907" y="5919382"/>
                  <a:pt x="9265746" y="5742004"/>
                </a:cubicBezTo>
                <a:cubicBezTo>
                  <a:pt x="9275264" y="5737236"/>
                  <a:pt x="9285734" y="5736759"/>
                  <a:pt x="9295014" y="5739858"/>
                </a:cubicBezTo>
                <a:close/>
                <a:moveTo>
                  <a:pt x="11032399" y="5727762"/>
                </a:moveTo>
                <a:cubicBezTo>
                  <a:pt x="11042155" y="5730372"/>
                  <a:pt x="11050721" y="5736541"/>
                  <a:pt x="11055480" y="5746031"/>
                </a:cubicBezTo>
                <a:cubicBezTo>
                  <a:pt x="11064998" y="5766910"/>
                  <a:pt x="11057384" y="5789687"/>
                  <a:pt x="11038348" y="5799178"/>
                </a:cubicBezTo>
                <a:cubicBezTo>
                  <a:pt x="11038348" y="5799178"/>
                  <a:pt x="11038348" y="5799178"/>
                  <a:pt x="10701413" y="5973803"/>
                </a:cubicBezTo>
                <a:cubicBezTo>
                  <a:pt x="10682377" y="5983294"/>
                  <a:pt x="10657630" y="5975701"/>
                  <a:pt x="10648112" y="5956720"/>
                </a:cubicBezTo>
                <a:cubicBezTo>
                  <a:pt x="10646209" y="5951026"/>
                  <a:pt x="10644305" y="5945332"/>
                  <a:pt x="10644305" y="5937739"/>
                </a:cubicBezTo>
                <a:cubicBezTo>
                  <a:pt x="10644305" y="5924453"/>
                  <a:pt x="10651919" y="5911166"/>
                  <a:pt x="10665244" y="5903573"/>
                </a:cubicBezTo>
                <a:cubicBezTo>
                  <a:pt x="10665244" y="5903573"/>
                  <a:pt x="10665244" y="5903573"/>
                  <a:pt x="11002180" y="5730846"/>
                </a:cubicBezTo>
                <a:cubicBezTo>
                  <a:pt x="11011697" y="5726101"/>
                  <a:pt x="11022643" y="5725152"/>
                  <a:pt x="11032399" y="5727762"/>
                </a:cubicBezTo>
                <a:close/>
                <a:moveTo>
                  <a:pt x="8723506" y="5727762"/>
                </a:moveTo>
                <a:cubicBezTo>
                  <a:pt x="8732786" y="5730372"/>
                  <a:pt x="8740876" y="5736541"/>
                  <a:pt x="8745635" y="5746031"/>
                </a:cubicBezTo>
                <a:cubicBezTo>
                  <a:pt x="8755153" y="5766910"/>
                  <a:pt x="8747539" y="5789687"/>
                  <a:pt x="8728503" y="5799178"/>
                </a:cubicBezTo>
                <a:cubicBezTo>
                  <a:pt x="8728503" y="5799178"/>
                  <a:pt x="8728503" y="5799178"/>
                  <a:pt x="8391568" y="5973803"/>
                </a:cubicBezTo>
                <a:cubicBezTo>
                  <a:pt x="8372532" y="5983294"/>
                  <a:pt x="8349689" y="5975701"/>
                  <a:pt x="8338267" y="5956720"/>
                </a:cubicBezTo>
                <a:cubicBezTo>
                  <a:pt x="8336363" y="5951026"/>
                  <a:pt x="8334460" y="5945332"/>
                  <a:pt x="8334460" y="5937739"/>
                </a:cubicBezTo>
                <a:cubicBezTo>
                  <a:pt x="8334460" y="5924453"/>
                  <a:pt x="8342074" y="5911166"/>
                  <a:pt x="8355399" y="5903573"/>
                </a:cubicBezTo>
                <a:cubicBezTo>
                  <a:pt x="8355399" y="5903573"/>
                  <a:pt x="8355399" y="5903573"/>
                  <a:pt x="8694238" y="5730846"/>
                </a:cubicBezTo>
                <a:cubicBezTo>
                  <a:pt x="8703756" y="5726101"/>
                  <a:pt x="8714226" y="5725152"/>
                  <a:pt x="8723506" y="5727762"/>
                </a:cubicBezTo>
                <a:close/>
                <a:moveTo>
                  <a:pt x="11603271" y="5714468"/>
                </a:moveTo>
                <a:cubicBezTo>
                  <a:pt x="11612551" y="5717571"/>
                  <a:pt x="11620641" y="5724254"/>
                  <a:pt x="11625400" y="5733802"/>
                </a:cubicBezTo>
                <a:cubicBezTo>
                  <a:pt x="11634918" y="5754808"/>
                  <a:pt x="11627304" y="5777723"/>
                  <a:pt x="11608268" y="5787271"/>
                </a:cubicBezTo>
                <a:cubicBezTo>
                  <a:pt x="11608268" y="5787271"/>
                  <a:pt x="11608268" y="5787271"/>
                  <a:pt x="11271333" y="5961045"/>
                </a:cubicBezTo>
                <a:cubicBezTo>
                  <a:pt x="11252297" y="5970593"/>
                  <a:pt x="11227550" y="5962954"/>
                  <a:pt x="11218032" y="5941949"/>
                </a:cubicBezTo>
                <a:cubicBezTo>
                  <a:pt x="11214225" y="5936220"/>
                  <a:pt x="11214225" y="5930491"/>
                  <a:pt x="11214225" y="5924762"/>
                </a:cubicBezTo>
                <a:cubicBezTo>
                  <a:pt x="11214225" y="5911395"/>
                  <a:pt x="11221839" y="5896118"/>
                  <a:pt x="11235164" y="5890389"/>
                </a:cubicBezTo>
                <a:cubicBezTo>
                  <a:pt x="11235164" y="5890389"/>
                  <a:pt x="11235164" y="5890389"/>
                  <a:pt x="11574003" y="5716616"/>
                </a:cubicBezTo>
                <a:cubicBezTo>
                  <a:pt x="11583521" y="5711842"/>
                  <a:pt x="11593991" y="5711364"/>
                  <a:pt x="11603271" y="5714468"/>
                </a:cubicBezTo>
                <a:close/>
                <a:moveTo>
                  <a:pt x="8158886" y="5714468"/>
                </a:moveTo>
                <a:cubicBezTo>
                  <a:pt x="8168671" y="5717571"/>
                  <a:pt x="8177263" y="5724254"/>
                  <a:pt x="8182036" y="5733802"/>
                </a:cubicBezTo>
                <a:cubicBezTo>
                  <a:pt x="8191583" y="5754808"/>
                  <a:pt x="8183946" y="5777723"/>
                  <a:pt x="8164852" y="5787271"/>
                </a:cubicBezTo>
                <a:cubicBezTo>
                  <a:pt x="8164852" y="5787271"/>
                  <a:pt x="8164852" y="5787271"/>
                  <a:pt x="7824994" y="5961045"/>
                </a:cubicBezTo>
                <a:cubicBezTo>
                  <a:pt x="7805901" y="5970593"/>
                  <a:pt x="7782989" y="5962954"/>
                  <a:pt x="7771533" y="5941949"/>
                </a:cubicBezTo>
                <a:cubicBezTo>
                  <a:pt x="7769624" y="5936220"/>
                  <a:pt x="7767715" y="5930491"/>
                  <a:pt x="7767715" y="5924762"/>
                </a:cubicBezTo>
                <a:cubicBezTo>
                  <a:pt x="7767715" y="5911395"/>
                  <a:pt x="7775352" y="5896118"/>
                  <a:pt x="7788717" y="5890389"/>
                </a:cubicBezTo>
                <a:cubicBezTo>
                  <a:pt x="7788717" y="5890389"/>
                  <a:pt x="7788717" y="5890389"/>
                  <a:pt x="8128575" y="5716616"/>
                </a:cubicBezTo>
                <a:cubicBezTo>
                  <a:pt x="8138122" y="5711842"/>
                  <a:pt x="8149101" y="5711364"/>
                  <a:pt x="8158886" y="5714468"/>
                </a:cubicBezTo>
                <a:close/>
                <a:moveTo>
                  <a:pt x="12139750" y="5703893"/>
                </a:moveTo>
                <a:cubicBezTo>
                  <a:pt x="12139750" y="5703893"/>
                  <a:pt x="12139750" y="5703893"/>
                  <a:pt x="12139750" y="5793652"/>
                </a:cubicBezTo>
                <a:cubicBezTo>
                  <a:pt x="12139750" y="5793652"/>
                  <a:pt x="12139750" y="5793652"/>
                  <a:pt x="11833309" y="5948344"/>
                </a:cubicBezTo>
                <a:cubicBezTo>
                  <a:pt x="11814275" y="5957893"/>
                  <a:pt x="11789532" y="5950254"/>
                  <a:pt x="11780015" y="5929246"/>
                </a:cubicBezTo>
                <a:cubicBezTo>
                  <a:pt x="11778111" y="5923517"/>
                  <a:pt x="11776208" y="5917787"/>
                  <a:pt x="11776208" y="5912058"/>
                </a:cubicBezTo>
                <a:cubicBezTo>
                  <a:pt x="11776208" y="5896780"/>
                  <a:pt x="11783821" y="5883412"/>
                  <a:pt x="11799048" y="5875772"/>
                </a:cubicBezTo>
                <a:lnTo>
                  <a:pt x="12135943" y="5705803"/>
                </a:lnTo>
                <a:cubicBezTo>
                  <a:pt x="12137847" y="5705803"/>
                  <a:pt x="12139750" y="5705803"/>
                  <a:pt x="12139750" y="5703893"/>
                </a:cubicBezTo>
                <a:close/>
                <a:moveTo>
                  <a:pt x="7600201" y="5703365"/>
                </a:moveTo>
                <a:cubicBezTo>
                  <a:pt x="7609950" y="5706472"/>
                  <a:pt x="7618510" y="5713164"/>
                  <a:pt x="7623265" y="5722723"/>
                </a:cubicBezTo>
                <a:cubicBezTo>
                  <a:pt x="7632776" y="5743755"/>
                  <a:pt x="7625167" y="5766698"/>
                  <a:pt x="7604243" y="5776258"/>
                </a:cubicBezTo>
                <a:cubicBezTo>
                  <a:pt x="7604243" y="5776258"/>
                  <a:pt x="7604243" y="5776258"/>
                  <a:pt x="7267560" y="5948334"/>
                </a:cubicBezTo>
                <a:cubicBezTo>
                  <a:pt x="7246636" y="5957894"/>
                  <a:pt x="7223810" y="5950246"/>
                  <a:pt x="7214299" y="5929214"/>
                </a:cubicBezTo>
                <a:cubicBezTo>
                  <a:pt x="7210495" y="5923479"/>
                  <a:pt x="7210495" y="5917743"/>
                  <a:pt x="7210495" y="5912007"/>
                </a:cubicBezTo>
                <a:cubicBezTo>
                  <a:pt x="7210495" y="5896711"/>
                  <a:pt x="7218103" y="5883327"/>
                  <a:pt x="7231419" y="5875680"/>
                </a:cubicBezTo>
                <a:cubicBezTo>
                  <a:pt x="7231419" y="5875680"/>
                  <a:pt x="7231419" y="5875680"/>
                  <a:pt x="7570004" y="5705516"/>
                </a:cubicBezTo>
                <a:cubicBezTo>
                  <a:pt x="7579515" y="5700736"/>
                  <a:pt x="7590452" y="5700258"/>
                  <a:pt x="7600201" y="5703365"/>
                </a:cubicBezTo>
                <a:close/>
                <a:moveTo>
                  <a:pt x="7047645" y="5692216"/>
                </a:moveTo>
                <a:cubicBezTo>
                  <a:pt x="7057423" y="5695307"/>
                  <a:pt x="7066009" y="5701967"/>
                  <a:pt x="7070778" y="5711480"/>
                </a:cubicBezTo>
                <a:cubicBezTo>
                  <a:pt x="7080318" y="5732409"/>
                  <a:pt x="7072686" y="5757144"/>
                  <a:pt x="7051700" y="5766658"/>
                </a:cubicBezTo>
                <a:cubicBezTo>
                  <a:pt x="7051700" y="5766658"/>
                  <a:pt x="7051700" y="5766658"/>
                  <a:pt x="6714006" y="5934092"/>
                </a:cubicBezTo>
                <a:cubicBezTo>
                  <a:pt x="6693019" y="5943606"/>
                  <a:pt x="6670125" y="5934092"/>
                  <a:pt x="6658677" y="5915066"/>
                </a:cubicBezTo>
                <a:cubicBezTo>
                  <a:pt x="6656770" y="5909358"/>
                  <a:pt x="6654862" y="5903650"/>
                  <a:pt x="6654862" y="5897942"/>
                </a:cubicBezTo>
                <a:cubicBezTo>
                  <a:pt x="6654862" y="5882720"/>
                  <a:pt x="6664401" y="5867499"/>
                  <a:pt x="6677756" y="5861791"/>
                </a:cubicBezTo>
                <a:cubicBezTo>
                  <a:pt x="6677756" y="5861791"/>
                  <a:pt x="6677756" y="5861791"/>
                  <a:pt x="7017358" y="5694356"/>
                </a:cubicBezTo>
                <a:cubicBezTo>
                  <a:pt x="7026897" y="5689600"/>
                  <a:pt x="7037868" y="5689124"/>
                  <a:pt x="7047645" y="5692216"/>
                </a:cubicBezTo>
                <a:close/>
                <a:moveTo>
                  <a:pt x="6486856" y="5678743"/>
                </a:moveTo>
                <a:cubicBezTo>
                  <a:pt x="6502673" y="5677494"/>
                  <a:pt x="6517686" y="5686413"/>
                  <a:pt x="6526266" y="5700683"/>
                </a:cubicBezTo>
                <a:cubicBezTo>
                  <a:pt x="6535798" y="5721612"/>
                  <a:pt x="6526266" y="5746347"/>
                  <a:pt x="6507201" y="5755860"/>
                </a:cubicBezTo>
                <a:cubicBezTo>
                  <a:pt x="6507201" y="5755860"/>
                  <a:pt x="6507201" y="5755860"/>
                  <a:pt x="6167854" y="5921392"/>
                </a:cubicBezTo>
                <a:cubicBezTo>
                  <a:pt x="6146884" y="5930906"/>
                  <a:pt x="6124006" y="5921392"/>
                  <a:pt x="6114474" y="5902366"/>
                </a:cubicBezTo>
                <a:cubicBezTo>
                  <a:pt x="6110661" y="5896658"/>
                  <a:pt x="6108755" y="5890950"/>
                  <a:pt x="6108755" y="5883339"/>
                </a:cubicBezTo>
                <a:cubicBezTo>
                  <a:pt x="6108755" y="5870020"/>
                  <a:pt x="6118287" y="5854799"/>
                  <a:pt x="6131632" y="5847188"/>
                </a:cubicBezTo>
                <a:cubicBezTo>
                  <a:pt x="6131632" y="5847188"/>
                  <a:pt x="6131632" y="5847188"/>
                  <a:pt x="6470979" y="5683559"/>
                </a:cubicBezTo>
                <a:cubicBezTo>
                  <a:pt x="6476222" y="5680705"/>
                  <a:pt x="6481583" y="5679159"/>
                  <a:pt x="6486856" y="5678743"/>
                </a:cubicBezTo>
                <a:close/>
                <a:moveTo>
                  <a:pt x="5956806" y="5667777"/>
                </a:moveTo>
                <a:cubicBezTo>
                  <a:pt x="5966814" y="5671349"/>
                  <a:pt x="5975394" y="5678493"/>
                  <a:pt x="5980159" y="5688018"/>
                </a:cubicBezTo>
                <a:cubicBezTo>
                  <a:pt x="5989691" y="5708973"/>
                  <a:pt x="5980159" y="5733738"/>
                  <a:pt x="5961095" y="5743263"/>
                </a:cubicBezTo>
                <a:cubicBezTo>
                  <a:pt x="5961095" y="5743263"/>
                  <a:pt x="5961095" y="5743263"/>
                  <a:pt x="5621756" y="5907093"/>
                </a:cubicBezTo>
                <a:cubicBezTo>
                  <a:pt x="5600786" y="5916618"/>
                  <a:pt x="5576003" y="5907093"/>
                  <a:pt x="5566471" y="5888043"/>
                </a:cubicBezTo>
                <a:cubicBezTo>
                  <a:pt x="5564565" y="5882328"/>
                  <a:pt x="5562659" y="5874708"/>
                  <a:pt x="5562659" y="5868993"/>
                </a:cubicBezTo>
                <a:cubicBezTo>
                  <a:pt x="5562659" y="5853753"/>
                  <a:pt x="5570284" y="5840418"/>
                  <a:pt x="5585535" y="5832798"/>
                </a:cubicBezTo>
                <a:cubicBezTo>
                  <a:pt x="5585535" y="5832798"/>
                  <a:pt x="5585535" y="5832798"/>
                  <a:pt x="5924873" y="5668968"/>
                </a:cubicBezTo>
                <a:cubicBezTo>
                  <a:pt x="5935358" y="5664205"/>
                  <a:pt x="5946797" y="5664205"/>
                  <a:pt x="5956806" y="5667777"/>
                </a:cubicBezTo>
                <a:close/>
                <a:moveTo>
                  <a:pt x="397251" y="5667777"/>
                </a:moveTo>
                <a:cubicBezTo>
                  <a:pt x="407022" y="5671349"/>
                  <a:pt x="415601" y="5678493"/>
                  <a:pt x="420367" y="5688018"/>
                </a:cubicBezTo>
                <a:cubicBezTo>
                  <a:pt x="431806" y="5708973"/>
                  <a:pt x="422273" y="5733738"/>
                  <a:pt x="401303" y="5743263"/>
                </a:cubicBezTo>
                <a:cubicBezTo>
                  <a:pt x="401303" y="5743263"/>
                  <a:pt x="401303" y="5743263"/>
                  <a:pt x="63863" y="5907093"/>
                </a:cubicBezTo>
                <a:cubicBezTo>
                  <a:pt x="42892" y="5916618"/>
                  <a:pt x="18108" y="5907093"/>
                  <a:pt x="8576" y="5888043"/>
                </a:cubicBezTo>
                <a:cubicBezTo>
                  <a:pt x="4764" y="5882328"/>
                  <a:pt x="4764" y="5874708"/>
                  <a:pt x="4764" y="5868993"/>
                </a:cubicBezTo>
                <a:cubicBezTo>
                  <a:pt x="4764" y="5853753"/>
                  <a:pt x="12389" y="5840418"/>
                  <a:pt x="27641" y="5832798"/>
                </a:cubicBezTo>
                <a:cubicBezTo>
                  <a:pt x="27641" y="5832798"/>
                  <a:pt x="27641" y="5832798"/>
                  <a:pt x="366987" y="5668968"/>
                </a:cubicBezTo>
                <a:cubicBezTo>
                  <a:pt x="376519" y="5664205"/>
                  <a:pt x="387481" y="5664205"/>
                  <a:pt x="397251" y="5667777"/>
                </a:cubicBezTo>
                <a:close/>
                <a:moveTo>
                  <a:pt x="5407592" y="5656676"/>
                </a:moveTo>
                <a:cubicBezTo>
                  <a:pt x="5417631" y="5660252"/>
                  <a:pt x="5426713" y="5667405"/>
                  <a:pt x="5432448" y="5676941"/>
                </a:cubicBezTo>
                <a:cubicBezTo>
                  <a:pt x="5442009" y="5697922"/>
                  <a:pt x="5432448" y="5722718"/>
                  <a:pt x="5411416" y="5732255"/>
                </a:cubicBezTo>
                <a:cubicBezTo>
                  <a:pt x="5411416" y="5732255"/>
                  <a:pt x="5411416" y="5732255"/>
                  <a:pt x="5071065" y="5894382"/>
                </a:cubicBezTo>
                <a:cubicBezTo>
                  <a:pt x="5050035" y="5903919"/>
                  <a:pt x="5025180" y="5894382"/>
                  <a:pt x="5015620" y="5873401"/>
                </a:cubicBezTo>
                <a:cubicBezTo>
                  <a:pt x="5013708" y="5867679"/>
                  <a:pt x="5011797" y="5861957"/>
                  <a:pt x="5011797" y="5856234"/>
                </a:cubicBezTo>
                <a:cubicBezTo>
                  <a:pt x="5011797" y="5840975"/>
                  <a:pt x="5021357" y="5825716"/>
                  <a:pt x="5036652" y="5818087"/>
                </a:cubicBezTo>
                <a:cubicBezTo>
                  <a:pt x="5036652" y="5818087"/>
                  <a:pt x="5036652" y="5818087"/>
                  <a:pt x="5377000" y="5657868"/>
                </a:cubicBezTo>
                <a:cubicBezTo>
                  <a:pt x="5386560" y="5653099"/>
                  <a:pt x="5397554" y="5653099"/>
                  <a:pt x="5407592" y="5656676"/>
                </a:cubicBezTo>
                <a:close/>
                <a:moveTo>
                  <a:pt x="941847" y="5656676"/>
                </a:moveTo>
                <a:cubicBezTo>
                  <a:pt x="951856" y="5660252"/>
                  <a:pt x="960435" y="5667405"/>
                  <a:pt x="965201" y="5676941"/>
                </a:cubicBezTo>
                <a:cubicBezTo>
                  <a:pt x="974733" y="5697922"/>
                  <a:pt x="965201" y="5722718"/>
                  <a:pt x="946137" y="5732255"/>
                </a:cubicBezTo>
                <a:cubicBezTo>
                  <a:pt x="946137" y="5732255"/>
                  <a:pt x="946137" y="5732255"/>
                  <a:pt x="606791" y="5894382"/>
                </a:cubicBezTo>
                <a:cubicBezTo>
                  <a:pt x="585820" y="5903919"/>
                  <a:pt x="561036" y="5894382"/>
                  <a:pt x="551504" y="5873401"/>
                </a:cubicBezTo>
                <a:cubicBezTo>
                  <a:pt x="547691" y="5867679"/>
                  <a:pt x="547691" y="5861957"/>
                  <a:pt x="547691" y="5856234"/>
                </a:cubicBezTo>
                <a:cubicBezTo>
                  <a:pt x="547691" y="5840975"/>
                  <a:pt x="555317" y="5825716"/>
                  <a:pt x="570568" y="5818087"/>
                </a:cubicBezTo>
                <a:cubicBezTo>
                  <a:pt x="570568" y="5818087"/>
                  <a:pt x="570568" y="5818087"/>
                  <a:pt x="909914" y="5657868"/>
                </a:cubicBezTo>
                <a:cubicBezTo>
                  <a:pt x="920400" y="5653099"/>
                  <a:pt x="931838" y="5653099"/>
                  <a:pt x="941847" y="5656676"/>
                </a:cubicBezTo>
                <a:close/>
                <a:moveTo>
                  <a:pt x="4853505" y="5644857"/>
                </a:moveTo>
                <a:cubicBezTo>
                  <a:pt x="4863509" y="5648199"/>
                  <a:pt x="4872084" y="5655361"/>
                  <a:pt x="4876847" y="5665864"/>
                </a:cubicBezTo>
                <a:cubicBezTo>
                  <a:pt x="4886373" y="5686872"/>
                  <a:pt x="4876847" y="5711699"/>
                  <a:pt x="4855889" y="5723158"/>
                </a:cubicBezTo>
                <a:cubicBezTo>
                  <a:pt x="4855889" y="5723158"/>
                  <a:pt x="4855889" y="5723158"/>
                  <a:pt x="4516799" y="5881669"/>
                </a:cubicBezTo>
                <a:cubicBezTo>
                  <a:pt x="4495845" y="5891218"/>
                  <a:pt x="4471079" y="5881669"/>
                  <a:pt x="4461553" y="5860661"/>
                </a:cubicBezTo>
                <a:cubicBezTo>
                  <a:pt x="4459649" y="5854932"/>
                  <a:pt x="4457744" y="5849203"/>
                  <a:pt x="4457744" y="5843473"/>
                </a:cubicBezTo>
                <a:cubicBezTo>
                  <a:pt x="4457744" y="5828195"/>
                  <a:pt x="4467269" y="5812917"/>
                  <a:pt x="4482509" y="5805278"/>
                </a:cubicBezTo>
                <a:cubicBezTo>
                  <a:pt x="4482509" y="5805278"/>
                  <a:pt x="4482509" y="5805278"/>
                  <a:pt x="4821594" y="5646767"/>
                </a:cubicBezTo>
                <a:cubicBezTo>
                  <a:pt x="4832072" y="5641992"/>
                  <a:pt x="4843504" y="5641515"/>
                  <a:pt x="4853505" y="5644857"/>
                </a:cubicBezTo>
                <a:close/>
                <a:moveTo>
                  <a:pt x="1487895" y="5644857"/>
                </a:moveTo>
                <a:cubicBezTo>
                  <a:pt x="1498134" y="5648199"/>
                  <a:pt x="1507183" y="5655361"/>
                  <a:pt x="1512898" y="5665864"/>
                </a:cubicBezTo>
                <a:cubicBezTo>
                  <a:pt x="1522423" y="5686872"/>
                  <a:pt x="1512898" y="5711699"/>
                  <a:pt x="1491943" y="5723158"/>
                </a:cubicBezTo>
                <a:cubicBezTo>
                  <a:pt x="1491943" y="5723158"/>
                  <a:pt x="1491943" y="5723158"/>
                  <a:pt x="1152849" y="5881669"/>
                </a:cubicBezTo>
                <a:cubicBezTo>
                  <a:pt x="1131894" y="5891218"/>
                  <a:pt x="1107128" y="5881669"/>
                  <a:pt x="1097603" y="5860661"/>
                </a:cubicBezTo>
                <a:cubicBezTo>
                  <a:pt x="1093793" y="5854932"/>
                  <a:pt x="1093793" y="5849203"/>
                  <a:pt x="1093793" y="5843473"/>
                </a:cubicBezTo>
                <a:cubicBezTo>
                  <a:pt x="1093793" y="5828195"/>
                  <a:pt x="1101413" y="5812917"/>
                  <a:pt x="1116653" y="5805278"/>
                </a:cubicBezTo>
                <a:cubicBezTo>
                  <a:pt x="1116653" y="5805278"/>
                  <a:pt x="1116653" y="5805278"/>
                  <a:pt x="1455748" y="5646767"/>
                </a:cubicBezTo>
                <a:cubicBezTo>
                  <a:pt x="1466225" y="5641992"/>
                  <a:pt x="1477655" y="5641515"/>
                  <a:pt x="1487895" y="5644857"/>
                </a:cubicBezTo>
                <a:close/>
                <a:moveTo>
                  <a:pt x="4280333" y="5631131"/>
                </a:moveTo>
                <a:cubicBezTo>
                  <a:pt x="4296645" y="5629974"/>
                  <a:pt x="4312420" y="5639226"/>
                  <a:pt x="4319591" y="5654883"/>
                </a:cubicBezTo>
                <a:cubicBezTo>
                  <a:pt x="4329151" y="5677657"/>
                  <a:pt x="4319591" y="5702329"/>
                  <a:pt x="4298558" y="5711818"/>
                </a:cubicBezTo>
                <a:cubicBezTo>
                  <a:pt x="4298558" y="5711818"/>
                  <a:pt x="4298558" y="5711818"/>
                  <a:pt x="3958230" y="5867442"/>
                </a:cubicBezTo>
                <a:cubicBezTo>
                  <a:pt x="3937192" y="5876931"/>
                  <a:pt x="3912337" y="5867442"/>
                  <a:pt x="3902775" y="5846565"/>
                </a:cubicBezTo>
                <a:cubicBezTo>
                  <a:pt x="3898949" y="5840872"/>
                  <a:pt x="3898949" y="5835178"/>
                  <a:pt x="3898949" y="5829485"/>
                </a:cubicBezTo>
                <a:cubicBezTo>
                  <a:pt x="3898949" y="5812404"/>
                  <a:pt x="3906601" y="5797221"/>
                  <a:pt x="3923810" y="5789630"/>
                </a:cubicBezTo>
                <a:cubicBezTo>
                  <a:pt x="3923810" y="5789630"/>
                  <a:pt x="3923810" y="5789630"/>
                  <a:pt x="4264140" y="5635905"/>
                </a:cubicBezTo>
                <a:cubicBezTo>
                  <a:pt x="4269397" y="5633058"/>
                  <a:pt x="4274895" y="5631516"/>
                  <a:pt x="4280333" y="5631131"/>
                </a:cubicBezTo>
                <a:close/>
                <a:moveTo>
                  <a:pt x="2025802" y="5631130"/>
                </a:moveTo>
                <a:cubicBezTo>
                  <a:pt x="2042192" y="5629974"/>
                  <a:pt x="2058318" y="5639226"/>
                  <a:pt x="2066916" y="5654883"/>
                </a:cubicBezTo>
                <a:cubicBezTo>
                  <a:pt x="2076469" y="5677657"/>
                  <a:pt x="2066916" y="5702329"/>
                  <a:pt x="2045894" y="5711818"/>
                </a:cubicBezTo>
                <a:cubicBezTo>
                  <a:pt x="2045894" y="5711818"/>
                  <a:pt x="2045894" y="5711818"/>
                  <a:pt x="1705799" y="5867442"/>
                </a:cubicBezTo>
                <a:cubicBezTo>
                  <a:pt x="1682871" y="5876931"/>
                  <a:pt x="1658033" y="5867442"/>
                  <a:pt x="1648480" y="5846565"/>
                </a:cubicBezTo>
                <a:cubicBezTo>
                  <a:pt x="1646569" y="5840872"/>
                  <a:pt x="1644659" y="5835178"/>
                  <a:pt x="1644659" y="5829485"/>
                </a:cubicBezTo>
                <a:cubicBezTo>
                  <a:pt x="1644659" y="5812404"/>
                  <a:pt x="1654212" y="5797221"/>
                  <a:pt x="1669497" y="5789630"/>
                </a:cubicBezTo>
                <a:cubicBezTo>
                  <a:pt x="1669497" y="5789630"/>
                  <a:pt x="1669497" y="5789630"/>
                  <a:pt x="2009592" y="5635905"/>
                </a:cubicBezTo>
                <a:cubicBezTo>
                  <a:pt x="2014846" y="5633058"/>
                  <a:pt x="2020339" y="5631516"/>
                  <a:pt x="2025802" y="5631130"/>
                </a:cubicBezTo>
                <a:close/>
                <a:moveTo>
                  <a:pt x="3732520" y="5620423"/>
                </a:moveTo>
                <a:cubicBezTo>
                  <a:pt x="3742752" y="5624247"/>
                  <a:pt x="3751319" y="5631896"/>
                  <a:pt x="3756079" y="5642413"/>
                </a:cubicBezTo>
                <a:cubicBezTo>
                  <a:pt x="3765597" y="5665360"/>
                  <a:pt x="3756079" y="5690219"/>
                  <a:pt x="3735138" y="5699780"/>
                </a:cubicBezTo>
                <a:cubicBezTo>
                  <a:pt x="3735138" y="5699780"/>
                  <a:pt x="3735138" y="5699780"/>
                  <a:pt x="3396310" y="5854670"/>
                </a:cubicBezTo>
                <a:cubicBezTo>
                  <a:pt x="3373463" y="5864231"/>
                  <a:pt x="3348715" y="5854670"/>
                  <a:pt x="3339198" y="5833635"/>
                </a:cubicBezTo>
                <a:cubicBezTo>
                  <a:pt x="3337294" y="5827899"/>
                  <a:pt x="3335390" y="5820250"/>
                  <a:pt x="3335390" y="5814513"/>
                </a:cubicBezTo>
                <a:cubicBezTo>
                  <a:pt x="3335390" y="5799215"/>
                  <a:pt x="3344909" y="5783918"/>
                  <a:pt x="3360137" y="5776269"/>
                </a:cubicBezTo>
                <a:cubicBezTo>
                  <a:pt x="3360137" y="5776269"/>
                  <a:pt x="3360137" y="5776269"/>
                  <a:pt x="3698969" y="5621379"/>
                </a:cubicBezTo>
                <a:cubicBezTo>
                  <a:pt x="3710391" y="5616598"/>
                  <a:pt x="3722287" y="5616598"/>
                  <a:pt x="3732520" y="5620423"/>
                </a:cubicBezTo>
                <a:close/>
                <a:moveTo>
                  <a:pt x="2598307" y="5620423"/>
                </a:moveTo>
                <a:cubicBezTo>
                  <a:pt x="2608779" y="5624247"/>
                  <a:pt x="2617818" y="5631896"/>
                  <a:pt x="2622577" y="5642413"/>
                </a:cubicBezTo>
                <a:cubicBezTo>
                  <a:pt x="2632096" y="5665360"/>
                  <a:pt x="2622577" y="5690219"/>
                  <a:pt x="2601638" y="5699780"/>
                </a:cubicBezTo>
                <a:cubicBezTo>
                  <a:pt x="2601638" y="5699780"/>
                  <a:pt x="2601638" y="5699780"/>
                  <a:pt x="2262794" y="5854670"/>
                </a:cubicBezTo>
                <a:cubicBezTo>
                  <a:pt x="2239951" y="5864231"/>
                  <a:pt x="2215204" y="5854670"/>
                  <a:pt x="2205686" y="5833635"/>
                </a:cubicBezTo>
                <a:cubicBezTo>
                  <a:pt x="2203782" y="5827899"/>
                  <a:pt x="2201878" y="5820250"/>
                  <a:pt x="2201878" y="5814513"/>
                </a:cubicBezTo>
                <a:cubicBezTo>
                  <a:pt x="2201878" y="5799215"/>
                  <a:pt x="2211397" y="5783918"/>
                  <a:pt x="2226626" y="5776269"/>
                </a:cubicBezTo>
                <a:cubicBezTo>
                  <a:pt x="2226626" y="5776269"/>
                  <a:pt x="2226626" y="5776269"/>
                  <a:pt x="2565469" y="5621379"/>
                </a:cubicBezTo>
                <a:cubicBezTo>
                  <a:pt x="2575938" y="5616598"/>
                  <a:pt x="2587837" y="5616598"/>
                  <a:pt x="2598307" y="5620423"/>
                </a:cubicBezTo>
                <a:close/>
                <a:moveTo>
                  <a:pt x="3160334" y="5609267"/>
                </a:moveTo>
                <a:cubicBezTo>
                  <a:pt x="3170795" y="5613073"/>
                  <a:pt x="3179834" y="5620683"/>
                  <a:pt x="3184587" y="5631147"/>
                </a:cubicBezTo>
                <a:cubicBezTo>
                  <a:pt x="3194099" y="5653978"/>
                  <a:pt x="3184587" y="5678712"/>
                  <a:pt x="3161760" y="5688224"/>
                </a:cubicBezTo>
                <a:cubicBezTo>
                  <a:pt x="3161760" y="5688224"/>
                  <a:pt x="3161760" y="5688224"/>
                  <a:pt x="2823162" y="5840431"/>
                </a:cubicBezTo>
                <a:cubicBezTo>
                  <a:pt x="2800335" y="5849944"/>
                  <a:pt x="2775606" y="5840431"/>
                  <a:pt x="2766096" y="5817600"/>
                </a:cubicBezTo>
                <a:cubicBezTo>
                  <a:pt x="2764193" y="5811892"/>
                  <a:pt x="2762293" y="5806184"/>
                  <a:pt x="2762293" y="5800477"/>
                </a:cubicBezTo>
                <a:cubicBezTo>
                  <a:pt x="2762293" y="5783353"/>
                  <a:pt x="2771799" y="5768133"/>
                  <a:pt x="2787019" y="5760522"/>
                </a:cubicBezTo>
                <a:cubicBezTo>
                  <a:pt x="2787019" y="5760522"/>
                  <a:pt x="2787019" y="5760522"/>
                  <a:pt x="3127521" y="5610219"/>
                </a:cubicBezTo>
                <a:cubicBezTo>
                  <a:pt x="3137984" y="5605462"/>
                  <a:pt x="3149873" y="5605462"/>
                  <a:pt x="3160334" y="5609267"/>
                </a:cubicBezTo>
                <a:close/>
                <a:moveTo>
                  <a:pt x="9870770" y="5423698"/>
                </a:moveTo>
                <a:cubicBezTo>
                  <a:pt x="9879370" y="5426080"/>
                  <a:pt x="9887013" y="5431795"/>
                  <a:pt x="9891790" y="5439415"/>
                </a:cubicBezTo>
                <a:cubicBezTo>
                  <a:pt x="9901345" y="5456560"/>
                  <a:pt x="9895612" y="5479420"/>
                  <a:pt x="9878414" y="5488945"/>
                </a:cubicBezTo>
                <a:cubicBezTo>
                  <a:pt x="9878414" y="5488945"/>
                  <a:pt x="9878414" y="5488945"/>
                  <a:pt x="9542094" y="5683255"/>
                </a:cubicBezTo>
                <a:cubicBezTo>
                  <a:pt x="9524896" y="5692780"/>
                  <a:pt x="9501965" y="5687065"/>
                  <a:pt x="9492411" y="5669920"/>
                </a:cubicBezTo>
                <a:cubicBezTo>
                  <a:pt x="9490500" y="5664205"/>
                  <a:pt x="9488589" y="5658490"/>
                  <a:pt x="9488589" y="5650870"/>
                </a:cubicBezTo>
                <a:cubicBezTo>
                  <a:pt x="9488589" y="5639440"/>
                  <a:pt x="9494322" y="5628010"/>
                  <a:pt x="9505787" y="5620390"/>
                </a:cubicBezTo>
                <a:cubicBezTo>
                  <a:pt x="9505787" y="5620390"/>
                  <a:pt x="9505787" y="5620390"/>
                  <a:pt x="9844018" y="5427985"/>
                </a:cubicBezTo>
                <a:cubicBezTo>
                  <a:pt x="9852617" y="5422270"/>
                  <a:pt x="9862172" y="5421317"/>
                  <a:pt x="9870770" y="5423698"/>
                </a:cubicBezTo>
                <a:close/>
                <a:moveTo>
                  <a:pt x="10454072" y="5413206"/>
                </a:moveTo>
                <a:cubicBezTo>
                  <a:pt x="10463135" y="5415582"/>
                  <a:pt x="10471244" y="5421284"/>
                  <a:pt x="10476013" y="5429836"/>
                </a:cubicBezTo>
                <a:cubicBezTo>
                  <a:pt x="10485553" y="5446941"/>
                  <a:pt x="10479829" y="5469747"/>
                  <a:pt x="10460750" y="5479250"/>
                </a:cubicBezTo>
                <a:cubicBezTo>
                  <a:pt x="10460750" y="5479250"/>
                  <a:pt x="10460750" y="5479250"/>
                  <a:pt x="10123044" y="5667402"/>
                </a:cubicBezTo>
                <a:cubicBezTo>
                  <a:pt x="10105873" y="5676905"/>
                  <a:pt x="10084886" y="5671203"/>
                  <a:pt x="10075346" y="5654098"/>
                </a:cubicBezTo>
                <a:cubicBezTo>
                  <a:pt x="10071530" y="5648397"/>
                  <a:pt x="10069622" y="5642695"/>
                  <a:pt x="10069622" y="5636994"/>
                </a:cubicBezTo>
                <a:cubicBezTo>
                  <a:pt x="10069622" y="5623690"/>
                  <a:pt x="10077254" y="5610386"/>
                  <a:pt x="10088701" y="5604685"/>
                </a:cubicBezTo>
                <a:cubicBezTo>
                  <a:pt x="10088701" y="5604685"/>
                  <a:pt x="10088701" y="5604685"/>
                  <a:pt x="10426407" y="5416532"/>
                </a:cubicBezTo>
                <a:cubicBezTo>
                  <a:pt x="10434993" y="5411781"/>
                  <a:pt x="10445009" y="5410831"/>
                  <a:pt x="10454072" y="5413206"/>
                </a:cubicBezTo>
                <a:close/>
                <a:moveTo>
                  <a:pt x="9292639" y="5413206"/>
                </a:moveTo>
                <a:cubicBezTo>
                  <a:pt x="9301225" y="5415582"/>
                  <a:pt x="9308857" y="5421284"/>
                  <a:pt x="9313626" y="5429836"/>
                </a:cubicBezTo>
                <a:cubicBezTo>
                  <a:pt x="9325074" y="5446941"/>
                  <a:pt x="9317442" y="5469747"/>
                  <a:pt x="9300271" y="5479250"/>
                </a:cubicBezTo>
                <a:cubicBezTo>
                  <a:pt x="9300271" y="5479250"/>
                  <a:pt x="9300271" y="5479250"/>
                  <a:pt x="8962565" y="5667402"/>
                </a:cubicBezTo>
                <a:cubicBezTo>
                  <a:pt x="8945394" y="5676905"/>
                  <a:pt x="8922499" y="5671203"/>
                  <a:pt x="8912959" y="5654098"/>
                </a:cubicBezTo>
                <a:cubicBezTo>
                  <a:pt x="8911051" y="5648397"/>
                  <a:pt x="8909143" y="5642695"/>
                  <a:pt x="8909143" y="5636994"/>
                </a:cubicBezTo>
                <a:cubicBezTo>
                  <a:pt x="8909143" y="5623690"/>
                  <a:pt x="8914867" y="5610386"/>
                  <a:pt x="8928222" y="5604685"/>
                </a:cubicBezTo>
                <a:cubicBezTo>
                  <a:pt x="8928222" y="5604685"/>
                  <a:pt x="8928222" y="5604685"/>
                  <a:pt x="9265928" y="5416532"/>
                </a:cubicBezTo>
                <a:cubicBezTo>
                  <a:pt x="9274513" y="5411781"/>
                  <a:pt x="9284053" y="5410831"/>
                  <a:pt x="9292639" y="5413206"/>
                </a:cubicBezTo>
                <a:close/>
                <a:moveTo>
                  <a:pt x="11031715" y="5402102"/>
                </a:moveTo>
                <a:cubicBezTo>
                  <a:pt x="11041009" y="5404480"/>
                  <a:pt x="11049111" y="5410188"/>
                  <a:pt x="11053878" y="5418751"/>
                </a:cubicBezTo>
                <a:cubicBezTo>
                  <a:pt x="11063410" y="5437778"/>
                  <a:pt x="11055784" y="5460611"/>
                  <a:pt x="11038626" y="5470125"/>
                </a:cubicBezTo>
                <a:cubicBezTo>
                  <a:pt x="11038626" y="5470125"/>
                  <a:pt x="11038626" y="5470125"/>
                  <a:pt x="10701180" y="5654692"/>
                </a:cubicBezTo>
                <a:cubicBezTo>
                  <a:pt x="10682115" y="5664206"/>
                  <a:pt x="10661144" y="5658498"/>
                  <a:pt x="10649705" y="5639470"/>
                </a:cubicBezTo>
                <a:cubicBezTo>
                  <a:pt x="10647798" y="5633762"/>
                  <a:pt x="10645892" y="5628053"/>
                  <a:pt x="10645892" y="5622345"/>
                </a:cubicBezTo>
                <a:cubicBezTo>
                  <a:pt x="10645892" y="5609026"/>
                  <a:pt x="10653518" y="5595707"/>
                  <a:pt x="10664957" y="5589998"/>
                </a:cubicBezTo>
                <a:cubicBezTo>
                  <a:pt x="10664957" y="5589998"/>
                  <a:pt x="10664957" y="5589998"/>
                  <a:pt x="11002403" y="5405432"/>
                </a:cubicBezTo>
                <a:cubicBezTo>
                  <a:pt x="11011936" y="5400675"/>
                  <a:pt x="11022421" y="5399723"/>
                  <a:pt x="11031715" y="5402102"/>
                </a:cubicBezTo>
                <a:close/>
                <a:moveTo>
                  <a:pt x="8722109" y="5402102"/>
                </a:moveTo>
                <a:cubicBezTo>
                  <a:pt x="8731165" y="5404480"/>
                  <a:pt x="8739267" y="5410189"/>
                  <a:pt x="8744034" y="5418751"/>
                </a:cubicBezTo>
                <a:cubicBezTo>
                  <a:pt x="8753566" y="5437778"/>
                  <a:pt x="8747847" y="5460611"/>
                  <a:pt x="8728782" y="5470125"/>
                </a:cubicBezTo>
                <a:cubicBezTo>
                  <a:pt x="8728782" y="5470125"/>
                  <a:pt x="8728782" y="5470125"/>
                  <a:pt x="8391336" y="5654692"/>
                </a:cubicBezTo>
                <a:cubicBezTo>
                  <a:pt x="8374177" y="5664206"/>
                  <a:pt x="8351300" y="5658498"/>
                  <a:pt x="8341767" y="5639470"/>
                </a:cubicBezTo>
                <a:cubicBezTo>
                  <a:pt x="8337954" y="5633762"/>
                  <a:pt x="8336048" y="5628053"/>
                  <a:pt x="8336048" y="5622345"/>
                </a:cubicBezTo>
                <a:cubicBezTo>
                  <a:pt x="8336048" y="5609026"/>
                  <a:pt x="8343674" y="5595707"/>
                  <a:pt x="8355113" y="5589998"/>
                </a:cubicBezTo>
                <a:cubicBezTo>
                  <a:pt x="8355113" y="5589998"/>
                  <a:pt x="8355113" y="5589998"/>
                  <a:pt x="8694465" y="5405432"/>
                </a:cubicBezTo>
                <a:cubicBezTo>
                  <a:pt x="8703045" y="5400675"/>
                  <a:pt x="8713054" y="5399723"/>
                  <a:pt x="8722109" y="5402102"/>
                </a:cubicBezTo>
                <a:close/>
                <a:moveTo>
                  <a:pt x="11601635" y="5389647"/>
                </a:moveTo>
                <a:cubicBezTo>
                  <a:pt x="11610929" y="5392266"/>
                  <a:pt x="11619031" y="5398458"/>
                  <a:pt x="11623798" y="5407983"/>
                </a:cubicBezTo>
                <a:cubicBezTo>
                  <a:pt x="11633330" y="5427033"/>
                  <a:pt x="11627611" y="5449893"/>
                  <a:pt x="11608546" y="5459418"/>
                </a:cubicBezTo>
                <a:cubicBezTo>
                  <a:pt x="11608546" y="5459418"/>
                  <a:pt x="11608546" y="5459418"/>
                  <a:pt x="11271100" y="5638488"/>
                </a:cubicBezTo>
                <a:cubicBezTo>
                  <a:pt x="11252035" y="5649918"/>
                  <a:pt x="11229157" y="5642298"/>
                  <a:pt x="11219625" y="5623248"/>
                </a:cubicBezTo>
                <a:cubicBezTo>
                  <a:pt x="11215812" y="5617533"/>
                  <a:pt x="11215812" y="5611818"/>
                  <a:pt x="11215812" y="5606103"/>
                </a:cubicBezTo>
                <a:cubicBezTo>
                  <a:pt x="11215812" y="5592768"/>
                  <a:pt x="11221531" y="5579433"/>
                  <a:pt x="11234877" y="5571813"/>
                </a:cubicBezTo>
                <a:cubicBezTo>
                  <a:pt x="11234877" y="5571813"/>
                  <a:pt x="11234877" y="5571813"/>
                  <a:pt x="11572323" y="5392743"/>
                </a:cubicBezTo>
                <a:cubicBezTo>
                  <a:pt x="11581856" y="5387980"/>
                  <a:pt x="11592341" y="5387028"/>
                  <a:pt x="11601635" y="5389647"/>
                </a:cubicBezTo>
                <a:close/>
                <a:moveTo>
                  <a:pt x="8158325" y="5389647"/>
                </a:moveTo>
                <a:cubicBezTo>
                  <a:pt x="8167612" y="5392267"/>
                  <a:pt x="8175708" y="5398458"/>
                  <a:pt x="8180471" y="5407983"/>
                </a:cubicBezTo>
                <a:cubicBezTo>
                  <a:pt x="8189996" y="5427033"/>
                  <a:pt x="8182376" y="5449893"/>
                  <a:pt x="8165230" y="5459418"/>
                </a:cubicBezTo>
                <a:cubicBezTo>
                  <a:pt x="8165230" y="5459418"/>
                  <a:pt x="8165230" y="5459418"/>
                  <a:pt x="7826136" y="5638488"/>
                </a:cubicBezTo>
                <a:cubicBezTo>
                  <a:pt x="7808990" y="5649918"/>
                  <a:pt x="7786130" y="5642298"/>
                  <a:pt x="7774700" y="5623248"/>
                </a:cubicBezTo>
                <a:cubicBezTo>
                  <a:pt x="7772795" y="5617533"/>
                  <a:pt x="7770890" y="5611818"/>
                  <a:pt x="7770890" y="5606103"/>
                </a:cubicBezTo>
                <a:cubicBezTo>
                  <a:pt x="7770890" y="5592768"/>
                  <a:pt x="7778510" y="5579433"/>
                  <a:pt x="7791845" y="5571813"/>
                </a:cubicBezTo>
                <a:cubicBezTo>
                  <a:pt x="7791845" y="5571813"/>
                  <a:pt x="7791845" y="5571813"/>
                  <a:pt x="8129035" y="5392743"/>
                </a:cubicBezTo>
                <a:cubicBezTo>
                  <a:pt x="8138560" y="5387980"/>
                  <a:pt x="8149038" y="5387028"/>
                  <a:pt x="8158325" y="5389647"/>
                </a:cubicBezTo>
                <a:close/>
                <a:moveTo>
                  <a:pt x="12139750" y="5380043"/>
                </a:moveTo>
                <a:cubicBezTo>
                  <a:pt x="12139750" y="5380043"/>
                  <a:pt x="12139750" y="5380043"/>
                  <a:pt x="12139750" y="5467782"/>
                </a:cubicBezTo>
                <a:cubicBezTo>
                  <a:pt x="12139750" y="5467782"/>
                  <a:pt x="12139750" y="5467782"/>
                  <a:pt x="11833041" y="5626094"/>
                </a:cubicBezTo>
                <a:cubicBezTo>
                  <a:pt x="11813991" y="5635631"/>
                  <a:pt x="11791130" y="5628001"/>
                  <a:pt x="11781605" y="5608928"/>
                </a:cubicBezTo>
                <a:cubicBezTo>
                  <a:pt x="11777795" y="5603205"/>
                  <a:pt x="11777795" y="5597483"/>
                  <a:pt x="11777795" y="5591761"/>
                </a:cubicBezTo>
                <a:cubicBezTo>
                  <a:pt x="11777795" y="5578410"/>
                  <a:pt x="11785415" y="5565058"/>
                  <a:pt x="11798750" y="5557428"/>
                </a:cubicBezTo>
                <a:lnTo>
                  <a:pt x="12135940" y="5381950"/>
                </a:lnTo>
                <a:cubicBezTo>
                  <a:pt x="12137845" y="5381950"/>
                  <a:pt x="12139750" y="5380043"/>
                  <a:pt x="12139750" y="5380043"/>
                </a:cubicBezTo>
                <a:close/>
                <a:moveTo>
                  <a:pt x="7599540" y="5379505"/>
                </a:moveTo>
                <a:cubicBezTo>
                  <a:pt x="7608821" y="5382608"/>
                  <a:pt x="7616911" y="5389291"/>
                  <a:pt x="7621670" y="5398839"/>
                </a:cubicBezTo>
                <a:cubicBezTo>
                  <a:pt x="7631188" y="5417935"/>
                  <a:pt x="7623573" y="5440850"/>
                  <a:pt x="7604538" y="5450398"/>
                </a:cubicBezTo>
                <a:cubicBezTo>
                  <a:pt x="7604538" y="5450398"/>
                  <a:pt x="7604538" y="5450398"/>
                  <a:pt x="7267602" y="5626082"/>
                </a:cubicBezTo>
                <a:cubicBezTo>
                  <a:pt x="7248567" y="5635630"/>
                  <a:pt x="7225723" y="5627991"/>
                  <a:pt x="7214302" y="5608895"/>
                </a:cubicBezTo>
                <a:cubicBezTo>
                  <a:pt x="7212398" y="5603167"/>
                  <a:pt x="7210495" y="5597438"/>
                  <a:pt x="7210495" y="5591709"/>
                </a:cubicBezTo>
                <a:cubicBezTo>
                  <a:pt x="7210495" y="5578342"/>
                  <a:pt x="7218109" y="5564975"/>
                  <a:pt x="7231434" y="5557336"/>
                </a:cubicBezTo>
                <a:cubicBezTo>
                  <a:pt x="7231434" y="5557336"/>
                  <a:pt x="7231434" y="5557336"/>
                  <a:pt x="7570273" y="5381653"/>
                </a:cubicBezTo>
                <a:cubicBezTo>
                  <a:pt x="7579791" y="5376879"/>
                  <a:pt x="7590261" y="5376401"/>
                  <a:pt x="7599540" y="5379505"/>
                </a:cubicBezTo>
                <a:close/>
                <a:moveTo>
                  <a:pt x="7046905" y="5368357"/>
                </a:moveTo>
                <a:cubicBezTo>
                  <a:pt x="7056451" y="5371445"/>
                  <a:pt x="7065043" y="5378096"/>
                  <a:pt x="7070771" y="5387598"/>
                </a:cubicBezTo>
                <a:cubicBezTo>
                  <a:pt x="7080318" y="5406602"/>
                  <a:pt x="7072681" y="5431306"/>
                  <a:pt x="7051678" y="5440808"/>
                </a:cubicBezTo>
                <a:cubicBezTo>
                  <a:pt x="7051678" y="5440808"/>
                  <a:pt x="7051678" y="5440808"/>
                  <a:pt x="6713729" y="5611841"/>
                </a:cubicBezTo>
                <a:cubicBezTo>
                  <a:pt x="6694636" y="5621343"/>
                  <a:pt x="6669815" y="5613741"/>
                  <a:pt x="6660268" y="5594738"/>
                </a:cubicBezTo>
                <a:cubicBezTo>
                  <a:pt x="6656450" y="5589037"/>
                  <a:pt x="6656450" y="5581435"/>
                  <a:pt x="6656450" y="5575734"/>
                </a:cubicBezTo>
                <a:cubicBezTo>
                  <a:pt x="6656450" y="5562431"/>
                  <a:pt x="6664087" y="5547229"/>
                  <a:pt x="6677452" y="5541527"/>
                </a:cubicBezTo>
                <a:cubicBezTo>
                  <a:pt x="6677452" y="5541527"/>
                  <a:pt x="6677452" y="5541527"/>
                  <a:pt x="7017310" y="5370495"/>
                </a:cubicBezTo>
                <a:cubicBezTo>
                  <a:pt x="7026857" y="5365744"/>
                  <a:pt x="7037358" y="5365269"/>
                  <a:pt x="7046905" y="5368357"/>
                </a:cubicBezTo>
                <a:close/>
                <a:moveTo>
                  <a:pt x="6501958" y="5357490"/>
                </a:moveTo>
                <a:cubicBezTo>
                  <a:pt x="6511491" y="5360820"/>
                  <a:pt x="6519593" y="5367955"/>
                  <a:pt x="6524359" y="5378420"/>
                </a:cubicBezTo>
                <a:cubicBezTo>
                  <a:pt x="6535798" y="5397446"/>
                  <a:pt x="6526266" y="5422181"/>
                  <a:pt x="6507201" y="5431695"/>
                </a:cubicBezTo>
                <a:cubicBezTo>
                  <a:pt x="6507201" y="5431695"/>
                  <a:pt x="6507201" y="5431695"/>
                  <a:pt x="6167854" y="5597227"/>
                </a:cubicBezTo>
                <a:cubicBezTo>
                  <a:pt x="6148790" y="5608643"/>
                  <a:pt x="6124006" y="5599129"/>
                  <a:pt x="6114474" y="5580103"/>
                </a:cubicBezTo>
                <a:cubicBezTo>
                  <a:pt x="6110661" y="5574395"/>
                  <a:pt x="6108755" y="5568687"/>
                  <a:pt x="6108755" y="5561076"/>
                </a:cubicBezTo>
                <a:cubicBezTo>
                  <a:pt x="6108755" y="5547757"/>
                  <a:pt x="6118287" y="5532536"/>
                  <a:pt x="6131632" y="5524925"/>
                </a:cubicBezTo>
                <a:cubicBezTo>
                  <a:pt x="6131632" y="5524925"/>
                  <a:pt x="6131632" y="5524925"/>
                  <a:pt x="6470979" y="5359393"/>
                </a:cubicBezTo>
                <a:cubicBezTo>
                  <a:pt x="6481464" y="5354637"/>
                  <a:pt x="6492426" y="5354161"/>
                  <a:pt x="6501958" y="5357490"/>
                </a:cubicBezTo>
                <a:close/>
                <a:moveTo>
                  <a:pt x="5956806" y="5347061"/>
                </a:moveTo>
                <a:cubicBezTo>
                  <a:pt x="5966814" y="5350615"/>
                  <a:pt x="5975394" y="5357723"/>
                  <a:pt x="5980159" y="5367201"/>
                </a:cubicBezTo>
                <a:cubicBezTo>
                  <a:pt x="5989691" y="5388051"/>
                  <a:pt x="5980159" y="5412693"/>
                  <a:pt x="5961095" y="5422171"/>
                </a:cubicBezTo>
                <a:cubicBezTo>
                  <a:pt x="5961095" y="5422171"/>
                  <a:pt x="5961095" y="5422171"/>
                  <a:pt x="5621756" y="5583290"/>
                </a:cubicBezTo>
                <a:cubicBezTo>
                  <a:pt x="5600786" y="5592768"/>
                  <a:pt x="5576003" y="5585186"/>
                  <a:pt x="5566471" y="5564335"/>
                </a:cubicBezTo>
                <a:cubicBezTo>
                  <a:pt x="5562659" y="5558648"/>
                  <a:pt x="5562659" y="5552962"/>
                  <a:pt x="5562659" y="5547275"/>
                </a:cubicBezTo>
                <a:cubicBezTo>
                  <a:pt x="5562659" y="5532111"/>
                  <a:pt x="5570284" y="5516947"/>
                  <a:pt x="5585535" y="5509365"/>
                </a:cubicBezTo>
                <a:cubicBezTo>
                  <a:pt x="5585535" y="5509365"/>
                  <a:pt x="5585535" y="5509365"/>
                  <a:pt x="5924873" y="5348245"/>
                </a:cubicBezTo>
                <a:cubicBezTo>
                  <a:pt x="5935358" y="5343507"/>
                  <a:pt x="5946797" y="5343507"/>
                  <a:pt x="5956806" y="5347061"/>
                </a:cubicBezTo>
                <a:close/>
                <a:moveTo>
                  <a:pt x="398204" y="5347061"/>
                </a:moveTo>
                <a:cubicBezTo>
                  <a:pt x="407975" y="5350615"/>
                  <a:pt x="416554" y="5357723"/>
                  <a:pt x="422273" y="5367201"/>
                </a:cubicBezTo>
                <a:cubicBezTo>
                  <a:pt x="431805" y="5388051"/>
                  <a:pt x="422273" y="5412693"/>
                  <a:pt x="401302" y="5422171"/>
                </a:cubicBezTo>
                <a:cubicBezTo>
                  <a:pt x="401302" y="5422171"/>
                  <a:pt x="401302" y="5422171"/>
                  <a:pt x="63863" y="5583290"/>
                </a:cubicBezTo>
                <a:cubicBezTo>
                  <a:pt x="42892" y="5592768"/>
                  <a:pt x="18108" y="5585186"/>
                  <a:pt x="8576" y="5564335"/>
                </a:cubicBezTo>
                <a:cubicBezTo>
                  <a:pt x="4763" y="5558648"/>
                  <a:pt x="4763" y="5552962"/>
                  <a:pt x="4763" y="5547275"/>
                </a:cubicBezTo>
                <a:cubicBezTo>
                  <a:pt x="4763" y="5532111"/>
                  <a:pt x="12389" y="5516947"/>
                  <a:pt x="27641" y="5509365"/>
                </a:cubicBezTo>
                <a:cubicBezTo>
                  <a:pt x="27641" y="5509365"/>
                  <a:pt x="27641" y="5509365"/>
                  <a:pt x="366986" y="5348245"/>
                </a:cubicBezTo>
                <a:cubicBezTo>
                  <a:pt x="377472" y="5343507"/>
                  <a:pt x="388434" y="5343507"/>
                  <a:pt x="398204" y="5347061"/>
                </a:cubicBezTo>
                <a:close/>
                <a:moveTo>
                  <a:pt x="5409026" y="5334662"/>
                </a:moveTo>
                <a:cubicBezTo>
                  <a:pt x="5419064" y="5338481"/>
                  <a:pt x="5427669" y="5346121"/>
                  <a:pt x="5432448" y="5356624"/>
                </a:cubicBezTo>
                <a:cubicBezTo>
                  <a:pt x="5442009" y="5377632"/>
                  <a:pt x="5432448" y="5402459"/>
                  <a:pt x="5411416" y="5412008"/>
                </a:cubicBezTo>
                <a:cubicBezTo>
                  <a:pt x="5411416" y="5412008"/>
                  <a:pt x="5411416" y="5412008"/>
                  <a:pt x="5071065" y="5570519"/>
                </a:cubicBezTo>
                <a:cubicBezTo>
                  <a:pt x="5050035" y="5580068"/>
                  <a:pt x="5025180" y="5570519"/>
                  <a:pt x="5015620" y="5549511"/>
                </a:cubicBezTo>
                <a:cubicBezTo>
                  <a:pt x="5011797" y="5543782"/>
                  <a:pt x="5011797" y="5538053"/>
                  <a:pt x="5011797" y="5532323"/>
                </a:cubicBezTo>
                <a:cubicBezTo>
                  <a:pt x="5011797" y="5515135"/>
                  <a:pt x="5021357" y="5499857"/>
                  <a:pt x="5036652" y="5494128"/>
                </a:cubicBezTo>
                <a:cubicBezTo>
                  <a:pt x="5036652" y="5494128"/>
                  <a:pt x="5036652" y="5494128"/>
                  <a:pt x="5377000" y="5335617"/>
                </a:cubicBezTo>
                <a:cubicBezTo>
                  <a:pt x="5387516" y="5330842"/>
                  <a:pt x="5398989" y="5330842"/>
                  <a:pt x="5409026" y="5334662"/>
                </a:cubicBezTo>
                <a:close/>
                <a:moveTo>
                  <a:pt x="941871" y="5334662"/>
                </a:moveTo>
                <a:cubicBezTo>
                  <a:pt x="951873" y="5338481"/>
                  <a:pt x="960445" y="5346121"/>
                  <a:pt x="965208" y="5356624"/>
                </a:cubicBezTo>
                <a:cubicBezTo>
                  <a:pt x="974733" y="5377632"/>
                  <a:pt x="967113" y="5402459"/>
                  <a:pt x="946158" y="5412008"/>
                </a:cubicBezTo>
                <a:cubicBezTo>
                  <a:pt x="946158" y="5412008"/>
                  <a:pt x="946158" y="5412008"/>
                  <a:pt x="605159" y="5570519"/>
                </a:cubicBezTo>
                <a:cubicBezTo>
                  <a:pt x="584203" y="5580068"/>
                  <a:pt x="559438" y="5570519"/>
                  <a:pt x="549913" y="5549511"/>
                </a:cubicBezTo>
                <a:cubicBezTo>
                  <a:pt x="548008" y="5543782"/>
                  <a:pt x="546103" y="5538053"/>
                  <a:pt x="546103" y="5532323"/>
                </a:cubicBezTo>
                <a:cubicBezTo>
                  <a:pt x="546103" y="5515135"/>
                  <a:pt x="555628" y="5499857"/>
                  <a:pt x="570868" y="5494128"/>
                </a:cubicBezTo>
                <a:cubicBezTo>
                  <a:pt x="570868" y="5494128"/>
                  <a:pt x="570868" y="5494128"/>
                  <a:pt x="909962" y="5335617"/>
                </a:cubicBezTo>
                <a:cubicBezTo>
                  <a:pt x="920440" y="5330842"/>
                  <a:pt x="931870" y="5330842"/>
                  <a:pt x="941871" y="5334662"/>
                </a:cubicBezTo>
                <a:close/>
                <a:moveTo>
                  <a:pt x="4854192" y="5323799"/>
                </a:moveTo>
                <a:cubicBezTo>
                  <a:pt x="4864654" y="5327862"/>
                  <a:pt x="4873693" y="5335989"/>
                  <a:pt x="4878448" y="5347462"/>
                </a:cubicBezTo>
                <a:cubicBezTo>
                  <a:pt x="4887962" y="5368497"/>
                  <a:pt x="4878448" y="5393356"/>
                  <a:pt x="4855617" y="5402917"/>
                </a:cubicBezTo>
                <a:cubicBezTo>
                  <a:pt x="4855617" y="5402917"/>
                  <a:pt x="4855617" y="5402917"/>
                  <a:pt x="4517030" y="5555894"/>
                </a:cubicBezTo>
                <a:cubicBezTo>
                  <a:pt x="4496104" y="5567368"/>
                  <a:pt x="4471375" y="5557807"/>
                  <a:pt x="4459961" y="5534860"/>
                </a:cubicBezTo>
                <a:cubicBezTo>
                  <a:pt x="4458059" y="5529123"/>
                  <a:pt x="4456156" y="5523387"/>
                  <a:pt x="4456156" y="5517650"/>
                </a:cubicBezTo>
                <a:cubicBezTo>
                  <a:pt x="4456156" y="5500440"/>
                  <a:pt x="4465668" y="5485142"/>
                  <a:pt x="4482788" y="5477493"/>
                </a:cubicBezTo>
                <a:cubicBezTo>
                  <a:pt x="4482788" y="5477493"/>
                  <a:pt x="4482788" y="5477493"/>
                  <a:pt x="4821375" y="5324516"/>
                </a:cubicBezTo>
                <a:cubicBezTo>
                  <a:pt x="4831836" y="5319735"/>
                  <a:pt x="4843727" y="5319735"/>
                  <a:pt x="4854192" y="5323799"/>
                </a:cubicBezTo>
                <a:close/>
                <a:moveTo>
                  <a:pt x="1489585" y="5323799"/>
                </a:moveTo>
                <a:cubicBezTo>
                  <a:pt x="1499579" y="5327862"/>
                  <a:pt x="1508145" y="5335989"/>
                  <a:pt x="1512904" y="5347462"/>
                </a:cubicBezTo>
                <a:cubicBezTo>
                  <a:pt x="1522422" y="5368497"/>
                  <a:pt x="1512904" y="5393356"/>
                  <a:pt x="1491964" y="5402917"/>
                </a:cubicBezTo>
                <a:cubicBezTo>
                  <a:pt x="1491964" y="5402917"/>
                  <a:pt x="1491964" y="5402917"/>
                  <a:pt x="1153121" y="5555894"/>
                </a:cubicBezTo>
                <a:cubicBezTo>
                  <a:pt x="1130277" y="5567368"/>
                  <a:pt x="1105530" y="5557807"/>
                  <a:pt x="1096012" y="5534860"/>
                </a:cubicBezTo>
                <a:cubicBezTo>
                  <a:pt x="1094109" y="5529123"/>
                  <a:pt x="1092205" y="5523387"/>
                  <a:pt x="1092205" y="5517650"/>
                </a:cubicBezTo>
                <a:cubicBezTo>
                  <a:pt x="1092205" y="5500440"/>
                  <a:pt x="1101723" y="5485142"/>
                  <a:pt x="1116952" y="5477493"/>
                </a:cubicBezTo>
                <a:cubicBezTo>
                  <a:pt x="1116952" y="5477493"/>
                  <a:pt x="1116952" y="5477493"/>
                  <a:pt x="1457699" y="5324516"/>
                </a:cubicBezTo>
                <a:cubicBezTo>
                  <a:pt x="1468169" y="5319735"/>
                  <a:pt x="1479591" y="5319735"/>
                  <a:pt x="1489585" y="5323799"/>
                </a:cubicBezTo>
                <a:close/>
                <a:moveTo>
                  <a:pt x="4281187" y="5309975"/>
                </a:moveTo>
                <a:cubicBezTo>
                  <a:pt x="4298281" y="5310153"/>
                  <a:pt x="4314033" y="5320512"/>
                  <a:pt x="4321192" y="5336228"/>
                </a:cubicBezTo>
                <a:cubicBezTo>
                  <a:pt x="4330738" y="5359088"/>
                  <a:pt x="4321192" y="5383853"/>
                  <a:pt x="4298281" y="5395283"/>
                </a:cubicBezTo>
                <a:cubicBezTo>
                  <a:pt x="4298281" y="5395283"/>
                  <a:pt x="4298281" y="5395283"/>
                  <a:pt x="3958460" y="5541968"/>
                </a:cubicBezTo>
                <a:cubicBezTo>
                  <a:pt x="3935549" y="5551493"/>
                  <a:pt x="3910729" y="5541968"/>
                  <a:pt x="3901183" y="5519108"/>
                </a:cubicBezTo>
                <a:cubicBezTo>
                  <a:pt x="3897363" y="5513393"/>
                  <a:pt x="3897363" y="5507678"/>
                  <a:pt x="3897363" y="5501963"/>
                </a:cubicBezTo>
                <a:cubicBezTo>
                  <a:pt x="3897363" y="5484818"/>
                  <a:pt x="3906908" y="5469578"/>
                  <a:pt x="3924095" y="5461958"/>
                </a:cubicBezTo>
                <a:cubicBezTo>
                  <a:pt x="3924095" y="5461958"/>
                  <a:pt x="3924095" y="5461958"/>
                  <a:pt x="4263914" y="5313368"/>
                </a:cubicBezTo>
                <a:cubicBezTo>
                  <a:pt x="4269641" y="5310987"/>
                  <a:pt x="4275488" y="5309915"/>
                  <a:pt x="4281187" y="5309975"/>
                </a:cubicBezTo>
                <a:close/>
                <a:moveTo>
                  <a:pt x="2026929" y="5309974"/>
                </a:moveTo>
                <a:cubicBezTo>
                  <a:pt x="2044546" y="5310153"/>
                  <a:pt x="2061364" y="5320511"/>
                  <a:pt x="2068518" y="5336228"/>
                </a:cubicBezTo>
                <a:cubicBezTo>
                  <a:pt x="2078057" y="5359088"/>
                  <a:pt x="2066610" y="5383853"/>
                  <a:pt x="2045620" y="5395283"/>
                </a:cubicBezTo>
                <a:cubicBezTo>
                  <a:pt x="2045620" y="5395283"/>
                  <a:pt x="2045620" y="5395283"/>
                  <a:pt x="1704121" y="5541968"/>
                </a:cubicBezTo>
                <a:cubicBezTo>
                  <a:pt x="1683136" y="5551493"/>
                  <a:pt x="1656426" y="5541968"/>
                  <a:pt x="1646887" y="5519108"/>
                </a:cubicBezTo>
                <a:cubicBezTo>
                  <a:pt x="1644979" y="5513393"/>
                  <a:pt x="1643071" y="5507678"/>
                  <a:pt x="1643071" y="5501963"/>
                </a:cubicBezTo>
                <a:cubicBezTo>
                  <a:pt x="1643071" y="5484818"/>
                  <a:pt x="1652611" y="5469578"/>
                  <a:pt x="1669781" y="5461958"/>
                </a:cubicBezTo>
                <a:cubicBezTo>
                  <a:pt x="1669781" y="5461958"/>
                  <a:pt x="1669781" y="5461958"/>
                  <a:pt x="2009371" y="5313368"/>
                </a:cubicBezTo>
                <a:cubicBezTo>
                  <a:pt x="2015094" y="5310986"/>
                  <a:pt x="2021056" y="5309915"/>
                  <a:pt x="2026929" y="5309974"/>
                </a:cubicBezTo>
                <a:close/>
                <a:moveTo>
                  <a:pt x="3719254" y="5298899"/>
                </a:moveTo>
                <a:cubicBezTo>
                  <a:pt x="3736338" y="5299168"/>
                  <a:pt x="3752077" y="5309897"/>
                  <a:pt x="3759233" y="5327064"/>
                </a:cubicBezTo>
                <a:cubicBezTo>
                  <a:pt x="3768773" y="5349954"/>
                  <a:pt x="3759233" y="5376658"/>
                  <a:pt x="3736338" y="5386196"/>
                </a:cubicBezTo>
                <a:cubicBezTo>
                  <a:pt x="3736338" y="5386196"/>
                  <a:pt x="3736338" y="5386196"/>
                  <a:pt x="3394855" y="5529255"/>
                </a:cubicBezTo>
                <a:cubicBezTo>
                  <a:pt x="3371961" y="5538793"/>
                  <a:pt x="3347156" y="5527348"/>
                  <a:pt x="3337618" y="5504458"/>
                </a:cubicBezTo>
                <a:cubicBezTo>
                  <a:pt x="3333805" y="5498736"/>
                  <a:pt x="3333805" y="5493014"/>
                  <a:pt x="3333805" y="5487291"/>
                </a:cubicBezTo>
                <a:cubicBezTo>
                  <a:pt x="3333805" y="5470124"/>
                  <a:pt x="3343343" y="5454864"/>
                  <a:pt x="3360512" y="5447234"/>
                </a:cubicBezTo>
                <a:cubicBezTo>
                  <a:pt x="3360512" y="5447234"/>
                  <a:pt x="3360512" y="5447234"/>
                  <a:pt x="3701998" y="5302267"/>
                </a:cubicBezTo>
                <a:cubicBezTo>
                  <a:pt x="3707720" y="5299883"/>
                  <a:pt x="3713563" y="5298810"/>
                  <a:pt x="3719254" y="5298899"/>
                </a:cubicBezTo>
                <a:close/>
                <a:moveTo>
                  <a:pt x="2583547" y="5298899"/>
                </a:moveTo>
                <a:cubicBezTo>
                  <a:pt x="2600298" y="5299168"/>
                  <a:pt x="2617051" y="5309897"/>
                  <a:pt x="2624178" y="5327064"/>
                </a:cubicBezTo>
                <a:cubicBezTo>
                  <a:pt x="2633682" y="5349954"/>
                  <a:pt x="2624178" y="5376658"/>
                  <a:pt x="2601368" y="5386196"/>
                </a:cubicBezTo>
                <a:cubicBezTo>
                  <a:pt x="2601368" y="5386196"/>
                  <a:pt x="2601368" y="5386196"/>
                  <a:pt x="2261117" y="5529255"/>
                </a:cubicBezTo>
                <a:cubicBezTo>
                  <a:pt x="2238307" y="5538793"/>
                  <a:pt x="2213596" y="5527348"/>
                  <a:pt x="2204092" y="5504458"/>
                </a:cubicBezTo>
                <a:cubicBezTo>
                  <a:pt x="2200290" y="5498736"/>
                  <a:pt x="2200290" y="5493014"/>
                  <a:pt x="2200290" y="5487291"/>
                </a:cubicBezTo>
                <a:cubicBezTo>
                  <a:pt x="2200290" y="5470124"/>
                  <a:pt x="2209794" y="5454864"/>
                  <a:pt x="2226902" y="5447234"/>
                </a:cubicBezTo>
                <a:cubicBezTo>
                  <a:pt x="2226902" y="5447234"/>
                  <a:pt x="2226902" y="5447234"/>
                  <a:pt x="2567153" y="5302267"/>
                </a:cubicBezTo>
                <a:cubicBezTo>
                  <a:pt x="2572380" y="5299883"/>
                  <a:pt x="2577964" y="5298810"/>
                  <a:pt x="2583547" y="5298899"/>
                </a:cubicBezTo>
                <a:close/>
                <a:moveTo>
                  <a:pt x="3161733" y="5292230"/>
                </a:moveTo>
                <a:cubicBezTo>
                  <a:pt x="3172419" y="5296505"/>
                  <a:pt x="3181440" y="5305055"/>
                  <a:pt x="3186189" y="5317405"/>
                </a:cubicBezTo>
                <a:cubicBezTo>
                  <a:pt x="3195686" y="5340205"/>
                  <a:pt x="3184291" y="5366805"/>
                  <a:pt x="3161496" y="5376305"/>
                </a:cubicBezTo>
                <a:cubicBezTo>
                  <a:pt x="3161496" y="5376305"/>
                  <a:pt x="3161496" y="5376305"/>
                  <a:pt x="2821486" y="5515005"/>
                </a:cubicBezTo>
                <a:cubicBezTo>
                  <a:pt x="2798693" y="5524505"/>
                  <a:pt x="2772099" y="5513105"/>
                  <a:pt x="2762605" y="5488405"/>
                </a:cubicBezTo>
                <a:cubicBezTo>
                  <a:pt x="2760704" y="5484605"/>
                  <a:pt x="2760704" y="5477005"/>
                  <a:pt x="2760704" y="5471305"/>
                </a:cubicBezTo>
                <a:cubicBezTo>
                  <a:pt x="2760704" y="5454205"/>
                  <a:pt x="2770200" y="5437105"/>
                  <a:pt x="2787294" y="5429505"/>
                </a:cubicBezTo>
                <a:cubicBezTo>
                  <a:pt x="2787294" y="5429505"/>
                  <a:pt x="2787294" y="5429505"/>
                  <a:pt x="3127304" y="5292705"/>
                </a:cubicBezTo>
                <a:cubicBezTo>
                  <a:pt x="3138702" y="5287955"/>
                  <a:pt x="3151048" y="5287955"/>
                  <a:pt x="3161733" y="5292230"/>
                </a:cubicBezTo>
                <a:close/>
                <a:moveTo>
                  <a:pt x="9868289" y="5096095"/>
                </a:moveTo>
                <a:cubicBezTo>
                  <a:pt x="9876611" y="5097754"/>
                  <a:pt x="9884219" y="5102496"/>
                  <a:pt x="9888974" y="5110082"/>
                </a:cubicBezTo>
                <a:cubicBezTo>
                  <a:pt x="9896582" y="5125253"/>
                  <a:pt x="9892778" y="5146115"/>
                  <a:pt x="9877562" y="5155597"/>
                </a:cubicBezTo>
                <a:cubicBezTo>
                  <a:pt x="9877562" y="5155597"/>
                  <a:pt x="9877562" y="5155597"/>
                  <a:pt x="9542804" y="5364209"/>
                </a:cubicBezTo>
                <a:cubicBezTo>
                  <a:pt x="9527588" y="5373692"/>
                  <a:pt x="9506665" y="5368002"/>
                  <a:pt x="9497155" y="5352831"/>
                </a:cubicBezTo>
                <a:cubicBezTo>
                  <a:pt x="9493351" y="5347141"/>
                  <a:pt x="9493351" y="5341452"/>
                  <a:pt x="9493351" y="5335762"/>
                </a:cubicBezTo>
                <a:cubicBezTo>
                  <a:pt x="9493351" y="5324383"/>
                  <a:pt x="9497155" y="5314901"/>
                  <a:pt x="9508567" y="5307315"/>
                </a:cubicBezTo>
                <a:cubicBezTo>
                  <a:pt x="9508567" y="5307315"/>
                  <a:pt x="9508567" y="5307315"/>
                  <a:pt x="9843325" y="5100599"/>
                </a:cubicBezTo>
                <a:cubicBezTo>
                  <a:pt x="9850933" y="5095858"/>
                  <a:pt x="9859968" y="5094436"/>
                  <a:pt x="9868289" y="5096095"/>
                </a:cubicBezTo>
                <a:close/>
                <a:moveTo>
                  <a:pt x="10452111" y="5084390"/>
                </a:moveTo>
                <a:cubicBezTo>
                  <a:pt x="10460452" y="5086541"/>
                  <a:pt x="10468078" y="5091797"/>
                  <a:pt x="10472844" y="5099443"/>
                </a:cubicBezTo>
                <a:cubicBezTo>
                  <a:pt x="10482377" y="5116646"/>
                  <a:pt x="10476657" y="5137673"/>
                  <a:pt x="10461405" y="5147230"/>
                </a:cubicBezTo>
                <a:cubicBezTo>
                  <a:pt x="10461405" y="5147230"/>
                  <a:pt x="10461405" y="5147230"/>
                  <a:pt x="10125860" y="5349847"/>
                </a:cubicBezTo>
                <a:cubicBezTo>
                  <a:pt x="10108701" y="5359405"/>
                  <a:pt x="10087730" y="5353670"/>
                  <a:pt x="10078197" y="5338378"/>
                </a:cubicBezTo>
                <a:cubicBezTo>
                  <a:pt x="10074384" y="5332644"/>
                  <a:pt x="10074384" y="5326910"/>
                  <a:pt x="10074384" y="5321175"/>
                </a:cubicBezTo>
                <a:cubicBezTo>
                  <a:pt x="10074384" y="5309706"/>
                  <a:pt x="10080104" y="5298237"/>
                  <a:pt x="10089636" y="5290591"/>
                </a:cubicBezTo>
                <a:cubicBezTo>
                  <a:pt x="10089636" y="5290591"/>
                  <a:pt x="10089636" y="5290591"/>
                  <a:pt x="10427088" y="5087974"/>
                </a:cubicBezTo>
                <a:cubicBezTo>
                  <a:pt x="10434714" y="5083196"/>
                  <a:pt x="10443770" y="5082240"/>
                  <a:pt x="10452111" y="5084390"/>
                </a:cubicBezTo>
                <a:close/>
                <a:moveTo>
                  <a:pt x="9291418" y="5084390"/>
                </a:moveTo>
                <a:cubicBezTo>
                  <a:pt x="9299991" y="5086541"/>
                  <a:pt x="9307611" y="5091797"/>
                  <a:pt x="9312374" y="5099443"/>
                </a:cubicBezTo>
                <a:cubicBezTo>
                  <a:pt x="9321899" y="5116646"/>
                  <a:pt x="9316184" y="5137673"/>
                  <a:pt x="9300944" y="5147230"/>
                </a:cubicBezTo>
                <a:cubicBezTo>
                  <a:pt x="9300944" y="5147230"/>
                  <a:pt x="9300944" y="5147230"/>
                  <a:pt x="8963754" y="5349847"/>
                </a:cubicBezTo>
                <a:cubicBezTo>
                  <a:pt x="8948514" y="5359405"/>
                  <a:pt x="8927558" y="5353670"/>
                  <a:pt x="8918033" y="5338378"/>
                </a:cubicBezTo>
                <a:cubicBezTo>
                  <a:pt x="8914223" y="5332644"/>
                  <a:pt x="8912318" y="5326910"/>
                  <a:pt x="8912318" y="5321175"/>
                </a:cubicBezTo>
                <a:cubicBezTo>
                  <a:pt x="8912318" y="5309706"/>
                  <a:pt x="8918033" y="5298237"/>
                  <a:pt x="8929463" y="5290591"/>
                </a:cubicBezTo>
                <a:cubicBezTo>
                  <a:pt x="8929463" y="5290591"/>
                  <a:pt x="8929463" y="5290591"/>
                  <a:pt x="9264748" y="5087974"/>
                </a:cubicBezTo>
                <a:cubicBezTo>
                  <a:pt x="9273320" y="5083196"/>
                  <a:pt x="9282846" y="5082240"/>
                  <a:pt x="9291418" y="5084390"/>
                </a:cubicBezTo>
                <a:close/>
                <a:moveTo>
                  <a:pt x="11029363" y="5075090"/>
                </a:moveTo>
                <a:cubicBezTo>
                  <a:pt x="11037955" y="5077474"/>
                  <a:pt x="11045593" y="5083196"/>
                  <a:pt x="11050367" y="5091778"/>
                </a:cubicBezTo>
                <a:cubicBezTo>
                  <a:pt x="11061823" y="5107036"/>
                  <a:pt x="11056095" y="5129922"/>
                  <a:pt x="11038910" y="5139458"/>
                </a:cubicBezTo>
                <a:cubicBezTo>
                  <a:pt x="11038910" y="5139458"/>
                  <a:pt x="11038910" y="5139458"/>
                  <a:pt x="10700944" y="5333994"/>
                </a:cubicBezTo>
                <a:cubicBezTo>
                  <a:pt x="10683759" y="5343530"/>
                  <a:pt x="10662755" y="5337808"/>
                  <a:pt x="10653208" y="5320643"/>
                </a:cubicBezTo>
                <a:cubicBezTo>
                  <a:pt x="10649389" y="5314922"/>
                  <a:pt x="10647480" y="5309200"/>
                  <a:pt x="10647480" y="5303478"/>
                </a:cubicBezTo>
                <a:cubicBezTo>
                  <a:pt x="10647480" y="5292035"/>
                  <a:pt x="10655118" y="5280592"/>
                  <a:pt x="10664665" y="5272963"/>
                </a:cubicBezTo>
                <a:cubicBezTo>
                  <a:pt x="10664665" y="5272963"/>
                  <a:pt x="10664665" y="5272963"/>
                  <a:pt x="11002631" y="5078428"/>
                </a:cubicBezTo>
                <a:cubicBezTo>
                  <a:pt x="11011223" y="5073660"/>
                  <a:pt x="11020770" y="5072706"/>
                  <a:pt x="11029363" y="5075090"/>
                </a:cubicBezTo>
                <a:close/>
                <a:moveTo>
                  <a:pt x="8719756" y="5075090"/>
                </a:moveTo>
                <a:cubicBezTo>
                  <a:pt x="8728587" y="5077474"/>
                  <a:pt x="8736703" y="5083196"/>
                  <a:pt x="8742431" y="5091778"/>
                </a:cubicBezTo>
                <a:cubicBezTo>
                  <a:pt x="8751978" y="5107036"/>
                  <a:pt x="8746250" y="5129922"/>
                  <a:pt x="8729065" y="5139458"/>
                </a:cubicBezTo>
                <a:cubicBezTo>
                  <a:pt x="8729065" y="5139458"/>
                  <a:pt x="8729065" y="5139458"/>
                  <a:pt x="8391099" y="5333994"/>
                </a:cubicBezTo>
                <a:cubicBezTo>
                  <a:pt x="8373914" y="5343530"/>
                  <a:pt x="8352910" y="5337808"/>
                  <a:pt x="8343363" y="5320643"/>
                </a:cubicBezTo>
                <a:cubicBezTo>
                  <a:pt x="8339544" y="5314922"/>
                  <a:pt x="8337635" y="5309200"/>
                  <a:pt x="8337635" y="5303478"/>
                </a:cubicBezTo>
                <a:cubicBezTo>
                  <a:pt x="8337635" y="5292035"/>
                  <a:pt x="8345273" y="5280592"/>
                  <a:pt x="8356729" y="5272963"/>
                </a:cubicBezTo>
                <a:cubicBezTo>
                  <a:pt x="8356729" y="5272963"/>
                  <a:pt x="8356729" y="5272963"/>
                  <a:pt x="8692786" y="5078428"/>
                </a:cubicBezTo>
                <a:cubicBezTo>
                  <a:pt x="8701378" y="5073660"/>
                  <a:pt x="8710925" y="5072706"/>
                  <a:pt x="8719756" y="5075090"/>
                </a:cubicBezTo>
                <a:close/>
                <a:moveTo>
                  <a:pt x="11600954" y="5064224"/>
                </a:moveTo>
                <a:cubicBezTo>
                  <a:pt x="11609785" y="5066850"/>
                  <a:pt x="11617423" y="5073055"/>
                  <a:pt x="11622196" y="5082602"/>
                </a:cubicBezTo>
                <a:cubicBezTo>
                  <a:pt x="11631743" y="5099787"/>
                  <a:pt x="11626015" y="5120791"/>
                  <a:pt x="11608830" y="5132248"/>
                </a:cubicBezTo>
                <a:cubicBezTo>
                  <a:pt x="11608830" y="5132248"/>
                  <a:pt x="11608830" y="5132248"/>
                  <a:pt x="11270864" y="5319373"/>
                </a:cubicBezTo>
                <a:cubicBezTo>
                  <a:pt x="11253679" y="5330830"/>
                  <a:pt x="11230766" y="5323192"/>
                  <a:pt x="11221219" y="5306007"/>
                </a:cubicBezTo>
                <a:cubicBezTo>
                  <a:pt x="11217400" y="5300279"/>
                  <a:pt x="11217400" y="5294550"/>
                  <a:pt x="11217400" y="5288822"/>
                </a:cubicBezTo>
                <a:cubicBezTo>
                  <a:pt x="11217400" y="5275456"/>
                  <a:pt x="11223128" y="5262090"/>
                  <a:pt x="11234585" y="5256362"/>
                </a:cubicBezTo>
                <a:cubicBezTo>
                  <a:pt x="11234585" y="5256362"/>
                  <a:pt x="11234585" y="5256362"/>
                  <a:pt x="11572551" y="5067327"/>
                </a:cubicBezTo>
                <a:cubicBezTo>
                  <a:pt x="11582098" y="5062553"/>
                  <a:pt x="11592123" y="5061599"/>
                  <a:pt x="11600954" y="5064224"/>
                </a:cubicBezTo>
                <a:close/>
                <a:moveTo>
                  <a:pt x="8155460" y="5064224"/>
                </a:moveTo>
                <a:cubicBezTo>
                  <a:pt x="8164488" y="5066850"/>
                  <a:pt x="8172566" y="5073055"/>
                  <a:pt x="8177317" y="5082602"/>
                </a:cubicBezTo>
                <a:cubicBezTo>
                  <a:pt x="8186821" y="5099787"/>
                  <a:pt x="8181119" y="5120791"/>
                  <a:pt x="8162112" y="5132248"/>
                </a:cubicBezTo>
                <a:cubicBezTo>
                  <a:pt x="8162112" y="5132248"/>
                  <a:pt x="8162112" y="5132248"/>
                  <a:pt x="7825696" y="5319373"/>
                </a:cubicBezTo>
                <a:cubicBezTo>
                  <a:pt x="7808590" y="5330830"/>
                  <a:pt x="7787683" y="5323192"/>
                  <a:pt x="7776279" y="5306007"/>
                </a:cubicBezTo>
                <a:cubicBezTo>
                  <a:pt x="7774378" y="5300279"/>
                  <a:pt x="7772478" y="5294550"/>
                  <a:pt x="7772478" y="5288822"/>
                </a:cubicBezTo>
                <a:cubicBezTo>
                  <a:pt x="7772478" y="5275456"/>
                  <a:pt x="7780080" y="5262090"/>
                  <a:pt x="7791484" y="5256362"/>
                </a:cubicBezTo>
                <a:cubicBezTo>
                  <a:pt x="7791484" y="5256362"/>
                  <a:pt x="7791484" y="5256362"/>
                  <a:pt x="8127900" y="5067327"/>
                </a:cubicBezTo>
                <a:cubicBezTo>
                  <a:pt x="8136453" y="5062553"/>
                  <a:pt x="8146432" y="5061599"/>
                  <a:pt x="8155460" y="5064224"/>
                </a:cubicBezTo>
                <a:close/>
                <a:moveTo>
                  <a:pt x="12139750" y="5056192"/>
                </a:moveTo>
                <a:cubicBezTo>
                  <a:pt x="12139750" y="5056192"/>
                  <a:pt x="12139750" y="5056192"/>
                  <a:pt x="12139750" y="5139909"/>
                </a:cubicBezTo>
                <a:cubicBezTo>
                  <a:pt x="12139750" y="5139909"/>
                  <a:pt x="12139750" y="5139909"/>
                  <a:pt x="11834946" y="5305441"/>
                </a:cubicBezTo>
                <a:cubicBezTo>
                  <a:pt x="11815896" y="5314955"/>
                  <a:pt x="11793035" y="5307344"/>
                  <a:pt x="11783510" y="5290220"/>
                </a:cubicBezTo>
                <a:cubicBezTo>
                  <a:pt x="11779700" y="5284512"/>
                  <a:pt x="11777795" y="5276901"/>
                  <a:pt x="11777795" y="5271193"/>
                </a:cubicBezTo>
                <a:cubicBezTo>
                  <a:pt x="11777795" y="5257875"/>
                  <a:pt x="11785415" y="5244556"/>
                  <a:pt x="11798750" y="5238848"/>
                </a:cubicBezTo>
                <a:lnTo>
                  <a:pt x="12135940" y="5058094"/>
                </a:lnTo>
                <a:cubicBezTo>
                  <a:pt x="12137845" y="5056192"/>
                  <a:pt x="12137845" y="5056192"/>
                  <a:pt x="12139750" y="5056192"/>
                </a:cubicBezTo>
                <a:close/>
                <a:moveTo>
                  <a:pt x="7597906" y="5054684"/>
                </a:moveTo>
                <a:cubicBezTo>
                  <a:pt x="7607200" y="5057304"/>
                  <a:pt x="7615302" y="5063495"/>
                  <a:pt x="7620068" y="5073020"/>
                </a:cubicBezTo>
                <a:cubicBezTo>
                  <a:pt x="7629601" y="5090165"/>
                  <a:pt x="7623881" y="5113025"/>
                  <a:pt x="7604817" y="5124455"/>
                </a:cubicBezTo>
                <a:cubicBezTo>
                  <a:pt x="7604817" y="5124455"/>
                  <a:pt x="7604817" y="5124455"/>
                  <a:pt x="7267371" y="5305430"/>
                </a:cubicBezTo>
                <a:cubicBezTo>
                  <a:pt x="7248306" y="5314955"/>
                  <a:pt x="7225428" y="5307335"/>
                  <a:pt x="7215896" y="5290190"/>
                </a:cubicBezTo>
                <a:cubicBezTo>
                  <a:pt x="7213989" y="5284475"/>
                  <a:pt x="7212083" y="5276855"/>
                  <a:pt x="7212083" y="5271140"/>
                </a:cubicBezTo>
                <a:cubicBezTo>
                  <a:pt x="7212083" y="5257805"/>
                  <a:pt x="7219709" y="5244470"/>
                  <a:pt x="7231147" y="5238755"/>
                </a:cubicBezTo>
                <a:cubicBezTo>
                  <a:pt x="7231147" y="5238755"/>
                  <a:pt x="7231147" y="5238755"/>
                  <a:pt x="7568594" y="5057780"/>
                </a:cubicBezTo>
                <a:cubicBezTo>
                  <a:pt x="7578126" y="5053017"/>
                  <a:pt x="7588612" y="5052065"/>
                  <a:pt x="7597906" y="5054684"/>
                </a:cubicBezTo>
                <a:close/>
                <a:moveTo>
                  <a:pt x="7046964" y="5044542"/>
                </a:moveTo>
                <a:cubicBezTo>
                  <a:pt x="7056279" y="5047645"/>
                  <a:pt x="7064400" y="5054328"/>
                  <a:pt x="7069177" y="5063876"/>
                </a:cubicBezTo>
                <a:cubicBezTo>
                  <a:pt x="7078731" y="5082972"/>
                  <a:pt x="7071088" y="5105887"/>
                  <a:pt x="7051980" y="5115435"/>
                </a:cubicBezTo>
                <a:cubicBezTo>
                  <a:pt x="7051980" y="5115435"/>
                  <a:pt x="7051980" y="5115435"/>
                  <a:pt x="6713773" y="5291119"/>
                </a:cubicBezTo>
                <a:cubicBezTo>
                  <a:pt x="6694665" y="5300667"/>
                  <a:pt x="6669825" y="5293028"/>
                  <a:pt x="6660271" y="5273932"/>
                </a:cubicBezTo>
                <a:cubicBezTo>
                  <a:pt x="6658361" y="5268204"/>
                  <a:pt x="6656450" y="5262475"/>
                  <a:pt x="6656450" y="5256746"/>
                </a:cubicBezTo>
                <a:cubicBezTo>
                  <a:pt x="6656450" y="5241469"/>
                  <a:pt x="6664093" y="5228102"/>
                  <a:pt x="6677468" y="5222373"/>
                </a:cubicBezTo>
                <a:cubicBezTo>
                  <a:pt x="6677468" y="5222373"/>
                  <a:pt x="6677468" y="5222373"/>
                  <a:pt x="7017586" y="5046690"/>
                </a:cubicBezTo>
                <a:cubicBezTo>
                  <a:pt x="7027140" y="5041916"/>
                  <a:pt x="7037649" y="5041438"/>
                  <a:pt x="7046964" y="5044542"/>
                </a:cubicBezTo>
                <a:close/>
                <a:moveTo>
                  <a:pt x="6485663" y="5032630"/>
                </a:moveTo>
                <a:cubicBezTo>
                  <a:pt x="6501356" y="5031381"/>
                  <a:pt x="6515979" y="5040300"/>
                  <a:pt x="6523112" y="5054570"/>
                </a:cubicBezTo>
                <a:cubicBezTo>
                  <a:pt x="6532623" y="5075499"/>
                  <a:pt x="6525014" y="5098331"/>
                  <a:pt x="6505992" y="5107845"/>
                </a:cubicBezTo>
                <a:cubicBezTo>
                  <a:pt x="6505992" y="5107845"/>
                  <a:pt x="6505992" y="5107845"/>
                  <a:pt x="6167407" y="5275279"/>
                </a:cubicBezTo>
                <a:cubicBezTo>
                  <a:pt x="6148385" y="5284793"/>
                  <a:pt x="6123657" y="5277182"/>
                  <a:pt x="6114146" y="5258155"/>
                </a:cubicBezTo>
                <a:cubicBezTo>
                  <a:pt x="6110342" y="5252447"/>
                  <a:pt x="6110342" y="5246739"/>
                  <a:pt x="6110342" y="5239129"/>
                </a:cubicBezTo>
                <a:cubicBezTo>
                  <a:pt x="6110342" y="5225810"/>
                  <a:pt x="6117950" y="5210589"/>
                  <a:pt x="6131266" y="5202978"/>
                </a:cubicBezTo>
                <a:cubicBezTo>
                  <a:pt x="6131266" y="5202978"/>
                  <a:pt x="6131266" y="5202978"/>
                  <a:pt x="6469851" y="5037446"/>
                </a:cubicBezTo>
                <a:cubicBezTo>
                  <a:pt x="6475082" y="5034592"/>
                  <a:pt x="6480432" y="5033046"/>
                  <a:pt x="6485663" y="5032630"/>
                </a:cubicBezTo>
                <a:close/>
                <a:moveTo>
                  <a:pt x="5956806" y="5024850"/>
                </a:moveTo>
                <a:cubicBezTo>
                  <a:pt x="5966814" y="5028426"/>
                  <a:pt x="5975394" y="5035579"/>
                  <a:pt x="5980159" y="5045115"/>
                </a:cubicBezTo>
                <a:cubicBezTo>
                  <a:pt x="5989691" y="5066096"/>
                  <a:pt x="5980159" y="5090892"/>
                  <a:pt x="5961095" y="5100429"/>
                </a:cubicBezTo>
                <a:cubicBezTo>
                  <a:pt x="5961095" y="5100429"/>
                  <a:pt x="5961095" y="5100429"/>
                  <a:pt x="5621756" y="5262556"/>
                </a:cubicBezTo>
                <a:cubicBezTo>
                  <a:pt x="5600786" y="5272093"/>
                  <a:pt x="5576003" y="5262556"/>
                  <a:pt x="5566471" y="5241575"/>
                </a:cubicBezTo>
                <a:cubicBezTo>
                  <a:pt x="5562659" y="5235853"/>
                  <a:pt x="5562659" y="5230131"/>
                  <a:pt x="5562659" y="5224408"/>
                </a:cubicBezTo>
                <a:cubicBezTo>
                  <a:pt x="5562659" y="5209149"/>
                  <a:pt x="5570284" y="5193890"/>
                  <a:pt x="5585535" y="5186261"/>
                </a:cubicBezTo>
                <a:cubicBezTo>
                  <a:pt x="5585535" y="5186261"/>
                  <a:pt x="5585535" y="5186261"/>
                  <a:pt x="5924873" y="5026042"/>
                </a:cubicBezTo>
                <a:cubicBezTo>
                  <a:pt x="5935358" y="5021273"/>
                  <a:pt x="5946797" y="5021273"/>
                  <a:pt x="5956806" y="5024850"/>
                </a:cubicBezTo>
                <a:close/>
                <a:moveTo>
                  <a:pt x="398945" y="5024850"/>
                </a:moveTo>
                <a:cubicBezTo>
                  <a:pt x="408946" y="5028426"/>
                  <a:pt x="417519" y="5035578"/>
                  <a:pt x="422281" y="5045115"/>
                </a:cubicBezTo>
                <a:cubicBezTo>
                  <a:pt x="431806" y="5066096"/>
                  <a:pt x="422281" y="5090892"/>
                  <a:pt x="401326" y="5100429"/>
                </a:cubicBezTo>
                <a:cubicBezTo>
                  <a:pt x="401326" y="5100429"/>
                  <a:pt x="401326" y="5100429"/>
                  <a:pt x="62232" y="5262556"/>
                </a:cubicBezTo>
                <a:cubicBezTo>
                  <a:pt x="43182" y="5272093"/>
                  <a:pt x="18416" y="5262556"/>
                  <a:pt x="8891" y="5241575"/>
                </a:cubicBezTo>
                <a:cubicBezTo>
                  <a:pt x="5081" y="5235853"/>
                  <a:pt x="3176" y="5230131"/>
                  <a:pt x="3176" y="5224408"/>
                </a:cubicBezTo>
                <a:cubicBezTo>
                  <a:pt x="3176" y="5209149"/>
                  <a:pt x="12701" y="5193890"/>
                  <a:pt x="27941" y="5186261"/>
                </a:cubicBezTo>
                <a:cubicBezTo>
                  <a:pt x="27941" y="5186261"/>
                  <a:pt x="27941" y="5186261"/>
                  <a:pt x="367035" y="5026042"/>
                </a:cubicBezTo>
                <a:cubicBezTo>
                  <a:pt x="377513" y="5021273"/>
                  <a:pt x="388943" y="5021273"/>
                  <a:pt x="398945" y="5024850"/>
                </a:cubicBezTo>
                <a:close/>
                <a:moveTo>
                  <a:pt x="5409053" y="5014180"/>
                </a:moveTo>
                <a:cubicBezTo>
                  <a:pt x="5419083" y="5018218"/>
                  <a:pt x="5427680" y="5026294"/>
                  <a:pt x="5432457" y="5037695"/>
                </a:cubicBezTo>
                <a:cubicBezTo>
                  <a:pt x="5442010" y="5058597"/>
                  <a:pt x="5434368" y="5083300"/>
                  <a:pt x="5411441" y="5092800"/>
                </a:cubicBezTo>
                <a:cubicBezTo>
                  <a:pt x="5411441" y="5092800"/>
                  <a:pt x="5411441" y="5092800"/>
                  <a:pt x="5071343" y="5246716"/>
                </a:cubicBezTo>
                <a:cubicBezTo>
                  <a:pt x="5050329" y="5256217"/>
                  <a:pt x="5025493" y="5246716"/>
                  <a:pt x="5014031" y="5225814"/>
                </a:cubicBezTo>
                <a:cubicBezTo>
                  <a:pt x="5012121" y="5220113"/>
                  <a:pt x="5010210" y="5214413"/>
                  <a:pt x="5010210" y="5208712"/>
                </a:cubicBezTo>
                <a:cubicBezTo>
                  <a:pt x="5010210" y="5191610"/>
                  <a:pt x="5019763" y="5176409"/>
                  <a:pt x="5036956" y="5168808"/>
                </a:cubicBezTo>
                <a:cubicBezTo>
                  <a:pt x="5036956" y="5168808"/>
                  <a:pt x="5036956" y="5168808"/>
                  <a:pt x="5377049" y="5014893"/>
                </a:cubicBezTo>
                <a:cubicBezTo>
                  <a:pt x="5387558" y="5010142"/>
                  <a:pt x="5399021" y="5010142"/>
                  <a:pt x="5409053" y="5014180"/>
                </a:cubicBezTo>
                <a:close/>
                <a:moveTo>
                  <a:pt x="942531" y="5014180"/>
                </a:moveTo>
                <a:cubicBezTo>
                  <a:pt x="953000" y="5018218"/>
                  <a:pt x="962043" y="5026294"/>
                  <a:pt x="966802" y="5037695"/>
                </a:cubicBezTo>
                <a:cubicBezTo>
                  <a:pt x="976320" y="5058597"/>
                  <a:pt x="966802" y="5083300"/>
                  <a:pt x="945862" y="5092800"/>
                </a:cubicBezTo>
                <a:cubicBezTo>
                  <a:pt x="945862" y="5092800"/>
                  <a:pt x="945862" y="5092800"/>
                  <a:pt x="605115" y="5246716"/>
                </a:cubicBezTo>
                <a:cubicBezTo>
                  <a:pt x="584175" y="5256217"/>
                  <a:pt x="559428" y="5246716"/>
                  <a:pt x="549910" y="5225814"/>
                </a:cubicBezTo>
                <a:cubicBezTo>
                  <a:pt x="546103" y="5220113"/>
                  <a:pt x="546103" y="5214413"/>
                  <a:pt x="546103" y="5208712"/>
                </a:cubicBezTo>
                <a:cubicBezTo>
                  <a:pt x="546103" y="5191610"/>
                  <a:pt x="555621" y="5176409"/>
                  <a:pt x="570850" y="5168808"/>
                </a:cubicBezTo>
                <a:cubicBezTo>
                  <a:pt x="570850" y="5168808"/>
                  <a:pt x="570850" y="5168808"/>
                  <a:pt x="909693" y="5014893"/>
                </a:cubicBezTo>
                <a:cubicBezTo>
                  <a:pt x="920163" y="5010142"/>
                  <a:pt x="932061" y="5010142"/>
                  <a:pt x="942531" y="5014180"/>
                </a:cubicBezTo>
                <a:close/>
                <a:moveTo>
                  <a:pt x="4856076" y="5004632"/>
                </a:moveTo>
                <a:cubicBezTo>
                  <a:pt x="4866332" y="5008659"/>
                  <a:pt x="4874919" y="5016714"/>
                  <a:pt x="4879690" y="5028084"/>
                </a:cubicBezTo>
                <a:cubicBezTo>
                  <a:pt x="4891138" y="5050826"/>
                  <a:pt x="4879690" y="5075463"/>
                  <a:pt x="4856790" y="5084939"/>
                </a:cubicBezTo>
                <a:cubicBezTo>
                  <a:pt x="4856790" y="5084939"/>
                  <a:pt x="4856790" y="5084939"/>
                  <a:pt x="4517206" y="5230866"/>
                </a:cubicBezTo>
                <a:cubicBezTo>
                  <a:pt x="4494314" y="5240342"/>
                  <a:pt x="4469511" y="5230866"/>
                  <a:pt x="4459973" y="5208124"/>
                </a:cubicBezTo>
                <a:cubicBezTo>
                  <a:pt x="4456156" y="5202439"/>
                  <a:pt x="4456156" y="5196753"/>
                  <a:pt x="4456156" y="5191068"/>
                </a:cubicBezTo>
                <a:cubicBezTo>
                  <a:pt x="4456156" y="5174011"/>
                  <a:pt x="4465695" y="5158850"/>
                  <a:pt x="4482866" y="5151269"/>
                </a:cubicBezTo>
                <a:cubicBezTo>
                  <a:pt x="4482866" y="5151269"/>
                  <a:pt x="4482866" y="5151269"/>
                  <a:pt x="4822447" y="5005343"/>
                </a:cubicBezTo>
                <a:cubicBezTo>
                  <a:pt x="4833892" y="5000605"/>
                  <a:pt x="4845819" y="5000605"/>
                  <a:pt x="4856076" y="5004632"/>
                </a:cubicBezTo>
                <a:close/>
                <a:moveTo>
                  <a:pt x="1491734" y="5004632"/>
                </a:moveTo>
                <a:cubicBezTo>
                  <a:pt x="1502228" y="5008659"/>
                  <a:pt x="1511290" y="5016713"/>
                  <a:pt x="1516059" y="5028084"/>
                </a:cubicBezTo>
                <a:cubicBezTo>
                  <a:pt x="1525598" y="5050826"/>
                  <a:pt x="1516059" y="5075463"/>
                  <a:pt x="1493165" y="5084939"/>
                </a:cubicBezTo>
                <a:cubicBezTo>
                  <a:pt x="1493165" y="5084939"/>
                  <a:pt x="1493165" y="5084939"/>
                  <a:pt x="1153575" y="5230866"/>
                </a:cubicBezTo>
                <a:cubicBezTo>
                  <a:pt x="1130682" y="5240342"/>
                  <a:pt x="1103972" y="5230866"/>
                  <a:pt x="1094433" y="5208124"/>
                </a:cubicBezTo>
                <a:cubicBezTo>
                  <a:pt x="1092526" y="5202439"/>
                  <a:pt x="1090618" y="5196753"/>
                  <a:pt x="1090618" y="5191068"/>
                </a:cubicBezTo>
                <a:cubicBezTo>
                  <a:pt x="1090618" y="5174011"/>
                  <a:pt x="1102065" y="5158850"/>
                  <a:pt x="1117327" y="5151269"/>
                </a:cubicBezTo>
                <a:cubicBezTo>
                  <a:pt x="1117327" y="5151269"/>
                  <a:pt x="1117327" y="5151269"/>
                  <a:pt x="1458825" y="5005343"/>
                </a:cubicBezTo>
                <a:cubicBezTo>
                  <a:pt x="1469318" y="5000605"/>
                  <a:pt x="1481242" y="5000605"/>
                  <a:pt x="1491734" y="5004632"/>
                </a:cubicBezTo>
                <a:close/>
                <a:moveTo>
                  <a:pt x="4281239" y="4989344"/>
                </a:moveTo>
                <a:cubicBezTo>
                  <a:pt x="4298844" y="4989613"/>
                  <a:pt x="4315645" y="5000357"/>
                  <a:pt x="4322794" y="5017546"/>
                </a:cubicBezTo>
                <a:cubicBezTo>
                  <a:pt x="4332326" y="5040466"/>
                  <a:pt x="4320887" y="5067205"/>
                  <a:pt x="4298009" y="5076755"/>
                </a:cubicBezTo>
                <a:cubicBezTo>
                  <a:pt x="4298009" y="5076755"/>
                  <a:pt x="4298009" y="5076755"/>
                  <a:pt x="3958691" y="5218092"/>
                </a:cubicBezTo>
                <a:cubicBezTo>
                  <a:pt x="3933907" y="5227642"/>
                  <a:pt x="3909122" y="5216182"/>
                  <a:pt x="3899588" y="5193262"/>
                </a:cubicBezTo>
                <a:cubicBezTo>
                  <a:pt x="3895778" y="5187533"/>
                  <a:pt x="3895778" y="5181803"/>
                  <a:pt x="3895778" y="5176073"/>
                </a:cubicBezTo>
                <a:cubicBezTo>
                  <a:pt x="3895778" y="5156973"/>
                  <a:pt x="3905310" y="5141694"/>
                  <a:pt x="3924372" y="5134054"/>
                </a:cubicBezTo>
                <a:cubicBezTo>
                  <a:pt x="3924372" y="5134054"/>
                  <a:pt x="3924372" y="5134054"/>
                  <a:pt x="4263693" y="4992717"/>
                </a:cubicBezTo>
                <a:cubicBezTo>
                  <a:pt x="4269413" y="4990329"/>
                  <a:pt x="4275372" y="4989255"/>
                  <a:pt x="4281239" y="4989344"/>
                </a:cubicBezTo>
                <a:close/>
                <a:moveTo>
                  <a:pt x="2028590" y="4989344"/>
                </a:moveTo>
                <a:cubicBezTo>
                  <a:pt x="2046182" y="4989613"/>
                  <a:pt x="2062975" y="5000357"/>
                  <a:pt x="2070119" y="5017546"/>
                </a:cubicBezTo>
                <a:cubicBezTo>
                  <a:pt x="2079644" y="5040466"/>
                  <a:pt x="2068213" y="5067205"/>
                  <a:pt x="2045348" y="5076755"/>
                </a:cubicBezTo>
                <a:cubicBezTo>
                  <a:pt x="2045348" y="5076755"/>
                  <a:pt x="2045348" y="5076755"/>
                  <a:pt x="1704349" y="5218092"/>
                </a:cubicBezTo>
                <a:cubicBezTo>
                  <a:pt x="1681489" y="5227642"/>
                  <a:pt x="1654818" y="5216182"/>
                  <a:pt x="1645293" y="5193262"/>
                </a:cubicBezTo>
                <a:cubicBezTo>
                  <a:pt x="1643388" y="5187533"/>
                  <a:pt x="1641483" y="5181803"/>
                  <a:pt x="1641483" y="5176073"/>
                </a:cubicBezTo>
                <a:cubicBezTo>
                  <a:pt x="1641483" y="5156973"/>
                  <a:pt x="1652914" y="5141694"/>
                  <a:pt x="1670059" y="5134054"/>
                </a:cubicBezTo>
                <a:cubicBezTo>
                  <a:pt x="1670059" y="5134054"/>
                  <a:pt x="1670059" y="5134054"/>
                  <a:pt x="2011058" y="4992717"/>
                </a:cubicBezTo>
                <a:cubicBezTo>
                  <a:pt x="2016773" y="4990329"/>
                  <a:pt x="2022726" y="4989255"/>
                  <a:pt x="2028590" y="4989344"/>
                </a:cubicBezTo>
                <a:close/>
                <a:moveTo>
                  <a:pt x="3720410" y="4979833"/>
                </a:moveTo>
                <a:cubicBezTo>
                  <a:pt x="3738805" y="4980190"/>
                  <a:pt x="3755596" y="4991263"/>
                  <a:pt x="3762740" y="5009837"/>
                </a:cubicBezTo>
                <a:cubicBezTo>
                  <a:pt x="3770359" y="5032697"/>
                  <a:pt x="3758930" y="5059367"/>
                  <a:pt x="3736068" y="5068892"/>
                </a:cubicBezTo>
                <a:cubicBezTo>
                  <a:pt x="3736068" y="5068892"/>
                  <a:pt x="3736068" y="5068892"/>
                  <a:pt x="3395084" y="5202242"/>
                </a:cubicBezTo>
                <a:cubicBezTo>
                  <a:pt x="3370317" y="5211767"/>
                  <a:pt x="3343646" y="5200337"/>
                  <a:pt x="3334121" y="5175572"/>
                </a:cubicBezTo>
                <a:cubicBezTo>
                  <a:pt x="3332216" y="5169857"/>
                  <a:pt x="3332216" y="5164142"/>
                  <a:pt x="3332216" y="5158427"/>
                </a:cubicBezTo>
                <a:cubicBezTo>
                  <a:pt x="3332216" y="5141282"/>
                  <a:pt x="3343646" y="5122232"/>
                  <a:pt x="3360791" y="5116517"/>
                </a:cubicBezTo>
                <a:cubicBezTo>
                  <a:pt x="3360791" y="5116517"/>
                  <a:pt x="3360791" y="5116517"/>
                  <a:pt x="3701777" y="4983167"/>
                </a:cubicBezTo>
                <a:cubicBezTo>
                  <a:pt x="3707968" y="4980786"/>
                  <a:pt x="3714279" y="4979714"/>
                  <a:pt x="3720410" y="4979833"/>
                </a:cubicBezTo>
                <a:close/>
                <a:moveTo>
                  <a:pt x="2585923" y="4979833"/>
                </a:moveTo>
                <a:cubicBezTo>
                  <a:pt x="2604116" y="4980190"/>
                  <a:pt x="2622041" y="4991263"/>
                  <a:pt x="2629210" y="5009837"/>
                </a:cubicBezTo>
                <a:cubicBezTo>
                  <a:pt x="2636858" y="5032697"/>
                  <a:pt x="2625386" y="5059367"/>
                  <a:pt x="2602443" y="5068892"/>
                </a:cubicBezTo>
                <a:cubicBezTo>
                  <a:pt x="2602443" y="5068892"/>
                  <a:pt x="2602443" y="5068892"/>
                  <a:pt x="2260209" y="5202242"/>
                </a:cubicBezTo>
                <a:cubicBezTo>
                  <a:pt x="2235354" y="5211767"/>
                  <a:pt x="2208587" y="5200337"/>
                  <a:pt x="2199027" y="5175572"/>
                </a:cubicBezTo>
                <a:cubicBezTo>
                  <a:pt x="2197115" y="5169857"/>
                  <a:pt x="2197115" y="5164142"/>
                  <a:pt x="2197115" y="5158427"/>
                </a:cubicBezTo>
                <a:cubicBezTo>
                  <a:pt x="2197115" y="5141282"/>
                  <a:pt x="2206675" y="5122232"/>
                  <a:pt x="2225794" y="5116517"/>
                </a:cubicBezTo>
                <a:cubicBezTo>
                  <a:pt x="2225794" y="5116517"/>
                  <a:pt x="2225794" y="5116517"/>
                  <a:pt x="2568028" y="4983167"/>
                </a:cubicBezTo>
                <a:cubicBezTo>
                  <a:pt x="2573765" y="4980785"/>
                  <a:pt x="2579858" y="4979714"/>
                  <a:pt x="2585923" y="4979833"/>
                </a:cubicBezTo>
                <a:close/>
                <a:moveTo>
                  <a:pt x="3148522" y="4969036"/>
                </a:moveTo>
                <a:cubicBezTo>
                  <a:pt x="3166944" y="4969932"/>
                  <a:pt x="3183757" y="4982109"/>
                  <a:pt x="3190911" y="5000733"/>
                </a:cubicBezTo>
                <a:cubicBezTo>
                  <a:pt x="3200449" y="5025565"/>
                  <a:pt x="3187093" y="5052307"/>
                  <a:pt x="3162292" y="5061858"/>
                </a:cubicBezTo>
                <a:cubicBezTo>
                  <a:pt x="3162292" y="5061858"/>
                  <a:pt x="3162292" y="5061858"/>
                  <a:pt x="2820805" y="5187929"/>
                </a:cubicBezTo>
                <a:cubicBezTo>
                  <a:pt x="2796004" y="5197480"/>
                  <a:pt x="2769295" y="5184109"/>
                  <a:pt x="2759755" y="5161187"/>
                </a:cubicBezTo>
                <a:cubicBezTo>
                  <a:pt x="2757848" y="5155456"/>
                  <a:pt x="2755939" y="5149726"/>
                  <a:pt x="2755939" y="5143995"/>
                </a:cubicBezTo>
                <a:cubicBezTo>
                  <a:pt x="2755939" y="5124894"/>
                  <a:pt x="2767389" y="5105792"/>
                  <a:pt x="2788374" y="5098151"/>
                </a:cubicBezTo>
                <a:cubicBezTo>
                  <a:pt x="2788374" y="5098151"/>
                  <a:pt x="2788374" y="5098151"/>
                  <a:pt x="3129863" y="4972081"/>
                </a:cubicBezTo>
                <a:cubicBezTo>
                  <a:pt x="3136062" y="4969693"/>
                  <a:pt x="3142380" y="4968738"/>
                  <a:pt x="3148522" y="4969036"/>
                </a:cubicBezTo>
                <a:close/>
                <a:moveTo>
                  <a:pt x="9865943" y="4767278"/>
                </a:moveTo>
                <a:cubicBezTo>
                  <a:pt x="9873563" y="4768710"/>
                  <a:pt x="9880707" y="4773005"/>
                  <a:pt x="9885469" y="4779687"/>
                </a:cubicBezTo>
                <a:cubicBezTo>
                  <a:pt x="9894994" y="4794960"/>
                  <a:pt x="9891184" y="4812143"/>
                  <a:pt x="9875944" y="4821688"/>
                </a:cubicBezTo>
                <a:cubicBezTo>
                  <a:pt x="9875944" y="4821688"/>
                  <a:pt x="9875944" y="4821688"/>
                  <a:pt x="9542565" y="5046968"/>
                </a:cubicBezTo>
                <a:cubicBezTo>
                  <a:pt x="9527324" y="5054605"/>
                  <a:pt x="9510179" y="5052696"/>
                  <a:pt x="9500654" y="5037422"/>
                </a:cubicBezTo>
                <a:cubicBezTo>
                  <a:pt x="9496844" y="5033604"/>
                  <a:pt x="9494939" y="5027877"/>
                  <a:pt x="9494939" y="5022149"/>
                </a:cubicBezTo>
                <a:cubicBezTo>
                  <a:pt x="9494939" y="5012603"/>
                  <a:pt x="9500654" y="5003058"/>
                  <a:pt x="9508274" y="4997330"/>
                </a:cubicBezTo>
                <a:cubicBezTo>
                  <a:pt x="9508274" y="4997330"/>
                  <a:pt x="9508274" y="4997330"/>
                  <a:pt x="9843558" y="4772051"/>
                </a:cubicBezTo>
                <a:cubicBezTo>
                  <a:pt x="9850226" y="4767278"/>
                  <a:pt x="9858322" y="4765846"/>
                  <a:pt x="9865943" y="4767278"/>
                </a:cubicBezTo>
                <a:close/>
                <a:moveTo>
                  <a:pt x="10450715" y="4757980"/>
                </a:moveTo>
                <a:cubicBezTo>
                  <a:pt x="10458830" y="4759647"/>
                  <a:pt x="10466468" y="4764410"/>
                  <a:pt x="10471242" y="4772030"/>
                </a:cubicBezTo>
                <a:cubicBezTo>
                  <a:pt x="10480790" y="4787270"/>
                  <a:pt x="10475061" y="4806320"/>
                  <a:pt x="10461695" y="4815845"/>
                </a:cubicBezTo>
                <a:cubicBezTo>
                  <a:pt x="10461695" y="4815845"/>
                  <a:pt x="10461695" y="4815845"/>
                  <a:pt x="10125619" y="5029205"/>
                </a:cubicBezTo>
                <a:cubicBezTo>
                  <a:pt x="10110343" y="5038730"/>
                  <a:pt x="10091248" y="5034920"/>
                  <a:pt x="10081701" y="5019680"/>
                </a:cubicBezTo>
                <a:cubicBezTo>
                  <a:pt x="10077882" y="5015870"/>
                  <a:pt x="10075972" y="5010155"/>
                  <a:pt x="10075972" y="5004440"/>
                </a:cubicBezTo>
                <a:cubicBezTo>
                  <a:pt x="10075972" y="4993010"/>
                  <a:pt x="10081701" y="4983485"/>
                  <a:pt x="10091248" y="4977770"/>
                </a:cubicBezTo>
                <a:cubicBezTo>
                  <a:pt x="10091248" y="4977770"/>
                  <a:pt x="10091248" y="4977770"/>
                  <a:pt x="10427323" y="4762505"/>
                </a:cubicBezTo>
                <a:cubicBezTo>
                  <a:pt x="10434006" y="4757742"/>
                  <a:pt x="10442599" y="4756314"/>
                  <a:pt x="10450715" y="4757980"/>
                </a:cubicBezTo>
                <a:close/>
                <a:moveTo>
                  <a:pt x="9287869" y="4757980"/>
                </a:moveTo>
                <a:cubicBezTo>
                  <a:pt x="9295721" y="4759647"/>
                  <a:pt x="9302859" y="4764410"/>
                  <a:pt x="9307618" y="4772030"/>
                </a:cubicBezTo>
                <a:cubicBezTo>
                  <a:pt x="9317136" y="4787270"/>
                  <a:pt x="9313329" y="4806320"/>
                  <a:pt x="9298101" y="4815845"/>
                </a:cubicBezTo>
                <a:cubicBezTo>
                  <a:pt x="9298101" y="4815845"/>
                  <a:pt x="9298101" y="4815845"/>
                  <a:pt x="8963081" y="5029205"/>
                </a:cubicBezTo>
                <a:cubicBezTo>
                  <a:pt x="8949756" y="5038730"/>
                  <a:pt x="8928818" y="5034920"/>
                  <a:pt x="8919300" y="5019680"/>
                </a:cubicBezTo>
                <a:cubicBezTo>
                  <a:pt x="8917397" y="5015870"/>
                  <a:pt x="8915493" y="5010155"/>
                  <a:pt x="8915493" y="5004440"/>
                </a:cubicBezTo>
                <a:cubicBezTo>
                  <a:pt x="8915493" y="4993010"/>
                  <a:pt x="8919300" y="4983485"/>
                  <a:pt x="8928818" y="4977770"/>
                </a:cubicBezTo>
                <a:cubicBezTo>
                  <a:pt x="8928818" y="4977770"/>
                  <a:pt x="8928818" y="4977770"/>
                  <a:pt x="9263837" y="4762505"/>
                </a:cubicBezTo>
                <a:cubicBezTo>
                  <a:pt x="9271451" y="4757742"/>
                  <a:pt x="9280017" y="4756314"/>
                  <a:pt x="9287869" y="4757980"/>
                </a:cubicBezTo>
                <a:close/>
                <a:moveTo>
                  <a:pt x="11026794" y="4748711"/>
                </a:moveTo>
                <a:cubicBezTo>
                  <a:pt x="11035135" y="4750623"/>
                  <a:pt x="11042761" y="4755879"/>
                  <a:pt x="11047527" y="4764481"/>
                </a:cubicBezTo>
                <a:cubicBezTo>
                  <a:pt x="11057060" y="4779773"/>
                  <a:pt x="11053247" y="4800799"/>
                  <a:pt x="11036088" y="4810357"/>
                </a:cubicBezTo>
                <a:cubicBezTo>
                  <a:pt x="11036088" y="4810357"/>
                  <a:pt x="11036088" y="4810357"/>
                  <a:pt x="10700543" y="5014885"/>
                </a:cubicBezTo>
                <a:cubicBezTo>
                  <a:pt x="10685291" y="5024443"/>
                  <a:pt x="10664319" y="5020620"/>
                  <a:pt x="10654787" y="5005328"/>
                </a:cubicBezTo>
                <a:cubicBezTo>
                  <a:pt x="10650974" y="4999593"/>
                  <a:pt x="10649067" y="4993859"/>
                  <a:pt x="10649067" y="4988125"/>
                </a:cubicBezTo>
                <a:cubicBezTo>
                  <a:pt x="10649067" y="4976656"/>
                  <a:pt x="10654787" y="4965187"/>
                  <a:pt x="10666226" y="4959452"/>
                </a:cubicBezTo>
                <a:cubicBezTo>
                  <a:pt x="10666226" y="4959452"/>
                  <a:pt x="10666226" y="4959452"/>
                  <a:pt x="11001771" y="4753012"/>
                </a:cubicBezTo>
                <a:cubicBezTo>
                  <a:pt x="11009397" y="4748234"/>
                  <a:pt x="11018453" y="4746800"/>
                  <a:pt x="11026794" y="4748711"/>
                </a:cubicBezTo>
                <a:close/>
                <a:moveTo>
                  <a:pt x="8717757" y="4748711"/>
                </a:moveTo>
                <a:cubicBezTo>
                  <a:pt x="8725835" y="4750623"/>
                  <a:pt x="8732962" y="4755880"/>
                  <a:pt x="8737713" y="4764481"/>
                </a:cubicBezTo>
                <a:cubicBezTo>
                  <a:pt x="8747216" y="4779773"/>
                  <a:pt x="8743415" y="4800799"/>
                  <a:pt x="8728210" y="4810357"/>
                </a:cubicBezTo>
                <a:cubicBezTo>
                  <a:pt x="8728210" y="4810357"/>
                  <a:pt x="8728210" y="4810357"/>
                  <a:pt x="8391812" y="5014885"/>
                </a:cubicBezTo>
                <a:cubicBezTo>
                  <a:pt x="8376608" y="5024443"/>
                  <a:pt x="8355702" y="5020620"/>
                  <a:pt x="8346199" y="5005328"/>
                </a:cubicBezTo>
                <a:cubicBezTo>
                  <a:pt x="8342398" y="4999593"/>
                  <a:pt x="8342398" y="4993859"/>
                  <a:pt x="8342398" y="4988125"/>
                </a:cubicBezTo>
                <a:cubicBezTo>
                  <a:pt x="8342398" y="4976656"/>
                  <a:pt x="8348100" y="4965187"/>
                  <a:pt x="8357602" y="4959452"/>
                </a:cubicBezTo>
                <a:cubicBezTo>
                  <a:pt x="8357602" y="4959452"/>
                  <a:pt x="8357602" y="4959452"/>
                  <a:pt x="8692100" y="4753012"/>
                </a:cubicBezTo>
                <a:cubicBezTo>
                  <a:pt x="8700653" y="4748234"/>
                  <a:pt x="8709680" y="4746800"/>
                  <a:pt x="8717757" y="4748711"/>
                </a:cubicBezTo>
                <a:close/>
                <a:moveTo>
                  <a:pt x="11598111" y="4739890"/>
                </a:moveTo>
                <a:cubicBezTo>
                  <a:pt x="11606677" y="4742035"/>
                  <a:pt x="11614291" y="4747280"/>
                  <a:pt x="11619050" y="4754909"/>
                </a:cubicBezTo>
                <a:cubicBezTo>
                  <a:pt x="11628568" y="4772074"/>
                  <a:pt x="11622857" y="4793053"/>
                  <a:pt x="11607629" y="4802589"/>
                </a:cubicBezTo>
                <a:cubicBezTo>
                  <a:pt x="11607629" y="4802589"/>
                  <a:pt x="11607629" y="4802589"/>
                  <a:pt x="11270700" y="4999032"/>
                </a:cubicBezTo>
                <a:cubicBezTo>
                  <a:pt x="11253568" y="5008568"/>
                  <a:pt x="11232628" y="5002846"/>
                  <a:pt x="11223111" y="4987588"/>
                </a:cubicBezTo>
                <a:cubicBezTo>
                  <a:pt x="11219304" y="4981867"/>
                  <a:pt x="11217400" y="4976145"/>
                  <a:pt x="11217400" y="4968516"/>
                </a:cubicBezTo>
                <a:cubicBezTo>
                  <a:pt x="11217400" y="4957073"/>
                  <a:pt x="11225014" y="4945630"/>
                  <a:pt x="11236436" y="4939908"/>
                </a:cubicBezTo>
                <a:cubicBezTo>
                  <a:pt x="11236436" y="4939908"/>
                  <a:pt x="11236436" y="4939908"/>
                  <a:pt x="11571461" y="4743466"/>
                </a:cubicBezTo>
                <a:cubicBezTo>
                  <a:pt x="11580027" y="4738698"/>
                  <a:pt x="11589545" y="4737744"/>
                  <a:pt x="11598111" y="4739890"/>
                </a:cubicBezTo>
                <a:close/>
                <a:moveTo>
                  <a:pt x="8154062" y="4739890"/>
                </a:moveTo>
                <a:cubicBezTo>
                  <a:pt x="8162866" y="4742035"/>
                  <a:pt x="8170956" y="4747280"/>
                  <a:pt x="8175715" y="4754909"/>
                </a:cubicBezTo>
                <a:cubicBezTo>
                  <a:pt x="8185233" y="4772074"/>
                  <a:pt x="8179522" y="4793053"/>
                  <a:pt x="8162390" y="4802589"/>
                </a:cubicBezTo>
                <a:cubicBezTo>
                  <a:pt x="8162390" y="4802589"/>
                  <a:pt x="8162390" y="4802589"/>
                  <a:pt x="7825461" y="4999032"/>
                </a:cubicBezTo>
                <a:cubicBezTo>
                  <a:pt x="7810232" y="5008568"/>
                  <a:pt x="7787390" y="5002846"/>
                  <a:pt x="7777872" y="4987588"/>
                </a:cubicBezTo>
                <a:cubicBezTo>
                  <a:pt x="7775968" y="4981867"/>
                  <a:pt x="7774065" y="4976145"/>
                  <a:pt x="7774065" y="4968516"/>
                </a:cubicBezTo>
                <a:cubicBezTo>
                  <a:pt x="7774065" y="4957073"/>
                  <a:pt x="7779775" y="4945630"/>
                  <a:pt x="7791197" y="4939908"/>
                </a:cubicBezTo>
                <a:cubicBezTo>
                  <a:pt x="7791197" y="4939908"/>
                  <a:pt x="7791197" y="4939908"/>
                  <a:pt x="8128126" y="4743466"/>
                </a:cubicBezTo>
                <a:cubicBezTo>
                  <a:pt x="8135740" y="4738698"/>
                  <a:pt x="8145258" y="4737744"/>
                  <a:pt x="8154062" y="4739890"/>
                </a:cubicBezTo>
                <a:close/>
                <a:moveTo>
                  <a:pt x="12135937" y="4732342"/>
                </a:moveTo>
                <a:cubicBezTo>
                  <a:pt x="12137843" y="4732342"/>
                  <a:pt x="12137843" y="4732342"/>
                  <a:pt x="12139750" y="4732342"/>
                </a:cubicBezTo>
                <a:cubicBezTo>
                  <a:pt x="12139750" y="4732342"/>
                  <a:pt x="12139750" y="4732342"/>
                  <a:pt x="12139750" y="4814057"/>
                </a:cubicBezTo>
                <a:cubicBezTo>
                  <a:pt x="12139750" y="4814057"/>
                  <a:pt x="12139750" y="4814057"/>
                  <a:pt x="11834677" y="4983190"/>
                </a:cubicBezTo>
                <a:cubicBezTo>
                  <a:pt x="11815610" y="4992692"/>
                  <a:pt x="11794637" y="4986991"/>
                  <a:pt x="11783196" y="4969887"/>
                </a:cubicBezTo>
                <a:cubicBezTo>
                  <a:pt x="11781290" y="4964186"/>
                  <a:pt x="11779383" y="4958485"/>
                  <a:pt x="11779383" y="4950884"/>
                </a:cubicBezTo>
                <a:cubicBezTo>
                  <a:pt x="11779383" y="4939482"/>
                  <a:pt x="11787010" y="4926179"/>
                  <a:pt x="11798450" y="4920478"/>
                </a:cubicBezTo>
                <a:close/>
                <a:moveTo>
                  <a:pt x="7597191" y="4729944"/>
                </a:moveTo>
                <a:cubicBezTo>
                  <a:pt x="7606247" y="4732795"/>
                  <a:pt x="7614349" y="4738971"/>
                  <a:pt x="7620068" y="4747524"/>
                </a:cubicBezTo>
                <a:cubicBezTo>
                  <a:pt x="7629601" y="4764628"/>
                  <a:pt x="7621975" y="4787435"/>
                  <a:pt x="7604817" y="4796937"/>
                </a:cubicBezTo>
                <a:cubicBezTo>
                  <a:pt x="7604817" y="4796937"/>
                  <a:pt x="7604817" y="4796937"/>
                  <a:pt x="7267371" y="4983189"/>
                </a:cubicBezTo>
                <a:cubicBezTo>
                  <a:pt x="7250212" y="4992692"/>
                  <a:pt x="7227335" y="4986990"/>
                  <a:pt x="7217802" y="4969885"/>
                </a:cubicBezTo>
                <a:cubicBezTo>
                  <a:pt x="7213989" y="4964184"/>
                  <a:pt x="7212083" y="4958482"/>
                  <a:pt x="7212083" y="4950880"/>
                </a:cubicBezTo>
                <a:cubicBezTo>
                  <a:pt x="7212083" y="4939477"/>
                  <a:pt x="7219709" y="4926173"/>
                  <a:pt x="7231147" y="4920472"/>
                </a:cubicBezTo>
                <a:cubicBezTo>
                  <a:pt x="7231147" y="4920472"/>
                  <a:pt x="7231147" y="4920472"/>
                  <a:pt x="7568594" y="4732319"/>
                </a:cubicBezTo>
                <a:cubicBezTo>
                  <a:pt x="7578126" y="4727568"/>
                  <a:pt x="7588135" y="4727093"/>
                  <a:pt x="7597191" y="4729944"/>
                </a:cubicBezTo>
                <a:close/>
                <a:moveTo>
                  <a:pt x="7045531" y="4720682"/>
                </a:moveTo>
                <a:cubicBezTo>
                  <a:pt x="7054846" y="4723782"/>
                  <a:pt x="7063444" y="4730457"/>
                  <a:pt x="7069177" y="4739994"/>
                </a:cubicBezTo>
                <a:cubicBezTo>
                  <a:pt x="7078731" y="4759067"/>
                  <a:pt x="7071088" y="4781954"/>
                  <a:pt x="7051980" y="4791491"/>
                </a:cubicBezTo>
                <a:cubicBezTo>
                  <a:pt x="7051980" y="4791491"/>
                  <a:pt x="7051980" y="4791491"/>
                  <a:pt x="6713773" y="4968868"/>
                </a:cubicBezTo>
                <a:cubicBezTo>
                  <a:pt x="6694665" y="4978405"/>
                  <a:pt x="6671736" y="4972683"/>
                  <a:pt x="6662182" y="4953610"/>
                </a:cubicBezTo>
                <a:cubicBezTo>
                  <a:pt x="6658361" y="4947888"/>
                  <a:pt x="6656450" y="4942166"/>
                  <a:pt x="6656450" y="4934537"/>
                </a:cubicBezTo>
                <a:cubicBezTo>
                  <a:pt x="6656450" y="4921186"/>
                  <a:pt x="6664093" y="4907835"/>
                  <a:pt x="6677468" y="4902113"/>
                </a:cubicBezTo>
                <a:cubicBezTo>
                  <a:pt x="6677468" y="4902113"/>
                  <a:pt x="6677468" y="4902113"/>
                  <a:pt x="7017586" y="4722828"/>
                </a:cubicBezTo>
                <a:cubicBezTo>
                  <a:pt x="7026184" y="4718060"/>
                  <a:pt x="7036216" y="4717583"/>
                  <a:pt x="7045531" y="4720682"/>
                </a:cubicBezTo>
                <a:close/>
                <a:moveTo>
                  <a:pt x="6500048" y="4711377"/>
                </a:moveTo>
                <a:cubicBezTo>
                  <a:pt x="6509797" y="4714707"/>
                  <a:pt x="6518357" y="4721842"/>
                  <a:pt x="6523112" y="4732307"/>
                </a:cubicBezTo>
                <a:cubicBezTo>
                  <a:pt x="6532623" y="4751333"/>
                  <a:pt x="6525014" y="4774166"/>
                  <a:pt x="6505992" y="4785582"/>
                </a:cubicBezTo>
                <a:cubicBezTo>
                  <a:pt x="6505992" y="4785582"/>
                  <a:pt x="6505992" y="4785582"/>
                  <a:pt x="6167407" y="4953016"/>
                </a:cubicBezTo>
                <a:cubicBezTo>
                  <a:pt x="6148385" y="4962530"/>
                  <a:pt x="6123657" y="4954919"/>
                  <a:pt x="6114146" y="4935892"/>
                </a:cubicBezTo>
                <a:cubicBezTo>
                  <a:pt x="6110342" y="4930184"/>
                  <a:pt x="6110342" y="4924476"/>
                  <a:pt x="6110342" y="4916866"/>
                </a:cubicBezTo>
                <a:cubicBezTo>
                  <a:pt x="6110342" y="4903547"/>
                  <a:pt x="6117950" y="4888326"/>
                  <a:pt x="6131266" y="4882618"/>
                </a:cubicBezTo>
                <a:cubicBezTo>
                  <a:pt x="6131266" y="4882618"/>
                  <a:pt x="6131266" y="4882618"/>
                  <a:pt x="6469851" y="4713280"/>
                </a:cubicBezTo>
                <a:cubicBezTo>
                  <a:pt x="6479362" y="4708524"/>
                  <a:pt x="6490299" y="4708048"/>
                  <a:pt x="6500048" y="4711377"/>
                </a:cubicBezTo>
                <a:close/>
                <a:moveTo>
                  <a:pt x="5956806" y="4701881"/>
                </a:moveTo>
                <a:cubicBezTo>
                  <a:pt x="5966814" y="4705223"/>
                  <a:pt x="5975394" y="4712385"/>
                  <a:pt x="5980159" y="4722888"/>
                </a:cubicBezTo>
                <a:cubicBezTo>
                  <a:pt x="5989691" y="4743896"/>
                  <a:pt x="5982065" y="4768723"/>
                  <a:pt x="5961095" y="4778272"/>
                </a:cubicBezTo>
                <a:cubicBezTo>
                  <a:pt x="5961095" y="4778272"/>
                  <a:pt x="5961095" y="4778272"/>
                  <a:pt x="5621756" y="4938693"/>
                </a:cubicBezTo>
                <a:cubicBezTo>
                  <a:pt x="5600786" y="4948242"/>
                  <a:pt x="5576003" y="4940603"/>
                  <a:pt x="5566471" y="4919595"/>
                </a:cubicBezTo>
                <a:cubicBezTo>
                  <a:pt x="5562659" y="4913866"/>
                  <a:pt x="5562659" y="4906227"/>
                  <a:pt x="5562659" y="4900497"/>
                </a:cubicBezTo>
                <a:cubicBezTo>
                  <a:pt x="5562659" y="4885219"/>
                  <a:pt x="5570284" y="4869941"/>
                  <a:pt x="5585535" y="4864212"/>
                </a:cubicBezTo>
                <a:cubicBezTo>
                  <a:pt x="5585535" y="4864212"/>
                  <a:pt x="5585535" y="4864212"/>
                  <a:pt x="5924873" y="4703791"/>
                </a:cubicBezTo>
                <a:cubicBezTo>
                  <a:pt x="5935358" y="4699016"/>
                  <a:pt x="5946797" y="4698539"/>
                  <a:pt x="5956806" y="4701881"/>
                </a:cubicBezTo>
                <a:close/>
                <a:moveTo>
                  <a:pt x="398944" y="4701881"/>
                </a:moveTo>
                <a:cubicBezTo>
                  <a:pt x="408946" y="4705223"/>
                  <a:pt x="417518" y="4712385"/>
                  <a:pt x="422281" y="4722888"/>
                </a:cubicBezTo>
                <a:cubicBezTo>
                  <a:pt x="431806" y="4743896"/>
                  <a:pt x="422281" y="4768723"/>
                  <a:pt x="401326" y="4778272"/>
                </a:cubicBezTo>
                <a:cubicBezTo>
                  <a:pt x="401326" y="4778272"/>
                  <a:pt x="401326" y="4778272"/>
                  <a:pt x="62232" y="4938693"/>
                </a:cubicBezTo>
                <a:cubicBezTo>
                  <a:pt x="43182" y="4948242"/>
                  <a:pt x="16511" y="4940603"/>
                  <a:pt x="6986" y="4919595"/>
                </a:cubicBezTo>
                <a:cubicBezTo>
                  <a:pt x="5081" y="4913866"/>
                  <a:pt x="3176" y="4906227"/>
                  <a:pt x="3176" y="4900497"/>
                </a:cubicBezTo>
                <a:cubicBezTo>
                  <a:pt x="3176" y="4885219"/>
                  <a:pt x="12701" y="4869941"/>
                  <a:pt x="27941" y="4864212"/>
                </a:cubicBezTo>
                <a:cubicBezTo>
                  <a:pt x="27941" y="4864212"/>
                  <a:pt x="27941" y="4864212"/>
                  <a:pt x="367035" y="4703791"/>
                </a:cubicBezTo>
                <a:cubicBezTo>
                  <a:pt x="377513" y="4699016"/>
                  <a:pt x="388943" y="4698539"/>
                  <a:pt x="398944" y="4701881"/>
                </a:cubicBezTo>
                <a:close/>
                <a:moveTo>
                  <a:pt x="5409709" y="4693289"/>
                </a:moveTo>
                <a:cubicBezTo>
                  <a:pt x="5420209" y="4697099"/>
                  <a:pt x="5429278" y="4704719"/>
                  <a:pt x="5434051" y="4715197"/>
                </a:cubicBezTo>
                <a:cubicBezTo>
                  <a:pt x="5443597" y="4738057"/>
                  <a:pt x="5434051" y="4762822"/>
                  <a:pt x="5411141" y="4772347"/>
                </a:cubicBezTo>
                <a:cubicBezTo>
                  <a:pt x="5411141" y="4772347"/>
                  <a:pt x="5411141" y="4772347"/>
                  <a:pt x="5071298" y="4922842"/>
                </a:cubicBezTo>
                <a:cubicBezTo>
                  <a:pt x="5048391" y="4932367"/>
                  <a:pt x="5023573" y="4922842"/>
                  <a:pt x="5014028" y="4901887"/>
                </a:cubicBezTo>
                <a:cubicBezTo>
                  <a:pt x="5012119" y="4894267"/>
                  <a:pt x="5010210" y="4888552"/>
                  <a:pt x="5010210" y="4882837"/>
                </a:cubicBezTo>
                <a:cubicBezTo>
                  <a:pt x="5010210" y="4867597"/>
                  <a:pt x="5019755" y="4850452"/>
                  <a:pt x="5036936" y="4842832"/>
                </a:cubicBezTo>
                <a:cubicBezTo>
                  <a:pt x="5036936" y="4842832"/>
                  <a:pt x="5036936" y="4842832"/>
                  <a:pt x="5376776" y="4694242"/>
                </a:cubicBezTo>
                <a:cubicBezTo>
                  <a:pt x="5387276" y="4689479"/>
                  <a:pt x="5399208" y="4689479"/>
                  <a:pt x="5409709" y="4693289"/>
                </a:cubicBezTo>
                <a:close/>
                <a:moveTo>
                  <a:pt x="943147" y="4693289"/>
                </a:moveTo>
                <a:cubicBezTo>
                  <a:pt x="953409" y="4697099"/>
                  <a:pt x="962001" y="4704719"/>
                  <a:pt x="966774" y="4715197"/>
                </a:cubicBezTo>
                <a:cubicBezTo>
                  <a:pt x="976320" y="4738057"/>
                  <a:pt x="966774" y="4762822"/>
                  <a:pt x="945772" y="4772347"/>
                </a:cubicBezTo>
                <a:cubicBezTo>
                  <a:pt x="945772" y="4772347"/>
                  <a:pt x="945772" y="4772347"/>
                  <a:pt x="604023" y="4922842"/>
                </a:cubicBezTo>
                <a:cubicBezTo>
                  <a:pt x="583021" y="4932367"/>
                  <a:pt x="556292" y="4922842"/>
                  <a:pt x="546746" y="4901887"/>
                </a:cubicBezTo>
                <a:cubicBezTo>
                  <a:pt x="544837" y="4894267"/>
                  <a:pt x="542928" y="4888552"/>
                  <a:pt x="542928" y="4882837"/>
                </a:cubicBezTo>
                <a:cubicBezTo>
                  <a:pt x="542928" y="4867597"/>
                  <a:pt x="552474" y="4850452"/>
                  <a:pt x="569657" y="4842832"/>
                </a:cubicBezTo>
                <a:cubicBezTo>
                  <a:pt x="569657" y="4842832"/>
                  <a:pt x="569657" y="4842832"/>
                  <a:pt x="909497" y="4694242"/>
                </a:cubicBezTo>
                <a:cubicBezTo>
                  <a:pt x="920952" y="4689479"/>
                  <a:pt x="932885" y="4689479"/>
                  <a:pt x="943147" y="4693289"/>
                </a:cubicBezTo>
                <a:close/>
                <a:moveTo>
                  <a:pt x="4840042" y="4679741"/>
                </a:moveTo>
                <a:cubicBezTo>
                  <a:pt x="4857649" y="4680008"/>
                  <a:pt x="4874452" y="4690682"/>
                  <a:pt x="4881602" y="4707760"/>
                </a:cubicBezTo>
                <a:cubicBezTo>
                  <a:pt x="4891136" y="4730531"/>
                  <a:pt x="4879696" y="4757097"/>
                  <a:pt x="4856815" y="4766584"/>
                </a:cubicBezTo>
                <a:cubicBezTo>
                  <a:pt x="4856815" y="4766584"/>
                  <a:pt x="4856815" y="4766584"/>
                  <a:pt x="4517479" y="4907004"/>
                </a:cubicBezTo>
                <a:cubicBezTo>
                  <a:pt x="4494604" y="4916492"/>
                  <a:pt x="4467914" y="4905106"/>
                  <a:pt x="4458382" y="4882336"/>
                </a:cubicBezTo>
                <a:cubicBezTo>
                  <a:pt x="4456475" y="4876643"/>
                  <a:pt x="4454569" y="4870950"/>
                  <a:pt x="4454569" y="4865258"/>
                </a:cubicBezTo>
                <a:cubicBezTo>
                  <a:pt x="4454569" y="4848180"/>
                  <a:pt x="4466007" y="4831101"/>
                  <a:pt x="4483165" y="4823511"/>
                </a:cubicBezTo>
                <a:cubicBezTo>
                  <a:pt x="4483165" y="4823511"/>
                  <a:pt x="4483165" y="4823511"/>
                  <a:pt x="4822497" y="4683092"/>
                </a:cubicBezTo>
                <a:cubicBezTo>
                  <a:pt x="4828215" y="4680720"/>
                  <a:pt x="4834173" y="4679652"/>
                  <a:pt x="4840042" y="4679741"/>
                </a:cubicBezTo>
                <a:close/>
                <a:moveTo>
                  <a:pt x="1476099" y="4679741"/>
                </a:moveTo>
                <a:cubicBezTo>
                  <a:pt x="1493704" y="4680008"/>
                  <a:pt x="1510504" y="4690682"/>
                  <a:pt x="1517653" y="4707760"/>
                </a:cubicBezTo>
                <a:cubicBezTo>
                  <a:pt x="1527185" y="4730531"/>
                  <a:pt x="1515746" y="4757097"/>
                  <a:pt x="1492870" y="4766584"/>
                </a:cubicBezTo>
                <a:cubicBezTo>
                  <a:pt x="1492870" y="4766584"/>
                  <a:pt x="1492870" y="4766584"/>
                  <a:pt x="1151623" y="4907004"/>
                </a:cubicBezTo>
                <a:cubicBezTo>
                  <a:pt x="1128746" y="4916492"/>
                  <a:pt x="1102056" y="4905106"/>
                  <a:pt x="1094431" y="4882336"/>
                </a:cubicBezTo>
                <a:cubicBezTo>
                  <a:pt x="1090618" y="4876643"/>
                  <a:pt x="1090618" y="4870950"/>
                  <a:pt x="1090618" y="4865258"/>
                </a:cubicBezTo>
                <a:cubicBezTo>
                  <a:pt x="1090618" y="4848180"/>
                  <a:pt x="1100150" y="4831101"/>
                  <a:pt x="1117307" y="4823511"/>
                </a:cubicBezTo>
                <a:cubicBezTo>
                  <a:pt x="1117307" y="4823511"/>
                  <a:pt x="1117307" y="4823511"/>
                  <a:pt x="1458554" y="4683092"/>
                </a:cubicBezTo>
                <a:cubicBezTo>
                  <a:pt x="1464274" y="4680720"/>
                  <a:pt x="1470231" y="4679652"/>
                  <a:pt x="1476099" y="4679741"/>
                </a:cubicBezTo>
                <a:close/>
                <a:moveTo>
                  <a:pt x="4282901" y="4670538"/>
                </a:moveTo>
                <a:cubicBezTo>
                  <a:pt x="4300481" y="4671342"/>
                  <a:pt x="4317257" y="4683129"/>
                  <a:pt x="4324395" y="4700274"/>
                </a:cubicBezTo>
                <a:cubicBezTo>
                  <a:pt x="4333914" y="4725039"/>
                  <a:pt x="4322492" y="4751709"/>
                  <a:pt x="4297744" y="4761234"/>
                </a:cubicBezTo>
                <a:cubicBezTo>
                  <a:pt x="4297744" y="4761234"/>
                  <a:pt x="4297744" y="4761234"/>
                  <a:pt x="3957010" y="4892679"/>
                </a:cubicBezTo>
                <a:cubicBezTo>
                  <a:pt x="3934167" y="4902204"/>
                  <a:pt x="3907514" y="4890774"/>
                  <a:pt x="3897997" y="4866009"/>
                </a:cubicBezTo>
                <a:cubicBezTo>
                  <a:pt x="3896092" y="4860294"/>
                  <a:pt x="3894190" y="4854579"/>
                  <a:pt x="3894190" y="4848864"/>
                </a:cubicBezTo>
                <a:cubicBezTo>
                  <a:pt x="3894190" y="4829814"/>
                  <a:pt x="3905611" y="4812669"/>
                  <a:pt x="3924648" y="4805049"/>
                </a:cubicBezTo>
                <a:cubicBezTo>
                  <a:pt x="3924648" y="4805049"/>
                  <a:pt x="3924648" y="4805049"/>
                  <a:pt x="4265381" y="4673604"/>
                </a:cubicBezTo>
                <a:cubicBezTo>
                  <a:pt x="4271092" y="4671223"/>
                  <a:pt x="4277042" y="4670270"/>
                  <a:pt x="4282901" y="4670538"/>
                </a:cubicBezTo>
                <a:close/>
                <a:moveTo>
                  <a:pt x="2029448" y="4670538"/>
                </a:moveTo>
                <a:cubicBezTo>
                  <a:pt x="2047817" y="4671342"/>
                  <a:pt x="2064585" y="4683129"/>
                  <a:pt x="2071719" y="4700274"/>
                </a:cubicBezTo>
                <a:cubicBezTo>
                  <a:pt x="2081231" y="4725039"/>
                  <a:pt x="2067915" y="4751709"/>
                  <a:pt x="2045083" y="4761234"/>
                </a:cubicBezTo>
                <a:cubicBezTo>
                  <a:pt x="2045083" y="4761234"/>
                  <a:pt x="2045083" y="4761234"/>
                  <a:pt x="1704573" y="4892679"/>
                </a:cubicBezTo>
                <a:cubicBezTo>
                  <a:pt x="1679843" y="4902204"/>
                  <a:pt x="1653211" y="4890774"/>
                  <a:pt x="1643700" y="4866009"/>
                </a:cubicBezTo>
                <a:cubicBezTo>
                  <a:pt x="1641797" y="4860294"/>
                  <a:pt x="1639895" y="4854579"/>
                  <a:pt x="1639895" y="4848864"/>
                </a:cubicBezTo>
                <a:cubicBezTo>
                  <a:pt x="1639895" y="4829814"/>
                  <a:pt x="1651309" y="4812669"/>
                  <a:pt x="1670332" y="4805049"/>
                </a:cubicBezTo>
                <a:cubicBezTo>
                  <a:pt x="1670332" y="4805049"/>
                  <a:pt x="1670332" y="4805049"/>
                  <a:pt x="2010841" y="4673604"/>
                </a:cubicBezTo>
                <a:cubicBezTo>
                  <a:pt x="2017024" y="4671223"/>
                  <a:pt x="2023325" y="4670270"/>
                  <a:pt x="2029448" y="4670538"/>
                </a:cubicBezTo>
                <a:close/>
                <a:moveTo>
                  <a:pt x="3720840" y="4661025"/>
                </a:moveTo>
                <a:cubicBezTo>
                  <a:pt x="3740053" y="4661915"/>
                  <a:pt x="3756854" y="4674027"/>
                  <a:pt x="3764003" y="4692550"/>
                </a:cubicBezTo>
                <a:cubicBezTo>
                  <a:pt x="3773537" y="4717247"/>
                  <a:pt x="3760192" y="4745744"/>
                  <a:pt x="3735407" y="4755243"/>
                </a:cubicBezTo>
                <a:cubicBezTo>
                  <a:pt x="3735407" y="4755243"/>
                  <a:pt x="3735407" y="4755243"/>
                  <a:pt x="3392273" y="4876830"/>
                </a:cubicBezTo>
                <a:cubicBezTo>
                  <a:pt x="3367488" y="4886329"/>
                  <a:pt x="3340798" y="4873030"/>
                  <a:pt x="3331267" y="4848333"/>
                </a:cubicBezTo>
                <a:cubicBezTo>
                  <a:pt x="3329358" y="4842633"/>
                  <a:pt x="3327455" y="4836934"/>
                  <a:pt x="3327455" y="4831235"/>
                </a:cubicBezTo>
                <a:cubicBezTo>
                  <a:pt x="3327455" y="4812237"/>
                  <a:pt x="3340798" y="4793239"/>
                  <a:pt x="3359861" y="4785640"/>
                </a:cubicBezTo>
                <a:cubicBezTo>
                  <a:pt x="3359861" y="4785640"/>
                  <a:pt x="3359861" y="4785640"/>
                  <a:pt x="3701090" y="4664053"/>
                </a:cubicBezTo>
                <a:cubicBezTo>
                  <a:pt x="3707763" y="4661678"/>
                  <a:pt x="3714436" y="4660728"/>
                  <a:pt x="3720840" y="4661025"/>
                </a:cubicBezTo>
                <a:close/>
                <a:moveTo>
                  <a:pt x="2587339" y="4661025"/>
                </a:moveTo>
                <a:cubicBezTo>
                  <a:pt x="2606552" y="4661915"/>
                  <a:pt x="2623352" y="4674027"/>
                  <a:pt x="2630501" y="4692550"/>
                </a:cubicBezTo>
                <a:cubicBezTo>
                  <a:pt x="2640033" y="4717247"/>
                  <a:pt x="2626688" y="4745744"/>
                  <a:pt x="2601905" y="4755243"/>
                </a:cubicBezTo>
                <a:cubicBezTo>
                  <a:pt x="2601905" y="4755243"/>
                  <a:pt x="2601905" y="4755243"/>
                  <a:pt x="2258757" y="4876830"/>
                </a:cubicBezTo>
                <a:cubicBezTo>
                  <a:pt x="2233974" y="4886329"/>
                  <a:pt x="2207285" y="4873030"/>
                  <a:pt x="2197753" y="4848333"/>
                </a:cubicBezTo>
                <a:cubicBezTo>
                  <a:pt x="2195847" y="4842633"/>
                  <a:pt x="2193940" y="4836934"/>
                  <a:pt x="2193940" y="4831235"/>
                </a:cubicBezTo>
                <a:cubicBezTo>
                  <a:pt x="2193940" y="4812237"/>
                  <a:pt x="2207285" y="4793239"/>
                  <a:pt x="2226349" y="4785640"/>
                </a:cubicBezTo>
                <a:cubicBezTo>
                  <a:pt x="2226349" y="4785640"/>
                  <a:pt x="2226349" y="4785640"/>
                  <a:pt x="2567591" y="4664053"/>
                </a:cubicBezTo>
                <a:cubicBezTo>
                  <a:pt x="2574263" y="4661678"/>
                  <a:pt x="2580935" y="4660728"/>
                  <a:pt x="2587339" y="4661025"/>
                </a:cubicBezTo>
                <a:close/>
                <a:moveTo>
                  <a:pt x="3149677" y="4651825"/>
                </a:moveTo>
                <a:cubicBezTo>
                  <a:pt x="3169410" y="4653256"/>
                  <a:pt x="3187272" y="4666490"/>
                  <a:pt x="3194415" y="4685090"/>
                </a:cubicBezTo>
                <a:cubicBezTo>
                  <a:pt x="3202032" y="4711797"/>
                  <a:pt x="3188700" y="4740412"/>
                  <a:pt x="3162028" y="4748043"/>
                </a:cubicBezTo>
                <a:cubicBezTo>
                  <a:pt x="3162028" y="4748043"/>
                  <a:pt x="3162028" y="4748043"/>
                  <a:pt x="2819123" y="4862503"/>
                </a:cubicBezTo>
                <a:cubicBezTo>
                  <a:pt x="2794358" y="4872042"/>
                  <a:pt x="2765782" y="4856780"/>
                  <a:pt x="2756258" y="4830073"/>
                </a:cubicBezTo>
                <a:cubicBezTo>
                  <a:pt x="2754356" y="4826258"/>
                  <a:pt x="2754356" y="4820535"/>
                  <a:pt x="2754356" y="4814812"/>
                </a:cubicBezTo>
                <a:cubicBezTo>
                  <a:pt x="2754356" y="4793827"/>
                  <a:pt x="2767688" y="4774750"/>
                  <a:pt x="2788641" y="4767120"/>
                </a:cubicBezTo>
                <a:cubicBezTo>
                  <a:pt x="2788641" y="4767120"/>
                  <a:pt x="2788641" y="4767120"/>
                  <a:pt x="3129644" y="4654567"/>
                </a:cubicBezTo>
                <a:cubicBezTo>
                  <a:pt x="3136312" y="4652183"/>
                  <a:pt x="3143099" y="4651348"/>
                  <a:pt x="3149677" y="4651825"/>
                </a:cubicBezTo>
                <a:close/>
                <a:moveTo>
                  <a:pt x="9864585" y="4440631"/>
                </a:moveTo>
                <a:cubicBezTo>
                  <a:pt x="9871274" y="4441819"/>
                  <a:pt x="9877485" y="4445621"/>
                  <a:pt x="9882263" y="4452274"/>
                </a:cubicBezTo>
                <a:cubicBezTo>
                  <a:pt x="9891819" y="4463680"/>
                  <a:pt x="9887997" y="4480789"/>
                  <a:pt x="9876529" y="4488393"/>
                </a:cubicBezTo>
                <a:cubicBezTo>
                  <a:pt x="9876529" y="4488393"/>
                  <a:pt x="9876529" y="4488393"/>
                  <a:pt x="9540160" y="4727913"/>
                </a:cubicBezTo>
                <a:cubicBezTo>
                  <a:pt x="9528693" y="4735517"/>
                  <a:pt x="9511492" y="4733616"/>
                  <a:pt x="9503848" y="4720309"/>
                </a:cubicBezTo>
                <a:cubicBezTo>
                  <a:pt x="9500025" y="4716507"/>
                  <a:pt x="9498114" y="4710804"/>
                  <a:pt x="9498114" y="4705101"/>
                </a:cubicBezTo>
                <a:cubicBezTo>
                  <a:pt x="9498114" y="4697498"/>
                  <a:pt x="9501936" y="4687993"/>
                  <a:pt x="9509581" y="4684191"/>
                </a:cubicBezTo>
                <a:cubicBezTo>
                  <a:pt x="9509581" y="4684191"/>
                  <a:pt x="9509581" y="4684191"/>
                  <a:pt x="9844039" y="4444671"/>
                </a:cubicBezTo>
                <a:cubicBezTo>
                  <a:pt x="9850729" y="4440869"/>
                  <a:pt x="9857896" y="4439443"/>
                  <a:pt x="9864585" y="4440631"/>
                </a:cubicBezTo>
                <a:close/>
                <a:moveTo>
                  <a:pt x="10447906" y="4432309"/>
                </a:moveTo>
                <a:cubicBezTo>
                  <a:pt x="10455055" y="4433740"/>
                  <a:pt x="10461728" y="4438030"/>
                  <a:pt x="10466494" y="4444705"/>
                </a:cubicBezTo>
                <a:cubicBezTo>
                  <a:pt x="10476027" y="4458055"/>
                  <a:pt x="10472214" y="4475218"/>
                  <a:pt x="10458868" y="4484754"/>
                </a:cubicBezTo>
                <a:cubicBezTo>
                  <a:pt x="10458868" y="4484754"/>
                  <a:pt x="10458868" y="4484754"/>
                  <a:pt x="10123316" y="4711694"/>
                </a:cubicBezTo>
                <a:cubicBezTo>
                  <a:pt x="10109970" y="4721230"/>
                  <a:pt x="10092811" y="4717416"/>
                  <a:pt x="10083279" y="4704066"/>
                </a:cubicBezTo>
                <a:cubicBezTo>
                  <a:pt x="10079466" y="4698345"/>
                  <a:pt x="10077559" y="4692624"/>
                  <a:pt x="10077559" y="4686903"/>
                </a:cubicBezTo>
                <a:cubicBezTo>
                  <a:pt x="10077559" y="4679274"/>
                  <a:pt x="10083279" y="4669739"/>
                  <a:pt x="10090905" y="4664018"/>
                </a:cubicBezTo>
                <a:cubicBezTo>
                  <a:pt x="10090905" y="4664018"/>
                  <a:pt x="10090905" y="4664018"/>
                  <a:pt x="10426457" y="4437077"/>
                </a:cubicBezTo>
                <a:cubicBezTo>
                  <a:pt x="10433130" y="4432310"/>
                  <a:pt x="10440756" y="4430879"/>
                  <a:pt x="10447906" y="4432309"/>
                </a:cubicBezTo>
                <a:close/>
                <a:moveTo>
                  <a:pt x="9287428" y="4432309"/>
                </a:moveTo>
                <a:cubicBezTo>
                  <a:pt x="9294577" y="4433740"/>
                  <a:pt x="9301250" y="4438031"/>
                  <a:pt x="9306016" y="4444705"/>
                </a:cubicBezTo>
                <a:cubicBezTo>
                  <a:pt x="9315549" y="4458055"/>
                  <a:pt x="9311736" y="4475218"/>
                  <a:pt x="9298390" y="4484754"/>
                </a:cubicBezTo>
                <a:cubicBezTo>
                  <a:pt x="9298390" y="4484754"/>
                  <a:pt x="9298390" y="4484754"/>
                  <a:pt x="8962838" y="4711694"/>
                </a:cubicBezTo>
                <a:cubicBezTo>
                  <a:pt x="8949492" y="4721230"/>
                  <a:pt x="8932333" y="4717416"/>
                  <a:pt x="8922801" y="4704066"/>
                </a:cubicBezTo>
                <a:cubicBezTo>
                  <a:pt x="8918988" y="4698345"/>
                  <a:pt x="8917081" y="4692624"/>
                  <a:pt x="8917081" y="4686903"/>
                </a:cubicBezTo>
                <a:cubicBezTo>
                  <a:pt x="8917081" y="4679274"/>
                  <a:pt x="8922801" y="4669739"/>
                  <a:pt x="8930427" y="4664018"/>
                </a:cubicBezTo>
                <a:cubicBezTo>
                  <a:pt x="8930427" y="4664018"/>
                  <a:pt x="8930427" y="4664018"/>
                  <a:pt x="9265979" y="4437077"/>
                </a:cubicBezTo>
                <a:cubicBezTo>
                  <a:pt x="9272652" y="4432310"/>
                  <a:pt x="9280278" y="4430879"/>
                  <a:pt x="9287428" y="4432309"/>
                </a:cubicBezTo>
                <a:close/>
                <a:moveTo>
                  <a:pt x="11026206" y="4423012"/>
                </a:moveTo>
                <a:cubicBezTo>
                  <a:pt x="11034058" y="4424677"/>
                  <a:pt x="11041196" y="4429434"/>
                  <a:pt x="11045955" y="4437046"/>
                </a:cubicBezTo>
                <a:cubicBezTo>
                  <a:pt x="11055473" y="4450366"/>
                  <a:pt x="11051666" y="4471298"/>
                  <a:pt x="11036438" y="4478910"/>
                </a:cubicBezTo>
                <a:cubicBezTo>
                  <a:pt x="11036438" y="4478910"/>
                  <a:pt x="11036438" y="4478910"/>
                  <a:pt x="10701418" y="4695840"/>
                </a:cubicBezTo>
                <a:cubicBezTo>
                  <a:pt x="10686190" y="4705355"/>
                  <a:pt x="10667155" y="4699646"/>
                  <a:pt x="10657637" y="4686326"/>
                </a:cubicBezTo>
                <a:cubicBezTo>
                  <a:pt x="10653830" y="4680617"/>
                  <a:pt x="10653830" y="4674908"/>
                  <a:pt x="10653830" y="4669200"/>
                </a:cubicBezTo>
                <a:cubicBezTo>
                  <a:pt x="10653830" y="4657782"/>
                  <a:pt x="10657637" y="4648268"/>
                  <a:pt x="10667155" y="4642559"/>
                </a:cubicBezTo>
                <a:cubicBezTo>
                  <a:pt x="10667155" y="4642559"/>
                  <a:pt x="10667155" y="4642559"/>
                  <a:pt x="11002174" y="4427531"/>
                </a:cubicBezTo>
                <a:cubicBezTo>
                  <a:pt x="11009789" y="4422774"/>
                  <a:pt x="11018354" y="4421347"/>
                  <a:pt x="11026206" y="4423012"/>
                </a:cubicBezTo>
                <a:close/>
                <a:moveTo>
                  <a:pt x="8716363" y="4423012"/>
                </a:moveTo>
                <a:cubicBezTo>
                  <a:pt x="8724215" y="4424677"/>
                  <a:pt x="8731353" y="4429434"/>
                  <a:pt x="8736111" y="4437046"/>
                </a:cubicBezTo>
                <a:cubicBezTo>
                  <a:pt x="8745629" y="4450366"/>
                  <a:pt x="8741822" y="4471298"/>
                  <a:pt x="8726594" y="4478910"/>
                </a:cubicBezTo>
                <a:cubicBezTo>
                  <a:pt x="8726594" y="4478910"/>
                  <a:pt x="8726594" y="4478910"/>
                  <a:pt x="8391574" y="4695840"/>
                </a:cubicBezTo>
                <a:cubicBezTo>
                  <a:pt x="8378249" y="4705355"/>
                  <a:pt x="8357311" y="4699646"/>
                  <a:pt x="8347793" y="4686326"/>
                </a:cubicBezTo>
                <a:cubicBezTo>
                  <a:pt x="8345890" y="4680617"/>
                  <a:pt x="8343986" y="4674908"/>
                  <a:pt x="8343986" y="4669200"/>
                </a:cubicBezTo>
                <a:cubicBezTo>
                  <a:pt x="8343986" y="4657782"/>
                  <a:pt x="8347793" y="4648268"/>
                  <a:pt x="8357311" y="4642559"/>
                </a:cubicBezTo>
                <a:cubicBezTo>
                  <a:pt x="8357311" y="4642559"/>
                  <a:pt x="8357311" y="4642559"/>
                  <a:pt x="8692330" y="4427531"/>
                </a:cubicBezTo>
                <a:cubicBezTo>
                  <a:pt x="8699944" y="4422774"/>
                  <a:pt x="8708511" y="4421347"/>
                  <a:pt x="8716363" y="4423012"/>
                </a:cubicBezTo>
                <a:close/>
                <a:moveTo>
                  <a:pt x="11596714" y="4414431"/>
                </a:moveTo>
                <a:cubicBezTo>
                  <a:pt x="11605055" y="4416570"/>
                  <a:pt x="11612681" y="4421797"/>
                  <a:pt x="11617447" y="4429399"/>
                </a:cubicBezTo>
                <a:cubicBezTo>
                  <a:pt x="11626980" y="4444605"/>
                  <a:pt x="11623167" y="4465512"/>
                  <a:pt x="11606008" y="4475016"/>
                </a:cubicBezTo>
                <a:cubicBezTo>
                  <a:pt x="11606008" y="4475016"/>
                  <a:pt x="11606008" y="4475016"/>
                  <a:pt x="11270463" y="4678388"/>
                </a:cubicBezTo>
                <a:cubicBezTo>
                  <a:pt x="11255211" y="4687892"/>
                  <a:pt x="11234239" y="4684090"/>
                  <a:pt x="11224707" y="4666984"/>
                </a:cubicBezTo>
                <a:cubicBezTo>
                  <a:pt x="11220894" y="4663183"/>
                  <a:pt x="11218987" y="4655580"/>
                  <a:pt x="11218987" y="4649878"/>
                </a:cubicBezTo>
                <a:cubicBezTo>
                  <a:pt x="11218987" y="4638474"/>
                  <a:pt x="11224707" y="4628971"/>
                  <a:pt x="11236146" y="4621368"/>
                </a:cubicBezTo>
                <a:cubicBezTo>
                  <a:pt x="11236146" y="4621368"/>
                  <a:pt x="11236146" y="4621368"/>
                  <a:pt x="11571691" y="4417995"/>
                </a:cubicBezTo>
                <a:cubicBezTo>
                  <a:pt x="11579317" y="4413244"/>
                  <a:pt x="11588373" y="4412293"/>
                  <a:pt x="11596714" y="4414431"/>
                </a:cubicBezTo>
                <a:close/>
                <a:moveTo>
                  <a:pt x="8153380" y="4414431"/>
                </a:moveTo>
                <a:cubicBezTo>
                  <a:pt x="8161721" y="4416570"/>
                  <a:pt x="8169347" y="4421797"/>
                  <a:pt x="8174113" y="4429399"/>
                </a:cubicBezTo>
                <a:cubicBezTo>
                  <a:pt x="8183646" y="4444605"/>
                  <a:pt x="8177926" y="4465512"/>
                  <a:pt x="8162674" y="4475016"/>
                </a:cubicBezTo>
                <a:cubicBezTo>
                  <a:pt x="8162674" y="4475016"/>
                  <a:pt x="8162674" y="4475016"/>
                  <a:pt x="7825222" y="4678388"/>
                </a:cubicBezTo>
                <a:cubicBezTo>
                  <a:pt x="7809970" y="4687892"/>
                  <a:pt x="7788998" y="4684090"/>
                  <a:pt x="7779466" y="4666984"/>
                </a:cubicBezTo>
                <a:cubicBezTo>
                  <a:pt x="7777559" y="4663183"/>
                  <a:pt x="7775653" y="4655580"/>
                  <a:pt x="7775653" y="4649878"/>
                </a:cubicBezTo>
                <a:cubicBezTo>
                  <a:pt x="7775653" y="4638474"/>
                  <a:pt x="7781372" y="4628971"/>
                  <a:pt x="7790905" y="4621368"/>
                </a:cubicBezTo>
                <a:cubicBezTo>
                  <a:pt x="7790905" y="4621368"/>
                  <a:pt x="7790905" y="4621368"/>
                  <a:pt x="8128357" y="4417995"/>
                </a:cubicBezTo>
                <a:cubicBezTo>
                  <a:pt x="8135983" y="4413244"/>
                  <a:pt x="8145039" y="4412293"/>
                  <a:pt x="8153380" y="4414431"/>
                </a:cubicBezTo>
                <a:close/>
                <a:moveTo>
                  <a:pt x="12139750" y="4406904"/>
                </a:moveTo>
                <a:cubicBezTo>
                  <a:pt x="12139750" y="4406904"/>
                  <a:pt x="12139750" y="4406904"/>
                  <a:pt x="12139750" y="4488819"/>
                </a:cubicBezTo>
                <a:cubicBezTo>
                  <a:pt x="12139750" y="4488819"/>
                  <a:pt x="12139750" y="4488819"/>
                  <a:pt x="11834405" y="4664079"/>
                </a:cubicBezTo>
                <a:cubicBezTo>
                  <a:pt x="11817230" y="4673604"/>
                  <a:pt x="11794329" y="4667889"/>
                  <a:pt x="11784787" y="4650744"/>
                </a:cubicBezTo>
                <a:cubicBezTo>
                  <a:pt x="11780970" y="4645029"/>
                  <a:pt x="11780970" y="4639314"/>
                  <a:pt x="11780970" y="4633599"/>
                </a:cubicBezTo>
                <a:cubicBezTo>
                  <a:pt x="11780970" y="4620264"/>
                  <a:pt x="11786695" y="4608834"/>
                  <a:pt x="11798146" y="4601214"/>
                </a:cubicBezTo>
                <a:lnTo>
                  <a:pt x="12135933" y="4408809"/>
                </a:lnTo>
                <a:cubicBezTo>
                  <a:pt x="12137842" y="4408809"/>
                  <a:pt x="12137842" y="4408809"/>
                  <a:pt x="12139750" y="4406904"/>
                </a:cubicBezTo>
                <a:close/>
                <a:moveTo>
                  <a:pt x="7595041" y="4405165"/>
                </a:moveTo>
                <a:cubicBezTo>
                  <a:pt x="7604076" y="4407549"/>
                  <a:pt x="7612160" y="4413271"/>
                  <a:pt x="7616915" y="4421853"/>
                </a:cubicBezTo>
                <a:cubicBezTo>
                  <a:pt x="7626426" y="4439018"/>
                  <a:pt x="7620719" y="4461905"/>
                  <a:pt x="7603601" y="4471441"/>
                </a:cubicBezTo>
                <a:cubicBezTo>
                  <a:pt x="7603601" y="4471441"/>
                  <a:pt x="7603601" y="4471441"/>
                  <a:pt x="7266929" y="4664069"/>
                </a:cubicBezTo>
                <a:cubicBezTo>
                  <a:pt x="7249810" y="4673605"/>
                  <a:pt x="7228887" y="4667883"/>
                  <a:pt x="7219376" y="4650718"/>
                </a:cubicBezTo>
                <a:cubicBezTo>
                  <a:pt x="7215572" y="4644997"/>
                  <a:pt x="7213670" y="4639275"/>
                  <a:pt x="7213670" y="4633553"/>
                </a:cubicBezTo>
                <a:cubicBezTo>
                  <a:pt x="7213670" y="4620203"/>
                  <a:pt x="7219376" y="4608760"/>
                  <a:pt x="7230789" y="4601131"/>
                </a:cubicBezTo>
                <a:cubicBezTo>
                  <a:pt x="7230789" y="4601131"/>
                  <a:pt x="7230789" y="4601131"/>
                  <a:pt x="7567461" y="4408503"/>
                </a:cubicBezTo>
                <a:cubicBezTo>
                  <a:pt x="7576020" y="4403735"/>
                  <a:pt x="7586006" y="4402781"/>
                  <a:pt x="7595041" y="4405165"/>
                </a:cubicBezTo>
                <a:close/>
                <a:moveTo>
                  <a:pt x="7045448" y="4396577"/>
                </a:moveTo>
                <a:cubicBezTo>
                  <a:pt x="7054742" y="4399431"/>
                  <a:pt x="7062844" y="4405615"/>
                  <a:pt x="7067610" y="4414178"/>
                </a:cubicBezTo>
                <a:cubicBezTo>
                  <a:pt x="7077143" y="4433205"/>
                  <a:pt x="7071423" y="4456038"/>
                  <a:pt x="7052359" y="4465552"/>
                </a:cubicBezTo>
                <a:cubicBezTo>
                  <a:pt x="7052359" y="4465552"/>
                  <a:pt x="7052359" y="4465552"/>
                  <a:pt x="6714913" y="4646313"/>
                </a:cubicBezTo>
                <a:cubicBezTo>
                  <a:pt x="6695848" y="4657730"/>
                  <a:pt x="6672970" y="4650119"/>
                  <a:pt x="6663438" y="4631091"/>
                </a:cubicBezTo>
                <a:cubicBezTo>
                  <a:pt x="6661531" y="4625383"/>
                  <a:pt x="6659625" y="4619675"/>
                  <a:pt x="6659625" y="4613966"/>
                </a:cubicBezTo>
                <a:cubicBezTo>
                  <a:pt x="6659625" y="4600647"/>
                  <a:pt x="6667251" y="4587328"/>
                  <a:pt x="6678689" y="4581620"/>
                </a:cubicBezTo>
                <a:cubicBezTo>
                  <a:pt x="6678689" y="4581620"/>
                  <a:pt x="6678689" y="4581620"/>
                  <a:pt x="7016136" y="4398956"/>
                </a:cubicBezTo>
                <a:cubicBezTo>
                  <a:pt x="7025668" y="4394199"/>
                  <a:pt x="7036154" y="4393723"/>
                  <a:pt x="7045448" y="4396577"/>
                </a:cubicBezTo>
                <a:close/>
                <a:moveTo>
                  <a:pt x="6484860" y="4386509"/>
                </a:moveTo>
                <a:cubicBezTo>
                  <a:pt x="6500286" y="4385262"/>
                  <a:pt x="6515979" y="4394170"/>
                  <a:pt x="6523112" y="4408422"/>
                </a:cubicBezTo>
                <a:cubicBezTo>
                  <a:pt x="6532623" y="4427426"/>
                  <a:pt x="6525014" y="4452131"/>
                  <a:pt x="6505992" y="4461632"/>
                </a:cubicBezTo>
                <a:cubicBezTo>
                  <a:pt x="6505992" y="4461632"/>
                  <a:pt x="6505992" y="4461632"/>
                  <a:pt x="6167407" y="4630765"/>
                </a:cubicBezTo>
                <a:cubicBezTo>
                  <a:pt x="6148385" y="4640267"/>
                  <a:pt x="6123657" y="4632665"/>
                  <a:pt x="6114146" y="4613662"/>
                </a:cubicBezTo>
                <a:cubicBezTo>
                  <a:pt x="6112244" y="4607961"/>
                  <a:pt x="6110342" y="4600359"/>
                  <a:pt x="6110342" y="4594658"/>
                </a:cubicBezTo>
                <a:cubicBezTo>
                  <a:pt x="6110342" y="4581355"/>
                  <a:pt x="6117950" y="4566153"/>
                  <a:pt x="6131266" y="4560451"/>
                </a:cubicBezTo>
                <a:cubicBezTo>
                  <a:pt x="6131266" y="4560451"/>
                  <a:pt x="6131266" y="4560451"/>
                  <a:pt x="6469851" y="4391319"/>
                </a:cubicBezTo>
                <a:cubicBezTo>
                  <a:pt x="6474607" y="4388468"/>
                  <a:pt x="6479719" y="4386924"/>
                  <a:pt x="6484860" y="4386509"/>
                </a:cubicBezTo>
                <a:close/>
                <a:moveTo>
                  <a:pt x="5956832" y="4379618"/>
                </a:moveTo>
                <a:cubicBezTo>
                  <a:pt x="5966832" y="4382960"/>
                  <a:pt x="5975405" y="4390122"/>
                  <a:pt x="5980168" y="4400625"/>
                </a:cubicBezTo>
                <a:cubicBezTo>
                  <a:pt x="5989693" y="4421633"/>
                  <a:pt x="5982072" y="4446460"/>
                  <a:pt x="5961118" y="4456009"/>
                </a:cubicBezTo>
                <a:cubicBezTo>
                  <a:pt x="5961118" y="4456009"/>
                  <a:pt x="5961118" y="4456009"/>
                  <a:pt x="5622031" y="4616430"/>
                </a:cubicBezTo>
                <a:cubicBezTo>
                  <a:pt x="5601076" y="4625979"/>
                  <a:pt x="5576311" y="4616430"/>
                  <a:pt x="5564881" y="4595422"/>
                </a:cubicBezTo>
                <a:cubicBezTo>
                  <a:pt x="5562976" y="4589693"/>
                  <a:pt x="5561071" y="4583964"/>
                  <a:pt x="5561071" y="4578234"/>
                </a:cubicBezTo>
                <a:cubicBezTo>
                  <a:pt x="5561071" y="4561046"/>
                  <a:pt x="5570596" y="4547678"/>
                  <a:pt x="5585836" y="4540039"/>
                </a:cubicBezTo>
                <a:cubicBezTo>
                  <a:pt x="5585836" y="4540039"/>
                  <a:pt x="5585836" y="4540039"/>
                  <a:pt x="5924923" y="4381528"/>
                </a:cubicBezTo>
                <a:cubicBezTo>
                  <a:pt x="5935400" y="4376753"/>
                  <a:pt x="5946830" y="4376276"/>
                  <a:pt x="5956832" y="4379618"/>
                </a:cubicBezTo>
                <a:close/>
                <a:moveTo>
                  <a:pt x="398944" y="4379618"/>
                </a:moveTo>
                <a:cubicBezTo>
                  <a:pt x="408946" y="4382960"/>
                  <a:pt x="417518" y="4390121"/>
                  <a:pt x="422281" y="4400625"/>
                </a:cubicBezTo>
                <a:cubicBezTo>
                  <a:pt x="431806" y="4421633"/>
                  <a:pt x="422281" y="4446460"/>
                  <a:pt x="401326" y="4456009"/>
                </a:cubicBezTo>
                <a:cubicBezTo>
                  <a:pt x="401326" y="4456009"/>
                  <a:pt x="401326" y="4456009"/>
                  <a:pt x="62231" y="4616430"/>
                </a:cubicBezTo>
                <a:cubicBezTo>
                  <a:pt x="41276" y="4625979"/>
                  <a:pt x="16511" y="4616430"/>
                  <a:pt x="6986" y="4595422"/>
                </a:cubicBezTo>
                <a:cubicBezTo>
                  <a:pt x="5081" y="4589693"/>
                  <a:pt x="3176" y="4583964"/>
                  <a:pt x="3176" y="4578234"/>
                </a:cubicBezTo>
                <a:cubicBezTo>
                  <a:pt x="3176" y="4561046"/>
                  <a:pt x="12701" y="4547678"/>
                  <a:pt x="27941" y="4540039"/>
                </a:cubicBezTo>
                <a:cubicBezTo>
                  <a:pt x="27941" y="4540039"/>
                  <a:pt x="27941" y="4540039"/>
                  <a:pt x="367035" y="4381528"/>
                </a:cubicBezTo>
                <a:cubicBezTo>
                  <a:pt x="377513" y="4376753"/>
                  <a:pt x="388943" y="4376276"/>
                  <a:pt x="398944" y="4379618"/>
                </a:cubicBezTo>
                <a:close/>
                <a:moveTo>
                  <a:pt x="5410426" y="4371276"/>
                </a:moveTo>
                <a:cubicBezTo>
                  <a:pt x="5420687" y="4375329"/>
                  <a:pt x="5429278" y="4383436"/>
                  <a:pt x="5434051" y="4394881"/>
                </a:cubicBezTo>
                <a:cubicBezTo>
                  <a:pt x="5443597" y="4415863"/>
                  <a:pt x="5434051" y="4442567"/>
                  <a:pt x="5411141" y="4452105"/>
                </a:cubicBezTo>
                <a:cubicBezTo>
                  <a:pt x="5411141" y="4452105"/>
                  <a:pt x="5411141" y="4452105"/>
                  <a:pt x="5071298" y="4598979"/>
                </a:cubicBezTo>
                <a:cubicBezTo>
                  <a:pt x="5048391" y="4608517"/>
                  <a:pt x="5023573" y="4598979"/>
                  <a:pt x="5014028" y="4576090"/>
                </a:cubicBezTo>
                <a:cubicBezTo>
                  <a:pt x="5010210" y="4570367"/>
                  <a:pt x="5010210" y="4564645"/>
                  <a:pt x="5010210" y="4558923"/>
                </a:cubicBezTo>
                <a:cubicBezTo>
                  <a:pt x="5010210" y="4541755"/>
                  <a:pt x="5019755" y="4526496"/>
                  <a:pt x="5036936" y="4518866"/>
                </a:cubicBezTo>
                <a:cubicBezTo>
                  <a:pt x="5036936" y="4518866"/>
                  <a:pt x="5036936" y="4518866"/>
                  <a:pt x="5376776" y="4371991"/>
                </a:cubicBezTo>
                <a:cubicBezTo>
                  <a:pt x="5388232" y="4367223"/>
                  <a:pt x="5400163" y="4367223"/>
                  <a:pt x="5410426" y="4371276"/>
                </a:cubicBezTo>
                <a:close/>
                <a:moveTo>
                  <a:pt x="943805" y="4371276"/>
                </a:moveTo>
                <a:cubicBezTo>
                  <a:pt x="954537" y="4375329"/>
                  <a:pt x="963599" y="4383436"/>
                  <a:pt x="968368" y="4394881"/>
                </a:cubicBezTo>
                <a:cubicBezTo>
                  <a:pt x="977908" y="4415863"/>
                  <a:pt x="966461" y="4442567"/>
                  <a:pt x="945475" y="4452105"/>
                </a:cubicBezTo>
                <a:cubicBezTo>
                  <a:pt x="945475" y="4452105"/>
                  <a:pt x="945475" y="4452105"/>
                  <a:pt x="603977" y="4598979"/>
                </a:cubicBezTo>
                <a:cubicBezTo>
                  <a:pt x="581083" y="4608517"/>
                  <a:pt x="556282" y="4598979"/>
                  <a:pt x="546743" y="4576090"/>
                </a:cubicBezTo>
                <a:cubicBezTo>
                  <a:pt x="544835" y="4570367"/>
                  <a:pt x="542927" y="4564645"/>
                  <a:pt x="542927" y="4558923"/>
                </a:cubicBezTo>
                <a:cubicBezTo>
                  <a:pt x="542927" y="4541755"/>
                  <a:pt x="552466" y="4526496"/>
                  <a:pt x="569637" y="4518866"/>
                </a:cubicBezTo>
                <a:cubicBezTo>
                  <a:pt x="569637" y="4518866"/>
                  <a:pt x="569637" y="4518866"/>
                  <a:pt x="909226" y="4371991"/>
                </a:cubicBezTo>
                <a:cubicBezTo>
                  <a:pt x="920673" y="4367223"/>
                  <a:pt x="933074" y="4367223"/>
                  <a:pt x="943805" y="4371276"/>
                </a:cubicBezTo>
                <a:close/>
                <a:moveTo>
                  <a:pt x="4841668" y="4359082"/>
                </a:moveTo>
                <a:cubicBezTo>
                  <a:pt x="4859263" y="4359350"/>
                  <a:pt x="4876052" y="4370051"/>
                  <a:pt x="4883197" y="4387173"/>
                </a:cubicBezTo>
                <a:cubicBezTo>
                  <a:pt x="4892725" y="4411906"/>
                  <a:pt x="4881293" y="4438541"/>
                  <a:pt x="4856523" y="4448053"/>
                </a:cubicBezTo>
                <a:cubicBezTo>
                  <a:pt x="4856523" y="4448053"/>
                  <a:pt x="4856523" y="4448053"/>
                  <a:pt x="4517432" y="4583129"/>
                </a:cubicBezTo>
                <a:cubicBezTo>
                  <a:pt x="4492669" y="4592642"/>
                  <a:pt x="4465998" y="4581227"/>
                  <a:pt x="4456473" y="4556495"/>
                </a:cubicBezTo>
                <a:cubicBezTo>
                  <a:pt x="4454569" y="4550787"/>
                  <a:pt x="4454569" y="4545080"/>
                  <a:pt x="4454569" y="4539372"/>
                </a:cubicBezTo>
                <a:cubicBezTo>
                  <a:pt x="4454569" y="4522250"/>
                  <a:pt x="4464094" y="4505127"/>
                  <a:pt x="4483145" y="4497518"/>
                </a:cubicBezTo>
                <a:cubicBezTo>
                  <a:pt x="4483145" y="4497518"/>
                  <a:pt x="4483145" y="4497518"/>
                  <a:pt x="4824134" y="4362441"/>
                </a:cubicBezTo>
                <a:cubicBezTo>
                  <a:pt x="4829847" y="4360063"/>
                  <a:pt x="4835801" y="4358993"/>
                  <a:pt x="4841668" y="4359082"/>
                </a:cubicBezTo>
                <a:close/>
                <a:moveTo>
                  <a:pt x="1477208" y="4359082"/>
                </a:moveTo>
                <a:cubicBezTo>
                  <a:pt x="1495514" y="4359350"/>
                  <a:pt x="1511945" y="4370051"/>
                  <a:pt x="1517660" y="4387173"/>
                </a:cubicBezTo>
                <a:cubicBezTo>
                  <a:pt x="1527185" y="4411906"/>
                  <a:pt x="1515755" y="4438541"/>
                  <a:pt x="1492894" y="4448053"/>
                </a:cubicBezTo>
                <a:cubicBezTo>
                  <a:pt x="1492894" y="4448053"/>
                  <a:pt x="1492894" y="4448053"/>
                  <a:pt x="1151895" y="4583129"/>
                </a:cubicBezTo>
                <a:cubicBezTo>
                  <a:pt x="1129035" y="4592642"/>
                  <a:pt x="1102365" y="4581227"/>
                  <a:pt x="1092840" y="4556495"/>
                </a:cubicBezTo>
                <a:cubicBezTo>
                  <a:pt x="1090935" y="4550787"/>
                  <a:pt x="1089029" y="4545080"/>
                  <a:pt x="1089029" y="4539372"/>
                </a:cubicBezTo>
                <a:cubicBezTo>
                  <a:pt x="1089029" y="4522250"/>
                  <a:pt x="1100460" y="4505127"/>
                  <a:pt x="1117605" y="4497518"/>
                </a:cubicBezTo>
                <a:cubicBezTo>
                  <a:pt x="1117605" y="4497518"/>
                  <a:pt x="1117605" y="4497518"/>
                  <a:pt x="1458604" y="4362441"/>
                </a:cubicBezTo>
                <a:cubicBezTo>
                  <a:pt x="1464795" y="4360063"/>
                  <a:pt x="1471106" y="4358993"/>
                  <a:pt x="1477208" y="4359082"/>
                </a:cubicBezTo>
                <a:close/>
                <a:moveTo>
                  <a:pt x="4284028" y="4349919"/>
                </a:moveTo>
                <a:cubicBezTo>
                  <a:pt x="4302829" y="4350816"/>
                  <a:pt x="4320295" y="4363010"/>
                  <a:pt x="4325998" y="4381660"/>
                </a:cubicBezTo>
                <a:cubicBezTo>
                  <a:pt x="4335502" y="4406527"/>
                  <a:pt x="4322195" y="4435219"/>
                  <a:pt x="4297483" y="4442870"/>
                </a:cubicBezTo>
                <a:cubicBezTo>
                  <a:pt x="4297483" y="4442870"/>
                  <a:pt x="4297483" y="4442870"/>
                  <a:pt x="3957235" y="4569116"/>
                </a:cubicBezTo>
                <a:cubicBezTo>
                  <a:pt x="3932521" y="4576767"/>
                  <a:pt x="3904007" y="4565290"/>
                  <a:pt x="3896403" y="4538511"/>
                </a:cubicBezTo>
                <a:cubicBezTo>
                  <a:pt x="3894503" y="4534685"/>
                  <a:pt x="3892602" y="4528946"/>
                  <a:pt x="3892602" y="4523208"/>
                </a:cubicBezTo>
                <a:cubicBezTo>
                  <a:pt x="3892602" y="4502167"/>
                  <a:pt x="3904007" y="4484952"/>
                  <a:pt x="3924919" y="4477301"/>
                </a:cubicBezTo>
                <a:cubicBezTo>
                  <a:pt x="3924919" y="4477301"/>
                  <a:pt x="3924919" y="4477301"/>
                  <a:pt x="4265165" y="4352968"/>
                </a:cubicBezTo>
                <a:cubicBezTo>
                  <a:pt x="4271343" y="4350577"/>
                  <a:pt x="4277760" y="4349620"/>
                  <a:pt x="4284028" y="4349919"/>
                </a:cubicBezTo>
                <a:close/>
                <a:moveTo>
                  <a:pt x="2029783" y="4349919"/>
                </a:moveTo>
                <a:cubicBezTo>
                  <a:pt x="2048677" y="4350816"/>
                  <a:pt x="2066500" y="4363010"/>
                  <a:pt x="2073628" y="4381660"/>
                </a:cubicBezTo>
                <a:cubicBezTo>
                  <a:pt x="2081232" y="4406527"/>
                  <a:pt x="2069826" y="4435219"/>
                  <a:pt x="2045109" y="4442870"/>
                </a:cubicBezTo>
                <a:cubicBezTo>
                  <a:pt x="2045109" y="4442870"/>
                  <a:pt x="2045109" y="4442870"/>
                  <a:pt x="1702940" y="4569116"/>
                </a:cubicBezTo>
                <a:cubicBezTo>
                  <a:pt x="1678228" y="4576767"/>
                  <a:pt x="1651615" y="4565290"/>
                  <a:pt x="1642110" y="4538511"/>
                </a:cubicBezTo>
                <a:cubicBezTo>
                  <a:pt x="1640209" y="4534685"/>
                  <a:pt x="1638308" y="4528946"/>
                  <a:pt x="1638308" y="4523208"/>
                </a:cubicBezTo>
                <a:cubicBezTo>
                  <a:pt x="1638308" y="4502167"/>
                  <a:pt x="1651615" y="4484952"/>
                  <a:pt x="1670624" y="4477301"/>
                </a:cubicBezTo>
                <a:cubicBezTo>
                  <a:pt x="1670624" y="4477301"/>
                  <a:pt x="1670624" y="4477301"/>
                  <a:pt x="2010892" y="4352968"/>
                </a:cubicBezTo>
                <a:cubicBezTo>
                  <a:pt x="2017070" y="4350577"/>
                  <a:pt x="2023486" y="4349620"/>
                  <a:pt x="2029783" y="4349919"/>
                </a:cubicBezTo>
                <a:close/>
                <a:moveTo>
                  <a:pt x="3722769" y="4341198"/>
                </a:moveTo>
                <a:cubicBezTo>
                  <a:pt x="3742402" y="4342989"/>
                  <a:pt x="3759894" y="4355526"/>
                  <a:pt x="3765605" y="4375585"/>
                </a:cubicBezTo>
                <a:cubicBezTo>
                  <a:pt x="3775123" y="4402330"/>
                  <a:pt x="3759894" y="4430986"/>
                  <a:pt x="3733239" y="4438627"/>
                </a:cubicBezTo>
                <a:cubicBezTo>
                  <a:pt x="3733239" y="4438627"/>
                  <a:pt x="3733239" y="4438627"/>
                  <a:pt x="3392495" y="4551340"/>
                </a:cubicBezTo>
                <a:cubicBezTo>
                  <a:pt x="3365843" y="4560892"/>
                  <a:pt x="3337287" y="4545609"/>
                  <a:pt x="3329672" y="4518863"/>
                </a:cubicBezTo>
                <a:cubicBezTo>
                  <a:pt x="3327768" y="4515043"/>
                  <a:pt x="3325867" y="4509311"/>
                  <a:pt x="3325867" y="4503580"/>
                </a:cubicBezTo>
                <a:cubicBezTo>
                  <a:pt x="3325867" y="4482566"/>
                  <a:pt x="3339190" y="4463462"/>
                  <a:pt x="3360130" y="4455821"/>
                </a:cubicBezTo>
                <a:cubicBezTo>
                  <a:pt x="3360130" y="4455821"/>
                  <a:pt x="3360130" y="4455821"/>
                  <a:pt x="3702778" y="4343108"/>
                </a:cubicBezTo>
                <a:cubicBezTo>
                  <a:pt x="3709442" y="4341198"/>
                  <a:pt x="3716224" y="4340601"/>
                  <a:pt x="3722769" y="4341198"/>
                </a:cubicBezTo>
                <a:close/>
                <a:moveTo>
                  <a:pt x="2589270" y="4341198"/>
                </a:moveTo>
                <a:cubicBezTo>
                  <a:pt x="2608904" y="4342989"/>
                  <a:pt x="2626391" y="4355526"/>
                  <a:pt x="2632102" y="4375585"/>
                </a:cubicBezTo>
                <a:cubicBezTo>
                  <a:pt x="2641621" y="4402330"/>
                  <a:pt x="2626391" y="4430986"/>
                  <a:pt x="2599740" y="4438627"/>
                </a:cubicBezTo>
                <a:cubicBezTo>
                  <a:pt x="2599740" y="4438627"/>
                  <a:pt x="2599740" y="4438627"/>
                  <a:pt x="2258982" y="4551340"/>
                </a:cubicBezTo>
                <a:cubicBezTo>
                  <a:pt x="2232330" y="4560892"/>
                  <a:pt x="2203775" y="4545609"/>
                  <a:pt x="2196160" y="4518863"/>
                </a:cubicBezTo>
                <a:cubicBezTo>
                  <a:pt x="2194256" y="4515043"/>
                  <a:pt x="2192353" y="4509311"/>
                  <a:pt x="2192353" y="4503580"/>
                </a:cubicBezTo>
                <a:cubicBezTo>
                  <a:pt x="2192353" y="4482566"/>
                  <a:pt x="2205678" y="4463462"/>
                  <a:pt x="2226618" y="4455821"/>
                </a:cubicBezTo>
                <a:cubicBezTo>
                  <a:pt x="2226618" y="4455821"/>
                  <a:pt x="2226618" y="4455821"/>
                  <a:pt x="2569281" y="4343108"/>
                </a:cubicBezTo>
                <a:cubicBezTo>
                  <a:pt x="2575943" y="4341198"/>
                  <a:pt x="2582725" y="4340601"/>
                  <a:pt x="2589270" y="4341198"/>
                </a:cubicBezTo>
                <a:close/>
                <a:moveTo>
                  <a:pt x="3152166" y="4331993"/>
                </a:moveTo>
                <a:cubicBezTo>
                  <a:pt x="3172560" y="4334408"/>
                  <a:pt x="3190013" y="4348358"/>
                  <a:pt x="3195711" y="4369821"/>
                </a:cubicBezTo>
                <a:cubicBezTo>
                  <a:pt x="3205210" y="4396530"/>
                  <a:pt x="3188112" y="4427055"/>
                  <a:pt x="3161515" y="4434686"/>
                </a:cubicBezTo>
                <a:cubicBezTo>
                  <a:pt x="3161515" y="4434686"/>
                  <a:pt x="3161515" y="4434686"/>
                  <a:pt x="2819567" y="4535799"/>
                </a:cubicBezTo>
                <a:cubicBezTo>
                  <a:pt x="2791072" y="4543430"/>
                  <a:pt x="2762578" y="4528167"/>
                  <a:pt x="2753076" y="4499551"/>
                </a:cubicBezTo>
                <a:cubicBezTo>
                  <a:pt x="2753076" y="4495735"/>
                  <a:pt x="2751179" y="4490012"/>
                  <a:pt x="2751179" y="4486196"/>
                </a:cubicBezTo>
                <a:cubicBezTo>
                  <a:pt x="2751179" y="4463303"/>
                  <a:pt x="2766374" y="4442317"/>
                  <a:pt x="2789171" y="4434686"/>
                </a:cubicBezTo>
                <a:cubicBezTo>
                  <a:pt x="2789171" y="4434686"/>
                  <a:pt x="2789171" y="4434686"/>
                  <a:pt x="3131122" y="4333573"/>
                </a:cubicBezTo>
                <a:cubicBezTo>
                  <a:pt x="3138245" y="4331665"/>
                  <a:pt x="3145368" y="4331188"/>
                  <a:pt x="3152166" y="4331993"/>
                </a:cubicBezTo>
                <a:close/>
                <a:moveTo>
                  <a:pt x="9861856" y="4113368"/>
                </a:moveTo>
                <a:cubicBezTo>
                  <a:pt x="9868037" y="4114318"/>
                  <a:pt x="9873743" y="4117645"/>
                  <a:pt x="9877547" y="4123348"/>
                </a:cubicBezTo>
                <a:cubicBezTo>
                  <a:pt x="9887056" y="4132854"/>
                  <a:pt x="9885154" y="4149964"/>
                  <a:pt x="9873743" y="4157568"/>
                </a:cubicBezTo>
                <a:cubicBezTo>
                  <a:pt x="9873743" y="4157568"/>
                  <a:pt x="9873743" y="4157568"/>
                  <a:pt x="9540914" y="4410411"/>
                </a:cubicBezTo>
                <a:cubicBezTo>
                  <a:pt x="9531404" y="4418016"/>
                  <a:pt x="9516189" y="4416115"/>
                  <a:pt x="9506680" y="4404708"/>
                </a:cubicBezTo>
                <a:cubicBezTo>
                  <a:pt x="9502876" y="4400906"/>
                  <a:pt x="9502876" y="4395203"/>
                  <a:pt x="9502876" y="4391401"/>
                </a:cubicBezTo>
                <a:cubicBezTo>
                  <a:pt x="9502876" y="4383796"/>
                  <a:pt x="9504778" y="4376192"/>
                  <a:pt x="9512385" y="4370489"/>
                </a:cubicBezTo>
                <a:cubicBezTo>
                  <a:pt x="9512385" y="4370489"/>
                  <a:pt x="9512385" y="4370489"/>
                  <a:pt x="9843313" y="4117645"/>
                </a:cubicBezTo>
                <a:cubicBezTo>
                  <a:pt x="9849019" y="4113843"/>
                  <a:pt x="9855675" y="4112417"/>
                  <a:pt x="9861856" y="4113368"/>
                </a:cubicBezTo>
                <a:close/>
                <a:moveTo>
                  <a:pt x="10446896" y="4105427"/>
                </a:moveTo>
                <a:cubicBezTo>
                  <a:pt x="10453802" y="4106377"/>
                  <a:pt x="10460470" y="4109700"/>
                  <a:pt x="10465232" y="4115397"/>
                </a:cubicBezTo>
                <a:cubicBezTo>
                  <a:pt x="10472852" y="4128690"/>
                  <a:pt x="10470947" y="4145780"/>
                  <a:pt x="10459517" y="4153376"/>
                </a:cubicBezTo>
                <a:cubicBezTo>
                  <a:pt x="10459517" y="4153376"/>
                  <a:pt x="10459517" y="4153376"/>
                  <a:pt x="10124233" y="4392647"/>
                </a:cubicBezTo>
                <a:cubicBezTo>
                  <a:pt x="10112802" y="4402142"/>
                  <a:pt x="10095657" y="4398344"/>
                  <a:pt x="10088037" y="4386950"/>
                </a:cubicBezTo>
                <a:cubicBezTo>
                  <a:pt x="10084227" y="4381253"/>
                  <a:pt x="10082322" y="4375556"/>
                  <a:pt x="10082322" y="4369859"/>
                </a:cubicBezTo>
                <a:cubicBezTo>
                  <a:pt x="10082322" y="4362263"/>
                  <a:pt x="10086132" y="4354667"/>
                  <a:pt x="10093752" y="4348970"/>
                </a:cubicBezTo>
                <a:cubicBezTo>
                  <a:pt x="10093752" y="4348970"/>
                  <a:pt x="10093752" y="4348970"/>
                  <a:pt x="10427131" y="4109700"/>
                </a:cubicBezTo>
                <a:cubicBezTo>
                  <a:pt x="10432846" y="4105902"/>
                  <a:pt x="10439990" y="4104478"/>
                  <a:pt x="10446896" y="4105427"/>
                </a:cubicBezTo>
                <a:close/>
                <a:moveTo>
                  <a:pt x="9286179" y="4105427"/>
                </a:moveTo>
                <a:cubicBezTo>
                  <a:pt x="9292847" y="4106377"/>
                  <a:pt x="9299038" y="4109700"/>
                  <a:pt x="9302848" y="4115397"/>
                </a:cubicBezTo>
                <a:cubicBezTo>
                  <a:pt x="9312373" y="4128690"/>
                  <a:pt x="9310468" y="4145780"/>
                  <a:pt x="9297133" y="4153376"/>
                </a:cubicBezTo>
                <a:cubicBezTo>
                  <a:pt x="9297133" y="4153376"/>
                  <a:pt x="9297133" y="4153376"/>
                  <a:pt x="8963754" y="4392647"/>
                </a:cubicBezTo>
                <a:cubicBezTo>
                  <a:pt x="8952323" y="4402142"/>
                  <a:pt x="8935178" y="4398344"/>
                  <a:pt x="8925653" y="4386950"/>
                </a:cubicBezTo>
                <a:cubicBezTo>
                  <a:pt x="8921843" y="4381253"/>
                  <a:pt x="8921843" y="4375556"/>
                  <a:pt x="8921843" y="4369859"/>
                </a:cubicBezTo>
                <a:cubicBezTo>
                  <a:pt x="8921843" y="4362263"/>
                  <a:pt x="8925653" y="4354667"/>
                  <a:pt x="8931368" y="4348970"/>
                </a:cubicBezTo>
                <a:cubicBezTo>
                  <a:pt x="8931368" y="4348970"/>
                  <a:pt x="8931368" y="4348970"/>
                  <a:pt x="9266652" y="4109700"/>
                </a:cubicBezTo>
                <a:cubicBezTo>
                  <a:pt x="9272368" y="4105902"/>
                  <a:pt x="9279512" y="4104478"/>
                  <a:pt x="9286179" y="4105427"/>
                </a:cubicBezTo>
                <a:close/>
                <a:moveTo>
                  <a:pt x="11024810" y="4097347"/>
                </a:moveTo>
                <a:cubicBezTo>
                  <a:pt x="11032437" y="4098777"/>
                  <a:pt x="11039586" y="4103068"/>
                  <a:pt x="11044352" y="4109742"/>
                </a:cubicBezTo>
                <a:cubicBezTo>
                  <a:pt x="11053885" y="4123092"/>
                  <a:pt x="11050072" y="4142163"/>
                  <a:pt x="11036726" y="4149791"/>
                </a:cubicBezTo>
                <a:cubicBezTo>
                  <a:pt x="11036726" y="4149791"/>
                  <a:pt x="11036726" y="4149791"/>
                  <a:pt x="10701174" y="4376731"/>
                </a:cubicBezTo>
                <a:cubicBezTo>
                  <a:pt x="10687828" y="4386267"/>
                  <a:pt x="10668763" y="4382453"/>
                  <a:pt x="10659230" y="4369103"/>
                </a:cubicBezTo>
                <a:cubicBezTo>
                  <a:pt x="10657324" y="4363382"/>
                  <a:pt x="10655417" y="4357661"/>
                  <a:pt x="10655417" y="4351940"/>
                </a:cubicBezTo>
                <a:cubicBezTo>
                  <a:pt x="10655417" y="4342404"/>
                  <a:pt x="10659230" y="4332869"/>
                  <a:pt x="10668763" y="4327148"/>
                </a:cubicBezTo>
                <a:cubicBezTo>
                  <a:pt x="10668763" y="4327148"/>
                  <a:pt x="10668763" y="4327148"/>
                  <a:pt x="11002408" y="4102114"/>
                </a:cubicBezTo>
                <a:cubicBezTo>
                  <a:pt x="11009081" y="4097346"/>
                  <a:pt x="11017184" y="4095916"/>
                  <a:pt x="11024810" y="4097347"/>
                </a:cubicBezTo>
                <a:close/>
                <a:moveTo>
                  <a:pt x="8715681" y="4097347"/>
                </a:moveTo>
                <a:cubicBezTo>
                  <a:pt x="8723069" y="4098777"/>
                  <a:pt x="8729742" y="4103068"/>
                  <a:pt x="8734508" y="4109742"/>
                </a:cubicBezTo>
                <a:cubicBezTo>
                  <a:pt x="8744041" y="4123092"/>
                  <a:pt x="8740228" y="4142163"/>
                  <a:pt x="8726882" y="4149791"/>
                </a:cubicBezTo>
                <a:cubicBezTo>
                  <a:pt x="8726882" y="4149791"/>
                  <a:pt x="8726882" y="4149791"/>
                  <a:pt x="8391330" y="4376731"/>
                </a:cubicBezTo>
                <a:cubicBezTo>
                  <a:pt x="8377984" y="4386267"/>
                  <a:pt x="8358919" y="4382453"/>
                  <a:pt x="8351293" y="4369103"/>
                </a:cubicBezTo>
                <a:cubicBezTo>
                  <a:pt x="8347480" y="4363382"/>
                  <a:pt x="8345573" y="4357661"/>
                  <a:pt x="8345573" y="4351940"/>
                </a:cubicBezTo>
                <a:cubicBezTo>
                  <a:pt x="8345573" y="4342404"/>
                  <a:pt x="8349386" y="4332869"/>
                  <a:pt x="8358919" y="4327148"/>
                </a:cubicBezTo>
                <a:cubicBezTo>
                  <a:pt x="8358919" y="4327148"/>
                  <a:pt x="8358919" y="4327148"/>
                  <a:pt x="8692564" y="4102114"/>
                </a:cubicBezTo>
                <a:cubicBezTo>
                  <a:pt x="8700191" y="4097347"/>
                  <a:pt x="8708294" y="4095916"/>
                  <a:pt x="8715681" y="4097347"/>
                </a:cubicBezTo>
                <a:close/>
                <a:moveTo>
                  <a:pt x="11596149" y="4089007"/>
                </a:moveTo>
                <a:cubicBezTo>
                  <a:pt x="11603995" y="4091150"/>
                  <a:pt x="11611128" y="4096389"/>
                  <a:pt x="11615883" y="4104009"/>
                </a:cubicBezTo>
                <a:cubicBezTo>
                  <a:pt x="11625393" y="4117344"/>
                  <a:pt x="11621589" y="4138299"/>
                  <a:pt x="11606373" y="4147824"/>
                </a:cubicBezTo>
                <a:cubicBezTo>
                  <a:pt x="11606373" y="4147824"/>
                  <a:pt x="11606373" y="4147824"/>
                  <a:pt x="11271615" y="4359279"/>
                </a:cubicBezTo>
                <a:cubicBezTo>
                  <a:pt x="11256399" y="4368804"/>
                  <a:pt x="11237378" y="4364994"/>
                  <a:pt x="11227868" y="4349754"/>
                </a:cubicBezTo>
                <a:cubicBezTo>
                  <a:pt x="11224064" y="4344039"/>
                  <a:pt x="11222162" y="4338324"/>
                  <a:pt x="11222162" y="4332609"/>
                </a:cubicBezTo>
                <a:cubicBezTo>
                  <a:pt x="11222162" y="4321179"/>
                  <a:pt x="11227868" y="4311654"/>
                  <a:pt x="11237378" y="4305939"/>
                </a:cubicBezTo>
                <a:cubicBezTo>
                  <a:pt x="11237378" y="4305939"/>
                  <a:pt x="11237378" y="4305939"/>
                  <a:pt x="11572136" y="4092579"/>
                </a:cubicBezTo>
                <a:cubicBezTo>
                  <a:pt x="11579744" y="4087816"/>
                  <a:pt x="11588303" y="4086864"/>
                  <a:pt x="11596149" y="4089007"/>
                </a:cubicBezTo>
                <a:close/>
                <a:moveTo>
                  <a:pt x="8152699" y="4089007"/>
                </a:moveTo>
                <a:cubicBezTo>
                  <a:pt x="8160576" y="4091150"/>
                  <a:pt x="8167736" y="4096389"/>
                  <a:pt x="8172510" y="4104009"/>
                </a:cubicBezTo>
                <a:cubicBezTo>
                  <a:pt x="8182058" y="4117344"/>
                  <a:pt x="8176329" y="4138299"/>
                  <a:pt x="8162963" y="4147824"/>
                </a:cubicBezTo>
                <a:cubicBezTo>
                  <a:pt x="8162963" y="4147824"/>
                  <a:pt x="8162963" y="4147824"/>
                  <a:pt x="7824978" y="4359279"/>
                </a:cubicBezTo>
                <a:cubicBezTo>
                  <a:pt x="7811611" y="4368804"/>
                  <a:pt x="7790606" y="4364994"/>
                  <a:pt x="7781059" y="4349754"/>
                </a:cubicBezTo>
                <a:cubicBezTo>
                  <a:pt x="7779149" y="4344039"/>
                  <a:pt x="7777240" y="4338324"/>
                  <a:pt x="7777240" y="4332609"/>
                </a:cubicBezTo>
                <a:cubicBezTo>
                  <a:pt x="7777240" y="4321179"/>
                  <a:pt x="7781059" y="4311654"/>
                  <a:pt x="7792516" y="4305939"/>
                </a:cubicBezTo>
                <a:cubicBezTo>
                  <a:pt x="7792516" y="4305939"/>
                  <a:pt x="7792516" y="4305939"/>
                  <a:pt x="8128591" y="4092579"/>
                </a:cubicBezTo>
                <a:cubicBezTo>
                  <a:pt x="8136229" y="4087816"/>
                  <a:pt x="8144822" y="4086864"/>
                  <a:pt x="8152699" y="4089007"/>
                </a:cubicBezTo>
                <a:close/>
                <a:moveTo>
                  <a:pt x="12139750" y="4083054"/>
                </a:moveTo>
                <a:cubicBezTo>
                  <a:pt x="12139750" y="4083054"/>
                  <a:pt x="12139750" y="4083054"/>
                  <a:pt x="12139750" y="4162969"/>
                </a:cubicBezTo>
                <a:cubicBezTo>
                  <a:pt x="12139750" y="4162969"/>
                  <a:pt x="12139750" y="4162969"/>
                  <a:pt x="11834405" y="4341828"/>
                </a:cubicBezTo>
                <a:cubicBezTo>
                  <a:pt x="11817230" y="4351342"/>
                  <a:pt x="11796237" y="4347536"/>
                  <a:pt x="11786695" y="4330411"/>
                </a:cubicBezTo>
                <a:cubicBezTo>
                  <a:pt x="11782878" y="4324703"/>
                  <a:pt x="11780970" y="4318995"/>
                  <a:pt x="11780970" y="4313287"/>
                </a:cubicBezTo>
                <a:cubicBezTo>
                  <a:pt x="11780970" y="4301870"/>
                  <a:pt x="11788604" y="4290454"/>
                  <a:pt x="11798146" y="4282843"/>
                </a:cubicBezTo>
                <a:lnTo>
                  <a:pt x="12135933" y="4084957"/>
                </a:lnTo>
                <a:cubicBezTo>
                  <a:pt x="12137842" y="4084957"/>
                  <a:pt x="12137842" y="4083054"/>
                  <a:pt x="12139750" y="4083054"/>
                </a:cubicBezTo>
                <a:close/>
                <a:moveTo>
                  <a:pt x="7594358" y="4081069"/>
                </a:moveTo>
                <a:cubicBezTo>
                  <a:pt x="7602931" y="4083212"/>
                  <a:pt x="7610551" y="4088451"/>
                  <a:pt x="7615314" y="4096071"/>
                </a:cubicBezTo>
                <a:cubicBezTo>
                  <a:pt x="7624839" y="4113216"/>
                  <a:pt x="7619124" y="4134171"/>
                  <a:pt x="7603883" y="4143696"/>
                </a:cubicBezTo>
                <a:cubicBezTo>
                  <a:pt x="7603883" y="4143696"/>
                  <a:pt x="7603883" y="4143696"/>
                  <a:pt x="7266694" y="4341816"/>
                </a:cubicBezTo>
                <a:cubicBezTo>
                  <a:pt x="7249548" y="4351341"/>
                  <a:pt x="7228593" y="4347531"/>
                  <a:pt x="7219068" y="4330386"/>
                </a:cubicBezTo>
                <a:cubicBezTo>
                  <a:pt x="7217163" y="4324671"/>
                  <a:pt x="7215258" y="4318956"/>
                  <a:pt x="7215258" y="4313241"/>
                </a:cubicBezTo>
                <a:cubicBezTo>
                  <a:pt x="7215258" y="4301811"/>
                  <a:pt x="7220973" y="4290381"/>
                  <a:pt x="7232403" y="4282761"/>
                </a:cubicBezTo>
                <a:cubicBezTo>
                  <a:pt x="7232403" y="4282761"/>
                  <a:pt x="7232403" y="4282761"/>
                  <a:pt x="7567688" y="4084641"/>
                </a:cubicBezTo>
                <a:cubicBezTo>
                  <a:pt x="7576260" y="4079878"/>
                  <a:pt x="7585786" y="4078926"/>
                  <a:pt x="7594358" y="4081069"/>
                </a:cubicBezTo>
                <a:close/>
                <a:moveTo>
                  <a:pt x="7045448" y="4072718"/>
                </a:moveTo>
                <a:cubicBezTo>
                  <a:pt x="7054741" y="4075569"/>
                  <a:pt x="7062844" y="4081745"/>
                  <a:pt x="7067610" y="4090298"/>
                </a:cubicBezTo>
                <a:cubicBezTo>
                  <a:pt x="7077143" y="4109303"/>
                  <a:pt x="7069517" y="4130209"/>
                  <a:pt x="7052359" y="4141612"/>
                </a:cubicBezTo>
                <a:cubicBezTo>
                  <a:pt x="7052359" y="4141612"/>
                  <a:pt x="7052359" y="4141612"/>
                  <a:pt x="6714913" y="4325963"/>
                </a:cubicBezTo>
                <a:cubicBezTo>
                  <a:pt x="6697754" y="4335466"/>
                  <a:pt x="6674877" y="4327864"/>
                  <a:pt x="6665344" y="4310759"/>
                </a:cubicBezTo>
                <a:cubicBezTo>
                  <a:pt x="6661531" y="4305057"/>
                  <a:pt x="6659625" y="4299356"/>
                  <a:pt x="6659625" y="4293654"/>
                </a:cubicBezTo>
                <a:cubicBezTo>
                  <a:pt x="6659625" y="4280350"/>
                  <a:pt x="6667251" y="4267047"/>
                  <a:pt x="6678689" y="4259445"/>
                </a:cubicBezTo>
                <a:cubicBezTo>
                  <a:pt x="6678689" y="4259445"/>
                  <a:pt x="6678689" y="4259445"/>
                  <a:pt x="7016136" y="4075094"/>
                </a:cubicBezTo>
                <a:cubicBezTo>
                  <a:pt x="7025668" y="4070342"/>
                  <a:pt x="7036153" y="4069867"/>
                  <a:pt x="7045448" y="4072718"/>
                </a:cubicBezTo>
                <a:close/>
                <a:moveTo>
                  <a:pt x="6500048" y="4065063"/>
                </a:moveTo>
                <a:cubicBezTo>
                  <a:pt x="6509797" y="4068170"/>
                  <a:pt x="6518356" y="4074862"/>
                  <a:pt x="6523112" y="4084421"/>
                </a:cubicBezTo>
                <a:cubicBezTo>
                  <a:pt x="6532623" y="4103541"/>
                  <a:pt x="6525014" y="4128396"/>
                  <a:pt x="6505992" y="4137956"/>
                </a:cubicBezTo>
                <a:cubicBezTo>
                  <a:pt x="6505992" y="4137956"/>
                  <a:pt x="6505992" y="4137956"/>
                  <a:pt x="6167407" y="4310032"/>
                </a:cubicBezTo>
                <a:cubicBezTo>
                  <a:pt x="6148385" y="4319592"/>
                  <a:pt x="6123657" y="4311944"/>
                  <a:pt x="6114146" y="4292824"/>
                </a:cubicBezTo>
                <a:cubicBezTo>
                  <a:pt x="6112244" y="4287089"/>
                  <a:pt x="6110342" y="4279441"/>
                  <a:pt x="6110342" y="4273705"/>
                </a:cubicBezTo>
                <a:cubicBezTo>
                  <a:pt x="6110342" y="4260321"/>
                  <a:pt x="6117950" y="4245025"/>
                  <a:pt x="6131266" y="4239290"/>
                </a:cubicBezTo>
                <a:cubicBezTo>
                  <a:pt x="6131266" y="4239290"/>
                  <a:pt x="6131266" y="4239290"/>
                  <a:pt x="6469851" y="4067214"/>
                </a:cubicBezTo>
                <a:cubicBezTo>
                  <a:pt x="6479362" y="4062434"/>
                  <a:pt x="6490299" y="4061956"/>
                  <a:pt x="6500048" y="4065063"/>
                </a:cubicBezTo>
                <a:close/>
                <a:moveTo>
                  <a:pt x="5941057" y="4054783"/>
                </a:moveTo>
                <a:cubicBezTo>
                  <a:pt x="5957307" y="4053619"/>
                  <a:pt x="5973023" y="4062930"/>
                  <a:pt x="5980168" y="4078685"/>
                </a:cubicBezTo>
                <a:cubicBezTo>
                  <a:pt x="5989693" y="4099693"/>
                  <a:pt x="5982072" y="4124520"/>
                  <a:pt x="5961118" y="4135978"/>
                </a:cubicBezTo>
                <a:cubicBezTo>
                  <a:pt x="5961118" y="4135978"/>
                  <a:pt x="5961118" y="4135978"/>
                  <a:pt x="5622031" y="4292580"/>
                </a:cubicBezTo>
                <a:cubicBezTo>
                  <a:pt x="5601076" y="4302129"/>
                  <a:pt x="5574406" y="4292580"/>
                  <a:pt x="5564881" y="4271572"/>
                </a:cubicBezTo>
                <a:cubicBezTo>
                  <a:pt x="5562976" y="4265843"/>
                  <a:pt x="5561071" y="4260114"/>
                  <a:pt x="5561071" y="4254384"/>
                </a:cubicBezTo>
                <a:cubicBezTo>
                  <a:pt x="5561071" y="4239106"/>
                  <a:pt x="5570596" y="4223828"/>
                  <a:pt x="5585836" y="4216189"/>
                </a:cubicBezTo>
                <a:cubicBezTo>
                  <a:pt x="5585836" y="4216189"/>
                  <a:pt x="5585836" y="4216189"/>
                  <a:pt x="5924923" y="4059588"/>
                </a:cubicBezTo>
                <a:cubicBezTo>
                  <a:pt x="5930163" y="4056723"/>
                  <a:pt x="5935639" y="4055171"/>
                  <a:pt x="5941057" y="4054783"/>
                </a:cubicBezTo>
                <a:close/>
                <a:moveTo>
                  <a:pt x="383168" y="4054783"/>
                </a:moveTo>
                <a:cubicBezTo>
                  <a:pt x="399420" y="4053619"/>
                  <a:pt x="415137" y="4062930"/>
                  <a:pt x="422281" y="4078685"/>
                </a:cubicBezTo>
                <a:cubicBezTo>
                  <a:pt x="431806" y="4099693"/>
                  <a:pt x="424186" y="4124520"/>
                  <a:pt x="401325" y="4135978"/>
                </a:cubicBezTo>
                <a:cubicBezTo>
                  <a:pt x="401325" y="4135978"/>
                  <a:pt x="401325" y="4135978"/>
                  <a:pt x="62231" y="4292580"/>
                </a:cubicBezTo>
                <a:cubicBezTo>
                  <a:pt x="41276" y="4302129"/>
                  <a:pt x="16511" y="4292580"/>
                  <a:pt x="6986" y="4271572"/>
                </a:cubicBezTo>
                <a:cubicBezTo>
                  <a:pt x="5081" y="4265843"/>
                  <a:pt x="3175" y="4260114"/>
                  <a:pt x="3175" y="4254384"/>
                </a:cubicBezTo>
                <a:cubicBezTo>
                  <a:pt x="3175" y="4239106"/>
                  <a:pt x="12701" y="4223828"/>
                  <a:pt x="27941" y="4216189"/>
                </a:cubicBezTo>
                <a:cubicBezTo>
                  <a:pt x="27941" y="4216189"/>
                  <a:pt x="27941" y="4216189"/>
                  <a:pt x="367035" y="4059588"/>
                </a:cubicBezTo>
                <a:cubicBezTo>
                  <a:pt x="372274" y="4056723"/>
                  <a:pt x="377751" y="4055171"/>
                  <a:pt x="383168" y="4054783"/>
                </a:cubicBezTo>
                <a:close/>
                <a:moveTo>
                  <a:pt x="5394100" y="4046339"/>
                </a:moveTo>
                <a:cubicBezTo>
                  <a:pt x="5411703" y="4046518"/>
                  <a:pt x="5428503" y="4056903"/>
                  <a:pt x="5435653" y="4072660"/>
                </a:cubicBezTo>
                <a:cubicBezTo>
                  <a:pt x="5445184" y="4095580"/>
                  <a:pt x="5433745" y="4122319"/>
                  <a:pt x="5410869" y="4131869"/>
                </a:cubicBezTo>
                <a:cubicBezTo>
                  <a:pt x="5410869" y="4131869"/>
                  <a:pt x="5410869" y="4131869"/>
                  <a:pt x="5071527" y="4275116"/>
                </a:cubicBezTo>
                <a:cubicBezTo>
                  <a:pt x="5048652" y="4284666"/>
                  <a:pt x="5021966" y="4275116"/>
                  <a:pt x="5012435" y="4252196"/>
                </a:cubicBezTo>
                <a:cubicBezTo>
                  <a:pt x="5010529" y="4246467"/>
                  <a:pt x="5008622" y="4240737"/>
                  <a:pt x="5008622" y="4235007"/>
                </a:cubicBezTo>
                <a:cubicBezTo>
                  <a:pt x="5008622" y="4217817"/>
                  <a:pt x="5020060" y="4200627"/>
                  <a:pt x="5037216" y="4192988"/>
                </a:cubicBezTo>
                <a:cubicBezTo>
                  <a:pt x="5037216" y="4192988"/>
                  <a:pt x="5037216" y="4192988"/>
                  <a:pt x="5376554" y="4049741"/>
                </a:cubicBezTo>
                <a:cubicBezTo>
                  <a:pt x="5382274" y="4047353"/>
                  <a:pt x="5388232" y="4046279"/>
                  <a:pt x="5394100" y="4046339"/>
                </a:cubicBezTo>
                <a:close/>
                <a:moveTo>
                  <a:pt x="926784" y="4046338"/>
                </a:moveTo>
                <a:cubicBezTo>
                  <a:pt x="944402" y="4046518"/>
                  <a:pt x="961214" y="4056903"/>
                  <a:pt x="968368" y="4072660"/>
                </a:cubicBezTo>
                <a:cubicBezTo>
                  <a:pt x="977907" y="4095580"/>
                  <a:pt x="966460" y="4122319"/>
                  <a:pt x="945475" y="4131869"/>
                </a:cubicBezTo>
                <a:cubicBezTo>
                  <a:pt x="945475" y="4131869"/>
                  <a:pt x="945475" y="4131869"/>
                  <a:pt x="603977" y="4275116"/>
                </a:cubicBezTo>
                <a:cubicBezTo>
                  <a:pt x="581083" y="4284666"/>
                  <a:pt x="554374" y="4275116"/>
                  <a:pt x="544835" y="4252196"/>
                </a:cubicBezTo>
                <a:cubicBezTo>
                  <a:pt x="542927" y="4246467"/>
                  <a:pt x="542927" y="4240737"/>
                  <a:pt x="542927" y="4235007"/>
                </a:cubicBezTo>
                <a:cubicBezTo>
                  <a:pt x="542927" y="4217817"/>
                  <a:pt x="552466" y="4200627"/>
                  <a:pt x="569637" y="4192988"/>
                </a:cubicBezTo>
                <a:cubicBezTo>
                  <a:pt x="569637" y="4192988"/>
                  <a:pt x="569637" y="4192988"/>
                  <a:pt x="909226" y="4049741"/>
                </a:cubicBezTo>
                <a:cubicBezTo>
                  <a:pt x="914950" y="4047353"/>
                  <a:pt x="920912" y="4046279"/>
                  <a:pt x="926784" y="4046338"/>
                </a:cubicBezTo>
                <a:close/>
                <a:moveTo>
                  <a:pt x="4823917" y="4041420"/>
                </a:moveTo>
                <a:cubicBezTo>
                  <a:pt x="4848651" y="4033841"/>
                  <a:pt x="4875285" y="4045209"/>
                  <a:pt x="4884800" y="4069841"/>
                </a:cubicBezTo>
                <a:cubicBezTo>
                  <a:pt x="4894312" y="4092578"/>
                  <a:pt x="4880993" y="4121000"/>
                  <a:pt x="4856262" y="4130474"/>
                </a:cubicBezTo>
                <a:cubicBezTo>
                  <a:pt x="4856262" y="4130474"/>
                  <a:pt x="4856262" y="4130474"/>
                  <a:pt x="4515758" y="4259317"/>
                </a:cubicBezTo>
                <a:cubicBezTo>
                  <a:pt x="4492930" y="4268791"/>
                  <a:pt x="4464395" y="4255527"/>
                  <a:pt x="4454884" y="4230896"/>
                </a:cubicBezTo>
                <a:cubicBezTo>
                  <a:pt x="4452982" y="4225211"/>
                  <a:pt x="4452982" y="4219527"/>
                  <a:pt x="4452982" y="4215738"/>
                </a:cubicBezTo>
                <a:cubicBezTo>
                  <a:pt x="4452982" y="4196790"/>
                  <a:pt x="4464395" y="4177842"/>
                  <a:pt x="4483419" y="4170263"/>
                </a:cubicBezTo>
                <a:cubicBezTo>
                  <a:pt x="4483419" y="4170263"/>
                  <a:pt x="4483419" y="4170263"/>
                  <a:pt x="4823917" y="4041420"/>
                </a:cubicBezTo>
                <a:close/>
                <a:moveTo>
                  <a:pt x="1458388" y="4041420"/>
                </a:moveTo>
                <a:cubicBezTo>
                  <a:pt x="1483118" y="4033841"/>
                  <a:pt x="1509750" y="4045209"/>
                  <a:pt x="1519261" y="4069841"/>
                </a:cubicBezTo>
                <a:cubicBezTo>
                  <a:pt x="1528773" y="4092578"/>
                  <a:pt x="1517359" y="4121000"/>
                  <a:pt x="1492629" y="4130474"/>
                </a:cubicBezTo>
                <a:cubicBezTo>
                  <a:pt x="1492629" y="4130474"/>
                  <a:pt x="1492629" y="4130474"/>
                  <a:pt x="1152120" y="4259317"/>
                </a:cubicBezTo>
                <a:cubicBezTo>
                  <a:pt x="1127390" y="4268791"/>
                  <a:pt x="1100758" y="4255527"/>
                  <a:pt x="1091247" y="4230896"/>
                </a:cubicBezTo>
                <a:cubicBezTo>
                  <a:pt x="1089345" y="4225211"/>
                  <a:pt x="1087442" y="4219527"/>
                  <a:pt x="1087442" y="4215738"/>
                </a:cubicBezTo>
                <a:cubicBezTo>
                  <a:pt x="1087442" y="4196790"/>
                  <a:pt x="1098856" y="4177842"/>
                  <a:pt x="1117879" y="4170263"/>
                </a:cubicBezTo>
                <a:cubicBezTo>
                  <a:pt x="1117879" y="4170263"/>
                  <a:pt x="1117879" y="4170263"/>
                  <a:pt x="1458388" y="4041420"/>
                </a:cubicBezTo>
                <a:close/>
                <a:moveTo>
                  <a:pt x="4286101" y="4031102"/>
                </a:moveTo>
                <a:cubicBezTo>
                  <a:pt x="4305816" y="4032531"/>
                  <a:pt x="4323382" y="4045747"/>
                  <a:pt x="4329117" y="4064321"/>
                </a:cubicBezTo>
                <a:cubicBezTo>
                  <a:pt x="4338677" y="4090991"/>
                  <a:pt x="4325294" y="4119566"/>
                  <a:pt x="4298528" y="4127186"/>
                </a:cubicBezTo>
                <a:cubicBezTo>
                  <a:pt x="4298528" y="4127186"/>
                  <a:pt x="4298528" y="4127186"/>
                  <a:pt x="3956339" y="4243391"/>
                </a:cubicBezTo>
                <a:cubicBezTo>
                  <a:pt x="3929575" y="4252916"/>
                  <a:pt x="3900896" y="4237676"/>
                  <a:pt x="3893249" y="4212911"/>
                </a:cubicBezTo>
                <a:cubicBezTo>
                  <a:pt x="3891338" y="4207196"/>
                  <a:pt x="3889424" y="4201481"/>
                  <a:pt x="3889424" y="4195766"/>
                </a:cubicBezTo>
                <a:cubicBezTo>
                  <a:pt x="3889424" y="4174811"/>
                  <a:pt x="3902808" y="4155761"/>
                  <a:pt x="3923838" y="4150046"/>
                </a:cubicBezTo>
                <a:cubicBezTo>
                  <a:pt x="3923838" y="4150046"/>
                  <a:pt x="3923838" y="4150046"/>
                  <a:pt x="4266027" y="4033841"/>
                </a:cubicBezTo>
                <a:cubicBezTo>
                  <a:pt x="4272718" y="4031460"/>
                  <a:pt x="4279529" y="4030626"/>
                  <a:pt x="4286101" y="4031102"/>
                </a:cubicBezTo>
                <a:close/>
                <a:moveTo>
                  <a:pt x="2031406" y="4031102"/>
                </a:moveTo>
                <a:cubicBezTo>
                  <a:pt x="2050288" y="4032531"/>
                  <a:pt x="2068096" y="4045747"/>
                  <a:pt x="2075220" y="4064321"/>
                </a:cubicBezTo>
                <a:cubicBezTo>
                  <a:pt x="2082818" y="4090991"/>
                  <a:pt x="2069520" y="4119566"/>
                  <a:pt x="2042922" y="4127186"/>
                </a:cubicBezTo>
                <a:cubicBezTo>
                  <a:pt x="2042922" y="4127186"/>
                  <a:pt x="2042922" y="4127186"/>
                  <a:pt x="1702894" y="4243391"/>
                </a:cubicBezTo>
                <a:cubicBezTo>
                  <a:pt x="1676300" y="4252916"/>
                  <a:pt x="1649706" y="4237676"/>
                  <a:pt x="1640208" y="4212911"/>
                </a:cubicBezTo>
                <a:cubicBezTo>
                  <a:pt x="1638308" y="4207196"/>
                  <a:pt x="1638308" y="4201481"/>
                  <a:pt x="1638308" y="4195766"/>
                </a:cubicBezTo>
                <a:cubicBezTo>
                  <a:pt x="1638308" y="4174811"/>
                  <a:pt x="1649706" y="4155761"/>
                  <a:pt x="1670601" y="4150046"/>
                </a:cubicBezTo>
                <a:cubicBezTo>
                  <a:pt x="1670601" y="4150046"/>
                  <a:pt x="1670601" y="4150046"/>
                  <a:pt x="2012528" y="4033841"/>
                </a:cubicBezTo>
                <a:cubicBezTo>
                  <a:pt x="2018702" y="4031460"/>
                  <a:pt x="2025113" y="4030626"/>
                  <a:pt x="2031406" y="4031102"/>
                </a:cubicBezTo>
                <a:close/>
                <a:moveTo>
                  <a:pt x="3725865" y="4022421"/>
                </a:moveTo>
                <a:cubicBezTo>
                  <a:pt x="3745628" y="4024832"/>
                  <a:pt x="3763512" y="4038763"/>
                  <a:pt x="3770669" y="4060194"/>
                </a:cubicBezTo>
                <a:cubicBezTo>
                  <a:pt x="3778298" y="4086864"/>
                  <a:pt x="3763036" y="4115439"/>
                  <a:pt x="3734419" y="4124964"/>
                </a:cubicBezTo>
                <a:cubicBezTo>
                  <a:pt x="3734419" y="4124964"/>
                  <a:pt x="3734419" y="4124964"/>
                  <a:pt x="3391050" y="4225929"/>
                </a:cubicBezTo>
                <a:cubicBezTo>
                  <a:pt x="3364339" y="4235454"/>
                  <a:pt x="3335723" y="4218309"/>
                  <a:pt x="3326186" y="4191639"/>
                </a:cubicBezTo>
                <a:cubicBezTo>
                  <a:pt x="3326186" y="4185924"/>
                  <a:pt x="3324277" y="4182114"/>
                  <a:pt x="3324277" y="4176399"/>
                </a:cubicBezTo>
                <a:cubicBezTo>
                  <a:pt x="3324277" y="4153539"/>
                  <a:pt x="3339540" y="4132584"/>
                  <a:pt x="3362431" y="4126869"/>
                </a:cubicBezTo>
                <a:cubicBezTo>
                  <a:pt x="3362431" y="4126869"/>
                  <a:pt x="3362431" y="4126869"/>
                  <a:pt x="3705802" y="4023999"/>
                </a:cubicBezTo>
                <a:cubicBezTo>
                  <a:pt x="3712481" y="4022094"/>
                  <a:pt x="3719277" y="4021618"/>
                  <a:pt x="3725865" y="4022421"/>
                </a:cubicBezTo>
                <a:close/>
                <a:moveTo>
                  <a:pt x="2590959" y="4022421"/>
                </a:moveTo>
                <a:cubicBezTo>
                  <a:pt x="2610652" y="4024832"/>
                  <a:pt x="2628474" y="4038763"/>
                  <a:pt x="2635603" y="4060194"/>
                </a:cubicBezTo>
                <a:cubicBezTo>
                  <a:pt x="2643207" y="4086864"/>
                  <a:pt x="2627999" y="4115439"/>
                  <a:pt x="2599484" y="4124964"/>
                </a:cubicBezTo>
                <a:cubicBezTo>
                  <a:pt x="2599484" y="4124964"/>
                  <a:pt x="2599484" y="4124964"/>
                  <a:pt x="2257300" y="4225929"/>
                </a:cubicBezTo>
                <a:cubicBezTo>
                  <a:pt x="2230686" y="4235454"/>
                  <a:pt x="2202171" y="4218309"/>
                  <a:pt x="2192666" y="4191639"/>
                </a:cubicBezTo>
                <a:cubicBezTo>
                  <a:pt x="2190765" y="4185924"/>
                  <a:pt x="2190765" y="4182114"/>
                  <a:pt x="2190765" y="4176399"/>
                </a:cubicBezTo>
                <a:cubicBezTo>
                  <a:pt x="2190765" y="4153539"/>
                  <a:pt x="2205973" y="4132584"/>
                  <a:pt x="2228785" y="4126869"/>
                </a:cubicBezTo>
                <a:cubicBezTo>
                  <a:pt x="2228785" y="4126869"/>
                  <a:pt x="2228785" y="4126869"/>
                  <a:pt x="2570968" y="4023999"/>
                </a:cubicBezTo>
                <a:cubicBezTo>
                  <a:pt x="2577622" y="4022094"/>
                  <a:pt x="2584395" y="4021618"/>
                  <a:pt x="2590959" y="4022421"/>
                </a:cubicBezTo>
                <a:close/>
                <a:moveTo>
                  <a:pt x="3155345" y="4014781"/>
                </a:moveTo>
                <a:cubicBezTo>
                  <a:pt x="3176389" y="4017728"/>
                  <a:pt x="3195013" y="4032730"/>
                  <a:pt x="3200742" y="4054161"/>
                </a:cubicBezTo>
                <a:cubicBezTo>
                  <a:pt x="3208386" y="4084641"/>
                  <a:pt x="3189283" y="4113216"/>
                  <a:pt x="3160628" y="4120836"/>
                </a:cubicBezTo>
                <a:cubicBezTo>
                  <a:pt x="3160628" y="4120836"/>
                  <a:pt x="3160628" y="4120836"/>
                  <a:pt x="2816774" y="4210371"/>
                </a:cubicBezTo>
                <a:cubicBezTo>
                  <a:pt x="2786209" y="4217991"/>
                  <a:pt x="2757555" y="4198941"/>
                  <a:pt x="2749912" y="4170366"/>
                </a:cubicBezTo>
                <a:cubicBezTo>
                  <a:pt x="2748004" y="4166556"/>
                  <a:pt x="2748004" y="4160841"/>
                  <a:pt x="2748004" y="4157031"/>
                </a:cubicBezTo>
                <a:cubicBezTo>
                  <a:pt x="2748004" y="4132266"/>
                  <a:pt x="2765195" y="4109406"/>
                  <a:pt x="2788118" y="4103691"/>
                </a:cubicBezTo>
                <a:cubicBezTo>
                  <a:pt x="2788118" y="4103691"/>
                  <a:pt x="2788118" y="4103691"/>
                  <a:pt x="3133884" y="4016061"/>
                </a:cubicBezTo>
                <a:cubicBezTo>
                  <a:pt x="3141048" y="4014156"/>
                  <a:pt x="3148333" y="4013799"/>
                  <a:pt x="3155345" y="4014781"/>
                </a:cubicBezTo>
                <a:close/>
                <a:moveTo>
                  <a:pt x="9861718" y="3784929"/>
                </a:moveTo>
                <a:cubicBezTo>
                  <a:pt x="9867199" y="3785407"/>
                  <a:pt x="9872442" y="3787798"/>
                  <a:pt x="9876255" y="3792579"/>
                </a:cubicBezTo>
                <a:cubicBezTo>
                  <a:pt x="9883882" y="3802142"/>
                  <a:pt x="9881975" y="3815531"/>
                  <a:pt x="9872442" y="3823182"/>
                </a:cubicBezTo>
                <a:cubicBezTo>
                  <a:pt x="9872442" y="3823182"/>
                  <a:pt x="9872442" y="3823182"/>
                  <a:pt x="9540690" y="4092865"/>
                </a:cubicBezTo>
                <a:cubicBezTo>
                  <a:pt x="9531157" y="4100516"/>
                  <a:pt x="9517810" y="4098603"/>
                  <a:pt x="9510184" y="4089040"/>
                </a:cubicBezTo>
                <a:cubicBezTo>
                  <a:pt x="9506371" y="4085215"/>
                  <a:pt x="9504464" y="4081389"/>
                  <a:pt x="9504464" y="4075651"/>
                </a:cubicBezTo>
                <a:cubicBezTo>
                  <a:pt x="9504464" y="4069913"/>
                  <a:pt x="9508277" y="4064175"/>
                  <a:pt x="9513997" y="4058438"/>
                </a:cubicBezTo>
                <a:cubicBezTo>
                  <a:pt x="9513997" y="4058438"/>
                  <a:pt x="9513997" y="4058438"/>
                  <a:pt x="9845750" y="3788754"/>
                </a:cubicBezTo>
                <a:cubicBezTo>
                  <a:pt x="9850516" y="3785885"/>
                  <a:pt x="9856236" y="3784450"/>
                  <a:pt x="9861718" y="3784929"/>
                </a:cubicBezTo>
                <a:close/>
                <a:moveTo>
                  <a:pt x="10445981" y="3777074"/>
                </a:moveTo>
                <a:cubicBezTo>
                  <a:pt x="10452183" y="3777790"/>
                  <a:pt x="10457907" y="3781135"/>
                  <a:pt x="10461723" y="3786867"/>
                </a:cubicBezTo>
                <a:cubicBezTo>
                  <a:pt x="10471264" y="3798332"/>
                  <a:pt x="10469356" y="3813619"/>
                  <a:pt x="10457907" y="3821263"/>
                </a:cubicBezTo>
                <a:cubicBezTo>
                  <a:pt x="10457907" y="3821263"/>
                  <a:pt x="10457907" y="3821263"/>
                  <a:pt x="10123980" y="4075410"/>
                </a:cubicBezTo>
                <a:cubicBezTo>
                  <a:pt x="10112531" y="4083054"/>
                  <a:pt x="10097266" y="4081143"/>
                  <a:pt x="10089633" y="4069678"/>
                </a:cubicBezTo>
                <a:cubicBezTo>
                  <a:pt x="10085817" y="4065856"/>
                  <a:pt x="10083909" y="4060123"/>
                  <a:pt x="10083909" y="4054391"/>
                </a:cubicBezTo>
                <a:cubicBezTo>
                  <a:pt x="10083909" y="4048658"/>
                  <a:pt x="10087725" y="4041014"/>
                  <a:pt x="10093450" y="4035282"/>
                </a:cubicBezTo>
                <a:cubicBezTo>
                  <a:pt x="10093450" y="4035282"/>
                  <a:pt x="10093450" y="4035282"/>
                  <a:pt x="10427377" y="3783045"/>
                </a:cubicBezTo>
                <a:cubicBezTo>
                  <a:pt x="10433101" y="3778268"/>
                  <a:pt x="10439780" y="3776357"/>
                  <a:pt x="10445981" y="3777074"/>
                </a:cubicBezTo>
                <a:close/>
                <a:moveTo>
                  <a:pt x="9284313" y="3777074"/>
                </a:moveTo>
                <a:cubicBezTo>
                  <a:pt x="9290494" y="3777790"/>
                  <a:pt x="9296200" y="3781135"/>
                  <a:pt x="9300003" y="3786867"/>
                </a:cubicBezTo>
                <a:cubicBezTo>
                  <a:pt x="9307611" y="3798332"/>
                  <a:pt x="9305709" y="3813619"/>
                  <a:pt x="9296200" y="3821263"/>
                </a:cubicBezTo>
                <a:cubicBezTo>
                  <a:pt x="9296200" y="3821263"/>
                  <a:pt x="9296200" y="3821263"/>
                  <a:pt x="8963371" y="4075410"/>
                </a:cubicBezTo>
                <a:cubicBezTo>
                  <a:pt x="8951959" y="4083054"/>
                  <a:pt x="8936744" y="4081143"/>
                  <a:pt x="8929137" y="4069678"/>
                </a:cubicBezTo>
                <a:cubicBezTo>
                  <a:pt x="8925333" y="4065856"/>
                  <a:pt x="8923431" y="4060123"/>
                  <a:pt x="8923431" y="4054391"/>
                </a:cubicBezTo>
                <a:cubicBezTo>
                  <a:pt x="8923431" y="4048658"/>
                  <a:pt x="8927235" y="4041014"/>
                  <a:pt x="8932940" y="4035282"/>
                </a:cubicBezTo>
                <a:cubicBezTo>
                  <a:pt x="8932940" y="4035282"/>
                  <a:pt x="8932940" y="4035282"/>
                  <a:pt x="9265770" y="3783045"/>
                </a:cubicBezTo>
                <a:cubicBezTo>
                  <a:pt x="9271475" y="3778268"/>
                  <a:pt x="9278132" y="3776357"/>
                  <a:pt x="9284313" y="3777074"/>
                </a:cubicBezTo>
                <a:close/>
                <a:moveTo>
                  <a:pt x="8714826" y="3771656"/>
                </a:moveTo>
                <a:cubicBezTo>
                  <a:pt x="8721754" y="3772844"/>
                  <a:pt x="8728443" y="3776646"/>
                  <a:pt x="8733221" y="3782349"/>
                </a:cubicBezTo>
                <a:cubicBezTo>
                  <a:pt x="8740866" y="3795655"/>
                  <a:pt x="8738955" y="3812764"/>
                  <a:pt x="8725577" y="3820368"/>
                </a:cubicBezTo>
                <a:cubicBezTo>
                  <a:pt x="8725577" y="3820368"/>
                  <a:pt x="8725577" y="3820368"/>
                  <a:pt x="8391118" y="4056086"/>
                </a:cubicBezTo>
                <a:cubicBezTo>
                  <a:pt x="8377740" y="4065591"/>
                  <a:pt x="8360539" y="4063690"/>
                  <a:pt x="8352895" y="4050383"/>
                </a:cubicBezTo>
                <a:cubicBezTo>
                  <a:pt x="8349072" y="4044680"/>
                  <a:pt x="8347161" y="4040878"/>
                  <a:pt x="8347161" y="4035176"/>
                </a:cubicBezTo>
                <a:cubicBezTo>
                  <a:pt x="8347161" y="4025671"/>
                  <a:pt x="8350983" y="4018067"/>
                  <a:pt x="8358628" y="4012364"/>
                </a:cubicBezTo>
                <a:cubicBezTo>
                  <a:pt x="8358628" y="4012364"/>
                  <a:pt x="8358628" y="4012364"/>
                  <a:pt x="8694997" y="3776646"/>
                </a:cubicBezTo>
                <a:cubicBezTo>
                  <a:pt x="8700731" y="3771893"/>
                  <a:pt x="8707898" y="3770468"/>
                  <a:pt x="8714826" y="3771656"/>
                </a:cubicBezTo>
                <a:close/>
                <a:moveTo>
                  <a:pt x="11022950" y="3771656"/>
                </a:moveTo>
                <a:cubicBezTo>
                  <a:pt x="11030088" y="3772844"/>
                  <a:pt x="11036751" y="3776646"/>
                  <a:pt x="11041509" y="3782349"/>
                </a:cubicBezTo>
                <a:cubicBezTo>
                  <a:pt x="11049123" y="3795655"/>
                  <a:pt x="11047219" y="3812764"/>
                  <a:pt x="11033895" y="3820368"/>
                </a:cubicBezTo>
                <a:cubicBezTo>
                  <a:pt x="11033895" y="3820368"/>
                  <a:pt x="11033895" y="3820368"/>
                  <a:pt x="10700785" y="4056086"/>
                </a:cubicBezTo>
                <a:cubicBezTo>
                  <a:pt x="10687461" y="4065591"/>
                  <a:pt x="10670329" y="4063690"/>
                  <a:pt x="10662715" y="4050383"/>
                </a:cubicBezTo>
                <a:cubicBezTo>
                  <a:pt x="10658908" y="4044680"/>
                  <a:pt x="10657005" y="4040878"/>
                  <a:pt x="10657005" y="4035176"/>
                </a:cubicBezTo>
                <a:cubicBezTo>
                  <a:pt x="10657005" y="4025671"/>
                  <a:pt x="10660812" y="4018067"/>
                  <a:pt x="10668426" y="4012364"/>
                </a:cubicBezTo>
                <a:cubicBezTo>
                  <a:pt x="10668426" y="4012364"/>
                  <a:pt x="10668426" y="4012364"/>
                  <a:pt x="11001536" y="3776646"/>
                </a:cubicBezTo>
                <a:cubicBezTo>
                  <a:pt x="11008198" y="3771893"/>
                  <a:pt x="11015812" y="3770468"/>
                  <a:pt x="11022950" y="3771656"/>
                </a:cubicBezTo>
                <a:close/>
                <a:moveTo>
                  <a:pt x="8151418" y="3763955"/>
                </a:moveTo>
                <a:cubicBezTo>
                  <a:pt x="8159038" y="3765381"/>
                  <a:pt x="8166182" y="3769658"/>
                  <a:pt x="8170945" y="3776310"/>
                </a:cubicBezTo>
                <a:cubicBezTo>
                  <a:pt x="8180470" y="3791517"/>
                  <a:pt x="8176660" y="3810525"/>
                  <a:pt x="8161420" y="3820029"/>
                </a:cubicBezTo>
                <a:cubicBezTo>
                  <a:pt x="8161420" y="3820029"/>
                  <a:pt x="8161420" y="3820029"/>
                  <a:pt x="7826135" y="4038624"/>
                </a:cubicBezTo>
                <a:cubicBezTo>
                  <a:pt x="7812800" y="4048128"/>
                  <a:pt x="7793750" y="4044326"/>
                  <a:pt x="7784225" y="4031020"/>
                </a:cubicBezTo>
                <a:cubicBezTo>
                  <a:pt x="7780415" y="4025318"/>
                  <a:pt x="7780415" y="4019616"/>
                  <a:pt x="7780415" y="4013913"/>
                </a:cubicBezTo>
                <a:cubicBezTo>
                  <a:pt x="7780415" y="4004409"/>
                  <a:pt x="7784225" y="3993004"/>
                  <a:pt x="7793750" y="3987302"/>
                </a:cubicBezTo>
                <a:cubicBezTo>
                  <a:pt x="7793750" y="3987302"/>
                  <a:pt x="7793750" y="3987302"/>
                  <a:pt x="8129034" y="3768707"/>
                </a:cubicBezTo>
                <a:cubicBezTo>
                  <a:pt x="8135702" y="3763955"/>
                  <a:pt x="8143798" y="3762529"/>
                  <a:pt x="8151418" y="3763955"/>
                </a:cubicBezTo>
                <a:close/>
                <a:moveTo>
                  <a:pt x="11596182" y="3763955"/>
                </a:moveTo>
                <a:cubicBezTo>
                  <a:pt x="11603802" y="3765381"/>
                  <a:pt x="11610470" y="3769658"/>
                  <a:pt x="11614280" y="3776310"/>
                </a:cubicBezTo>
                <a:cubicBezTo>
                  <a:pt x="11623805" y="3791517"/>
                  <a:pt x="11619995" y="3810525"/>
                  <a:pt x="11606660" y="3820029"/>
                </a:cubicBezTo>
                <a:cubicBezTo>
                  <a:pt x="11606660" y="3820029"/>
                  <a:pt x="11606660" y="3820029"/>
                  <a:pt x="11271376" y="4038624"/>
                </a:cubicBezTo>
                <a:cubicBezTo>
                  <a:pt x="11258040" y="4048128"/>
                  <a:pt x="11238990" y="4044326"/>
                  <a:pt x="11229465" y="4031020"/>
                </a:cubicBezTo>
                <a:cubicBezTo>
                  <a:pt x="11225655" y="4025318"/>
                  <a:pt x="11223750" y="4019616"/>
                  <a:pt x="11223750" y="4013913"/>
                </a:cubicBezTo>
                <a:cubicBezTo>
                  <a:pt x="11223750" y="4004409"/>
                  <a:pt x="11229465" y="3993004"/>
                  <a:pt x="11237085" y="3987302"/>
                </a:cubicBezTo>
                <a:cubicBezTo>
                  <a:pt x="11237085" y="3987302"/>
                  <a:pt x="11237085" y="3987302"/>
                  <a:pt x="11572369" y="3768707"/>
                </a:cubicBezTo>
                <a:cubicBezTo>
                  <a:pt x="11579990" y="3763955"/>
                  <a:pt x="11588562" y="3762529"/>
                  <a:pt x="11596182" y="3763955"/>
                </a:cubicBezTo>
                <a:close/>
                <a:moveTo>
                  <a:pt x="12139750" y="3759203"/>
                </a:moveTo>
                <a:cubicBezTo>
                  <a:pt x="12139750" y="3759203"/>
                  <a:pt x="12139750" y="3759203"/>
                  <a:pt x="12139750" y="3835137"/>
                </a:cubicBezTo>
                <a:cubicBezTo>
                  <a:pt x="12139750" y="3835137"/>
                  <a:pt x="12139750" y="3835137"/>
                  <a:pt x="11835489" y="4021174"/>
                </a:cubicBezTo>
                <a:cubicBezTo>
                  <a:pt x="11818374" y="4030666"/>
                  <a:pt x="11799358" y="4024971"/>
                  <a:pt x="11789850" y="4009784"/>
                </a:cubicBezTo>
                <a:cubicBezTo>
                  <a:pt x="11786047" y="4004089"/>
                  <a:pt x="11784145" y="3998394"/>
                  <a:pt x="11784145" y="3992699"/>
                </a:cubicBezTo>
                <a:cubicBezTo>
                  <a:pt x="11784145" y="3981309"/>
                  <a:pt x="11789850" y="3969919"/>
                  <a:pt x="11799358" y="3964224"/>
                </a:cubicBezTo>
                <a:lnTo>
                  <a:pt x="12135947" y="3761101"/>
                </a:lnTo>
                <a:cubicBezTo>
                  <a:pt x="12137848" y="3759203"/>
                  <a:pt x="12137848" y="3759203"/>
                  <a:pt x="12139750" y="3759203"/>
                </a:cubicBezTo>
                <a:close/>
                <a:moveTo>
                  <a:pt x="7593700" y="3756493"/>
                </a:moveTo>
                <a:cubicBezTo>
                  <a:pt x="7601803" y="3758393"/>
                  <a:pt x="7608952" y="3763620"/>
                  <a:pt x="7613718" y="3772173"/>
                </a:cubicBezTo>
                <a:cubicBezTo>
                  <a:pt x="7623251" y="3787379"/>
                  <a:pt x="7619438" y="3808286"/>
                  <a:pt x="7604186" y="3817790"/>
                </a:cubicBezTo>
                <a:cubicBezTo>
                  <a:pt x="7604186" y="3817790"/>
                  <a:pt x="7604186" y="3817790"/>
                  <a:pt x="7266734" y="4021162"/>
                </a:cubicBezTo>
                <a:cubicBezTo>
                  <a:pt x="7251481" y="4030666"/>
                  <a:pt x="7230510" y="4024964"/>
                  <a:pt x="7220977" y="4009758"/>
                </a:cubicBezTo>
                <a:cubicBezTo>
                  <a:pt x="7217164" y="4004056"/>
                  <a:pt x="7215258" y="3998354"/>
                  <a:pt x="7215258" y="3992652"/>
                </a:cubicBezTo>
                <a:cubicBezTo>
                  <a:pt x="7215258" y="3981248"/>
                  <a:pt x="7220977" y="3969844"/>
                  <a:pt x="7232416" y="3964142"/>
                </a:cubicBezTo>
                <a:cubicBezTo>
                  <a:pt x="7232416" y="3964142"/>
                  <a:pt x="7232416" y="3964142"/>
                  <a:pt x="7567962" y="3760769"/>
                </a:cubicBezTo>
                <a:cubicBezTo>
                  <a:pt x="7576541" y="3756018"/>
                  <a:pt x="7585597" y="3754592"/>
                  <a:pt x="7593700" y="3756493"/>
                </a:cubicBezTo>
                <a:close/>
                <a:moveTo>
                  <a:pt x="7044469" y="3749140"/>
                </a:moveTo>
                <a:cubicBezTo>
                  <a:pt x="7053293" y="3751765"/>
                  <a:pt x="7060925" y="3757971"/>
                  <a:pt x="7065695" y="3766564"/>
                </a:cubicBezTo>
                <a:cubicBezTo>
                  <a:pt x="7077143" y="3783749"/>
                  <a:pt x="7069511" y="3806662"/>
                  <a:pt x="7052340" y="3816209"/>
                </a:cubicBezTo>
                <a:cubicBezTo>
                  <a:pt x="7052340" y="3816209"/>
                  <a:pt x="7052340" y="3816209"/>
                  <a:pt x="6714634" y="4005244"/>
                </a:cubicBezTo>
                <a:cubicBezTo>
                  <a:pt x="6697463" y="4014791"/>
                  <a:pt x="6674567" y="4009063"/>
                  <a:pt x="6665028" y="3989968"/>
                </a:cubicBezTo>
                <a:cubicBezTo>
                  <a:pt x="6661212" y="3984240"/>
                  <a:pt x="6661212" y="3978511"/>
                  <a:pt x="6661212" y="3972783"/>
                </a:cubicBezTo>
                <a:cubicBezTo>
                  <a:pt x="6661212" y="3959417"/>
                  <a:pt x="6666936" y="3947960"/>
                  <a:pt x="6678383" y="3940323"/>
                </a:cubicBezTo>
                <a:cubicBezTo>
                  <a:pt x="6678383" y="3940323"/>
                  <a:pt x="6678383" y="3940323"/>
                  <a:pt x="7016089" y="3753198"/>
                </a:cubicBezTo>
                <a:cubicBezTo>
                  <a:pt x="7025628" y="3747469"/>
                  <a:pt x="7035645" y="3746515"/>
                  <a:pt x="7044469" y="3749140"/>
                </a:cubicBezTo>
                <a:close/>
                <a:moveTo>
                  <a:pt x="6500048" y="3741441"/>
                </a:moveTo>
                <a:cubicBezTo>
                  <a:pt x="6509797" y="3744783"/>
                  <a:pt x="6518357" y="3751944"/>
                  <a:pt x="6523112" y="3762447"/>
                </a:cubicBezTo>
                <a:cubicBezTo>
                  <a:pt x="6532623" y="3781543"/>
                  <a:pt x="6525014" y="3804458"/>
                  <a:pt x="6505992" y="3814006"/>
                </a:cubicBezTo>
                <a:cubicBezTo>
                  <a:pt x="6505992" y="3814006"/>
                  <a:pt x="6505992" y="3814006"/>
                  <a:pt x="6167407" y="3987780"/>
                </a:cubicBezTo>
                <a:cubicBezTo>
                  <a:pt x="6148385" y="3997328"/>
                  <a:pt x="6125559" y="3989689"/>
                  <a:pt x="6114146" y="3970593"/>
                </a:cubicBezTo>
                <a:cubicBezTo>
                  <a:pt x="6112244" y="3964865"/>
                  <a:pt x="6110342" y="3957226"/>
                  <a:pt x="6110342" y="3951497"/>
                </a:cubicBezTo>
                <a:cubicBezTo>
                  <a:pt x="6110342" y="3938130"/>
                  <a:pt x="6117950" y="3922853"/>
                  <a:pt x="6131266" y="3917125"/>
                </a:cubicBezTo>
                <a:cubicBezTo>
                  <a:pt x="6131266" y="3917125"/>
                  <a:pt x="6131266" y="3917125"/>
                  <a:pt x="6469851" y="3743351"/>
                </a:cubicBezTo>
                <a:cubicBezTo>
                  <a:pt x="6479362" y="3738577"/>
                  <a:pt x="6490299" y="3738100"/>
                  <a:pt x="6500048" y="3741441"/>
                </a:cubicBezTo>
                <a:close/>
                <a:moveTo>
                  <a:pt x="5958238" y="3734460"/>
                </a:moveTo>
                <a:cubicBezTo>
                  <a:pt x="5968507" y="3738279"/>
                  <a:pt x="5977583" y="3745919"/>
                  <a:pt x="5983314" y="3756422"/>
                </a:cubicBezTo>
                <a:cubicBezTo>
                  <a:pt x="5992867" y="3777430"/>
                  <a:pt x="5983314" y="3804167"/>
                  <a:pt x="5962297" y="3813715"/>
                </a:cubicBezTo>
                <a:cubicBezTo>
                  <a:pt x="5962297" y="3813715"/>
                  <a:pt x="5962297" y="3813715"/>
                  <a:pt x="5622210" y="3970317"/>
                </a:cubicBezTo>
                <a:cubicBezTo>
                  <a:pt x="5599284" y="3979866"/>
                  <a:pt x="5574446" y="3970317"/>
                  <a:pt x="5564892" y="3949309"/>
                </a:cubicBezTo>
                <a:cubicBezTo>
                  <a:pt x="5562982" y="3943580"/>
                  <a:pt x="5561071" y="3935941"/>
                  <a:pt x="5561071" y="3930212"/>
                </a:cubicBezTo>
                <a:cubicBezTo>
                  <a:pt x="5561071" y="3914934"/>
                  <a:pt x="5570624" y="3899655"/>
                  <a:pt x="5585909" y="3892016"/>
                </a:cubicBezTo>
                <a:cubicBezTo>
                  <a:pt x="5585909" y="3892016"/>
                  <a:pt x="5585909" y="3892016"/>
                  <a:pt x="5925997" y="3735415"/>
                </a:cubicBezTo>
                <a:cubicBezTo>
                  <a:pt x="5936505" y="3730640"/>
                  <a:pt x="5947969" y="3730640"/>
                  <a:pt x="5958238" y="3734460"/>
                </a:cubicBezTo>
                <a:close/>
                <a:moveTo>
                  <a:pt x="398944" y="3734460"/>
                </a:moveTo>
                <a:cubicBezTo>
                  <a:pt x="408945" y="3738279"/>
                  <a:pt x="417518" y="3745919"/>
                  <a:pt x="422280" y="3756422"/>
                </a:cubicBezTo>
                <a:cubicBezTo>
                  <a:pt x="431806" y="3777430"/>
                  <a:pt x="424186" y="3804167"/>
                  <a:pt x="401325" y="3813715"/>
                </a:cubicBezTo>
                <a:cubicBezTo>
                  <a:pt x="401325" y="3813715"/>
                  <a:pt x="401325" y="3813715"/>
                  <a:pt x="62231" y="3970317"/>
                </a:cubicBezTo>
                <a:cubicBezTo>
                  <a:pt x="41276" y="3979866"/>
                  <a:pt x="16511" y="3970317"/>
                  <a:pt x="6986" y="3949309"/>
                </a:cubicBezTo>
                <a:cubicBezTo>
                  <a:pt x="5080" y="3943580"/>
                  <a:pt x="3175" y="3935941"/>
                  <a:pt x="3175" y="3930212"/>
                </a:cubicBezTo>
                <a:cubicBezTo>
                  <a:pt x="3175" y="3914934"/>
                  <a:pt x="12701" y="3899655"/>
                  <a:pt x="27941" y="3892016"/>
                </a:cubicBezTo>
                <a:cubicBezTo>
                  <a:pt x="27941" y="3892016"/>
                  <a:pt x="27941" y="3892016"/>
                  <a:pt x="367035" y="3735415"/>
                </a:cubicBezTo>
                <a:cubicBezTo>
                  <a:pt x="377512" y="3730640"/>
                  <a:pt x="388943" y="3730640"/>
                  <a:pt x="398944" y="3734460"/>
                </a:cubicBezTo>
                <a:close/>
                <a:moveTo>
                  <a:pt x="5394100" y="3725661"/>
                </a:moveTo>
                <a:cubicBezTo>
                  <a:pt x="5411704" y="3725928"/>
                  <a:pt x="5428503" y="3736616"/>
                  <a:pt x="5435653" y="3753716"/>
                </a:cubicBezTo>
                <a:cubicBezTo>
                  <a:pt x="5445184" y="3776516"/>
                  <a:pt x="5433745" y="3803116"/>
                  <a:pt x="5410869" y="3812616"/>
                </a:cubicBezTo>
                <a:cubicBezTo>
                  <a:pt x="5410869" y="3812616"/>
                  <a:pt x="5410869" y="3812616"/>
                  <a:pt x="5071527" y="3951316"/>
                </a:cubicBezTo>
                <a:cubicBezTo>
                  <a:pt x="5046746" y="3960816"/>
                  <a:pt x="5021966" y="3951316"/>
                  <a:pt x="5012435" y="3928516"/>
                </a:cubicBezTo>
                <a:cubicBezTo>
                  <a:pt x="5008622" y="3922816"/>
                  <a:pt x="5008622" y="3917116"/>
                  <a:pt x="5008622" y="3911416"/>
                </a:cubicBezTo>
                <a:cubicBezTo>
                  <a:pt x="5008622" y="3892416"/>
                  <a:pt x="5018154" y="3875316"/>
                  <a:pt x="5037216" y="3869616"/>
                </a:cubicBezTo>
                <a:cubicBezTo>
                  <a:pt x="5037216" y="3869616"/>
                  <a:pt x="5037216" y="3869616"/>
                  <a:pt x="5376554" y="3729016"/>
                </a:cubicBezTo>
                <a:cubicBezTo>
                  <a:pt x="5382274" y="3726641"/>
                  <a:pt x="5388232" y="3725572"/>
                  <a:pt x="5394100" y="3725661"/>
                </a:cubicBezTo>
                <a:close/>
                <a:moveTo>
                  <a:pt x="927625" y="3725661"/>
                </a:moveTo>
                <a:cubicBezTo>
                  <a:pt x="945497" y="3725928"/>
                  <a:pt x="961225" y="3736616"/>
                  <a:pt x="968374" y="3753716"/>
                </a:cubicBezTo>
                <a:cubicBezTo>
                  <a:pt x="977906" y="3776516"/>
                  <a:pt x="968374" y="3803116"/>
                  <a:pt x="945497" y="3812616"/>
                </a:cubicBezTo>
                <a:cubicBezTo>
                  <a:pt x="945497" y="3812616"/>
                  <a:pt x="945497" y="3812616"/>
                  <a:pt x="604250" y="3951316"/>
                </a:cubicBezTo>
                <a:cubicBezTo>
                  <a:pt x="581374" y="3960816"/>
                  <a:pt x="554684" y="3951316"/>
                  <a:pt x="545152" y="3928516"/>
                </a:cubicBezTo>
                <a:cubicBezTo>
                  <a:pt x="543246" y="3922816"/>
                  <a:pt x="541339" y="3917116"/>
                  <a:pt x="541339" y="3911416"/>
                </a:cubicBezTo>
                <a:cubicBezTo>
                  <a:pt x="541339" y="3892416"/>
                  <a:pt x="552778" y="3875316"/>
                  <a:pt x="569935" y="3869616"/>
                </a:cubicBezTo>
                <a:cubicBezTo>
                  <a:pt x="569935" y="3869616"/>
                  <a:pt x="569935" y="3869616"/>
                  <a:pt x="909276" y="3729016"/>
                </a:cubicBezTo>
                <a:cubicBezTo>
                  <a:pt x="915471" y="3726641"/>
                  <a:pt x="921667" y="3725572"/>
                  <a:pt x="927625" y="3725661"/>
                </a:cubicBezTo>
                <a:close/>
                <a:moveTo>
                  <a:pt x="4842646" y="3718049"/>
                </a:moveTo>
                <a:cubicBezTo>
                  <a:pt x="4861517" y="3718940"/>
                  <a:pt x="4879048" y="3731051"/>
                  <a:pt x="4884772" y="3749574"/>
                </a:cubicBezTo>
                <a:cubicBezTo>
                  <a:pt x="4894312" y="3774271"/>
                  <a:pt x="4880957" y="3802768"/>
                  <a:pt x="4856151" y="3810367"/>
                </a:cubicBezTo>
                <a:cubicBezTo>
                  <a:pt x="4856151" y="3810367"/>
                  <a:pt x="4856151" y="3810367"/>
                  <a:pt x="4514669" y="3933854"/>
                </a:cubicBezTo>
                <a:cubicBezTo>
                  <a:pt x="4489871" y="3943353"/>
                  <a:pt x="4463161" y="3930054"/>
                  <a:pt x="4453622" y="3905357"/>
                </a:cubicBezTo>
                <a:cubicBezTo>
                  <a:pt x="4451715" y="3901557"/>
                  <a:pt x="4449806" y="3895858"/>
                  <a:pt x="4449806" y="3890159"/>
                </a:cubicBezTo>
                <a:cubicBezTo>
                  <a:pt x="4449806" y="3869261"/>
                  <a:pt x="4463161" y="3852163"/>
                  <a:pt x="4482239" y="3844564"/>
                </a:cubicBezTo>
                <a:cubicBezTo>
                  <a:pt x="4482239" y="3844564"/>
                  <a:pt x="4482239" y="3844564"/>
                  <a:pt x="4823714" y="3721077"/>
                </a:cubicBezTo>
                <a:cubicBezTo>
                  <a:pt x="4829916" y="3718702"/>
                  <a:pt x="4836354" y="3717752"/>
                  <a:pt x="4842646" y="3718049"/>
                </a:cubicBezTo>
                <a:close/>
                <a:moveTo>
                  <a:pt x="1478619" y="3718049"/>
                </a:moveTo>
                <a:cubicBezTo>
                  <a:pt x="1496975" y="3718940"/>
                  <a:pt x="1513727" y="3731051"/>
                  <a:pt x="1520856" y="3749574"/>
                </a:cubicBezTo>
                <a:cubicBezTo>
                  <a:pt x="1530360" y="3774271"/>
                  <a:pt x="1517054" y="3802768"/>
                  <a:pt x="1492342" y="3810367"/>
                </a:cubicBezTo>
                <a:cubicBezTo>
                  <a:pt x="1492342" y="3810367"/>
                  <a:pt x="1492342" y="3810367"/>
                  <a:pt x="1152074" y="3933854"/>
                </a:cubicBezTo>
                <a:cubicBezTo>
                  <a:pt x="1127362" y="3943353"/>
                  <a:pt x="1098848" y="3930054"/>
                  <a:pt x="1089343" y="3905357"/>
                </a:cubicBezTo>
                <a:cubicBezTo>
                  <a:pt x="1087442" y="3901557"/>
                  <a:pt x="1087442" y="3895858"/>
                  <a:pt x="1087442" y="3890159"/>
                </a:cubicBezTo>
                <a:cubicBezTo>
                  <a:pt x="1087442" y="3869261"/>
                  <a:pt x="1098848" y="3852163"/>
                  <a:pt x="1117857" y="3844564"/>
                </a:cubicBezTo>
                <a:cubicBezTo>
                  <a:pt x="1117857" y="3844564"/>
                  <a:pt x="1117857" y="3844564"/>
                  <a:pt x="1460026" y="3721077"/>
                </a:cubicBezTo>
                <a:cubicBezTo>
                  <a:pt x="1466204" y="3718702"/>
                  <a:pt x="1472501" y="3717752"/>
                  <a:pt x="1478619" y="3718049"/>
                </a:cubicBezTo>
                <a:close/>
                <a:moveTo>
                  <a:pt x="2033482" y="3710438"/>
                </a:moveTo>
                <a:cubicBezTo>
                  <a:pt x="2053278" y="3711952"/>
                  <a:pt x="2071188" y="3725486"/>
                  <a:pt x="2078351" y="3745431"/>
                </a:cubicBezTo>
                <a:cubicBezTo>
                  <a:pt x="2085994" y="3772025"/>
                  <a:pt x="2070710" y="3800519"/>
                  <a:pt x="2043959" y="3810017"/>
                </a:cubicBezTo>
                <a:cubicBezTo>
                  <a:pt x="2043959" y="3810017"/>
                  <a:pt x="2043959" y="3810017"/>
                  <a:pt x="1701997" y="3916393"/>
                </a:cubicBezTo>
                <a:cubicBezTo>
                  <a:pt x="1673341" y="3925891"/>
                  <a:pt x="1644685" y="3910694"/>
                  <a:pt x="1637043" y="3884100"/>
                </a:cubicBezTo>
                <a:cubicBezTo>
                  <a:pt x="1635133" y="3878402"/>
                  <a:pt x="1635133" y="3874602"/>
                  <a:pt x="1635133" y="3868904"/>
                </a:cubicBezTo>
                <a:cubicBezTo>
                  <a:pt x="1635133" y="3846109"/>
                  <a:pt x="1648506" y="3827113"/>
                  <a:pt x="1669520" y="3819515"/>
                </a:cubicBezTo>
                <a:cubicBezTo>
                  <a:pt x="1669520" y="3819515"/>
                  <a:pt x="1669520" y="3819515"/>
                  <a:pt x="2013393" y="3713139"/>
                </a:cubicBezTo>
                <a:cubicBezTo>
                  <a:pt x="2020079" y="3710764"/>
                  <a:pt x="2026885" y="3709933"/>
                  <a:pt x="2033482" y="3710438"/>
                </a:cubicBezTo>
                <a:close/>
                <a:moveTo>
                  <a:pt x="4287765" y="3710438"/>
                </a:moveTo>
                <a:cubicBezTo>
                  <a:pt x="4307452" y="3711952"/>
                  <a:pt x="4324992" y="3725486"/>
                  <a:pt x="4330719" y="3745431"/>
                </a:cubicBezTo>
                <a:cubicBezTo>
                  <a:pt x="4340265" y="3772025"/>
                  <a:pt x="4324992" y="3800519"/>
                  <a:pt x="4298264" y="3810017"/>
                </a:cubicBezTo>
                <a:cubicBezTo>
                  <a:pt x="4298264" y="3810017"/>
                  <a:pt x="4298264" y="3810017"/>
                  <a:pt x="3954657" y="3916393"/>
                </a:cubicBezTo>
                <a:cubicBezTo>
                  <a:pt x="3927930" y="3925891"/>
                  <a:pt x="3899292" y="3910694"/>
                  <a:pt x="3891655" y="3884100"/>
                </a:cubicBezTo>
                <a:cubicBezTo>
                  <a:pt x="3889748" y="3878402"/>
                  <a:pt x="3887839" y="3874602"/>
                  <a:pt x="3887839" y="3868904"/>
                </a:cubicBezTo>
                <a:cubicBezTo>
                  <a:pt x="3887839" y="3846109"/>
                  <a:pt x="3903110" y="3827113"/>
                  <a:pt x="3924112" y="3819515"/>
                </a:cubicBezTo>
                <a:cubicBezTo>
                  <a:pt x="3924112" y="3819515"/>
                  <a:pt x="3924112" y="3819515"/>
                  <a:pt x="4267718" y="3713139"/>
                </a:cubicBezTo>
                <a:cubicBezTo>
                  <a:pt x="4274402" y="3710764"/>
                  <a:pt x="4281202" y="3709933"/>
                  <a:pt x="4287765" y="3710438"/>
                </a:cubicBezTo>
                <a:close/>
                <a:moveTo>
                  <a:pt x="3726990" y="3702866"/>
                </a:moveTo>
                <a:cubicBezTo>
                  <a:pt x="3747976" y="3705095"/>
                  <a:pt x="3766551" y="3720431"/>
                  <a:pt x="3772266" y="3743256"/>
                </a:cubicBezTo>
                <a:cubicBezTo>
                  <a:pt x="3779888" y="3771789"/>
                  <a:pt x="3762740" y="3800321"/>
                  <a:pt x="3734163" y="3807929"/>
                </a:cubicBezTo>
                <a:cubicBezTo>
                  <a:pt x="3734163" y="3807929"/>
                  <a:pt x="3734163" y="3807929"/>
                  <a:pt x="3391272" y="3899232"/>
                </a:cubicBezTo>
                <a:cubicBezTo>
                  <a:pt x="3360791" y="3906841"/>
                  <a:pt x="3332216" y="3889722"/>
                  <a:pt x="3324595" y="3861189"/>
                </a:cubicBezTo>
                <a:cubicBezTo>
                  <a:pt x="3322690" y="3857385"/>
                  <a:pt x="3322690" y="3851679"/>
                  <a:pt x="3322690" y="3847874"/>
                </a:cubicBezTo>
                <a:cubicBezTo>
                  <a:pt x="3322690" y="3823147"/>
                  <a:pt x="3337931" y="3802223"/>
                  <a:pt x="3362695" y="3796517"/>
                </a:cubicBezTo>
                <a:cubicBezTo>
                  <a:pt x="3362695" y="3796517"/>
                  <a:pt x="3362695" y="3796517"/>
                  <a:pt x="3705586" y="3705214"/>
                </a:cubicBezTo>
                <a:cubicBezTo>
                  <a:pt x="3712731" y="3702836"/>
                  <a:pt x="3719994" y="3702123"/>
                  <a:pt x="3726990" y="3702866"/>
                </a:cubicBezTo>
                <a:close/>
                <a:moveTo>
                  <a:pt x="2593305" y="3702866"/>
                </a:moveTo>
                <a:cubicBezTo>
                  <a:pt x="2614363" y="3705095"/>
                  <a:pt x="2633001" y="3720431"/>
                  <a:pt x="2638736" y="3743256"/>
                </a:cubicBezTo>
                <a:cubicBezTo>
                  <a:pt x="2646383" y="3771789"/>
                  <a:pt x="2629177" y="3800321"/>
                  <a:pt x="2600503" y="3807929"/>
                </a:cubicBezTo>
                <a:cubicBezTo>
                  <a:pt x="2600503" y="3807929"/>
                  <a:pt x="2600503" y="3807929"/>
                  <a:pt x="2256408" y="3899232"/>
                </a:cubicBezTo>
                <a:cubicBezTo>
                  <a:pt x="2225822" y="3906841"/>
                  <a:pt x="2197147" y="3889722"/>
                  <a:pt x="2189501" y="3861189"/>
                </a:cubicBezTo>
                <a:cubicBezTo>
                  <a:pt x="2187589" y="3857385"/>
                  <a:pt x="2187589" y="3851679"/>
                  <a:pt x="2187589" y="3847874"/>
                </a:cubicBezTo>
                <a:cubicBezTo>
                  <a:pt x="2187589" y="3823147"/>
                  <a:pt x="2202883" y="3802223"/>
                  <a:pt x="2227734" y="3796517"/>
                </a:cubicBezTo>
                <a:cubicBezTo>
                  <a:pt x="2227734" y="3796517"/>
                  <a:pt x="2227734" y="3796517"/>
                  <a:pt x="2571828" y="3705214"/>
                </a:cubicBezTo>
                <a:cubicBezTo>
                  <a:pt x="2578997" y="3702836"/>
                  <a:pt x="2586286" y="3702123"/>
                  <a:pt x="2593305" y="3702866"/>
                </a:cubicBezTo>
                <a:close/>
                <a:moveTo>
                  <a:pt x="3135574" y="3696656"/>
                </a:moveTo>
                <a:cubicBezTo>
                  <a:pt x="3166095" y="3690941"/>
                  <a:pt x="3196618" y="3709991"/>
                  <a:pt x="3202340" y="3740471"/>
                </a:cubicBezTo>
                <a:cubicBezTo>
                  <a:pt x="3209972" y="3770951"/>
                  <a:pt x="3190896" y="3801431"/>
                  <a:pt x="3160374" y="3809051"/>
                </a:cubicBezTo>
                <a:cubicBezTo>
                  <a:pt x="3160374" y="3809051"/>
                  <a:pt x="3160374" y="3809051"/>
                  <a:pt x="2815091" y="3883346"/>
                </a:cubicBezTo>
                <a:cubicBezTo>
                  <a:pt x="2784566" y="3890966"/>
                  <a:pt x="2754046" y="3871916"/>
                  <a:pt x="2746414" y="3841436"/>
                </a:cubicBezTo>
                <a:cubicBezTo>
                  <a:pt x="2746414" y="3835721"/>
                  <a:pt x="2746414" y="3831911"/>
                  <a:pt x="2746414" y="3828101"/>
                </a:cubicBezTo>
                <a:cubicBezTo>
                  <a:pt x="2746414" y="3801431"/>
                  <a:pt x="2763585" y="3778571"/>
                  <a:pt x="2790292" y="3772856"/>
                </a:cubicBezTo>
                <a:cubicBezTo>
                  <a:pt x="2790292" y="3772856"/>
                  <a:pt x="2790292" y="3772856"/>
                  <a:pt x="3135574" y="3696656"/>
                </a:cubicBezTo>
                <a:close/>
                <a:moveTo>
                  <a:pt x="9858878" y="3457894"/>
                </a:moveTo>
                <a:cubicBezTo>
                  <a:pt x="9863879" y="3458370"/>
                  <a:pt x="9868641" y="3460749"/>
                  <a:pt x="9871499" y="3465507"/>
                </a:cubicBezTo>
                <a:cubicBezTo>
                  <a:pt x="9879119" y="3473119"/>
                  <a:pt x="9877214" y="3484538"/>
                  <a:pt x="9869594" y="3492151"/>
                </a:cubicBezTo>
                <a:cubicBezTo>
                  <a:pt x="9869594" y="3492151"/>
                  <a:pt x="9869594" y="3492151"/>
                  <a:pt x="9538119" y="3773816"/>
                </a:cubicBezTo>
                <a:cubicBezTo>
                  <a:pt x="9530499" y="3781429"/>
                  <a:pt x="9519069" y="3781429"/>
                  <a:pt x="9511449" y="3771913"/>
                </a:cubicBezTo>
                <a:cubicBezTo>
                  <a:pt x="9509544" y="3768107"/>
                  <a:pt x="9507639" y="3764301"/>
                  <a:pt x="9507639" y="3760494"/>
                </a:cubicBezTo>
                <a:cubicBezTo>
                  <a:pt x="9507639" y="3754785"/>
                  <a:pt x="9509544" y="3749075"/>
                  <a:pt x="9513354" y="3745269"/>
                </a:cubicBezTo>
                <a:cubicBezTo>
                  <a:pt x="9513354" y="3745269"/>
                  <a:pt x="9513354" y="3745269"/>
                  <a:pt x="9844829" y="3461700"/>
                </a:cubicBezTo>
                <a:cubicBezTo>
                  <a:pt x="9848639" y="3458846"/>
                  <a:pt x="9853878" y="3457418"/>
                  <a:pt x="9858878" y="3457894"/>
                </a:cubicBezTo>
                <a:close/>
                <a:moveTo>
                  <a:pt x="10444338" y="3451145"/>
                </a:moveTo>
                <a:cubicBezTo>
                  <a:pt x="10449819" y="3451859"/>
                  <a:pt x="10455062" y="3454714"/>
                  <a:pt x="10458875" y="3459471"/>
                </a:cubicBezTo>
                <a:cubicBezTo>
                  <a:pt x="10466502" y="3468987"/>
                  <a:pt x="10464595" y="3482308"/>
                  <a:pt x="10455062" y="3489921"/>
                </a:cubicBezTo>
                <a:cubicBezTo>
                  <a:pt x="10455062" y="3489921"/>
                  <a:pt x="10455062" y="3489921"/>
                  <a:pt x="10123310" y="3756353"/>
                </a:cubicBezTo>
                <a:cubicBezTo>
                  <a:pt x="10113777" y="3763966"/>
                  <a:pt x="10098524" y="3762063"/>
                  <a:pt x="10090897" y="3752547"/>
                </a:cubicBezTo>
                <a:cubicBezTo>
                  <a:pt x="10088991" y="3748741"/>
                  <a:pt x="10087084" y="3743032"/>
                  <a:pt x="10087084" y="3737323"/>
                </a:cubicBezTo>
                <a:cubicBezTo>
                  <a:pt x="10087084" y="3731613"/>
                  <a:pt x="10088991" y="3725904"/>
                  <a:pt x="10094710" y="3720195"/>
                </a:cubicBezTo>
                <a:cubicBezTo>
                  <a:pt x="10094710" y="3720195"/>
                  <a:pt x="10094710" y="3720195"/>
                  <a:pt x="10428370" y="3455665"/>
                </a:cubicBezTo>
                <a:cubicBezTo>
                  <a:pt x="10433136" y="3451859"/>
                  <a:pt x="10438856" y="3450432"/>
                  <a:pt x="10444338" y="3451145"/>
                </a:cubicBezTo>
                <a:close/>
                <a:moveTo>
                  <a:pt x="9282925" y="3451145"/>
                </a:moveTo>
                <a:cubicBezTo>
                  <a:pt x="9288878" y="3451859"/>
                  <a:pt x="9294593" y="3454714"/>
                  <a:pt x="9298403" y="3459471"/>
                </a:cubicBezTo>
                <a:cubicBezTo>
                  <a:pt x="9306023" y="3468987"/>
                  <a:pt x="9304118" y="3482308"/>
                  <a:pt x="9294593" y="3489921"/>
                </a:cubicBezTo>
                <a:cubicBezTo>
                  <a:pt x="9294593" y="3489921"/>
                  <a:pt x="9294593" y="3489921"/>
                  <a:pt x="8961213" y="3756353"/>
                </a:cubicBezTo>
                <a:cubicBezTo>
                  <a:pt x="8951688" y="3763966"/>
                  <a:pt x="8938353" y="3762063"/>
                  <a:pt x="8930733" y="3752547"/>
                </a:cubicBezTo>
                <a:cubicBezTo>
                  <a:pt x="8926923" y="3748741"/>
                  <a:pt x="8925018" y="3743032"/>
                  <a:pt x="8925018" y="3737323"/>
                </a:cubicBezTo>
                <a:cubicBezTo>
                  <a:pt x="8925018" y="3731613"/>
                  <a:pt x="8928828" y="3725904"/>
                  <a:pt x="8934543" y="3720195"/>
                </a:cubicBezTo>
                <a:cubicBezTo>
                  <a:pt x="8934543" y="3720195"/>
                  <a:pt x="8934543" y="3720195"/>
                  <a:pt x="9266017" y="3455665"/>
                </a:cubicBezTo>
                <a:cubicBezTo>
                  <a:pt x="9270780" y="3451859"/>
                  <a:pt x="9276972" y="3450432"/>
                  <a:pt x="9282925" y="3451145"/>
                </a:cubicBezTo>
                <a:close/>
                <a:moveTo>
                  <a:pt x="8712667" y="3443688"/>
                </a:moveTo>
                <a:cubicBezTo>
                  <a:pt x="8719102" y="3444402"/>
                  <a:pt x="8725298" y="3447736"/>
                  <a:pt x="8730065" y="3453451"/>
                </a:cubicBezTo>
                <a:cubicBezTo>
                  <a:pt x="8737691" y="3464881"/>
                  <a:pt x="8735784" y="3482026"/>
                  <a:pt x="8724345" y="3489646"/>
                </a:cubicBezTo>
                <a:cubicBezTo>
                  <a:pt x="8724345" y="3489646"/>
                  <a:pt x="8724345" y="3489646"/>
                  <a:pt x="8390693" y="3737296"/>
                </a:cubicBezTo>
                <a:cubicBezTo>
                  <a:pt x="8379253" y="3744916"/>
                  <a:pt x="8362094" y="3743011"/>
                  <a:pt x="8354468" y="3731581"/>
                </a:cubicBezTo>
                <a:cubicBezTo>
                  <a:pt x="8350655" y="3727771"/>
                  <a:pt x="8348748" y="3722056"/>
                  <a:pt x="8348748" y="3716341"/>
                </a:cubicBezTo>
                <a:cubicBezTo>
                  <a:pt x="8348748" y="3708721"/>
                  <a:pt x="8352561" y="3701101"/>
                  <a:pt x="8360187" y="3695386"/>
                </a:cubicBezTo>
                <a:cubicBezTo>
                  <a:pt x="8360187" y="3695386"/>
                  <a:pt x="8360187" y="3695386"/>
                  <a:pt x="8693840" y="3449641"/>
                </a:cubicBezTo>
                <a:cubicBezTo>
                  <a:pt x="8699560" y="3444878"/>
                  <a:pt x="8706233" y="3442973"/>
                  <a:pt x="8712667" y="3443688"/>
                </a:cubicBezTo>
                <a:close/>
                <a:moveTo>
                  <a:pt x="11022273" y="3443688"/>
                </a:moveTo>
                <a:cubicBezTo>
                  <a:pt x="11028469" y="3444402"/>
                  <a:pt x="11034189" y="3447736"/>
                  <a:pt x="11038002" y="3453451"/>
                </a:cubicBezTo>
                <a:cubicBezTo>
                  <a:pt x="11047535" y="3464881"/>
                  <a:pt x="11045628" y="3482026"/>
                  <a:pt x="11034189" y="3489646"/>
                </a:cubicBezTo>
                <a:cubicBezTo>
                  <a:pt x="11034189" y="3489646"/>
                  <a:pt x="11034189" y="3489646"/>
                  <a:pt x="10700537" y="3737296"/>
                </a:cubicBezTo>
                <a:cubicBezTo>
                  <a:pt x="10689097" y="3744916"/>
                  <a:pt x="10671938" y="3743011"/>
                  <a:pt x="10664312" y="3731581"/>
                </a:cubicBezTo>
                <a:cubicBezTo>
                  <a:pt x="10660499" y="3727771"/>
                  <a:pt x="10658592" y="3722056"/>
                  <a:pt x="10658592" y="3716341"/>
                </a:cubicBezTo>
                <a:cubicBezTo>
                  <a:pt x="10658592" y="3708721"/>
                  <a:pt x="10662405" y="3701101"/>
                  <a:pt x="10670031" y="3695386"/>
                </a:cubicBezTo>
                <a:cubicBezTo>
                  <a:pt x="10670031" y="3695386"/>
                  <a:pt x="10670031" y="3695386"/>
                  <a:pt x="11003684" y="3449641"/>
                </a:cubicBezTo>
                <a:cubicBezTo>
                  <a:pt x="11009404" y="3444878"/>
                  <a:pt x="11016077" y="3442973"/>
                  <a:pt x="11022273" y="3443688"/>
                </a:cubicBezTo>
                <a:close/>
                <a:moveTo>
                  <a:pt x="11595028" y="3438528"/>
                </a:moveTo>
                <a:cubicBezTo>
                  <a:pt x="11602660" y="3439957"/>
                  <a:pt x="11609816" y="3444243"/>
                  <a:pt x="11614586" y="3450911"/>
                </a:cubicBezTo>
                <a:cubicBezTo>
                  <a:pt x="11622218" y="3464246"/>
                  <a:pt x="11620310" y="3483296"/>
                  <a:pt x="11606953" y="3490916"/>
                </a:cubicBezTo>
                <a:cubicBezTo>
                  <a:pt x="11606953" y="3490916"/>
                  <a:pt x="11606953" y="3490916"/>
                  <a:pt x="11271132" y="3719516"/>
                </a:cubicBezTo>
                <a:cubicBezTo>
                  <a:pt x="11257775" y="3729041"/>
                  <a:pt x="11238695" y="3725231"/>
                  <a:pt x="11231062" y="3711896"/>
                </a:cubicBezTo>
                <a:cubicBezTo>
                  <a:pt x="11227246" y="3706181"/>
                  <a:pt x="11225338" y="3700466"/>
                  <a:pt x="11225338" y="3696656"/>
                </a:cubicBezTo>
                <a:cubicBezTo>
                  <a:pt x="11225338" y="3687131"/>
                  <a:pt x="11229154" y="3677606"/>
                  <a:pt x="11238695" y="3671891"/>
                </a:cubicBezTo>
                <a:cubicBezTo>
                  <a:pt x="11238695" y="3671891"/>
                  <a:pt x="11238695" y="3671891"/>
                  <a:pt x="11572608" y="3443291"/>
                </a:cubicBezTo>
                <a:cubicBezTo>
                  <a:pt x="11579286" y="3438528"/>
                  <a:pt x="11587396" y="3437100"/>
                  <a:pt x="11595028" y="3438528"/>
                </a:cubicBezTo>
                <a:close/>
                <a:moveTo>
                  <a:pt x="8149264" y="3438528"/>
                </a:moveTo>
                <a:cubicBezTo>
                  <a:pt x="8156391" y="3439957"/>
                  <a:pt x="8163042" y="3444243"/>
                  <a:pt x="8167794" y="3450911"/>
                </a:cubicBezTo>
                <a:cubicBezTo>
                  <a:pt x="8177296" y="3464246"/>
                  <a:pt x="8173495" y="3483296"/>
                  <a:pt x="8160192" y="3490916"/>
                </a:cubicBezTo>
                <a:cubicBezTo>
                  <a:pt x="8160192" y="3490916"/>
                  <a:pt x="8160192" y="3490916"/>
                  <a:pt x="7825713" y="3719516"/>
                </a:cubicBezTo>
                <a:cubicBezTo>
                  <a:pt x="7812410" y="3729041"/>
                  <a:pt x="7795306" y="3725231"/>
                  <a:pt x="7785804" y="3711896"/>
                </a:cubicBezTo>
                <a:cubicBezTo>
                  <a:pt x="7782003" y="3706181"/>
                  <a:pt x="7782003" y="3700466"/>
                  <a:pt x="7782003" y="3696656"/>
                </a:cubicBezTo>
                <a:cubicBezTo>
                  <a:pt x="7782003" y="3687131"/>
                  <a:pt x="7785804" y="3677606"/>
                  <a:pt x="7793405" y="3671891"/>
                </a:cubicBezTo>
                <a:cubicBezTo>
                  <a:pt x="7793405" y="3671891"/>
                  <a:pt x="7793405" y="3671891"/>
                  <a:pt x="8127884" y="3443291"/>
                </a:cubicBezTo>
                <a:cubicBezTo>
                  <a:pt x="8134536" y="3438528"/>
                  <a:pt x="8142137" y="3437100"/>
                  <a:pt x="8149264" y="3438528"/>
                </a:cubicBezTo>
                <a:close/>
                <a:moveTo>
                  <a:pt x="12139750" y="3433766"/>
                </a:moveTo>
                <a:cubicBezTo>
                  <a:pt x="12139750" y="3433766"/>
                  <a:pt x="12139750" y="3433766"/>
                  <a:pt x="12139750" y="3509879"/>
                </a:cubicBezTo>
                <a:cubicBezTo>
                  <a:pt x="12139750" y="3509879"/>
                  <a:pt x="12139750" y="3509879"/>
                  <a:pt x="11835219" y="3702065"/>
                </a:cubicBezTo>
                <a:cubicBezTo>
                  <a:pt x="11819993" y="3711579"/>
                  <a:pt x="11799056" y="3705870"/>
                  <a:pt x="11789540" y="3690648"/>
                </a:cubicBezTo>
                <a:cubicBezTo>
                  <a:pt x="11785733" y="3684939"/>
                  <a:pt x="11785733" y="3679231"/>
                  <a:pt x="11785733" y="3673522"/>
                </a:cubicBezTo>
                <a:cubicBezTo>
                  <a:pt x="11785733" y="3662105"/>
                  <a:pt x="11789540" y="3652591"/>
                  <a:pt x="11800960" y="3646883"/>
                </a:cubicBezTo>
                <a:lnTo>
                  <a:pt x="12135943" y="3435669"/>
                </a:lnTo>
                <a:cubicBezTo>
                  <a:pt x="12137847" y="3435669"/>
                  <a:pt x="12137847" y="3435669"/>
                  <a:pt x="12139750" y="3433766"/>
                </a:cubicBezTo>
                <a:close/>
                <a:moveTo>
                  <a:pt x="7592961" y="3431781"/>
                </a:moveTo>
                <a:cubicBezTo>
                  <a:pt x="7601309" y="3433924"/>
                  <a:pt x="7608941" y="3439163"/>
                  <a:pt x="7613711" y="3446783"/>
                </a:cubicBezTo>
                <a:cubicBezTo>
                  <a:pt x="7623251" y="3462023"/>
                  <a:pt x="7617527" y="3481073"/>
                  <a:pt x="7602263" y="3490598"/>
                </a:cubicBezTo>
                <a:cubicBezTo>
                  <a:pt x="7602263" y="3490598"/>
                  <a:pt x="7602263" y="3490598"/>
                  <a:pt x="7266453" y="3702053"/>
                </a:cubicBezTo>
                <a:cubicBezTo>
                  <a:pt x="7251189" y="3711578"/>
                  <a:pt x="7232109" y="3705863"/>
                  <a:pt x="7222569" y="3690623"/>
                </a:cubicBezTo>
                <a:cubicBezTo>
                  <a:pt x="7218753" y="3684908"/>
                  <a:pt x="7216845" y="3679193"/>
                  <a:pt x="7216845" y="3673478"/>
                </a:cubicBezTo>
                <a:cubicBezTo>
                  <a:pt x="7216845" y="3662048"/>
                  <a:pt x="7222569" y="3652523"/>
                  <a:pt x="7232109" y="3646808"/>
                </a:cubicBezTo>
                <a:cubicBezTo>
                  <a:pt x="7232109" y="3646808"/>
                  <a:pt x="7232109" y="3646808"/>
                  <a:pt x="7567918" y="3435353"/>
                </a:cubicBezTo>
                <a:cubicBezTo>
                  <a:pt x="7575551" y="3430590"/>
                  <a:pt x="7584614" y="3429638"/>
                  <a:pt x="7592961" y="3431781"/>
                </a:cubicBezTo>
                <a:close/>
                <a:moveTo>
                  <a:pt x="7042583" y="3425684"/>
                </a:moveTo>
                <a:cubicBezTo>
                  <a:pt x="7051618" y="3428071"/>
                  <a:pt x="7059702" y="3433799"/>
                  <a:pt x="7064457" y="3442391"/>
                </a:cubicBezTo>
                <a:cubicBezTo>
                  <a:pt x="7073968" y="3459576"/>
                  <a:pt x="7068261" y="3480580"/>
                  <a:pt x="7051143" y="3490127"/>
                </a:cubicBezTo>
                <a:cubicBezTo>
                  <a:pt x="7051143" y="3490127"/>
                  <a:pt x="7051143" y="3490127"/>
                  <a:pt x="6714471" y="3682981"/>
                </a:cubicBezTo>
                <a:cubicBezTo>
                  <a:pt x="6697352" y="3692528"/>
                  <a:pt x="6676429" y="3686800"/>
                  <a:pt x="6665016" y="3669615"/>
                </a:cubicBezTo>
                <a:cubicBezTo>
                  <a:pt x="6663114" y="3663886"/>
                  <a:pt x="6661212" y="3658158"/>
                  <a:pt x="6661212" y="3652430"/>
                </a:cubicBezTo>
                <a:cubicBezTo>
                  <a:pt x="6661212" y="3639064"/>
                  <a:pt x="6666918" y="3627607"/>
                  <a:pt x="6678331" y="3619969"/>
                </a:cubicBezTo>
                <a:cubicBezTo>
                  <a:pt x="6678331" y="3619969"/>
                  <a:pt x="6678331" y="3619969"/>
                  <a:pt x="7015003" y="3429025"/>
                </a:cubicBezTo>
                <a:cubicBezTo>
                  <a:pt x="7023562" y="3424254"/>
                  <a:pt x="7033548" y="3423297"/>
                  <a:pt x="7042583" y="3425684"/>
                </a:cubicBezTo>
                <a:close/>
                <a:moveTo>
                  <a:pt x="6499335" y="3418940"/>
                </a:moveTo>
                <a:cubicBezTo>
                  <a:pt x="6508845" y="3422044"/>
                  <a:pt x="6517405" y="3428727"/>
                  <a:pt x="6523112" y="3438274"/>
                </a:cubicBezTo>
                <a:cubicBezTo>
                  <a:pt x="6532623" y="3457370"/>
                  <a:pt x="6525014" y="3480286"/>
                  <a:pt x="6505992" y="3491743"/>
                </a:cubicBezTo>
                <a:cubicBezTo>
                  <a:pt x="6505992" y="3491743"/>
                  <a:pt x="6505992" y="3491743"/>
                  <a:pt x="6167407" y="3663607"/>
                </a:cubicBezTo>
                <a:cubicBezTo>
                  <a:pt x="6148385" y="3675065"/>
                  <a:pt x="6125559" y="3667426"/>
                  <a:pt x="6116048" y="3648330"/>
                </a:cubicBezTo>
                <a:cubicBezTo>
                  <a:pt x="6112244" y="3642602"/>
                  <a:pt x="6110342" y="3634963"/>
                  <a:pt x="6110342" y="3629234"/>
                </a:cubicBezTo>
                <a:cubicBezTo>
                  <a:pt x="6110342" y="3615867"/>
                  <a:pt x="6117950" y="3602500"/>
                  <a:pt x="6131266" y="3594862"/>
                </a:cubicBezTo>
                <a:cubicBezTo>
                  <a:pt x="6131266" y="3594862"/>
                  <a:pt x="6131266" y="3594862"/>
                  <a:pt x="6469851" y="3421090"/>
                </a:cubicBezTo>
                <a:cubicBezTo>
                  <a:pt x="6479362" y="3416316"/>
                  <a:pt x="6489824" y="3415839"/>
                  <a:pt x="6499335" y="3418940"/>
                </a:cubicBezTo>
                <a:close/>
                <a:moveTo>
                  <a:pt x="5958954" y="3413743"/>
                </a:moveTo>
                <a:cubicBezTo>
                  <a:pt x="5969463" y="3417542"/>
                  <a:pt x="5978538" y="3425142"/>
                  <a:pt x="5983314" y="3435593"/>
                </a:cubicBezTo>
                <a:cubicBezTo>
                  <a:pt x="5992867" y="3456495"/>
                  <a:pt x="5983314" y="3483098"/>
                  <a:pt x="5962297" y="3492599"/>
                </a:cubicBezTo>
                <a:cubicBezTo>
                  <a:pt x="5962297" y="3492599"/>
                  <a:pt x="5962297" y="3492599"/>
                  <a:pt x="5622210" y="3646514"/>
                </a:cubicBezTo>
                <a:cubicBezTo>
                  <a:pt x="5599284" y="3656015"/>
                  <a:pt x="5574446" y="3646514"/>
                  <a:pt x="5564892" y="3625612"/>
                </a:cubicBezTo>
                <a:cubicBezTo>
                  <a:pt x="5562982" y="3619911"/>
                  <a:pt x="5561071" y="3614211"/>
                  <a:pt x="5561071" y="3608510"/>
                </a:cubicBezTo>
                <a:cubicBezTo>
                  <a:pt x="5561071" y="3591408"/>
                  <a:pt x="5570624" y="3576207"/>
                  <a:pt x="5585909" y="3568606"/>
                </a:cubicBezTo>
                <a:cubicBezTo>
                  <a:pt x="5585909" y="3568606"/>
                  <a:pt x="5585909" y="3568606"/>
                  <a:pt x="5925997" y="3414692"/>
                </a:cubicBezTo>
                <a:cubicBezTo>
                  <a:pt x="5936505" y="3409944"/>
                  <a:pt x="5948446" y="3409944"/>
                  <a:pt x="5958954" y="3413743"/>
                </a:cubicBezTo>
                <a:close/>
                <a:moveTo>
                  <a:pt x="398651" y="3413741"/>
                </a:moveTo>
                <a:cubicBezTo>
                  <a:pt x="408645" y="3417542"/>
                  <a:pt x="417212" y="3425142"/>
                  <a:pt x="421971" y="3435593"/>
                </a:cubicBezTo>
                <a:cubicBezTo>
                  <a:pt x="433392" y="3456495"/>
                  <a:pt x="423874" y="3483098"/>
                  <a:pt x="401031" y="3492599"/>
                </a:cubicBezTo>
                <a:cubicBezTo>
                  <a:pt x="401031" y="3492599"/>
                  <a:pt x="401031" y="3492599"/>
                  <a:pt x="62187" y="3646514"/>
                </a:cubicBezTo>
                <a:cubicBezTo>
                  <a:pt x="41247" y="3656015"/>
                  <a:pt x="16500" y="3646514"/>
                  <a:pt x="6982" y="3625612"/>
                </a:cubicBezTo>
                <a:cubicBezTo>
                  <a:pt x="3175" y="3619911"/>
                  <a:pt x="3175" y="3614211"/>
                  <a:pt x="3175" y="3608510"/>
                </a:cubicBezTo>
                <a:cubicBezTo>
                  <a:pt x="3175" y="3591408"/>
                  <a:pt x="12693" y="3576207"/>
                  <a:pt x="27922" y="3568606"/>
                </a:cubicBezTo>
                <a:cubicBezTo>
                  <a:pt x="27922" y="3568606"/>
                  <a:pt x="27922" y="3568606"/>
                  <a:pt x="366766" y="3414692"/>
                </a:cubicBezTo>
                <a:cubicBezTo>
                  <a:pt x="377236" y="3409942"/>
                  <a:pt x="388657" y="3409942"/>
                  <a:pt x="398651" y="3413741"/>
                </a:cubicBezTo>
                <a:close/>
                <a:moveTo>
                  <a:pt x="5394960" y="3403430"/>
                </a:moveTo>
                <a:cubicBezTo>
                  <a:pt x="5413341" y="3403787"/>
                  <a:pt x="5430116" y="3414829"/>
                  <a:pt x="5437255" y="3433353"/>
                </a:cubicBezTo>
                <a:cubicBezTo>
                  <a:pt x="5446773" y="3456153"/>
                  <a:pt x="5435351" y="3482753"/>
                  <a:pt x="5410604" y="3492253"/>
                </a:cubicBezTo>
                <a:cubicBezTo>
                  <a:pt x="5410604" y="3492253"/>
                  <a:pt x="5410604" y="3492253"/>
                  <a:pt x="5069848" y="3629053"/>
                </a:cubicBezTo>
                <a:cubicBezTo>
                  <a:pt x="5047008" y="3638553"/>
                  <a:pt x="5020360" y="3627153"/>
                  <a:pt x="5010843" y="3602453"/>
                </a:cubicBezTo>
                <a:cubicBezTo>
                  <a:pt x="5008939" y="3596753"/>
                  <a:pt x="5007036" y="3591053"/>
                  <a:pt x="5007036" y="3585353"/>
                </a:cubicBezTo>
                <a:cubicBezTo>
                  <a:pt x="5007036" y="3568253"/>
                  <a:pt x="5018457" y="3551153"/>
                  <a:pt x="5037490" y="3543553"/>
                </a:cubicBezTo>
                <a:cubicBezTo>
                  <a:pt x="5037490" y="3543553"/>
                  <a:pt x="5037490" y="3543553"/>
                  <a:pt x="5376339" y="3406755"/>
                </a:cubicBezTo>
                <a:cubicBezTo>
                  <a:pt x="5382526" y="3404382"/>
                  <a:pt x="5388832" y="3403312"/>
                  <a:pt x="5394960" y="3403430"/>
                </a:cubicBezTo>
                <a:close/>
                <a:moveTo>
                  <a:pt x="928445" y="3403428"/>
                </a:moveTo>
                <a:cubicBezTo>
                  <a:pt x="946037" y="3403784"/>
                  <a:pt x="962825" y="3414829"/>
                  <a:pt x="969969" y="3433353"/>
                </a:cubicBezTo>
                <a:cubicBezTo>
                  <a:pt x="979494" y="3456153"/>
                  <a:pt x="968064" y="3482753"/>
                  <a:pt x="945204" y="3492253"/>
                </a:cubicBezTo>
                <a:cubicBezTo>
                  <a:pt x="945204" y="3492253"/>
                  <a:pt x="945204" y="3492253"/>
                  <a:pt x="604205" y="3629053"/>
                </a:cubicBezTo>
                <a:cubicBezTo>
                  <a:pt x="579439" y="3638553"/>
                  <a:pt x="552769" y="3627153"/>
                  <a:pt x="543244" y="3602453"/>
                </a:cubicBezTo>
                <a:cubicBezTo>
                  <a:pt x="541339" y="3596753"/>
                  <a:pt x="541339" y="3591053"/>
                  <a:pt x="541339" y="3585353"/>
                </a:cubicBezTo>
                <a:cubicBezTo>
                  <a:pt x="541339" y="3568253"/>
                  <a:pt x="550864" y="3551153"/>
                  <a:pt x="569914" y="3543553"/>
                </a:cubicBezTo>
                <a:cubicBezTo>
                  <a:pt x="569914" y="3543553"/>
                  <a:pt x="569914" y="3543553"/>
                  <a:pt x="910913" y="3406753"/>
                </a:cubicBezTo>
                <a:cubicBezTo>
                  <a:pt x="916628" y="3404380"/>
                  <a:pt x="922582" y="3403309"/>
                  <a:pt x="928445" y="3403428"/>
                </a:cubicBezTo>
                <a:close/>
                <a:moveTo>
                  <a:pt x="4843466" y="3396591"/>
                </a:moveTo>
                <a:cubicBezTo>
                  <a:pt x="4863128" y="3398289"/>
                  <a:pt x="4880648" y="3410433"/>
                  <a:pt x="4886367" y="3429004"/>
                </a:cubicBezTo>
                <a:cubicBezTo>
                  <a:pt x="4895901" y="3455673"/>
                  <a:pt x="4882555" y="3484248"/>
                  <a:pt x="4855862" y="3491868"/>
                </a:cubicBezTo>
                <a:cubicBezTo>
                  <a:pt x="4855862" y="3491868"/>
                  <a:pt x="4855862" y="3491868"/>
                  <a:pt x="4514622" y="3609978"/>
                </a:cubicBezTo>
                <a:cubicBezTo>
                  <a:pt x="4487935" y="3619503"/>
                  <a:pt x="4461245" y="3606168"/>
                  <a:pt x="4451713" y="3579498"/>
                </a:cubicBezTo>
                <a:cubicBezTo>
                  <a:pt x="4449806" y="3575688"/>
                  <a:pt x="4449806" y="3569973"/>
                  <a:pt x="4449806" y="3564258"/>
                </a:cubicBezTo>
                <a:cubicBezTo>
                  <a:pt x="4449806" y="3543303"/>
                  <a:pt x="4461245" y="3524253"/>
                  <a:pt x="4482215" y="3518538"/>
                </a:cubicBezTo>
                <a:cubicBezTo>
                  <a:pt x="4482215" y="3518538"/>
                  <a:pt x="4482215" y="3518538"/>
                  <a:pt x="4823447" y="3398526"/>
                </a:cubicBezTo>
                <a:cubicBezTo>
                  <a:pt x="4830119" y="3396621"/>
                  <a:pt x="4836913" y="3396026"/>
                  <a:pt x="4843466" y="3396591"/>
                </a:cubicBezTo>
                <a:close/>
                <a:moveTo>
                  <a:pt x="1478769" y="3396589"/>
                </a:moveTo>
                <a:cubicBezTo>
                  <a:pt x="1497714" y="3398285"/>
                  <a:pt x="1515586" y="3410431"/>
                  <a:pt x="1522735" y="3429004"/>
                </a:cubicBezTo>
                <a:cubicBezTo>
                  <a:pt x="1530360" y="3455673"/>
                  <a:pt x="1517016" y="3484248"/>
                  <a:pt x="1492233" y="3491868"/>
                </a:cubicBezTo>
                <a:cubicBezTo>
                  <a:pt x="1492233" y="3491868"/>
                  <a:pt x="1492233" y="3491868"/>
                  <a:pt x="1149084" y="3609978"/>
                </a:cubicBezTo>
                <a:cubicBezTo>
                  <a:pt x="1124301" y="3619503"/>
                  <a:pt x="1095705" y="3606168"/>
                  <a:pt x="1088080" y="3579498"/>
                </a:cubicBezTo>
                <a:cubicBezTo>
                  <a:pt x="1086173" y="3575688"/>
                  <a:pt x="1084267" y="3569973"/>
                  <a:pt x="1084267" y="3564258"/>
                </a:cubicBezTo>
                <a:cubicBezTo>
                  <a:pt x="1084267" y="3543303"/>
                  <a:pt x="1097612" y="3524253"/>
                  <a:pt x="1116676" y="3518538"/>
                </a:cubicBezTo>
                <a:cubicBezTo>
                  <a:pt x="1116676" y="3518538"/>
                  <a:pt x="1116676" y="3518538"/>
                  <a:pt x="1459824" y="3398524"/>
                </a:cubicBezTo>
                <a:cubicBezTo>
                  <a:pt x="1466020" y="3396619"/>
                  <a:pt x="1472454" y="3396023"/>
                  <a:pt x="1478769" y="3396589"/>
                </a:cubicBezTo>
                <a:close/>
                <a:moveTo>
                  <a:pt x="4288621" y="3390094"/>
                </a:moveTo>
                <a:cubicBezTo>
                  <a:pt x="4309086" y="3392150"/>
                  <a:pt x="4326601" y="3406815"/>
                  <a:pt x="4332319" y="3426845"/>
                </a:cubicBezTo>
                <a:cubicBezTo>
                  <a:pt x="4341852" y="3455461"/>
                  <a:pt x="4324694" y="3484078"/>
                  <a:pt x="4298005" y="3491709"/>
                </a:cubicBezTo>
                <a:cubicBezTo>
                  <a:pt x="4298005" y="3491709"/>
                  <a:pt x="4298005" y="3491709"/>
                  <a:pt x="3954880" y="3592822"/>
                </a:cubicBezTo>
                <a:cubicBezTo>
                  <a:pt x="3926286" y="3600453"/>
                  <a:pt x="3897688" y="3585191"/>
                  <a:pt x="3888156" y="3556574"/>
                </a:cubicBezTo>
                <a:cubicBezTo>
                  <a:pt x="3888156" y="3552758"/>
                  <a:pt x="3886249" y="3547035"/>
                  <a:pt x="3886249" y="3541311"/>
                </a:cubicBezTo>
                <a:cubicBezTo>
                  <a:pt x="3886249" y="3518418"/>
                  <a:pt x="3901500" y="3497432"/>
                  <a:pt x="3924379" y="3491709"/>
                </a:cubicBezTo>
                <a:cubicBezTo>
                  <a:pt x="3924379" y="3491709"/>
                  <a:pt x="3924379" y="3491709"/>
                  <a:pt x="4267501" y="3392508"/>
                </a:cubicBezTo>
                <a:cubicBezTo>
                  <a:pt x="4274652" y="3390124"/>
                  <a:pt x="4281800" y="3389407"/>
                  <a:pt x="4288621" y="3390094"/>
                </a:cubicBezTo>
                <a:close/>
                <a:moveTo>
                  <a:pt x="2035411" y="3390091"/>
                </a:moveTo>
                <a:cubicBezTo>
                  <a:pt x="2055627" y="3392148"/>
                  <a:pt x="2074226" y="3406813"/>
                  <a:pt x="2079949" y="3426845"/>
                </a:cubicBezTo>
                <a:cubicBezTo>
                  <a:pt x="2087580" y="3455461"/>
                  <a:pt x="2072318" y="3484078"/>
                  <a:pt x="2043698" y="3491709"/>
                </a:cubicBezTo>
                <a:cubicBezTo>
                  <a:pt x="2043698" y="3491709"/>
                  <a:pt x="2043698" y="3491709"/>
                  <a:pt x="1700314" y="3592822"/>
                </a:cubicBezTo>
                <a:cubicBezTo>
                  <a:pt x="1671698" y="3600453"/>
                  <a:pt x="1643083" y="3585191"/>
                  <a:pt x="1635452" y="3556574"/>
                </a:cubicBezTo>
                <a:cubicBezTo>
                  <a:pt x="1633545" y="3552758"/>
                  <a:pt x="1633545" y="3547035"/>
                  <a:pt x="1633545" y="3541311"/>
                </a:cubicBezTo>
                <a:cubicBezTo>
                  <a:pt x="1633545" y="3518418"/>
                  <a:pt x="1648806" y="3497432"/>
                  <a:pt x="1671698" y="3491709"/>
                </a:cubicBezTo>
                <a:cubicBezTo>
                  <a:pt x="1671698" y="3491709"/>
                  <a:pt x="1671698" y="3491709"/>
                  <a:pt x="2015083" y="3392506"/>
                </a:cubicBezTo>
                <a:cubicBezTo>
                  <a:pt x="2021760" y="3390122"/>
                  <a:pt x="2028675" y="3389405"/>
                  <a:pt x="2035411" y="3390091"/>
                </a:cubicBezTo>
                <a:close/>
                <a:moveTo>
                  <a:pt x="3729542" y="3384855"/>
                </a:moveTo>
                <a:cubicBezTo>
                  <a:pt x="3751288" y="3388416"/>
                  <a:pt x="3769541" y="3404794"/>
                  <a:pt x="3773838" y="3427580"/>
                </a:cubicBezTo>
                <a:cubicBezTo>
                  <a:pt x="3781473" y="3456065"/>
                  <a:pt x="3762384" y="3486450"/>
                  <a:pt x="3733746" y="3494046"/>
                </a:cubicBezTo>
                <a:cubicBezTo>
                  <a:pt x="3733746" y="3494046"/>
                  <a:pt x="3733746" y="3494046"/>
                  <a:pt x="3388241" y="3575706"/>
                </a:cubicBezTo>
                <a:cubicBezTo>
                  <a:pt x="3357694" y="3581403"/>
                  <a:pt x="3327152" y="3564311"/>
                  <a:pt x="3321424" y="3533926"/>
                </a:cubicBezTo>
                <a:cubicBezTo>
                  <a:pt x="3319514" y="3528229"/>
                  <a:pt x="3319514" y="3524431"/>
                  <a:pt x="3319514" y="3520633"/>
                </a:cubicBezTo>
                <a:cubicBezTo>
                  <a:pt x="3319514" y="3495945"/>
                  <a:pt x="3336696" y="3473156"/>
                  <a:pt x="3361513" y="3465560"/>
                </a:cubicBezTo>
                <a:cubicBezTo>
                  <a:pt x="3361513" y="3465560"/>
                  <a:pt x="3361513" y="3465560"/>
                  <a:pt x="3707020" y="3385804"/>
                </a:cubicBezTo>
                <a:cubicBezTo>
                  <a:pt x="3714657" y="3383908"/>
                  <a:pt x="3722292" y="3383666"/>
                  <a:pt x="3729542" y="3384855"/>
                </a:cubicBezTo>
                <a:close/>
                <a:moveTo>
                  <a:pt x="2596041" y="3384850"/>
                </a:moveTo>
                <a:cubicBezTo>
                  <a:pt x="2617785" y="3388411"/>
                  <a:pt x="2636040" y="3404792"/>
                  <a:pt x="2640335" y="3427579"/>
                </a:cubicBezTo>
                <a:cubicBezTo>
                  <a:pt x="2647970" y="3456065"/>
                  <a:pt x="2628881" y="3486450"/>
                  <a:pt x="2598337" y="3494046"/>
                </a:cubicBezTo>
                <a:cubicBezTo>
                  <a:pt x="2598337" y="3494046"/>
                  <a:pt x="2598337" y="3494046"/>
                  <a:pt x="2254725" y="3575706"/>
                </a:cubicBezTo>
                <a:cubicBezTo>
                  <a:pt x="2224180" y="3581403"/>
                  <a:pt x="2193638" y="3564311"/>
                  <a:pt x="2187911" y="3533926"/>
                </a:cubicBezTo>
                <a:cubicBezTo>
                  <a:pt x="2186002" y="3528229"/>
                  <a:pt x="2186002" y="3524431"/>
                  <a:pt x="2186002" y="3520633"/>
                </a:cubicBezTo>
                <a:cubicBezTo>
                  <a:pt x="2186002" y="3495945"/>
                  <a:pt x="2203183" y="3473156"/>
                  <a:pt x="2227999" y="3465560"/>
                </a:cubicBezTo>
                <a:cubicBezTo>
                  <a:pt x="2227999" y="3465560"/>
                  <a:pt x="2227999" y="3465560"/>
                  <a:pt x="2573521" y="3385799"/>
                </a:cubicBezTo>
                <a:cubicBezTo>
                  <a:pt x="2581157" y="3383901"/>
                  <a:pt x="2588792" y="3383664"/>
                  <a:pt x="2596041" y="3384850"/>
                </a:cubicBezTo>
                <a:close/>
                <a:moveTo>
                  <a:pt x="3137315" y="3377575"/>
                </a:moveTo>
                <a:cubicBezTo>
                  <a:pt x="3169679" y="3371862"/>
                  <a:pt x="3200138" y="3392811"/>
                  <a:pt x="3205849" y="3425194"/>
                </a:cubicBezTo>
                <a:cubicBezTo>
                  <a:pt x="3211557" y="3457578"/>
                  <a:pt x="3190620" y="3488058"/>
                  <a:pt x="3158257" y="3493773"/>
                </a:cubicBezTo>
                <a:cubicBezTo>
                  <a:pt x="3158257" y="3493773"/>
                  <a:pt x="3158257" y="3493773"/>
                  <a:pt x="2813679" y="3556638"/>
                </a:cubicBezTo>
                <a:cubicBezTo>
                  <a:pt x="2781315" y="3562353"/>
                  <a:pt x="2750856" y="3541398"/>
                  <a:pt x="2745145" y="3509013"/>
                </a:cubicBezTo>
                <a:cubicBezTo>
                  <a:pt x="2743240" y="3505203"/>
                  <a:pt x="2743240" y="3501393"/>
                  <a:pt x="2743240" y="3497583"/>
                </a:cubicBezTo>
                <a:cubicBezTo>
                  <a:pt x="2743240" y="3470913"/>
                  <a:pt x="2764180" y="3446148"/>
                  <a:pt x="2792738" y="3440433"/>
                </a:cubicBezTo>
                <a:cubicBezTo>
                  <a:pt x="2792738" y="3440433"/>
                  <a:pt x="2792738" y="3440433"/>
                  <a:pt x="3137315" y="3377575"/>
                </a:cubicBezTo>
                <a:close/>
                <a:moveTo>
                  <a:pt x="9858814" y="3131368"/>
                </a:moveTo>
                <a:cubicBezTo>
                  <a:pt x="9863097" y="3131843"/>
                  <a:pt x="9867379" y="3133750"/>
                  <a:pt x="9870234" y="3136605"/>
                </a:cubicBezTo>
                <a:cubicBezTo>
                  <a:pt x="9875944" y="3144217"/>
                  <a:pt x="9875944" y="3153731"/>
                  <a:pt x="9868331" y="3159443"/>
                </a:cubicBezTo>
                <a:cubicBezTo>
                  <a:pt x="9868331" y="3159443"/>
                  <a:pt x="9868331" y="3159443"/>
                  <a:pt x="9539049" y="3458218"/>
                </a:cubicBezTo>
                <a:cubicBezTo>
                  <a:pt x="9531436" y="3463928"/>
                  <a:pt x="9521919" y="3463928"/>
                  <a:pt x="9516209" y="3456315"/>
                </a:cubicBezTo>
                <a:cubicBezTo>
                  <a:pt x="9512402" y="3452509"/>
                  <a:pt x="9512402" y="3448702"/>
                  <a:pt x="9512402" y="3444896"/>
                </a:cubicBezTo>
                <a:cubicBezTo>
                  <a:pt x="9512402" y="3441089"/>
                  <a:pt x="9514305" y="3437283"/>
                  <a:pt x="9516209" y="3433477"/>
                </a:cubicBezTo>
                <a:cubicBezTo>
                  <a:pt x="9516209" y="3433477"/>
                  <a:pt x="9516209" y="3433477"/>
                  <a:pt x="9847394" y="3134702"/>
                </a:cubicBezTo>
                <a:cubicBezTo>
                  <a:pt x="9850249" y="3131843"/>
                  <a:pt x="9854532" y="3130893"/>
                  <a:pt x="9858814" y="3131368"/>
                </a:cubicBezTo>
                <a:close/>
                <a:moveTo>
                  <a:pt x="9282539" y="3124787"/>
                </a:moveTo>
                <a:cubicBezTo>
                  <a:pt x="9287557" y="3125026"/>
                  <a:pt x="9292335" y="3127409"/>
                  <a:pt x="9295203" y="3132178"/>
                </a:cubicBezTo>
                <a:cubicBezTo>
                  <a:pt x="9302849" y="3139803"/>
                  <a:pt x="9302849" y="3153152"/>
                  <a:pt x="9293291" y="3160778"/>
                </a:cubicBezTo>
                <a:cubicBezTo>
                  <a:pt x="9293291" y="3160778"/>
                  <a:pt x="9293291" y="3160778"/>
                  <a:pt x="8960690" y="3437250"/>
                </a:cubicBezTo>
                <a:cubicBezTo>
                  <a:pt x="8953044" y="3444878"/>
                  <a:pt x="8939663" y="3444878"/>
                  <a:pt x="8932017" y="3435343"/>
                </a:cubicBezTo>
                <a:cubicBezTo>
                  <a:pt x="8930106" y="3431530"/>
                  <a:pt x="8928194" y="3427717"/>
                  <a:pt x="8928194" y="3421997"/>
                </a:cubicBezTo>
                <a:cubicBezTo>
                  <a:pt x="8928194" y="3416276"/>
                  <a:pt x="8930106" y="3410556"/>
                  <a:pt x="8935840" y="3406743"/>
                </a:cubicBezTo>
                <a:cubicBezTo>
                  <a:pt x="8935840" y="3406743"/>
                  <a:pt x="8935840" y="3406743"/>
                  <a:pt x="9268442" y="3130267"/>
                </a:cubicBezTo>
                <a:cubicBezTo>
                  <a:pt x="9272265" y="3126457"/>
                  <a:pt x="9277521" y="3124549"/>
                  <a:pt x="9282539" y="3124787"/>
                </a:cubicBezTo>
                <a:close/>
                <a:moveTo>
                  <a:pt x="10443256" y="3124763"/>
                </a:moveTo>
                <a:cubicBezTo>
                  <a:pt x="10448513" y="3125001"/>
                  <a:pt x="10453770" y="3127385"/>
                  <a:pt x="10457593" y="3132152"/>
                </a:cubicBezTo>
                <a:cubicBezTo>
                  <a:pt x="10463327" y="3139780"/>
                  <a:pt x="10463327" y="3153129"/>
                  <a:pt x="10453769" y="3160755"/>
                </a:cubicBezTo>
                <a:cubicBezTo>
                  <a:pt x="10453769" y="3160755"/>
                  <a:pt x="10453769" y="3160755"/>
                  <a:pt x="10121168" y="3437250"/>
                </a:cubicBezTo>
                <a:cubicBezTo>
                  <a:pt x="10113522" y="3444878"/>
                  <a:pt x="10100141" y="3444878"/>
                  <a:pt x="10094407" y="3435343"/>
                </a:cubicBezTo>
                <a:cubicBezTo>
                  <a:pt x="10090584" y="3431530"/>
                  <a:pt x="10088672" y="3427716"/>
                  <a:pt x="10088672" y="3421995"/>
                </a:cubicBezTo>
                <a:cubicBezTo>
                  <a:pt x="10088672" y="3416275"/>
                  <a:pt x="10090584" y="3410554"/>
                  <a:pt x="10096318" y="3406741"/>
                </a:cubicBezTo>
                <a:cubicBezTo>
                  <a:pt x="10096318" y="3406741"/>
                  <a:pt x="10096318" y="3406741"/>
                  <a:pt x="10428920" y="3130246"/>
                </a:cubicBezTo>
                <a:cubicBezTo>
                  <a:pt x="10432743" y="3126432"/>
                  <a:pt x="10438000" y="3124526"/>
                  <a:pt x="10443256" y="3124763"/>
                </a:cubicBezTo>
                <a:close/>
                <a:moveTo>
                  <a:pt x="8711378" y="3118284"/>
                </a:moveTo>
                <a:cubicBezTo>
                  <a:pt x="8717559" y="3118999"/>
                  <a:pt x="8723740" y="3122341"/>
                  <a:pt x="8728495" y="3128067"/>
                </a:cubicBezTo>
                <a:cubicBezTo>
                  <a:pt x="8736103" y="3137612"/>
                  <a:pt x="8734201" y="3152882"/>
                  <a:pt x="8722790" y="3160517"/>
                </a:cubicBezTo>
                <a:cubicBezTo>
                  <a:pt x="8722790" y="3160517"/>
                  <a:pt x="8722790" y="3160517"/>
                  <a:pt x="8391863" y="3418193"/>
                </a:cubicBezTo>
                <a:cubicBezTo>
                  <a:pt x="8380451" y="3425828"/>
                  <a:pt x="8365236" y="3423921"/>
                  <a:pt x="8357629" y="3414376"/>
                </a:cubicBezTo>
                <a:cubicBezTo>
                  <a:pt x="8353825" y="3410558"/>
                  <a:pt x="8351923" y="3404833"/>
                  <a:pt x="8351923" y="3399106"/>
                </a:cubicBezTo>
                <a:cubicBezTo>
                  <a:pt x="8351923" y="3393381"/>
                  <a:pt x="8355727" y="3385745"/>
                  <a:pt x="8361432" y="3380018"/>
                </a:cubicBezTo>
                <a:cubicBezTo>
                  <a:pt x="8361432" y="3380018"/>
                  <a:pt x="8361432" y="3380018"/>
                  <a:pt x="8694262" y="3124249"/>
                </a:cubicBezTo>
                <a:cubicBezTo>
                  <a:pt x="8699016" y="3119478"/>
                  <a:pt x="8705197" y="3117568"/>
                  <a:pt x="8711378" y="3118284"/>
                </a:cubicBezTo>
                <a:close/>
                <a:moveTo>
                  <a:pt x="11020985" y="3118259"/>
                </a:moveTo>
                <a:cubicBezTo>
                  <a:pt x="11026928" y="3118974"/>
                  <a:pt x="11032634" y="3122314"/>
                  <a:pt x="11036438" y="3128041"/>
                </a:cubicBezTo>
                <a:cubicBezTo>
                  <a:pt x="11045947" y="3137586"/>
                  <a:pt x="11044045" y="3152857"/>
                  <a:pt x="11032634" y="3160492"/>
                </a:cubicBezTo>
                <a:cubicBezTo>
                  <a:pt x="11032634" y="3160492"/>
                  <a:pt x="11032634" y="3160492"/>
                  <a:pt x="10699805" y="3418193"/>
                </a:cubicBezTo>
                <a:cubicBezTo>
                  <a:pt x="10690295" y="3425828"/>
                  <a:pt x="10675080" y="3423919"/>
                  <a:pt x="10667473" y="3414376"/>
                </a:cubicBezTo>
                <a:cubicBezTo>
                  <a:pt x="10663669" y="3410558"/>
                  <a:pt x="10661767" y="3404831"/>
                  <a:pt x="10661767" y="3399103"/>
                </a:cubicBezTo>
                <a:cubicBezTo>
                  <a:pt x="10661767" y="3393378"/>
                  <a:pt x="10665571" y="3385741"/>
                  <a:pt x="10671276" y="3380016"/>
                </a:cubicBezTo>
                <a:cubicBezTo>
                  <a:pt x="10671276" y="3380016"/>
                  <a:pt x="10671276" y="3380016"/>
                  <a:pt x="11004106" y="3124224"/>
                </a:cubicBezTo>
                <a:cubicBezTo>
                  <a:pt x="11008861" y="3119452"/>
                  <a:pt x="11015042" y="3117542"/>
                  <a:pt x="11020985" y="3118259"/>
                </a:cubicBezTo>
                <a:close/>
                <a:moveTo>
                  <a:pt x="8147892" y="3113506"/>
                </a:moveTo>
                <a:cubicBezTo>
                  <a:pt x="8154786" y="3114695"/>
                  <a:pt x="8161443" y="3118496"/>
                  <a:pt x="8166198" y="3125150"/>
                </a:cubicBezTo>
                <a:cubicBezTo>
                  <a:pt x="8175708" y="3136556"/>
                  <a:pt x="8171904" y="3153664"/>
                  <a:pt x="8160492" y="3163167"/>
                </a:cubicBezTo>
                <a:cubicBezTo>
                  <a:pt x="8160492" y="3163167"/>
                  <a:pt x="8160492" y="3163167"/>
                  <a:pt x="7825748" y="3398864"/>
                </a:cubicBezTo>
                <a:cubicBezTo>
                  <a:pt x="7814336" y="3408367"/>
                  <a:pt x="7797218" y="3404566"/>
                  <a:pt x="7787709" y="3393162"/>
                </a:cubicBezTo>
                <a:cubicBezTo>
                  <a:pt x="7783905" y="3387458"/>
                  <a:pt x="7782003" y="3381761"/>
                  <a:pt x="7782003" y="3376054"/>
                </a:cubicBezTo>
                <a:cubicBezTo>
                  <a:pt x="7782003" y="3368454"/>
                  <a:pt x="7787709" y="3358953"/>
                  <a:pt x="7795316" y="3353251"/>
                </a:cubicBezTo>
                <a:cubicBezTo>
                  <a:pt x="7795316" y="3353251"/>
                  <a:pt x="7795316" y="3353251"/>
                  <a:pt x="8128159" y="3117545"/>
                </a:cubicBezTo>
                <a:cubicBezTo>
                  <a:pt x="8133865" y="3113743"/>
                  <a:pt x="8140997" y="3112319"/>
                  <a:pt x="8147892" y="3113506"/>
                </a:cubicBezTo>
                <a:close/>
                <a:moveTo>
                  <a:pt x="11592870" y="3113497"/>
                </a:moveTo>
                <a:cubicBezTo>
                  <a:pt x="11600008" y="3114686"/>
                  <a:pt x="11606670" y="3118487"/>
                  <a:pt x="11611429" y="3125143"/>
                </a:cubicBezTo>
                <a:cubicBezTo>
                  <a:pt x="11619043" y="3136547"/>
                  <a:pt x="11617139" y="3153655"/>
                  <a:pt x="11603815" y="3163160"/>
                </a:cubicBezTo>
                <a:cubicBezTo>
                  <a:pt x="11603815" y="3163160"/>
                  <a:pt x="11603815" y="3163160"/>
                  <a:pt x="11270705" y="3398861"/>
                </a:cubicBezTo>
                <a:cubicBezTo>
                  <a:pt x="11257381" y="3408367"/>
                  <a:pt x="11240249" y="3404564"/>
                  <a:pt x="11232635" y="3393157"/>
                </a:cubicBezTo>
                <a:cubicBezTo>
                  <a:pt x="11228828" y="3387458"/>
                  <a:pt x="11226925" y="3381753"/>
                  <a:pt x="11226925" y="3376052"/>
                </a:cubicBezTo>
                <a:cubicBezTo>
                  <a:pt x="11226925" y="3368451"/>
                  <a:pt x="11230732" y="3358948"/>
                  <a:pt x="11238346" y="3353249"/>
                </a:cubicBezTo>
                <a:cubicBezTo>
                  <a:pt x="11238346" y="3353249"/>
                  <a:pt x="11238346" y="3353249"/>
                  <a:pt x="11571456" y="3117537"/>
                </a:cubicBezTo>
                <a:cubicBezTo>
                  <a:pt x="11578118" y="3113734"/>
                  <a:pt x="11585732" y="3112310"/>
                  <a:pt x="11592870" y="3113497"/>
                </a:cubicBezTo>
                <a:close/>
                <a:moveTo>
                  <a:pt x="12139750" y="3109931"/>
                </a:moveTo>
                <a:cubicBezTo>
                  <a:pt x="12139750" y="3109931"/>
                  <a:pt x="12139750" y="3109931"/>
                  <a:pt x="12139750" y="3184058"/>
                </a:cubicBezTo>
                <a:cubicBezTo>
                  <a:pt x="12139750" y="3184058"/>
                  <a:pt x="12139750" y="3184058"/>
                  <a:pt x="11835219" y="3379813"/>
                </a:cubicBezTo>
                <a:cubicBezTo>
                  <a:pt x="11819993" y="3389317"/>
                  <a:pt x="11800960" y="3385515"/>
                  <a:pt x="11791443" y="3370310"/>
                </a:cubicBezTo>
                <a:cubicBezTo>
                  <a:pt x="11787636" y="3364613"/>
                  <a:pt x="11785733" y="3358911"/>
                  <a:pt x="11785733" y="3353211"/>
                </a:cubicBezTo>
                <a:cubicBezTo>
                  <a:pt x="11785733" y="3343708"/>
                  <a:pt x="11791443" y="3334207"/>
                  <a:pt x="11800960" y="3326605"/>
                </a:cubicBezTo>
                <a:lnTo>
                  <a:pt x="12135943" y="3111832"/>
                </a:lnTo>
                <a:cubicBezTo>
                  <a:pt x="12137847" y="3111832"/>
                  <a:pt x="12137847" y="3109931"/>
                  <a:pt x="12139750" y="3109931"/>
                </a:cubicBezTo>
                <a:close/>
                <a:moveTo>
                  <a:pt x="7592396" y="3107000"/>
                </a:moveTo>
                <a:cubicBezTo>
                  <a:pt x="7600248" y="3108665"/>
                  <a:pt x="7607387" y="3113422"/>
                  <a:pt x="7612145" y="3121034"/>
                </a:cubicBezTo>
                <a:cubicBezTo>
                  <a:pt x="7621663" y="3136258"/>
                  <a:pt x="7617856" y="3155285"/>
                  <a:pt x="7602628" y="3164800"/>
                </a:cubicBezTo>
                <a:cubicBezTo>
                  <a:pt x="7602628" y="3164800"/>
                  <a:pt x="7602628" y="3164800"/>
                  <a:pt x="7267608" y="3379811"/>
                </a:cubicBezTo>
                <a:cubicBezTo>
                  <a:pt x="7252380" y="3389319"/>
                  <a:pt x="7233344" y="3385513"/>
                  <a:pt x="7223827" y="3370294"/>
                </a:cubicBezTo>
                <a:cubicBezTo>
                  <a:pt x="7221923" y="3364590"/>
                  <a:pt x="7220020" y="3358885"/>
                  <a:pt x="7220020" y="3353176"/>
                </a:cubicBezTo>
                <a:cubicBezTo>
                  <a:pt x="7220020" y="3343664"/>
                  <a:pt x="7223827" y="3334150"/>
                  <a:pt x="7233344" y="3326538"/>
                </a:cubicBezTo>
                <a:cubicBezTo>
                  <a:pt x="7233344" y="3326538"/>
                  <a:pt x="7233344" y="3326538"/>
                  <a:pt x="7568364" y="3111519"/>
                </a:cubicBezTo>
                <a:cubicBezTo>
                  <a:pt x="7575978" y="3106762"/>
                  <a:pt x="7584544" y="3105336"/>
                  <a:pt x="7592396" y="3107000"/>
                </a:cubicBezTo>
                <a:close/>
                <a:moveTo>
                  <a:pt x="7041870" y="3101853"/>
                </a:moveTo>
                <a:cubicBezTo>
                  <a:pt x="7050667" y="3104238"/>
                  <a:pt x="7058751" y="3109959"/>
                  <a:pt x="7064457" y="3118540"/>
                </a:cubicBezTo>
                <a:cubicBezTo>
                  <a:pt x="7073968" y="3133799"/>
                  <a:pt x="7068261" y="3156686"/>
                  <a:pt x="7051143" y="3166221"/>
                </a:cubicBezTo>
                <a:cubicBezTo>
                  <a:pt x="7051143" y="3166221"/>
                  <a:pt x="7051143" y="3166221"/>
                  <a:pt x="6714471" y="3360742"/>
                </a:cubicBezTo>
                <a:cubicBezTo>
                  <a:pt x="6697352" y="3370275"/>
                  <a:pt x="6676429" y="3364552"/>
                  <a:pt x="6666918" y="3347395"/>
                </a:cubicBezTo>
                <a:cubicBezTo>
                  <a:pt x="6663114" y="3343582"/>
                  <a:pt x="6661212" y="3335952"/>
                  <a:pt x="6661212" y="3330234"/>
                </a:cubicBezTo>
                <a:cubicBezTo>
                  <a:pt x="6661212" y="3318789"/>
                  <a:pt x="6668820" y="3307347"/>
                  <a:pt x="6680233" y="3299719"/>
                </a:cubicBezTo>
                <a:cubicBezTo>
                  <a:pt x="6680233" y="3299719"/>
                  <a:pt x="6680233" y="3299719"/>
                  <a:pt x="7015003" y="3105192"/>
                </a:cubicBezTo>
                <a:cubicBezTo>
                  <a:pt x="7023562" y="3100423"/>
                  <a:pt x="7033073" y="3099471"/>
                  <a:pt x="7041870" y="3101853"/>
                </a:cubicBezTo>
                <a:close/>
                <a:moveTo>
                  <a:pt x="6499097" y="3095115"/>
                </a:moveTo>
                <a:cubicBezTo>
                  <a:pt x="6508370" y="3098221"/>
                  <a:pt x="6516454" y="3104903"/>
                  <a:pt x="6521210" y="3114451"/>
                </a:cubicBezTo>
                <a:cubicBezTo>
                  <a:pt x="6532623" y="3133548"/>
                  <a:pt x="6525014" y="3158370"/>
                  <a:pt x="6505992" y="3167917"/>
                </a:cubicBezTo>
                <a:cubicBezTo>
                  <a:pt x="6505992" y="3167917"/>
                  <a:pt x="6505992" y="3167917"/>
                  <a:pt x="6167407" y="3341686"/>
                </a:cubicBezTo>
                <a:cubicBezTo>
                  <a:pt x="6148385" y="3351232"/>
                  <a:pt x="6125559" y="3345501"/>
                  <a:pt x="6116048" y="3326407"/>
                </a:cubicBezTo>
                <a:cubicBezTo>
                  <a:pt x="6112244" y="3320680"/>
                  <a:pt x="6110342" y="3313042"/>
                  <a:pt x="6110342" y="3307313"/>
                </a:cubicBezTo>
                <a:cubicBezTo>
                  <a:pt x="6110342" y="3293947"/>
                  <a:pt x="6117950" y="3280583"/>
                  <a:pt x="6131266" y="3272944"/>
                </a:cubicBezTo>
                <a:cubicBezTo>
                  <a:pt x="6131266" y="3272944"/>
                  <a:pt x="6131266" y="3272944"/>
                  <a:pt x="6469851" y="3097266"/>
                </a:cubicBezTo>
                <a:cubicBezTo>
                  <a:pt x="6479362" y="3092490"/>
                  <a:pt x="6489824" y="3092013"/>
                  <a:pt x="6499097" y="3095115"/>
                </a:cubicBezTo>
                <a:close/>
                <a:moveTo>
                  <a:pt x="5958954" y="3091506"/>
                </a:moveTo>
                <a:cubicBezTo>
                  <a:pt x="5969462" y="3095305"/>
                  <a:pt x="5978538" y="3102907"/>
                  <a:pt x="5983314" y="3113357"/>
                </a:cubicBezTo>
                <a:cubicBezTo>
                  <a:pt x="5992867" y="3134260"/>
                  <a:pt x="5983314" y="3160862"/>
                  <a:pt x="5962297" y="3170362"/>
                </a:cubicBezTo>
                <a:cubicBezTo>
                  <a:pt x="5962297" y="3170362"/>
                  <a:pt x="5962297" y="3170362"/>
                  <a:pt x="5620300" y="3324270"/>
                </a:cubicBezTo>
                <a:cubicBezTo>
                  <a:pt x="5599284" y="3333770"/>
                  <a:pt x="5574446" y="3324270"/>
                  <a:pt x="5564892" y="3301471"/>
                </a:cubicBezTo>
                <a:cubicBezTo>
                  <a:pt x="5562982" y="3295771"/>
                  <a:pt x="5561071" y="3290071"/>
                  <a:pt x="5561071" y="3284371"/>
                </a:cubicBezTo>
                <a:cubicBezTo>
                  <a:pt x="5561071" y="3269170"/>
                  <a:pt x="5570624" y="3252068"/>
                  <a:pt x="5585909" y="3246366"/>
                </a:cubicBezTo>
                <a:cubicBezTo>
                  <a:pt x="5585909" y="3246366"/>
                  <a:pt x="5585909" y="3246366"/>
                  <a:pt x="5925997" y="3092457"/>
                </a:cubicBezTo>
                <a:cubicBezTo>
                  <a:pt x="5936505" y="3087707"/>
                  <a:pt x="5948446" y="3087707"/>
                  <a:pt x="5958954" y="3091506"/>
                </a:cubicBezTo>
                <a:close/>
                <a:moveTo>
                  <a:pt x="399603" y="3091494"/>
                </a:moveTo>
                <a:cubicBezTo>
                  <a:pt x="410073" y="3095293"/>
                  <a:pt x="419115" y="3102895"/>
                  <a:pt x="423874" y="3113346"/>
                </a:cubicBezTo>
                <a:cubicBezTo>
                  <a:pt x="433392" y="3134248"/>
                  <a:pt x="423874" y="3160850"/>
                  <a:pt x="401031" y="3170351"/>
                </a:cubicBezTo>
                <a:cubicBezTo>
                  <a:pt x="401031" y="3170351"/>
                  <a:pt x="401031" y="3170351"/>
                  <a:pt x="62187" y="3324262"/>
                </a:cubicBezTo>
                <a:cubicBezTo>
                  <a:pt x="41247" y="3333763"/>
                  <a:pt x="16500" y="3324262"/>
                  <a:pt x="6982" y="3301463"/>
                </a:cubicBezTo>
                <a:cubicBezTo>
                  <a:pt x="3175" y="3295761"/>
                  <a:pt x="3175" y="3290060"/>
                  <a:pt x="3175" y="3284360"/>
                </a:cubicBezTo>
                <a:cubicBezTo>
                  <a:pt x="3175" y="3269158"/>
                  <a:pt x="12693" y="3252058"/>
                  <a:pt x="27922" y="3246356"/>
                </a:cubicBezTo>
                <a:cubicBezTo>
                  <a:pt x="27922" y="3246356"/>
                  <a:pt x="27922" y="3246356"/>
                  <a:pt x="366766" y="3092445"/>
                </a:cubicBezTo>
                <a:cubicBezTo>
                  <a:pt x="377236" y="3087693"/>
                  <a:pt x="389133" y="3087693"/>
                  <a:pt x="399603" y="3091494"/>
                </a:cubicBezTo>
                <a:close/>
                <a:moveTo>
                  <a:pt x="5376339" y="3084226"/>
                </a:moveTo>
                <a:cubicBezTo>
                  <a:pt x="5401086" y="3076607"/>
                  <a:pt x="5427737" y="3088035"/>
                  <a:pt x="5437255" y="3110894"/>
                </a:cubicBezTo>
                <a:cubicBezTo>
                  <a:pt x="5446773" y="3135660"/>
                  <a:pt x="5435351" y="3162329"/>
                  <a:pt x="5410604" y="3171854"/>
                </a:cubicBezTo>
                <a:cubicBezTo>
                  <a:pt x="5410604" y="3171854"/>
                  <a:pt x="5410604" y="3171854"/>
                  <a:pt x="5069848" y="3305199"/>
                </a:cubicBezTo>
                <a:cubicBezTo>
                  <a:pt x="5047008" y="3314722"/>
                  <a:pt x="5020360" y="3301389"/>
                  <a:pt x="5010843" y="3278532"/>
                </a:cubicBezTo>
                <a:cubicBezTo>
                  <a:pt x="5008939" y="3272817"/>
                  <a:pt x="5007036" y="3267100"/>
                  <a:pt x="5007036" y="3261388"/>
                </a:cubicBezTo>
                <a:cubicBezTo>
                  <a:pt x="5007036" y="3242335"/>
                  <a:pt x="5018457" y="3225192"/>
                  <a:pt x="5037490" y="3217574"/>
                </a:cubicBezTo>
                <a:cubicBezTo>
                  <a:pt x="5037490" y="3217574"/>
                  <a:pt x="5037490" y="3217574"/>
                  <a:pt x="5376339" y="3084226"/>
                </a:cubicBezTo>
                <a:close/>
                <a:moveTo>
                  <a:pt x="910963" y="3084210"/>
                </a:moveTo>
                <a:cubicBezTo>
                  <a:pt x="933807" y="3076591"/>
                  <a:pt x="960458" y="3088021"/>
                  <a:pt x="969977" y="3110879"/>
                </a:cubicBezTo>
                <a:cubicBezTo>
                  <a:pt x="979495" y="3135646"/>
                  <a:pt x="968073" y="3162315"/>
                  <a:pt x="945229" y="3171840"/>
                </a:cubicBezTo>
                <a:cubicBezTo>
                  <a:pt x="945229" y="3171840"/>
                  <a:pt x="945229" y="3171840"/>
                  <a:pt x="604476" y="3305187"/>
                </a:cubicBezTo>
                <a:cubicBezTo>
                  <a:pt x="579728" y="3314712"/>
                  <a:pt x="553077" y="3301377"/>
                  <a:pt x="543559" y="3278518"/>
                </a:cubicBezTo>
                <a:cubicBezTo>
                  <a:pt x="541655" y="3272803"/>
                  <a:pt x="539752" y="3267088"/>
                  <a:pt x="539752" y="3261374"/>
                </a:cubicBezTo>
                <a:cubicBezTo>
                  <a:pt x="539752" y="3242322"/>
                  <a:pt x="551174" y="3225178"/>
                  <a:pt x="570210" y="3217559"/>
                </a:cubicBezTo>
                <a:cubicBezTo>
                  <a:pt x="570210" y="3217559"/>
                  <a:pt x="570210" y="3217559"/>
                  <a:pt x="910963" y="3084210"/>
                </a:cubicBezTo>
                <a:close/>
                <a:moveTo>
                  <a:pt x="4845141" y="3075495"/>
                </a:moveTo>
                <a:cubicBezTo>
                  <a:pt x="4864342" y="3077015"/>
                  <a:pt x="4881135" y="3090605"/>
                  <a:pt x="4888279" y="3110635"/>
                </a:cubicBezTo>
                <a:cubicBezTo>
                  <a:pt x="4895899" y="3137344"/>
                  <a:pt x="4882563" y="3165956"/>
                  <a:pt x="4855889" y="3173587"/>
                </a:cubicBezTo>
                <a:cubicBezTo>
                  <a:pt x="4855889" y="3173587"/>
                  <a:pt x="4855889" y="3173587"/>
                  <a:pt x="4514891" y="3286137"/>
                </a:cubicBezTo>
                <a:cubicBezTo>
                  <a:pt x="4488225" y="3295674"/>
                  <a:pt x="4459649" y="3280415"/>
                  <a:pt x="4450123" y="3253707"/>
                </a:cubicBezTo>
                <a:cubicBezTo>
                  <a:pt x="4448219" y="3249892"/>
                  <a:pt x="4448219" y="3244167"/>
                  <a:pt x="4448219" y="3238443"/>
                </a:cubicBezTo>
                <a:cubicBezTo>
                  <a:pt x="4448219" y="3217462"/>
                  <a:pt x="4461553" y="3198385"/>
                  <a:pt x="4482509" y="3190757"/>
                </a:cubicBezTo>
                <a:cubicBezTo>
                  <a:pt x="4482509" y="3190757"/>
                  <a:pt x="4482509" y="3190757"/>
                  <a:pt x="4825403" y="3078206"/>
                </a:cubicBezTo>
                <a:cubicBezTo>
                  <a:pt x="4832072" y="3075822"/>
                  <a:pt x="4838741" y="3074988"/>
                  <a:pt x="4845141" y="3075495"/>
                </a:cubicBezTo>
                <a:close/>
                <a:moveTo>
                  <a:pt x="1479596" y="3075477"/>
                </a:moveTo>
                <a:cubicBezTo>
                  <a:pt x="1499228" y="3076996"/>
                  <a:pt x="1516718" y="3090589"/>
                  <a:pt x="1522429" y="3110619"/>
                </a:cubicBezTo>
                <a:cubicBezTo>
                  <a:pt x="1531947" y="3137326"/>
                  <a:pt x="1516718" y="3165940"/>
                  <a:pt x="1491970" y="3173573"/>
                </a:cubicBezTo>
                <a:cubicBezTo>
                  <a:pt x="1491970" y="3173573"/>
                  <a:pt x="1491970" y="3173573"/>
                  <a:pt x="1149308" y="3286122"/>
                </a:cubicBezTo>
                <a:cubicBezTo>
                  <a:pt x="1122656" y="3295661"/>
                  <a:pt x="1094101" y="3280401"/>
                  <a:pt x="1086486" y="3253693"/>
                </a:cubicBezTo>
                <a:cubicBezTo>
                  <a:pt x="1084583" y="3249877"/>
                  <a:pt x="1082679" y="3244153"/>
                  <a:pt x="1082679" y="3238431"/>
                </a:cubicBezTo>
                <a:cubicBezTo>
                  <a:pt x="1082679" y="3217446"/>
                  <a:pt x="1097908" y="3198371"/>
                  <a:pt x="1118849" y="3190741"/>
                </a:cubicBezTo>
                <a:cubicBezTo>
                  <a:pt x="1118849" y="3190741"/>
                  <a:pt x="1118849" y="3190741"/>
                  <a:pt x="1459607" y="3078189"/>
                </a:cubicBezTo>
                <a:cubicBezTo>
                  <a:pt x="1466270" y="3075805"/>
                  <a:pt x="1473052" y="3074970"/>
                  <a:pt x="1479596" y="3075477"/>
                </a:cubicBezTo>
                <a:close/>
                <a:moveTo>
                  <a:pt x="4290284" y="3070235"/>
                </a:moveTo>
                <a:cubicBezTo>
                  <a:pt x="4310719" y="3073178"/>
                  <a:pt x="4328210" y="3088158"/>
                  <a:pt x="4333921" y="3109556"/>
                </a:cubicBezTo>
                <a:cubicBezTo>
                  <a:pt x="4343439" y="3139992"/>
                  <a:pt x="4326305" y="3168522"/>
                  <a:pt x="4295846" y="3176127"/>
                </a:cubicBezTo>
                <a:cubicBezTo>
                  <a:pt x="4295846" y="3176127"/>
                  <a:pt x="4295846" y="3176127"/>
                  <a:pt x="3953199" y="3267431"/>
                </a:cubicBezTo>
                <a:cubicBezTo>
                  <a:pt x="3924644" y="3275041"/>
                  <a:pt x="3894182" y="3257921"/>
                  <a:pt x="3886567" y="3229387"/>
                </a:cubicBezTo>
                <a:cubicBezTo>
                  <a:pt x="3886567" y="3225583"/>
                  <a:pt x="3884663" y="3219877"/>
                  <a:pt x="3884663" y="3216076"/>
                </a:cubicBezTo>
                <a:cubicBezTo>
                  <a:pt x="3884663" y="3191346"/>
                  <a:pt x="3901795" y="3170425"/>
                  <a:pt x="3924644" y="3164719"/>
                </a:cubicBezTo>
                <a:cubicBezTo>
                  <a:pt x="3924644" y="3164719"/>
                  <a:pt x="3924644" y="3164719"/>
                  <a:pt x="4269194" y="3071515"/>
                </a:cubicBezTo>
                <a:cubicBezTo>
                  <a:pt x="4276332" y="3069612"/>
                  <a:pt x="4283471" y="3069256"/>
                  <a:pt x="4290284" y="3070235"/>
                </a:cubicBezTo>
                <a:close/>
                <a:moveTo>
                  <a:pt x="2036269" y="3070217"/>
                </a:moveTo>
                <a:cubicBezTo>
                  <a:pt x="2057259" y="3073159"/>
                  <a:pt x="2075832" y="3088139"/>
                  <a:pt x="2081548" y="3109537"/>
                </a:cubicBezTo>
                <a:cubicBezTo>
                  <a:pt x="2089168" y="3139971"/>
                  <a:pt x="2072022" y="3168504"/>
                  <a:pt x="2043442" y="3176111"/>
                </a:cubicBezTo>
                <a:cubicBezTo>
                  <a:pt x="2043442" y="3176111"/>
                  <a:pt x="2043442" y="3176111"/>
                  <a:pt x="1700538" y="3267414"/>
                </a:cubicBezTo>
                <a:cubicBezTo>
                  <a:pt x="1670058" y="3275023"/>
                  <a:pt x="1641482" y="3257903"/>
                  <a:pt x="1633862" y="3229371"/>
                </a:cubicBezTo>
                <a:cubicBezTo>
                  <a:pt x="1631957" y="3225567"/>
                  <a:pt x="1631957" y="3219860"/>
                  <a:pt x="1631957" y="3216056"/>
                </a:cubicBezTo>
                <a:cubicBezTo>
                  <a:pt x="1631957" y="3191330"/>
                  <a:pt x="1647198" y="3170406"/>
                  <a:pt x="1671963" y="3164700"/>
                </a:cubicBezTo>
                <a:cubicBezTo>
                  <a:pt x="1671963" y="3164700"/>
                  <a:pt x="1671963" y="3164700"/>
                  <a:pt x="2014867" y="3071495"/>
                </a:cubicBezTo>
                <a:cubicBezTo>
                  <a:pt x="2022011" y="3069593"/>
                  <a:pt x="2029274" y="3069235"/>
                  <a:pt x="2036269" y="3070217"/>
                </a:cubicBezTo>
                <a:close/>
                <a:moveTo>
                  <a:pt x="3731231" y="3064531"/>
                </a:moveTo>
                <a:cubicBezTo>
                  <a:pt x="3753034" y="3068647"/>
                  <a:pt x="3771624" y="3086176"/>
                  <a:pt x="3777341" y="3109072"/>
                </a:cubicBezTo>
                <a:cubicBezTo>
                  <a:pt x="3783061" y="3141509"/>
                  <a:pt x="3762093" y="3172037"/>
                  <a:pt x="3731587" y="3177762"/>
                </a:cubicBezTo>
                <a:cubicBezTo>
                  <a:pt x="3731587" y="3177762"/>
                  <a:pt x="3731587" y="3177762"/>
                  <a:pt x="3386556" y="3250263"/>
                </a:cubicBezTo>
                <a:cubicBezTo>
                  <a:pt x="3356055" y="3255990"/>
                  <a:pt x="3325553" y="3234997"/>
                  <a:pt x="3317928" y="3204472"/>
                </a:cubicBezTo>
                <a:cubicBezTo>
                  <a:pt x="3317928" y="3200656"/>
                  <a:pt x="3317928" y="3196839"/>
                  <a:pt x="3317928" y="3193023"/>
                </a:cubicBezTo>
                <a:cubicBezTo>
                  <a:pt x="3317928" y="3166312"/>
                  <a:pt x="3335085" y="3141509"/>
                  <a:pt x="3363681" y="3135786"/>
                </a:cubicBezTo>
                <a:cubicBezTo>
                  <a:pt x="3363681" y="3135786"/>
                  <a:pt x="3363681" y="3135786"/>
                  <a:pt x="3708711" y="3065187"/>
                </a:cubicBezTo>
                <a:cubicBezTo>
                  <a:pt x="3716337" y="3063280"/>
                  <a:pt x="3723961" y="3063162"/>
                  <a:pt x="3731231" y="3064531"/>
                </a:cubicBezTo>
                <a:close/>
                <a:moveTo>
                  <a:pt x="2597729" y="3064510"/>
                </a:moveTo>
                <a:cubicBezTo>
                  <a:pt x="2619533" y="3068625"/>
                  <a:pt x="2638119" y="3086155"/>
                  <a:pt x="2643839" y="3109051"/>
                </a:cubicBezTo>
                <a:cubicBezTo>
                  <a:pt x="2649557" y="3141488"/>
                  <a:pt x="2628588" y="3172016"/>
                  <a:pt x="2598086" y="3177742"/>
                </a:cubicBezTo>
                <a:cubicBezTo>
                  <a:pt x="2598086" y="3177742"/>
                  <a:pt x="2598086" y="3177742"/>
                  <a:pt x="2253042" y="3250246"/>
                </a:cubicBezTo>
                <a:cubicBezTo>
                  <a:pt x="2222541" y="3255971"/>
                  <a:pt x="2192039" y="3234980"/>
                  <a:pt x="2184414" y="3204454"/>
                </a:cubicBezTo>
                <a:cubicBezTo>
                  <a:pt x="2184414" y="3200638"/>
                  <a:pt x="2184414" y="3196822"/>
                  <a:pt x="2184414" y="3193005"/>
                </a:cubicBezTo>
                <a:cubicBezTo>
                  <a:pt x="2184414" y="3166294"/>
                  <a:pt x="2201571" y="3141488"/>
                  <a:pt x="2230166" y="3135765"/>
                </a:cubicBezTo>
                <a:cubicBezTo>
                  <a:pt x="2230166" y="3135765"/>
                  <a:pt x="2230166" y="3135765"/>
                  <a:pt x="2575210" y="3065166"/>
                </a:cubicBezTo>
                <a:cubicBezTo>
                  <a:pt x="2582835" y="3063257"/>
                  <a:pt x="2590461" y="3063137"/>
                  <a:pt x="2597729" y="3064510"/>
                </a:cubicBezTo>
                <a:close/>
                <a:moveTo>
                  <a:pt x="3139000" y="3058190"/>
                </a:moveTo>
                <a:cubicBezTo>
                  <a:pt x="3173222" y="3054380"/>
                  <a:pt x="3203640" y="3077240"/>
                  <a:pt x="3209346" y="3111529"/>
                </a:cubicBezTo>
                <a:cubicBezTo>
                  <a:pt x="3213146" y="3143914"/>
                  <a:pt x="3190333" y="3176299"/>
                  <a:pt x="3156114" y="3180110"/>
                </a:cubicBezTo>
                <a:cubicBezTo>
                  <a:pt x="3156114" y="3180110"/>
                  <a:pt x="3156114" y="3180110"/>
                  <a:pt x="2811998" y="3231537"/>
                </a:cubicBezTo>
                <a:cubicBezTo>
                  <a:pt x="2777775" y="3235349"/>
                  <a:pt x="2747356" y="3212495"/>
                  <a:pt x="2741652" y="3180110"/>
                </a:cubicBezTo>
                <a:cubicBezTo>
                  <a:pt x="2741652" y="3176299"/>
                  <a:pt x="2741652" y="3172487"/>
                  <a:pt x="2741652" y="3170583"/>
                </a:cubicBezTo>
                <a:cubicBezTo>
                  <a:pt x="2741652" y="3140106"/>
                  <a:pt x="2762566" y="3113436"/>
                  <a:pt x="2792987" y="3109626"/>
                </a:cubicBezTo>
                <a:cubicBezTo>
                  <a:pt x="2792987" y="3109626"/>
                  <a:pt x="2792987" y="3109626"/>
                  <a:pt x="3139000" y="3058190"/>
                </a:cubicBezTo>
                <a:close/>
                <a:moveTo>
                  <a:pt x="9858218" y="2803158"/>
                </a:moveTo>
                <a:cubicBezTo>
                  <a:pt x="9861796" y="2803398"/>
                  <a:pt x="9865135" y="2804823"/>
                  <a:pt x="9867044" y="2807683"/>
                </a:cubicBezTo>
                <a:cubicBezTo>
                  <a:pt x="9872769" y="2811493"/>
                  <a:pt x="9872769" y="2821017"/>
                  <a:pt x="9867044" y="2826731"/>
                </a:cubicBezTo>
                <a:cubicBezTo>
                  <a:pt x="9867044" y="2826731"/>
                  <a:pt x="9867044" y="2826731"/>
                  <a:pt x="9536890" y="3139152"/>
                </a:cubicBezTo>
                <a:cubicBezTo>
                  <a:pt x="9533073" y="3144866"/>
                  <a:pt x="9523531" y="3144866"/>
                  <a:pt x="9517806" y="3139152"/>
                </a:cubicBezTo>
                <a:cubicBezTo>
                  <a:pt x="9515897" y="3137247"/>
                  <a:pt x="9513989" y="3133436"/>
                  <a:pt x="9513989" y="3129628"/>
                </a:cubicBezTo>
                <a:cubicBezTo>
                  <a:pt x="9513989" y="3125817"/>
                  <a:pt x="9515897" y="3122007"/>
                  <a:pt x="9519714" y="3120101"/>
                </a:cubicBezTo>
                <a:cubicBezTo>
                  <a:pt x="9519714" y="3120101"/>
                  <a:pt x="9519714" y="3120101"/>
                  <a:pt x="9847960" y="2805777"/>
                </a:cubicBezTo>
                <a:cubicBezTo>
                  <a:pt x="9850823" y="2803873"/>
                  <a:pt x="9854639" y="2802920"/>
                  <a:pt x="9858218" y="2803158"/>
                </a:cubicBezTo>
                <a:close/>
                <a:moveTo>
                  <a:pt x="9280452" y="2798866"/>
                </a:moveTo>
                <a:cubicBezTo>
                  <a:pt x="9284961" y="2799103"/>
                  <a:pt x="9289232" y="2801005"/>
                  <a:pt x="9292080" y="2804804"/>
                </a:cubicBezTo>
                <a:cubicBezTo>
                  <a:pt x="9299674" y="2812401"/>
                  <a:pt x="9297776" y="2823797"/>
                  <a:pt x="9290182" y="2829495"/>
                </a:cubicBezTo>
                <a:cubicBezTo>
                  <a:pt x="9290182" y="2829495"/>
                  <a:pt x="9290182" y="2829495"/>
                  <a:pt x="8961745" y="3118217"/>
                </a:cubicBezTo>
                <a:cubicBezTo>
                  <a:pt x="8954151" y="3125817"/>
                  <a:pt x="8942760" y="3123917"/>
                  <a:pt x="8937064" y="3116319"/>
                </a:cubicBezTo>
                <a:cubicBezTo>
                  <a:pt x="8933267" y="3114420"/>
                  <a:pt x="8931369" y="3110621"/>
                  <a:pt x="8931369" y="3104922"/>
                </a:cubicBezTo>
                <a:cubicBezTo>
                  <a:pt x="8931369" y="3101123"/>
                  <a:pt x="8933267" y="3095423"/>
                  <a:pt x="8937064" y="3091625"/>
                </a:cubicBezTo>
                <a:cubicBezTo>
                  <a:pt x="8937064" y="3091625"/>
                  <a:pt x="8937064" y="3091625"/>
                  <a:pt x="9267400" y="2802904"/>
                </a:cubicBezTo>
                <a:cubicBezTo>
                  <a:pt x="9271197" y="2800052"/>
                  <a:pt x="9275943" y="2798628"/>
                  <a:pt x="9280452" y="2798866"/>
                </a:cubicBezTo>
                <a:close/>
                <a:moveTo>
                  <a:pt x="10442418" y="2798842"/>
                </a:moveTo>
                <a:cubicBezTo>
                  <a:pt x="10446950" y="2799079"/>
                  <a:pt x="10451243" y="2800979"/>
                  <a:pt x="10454106" y="2804777"/>
                </a:cubicBezTo>
                <a:cubicBezTo>
                  <a:pt x="10461739" y="2812377"/>
                  <a:pt x="10459831" y="2823773"/>
                  <a:pt x="10454106" y="2829471"/>
                </a:cubicBezTo>
                <a:cubicBezTo>
                  <a:pt x="10454106" y="2829471"/>
                  <a:pt x="10454106" y="2829471"/>
                  <a:pt x="10122059" y="3118194"/>
                </a:cubicBezTo>
                <a:cubicBezTo>
                  <a:pt x="10114425" y="3125793"/>
                  <a:pt x="10102976" y="3123893"/>
                  <a:pt x="10097251" y="3116295"/>
                </a:cubicBezTo>
                <a:cubicBezTo>
                  <a:pt x="10093434" y="3114396"/>
                  <a:pt x="10093434" y="3110597"/>
                  <a:pt x="10093434" y="3104898"/>
                </a:cubicBezTo>
                <a:cubicBezTo>
                  <a:pt x="10093434" y="3101099"/>
                  <a:pt x="10095342" y="3095400"/>
                  <a:pt x="10099159" y="3091603"/>
                </a:cubicBezTo>
                <a:cubicBezTo>
                  <a:pt x="10099159" y="3091603"/>
                  <a:pt x="10099159" y="3091603"/>
                  <a:pt x="10429298" y="2802878"/>
                </a:cubicBezTo>
                <a:cubicBezTo>
                  <a:pt x="10433114" y="2800029"/>
                  <a:pt x="10437885" y="2798605"/>
                  <a:pt x="10442418" y="2798842"/>
                </a:cubicBezTo>
                <a:close/>
                <a:moveTo>
                  <a:pt x="8710745" y="2792356"/>
                </a:moveTo>
                <a:cubicBezTo>
                  <a:pt x="8716231" y="2793069"/>
                  <a:pt x="8721479" y="2795921"/>
                  <a:pt x="8725295" y="2800675"/>
                </a:cubicBezTo>
                <a:cubicBezTo>
                  <a:pt x="8732928" y="2810181"/>
                  <a:pt x="8732928" y="2823488"/>
                  <a:pt x="8723387" y="2831093"/>
                </a:cubicBezTo>
                <a:cubicBezTo>
                  <a:pt x="8723387" y="2831093"/>
                  <a:pt x="8723387" y="2831093"/>
                  <a:pt x="8389446" y="3099164"/>
                </a:cubicBezTo>
                <a:cubicBezTo>
                  <a:pt x="8379905" y="3106766"/>
                  <a:pt x="8366547" y="3104865"/>
                  <a:pt x="8358914" y="3095358"/>
                </a:cubicBezTo>
                <a:cubicBezTo>
                  <a:pt x="8355098" y="3091559"/>
                  <a:pt x="8355098" y="3085855"/>
                  <a:pt x="8355098" y="3082053"/>
                </a:cubicBezTo>
                <a:cubicBezTo>
                  <a:pt x="8355098" y="3074447"/>
                  <a:pt x="8357006" y="3068744"/>
                  <a:pt x="8362731" y="3064941"/>
                </a:cubicBezTo>
                <a:cubicBezTo>
                  <a:pt x="8362731" y="3064941"/>
                  <a:pt x="8362731" y="3064941"/>
                  <a:pt x="8694763" y="2796872"/>
                </a:cubicBezTo>
                <a:cubicBezTo>
                  <a:pt x="8699534" y="2793069"/>
                  <a:pt x="8705259" y="2791642"/>
                  <a:pt x="8710745" y="2792356"/>
                </a:cubicBezTo>
                <a:close/>
                <a:moveTo>
                  <a:pt x="11020609" y="2792330"/>
                </a:moveTo>
                <a:cubicBezTo>
                  <a:pt x="11026090" y="2793043"/>
                  <a:pt x="11031334" y="2795895"/>
                  <a:pt x="11035147" y="2800648"/>
                </a:cubicBezTo>
                <a:cubicBezTo>
                  <a:pt x="11042773" y="2810154"/>
                  <a:pt x="11040866" y="2823462"/>
                  <a:pt x="11031333" y="2831067"/>
                </a:cubicBezTo>
                <a:cubicBezTo>
                  <a:pt x="11031333" y="2831067"/>
                  <a:pt x="11031333" y="2831067"/>
                  <a:pt x="10699581" y="3099136"/>
                </a:cubicBezTo>
                <a:cubicBezTo>
                  <a:pt x="10690048" y="3106741"/>
                  <a:pt x="10676701" y="3104840"/>
                  <a:pt x="10669075" y="3095334"/>
                </a:cubicBezTo>
                <a:cubicBezTo>
                  <a:pt x="10665262" y="3091531"/>
                  <a:pt x="10663355" y="3085827"/>
                  <a:pt x="10663355" y="3082025"/>
                </a:cubicBezTo>
                <a:cubicBezTo>
                  <a:pt x="10663355" y="3074421"/>
                  <a:pt x="10667168" y="3068717"/>
                  <a:pt x="10672888" y="3064914"/>
                </a:cubicBezTo>
                <a:cubicBezTo>
                  <a:pt x="10672888" y="3064914"/>
                  <a:pt x="10672888" y="3064914"/>
                  <a:pt x="11004641" y="2796846"/>
                </a:cubicBezTo>
                <a:cubicBezTo>
                  <a:pt x="11009408" y="2793043"/>
                  <a:pt x="11015127" y="2791618"/>
                  <a:pt x="11020609" y="2792330"/>
                </a:cubicBezTo>
                <a:close/>
                <a:moveTo>
                  <a:pt x="8147926" y="2787441"/>
                </a:moveTo>
                <a:cubicBezTo>
                  <a:pt x="8154593" y="2788630"/>
                  <a:pt x="8160785" y="2792440"/>
                  <a:pt x="8164595" y="2798157"/>
                </a:cubicBezTo>
                <a:cubicBezTo>
                  <a:pt x="8174120" y="2809588"/>
                  <a:pt x="8170310" y="2824828"/>
                  <a:pt x="8158880" y="2834352"/>
                </a:cubicBezTo>
                <a:cubicBezTo>
                  <a:pt x="8158880" y="2834352"/>
                  <a:pt x="8158880" y="2834352"/>
                  <a:pt x="7825500" y="3078192"/>
                </a:cubicBezTo>
                <a:cubicBezTo>
                  <a:pt x="7814070" y="3087718"/>
                  <a:pt x="7796925" y="3083908"/>
                  <a:pt x="7789305" y="3072478"/>
                </a:cubicBezTo>
                <a:cubicBezTo>
                  <a:pt x="7785495" y="3068667"/>
                  <a:pt x="7783590" y="3062951"/>
                  <a:pt x="7783590" y="3057236"/>
                </a:cubicBezTo>
                <a:cubicBezTo>
                  <a:pt x="7783590" y="3049615"/>
                  <a:pt x="7787400" y="3042001"/>
                  <a:pt x="7795020" y="3036282"/>
                </a:cubicBezTo>
                <a:cubicBezTo>
                  <a:pt x="7795020" y="3036282"/>
                  <a:pt x="7795020" y="3036282"/>
                  <a:pt x="8128399" y="2792440"/>
                </a:cubicBezTo>
                <a:cubicBezTo>
                  <a:pt x="8134114" y="2787678"/>
                  <a:pt x="8141258" y="2786250"/>
                  <a:pt x="8147926" y="2787441"/>
                </a:cubicBezTo>
                <a:close/>
                <a:moveTo>
                  <a:pt x="11592432" y="2787434"/>
                </a:moveTo>
                <a:cubicBezTo>
                  <a:pt x="11598867" y="2788622"/>
                  <a:pt x="11605063" y="2792433"/>
                  <a:pt x="11609830" y="2798149"/>
                </a:cubicBezTo>
                <a:cubicBezTo>
                  <a:pt x="11617456" y="2809579"/>
                  <a:pt x="11615549" y="2824818"/>
                  <a:pt x="11604110" y="2834343"/>
                </a:cubicBezTo>
                <a:cubicBezTo>
                  <a:pt x="11604110" y="2834343"/>
                  <a:pt x="11604110" y="2834343"/>
                  <a:pt x="11270458" y="3078185"/>
                </a:cubicBezTo>
                <a:cubicBezTo>
                  <a:pt x="11259018" y="3087709"/>
                  <a:pt x="11241859" y="3083900"/>
                  <a:pt x="11234233" y="3072469"/>
                </a:cubicBezTo>
                <a:cubicBezTo>
                  <a:pt x="11230420" y="3068661"/>
                  <a:pt x="11228513" y="3062943"/>
                  <a:pt x="11228513" y="3057229"/>
                </a:cubicBezTo>
                <a:cubicBezTo>
                  <a:pt x="11228513" y="3049607"/>
                  <a:pt x="11232326" y="3041990"/>
                  <a:pt x="11238046" y="3036275"/>
                </a:cubicBezTo>
                <a:cubicBezTo>
                  <a:pt x="11238046" y="3036275"/>
                  <a:pt x="11238046" y="3036275"/>
                  <a:pt x="11573605" y="2792433"/>
                </a:cubicBezTo>
                <a:cubicBezTo>
                  <a:pt x="11579325" y="2787671"/>
                  <a:pt x="11585998" y="2786243"/>
                  <a:pt x="11592432" y="2787434"/>
                </a:cubicBezTo>
                <a:close/>
                <a:moveTo>
                  <a:pt x="12139750" y="2786083"/>
                </a:moveTo>
                <a:cubicBezTo>
                  <a:pt x="12139750" y="2786083"/>
                  <a:pt x="12139750" y="2786083"/>
                  <a:pt x="12139750" y="2858148"/>
                </a:cubicBezTo>
                <a:cubicBezTo>
                  <a:pt x="12139750" y="2858148"/>
                  <a:pt x="12139750" y="2858148"/>
                  <a:pt x="11834946" y="3059175"/>
                </a:cubicBezTo>
                <a:cubicBezTo>
                  <a:pt x="11819705" y="3068658"/>
                  <a:pt x="11800655" y="3064864"/>
                  <a:pt x="11793035" y="3049691"/>
                </a:cubicBezTo>
                <a:cubicBezTo>
                  <a:pt x="11789225" y="3044001"/>
                  <a:pt x="11787320" y="3038313"/>
                  <a:pt x="11787320" y="3032623"/>
                </a:cubicBezTo>
                <a:cubicBezTo>
                  <a:pt x="11787320" y="3023143"/>
                  <a:pt x="11791130" y="3013660"/>
                  <a:pt x="11800655" y="3007970"/>
                </a:cubicBezTo>
                <a:lnTo>
                  <a:pt x="12135940" y="2787978"/>
                </a:lnTo>
                <a:cubicBezTo>
                  <a:pt x="12137845" y="2786083"/>
                  <a:pt x="12137845" y="2786083"/>
                  <a:pt x="12139750" y="2786083"/>
                </a:cubicBezTo>
                <a:close/>
                <a:moveTo>
                  <a:pt x="7592452" y="2782900"/>
                </a:moveTo>
                <a:cubicBezTo>
                  <a:pt x="7600072" y="2784326"/>
                  <a:pt x="7606740" y="2788595"/>
                  <a:pt x="7610550" y="2795241"/>
                </a:cubicBezTo>
                <a:cubicBezTo>
                  <a:pt x="7620075" y="2810434"/>
                  <a:pt x="7616265" y="2829420"/>
                  <a:pt x="7602930" y="2837016"/>
                </a:cubicBezTo>
                <a:cubicBezTo>
                  <a:pt x="7602930" y="2837016"/>
                  <a:pt x="7602930" y="2837016"/>
                  <a:pt x="7267645" y="3059173"/>
                </a:cubicBezTo>
                <a:cubicBezTo>
                  <a:pt x="7254310" y="3068667"/>
                  <a:pt x="7235260" y="3064869"/>
                  <a:pt x="7225735" y="3049680"/>
                </a:cubicBezTo>
                <a:cubicBezTo>
                  <a:pt x="7221925" y="3043982"/>
                  <a:pt x="7220020" y="3038288"/>
                  <a:pt x="7220020" y="3032591"/>
                </a:cubicBezTo>
                <a:cubicBezTo>
                  <a:pt x="7220020" y="3023099"/>
                  <a:pt x="7225735" y="3013604"/>
                  <a:pt x="7233355" y="3007907"/>
                </a:cubicBezTo>
                <a:cubicBezTo>
                  <a:pt x="7233355" y="3007907"/>
                  <a:pt x="7233355" y="3007907"/>
                  <a:pt x="7568639" y="2787648"/>
                </a:cubicBezTo>
                <a:cubicBezTo>
                  <a:pt x="7576259" y="2782900"/>
                  <a:pt x="7584832" y="2781476"/>
                  <a:pt x="7592452" y="2782900"/>
                </a:cubicBezTo>
                <a:close/>
                <a:moveTo>
                  <a:pt x="7041900" y="2777758"/>
                </a:moveTo>
                <a:cubicBezTo>
                  <a:pt x="7050473" y="2779901"/>
                  <a:pt x="7058093" y="2785138"/>
                  <a:pt x="7062856" y="2792757"/>
                </a:cubicBezTo>
                <a:cubicBezTo>
                  <a:pt x="7072381" y="2809907"/>
                  <a:pt x="7066666" y="2830858"/>
                  <a:pt x="7051425" y="2840384"/>
                </a:cubicBezTo>
                <a:cubicBezTo>
                  <a:pt x="7051425" y="2840384"/>
                  <a:pt x="7051425" y="2840384"/>
                  <a:pt x="6714236" y="3038503"/>
                </a:cubicBezTo>
                <a:cubicBezTo>
                  <a:pt x="6697090" y="3048026"/>
                  <a:pt x="6676135" y="3044222"/>
                  <a:pt x="6666610" y="3027077"/>
                </a:cubicBezTo>
                <a:cubicBezTo>
                  <a:pt x="6664705" y="3021361"/>
                  <a:pt x="6662800" y="3015647"/>
                  <a:pt x="6662800" y="3009931"/>
                </a:cubicBezTo>
                <a:cubicBezTo>
                  <a:pt x="6662800" y="2998500"/>
                  <a:pt x="6668515" y="2987069"/>
                  <a:pt x="6679945" y="2979450"/>
                </a:cubicBezTo>
                <a:cubicBezTo>
                  <a:pt x="6679945" y="2979450"/>
                  <a:pt x="6679945" y="2979450"/>
                  <a:pt x="7015230" y="2781330"/>
                </a:cubicBezTo>
                <a:cubicBezTo>
                  <a:pt x="7023803" y="2776567"/>
                  <a:pt x="7033328" y="2775616"/>
                  <a:pt x="7041900" y="2777758"/>
                </a:cubicBezTo>
                <a:close/>
                <a:moveTo>
                  <a:pt x="6499388" y="2774400"/>
                </a:moveTo>
                <a:cubicBezTo>
                  <a:pt x="6508668" y="2777482"/>
                  <a:pt x="6516758" y="2784126"/>
                  <a:pt x="6521517" y="2793615"/>
                </a:cubicBezTo>
                <a:cubicBezTo>
                  <a:pt x="6531035" y="2812596"/>
                  <a:pt x="6525324" y="2835373"/>
                  <a:pt x="6506288" y="2844865"/>
                </a:cubicBezTo>
                <a:cubicBezTo>
                  <a:pt x="6506288" y="2844865"/>
                  <a:pt x="6506288" y="2844865"/>
                  <a:pt x="6167449" y="3019490"/>
                </a:cubicBezTo>
                <a:cubicBezTo>
                  <a:pt x="6148414" y="3028982"/>
                  <a:pt x="6125570" y="3021389"/>
                  <a:pt x="6116053" y="3002408"/>
                </a:cubicBezTo>
                <a:cubicBezTo>
                  <a:pt x="6112245" y="2996712"/>
                  <a:pt x="6110342" y="2991020"/>
                  <a:pt x="6110342" y="2985324"/>
                </a:cubicBezTo>
                <a:cubicBezTo>
                  <a:pt x="6110342" y="2972039"/>
                  <a:pt x="6117956" y="2958751"/>
                  <a:pt x="6131281" y="2951160"/>
                </a:cubicBezTo>
                <a:cubicBezTo>
                  <a:pt x="6131281" y="2951160"/>
                  <a:pt x="6131281" y="2951160"/>
                  <a:pt x="6470120" y="2776533"/>
                </a:cubicBezTo>
                <a:cubicBezTo>
                  <a:pt x="6479638" y="2771788"/>
                  <a:pt x="6490107" y="2771312"/>
                  <a:pt x="6499388" y="2774400"/>
                </a:cubicBezTo>
                <a:close/>
                <a:moveTo>
                  <a:pt x="5959672" y="2769256"/>
                </a:moveTo>
                <a:cubicBezTo>
                  <a:pt x="5969941" y="2773062"/>
                  <a:pt x="5978538" y="2780669"/>
                  <a:pt x="5983314" y="2791133"/>
                </a:cubicBezTo>
                <a:cubicBezTo>
                  <a:pt x="5992867" y="2812061"/>
                  <a:pt x="5983314" y="2838698"/>
                  <a:pt x="5962297" y="2848210"/>
                </a:cubicBezTo>
                <a:cubicBezTo>
                  <a:pt x="5962297" y="2848210"/>
                  <a:pt x="5962297" y="2848210"/>
                  <a:pt x="5620300" y="3000418"/>
                </a:cubicBezTo>
                <a:cubicBezTo>
                  <a:pt x="5599284" y="3009931"/>
                  <a:pt x="5574446" y="3000418"/>
                  <a:pt x="5564892" y="2979489"/>
                </a:cubicBezTo>
                <a:cubicBezTo>
                  <a:pt x="5561071" y="2973783"/>
                  <a:pt x="5561071" y="2968075"/>
                  <a:pt x="5561071" y="2960466"/>
                </a:cubicBezTo>
                <a:cubicBezTo>
                  <a:pt x="5561071" y="2945244"/>
                  <a:pt x="5570624" y="2930022"/>
                  <a:pt x="5585909" y="2922412"/>
                </a:cubicBezTo>
                <a:cubicBezTo>
                  <a:pt x="5585909" y="2922412"/>
                  <a:pt x="5585909" y="2922412"/>
                  <a:pt x="5925997" y="2770208"/>
                </a:cubicBezTo>
                <a:cubicBezTo>
                  <a:pt x="5937461" y="2765450"/>
                  <a:pt x="5949401" y="2765450"/>
                  <a:pt x="5959672" y="2769256"/>
                </a:cubicBezTo>
                <a:close/>
                <a:moveTo>
                  <a:pt x="399603" y="2769241"/>
                </a:moveTo>
                <a:cubicBezTo>
                  <a:pt x="410073" y="2773046"/>
                  <a:pt x="419115" y="2780657"/>
                  <a:pt x="423874" y="2791121"/>
                </a:cubicBezTo>
                <a:cubicBezTo>
                  <a:pt x="433392" y="2812049"/>
                  <a:pt x="423874" y="2838685"/>
                  <a:pt x="401030" y="2848199"/>
                </a:cubicBezTo>
                <a:cubicBezTo>
                  <a:pt x="401030" y="2848199"/>
                  <a:pt x="401030" y="2848199"/>
                  <a:pt x="62187" y="3000404"/>
                </a:cubicBezTo>
                <a:cubicBezTo>
                  <a:pt x="41247" y="3009919"/>
                  <a:pt x="16500" y="3000404"/>
                  <a:pt x="6982" y="2979476"/>
                </a:cubicBezTo>
                <a:cubicBezTo>
                  <a:pt x="3175" y="2973768"/>
                  <a:pt x="3175" y="2968061"/>
                  <a:pt x="3175" y="2960451"/>
                </a:cubicBezTo>
                <a:cubicBezTo>
                  <a:pt x="3175" y="2945230"/>
                  <a:pt x="10789" y="2930010"/>
                  <a:pt x="27922" y="2922399"/>
                </a:cubicBezTo>
                <a:cubicBezTo>
                  <a:pt x="27922" y="2922399"/>
                  <a:pt x="27922" y="2922399"/>
                  <a:pt x="366765" y="2770194"/>
                </a:cubicBezTo>
                <a:cubicBezTo>
                  <a:pt x="377235" y="2765436"/>
                  <a:pt x="389133" y="2765436"/>
                  <a:pt x="399603" y="2769241"/>
                </a:cubicBezTo>
                <a:close/>
                <a:moveTo>
                  <a:pt x="5396030" y="2760546"/>
                </a:moveTo>
                <a:cubicBezTo>
                  <a:pt x="5414054" y="2760902"/>
                  <a:pt x="5431544" y="2771987"/>
                  <a:pt x="5437255" y="2790586"/>
                </a:cubicBezTo>
                <a:cubicBezTo>
                  <a:pt x="5446773" y="2815383"/>
                  <a:pt x="5435351" y="2842090"/>
                  <a:pt x="5410604" y="2851628"/>
                </a:cubicBezTo>
                <a:cubicBezTo>
                  <a:pt x="5410604" y="2851628"/>
                  <a:pt x="5410604" y="2851628"/>
                  <a:pt x="5069848" y="2981344"/>
                </a:cubicBezTo>
                <a:cubicBezTo>
                  <a:pt x="5045105" y="2990880"/>
                  <a:pt x="5018457" y="2977527"/>
                  <a:pt x="5008939" y="2954638"/>
                </a:cubicBezTo>
                <a:cubicBezTo>
                  <a:pt x="5007036" y="2948915"/>
                  <a:pt x="5007036" y="2943193"/>
                  <a:pt x="5007036" y="2937469"/>
                </a:cubicBezTo>
                <a:cubicBezTo>
                  <a:pt x="5007036" y="2918395"/>
                  <a:pt x="5018457" y="2899319"/>
                  <a:pt x="5037490" y="2893596"/>
                </a:cubicBezTo>
                <a:cubicBezTo>
                  <a:pt x="5037490" y="2893596"/>
                  <a:pt x="5037490" y="2893596"/>
                  <a:pt x="5378244" y="2763882"/>
                </a:cubicBezTo>
                <a:cubicBezTo>
                  <a:pt x="5383954" y="2761500"/>
                  <a:pt x="5390021" y="2760425"/>
                  <a:pt x="5396030" y="2760546"/>
                </a:cubicBezTo>
                <a:close/>
                <a:moveTo>
                  <a:pt x="930706" y="2760528"/>
                </a:moveTo>
                <a:cubicBezTo>
                  <a:pt x="949141" y="2760885"/>
                  <a:pt x="965965" y="2771973"/>
                  <a:pt x="973124" y="2790570"/>
                </a:cubicBezTo>
                <a:cubicBezTo>
                  <a:pt x="982670" y="2815369"/>
                  <a:pt x="969306" y="2842076"/>
                  <a:pt x="946396" y="2851614"/>
                </a:cubicBezTo>
                <a:cubicBezTo>
                  <a:pt x="946396" y="2851614"/>
                  <a:pt x="946396" y="2851614"/>
                  <a:pt x="604662" y="2981328"/>
                </a:cubicBezTo>
                <a:cubicBezTo>
                  <a:pt x="579843" y="2990867"/>
                  <a:pt x="551206" y="2977513"/>
                  <a:pt x="543570" y="2954621"/>
                </a:cubicBezTo>
                <a:cubicBezTo>
                  <a:pt x="541661" y="2948899"/>
                  <a:pt x="539752" y="2943177"/>
                  <a:pt x="539752" y="2937453"/>
                </a:cubicBezTo>
                <a:cubicBezTo>
                  <a:pt x="539752" y="2918379"/>
                  <a:pt x="551206" y="2899302"/>
                  <a:pt x="570298" y="2893580"/>
                </a:cubicBezTo>
                <a:cubicBezTo>
                  <a:pt x="570298" y="2893580"/>
                  <a:pt x="570298" y="2893580"/>
                  <a:pt x="912032" y="2763867"/>
                </a:cubicBezTo>
                <a:cubicBezTo>
                  <a:pt x="918237" y="2761484"/>
                  <a:pt x="924561" y="2760408"/>
                  <a:pt x="930706" y="2760528"/>
                </a:cubicBezTo>
                <a:close/>
                <a:moveTo>
                  <a:pt x="4845194" y="2755586"/>
                </a:moveTo>
                <a:cubicBezTo>
                  <a:pt x="4864904" y="2757905"/>
                  <a:pt x="4882744" y="2771456"/>
                  <a:pt x="4889877" y="2791428"/>
                </a:cubicBezTo>
                <a:cubicBezTo>
                  <a:pt x="4897488" y="2818061"/>
                  <a:pt x="4882266" y="2846596"/>
                  <a:pt x="4855631" y="2856106"/>
                </a:cubicBezTo>
                <a:cubicBezTo>
                  <a:pt x="4855631" y="2856106"/>
                  <a:pt x="4855631" y="2856106"/>
                  <a:pt x="4513213" y="2962635"/>
                </a:cubicBezTo>
                <a:cubicBezTo>
                  <a:pt x="4486581" y="2970243"/>
                  <a:pt x="4458045" y="2955024"/>
                  <a:pt x="4448533" y="2928394"/>
                </a:cubicBezTo>
                <a:cubicBezTo>
                  <a:pt x="4448533" y="2924590"/>
                  <a:pt x="4446631" y="2918884"/>
                  <a:pt x="4446631" y="2913176"/>
                </a:cubicBezTo>
                <a:cubicBezTo>
                  <a:pt x="4446631" y="2892251"/>
                  <a:pt x="4461851" y="2871325"/>
                  <a:pt x="4482777" y="2863715"/>
                </a:cubicBezTo>
                <a:cubicBezTo>
                  <a:pt x="4482777" y="2863715"/>
                  <a:pt x="4482777" y="2863715"/>
                  <a:pt x="4825187" y="2757192"/>
                </a:cubicBezTo>
                <a:cubicBezTo>
                  <a:pt x="4831847" y="2755287"/>
                  <a:pt x="4838625" y="2754812"/>
                  <a:pt x="4845194" y="2755586"/>
                </a:cubicBezTo>
                <a:close/>
                <a:moveTo>
                  <a:pt x="1482623" y="2755567"/>
                </a:moveTo>
                <a:cubicBezTo>
                  <a:pt x="1502310" y="2757887"/>
                  <a:pt x="1519850" y="2771439"/>
                  <a:pt x="1525577" y="2791412"/>
                </a:cubicBezTo>
                <a:cubicBezTo>
                  <a:pt x="1535122" y="2818044"/>
                  <a:pt x="1519850" y="2846577"/>
                  <a:pt x="1493123" y="2856090"/>
                </a:cubicBezTo>
                <a:cubicBezTo>
                  <a:pt x="1493123" y="2856090"/>
                  <a:pt x="1493123" y="2856090"/>
                  <a:pt x="1149495" y="2962617"/>
                </a:cubicBezTo>
                <a:cubicBezTo>
                  <a:pt x="1122769" y="2970225"/>
                  <a:pt x="1092224" y="2955007"/>
                  <a:pt x="1084588" y="2928375"/>
                </a:cubicBezTo>
                <a:cubicBezTo>
                  <a:pt x="1082679" y="2924571"/>
                  <a:pt x="1082679" y="2918864"/>
                  <a:pt x="1082679" y="2913158"/>
                </a:cubicBezTo>
                <a:cubicBezTo>
                  <a:pt x="1082679" y="2892232"/>
                  <a:pt x="1096042" y="2871308"/>
                  <a:pt x="1118950" y="2863698"/>
                </a:cubicBezTo>
                <a:cubicBezTo>
                  <a:pt x="1118950" y="2863698"/>
                  <a:pt x="1118950" y="2863698"/>
                  <a:pt x="1462578" y="2757173"/>
                </a:cubicBezTo>
                <a:cubicBezTo>
                  <a:pt x="1469260" y="2755270"/>
                  <a:pt x="1476061" y="2754795"/>
                  <a:pt x="1482623" y="2755567"/>
                </a:cubicBezTo>
                <a:close/>
                <a:moveTo>
                  <a:pt x="4291651" y="2750401"/>
                </a:moveTo>
                <a:cubicBezTo>
                  <a:pt x="4313337" y="2754252"/>
                  <a:pt x="4331541" y="2769659"/>
                  <a:pt x="4335825" y="2792587"/>
                </a:cubicBezTo>
                <a:cubicBezTo>
                  <a:pt x="4343439" y="2821252"/>
                  <a:pt x="4326305" y="2851825"/>
                  <a:pt x="4295846" y="2859470"/>
                </a:cubicBezTo>
                <a:cubicBezTo>
                  <a:pt x="4295846" y="2859470"/>
                  <a:pt x="4295846" y="2859470"/>
                  <a:pt x="3953199" y="2943550"/>
                </a:cubicBezTo>
                <a:cubicBezTo>
                  <a:pt x="3922739" y="2951195"/>
                  <a:pt x="3892277" y="2932085"/>
                  <a:pt x="3884663" y="2901512"/>
                </a:cubicBezTo>
                <a:cubicBezTo>
                  <a:pt x="3884663" y="2897690"/>
                  <a:pt x="3884663" y="2893868"/>
                  <a:pt x="3884663" y="2888136"/>
                </a:cubicBezTo>
                <a:cubicBezTo>
                  <a:pt x="3884663" y="2863292"/>
                  <a:pt x="3899894" y="2840361"/>
                  <a:pt x="3926546" y="2834629"/>
                </a:cubicBezTo>
                <a:cubicBezTo>
                  <a:pt x="3926546" y="2834629"/>
                  <a:pt x="3926546" y="2834629"/>
                  <a:pt x="4269194" y="2750551"/>
                </a:cubicBezTo>
                <a:cubicBezTo>
                  <a:pt x="4276808" y="2749117"/>
                  <a:pt x="4284423" y="2749117"/>
                  <a:pt x="4291651" y="2750401"/>
                </a:cubicBezTo>
                <a:close/>
                <a:moveTo>
                  <a:pt x="2037928" y="2750381"/>
                </a:moveTo>
                <a:cubicBezTo>
                  <a:pt x="2058890" y="2754232"/>
                  <a:pt x="2077438" y="2769638"/>
                  <a:pt x="2083145" y="2792570"/>
                </a:cubicBezTo>
                <a:cubicBezTo>
                  <a:pt x="2090754" y="2821233"/>
                  <a:pt x="2071730" y="2851807"/>
                  <a:pt x="2043190" y="2859451"/>
                </a:cubicBezTo>
                <a:cubicBezTo>
                  <a:pt x="2043190" y="2859451"/>
                  <a:pt x="2043190" y="2859451"/>
                  <a:pt x="1698856" y="2943529"/>
                </a:cubicBezTo>
                <a:cubicBezTo>
                  <a:pt x="1668417" y="2951173"/>
                  <a:pt x="1639881" y="2932065"/>
                  <a:pt x="1632272" y="2901491"/>
                </a:cubicBezTo>
                <a:cubicBezTo>
                  <a:pt x="1630369" y="2897669"/>
                  <a:pt x="1630369" y="2893847"/>
                  <a:pt x="1630369" y="2888114"/>
                </a:cubicBezTo>
                <a:cubicBezTo>
                  <a:pt x="1630369" y="2863273"/>
                  <a:pt x="1647491" y="2840342"/>
                  <a:pt x="1672222" y="2834609"/>
                </a:cubicBezTo>
                <a:cubicBezTo>
                  <a:pt x="1672222" y="2834609"/>
                  <a:pt x="1672222" y="2834609"/>
                  <a:pt x="2016556" y="2750531"/>
                </a:cubicBezTo>
                <a:cubicBezTo>
                  <a:pt x="2023690" y="2749098"/>
                  <a:pt x="2030943" y="2749098"/>
                  <a:pt x="2037928" y="2750381"/>
                </a:cubicBezTo>
                <a:close/>
                <a:moveTo>
                  <a:pt x="3710449" y="2745770"/>
                </a:moveTo>
                <a:cubicBezTo>
                  <a:pt x="3742791" y="2740056"/>
                  <a:pt x="3773233" y="2762916"/>
                  <a:pt x="3778940" y="2795297"/>
                </a:cubicBezTo>
                <a:cubicBezTo>
                  <a:pt x="3784650" y="2827683"/>
                  <a:pt x="3763720" y="2858165"/>
                  <a:pt x="3731377" y="2863880"/>
                </a:cubicBezTo>
                <a:cubicBezTo>
                  <a:pt x="3731377" y="2863880"/>
                  <a:pt x="3731377" y="2863880"/>
                  <a:pt x="3385144" y="2924842"/>
                </a:cubicBezTo>
                <a:cubicBezTo>
                  <a:pt x="3352802" y="2930556"/>
                  <a:pt x="3322363" y="2907696"/>
                  <a:pt x="3316656" y="2875310"/>
                </a:cubicBezTo>
                <a:cubicBezTo>
                  <a:pt x="3316656" y="2871500"/>
                  <a:pt x="3314753" y="2869595"/>
                  <a:pt x="3314753" y="2865784"/>
                </a:cubicBezTo>
                <a:cubicBezTo>
                  <a:pt x="3314753" y="2837207"/>
                  <a:pt x="3335681" y="2812444"/>
                  <a:pt x="3364218" y="2806729"/>
                </a:cubicBezTo>
                <a:cubicBezTo>
                  <a:pt x="3364218" y="2806729"/>
                  <a:pt x="3364218" y="2806729"/>
                  <a:pt x="3710449" y="2745770"/>
                </a:cubicBezTo>
                <a:close/>
                <a:moveTo>
                  <a:pt x="2576948" y="2745748"/>
                </a:moveTo>
                <a:cubicBezTo>
                  <a:pt x="2609291" y="2740033"/>
                  <a:pt x="2639729" y="2762892"/>
                  <a:pt x="2645436" y="2795278"/>
                </a:cubicBezTo>
                <a:cubicBezTo>
                  <a:pt x="2651144" y="2827662"/>
                  <a:pt x="2630216" y="2858143"/>
                  <a:pt x="2595972" y="2863857"/>
                </a:cubicBezTo>
                <a:cubicBezTo>
                  <a:pt x="2595972" y="2863857"/>
                  <a:pt x="2595972" y="2863857"/>
                  <a:pt x="2251629" y="2924818"/>
                </a:cubicBezTo>
                <a:cubicBezTo>
                  <a:pt x="2219288" y="2930533"/>
                  <a:pt x="2188849" y="2907673"/>
                  <a:pt x="2183141" y="2875287"/>
                </a:cubicBezTo>
                <a:cubicBezTo>
                  <a:pt x="2183141" y="2871478"/>
                  <a:pt x="2181239" y="2869573"/>
                  <a:pt x="2181239" y="2865763"/>
                </a:cubicBezTo>
                <a:cubicBezTo>
                  <a:pt x="2181239" y="2837188"/>
                  <a:pt x="2202166" y="2812423"/>
                  <a:pt x="2230702" y="2806708"/>
                </a:cubicBezTo>
                <a:cubicBezTo>
                  <a:pt x="2230702" y="2806708"/>
                  <a:pt x="2230702" y="2806708"/>
                  <a:pt x="2576948" y="2745748"/>
                </a:cubicBezTo>
                <a:close/>
                <a:moveTo>
                  <a:pt x="3140489" y="2739132"/>
                </a:moveTo>
                <a:cubicBezTo>
                  <a:pt x="3176660" y="2735294"/>
                  <a:pt x="3207119" y="2760241"/>
                  <a:pt x="3210928" y="2796698"/>
                </a:cubicBezTo>
                <a:cubicBezTo>
                  <a:pt x="3214734" y="2831239"/>
                  <a:pt x="3189988" y="2863862"/>
                  <a:pt x="3153815" y="2867700"/>
                </a:cubicBezTo>
                <a:cubicBezTo>
                  <a:pt x="3153815" y="2867700"/>
                  <a:pt x="3153815" y="2867700"/>
                  <a:pt x="2807330" y="2906081"/>
                </a:cubicBezTo>
                <a:cubicBezTo>
                  <a:pt x="2773062" y="2909920"/>
                  <a:pt x="2740699" y="2883053"/>
                  <a:pt x="2736892" y="2848510"/>
                </a:cubicBezTo>
                <a:cubicBezTo>
                  <a:pt x="2736892" y="2846591"/>
                  <a:pt x="2736892" y="2842753"/>
                  <a:pt x="2736892" y="2840833"/>
                </a:cubicBezTo>
                <a:cubicBezTo>
                  <a:pt x="2736892" y="2808213"/>
                  <a:pt x="2761639" y="2781347"/>
                  <a:pt x="2794004" y="2777510"/>
                </a:cubicBezTo>
                <a:cubicBezTo>
                  <a:pt x="2794004" y="2777510"/>
                  <a:pt x="2794004" y="2777510"/>
                  <a:pt x="3140489" y="2739132"/>
                </a:cubicBezTo>
                <a:close/>
                <a:moveTo>
                  <a:pt x="9848939" y="2478758"/>
                </a:moveTo>
                <a:cubicBezTo>
                  <a:pt x="9852752" y="2474949"/>
                  <a:pt x="9860379" y="2474949"/>
                  <a:pt x="9864193" y="2478758"/>
                </a:cubicBezTo>
                <a:cubicBezTo>
                  <a:pt x="9868006" y="2484475"/>
                  <a:pt x="9868006" y="2490192"/>
                  <a:pt x="9864193" y="2494003"/>
                </a:cubicBezTo>
                <a:cubicBezTo>
                  <a:pt x="9864193" y="2494003"/>
                  <a:pt x="9864193" y="2494003"/>
                  <a:pt x="9536231" y="2823558"/>
                </a:cubicBezTo>
                <a:cubicBezTo>
                  <a:pt x="9532418" y="2827364"/>
                  <a:pt x="9524791" y="2827364"/>
                  <a:pt x="9520977" y="2823558"/>
                </a:cubicBezTo>
                <a:cubicBezTo>
                  <a:pt x="9519071" y="2819745"/>
                  <a:pt x="9517164" y="2817842"/>
                  <a:pt x="9517164" y="2815937"/>
                </a:cubicBezTo>
                <a:cubicBezTo>
                  <a:pt x="9517164" y="2812126"/>
                  <a:pt x="9519071" y="2810223"/>
                  <a:pt x="9520977" y="2808317"/>
                </a:cubicBezTo>
                <a:cubicBezTo>
                  <a:pt x="9520977" y="2808317"/>
                  <a:pt x="9520977" y="2808317"/>
                  <a:pt x="9848939" y="2478758"/>
                </a:cubicBezTo>
                <a:close/>
                <a:moveTo>
                  <a:pt x="9280068" y="2470987"/>
                </a:moveTo>
                <a:cubicBezTo>
                  <a:pt x="9284117" y="2471465"/>
                  <a:pt x="9287927" y="2473375"/>
                  <a:pt x="9290784" y="2476239"/>
                </a:cubicBezTo>
                <a:cubicBezTo>
                  <a:pt x="9296499" y="2481973"/>
                  <a:pt x="9296499" y="2491525"/>
                  <a:pt x="9288879" y="2497260"/>
                </a:cubicBezTo>
                <a:cubicBezTo>
                  <a:pt x="9288879" y="2497260"/>
                  <a:pt x="9288879" y="2497260"/>
                  <a:pt x="8959309" y="2800997"/>
                </a:cubicBezTo>
                <a:cubicBezTo>
                  <a:pt x="8953594" y="2806729"/>
                  <a:pt x="8944069" y="2806729"/>
                  <a:pt x="8938354" y="2800997"/>
                </a:cubicBezTo>
                <a:cubicBezTo>
                  <a:pt x="8934544" y="2797177"/>
                  <a:pt x="8934544" y="2793354"/>
                  <a:pt x="8934544" y="2789535"/>
                </a:cubicBezTo>
                <a:cubicBezTo>
                  <a:pt x="8934544" y="2785714"/>
                  <a:pt x="8936449" y="2781895"/>
                  <a:pt x="8938354" y="2778073"/>
                </a:cubicBezTo>
                <a:cubicBezTo>
                  <a:pt x="8938354" y="2778073"/>
                  <a:pt x="8938354" y="2778073"/>
                  <a:pt x="9267924" y="2474329"/>
                </a:cubicBezTo>
                <a:cubicBezTo>
                  <a:pt x="9271734" y="2471465"/>
                  <a:pt x="9276020" y="2470511"/>
                  <a:pt x="9280068" y="2470987"/>
                </a:cubicBezTo>
                <a:close/>
                <a:moveTo>
                  <a:pt x="10440785" y="2470956"/>
                </a:moveTo>
                <a:cubicBezTo>
                  <a:pt x="10444594" y="2471432"/>
                  <a:pt x="10448404" y="2473343"/>
                  <a:pt x="10451262" y="2476209"/>
                </a:cubicBezTo>
                <a:cubicBezTo>
                  <a:pt x="10456977" y="2481941"/>
                  <a:pt x="10456977" y="2491493"/>
                  <a:pt x="10451262" y="2497223"/>
                </a:cubicBezTo>
                <a:cubicBezTo>
                  <a:pt x="10451262" y="2497223"/>
                  <a:pt x="10451262" y="2497223"/>
                  <a:pt x="10121692" y="2800974"/>
                </a:cubicBezTo>
                <a:cubicBezTo>
                  <a:pt x="10114072" y="2806705"/>
                  <a:pt x="10104547" y="2806705"/>
                  <a:pt x="10098832" y="2800974"/>
                </a:cubicBezTo>
                <a:cubicBezTo>
                  <a:pt x="10096927" y="2797153"/>
                  <a:pt x="10095022" y="2793332"/>
                  <a:pt x="10095022" y="2789511"/>
                </a:cubicBezTo>
                <a:cubicBezTo>
                  <a:pt x="10095022" y="2785690"/>
                  <a:pt x="10096927" y="2781870"/>
                  <a:pt x="10100737" y="2778049"/>
                </a:cubicBezTo>
                <a:cubicBezTo>
                  <a:pt x="10100737" y="2778049"/>
                  <a:pt x="10100737" y="2778049"/>
                  <a:pt x="10430307" y="2474298"/>
                </a:cubicBezTo>
                <a:cubicBezTo>
                  <a:pt x="10433165" y="2471432"/>
                  <a:pt x="10436974" y="2470479"/>
                  <a:pt x="10440785" y="2470956"/>
                </a:cubicBezTo>
                <a:close/>
                <a:moveTo>
                  <a:pt x="8710792" y="2467329"/>
                </a:moveTo>
                <a:cubicBezTo>
                  <a:pt x="8716049" y="2467808"/>
                  <a:pt x="8720827" y="2470190"/>
                  <a:pt x="8723695" y="2474959"/>
                </a:cubicBezTo>
                <a:cubicBezTo>
                  <a:pt x="8731341" y="2482590"/>
                  <a:pt x="8729429" y="2495938"/>
                  <a:pt x="8721783" y="2501658"/>
                </a:cubicBezTo>
                <a:cubicBezTo>
                  <a:pt x="8721783" y="2501658"/>
                  <a:pt x="8721783" y="2501658"/>
                  <a:pt x="8389182" y="2780051"/>
                </a:cubicBezTo>
                <a:cubicBezTo>
                  <a:pt x="8381536" y="2787678"/>
                  <a:pt x="8368155" y="2785771"/>
                  <a:pt x="8360509" y="2778145"/>
                </a:cubicBezTo>
                <a:cubicBezTo>
                  <a:pt x="8358598" y="2774333"/>
                  <a:pt x="8356686" y="2768612"/>
                  <a:pt x="8356686" y="2764800"/>
                </a:cubicBezTo>
                <a:cubicBezTo>
                  <a:pt x="8356686" y="2759078"/>
                  <a:pt x="8358598" y="2753357"/>
                  <a:pt x="8364332" y="2749541"/>
                </a:cubicBezTo>
                <a:cubicBezTo>
                  <a:pt x="8364332" y="2749541"/>
                  <a:pt x="8364332" y="2749541"/>
                  <a:pt x="8695022" y="2471144"/>
                </a:cubicBezTo>
                <a:cubicBezTo>
                  <a:pt x="8699801" y="2468282"/>
                  <a:pt x="8705536" y="2466854"/>
                  <a:pt x="8710792" y="2467329"/>
                </a:cubicBezTo>
                <a:close/>
                <a:moveTo>
                  <a:pt x="11018422" y="2467296"/>
                </a:moveTo>
                <a:cubicBezTo>
                  <a:pt x="11023419" y="2467773"/>
                  <a:pt x="11028178" y="2470157"/>
                  <a:pt x="11031984" y="2474925"/>
                </a:cubicBezTo>
                <a:cubicBezTo>
                  <a:pt x="11039598" y="2482552"/>
                  <a:pt x="11037695" y="2495900"/>
                  <a:pt x="11030081" y="2501621"/>
                </a:cubicBezTo>
                <a:cubicBezTo>
                  <a:pt x="11030081" y="2501621"/>
                  <a:pt x="11030081" y="2501621"/>
                  <a:pt x="10698888" y="2780026"/>
                </a:cubicBezTo>
                <a:cubicBezTo>
                  <a:pt x="10689371" y="2787653"/>
                  <a:pt x="10677950" y="2785745"/>
                  <a:pt x="10670337" y="2778118"/>
                </a:cubicBezTo>
                <a:cubicBezTo>
                  <a:pt x="10666530" y="2774304"/>
                  <a:pt x="10666530" y="2768584"/>
                  <a:pt x="10666530" y="2764770"/>
                </a:cubicBezTo>
                <a:cubicBezTo>
                  <a:pt x="10666530" y="2759049"/>
                  <a:pt x="10668433" y="2753329"/>
                  <a:pt x="10672240" y="2749515"/>
                </a:cubicBezTo>
                <a:cubicBezTo>
                  <a:pt x="10672240" y="2749515"/>
                  <a:pt x="10672240" y="2749515"/>
                  <a:pt x="11003433" y="2471111"/>
                </a:cubicBezTo>
                <a:cubicBezTo>
                  <a:pt x="11008191" y="2468250"/>
                  <a:pt x="11013426" y="2466820"/>
                  <a:pt x="11018422" y="2467296"/>
                </a:cubicBezTo>
                <a:close/>
                <a:moveTo>
                  <a:pt x="8147250" y="2462181"/>
                </a:moveTo>
                <a:cubicBezTo>
                  <a:pt x="8153451" y="2462897"/>
                  <a:pt x="8159176" y="2465768"/>
                  <a:pt x="8162992" y="2470551"/>
                </a:cubicBezTo>
                <a:cubicBezTo>
                  <a:pt x="8172533" y="2482029"/>
                  <a:pt x="8170625" y="2497337"/>
                  <a:pt x="8159176" y="2506900"/>
                </a:cubicBezTo>
                <a:cubicBezTo>
                  <a:pt x="8159176" y="2506900"/>
                  <a:pt x="8159176" y="2506900"/>
                  <a:pt x="7825249" y="2759395"/>
                </a:cubicBezTo>
                <a:cubicBezTo>
                  <a:pt x="7813800" y="2767042"/>
                  <a:pt x="7798535" y="2765130"/>
                  <a:pt x="7790902" y="2755567"/>
                </a:cubicBezTo>
                <a:cubicBezTo>
                  <a:pt x="7787086" y="2749827"/>
                  <a:pt x="7785178" y="2746001"/>
                  <a:pt x="7785178" y="2740262"/>
                </a:cubicBezTo>
                <a:cubicBezTo>
                  <a:pt x="7785178" y="2732609"/>
                  <a:pt x="7788994" y="2724958"/>
                  <a:pt x="7794719" y="2719221"/>
                </a:cubicBezTo>
                <a:cubicBezTo>
                  <a:pt x="7794719" y="2719221"/>
                  <a:pt x="7794719" y="2719221"/>
                  <a:pt x="8128645" y="2466726"/>
                </a:cubicBezTo>
                <a:cubicBezTo>
                  <a:pt x="8134370" y="2462897"/>
                  <a:pt x="8141048" y="2461462"/>
                  <a:pt x="8147250" y="2462181"/>
                </a:cubicBezTo>
                <a:close/>
                <a:moveTo>
                  <a:pt x="11591857" y="2462171"/>
                </a:moveTo>
                <a:cubicBezTo>
                  <a:pt x="11598276" y="2462887"/>
                  <a:pt x="11604457" y="2465756"/>
                  <a:pt x="11608260" y="2470542"/>
                </a:cubicBezTo>
                <a:cubicBezTo>
                  <a:pt x="11615868" y="2482017"/>
                  <a:pt x="11613966" y="2497323"/>
                  <a:pt x="11602555" y="2506889"/>
                </a:cubicBezTo>
                <a:cubicBezTo>
                  <a:pt x="11602555" y="2506889"/>
                  <a:pt x="11602555" y="2506889"/>
                  <a:pt x="11271628" y="2759383"/>
                </a:cubicBezTo>
                <a:cubicBezTo>
                  <a:pt x="11260216" y="2767032"/>
                  <a:pt x="11245001" y="2765122"/>
                  <a:pt x="11235492" y="2755558"/>
                </a:cubicBezTo>
                <a:cubicBezTo>
                  <a:pt x="11233590" y="2749817"/>
                  <a:pt x="11231688" y="2745991"/>
                  <a:pt x="11231688" y="2740254"/>
                </a:cubicBezTo>
                <a:cubicBezTo>
                  <a:pt x="11231688" y="2732602"/>
                  <a:pt x="11235492" y="2724949"/>
                  <a:pt x="11241197" y="2719210"/>
                </a:cubicBezTo>
                <a:cubicBezTo>
                  <a:pt x="11241197" y="2719210"/>
                  <a:pt x="11241197" y="2719210"/>
                  <a:pt x="11574027" y="2466717"/>
                </a:cubicBezTo>
                <a:cubicBezTo>
                  <a:pt x="11578781" y="2462887"/>
                  <a:pt x="11585438" y="2461453"/>
                  <a:pt x="11591857" y="2462171"/>
                </a:cubicBezTo>
                <a:close/>
                <a:moveTo>
                  <a:pt x="7591001" y="2459079"/>
                </a:moveTo>
                <a:cubicBezTo>
                  <a:pt x="7598627" y="2460506"/>
                  <a:pt x="7605777" y="2464798"/>
                  <a:pt x="7610543" y="2471476"/>
                </a:cubicBezTo>
                <a:cubicBezTo>
                  <a:pt x="7620076" y="2484828"/>
                  <a:pt x="7616263" y="2501993"/>
                  <a:pt x="7602917" y="2511529"/>
                </a:cubicBezTo>
                <a:cubicBezTo>
                  <a:pt x="7602917" y="2511529"/>
                  <a:pt x="7602917" y="2511529"/>
                  <a:pt x="7267365" y="2738458"/>
                </a:cubicBezTo>
                <a:cubicBezTo>
                  <a:pt x="7254019" y="2747994"/>
                  <a:pt x="7234954" y="2744181"/>
                  <a:pt x="7227327" y="2730832"/>
                </a:cubicBezTo>
                <a:cubicBezTo>
                  <a:pt x="7223514" y="2727017"/>
                  <a:pt x="7221608" y="2721294"/>
                  <a:pt x="7221608" y="2715570"/>
                </a:cubicBezTo>
                <a:cubicBezTo>
                  <a:pt x="7221608" y="2706035"/>
                  <a:pt x="7225421" y="2696499"/>
                  <a:pt x="7234954" y="2690775"/>
                </a:cubicBezTo>
                <a:cubicBezTo>
                  <a:pt x="7234954" y="2690775"/>
                  <a:pt x="7234954" y="2690775"/>
                  <a:pt x="7568599" y="2463845"/>
                </a:cubicBezTo>
                <a:cubicBezTo>
                  <a:pt x="7575272" y="2459079"/>
                  <a:pt x="7583375" y="2457648"/>
                  <a:pt x="7591001" y="2459079"/>
                </a:cubicBezTo>
                <a:close/>
                <a:moveTo>
                  <a:pt x="12139750" y="2459059"/>
                </a:moveTo>
                <a:cubicBezTo>
                  <a:pt x="12139750" y="2459059"/>
                  <a:pt x="12139750" y="2459059"/>
                  <a:pt x="12139750" y="2529860"/>
                </a:cubicBezTo>
                <a:cubicBezTo>
                  <a:pt x="12139750" y="2529860"/>
                  <a:pt x="12139750" y="2529860"/>
                  <a:pt x="11834670" y="2738414"/>
                </a:cubicBezTo>
                <a:cubicBezTo>
                  <a:pt x="11821323" y="2747982"/>
                  <a:pt x="11802255" y="2744155"/>
                  <a:pt x="11792721" y="2730760"/>
                </a:cubicBezTo>
                <a:cubicBezTo>
                  <a:pt x="11788908" y="2726934"/>
                  <a:pt x="11788908" y="2721194"/>
                  <a:pt x="11788908" y="2715453"/>
                </a:cubicBezTo>
                <a:cubicBezTo>
                  <a:pt x="11788908" y="2705886"/>
                  <a:pt x="11792721" y="2696317"/>
                  <a:pt x="11800349" y="2690576"/>
                </a:cubicBezTo>
                <a:lnTo>
                  <a:pt x="12135937" y="2462887"/>
                </a:lnTo>
                <a:cubicBezTo>
                  <a:pt x="12137843" y="2460973"/>
                  <a:pt x="12137843" y="2460973"/>
                  <a:pt x="12139750" y="2459059"/>
                </a:cubicBezTo>
                <a:close/>
                <a:moveTo>
                  <a:pt x="7041900" y="2453933"/>
                </a:moveTo>
                <a:cubicBezTo>
                  <a:pt x="7050473" y="2456082"/>
                  <a:pt x="7058093" y="2461341"/>
                  <a:pt x="7062856" y="2468988"/>
                </a:cubicBezTo>
                <a:cubicBezTo>
                  <a:pt x="7072381" y="2486193"/>
                  <a:pt x="7066666" y="2507224"/>
                  <a:pt x="7051425" y="2516781"/>
                </a:cubicBezTo>
                <a:cubicBezTo>
                  <a:pt x="7051425" y="2516781"/>
                  <a:pt x="7051425" y="2516781"/>
                  <a:pt x="6714236" y="2719384"/>
                </a:cubicBezTo>
                <a:cubicBezTo>
                  <a:pt x="6698995" y="2728943"/>
                  <a:pt x="6678040" y="2723208"/>
                  <a:pt x="6668515" y="2706003"/>
                </a:cubicBezTo>
                <a:cubicBezTo>
                  <a:pt x="6664705" y="2702180"/>
                  <a:pt x="6662800" y="2694533"/>
                  <a:pt x="6662800" y="2688796"/>
                </a:cubicBezTo>
                <a:cubicBezTo>
                  <a:pt x="6662800" y="2677328"/>
                  <a:pt x="6668515" y="2665857"/>
                  <a:pt x="6679945" y="2660125"/>
                </a:cubicBezTo>
                <a:cubicBezTo>
                  <a:pt x="6679945" y="2660125"/>
                  <a:pt x="6679945" y="2660125"/>
                  <a:pt x="7015230" y="2457516"/>
                </a:cubicBezTo>
                <a:cubicBezTo>
                  <a:pt x="7023803" y="2452738"/>
                  <a:pt x="7033328" y="2451782"/>
                  <a:pt x="7041900" y="2453933"/>
                </a:cubicBezTo>
                <a:close/>
                <a:moveTo>
                  <a:pt x="6499365" y="2450542"/>
                </a:moveTo>
                <a:cubicBezTo>
                  <a:pt x="6508652" y="2453622"/>
                  <a:pt x="6516748" y="2460259"/>
                  <a:pt x="6521511" y="2469741"/>
                </a:cubicBezTo>
                <a:cubicBezTo>
                  <a:pt x="6531036" y="2488701"/>
                  <a:pt x="6523416" y="2511455"/>
                  <a:pt x="6506270" y="2520932"/>
                </a:cubicBezTo>
                <a:cubicBezTo>
                  <a:pt x="6506270" y="2520932"/>
                  <a:pt x="6506270" y="2520932"/>
                  <a:pt x="6167176" y="2697234"/>
                </a:cubicBezTo>
                <a:cubicBezTo>
                  <a:pt x="6148125" y="2706713"/>
                  <a:pt x="6125265" y="2699130"/>
                  <a:pt x="6115740" y="2680171"/>
                </a:cubicBezTo>
                <a:cubicBezTo>
                  <a:pt x="6111930" y="2674481"/>
                  <a:pt x="6111930" y="2668794"/>
                  <a:pt x="6111930" y="2663105"/>
                </a:cubicBezTo>
                <a:cubicBezTo>
                  <a:pt x="6111930" y="2649838"/>
                  <a:pt x="6119550" y="2636568"/>
                  <a:pt x="6130980" y="2628984"/>
                </a:cubicBezTo>
                <a:cubicBezTo>
                  <a:pt x="6130980" y="2628984"/>
                  <a:pt x="6130980" y="2628984"/>
                  <a:pt x="6470075" y="2452675"/>
                </a:cubicBezTo>
                <a:cubicBezTo>
                  <a:pt x="6479600" y="2447935"/>
                  <a:pt x="6490078" y="2447460"/>
                  <a:pt x="6499365" y="2450542"/>
                </a:cubicBezTo>
                <a:close/>
                <a:moveTo>
                  <a:pt x="5959672" y="2446994"/>
                </a:moveTo>
                <a:cubicBezTo>
                  <a:pt x="5969941" y="2450800"/>
                  <a:pt x="5978538" y="2458411"/>
                  <a:pt x="5983314" y="2468881"/>
                </a:cubicBezTo>
                <a:cubicBezTo>
                  <a:pt x="5992867" y="2491713"/>
                  <a:pt x="5983314" y="2516446"/>
                  <a:pt x="5962297" y="2525960"/>
                </a:cubicBezTo>
                <a:cubicBezTo>
                  <a:pt x="5962297" y="2525960"/>
                  <a:pt x="5962297" y="2525960"/>
                  <a:pt x="5620300" y="2676247"/>
                </a:cubicBezTo>
                <a:cubicBezTo>
                  <a:pt x="5599284" y="2687664"/>
                  <a:pt x="5574446" y="2676247"/>
                  <a:pt x="5564892" y="2655321"/>
                </a:cubicBezTo>
                <a:cubicBezTo>
                  <a:pt x="5561071" y="2649614"/>
                  <a:pt x="5561071" y="2643905"/>
                  <a:pt x="5561071" y="2638199"/>
                </a:cubicBezTo>
                <a:cubicBezTo>
                  <a:pt x="5561071" y="2621077"/>
                  <a:pt x="5570624" y="2605858"/>
                  <a:pt x="5585909" y="2598249"/>
                </a:cubicBezTo>
                <a:cubicBezTo>
                  <a:pt x="5585909" y="2598249"/>
                  <a:pt x="5585909" y="2598249"/>
                  <a:pt x="5925997" y="2447945"/>
                </a:cubicBezTo>
                <a:cubicBezTo>
                  <a:pt x="5937461" y="2443189"/>
                  <a:pt x="5949401" y="2443189"/>
                  <a:pt x="5959672" y="2446994"/>
                </a:cubicBezTo>
                <a:close/>
                <a:moveTo>
                  <a:pt x="399503" y="2446979"/>
                </a:moveTo>
                <a:cubicBezTo>
                  <a:pt x="410004" y="2450785"/>
                  <a:pt x="419073" y="2458395"/>
                  <a:pt x="423846" y="2468864"/>
                </a:cubicBezTo>
                <a:cubicBezTo>
                  <a:pt x="433392" y="2491693"/>
                  <a:pt x="423846" y="2516427"/>
                  <a:pt x="400935" y="2525942"/>
                </a:cubicBezTo>
                <a:cubicBezTo>
                  <a:pt x="400935" y="2525942"/>
                  <a:pt x="400935" y="2525942"/>
                  <a:pt x="61095" y="2676238"/>
                </a:cubicBezTo>
                <a:cubicBezTo>
                  <a:pt x="40093" y="2687652"/>
                  <a:pt x="13364" y="2676238"/>
                  <a:pt x="3818" y="2655311"/>
                </a:cubicBezTo>
                <a:cubicBezTo>
                  <a:pt x="1909" y="2649602"/>
                  <a:pt x="0" y="2643892"/>
                  <a:pt x="0" y="2638187"/>
                </a:cubicBezTo>
                <a:cubicBezTo>
                  <a:pt x="0" y="2621063"/>
                  <a:pt x="9546" y="2605844"/>
                  <a:pt x="26729" y="2598233"/>
                </a:cubicBezTo>
                <a:cubicBezTo>
                  <a:pt x="26729" y="2598233"/>
                  <a:pt x="26729" y="2598233"/>
                  <a:pt x="366569" y="2447930"/>
                </a:cubicBezTo>
                <a:cubicBezTo>
                  <a:pt x="377070" y="2443174"/>
                  <a:pt x="389002" y="2443174"/>
                  <a:pt x="399503" y="2446979"/>
                </a:cubicBezTo>
                <a:close/>
                <a:moveTo>
                  <a:pt x="5396620" y="2440131"/>
                </a:moveTo>
                <a:cubicBezTo>
                  <a:pt x="5414976" y="2441021"/>
                  <a:pt x="5431727" y="2453117"/>
                  <a:pt x="5438855" y="2471621"/>
                </a:cubicBezTo>
                <a:cubicBezTo>
                  <a:pt x="5448359" y="2496287"/>
                  <a:pt x="5435053" y="2522847"/>
                  <a:pt x="5410341" y="2532340"/>
                </a:cubicBezTo>
                <a:cubicBezTo>
                  <a:pt x="5410341" y="2532340"/>
                  <a:pt x="5410341" y="2532340"/>
                  <a:pt x="5070072" y="2657538"/>
                </a:cubicBezTo>
                <a:cubicBezTo>
                  <a:pt x="5045363" y="2667023"/>
                  <a:pt x="5018752" y="2653744"/>
                  <a:pt x="5009249" y="2629084"/>
                </a:cubicBezTo>
                <a:cubicBezTo>
                  <a:pt x="5007349" y="2623393"/>
                  <a:pt x="5005447" y="2617701"/>
                  <a:pt x="5005447" y="2613907"/>
                </a:cubicBezTo>
                <a:cubicBezTo>
                  <a:pt x="5005447" y="2593040"/>
                  <a:pt x="5018752" y="2575971"/>
                  <a:pt x="5037761" y="2568382"/>
                </a:cubicBezTo>
                <a:cubicBezTo>
                  <a:pt x="5037761" y="2568382"/>
                  <a:pt x="5037761" y="2568382"/>
                  <a:pt x="5378027" y="2443156"/>
                </a:cubicBezTo>
                <a:cubicBezTo>
                  <a:pt x="5384204" y="2440783"/>
                  <a:pt x="5390501" y="2439835"/>
                  <a:pt x="5396620" y="2440131"/>
                </a:cubicBezTo>
                <a:close/>
                <a:moveTo>
                  <a:pt x="930705" y="2440114"/>
                </a:moveTo>
                <a:cubicBezTo>
                  <a:pt x="949140" y="2441005"/>
                  <a:pt x="965965" y="2453100"/>
                  <a:pt x="973124" y="2471600"/>
                </a:cubicBezTo>
                <a:cubicBezTo>
                  <a:pt x="982669" y="2496265"/>
                  <a:pt x="969306" y="2522827"/>
                  <a:pt x="944487" y="2532315"/>
                </a:cubicBezTo>
                <a:cubicBezTo>
                  <a:pt x="944487" y="2532315"/>
                  <a:pt x="944487" y="2532315"/>
                  <a:pt x="602753" y="2657525"/>
                </a:cubicBezTo>
                <a:cubicBezTo>
                  <a:pt x="577934" y="2667012"/>
                  <a:pt x="551206" y="2653730"/>
                  <a:pt x="541661" y="2629070"/>
                </a:cubicBezTo>
                <a:cubicBezTo>
                  <a:pt x="539751" y="2623378"/>
                  <a:pt x="539751" y="2617686"/>
                  <a:pt x="539751" y="2613892"/>
                </a:cubicBezTo>
                <a:cubicBezTo>
                  <a:pt x="539751" y="2593022"/>
                  <a:pt x="551206" y="2575950"/>
                  <a:pt x="570297" y="2568362"/>
                </a:cubicBezTo>
                <a:cubicBezTo>
                  <a:pt x="570297" y="2568362"/>
                  <a:pt x="570297" y="2568362"/>
                  <a:pt x="912032" y="2443139"/>
                </a:cubicBezTo>
                <a:cubicBezTo>
                  <a:pt x="918236" y="2440766"/>
                  <a:pt x="924560" y="2439818"/>
                  <a:pt x="930705" y="2440114"/>
                </a:cubicBezTo>
                <a:close/>
                <a:moveTo>
                  <a:pt x="4847389" y="2434959"/>
                </a:moveTo>
                <a:cubicBezTo>
                  <a:pt x="4867872" y="2437373"/>
                  <a:pt x="4885400" y="2451323"/>
                  <a:pt x="4891125" y="2472791"/>
                </a:cubicBezTo>
                <a:cubicBezTo>
                  <a:pt x="4900664" y="2499505"/>
                  <a:pt x="4883491" y="2528123"/>
                  <a:pt x="4856779" y="2537664"/>
                </a:cubicBezTo>
                <a:cubicBezTo>
                  <a:pt x="4856779" y="2537664"/>
                  <a:pt x="4856779" y="2537664"/>
                  <a:pt x="4513402" y="2638759"/>
                </a:cubicBezTo>
                <a:cubicBezTo>
                  <a:pt x="4484786" y="2646389"/>
                  <a:pt x="4456170" y="2631129"/>
                  <a:pt x="4448539" y="2602516"/>
                </a:cubicBezTo>
                <a:cubicBezTo>
                  <a:pt x="4446631" y="2596792"/>
                  <a:pt x="4446631" y="2592978"/>
                  <a:pt x="4446631" y="2587256"/>
                </a:cubicBezTo>
                <a:cubicBezTo>
                  <a:pt x="4446631" y="2564370"/>
                  <a:pt x="4459985" y="2545294"/>
                  <a:pt x="4482878" y="2537664"/>
                </a:cubicBezTo>
                <a:cubicBezTo>
                  <a:pt x="4482878" y="2537664"/>
                  <a:pt x="4482878" y="2537664"/>
                  <a:pt x="4826251" y="2436537"/>
                </a:cubicBezTo>
                <a:cubicBezTo>
                  <a:pt x="4833406" y="2434630"/>
                  <a:pt x="4840562" y="2434152"/>
                  <a:pt x="4847389" y="2434959"/>
                </a:cubicBezTo>
                <a:close/>
                <a:moveTo>
                  <a:pt x="1482958" y="2434939"/>
                </a:moveTo>
                <a:cubicBezTo>
                  <a:pt x="1503168" y="2437354"/>
                  <a:pt x="1521768" y="2451305"/>
                  <a:pt x="1527491" y="2472769"/>
                </a:cubicBezTo>
                <a:cubicBezTo>
                  <a:pt x="1535122" y="2499479"/>
                  <a:pt x="1519860" y="2528097"/>
                  <a:pt x="1491245" y="2537636"/>
                </a:cubicBezTo>
                <a:cubicBezTo>
                  <a:pt x="1491245" y="2537636"/>
                  <a:pt x="1491245" y="2537636"/>
                  <a:pt x="1147861" y="2638743"/>
                </a:cubicBezTo>
                <a:cubicBezTo>
                  <a:pt x="1121153" y="2646373"/>
                  <a:pt x="1092538" y="2631113"/>
                  <a:pt x="1082999" y="2602496"/>
                </a:cubicBezTo>
                <a:cubicBezTo>
                  <a:pt x="1081092" y="2596773"/>
                  <a:pt x="1081092" y="2592957"/>
                  <a:pt x="1081092" y="2587234"/>
                </a:cubicBezTo>
                <a:cubicBezTo>
                  <a:pt x="1081092" y="2564343"/>
                  <a:pt x="1096353" y="2545267"/>
                  <a:pt x="1119245" y="2537636"/>
                </a:cubicBezTo>
                <a:cubicBezTo>
                  <a:pt x="1119245" y="2537636"/>
                  <a:pt x="1119245" y="2537636"/>
                  <a:pt x="1462630" y="2436519"/>
                </a:cubicBezTo>
                <a:cubicBezTo>
                  <a:pt x="1469307" y="2434611"/>
                  <a:pt x="1476222" y="2434134"/>
                  <a:pt x="1482958" y="2434939"/>
                </a:cubicBezTo>
                <a:close/>
                <a:moveTo>
                  <a:pt x="4270882" y="2431445"/>
                </a:moveTo>
                <a:cubicBezTo>
                  <a:pt x="4301300" y="2425730"/>
                  <a:pt x="4331719" y="2444781"/>
                  <a:pt x="4339323" y="2475264"/>
                </a:cubicBezTo>
                <a:cubicBezTo>
                  <a:pt x="4345027" y="2505752"/>
                  <a:pt x="4326015" y="2536235"/>
                  <a:pt x="4295596" y="2543855"/>
                </a:cubicBezTo>
                <a:cubicBezTo>
                  <a:pt x="4295596" y="2543855"/>
                  <a:pt x="4295596" y="2543855"/>
                  <a:pt x="3951515" y="2618134"/>
                </a:cubicBezTo>
                <a:cubicBezTo>
                  <a:pt x="3921097" y="2625754"/>
                  <a:pt x="3890680" y="2606707"/>
                  <a:pt x="3883074" y="2574330"/>
                </a:cubicBezTo>
                <a:cubicBezTo>
                  <a:pt x="3883074" y="2570518"/>
                  <a:pt x="3883074" y="2566710"/>
                  <a:pt x="3883074" y="2562902"/>
                </a:cubicBezTo>
                <a:cubicBezTo>
                  <a:pt x="3883074" y="2536235"/>
                  <a:pt x="3900185" y="2513371"/>
                  <a:pt x="3926800" y="2507657"/>
                </a:cubicBezTo>
                <a:cubicBezTo>
                  <a:pt x="3926800" y="2507657"/>
                  <a:pt x="3926800" y="2507657"/>
                  <a:pt x="4270882" y="2431445"/>
                </a:cubicBezTo>
                <a:close/>
                <a:moveTo>
                  <a:pt x="2016607" y="2431425"/>
                </a:moveTo>
                <a:cubicBezTo>
                  <a:pt x="2047026" y="2425710"/>
                  <a:pt x="2077447" y="2444760"/>
                  <a:pt x="2085053" y="2475241"/>
                </a:cubicBezTo>
                <a:cubicBezTo>
                  <a:pt x="2090755" y="2505723"/>
                  <a:pt x="2071744" y="2536204"/>
                  <a:pt x="2041322" y="2543824"/>
                </a:cubicBezTo>
                <a:cubicBezTo>
                  <a:pt x="2041322" y="2543824"/>
                  <a:pt x="2041322" y="2543824"/>
                  <a:pt x="1697222" y="2618115"/>
                </a:cubicBezTo>
                <a:cubicBezTo>
                  <a:pt x="1666804" y="2625735"/>
                  <a:pt x="1636386" y="2606686"/>
                  <a:pt x="1630683" y="2574302"/>
                </a:cubicBezTo>
                <a:cubicBezTo>
                  <a:pt x="1628782" y="2570493"/>
                  <a:pt x="1628782" y="2566683"/>
                  <a:pt x="1628782" y="2562874"/>
                </a:cubicBezTo>
                <a:cubicBezTo>
                  <a:pt x="1628782" y="2536204"/>
                  <a:pt x="1647793" y="2513343"/>
                  <a:pt x="1674409" y="2507628"/>
                </a:cubicBezTo>
                <a:cubicBezTo>
                  <a:pt x="1674409" y="2507628"/>
                  <a:pt x="1674409" y="2507628"/>
                  <a:pt x="2016607" y="2431425"/>
                </a:cubicBezTo>
                <a:close/>
                <a:moveTo>
                  <a:pt x="2799530" y="2428905"/>
                </a:moveTo>
                <a:cubicBezTo>
                  <a:pt x="2799530" y="2428905"/>
                  <a:pt x="2799530" y="2428905"/>
                  <a:pt x="3148602" y="2428905"/>
                </a:cubicBezTo>
                <a:cubicBezTo>
                  <a:pt x="3188659" y="2428905"/>
                  <a:pt x="3221084" y="2459456"/>
                  <a:pt x="3221084" y="2499561"/>
                </a:cubicBezTo>
                <a:cubicBezTo>
                  <a:pt x="3221084" y="2537751"/>
                  <a:pt x="3188659" y="2570203"/>
                  <a:pt x="3148602" y="2570203"/>
                </a:cubicBezTo>
                <a:cubicBezTo>
                  <a:pt x="3148602" y="2570203"/>
                  <a:pt x="3148602" y="2570203"/>
                  <a:pt x="2799530" y="2570203"/>
                </a:cubicBezTo>
                <a:cubicBezTo>
                  <a:pt x="2761381" y="2570203"/>
                  <a:pt x="2728954" y="2537751"/>
                  <a:pt x="2728954" y="2499561"/>
                </a:cubicBezTo>
                <a:cubicBezTo>
                  <a:pt x="2728954" y="2459456"/>
                  <a:pt x="2761381" y="2428905"/>
                  <a:pt x="2799530" y="2428905"/>
                </a:cubicBezTo>
                <a:close/>
                <a:moveTo>
                  <a:pt x="3713473" y="2424778"/>
                </a:moveTo>
                <a:cubicBezTo>
                  <a:pt x="3745884" y="2420965"/>
                  <a:pt x="3778291" y="2443829"/>
                  <a:pt x="3782104" y="2478123"/>
                </a:cubicBezTo>
                <a:cubicBezTo>
                  <a:pt x="3787825" y="2510515"/>
                  <a:pt x="3764947" y="2542901"/>
                  <a:pt x="3730631" y="2546711"/>
                </a:cubicBezTo>
                <a:cubicBezTo>
                  <a:pt x="3730631" y="2546711"/>
                  <a:pt x="3730631" y="2546711"/>
                  <a:pt x="3383700" y="2598132"/>
                </a:cubicBezTo>
                <a:cubicBezTo>
                  <a:pt x="3351291" y="2601943"/>
                  <a:pt x="3318884" y="2579088"/>
                  <a:pt x="3315070" y="2546711"/>
                </a:cubicBezTo>
                <a:cubicBezTo>
                  <a:pt x="3313164" y="2542901"/>
                  <a:pt x="3313164" y="2539091"/>
                  <a:pt x="3313164" y="2537188"/>
                </a:cubicBezTo>
                <a:cubicBezTo>
                  <a:pt x="3313164" y="2506705"/>
                  <a:pt x="3336042" y="2480031"/>
                  <a:pt x="3366541" y="2476218"/>
                </a:cubicBezTo>
                <a:cubicBezTo>
                  <a:pt x="3366541" y="2476218"/>
                  <a:pt x="3366541" y="2476218"/>
                  <a:pt x="3713473" y="2424778"/>
                </a:cubicBezTo>
                <a:close/>
                <a:moveTo>
                  <a:pt x="2578386" y="2424755"/>
                </a:moveTo>
                <a:cubicBezTo>
                  <a:pt x="2610794" y="2420945"/>
                  <a:pt x="2643201" y="2443806"/>
                  <a:pt x="2647013" y="2478098"/>
                </a:cubicBezTo>
                <a:cubicBezTo>
                  <a:pt x="2652731" y="2510483"/>
                  <a:pt x="2629856" y="2542867"/>
                  <a:pt x="2595543" y="2546678"/>
                </a:cubicBezTo>
                <a:cubicBezTo>
                  <a:pt x="2595543" y="2546678"/>
                  <a:pt x="2595543" y="2546678"/>
                  <a:pt x="2248597" y="2598110"/>
                </a:cubicBezTo>
                <a:cubicBezTo>
                  <a:pt x="2216190" y="2601920"/>
                  <a:pt x="2183783" y="2579061"/>
                  <a:pt x="2179970" y="2546678"/>
                </a:cubicBezTo>
                <a:cubicBezTo>
                  <a:pt x="2178063" y="2542867"/>
                  <a:pt x="2178063" y="2539057"/>
                  <a:pt x="2178063" y="2537153"/>
                </a:cubicBezTo>
                <a:cubicBezTo>
                  <a:pt x="2178063" y="2506672"/>
                  <a:pt x="2200939" y="2480001"/>
                  <a:pt x="2231440" y="2476192"/>
                </a:cubicBezTo>
                <a:cubicBezTo>
                  <a:pt x="2231440" y="2476192"/>
                  <a:pt x="2231440" y="2476192"/>
                  <a:pt x="2578386" y="2424755"/>
                </a:cubicBezTo>
                <a:close/>
                <a:moveTo>
                  <a:pt x="9856995" y="2158848"/>
                </a:moveTo>
                <a:cubicBezTo>
                  <a:pt x="9860561" y="2158848"/>
                  <a:pt x="9863889" y="2160276"/>
                  <a:pt x="9865791" y="2163134"/>
                </a:cubicBezTo>
                <a:cubicBezTo>
                  <a:pt x="9869594" y="2165038"/>
                  <a:pt x="9869594" y="2168849"/>
                  <a:pt x="9869594" y="2172659"/>
                </a:cubicBezTo>
                <a:cubicBezTo>
                  <a:pt x="9869594" y="2176469"/>
                  <a:pt x="9869594" y="2180278"/>
                  <a:pt x="9865791" y="2182184"/>
                </a:cubicBezTo>
                <a:cubicBezTo>
                  <a:pt x="9865791" y="2182184"/>
                  <a:pt x="9865791" y="2182184"/>
                  <a:pt x="9536809" y="2494604"/>
                </a:cubicBezTo>
                <a:cubicBezTo>
                  <a:pt x="9533005" y="2500320"/>
                  <a:pt x="9523497" y="2500320"/>
                  <a:pt x="9517792" y="2494604"/>
                </a:cubicBezTo>
                <a:cubicBezTo>
                  <a:pt x="9513989" y="2488889"/>
                  <a:pt x="9513989" y="2481268"/>
                  <a:pt x="9519694" y="2475555"/>
                </a:cubicBezTo>
                <a:cubicBezTo>
                  <a:pt x="9519694" y="2475555"/>
                  <a:pt x="9519694" y="2475555"/>
                  <a:pt x="9846774" y="2163134"/>
                </a:cubicBezTo>
                <a:cubicBezTo>
                  <a:pt x="9849627" y="2160276"/>
                  <a:pt x="9853430" y="2158848"/>
                  <a:pt x="9856995" y="2158848"/>
                </a:cubicBezTo>
                <a:close/>
                <a:moveTo>
                  <a:pt x="9280994" y="2152757"/>
                </a:moveTo>
                <a:cubicBezTo>
                  <a:pt x="9285526" y="2152995"/>
                  <a:pt x="9289819" y="2154905"/>
                  <a:pt x="9292682" y="2158723"/>
                </a:cubicBezTo>
                <a:cubicBezTo>
                  <a:pt x="9296499" y="2162540"/>
                  <a:pt x="9296499" y="2166358"/>
                  <a:pt x="9296499" y="2170175"/>
                </a:cubicBezTo>
                <a:cubicBezTo>
                  <a:pt x="9296499" y="2175900"/>
                  <a:pt x="9294591" y="2181628"/>
                  <a:pt x="9290774" y="2183535"/>
                </a:cubicBezTo>
                <a:cubicBezTo>
                  <a:pt x="9290774" y="2183535"/>
                  <a:pt x="9290774" y="2183535"/>
                  <a:pt x="8960635" y="2475567"/>
                </a:cubicBezTo>
                <a:cubicBezTo>
                  <a:pt x="8953002" y="2481289"/>
                  <a:pt x="8941552" y="2481289"/>
                  <a:pt x="8935827" y="2473653"/>
                </a:cubicBezTo>
                <a:cubicBezTo>
                  <a:pt x="8928194" y="2466019"/>
                  <a:pt x="8930102" y="2454566"/>
                  <a:pt x="8935827" y="2448839"/>
                </a:cubicBezTo>
                <a:cubicBezTo>
                  <a:pt x="8935827" y="2448839"/>
                  <a:pt x="8935827" y="2448839"/>
                  <a:pt x="9267874" y="2156814"/>
                </a:cubicBezTo>
                <a:cubicBezTo>
                  <a:pt x="9271691" y="2153949"/>
                  <a:pt x="9276462" y="2152518"/>
                  <a:pt x="9280994" y="2152757"/>
                </a:cubicBezTo>
                <a:close/>
                <a:moveTo>
                  <a:pt x="10441167" y="2152737"/>
                </a:moveTo>
                <a:cubicBezTo>
                  <a:pt x="10445695" y="2152975"/>
                  <a:pt x="10449985" y="2154884"/>
                  <a:pt x="10452845" y="2158701"/>
                </a:cubicBezTo>
                <a:cubicBezTo>
                  <a:pt x="10456658" y="2162518"/>
                  <a:pt x="10458565" y="2166335"/>
                  <a:pt x="10458565" y="2170154"/>
                </a:cubicBezTo>
                <a:cubicBezTo>
                  <a:pt x="10458565" y="2175879"/>
                  <a:pt x="10456658" y="2181605"/>
                  <a:pt x="10452845" y="2183515"/>
                </a:cubicBezTo>
                <a:cubicBezTo>
                  <a:pt x="10452845" y="2183515"/>
                  <a:pt x="10452845" y="2183515"/>
                  <a:pt x="10121085" y="2475541"/>
                </a:cubicBezTo>
                <a:cubicBezTo>
                  <a:pt x="10113459" y="2481266"/>
                  <a:pt x="10102019" y="2481266"/>
                  <a:pt x="10096299" y="2473632"/>
                </a:cubicBezTo>
                <a:cubicBezTo>
                  <a:pt x="10088672" y="2465997"/>
                  <a:pt x="10090579" y="2454545"/>
                  <a:pt x="10098205" y="2448819"/>
                </a:cubicBezTo>
                <a:cubicBezTo>
                  <a:pt x="10098205" y="2448819"/>
                  <a:pt x="10098205" y="2448819"/>
                  <a:pt x="10428058" y="2156792"/>
                </a:cubicBezTo>
                <a:cubicBezTo>
                  <a:pt x="10431871" y="2153930"/>
                  <a:pt x="10436638" y="2152497"/>
                  <a:pt x="10441167" y="2152737"/>
                </a:cubicBezTo>
                <a:close/>
                <a:moveTo>
                  <a:pt x="8711083" y="2147846"/>
                </a:moveTo>
                <a:cubicBezTo>
                  <a:pt x="8716565" y="2148561"/>
                  <a:pt x="8721808" y="2151431"/>
                  <a:pt x="8725621" y="2156214"/>
                </a:cubicBezTo>
                <a:cubicBezTo>
                  <a:pt x="8729434" y="2160039"/>
                  <a:pt x="8731341" y="2163866"/>
                  <a:pt x="8731341" y="2169603"/>
                </a:cubicBezTo>
                <a:cubicBezTo>
                  <a:pt x="8731341" y="2175340"/>
                  <a:pt x="8727528" y="2181077"/>
                  <a:pt x="8723715" y="2186815"/>
                </a:cubicBezTo>
                <a:cubicBezTo>
                  <a:pt x="8723715" y="2186815"/>
                  <a:pt x="8723715" y="2186815"/>
                  <a:pt x="8390055" y="2454587"/>
                </a:cubicBezTo>
                <a:cubicBezTo>
                  <a:pt x="8380522" y="2462239"/>
                  <a:pt x="8367176" y="2460324"/>
                  <a:pt x="8359549" y="2450760"/>
                </a:cubicBezTo>
                <a:cubicBezTo>
                  <a:pt x="8351923" y="2441196"/>
                  <a:pt x="8353830" y="2427807"/>
                  <a:pt x="8363363" y="2420157"/>
                </a:cubicBezTo>
                <a:cubicBezTo>
                  <a:pt x="8363363" y="2420157"/>
                  <a:pt x="8363363" y="2420157"/>
                  <a:pt x="8695115" y="2152388"/>
                </a:cubicBezTo>
                <a:cubicBezTo>
                  <a:pt x="8699881" y="2148561"/>
                  <a:pt x="8705601" y="2147128"/>
                  <a:pt x="8711083" y="2147846"/>
                </a:cubicBezTo>
                <a:close/>
                <a:moveTo>
                  <a:pt x="11019424" y="2147822"/>
                </a:moveTo>
                <a:cubicBezTo>
                  <a:pt x="11024883" y="2148539"/>
                  <a:pt x="11030104" y="2151408"/>
                  <a:pt x="11033901" y="2156190"/>
                </a:cubicBezTo>
                <a:cubicBezTo>
                  <a:pt x="11037698" y="2160015"/>
                  <a:pt x="11039597" y="2163840"/>
                  <a:pt x="11039597" y="2169578"/>
                </a:cubicBezTo>
                <a:cubicBezTo>
                  <a:pt x="11039597" y="2175316"/>
                  <a:pt x="11035800" y="2181054"/>
                  <a:pt x="11030104" y="2186792"/>
                </a:cubicBezTo>
                <a:cubicBezTo>
                  <a:pt x="11030104" y="2186792"/>
                  <a:pt x="11030104" y="2186792"/>
                  <a:pt x="10699740" y="2454563"/>
                </a:cubicBezTo>
                <a:cubicBezTo>
                  <a:pt x="10690247" y="2462214"/>
                  <a:pt x="10676956" y="2460301"/>
                  <a:pt x="10669362" y="2450738"/>
                </a:cubicBezTo>
                <a:cubicBezTo>
                  <a:pt x="10661767" y="2441175"/>
                  <a:pt x="10663666" y="2427786"/>
                  <a:pt x="10673159" y="2420136"/>
                </a:cubicBezTo>
                <a:cubicBezTo>
                  <a:pt x="10673159" y="2420136"/>
                  <a:pt x="10673159" y="2420136"/>
                  <a:pt x="11003523" y="2152364"/>
                </a:cubicBezTo>
                <a:cubicBezTo>
                  <a:pt x="11008269" y="2148539"/>
                  <a:pt x="11013965" y="2147105"/>
                  <a:pt x="11019424" y="2147822"/>
                </a:cubicBezTo>
                <a:close/>
                <a:moveTo>
                  <a:pt x="8148561" y="2143310"/>
                </a:moveTo>
                <a:cubicBezTo>
                  <a:pt x="8155228" y="2144265"/>
                  <a:pt x="8161420" y="2147601"/>
                  <a:pt x="8165230" y="2153323"/>
                </a:cubicBezTo>
                <a:cubicBezTo>
                  <a:pt x="8169040" y="2157139"/>
                  <a:pt x="8170945" y="2162858"/>
                  <a:pt x="8170945" y="2168580"/>
                </a:cubicBezTo>
                <a:cubicBezTo>
                  <a:pt x="8170945" y="2176207"/>
                  <a:pt x="8167135" y="2185745"/>
                  <a:pt x="8159515" y="2189556"/>
                </a:cubicBezTo>
                <a:cubicBezTo>
                  <a:pt x="8159515" y="2189556"/>
                  <a:pt x="8159515" y="2189556"/>
                  <a:pt x="7826135" y="2433651"/>
                </a:cubicBezTo>
                <a:cubicBezTo>
                  <a:pt x="7814705" y="2443186"/>
                  <a:pt x="7797560" y="2441279"/>
                  <a:pt x="7789940" y="2427930"/>
                </a:cubicBezTo>
                <a:cubicBezTo>
                  <a:pt x="7780415" y="2416487"/>
                  <a:pt x="7784225" y="2401228"/>
                  <a:pt x="7795655" y="2391692"/>
                </a:cubicBezTo>
                <a:cubicBezTo>
                  <a:pt x="7795655" y="2391692"/>
                  <a:pt x="7795655" y="2391692"/>
                  <a:pt x="8129034" y="2147602"/>
                </a:cubicBezTo>
                <a:cubicBezTo>
                  <a:pt x="8134749" y="2143784"/>
                  <a:pt x="8141893" y="2142354"/>
                  <a:pt x="8148561" y="2143310"/>
                </a:cubicBezTo>
                <a:close/>
                <a:moveTo>
                  <a:pt x="11593070" y="2143308"/>
                </a:moveTo>
                <a:cubicBezTo>
                  <a:pt x="11599505" y="2144262"/>
                  <a:pt x="11605702" y="2147600"/>
                  <a:pt x="11610468" y="2153320"/>
                </a:cubicBezTo>
                <a:cubicBezTo>
                  <a:pt x="11614281" y="2157135"/>
                  <a:pt x="11614281" y="2162856"/>
                  <a:pt x="11614281" y="2168577"/>
                </a:cubicBezTo>
                <a:cubicBezTo>
                  <a:pt x="11614281" y="2176205"/>
                  <a:pt x="11610468" y="2185741"/>
                  <a:pt x="11604748" y="2189556"/>
                </a:cubicBezTo>
                <a:cubicBezTo>
                  <a:pt x="11604748" y="2189556"/>
                  <a:pt x="11604748" y="2189556"/>
                  <a:pt x="11271096" y="2433649"/>
                </a:cubicBezTo>
                <a:cubicBezTo>
                  <a:pt x="11259657" y="2443183"/>
                  <a:pt x="11242497" y="2441278"/>
                  <a:pt x="11232964" y="2427928"/>
                </a:cubicBezTo>
                <a:cubicBezTo>
                  <a:pt x="11225338" y="2416484"/>
                  <a:pt x="11227245" y="2401226"/>
                  <a:pt x="11238684" y="2391689"/>
                </a:cubicBezTo>
                <a:cubicBezTo>
                  <a:pt x="11238684" y="2391689"/>
                  <a:pt x="11238684" y="2391689"/>
                  <a:pt x="11574243" y="2147600"/>
                </a:cubicBezTo>
                <a:cubicBezTo>
                  <a:pt x="11579963" y="2143784"/>
                  <a:pt x="11586636" y="2142354"/>
                  <a:pt x="11593070" y="2143308"/>
                </a:cubicBezTo>
                <a:close/>
                <a:moveTo>
                  <a:pt x="12139750" y="2139967"/>
                </a:moveTo>
                <a:cubicBezTo>
                  <a:pt x="12139750" y="2139967"/>
                  <a:pt x="12139750" y="2139967"/>
                  <a:pt x="12139750" y="2212438"/>
                </a:cubicBezTo>
                <a:cubicBezTo>
                  <a:pt x="12139750" y="2212438"/>
                  <a:pt x="12139750" y="2212438"/>
                  <a:pt x="11835489" y="2414592"/>
                </a:cubicBezTo>
                <a:cubicBezTo>
                  <a:pt x="11820276" y="2424130"/>
                  <a:pt x="11801260" y="2420316"/>
                  <a:pt x="11793653" y="2406965"/>
                </a:cubicBezTo>
                <a:cubicBezTo>
                  <a:pt x="11784145" y="2391705"/>
                  <a:pt x="11787948" y="2372634"/>
                  <a:pt x="11801260" y="2363100"/>
                </a:cubicBezTo>
                <a:lnTo>
                  <a:pt x="12135947" y="2141874"/>
                </a:lnTo>
                <a:cubicBezTo>
                  <a:pt x="12137848" y="2141874"/>
                  <a:pt x="12137848" y="2139967"/>
                  <a:pt x="12139750" y="2139967"/>
                </a:cubicBezTo>
                <a:close/>
                <a:moveTo>
                  <a:pt x="7591500" y="2137042"/>
                </a:moveTo>
                <a:cubicBezTo>
                  <a:pt x="7599120" y="2138712"/>
                  <a:pt x="7605788" y="2143488"/>
                  <a:pt x="7609598" y="2151126"/>
                </a:cubicBezTo>
                <a:cubicBezTo>
                  <a:pt x="7613408" y="2154944"/>
                  <a:pt x="7615313" y="2162582"/>
                  <a:pt x="7615313" y="2168310"/>
                </a:cubicBezTo>
                <a:cubicBezTo>
                  <a:pt x="7615313" y="2177854"/>
                  <a:pt x="7611503" y="2187402"/>
                  <a:pt x="7601978" y="2193129"/>
                </a:cubicBezTo>
                <a:cubicBezTo>
                  <a:pt x="7601978" y="2193129"/>
                  <a:pt x="7601978" y="2193129"/>
                  <a:pt x="7266693" y="2414586"/>
                </a:cubicBezTo>
                <a:cubicBezTo>
                  <a:pt x="7253358" y="2424132"/>
                  <a:pt x="7234308" y="2420313"/>
                  <a:pt x="7224783" y="2406948"/>
                </a:cubicBezTo>
                <a:cubicBezTo>
                  <a:pt x="7215258" y="2391672"/>
                  <a:pt x="7219068" y="2372581"/>
                  <a:pt x="7232403" y="2363036"/>
                </a:cubicBezTo>
                <a:cubicBezTo>
                  <a:pt x="7232403" y="2363036"/>
                  <a:pt x="7232403" y="2363036"/>
                  <a:pt x="7567687" y="2141577"/>
                </a:cubicBezTo>
                <a:cubicBezTo>
                  <a:pt x="7575307" y="2136802"/>
                  <a:pt x="7583880" y="2135369"/>
                  <a:pt x="7591500" y="2137042"/>
                </a:cubicBezTo>
                <a:close/>
                <a:moveTo>
                  <a:pt x="7042453" y="2131898"/>
                </a:moveTo>
                <a:cubicBezTo>
                  <a:pt x="7051053" y="2134287"/>
                  <a:pt x="7058696" y="2140032"/>
                  <a:pt x="7063473" y="2148647"/>
                </a:cubicBezTo>
                <a:cubicBezTo>
                  <a:pt x="7067295" y="2154388"/>
                  <a:pt x="7069206" y="2160130"/>
                  <a:pt x="7069206" y="2165871"/>
                </a:cubicBezTo>
                <a:cubicBezTo>
                  <a:pt x="7069206" y="2177352"/>
                  <a:pt x="7061562" y="2188835"/>
                  <a:pt x="7052008" y="2196489"/>
                </a:cubicBezTo>
                <a:cubicBezTo>
                  <a:pt x="7052008" y="2196489"/>
                  <a:pt x="7052008" y="2196489"/>
                  <a:pt x="6713777" y="2395511"/>
                </a:cubicBezTo>
                <a:cubicBezTo>
                  <a:pt x="6696579" y="2405078"/>
                  <a:pt x="6675559" y="2399339"/>
                  <a:pt x="6666004" y="2382111"/>
                </a:cubicBezTo>
                <a:cubicBezTo>
                  <a:pt x="6656450" y="2366802"/>
                  <a:pt x="6662182" y="2345751"/>
                  <a:pt x="6679381" y="2334271"/>
                </a:cubicBezTo>
                <a:cubicBezTo>
                  <a:pt x="6679381" y="2334271"/>
                  <a:pt x="6679381" y="2334271"/>
                  <a:pt x="7015700" y="2135246"/>
                </a:cubicBezTo>
                <a:cubicBezTo>
                  <a:pt x="7024300" y="2130463"/>
                  <a:pt x="7033854" y="2129506"/>
                  <a:pt x="7042453" y="2131898"/>
                </a:cubicBezTo>
                <a:close/>
                <a:moveTo>
                  <a:pt x="6500021" y="2128305"/>
                </a:moveTo>
                <a:cubicBezTo>
                  <a:pt x="6509301" y="2131404"/>
                  <a:pt x="6517391" y="2138081"/>
                  <a:pt x="6522150" y="2147621"/>
                </a:cubicBezTo>
                <a:cubicBezTo>
                  <a:pt x="6525957" y="2153344"/>
                  <a:pt x="6527861" y="2159065"/>
                  <a:pt x="6527861" y="2164788"/>
                </a:cubicBezTo>
                <a:cubicBezTo>
                  <a:pt x="6527861" y="2180046"/>
                  <a:pt x="6520246" y="2193396"/>
                  <a:pt x="6506921" y="2199117"/>
                </a:cubicBezTo>
                <a:cubicBezTo>
                  <a:pt x="6506921" y="2199117"/>
                  <a:pt x="6506921" y="2199117"/>
                  <a:pt x="6168083" y="2374582"/>
                </a:cubicBezTo>
                <a:cubicBezTo>
                  <a:pt x="6149047" y="2386027"/>
                  <a:pt x="6126204" y="2378398"/>
                  <a:pt x="6116686" y="2359325"/>
                </a:cubicBezTo>
                <a:cubicBezTo>
                  <a:pt x="6107168" y="2340253"/>
                  <a:pt x="6114782" y="2317365"/>
                  <a:pt x="6131914" y="2305910"/>
                </a:cubicBezTo>
                <a:cubicBezTo>
                  <a:pt x="6131914" y="2305910"/>
                  <a:pt x="6131914" y="2305910"/>
                  <a:pt x="6470753" y="2130452"/>
                </a:cubicBezTo>
                <a:cubicBezTo>
                  <a:pt x="6480271" y="2125684"/>
                  <a:pt x="6490741" y="2125207"/>
                  <a:pt x="6500021" y="2128305"/>
                </a:cubicBezTo>
                <a:close/>
                <a:moveTo>
                  <a:pt x="5959154" y="2123129"/>
                </a:moveTo>
                <a:cubicBezTo>
                  <a:pt x="5969385" y="2126931"/>
                  <a:pt x="5977952" y="2134540"/>
                  <a:pt x="5982710" y="2145011"/>
                </a:cubicBezTo>
                <a:cubicBezTo>
                  <a:pt x="5984614" y="2150717"/>
                  <a:pt x="5986518" y="2158328"/>
                  <a:pt x="5986518" y="2164036"/>
                </a:cubicBezTo>
                <a:cubicBezTo>
                  <a:pt x="5986518" y="2179257"/>
                  <a:pt x="5977000" y="2196381"/>
                  <a:pt x="5961771" y="2202088"/>
                </a:cubicBezTo>
                <a:cubicBezTo>
                  <a:pt x="5961771" y="2202088"/>
                  <a:pt x="5961771" y="2202088"/>
                  <a:pt x="5621031" y="2354289"/>
                </a:cubicBezTo>
                <a:cubicBezTo>
                  <a:pt x="5600091" y="2363801"/>
                  <a:pt x="5575344" y="2354289"/>
                  <a:pt x="5565827" y="2333361"/>
                </a:cubicBezTo>
                <a:cubicBezTo>
                  <a:pt x="5556309" y="2312431"/>
                  <a:pt x="5565827" y="2285786"/>
                  <a:pt x="5586767" y="2276282"/>
                </a:cubicBezTo>
                <a:cubicBezTo>
                  <a:pt x="5586767" y="2276282"/>
                  <a:pt x="5586767" y="2276282"/>
                  <a:pt x="5925602" y="2124078"/>
                </a:cubicBezTo>
                <a:cubicBezTo>
                  <a:pt x="5937024" y="2119323"/>
                  <a:pt x="5948922" y="2119323"/>
                  <a:pt x="5959154" y="2123129"/>
                </a:cubicBezTo>
                <a:close/>
                <a:moveTo>
                  <a:pt x="398983" y="2123125"/>
                </a:moveTo>
                <a:cubicBezTo>
                  <a:pt x="409445" y="2126931"/>
                  <a:pt x="418480" y="2134539"/>
                  <a:pt x="423236" y="2145008"/>
                </a:cubicBezTo>
                <a:cubicBezTo>
                  <a:pt x="425138" y="2150715"/>
                  <a:pt x="427040" y="2158327"/>
                  <a:pt x="427040" y="2164035"/>
                </a:cubicBezTo>
                <a:cubicBezTo>
                  <a:pt x="427040" y="2179255"/>
                  <a:pt x="417529" y="2196379"/>
                  <a:pt x="402311" y="2202084"/>
                </a:cubicBezTo>
                <a:cubicBezTo>
                  <a:pt x="402311" y="2202084"/>
                  <a:pt x="402311" y="2202084"/>
                  <a:pt x="61813" y="2354287"/>
                </a:cubicBezTo>
                <a:cubicBezTo>
                  <a:pt x="40889" y="2363801"/>
                  <a:pt x="16160" y="2354287"/>
                  <a:pt x="6649" y="2333359"/>
                </a:cubicBezTo>
                <a:cubicBezTo>
                  <a:pt x="-4765" y="2312430"/>
                  <a:pt x="4746" y="2285786"/>
                  <a:pt x="27573" y="2276282"/>
                </a:cubicBezTo>
                <a:cubicBezTo>
                  <a:pt x="27573" y="2276282"/>
                  <a:pt x="27573" y="2276282"/>
                  <a:pt x="366169" y="2124076"/>
                </a:cubicBezTo>
                <a:cubicBezTo>
                  <a:pt x="376632" y="2119322"/>
                  <a:pt x="388520" y="2119322"/>
                  <a:pt x="398983" y="2123125"/>
                </a:cubicBezTo>
                <a:close/>
                <a:moveTo>
                  <a:pt x="5396847" y="2116229"/>
                </a:moveTo>
                <a:cubicBezTo>
                  <a:pt x="5414924" y="2117027"/>
                  <a:pt x="5432463" y="2128747"/>
                  <a:pt x="5438190" y="2145804"/>
                </a:cubicBezTo>
                <a:cubicBezTo>
                  <a:pt x="5442009" y="2151490"/>
                  <a:pt x="5442009" y="2157173"/>
                  <a:pt x="5442009" y="2162858"/>
                </a:cubicBezTo>
                <a:cubicBezTo>
                  <a:pt x="5442009" y="2181807"/>
                  <a:pt x="5430554" y="2198859"/>
                  <a:pt x="5411464" y="2206436"/>
                </a:cubicBezTo>
                <a:cubicBezTo>
                  <a:pt x="5411464" y="2206436"/>
                  <a:pt x="5411464" y="2206436"/>
                  <a:pt x="5069728" y="2335278"/>
                </a:cubicBezTo>
                <a:cubicBezTo>
                  <a:pt x="5044912" y="2344747"/>
                  <a:pt x="5018187" y="2333383"/>
                  <a:pt x="5008642" y="2308745"/>
                </a:cubicBezTo>
                <a:cubicBezTo>
                  <a:pt x="4999097" y="2284110"/>
                  <a:pt x="5012460" y="2257593"/>
                  <a:pt x="5037275" y="2248119"/>
                </a:cubicBezTo>
                <a:cubicBezTo>
                  <a:pt x="5037275" y="2248119"/>
                  <a:pt x="5037275" y="2248119"/>
                  <a:pt x="5379009" y="2119278"/>
                </a:cubicBezTo>
                <a:cubicBezTo>
                  <a:pt x="5384737" y="2116909"/>
                  <a:pt x="5390821" y="2115962"/>
                  <a:pt x="5396847" y="2116229"/>
                </a:cubicBezTo>
                <a:close/>
                <a:moveTo>
                  <a:pt x="930370" y="2116224"/>
                </a:moveTo>
                <a:cubicBezTo>
                  <a:pt x="948819" y="2117027"/>
                  <a:pt x="965655" y="2128747"/>
                  <a:pt x="972820" y="2145802"/>
                </a:cubicBezTo>
                <a:cubicBezTo>
                  <a:pt x="974730" y="2151487"/>
                  <a:pt x="974730" y="2157173"/>
                  <a:pt x="974730" y="2162856"/>
                </a:cubicBezTo>
                <a:cubicBezTo>
                  <a:pt x="974730" y="2181804"/>
                  <a:pt x="963267" y="2198857"/>
                  <a:pt x="944162" y="2206434"/>
                </a:cubicBezTo>
                <a:cubicBezTo>
                  <a:pt x="944162" y="2206434"/>
                  <a:pt x="944162" y="2206434"/>
                  <a:pt x="602179" y="2335276"/>
                </a:cubicBezTo>
                <a:cubicBezTo>
                  <a:pt x="579252" y="2344745"/>
                  <a:pt x="550595" y="2333380"/>
                  <a:pt x="542953" y="2308745"/>
                </a:cubicBezTo>
                <a:cubicBezTo>
                  <a:pt x="533400" y="2284110"/>
                  <a:pt x="544863" y="2257591"/>
                  <a:pt x="569700" y="2248116"/>
                </a:cubicBezTo>
                <a:cubicBezTo>
                  <a:pt x="569700" y="2248116"/>
                  <a:pt x="569700" y="2248116"/>
                  <a:pt x="911683" y="2119276"/>
                </a:cubicBezTo>
                <a:cubicBezTo>
                  <a:pt x="917892" y="2116906"/>
                  <a:pt x="924221" y="2115959"/>
                  <a:pt x="930370" y="2116224"/>
                </a:cubicBezTo>
                <a:close/>
                <a:moveTo>
                  <a:pt x="4845975" y="2110281"/>
                </a:moveTo>
                <a:cubicBezTo>
                  <a:pt x="4865754" y="2111881"/>
                  <a:pt x="4883652" y="2125767"/>
                  <a:pt x="4890814" y="2147142"/>
                </a:cubicBezTo>
                <a:cubicBezTo>
                  <a:pt x="4892723" y="2150943"/>
                  <a:pt x="4892723" y="2156641"/>
                  <a:pt x="4892723" y="2162340"/>
                </a:cubicBezTo>
                <a:cubicBezTo>
                  <a:pt x="4892723" y="2183235"/>
                  <a:pt x="4879357" y="2204129"/>
                  <a:pt x="4856445" y="2209828"/>
                </a:cubicBezTo>
                <a:cubicBezTo>
                  <a:pt x="4856445" y="2209828"/>
                  <a:pt x="4856445" y="2209828"/>
                  <a:pt x="4512821" y="2316199"/>
                </a:cubicBezTo>
                <a:cubicBezTo>
                  <a:pt x="4486097" y="2325699"/>
                  <a:pt x="4457461" y="2310497"/>
                  <a:pt x="4449824" y="2283899"/>
                </a:cubicBezTo>
                <a:cubicBezTo>
                  <a:pt x="4440279" y="2255416"/>
                  <a:pt x="4455552" y="2226923"/>
                  <a:pt x="4482278" y="2219324"/>
                </a:cubicBezTo>
                <a:cubicBezTo>
                  <a:pt x="4482278" y="2219324"/>
                  <a:pt x="4482278" y="2219324"/>
                  <a:pt x="4825898" y="2112951"/>
                </a:cubicBezTo>
                <a:cubicBezTo>
                  <a:pt x="4832581" y="2110576"/>
                  <a:pt x="4839383" y="2109746"/>
                  <a:pt x="4845975" y="2110281"/>
                </a:cubicBezTo>
                <a:close/>
                <a:moveTo>
                  <a:pt x="1482447" y="2110278"/>
                </a:moveTo>
                <a:cubicBezTo>
                  <a:pt x="1502079" y="2111879"/>
                  <a:pt x="1519569" y="2125767"/>
                  <a:pt x="1525280" y="2147139"/>
                </a:cubicBezTo>
                <a:cubicBezTo>
                  <a:pt x="1527184" y="2150938"/>
                  <a:pt x="1527184" y="2156638"/>
                  <a:pt x="1527184" y="2162337"/>
                </a:cubicBezTo>
                <a:cubicBezTo>
                  <a:pt x="1527184" y="2183231"/>
                  <a:pt x="1513858" y="2204128"/>
                  <a:pt x="1492917" y="2209825"/>
                </a:cubicBezTo>
                <a:cubicBezTo>
                  <a:pt x="1492917" y="2209825"/>
                  <a:pt x="1492917" y="2209825"/>
                  <a:pt x="1150255" y="2316198"/>
                </a:cubicBezTo>
                <a:cubicBezTo>
                  <a:pt x="1123603" y="2325698"/>
                  <a:pt x="1093145" y="2310497"/>
                  <a:pt x="1085530" y="2283899"/>
                </a:cubicBezTo>
                <a:cubicBezTo>
                  <a:pt x="1077915" y="2255414"/>
                  <a:pt x="1093145" y="2226922"/>
                  <a:pt x="1119796" y="2219322"/>
                </a:cubicBezTo>
                <a:cubicBezTo>
                  <a:pt x="1119796" y="2219322"/>
                  <a:pt x="1119796" y="2219322"/>
                  <a:pt x="1462458" y="2112949"/>
                </a:cubicBezTo>
                <a:cubicBezTo>
                  <a:pt x="1469121" y="2110574"/>
                  <a:pt x="1475903" y="2109743"/>
                  <a:pt x="1482447" y="2110278"/>
                </a:cubicBezTo>
                <a:close/>
                <a:moveTo>
                  <a:pt x="4292467" y="2106615"/>
                </a:moveTo>
                <a:cubicBezTo>
                  <a:pt x="4314317" y="2109639"/>
                  <a:pt x="4332943" y="2124921"/>
                  <a:pt x="4338673" y="2147679"/>
                </a:cubicBezTo>
                <a:cubicBezTo>
                  <a:pt x="4338673" y="2151471"/>
                  <a:pt x="4338673" y="2157159"/>
                  <a:pt x="4338673" y="2160953"/>
                </a:cubicBezTo>
                <a:cubicBezTo>
                  <a:pt x="4338673" y="2185604"/>
                  <a:pt x="4321480" y="2208355"/>
                  <a:pt x="4296646" y="2214045"/>
                </a:cubicBezTo>
                <a:cubicBezTo>
                  <a:pt x="4296646" y="2214045"/>
                  <a:pt x="4296646" y="2214045"/>
                  <a:pt x="3952805" y="2297470"/>
                </a:cubicBezTo>
                <a:cubicBezTo>
                  <a:pt x="3922240" y="2305056"/>
                  <a:pt x="3891674" y="2286090"/>
                  <a:pt x="3884033" y="2257656"/>
                </a:cubicBezTo>
                <a:cubicBezTo>
                  <a:pt x="3878302" y="2227319"/>
                  <a:pt x="3895495" y="2196980"/>
                  <a:pt x="3926060" y="2191291"/>
                </a:cubicBezTo>
                <a:cubicBezTo>
                  <a:pt x="3926060" y="2191291"/>
                  <a:pt x="3926060" y="2191291"/>
                  <a:pt x="4269902" y="2107861"/>
                </a:cubicBezTo>
                <a:cubicBezTo>
                  <a:pt x="4277543" y="2105963"/>
                  <a:pt x="4285185" y="2105609"/>
                  <a:pt x="4292467" y="2106615"/>
                </a:cubicBezTo>
                <a:close/>
                <a:moveTo>
                  <a:pt x="2038710" y="2106612"/>
                </a:moveTo>
                <a:cubicBezTo>
                  <a:pt x="2059743" y="2109634"/>
                  <a:pt x="2078355" y="2124921"/>
                  <a:pt x="2084082" y="2147677"/>
                </a:cubicBezTo>
                <a:cubicBezTo>
                  <a:pt x="2084082" y="2151470"/>
                  <a:pt x="2085991" y="2157159"/>
                  <a:pt x="2085991" y="2160951"/>
                </a:cubicBezTo>
                <a:cubicBezTo>
                  <a:pt x="2085991" y="2185601"/>
                  <a:pt x="2068810" y="2208353"/>
                  <a:pt x="2043989" y="2214042"/>
                </a:cubicBezTo>
                <a:cubicBezTo>
                  <a:pt x="2043989" y="2214042"/>
                  <a:pt x="2043989" y="2214042"/>
                  <a:pt x="1698467" y="2297470"/>
                </a:cubicBezTo>
                <a:cubicBezTo>
                  <a:pt x="1667924" y="2305056"/>
                  <a:pt x="1639290" y="2286090"/>
                  <a:pt x="1631654" y="2257654"/>
                </a:cubicBezTo>
                <a:cubicBezTo>
                  <a:pt x="1624018" y="2227317"/>
                  <a:pt x="1643107" y="2196977"/>
                  <a:pt x="1671742" y="2191289"/>
                </a:cubicBezTo>
                <a:cubicBezTo>
                  <a:pt x="1671742" y="2191289"/>
                  <a:pt x="1671742" y="2191289"/>
                  <a:pt x="2017264" y="2107857"/>
                </a:cubicBezTo>
                <a:cubicBezTo>
                  <a:pt x="2024422" y="2105960"/>
                  <a:pt x="2031700" y="2105605"/>
                  <a:pt x="2038710" y="2106612"/>
                </a:cubicBezTo>
                <a:close/>
                <a:moveTo>
                  <a:pt x="3734742" y="2101215"/>
                </a:moveTo>
                <a:cubicBezTo>
                  <a:pt x="3757307" y="2105947"/>
                  <a:pt x="3775574" y="2124878"/>
                  <a:pt x="3779871" y="2149168"/>
                </a:cubicBezTo>
                <a:cubicBezTo>
                  <a:pt x="3779871" y="2152977"/>
                  <a:pt x="3779871" y="2156787"/>
                  <a:pt x="3779871" y="2158693"/>
                </a:cubicBezTo>
                <a:cubicBezTo>
                  <a:pt x="3779871" y="2187267"/>
                  <a:pt x="3760769" y="2212031"/>
                  <a:pt x="3732116" y="2217746"/>
                </a:cubicBezTo>
                <a:cubicBezTo>
                  <a:pt x="3732116" y="2217746"/>
                  <a:pt x="3732116" y="2217746"/>
                  <a:pt x="3384469" y="2278704"/>
                </a:cubicBezTo>
                <a:cubicBezTo>
                  <a:pt x="3351994" y="2284415"/>
                  <a:pt x="3321432" y="2263466"/>
                  <a:pt x="3315701" y="2231081"/>
                </a:cubicBezTo>
                <a:cubicBezTo>
                  <a:pt x="3309970" y="2198696"/>
                  <a:pt x="3330982" y="2166313"/>
                  <a:pt x="3363456" y="2160598"/>
                </a:cubicBezTo>
                <a:cubicBezTo>
                  <a:pt x="3363456" y="2160598"/>
                  <a:pt x="3363456" y="2160598"/>
                  <a:pt x="3711103" y="2101543"/>
                </a:cubicBezTo>
                <a:cubicBezTo>
                  <a:pt x="3719222" y="2099638"/>
                  <a:pt x="3727221" y="2099638"/>
                  <a:pt x="3734742" y="2101215"/>
                </a:cubicBezTo>
                <a:close/>
                <a:moveTo>
                  <a:pt x="2601252" y="2101212"/>
                </a:moveTo>
                <a:cubicBezTo>
                  <a:pt x="2623816" y="2105945"/>
                  <a:pt x="2642082" y="2124875"/>
                  <a:pt x="2646380" y="2149163"/>
                </a:cubicBezTo>
                <a:cubicBezTo>
                  <a:pt x="2646380" y="2152974"/>
                  <a:pt x="2646380" y="2156785"/>
                  <a:pt x="2646380" y="2158690"/>
                </a:cubicBezTo>
                <a:cubicBezTo>
                  <a:pt x="2646380" y="2187265"/>
                  <a:pt x="2627278" y="2212029"/>
                  <a:pt x="2596716" y="2217744"/>
                </a:cubicBezTo>
                <a:cubicBezTo>
                  <a:pt x="2596716" y="2217744"/>
                  <a:pt x="2596716" y="2217744"/>
                  <a:pt x="2250972" y="2278703"/>
                </a:cubicBezTo>
                <a:cubicBezTo>
                  <a:pt x="2218499" y="2284415"/>
                  <a:pt x="2187936" y="2263464"/>
                  <a:pt x="2182206" y="2231079"/>
                </a:cubicBezTo>
                <a:cubicBezTo>
                  <a:pt x="2176475" y="2198694"/>
                  <a:pt x="2197487" y="2166309"/>
                  <a:pt x="2229960" y="2160595"/>
                </a:cubicBezTo>
                <a:cubicBezTo>
                  <a:pt x="2229960" y="2160595"/>
                  <a:pt x="2229960" y="2160595"/>
                  <a:pt x="2577613" y="2101540"/>
                </a:cubicBezTo>
                <a:cubicBezTo>
                  <a:pt x="2585732" y="2099635"/>
                  <a:pt x="2593731" y="2099635"/>
                  <a:pt x="2601252" y="2101212"/>
                </a:cubicBezTo>
                <a:close/>
                <a:moveTo>
                  <a:pt x="3141099" y="2094548"/>
                </a:moveTo>
                <a:cubicBezTo>
                  <a:pt x="3177271" y="2090745"/>
                  <a:pt x="3207731" y="2117365"/>
                  <a:pt x="3211538" y="2151594"/>
                </a:cubicBezTo>
                <a:cubicBezTo>
                  <a:pt x="3211538" y="2153495"/>
                  <a:pt x="3211538" y="2157296"/>
                  <a:pt x="3211538" y="2159200"/>
                </a:cubicBezTo>
                <a:cubicBezTo>
                  <a:pt x="3211538" y="2191527"/>
                  <a:pt x="3188693" y="2218146"/>
                  <a:pt x="3156330" y="2221949"/>
                </a:cubicBezTo>
                <a:cubicBezTo>
                  <a:pt x="3156330" y="2221949"/>
                  <a:pt x="3156330" y="2221949"/>
                  <a:pt x="2807941" y="2259980"/>
                </a:cubicBezTo>
                <a:cubicBezTo>
                  <a:pt x="2773673" y="2263780"/>
                  <a:pt x="2741309" y="2239063"/>
                  <a:pt x="2737501" y="2202934"/>
                </a:cubicBezTo>
                <a:cubicBezTo>
                  <a:pt x="2733694" y="2168708"/>
                  <a:pt x="2760347" y="2136380"/>
                  <a:pt x="2794614" y="2132575"/>
                </a:cubicBezTo>
                <a:cubicBezTo>
                  <a:pt x="2794614" y="2132575"/>
                  <a:pt x="2794614" y="2132575"/>
                  <a:pt x="3141099" y="2094548"/>
                </a:cubicBezTo>
                <a:close/>
                <a:moveTo>
                  <a:pt x="9859129" y="1839997"/>
                </a:moveTo>
                <a:cubicBezTo>
                  <a:pt x="9863412" y="1840234"/>
                  <a:pt x="9867694" y="1842138"/>
                  <a:pt x="9870549" y="1845944"/>
                </a:cubicBezTo>
                <a:cubicBezTo>
                  <a:pt x="9872453" y="1847847"/>
                  <a:pt x="9874356" y="1851654"/>
                  <a:pt x="9874356" y="1857363"/>
                </a:cubicBezTo>
                <a:cubicBezTo>
                  <a:pt x="9874356" y="1861170"/>
                  <a:pt x="9872453" y="1864976"/>
                  <a:pt x="9868646" y="1868782"/>
                </a:cubicBezTo>
                <a:cubicBezTo>
                  <a:pt x="9868646" y="1868782"/>
                  <a:pt x="9868646" y="1868782"/>
                  <a:pt x="9539364" y="2165681"/>
                </a:cubicBezTo>
                <a:cubicBezTo>
                  <a:pt x="9531751" y="2173295"/>
                  <a:pt x="9522234" y="2171391"/>
                  <a:pt x="9516524" y="2165681"/>
                </a:cubicBezTo>
                <a:cubicBezTo>
                  <a:pt x="9510814" y="2158069"/>
                  <a:pt x="9510814" y="2148551"/>
                  <a:pt x="9516524" y="2142843"/>
                </a:cubicBezTo>
                <a:cubicBezTo>
                  <a:pt x="9516524" y="2142843"/>
                  <a:pt x="9516524" y="2142843"/>
                  <a:pt x="9847709" y="1844041"/>
                </a:cubicBezTo>
                <a:cubicBezTo>
                  <a:pt x="9850564" y="1841186"/>
                  <a:pt x="9854847" y="1839759"/>
                  <a:pt x="9859129" y="1839997"/>
                </a:cubicBezTo>
                <a:close/>
                <a:moveTo>
                  <a:pt x="9281354" y="1833512"/>
                </a:moveTo>
                <a:cubicBezTo>
                  <a:pt x="9286350" y="1834227"/>
                  <a:pt x="9291109" y="1837084"/>
                  <a:pt x="9293964" y="1841846"/>
                </a:cubicBezTo>
                <a:cubicBezTo>
                  <a:pt x="9297771" y="1843751"/>
                  <a:pt x="9299674" y="1849467"/>
                  <a:pt x="9299674" y="1853277"/>
                </a:cubicBezTo>
                <a:cubicBezTo>
                  <a:pt x="9299674" y="1858992"/>
                  <a:pt x="9297771" y="1864707"/>
                  <a:pt x="9292060" y="1868517"/>
                </a:cubicBezTo>
                <a:cubicBezTo>
                  <a:pt x="9292060" y="1868517"/>
                  <a:pt x="9292060" y="1868517"/>
                  <a:pt x="8960867" y="2146642"/>
                </a:cubicBezTo>
                <a:cubicBezTo>
                  <a:pt x="8953254" y="2154263"/>
                  <a:pt x="8939930" y="2152359"/>
                  <a:pt x="8932316" y="2144739"/>
                </a:cubicBezTo>
                <a:cubicBezTo>
                  <a:pt x="8926606" y="2135209"/>
                  <a:pt x="8926606" y="2123779"/>
                  <a:pt x="8936123" y="2116162"/>
                </a:cubicBezTo>
                <a:cubicBezTo>
                  <a:pt x="8936123" y="2116162"/>
                  <a:pt x="8936123" y="2116162"/>
                  <a:pt x="9267316" y="1838036"/>
                </a:cubicBezTo>
                <a:cubicBezTo>
                  <a:pt x="9271123" y="1834227"/>
                  <a:pt x="9276358" y="1832798"/>
                  <a:pt x="9281354" y="1833512"/>
                </a:cubicBezTo>
                <a:close/>
                <a:moveTo>
                  <a:pt x="10443580" y="1833487"/>
                </a:moveTo>
                <a:cubicBezTo>
                  <a:pt x="10448836" y="1834202"/>
                  <a:pt x="10454093" y="1837059"/>
                  <a:pt x="10457916" y="1841822"/>
                </a:cubicBezTo>
                <a:cubicBezTo>
                  <a:pt x="10459827" y="1843727"/>
                  <a:pt x="10461739" y="1849442"/>
                  <a:pt x="10461739" y="1853252"/>
                </a:cubicBezTo>
                <a:cubicBezTo>
                  <a:pt x="10461739" y="1858967"/>
                  <a:pt x="10459827" y="1864682"/>
                  <a:pt x="10454093" y="1868492"/>
                </a:cubicBezTo>
                <a:cubicBezTo>
                  <a:pt x="10454093" y="1868492"/>
                  <a:pt x="10454093" y="1868492"/>
                  <a:pt x="10121491" y="2146621"/>
                </a:cubicBezTo>
                <a:cubicBezTo>
                  <a:pt x="10113845" y="2154242"/>
                  <a:pt x="10100465" y="2152337"/>
                  <a:pt x="10094730" y="2144715"/>
                </a:cubicBezTo>
                <a:cubicBezTo>
                  <a:pt x="10087084" y="2135191"/>
                  <a:pt x="10087084" y="2123761"/>
                  <a:pt x="10096642" y="2116141"/>
                </a:cubicBezTo>
                <a:cubicBezTo>
                  <a:pt x="10096642" y="2116141"/>
                  <a:pt x="10096642" y="2116141"/>
                  <a:pt x="10429243" y="1838012"/>
                </a:cubicBezTo>
                <a:cubicBezTo>
                  <a:pt x="10433066" y="1834202"/>
                  <a:pt x="10438323" y="1832773"/>
                  <a:pt x="10443580" y="1833487"/>
                </a:cubicBezTo>
                <a:close/>
                <a:moveTo>
                  <a:pt x="8711664" y="1828739"/>
                </a:moveTo>
                <a:cubicBezTo>
                  <a:pt x="8717637" y="1829451"/>
                  <a:pt x="8723372" y="1832300"/>
                  <a:pt x="8727194" y="1837048"/>
                </a:cubicBezTo>
                <a:cubicBezTo>
                  <a:pt x="8731017" y="1842746"/>
                  <a:pt x="8732928" y="1846544"/>
                  <a:pt x="8732928" y="1852242"/>
                </a:cubicBezTo>
                <a:cubicBezTo>
                  <a:pt x="8732928" y="1859838"/>
                  <a:pt x="8729105" y="1867435"/>
                  <a:pt x="8723371" y="1871234"/>
                </a:cubicBezTo>
                <a:cubicBezTo>
                  <a:pt x="8723371" y="1871234"/>
                  <a:pt x="8723371" y="1871234"/>
                  <a:pt x="8390798" y="2127610"/>
                </a:cubicBezTo>
                <a:cubicBezTo>
                  <a:pt x="8379329" y="2135209"/>
                  <a:pt x="8364039" y="2133307"/>
                  <a:pt x="8356393" y="2123813"/>
                </a:cubicBezTo>
                <a:cubicBezTo>
                  <a:pt x="8348748" y="2112426"/>
                  <a:pt x="8350659" y="2097231"/>
                  <a:pt x="8360216" y="2089634"/>
                </a:cubicBezTo>
                <a:cubicBezTo>
                  <a:pt x="8360216" y="2089634"/>
                  <a:pt x="8360216" y="2089634"/>
                  <a:pt x="8694701" y="1833250"/>
                </a:cubicBezTo>
                <a:cubicBezTo>
                  <a:pt x="8699479" y="1829451"/>
                  <a:pt x="8705691" y="1828027"/>
                  <a:pt x="8711664" y="1828739"/>
                </a:cubicBezTo>
                <a:close/>
                <a:moveTo>
                  <a:pt x="11021508" y="1828712"/>
                </a:moveTo>
                <a:cubicBezTo>
                  <a:pt x="11027482" y="1829424"/>
                  <a:pt x="11033216" y="1832273"/>
                  <a:pt x="11037038" y="1837021"/>
                </a:cubicBezTo>
                <a:cubicBezTo>
                  <a:pt x="11040861" y="1842718"/>
                  <a:pt x="11042772" y="1846517"/>
                  <a:pt x="11042772" y="1852214"/>
                </a:cubicBezTo>
                <a:cubicBezTo>
                  <a:pt x="11042772" y="1859811"/>
                  <a:pt x="11038949" y="1867408"/>
                  <a:pt x="11033215" y="1871206"/>
                </a:cubicBezTo>
                <a:cubicBezTo>
                  <a:pt x="11033215" y="1871206"/>
                  <a:pt x="11033215" y="1871206"/>
                  <a:pt x="10698730" y="2127592"/>
                </a:cubicBezTo>
                <a:cubicBezTo>
                  <a:pt x="10689173" y="2135189"/>
                  <a:pt x="10673883" y="2133290"/>
                  <a:pt x="10666237" y="2123794"/>
                </a:cubicBezTo>
                <a:cubicBezTo>
                  <a:pt x="10658592" y="2112399"/>
                  <a:pt x="10660503" y="2097206"/>
                  <a:pt x="10670060" y="2089609"/>
                </a:cubicBezTo>
                <a:cubicBezTo>
                  <a:pt x="10670060" y="2089609"/>
                  <a:pt x="10670060" y="2089609"/>
                  <a:pt x="11004545" y="1833223"/>
                </a:cubicBezTo>
                <a:cubicBezTo>
                  <a:pt x="11009324" y="1829424"/>
                  <a:pt x="11015536" y="1828000"/>
                  <a:pt x="11021508" y="1828712"/>
                </a:cubicBezTo>
                <a:close/>
                <a:moveTo>
                  <a:pt x="8148424" y="1822231"/>
                </a:moveTo>
                <a:cubicBezTo>
                  <a:pt x="8155346" y="1823419"/>
                  <a:pt x="8162030" y="1827221"/>
                  <a:pt x="8166804" y="1832924"/>
                </a:cubicBezTo>
                <a:cubicBezTo>
                  <a:pt x="8170623" y="1838626"/>
                  <a:pt x="8172533" y="1844330"/>
                  <a:pt x="8172533" y="1850033"/>
                </a:cubicBezTo>
                <a:cubicBezTo>
                  <a:pt x="8172533" y="1857637"/>
                  <a:pt x="8168714" y="1867142"/>
                  <a:pt x="8161075" y="1872844"/>
                </a:cubicBezTo>
                <a:cubicBezTo>
                  <a:pt x="8161075" y="1872844"/>
                  <a:pt x="8161075" y="1872844"/>
                  <a:pt x="7824980" y="2108561"/>
                </a:cubicBezTo>
                <a:cubicBezTo>
                  <a:pt x="7813523" y="2116162"/>
                  <a:pt x="7796336" y="2114263"/>
                  <a:pt x="7786788" y="2100956"/>
                </a:cubicBezTo>
                <a:cubicBezTo>
                  <a:pt x="7777240" y="2089551"/>
                  <a:pt x="7781059" y="2072443"/>
                  <a:pt x="7792517" y="2062938"/>
                </a:cubicBezTo>
                <a:cubicBezTo>
                  <a:pt x="7792517" y="2062938"/>
                  <a:pt x="7792517" y="2062938"/>
                  <a:pt x="8128611" y="1827221"/>
                </a:cubicBezTo>
                <a:cubicBezTo>
                  <a:pt x="8134340" y="1822469"/>
                  <a:pt x="8141501" y="1821043"/>
                  <a:pt x="8148424" y="1822231"/>
                </a:cubicBezTo>
                <a:close/>
                <a:moveTo>
                  <a:pt x="11593502" y="1822227"/>
                </a:moveTo>
                <a:cubicBezTo>
                  <a:pt x="11600640" y="1823415"/>
                  <a:pt x="11607302" y="1827217"/>
                  <a:pt x="11612061" y="1832920"/>
                </a:cubicBezTo>
                <a:cubicBezTo>
                  <a:pt x="11613965" y="1838623"/>
                  <a:pt x="11615868" y="1844326"/>
                  <a:pt x="11615868" y="1850029"/>
                </a:cubicBezTo>
                <a:cubicBezTo>
                  <a:pt x="11615868" y="1857632"/>
                  <a:pt x="11612061" y="1867138"/>
                  <a:pt x="11604447" y="1872840"/>
                </a:cubicBezTo>
                <a:cubicBezTo>
                  <a:pt x="11604447" y="1872840"/>
                  <a:pt x="11604447" y="1872840"/>
                  <a:pt x="11271337" y="2108557"/>
                </a:cubicBezTo>
                <a:cubicBezTo>
                  <a:pt x="11258013" y="2116159"/>
                  <a:pt x="11240881" y="2114261"/>
                  <a:pt x="11233267" y="2100952"/>
                </a:cubicBezTo>
                <a:cubicBezTo>
                  <a:pt x="11223750" y="2089547"/>
                  <a:pt x="11225653" y="2072439"/>
                  <a:pt x="11238978" y="2062934"/>
                </a:cubicBezTo>
                <a:cubicBezTo>
                  <a:pt x="11238978" y="2062934"/>
                  <a:pt x="11238978" y="2062934"/>
                  <a:pt x="11572088" y="1827217"/>
                </a:cubicBezTo>
                <a:cubicBezTo>
                  <a:pt x="11578750" y="1822464"/>
                  <a:pt x="11586364" y="1821038"/>
                  <a:pt x="11593502" y="1822227"/>
                </a:cubicBezTo>
                <a:close/>
                <a:moveTo>
                  <a:pt x="12139750" y="1819296"/>
                </a:moveTo>
                <a:cubicBezTo>
                  <a:pt x="12139750" y="1819296"/>
                  <a:pt x="12139750" y="1819296"/>
                  <a:pt x="12139750" y="1893845"/>
                </a:cubicBezTo>
                <a:cubicBezTo>
                  <a:pt x="12139750" y="1893845"/>
                  <a:pt x="12139750" y="1893845"/>
                  <a:pt x="11834405" y="2090726"/>
                </a:cubicBezTo>
                <a:cubicBezTo>
                  <a:pt x="11819138" y="2100283"/>
                  <a:pt x="11800054" y="2094549"/>
                  <a:pt x="11790512" y="2081169"/>
                </a:cubicBezTo>
                <a:cubicBezTo>
                  <a:pt x="11780970" y="2065877"/>
                  <a:pt x="11784787" y="2046762"/>
                  <a:pt x="11800054" y="2037205"/>
                </a:cubicBezTo>
                <a:lnTo>
                  <a:pt x="12135933" y="1821208"/>
                </a:lnTo>
                <a:cubicBezTo>
                  <a:pt x="12137842" y="1819296"/>
                  <a:pt x="12137842" y="1819296"/>
                  <a:pt x="12139750" y="1819296"/>
                </a:cubicBezTo>
                <a:close/>
                <a:moveTo>
                  <a:pt x="7591461" y="1816389"/>
                </a:moveTo>
                <a:cubicBezTo>
                  <a:pt x="7599307" y="1818063"/>
                  <a:pt x="7606440" y="1822846"/>
                  <a:pt x="7611195" y="1830500"/>
                </a:cubicBezTo>
                <a:cubicBezTo>
                  <a:pt x="7614999" y="1836240"/>
                  <a:pt x="7616901" y="1841981"/>
                  <a:pt x="7616901" y="1847721"/>
                </a:cubicBezTo>
                <a:cubicBezTo>
                  <a:pt x="7616901" y="1857288"/>
                  <a:pt x="7611195" y="1866856"/>
                  <a:pt x="7601685" y="1874509"/>
                </a:cubicBezTo>
                <a:cubicBezTo>
                  <a:pt x="7601685" y="1874509"/>
                  <a:pt x="7601685" y="1874509"/>
                  <a:pt x="7266927" y="2090722"/>
                </a:cubicBezTo>
                <a:cubicBezTo>
                  <a:pt x="7251710" y="2100289"/>
                  <a:pt x="7232690" y="2094549"/>
                  <a:pt x="7223180" y="2081155"/>
                </a:cubicBezTo>
                <a:cubicBezTo>
                  <a:pt x="7213670" y="2065848"/>
                  <a:pt x="7219376" y="2046715"/>
                  <a:pt x="7232690" y="2037147"/>
                </a:cubicBezTo>
                <a:cubicBezTo>
                  <a:pt x="7232690" y="2037147"/>
                  <a:pt x="7232690" y="2037147"/>
                  <a:pt x="7567448" y="1820933"/>
                </a:cubicBezTo>
                <a:cubicBezTo>
                  <a:pt x="7575056" y="1816149"/>
                  <a:pt x="7583615" y="1814714"/>
                  <a:pt x="7591461" y="1816389"/>
                </a:cubicBezTo>
                <a:close/>
                <a:moveTo>
                  <a:pt x="7042453" y="1811445"/>
                </a:moveTo>
                <a:cubicBezTo>
                  <a:pt x="7051052" y="1813588"/>
                  <a:pt x="7058696" y="1819303"/>
                  <a:pt x="7063473" y="1827876"/>
                </a:cubicBezTo>
                <a:cubicBezTo>
                  <a:pt x="7067295" y="1833591"/>
                  <a:pt x="7069206" y="1839306"/>
                  <a:pt x="7069206" y="1845021"/>
                </a:cubicBezTo>
                <a:cubicBezTo>
                  <a:pt x="7069206" y="1858356"/>
                  <a:pt x="7063473" y="1869786"/>
                  <a:pt x="7052008" y="1875501"/>
                </a:cubicBezTo>
                <a:cubicBezTo>
                  <a:pt x="7052008" y="1875501"/>
                  <a:pt x="7052008" y="1875501"/>
                  <a:pt x="6713777" y="2071714"/>
                </a:cubicBezTo>
                <a:cubicBezTo>
                  <a:pt x="6696579" y="2081239"/>
                  <a:pt x="6675559" y="2075525"/>
                  <a:pt x="6666004" y="2058379"/>
                </a:cubicBezTo>
                <a:cubicBezTo>
                  <a:pt x="6656450" y="2041235"/>
                  <a:pt x="6662182" y="2020280"/>
                  <a:pt x="6679381" y="2010756"/>
                </a:cubicBezTo>
                <a:cubicBezTo>
                  <a:pt x="6679381" y="2010756"/>
                  <a:pt x="6679381" y="2010756"/>
                  <a:pt x="7015700" y="1816445"/>
                </a:cubicBezTo>
                <a:cubicBezTo>
                  <a:pt x="7024300" y="1810730"/>
                  <a:pt x="7033854" y="1809302"/>
                  <a:pt x="7042453" y="1811445"/>
                </a:cubicBezTo>
                <a:close/>
                <a:moveTo>
                  <a:pt x="6499936" y="1806065"/>
                </a:moveTo>
                <a:cubicBezTo>
                  <a:pt x="6509244" y="1809168"/>
                  <a:pt x="6517359" y="1815852"/>
                  <a:pt x="6522132" y="1825400"/>
                </a:cubicBezTo>
                <a:cubicBezTo>
                  <a:pt x="6525950" y="1831129"/>
                  <a:pt x="6527860" y="1836858"/>
                  <a:pt x="6527860" y="1842587"/>
                </a:cubicBezTo>
                <a:cubicBezTo>
                  <a:pt x="6527860" y="1857864"/>
                  <a:pt x="6520223" y="1871231"/>
                  <a:pt x="6506857" y="1876960"/>
                </a:cubicBezTo>
                <a:cubicBezTo>
                  <a:pt x="6506857" y="1876960"/>
                  <a:pt x="6506857" y="1876960"/>
                  <a:pt x="6166999" y="2052641"/>
                </a:cubicBezTo>
                <a:cubicBezTo>
                  <a:pt x="6147906" y="2062190"/>
                  <a:pt x="6124994" y="2054551"/>
                  <a:pt x="6115448" y="2035456"/>
                </a:cubicBezTo>
                <a:cubicBezTo>
                  <a:pt x="6103992" y="2016360"/>
                  <a:pt x="6111629" y="1993445"/>
                  <a:pt x="6130722" y="1983897"/>
                </a:cubicBezTo>
                <a:cubicBezTo>
                  <a:pt x="6130722" y="1983897"/>
                  <a:pt x="6130722" y="1983897"/>
                  <a:pt x="6470580" y="1808213"/>
                </a:cubicBezTo>
                <a:cubicBezTo>
                  <a:pt x="6480127" y="1803439"/>
                  <a:pt x="6490628" y="1802962"/>
                  <a:pt x="6499936" y="1806065"/>
                </a:cubicBezTo>
                <a:close/>
                <a:moveTo>
                  <a:pt x="5958440" y="1800931"/>
                </a:moveTo>
                <a:cubicBezTo>
                  <a:pt x="5968909" y="1804761"/>
                  <a:pt x="5977952" y="1812420"/>
                  <a:pt x="5982710" y="1822950"/>
                </a:cubicBezTo>
                <a:cubicBezTo>
                  <a:pt x="5984614" y="1828695"/>
                  <a:pt x="5986518" y="1834438"/>
                  <a:pt x="5986518" y="1840183"/>
                </a:cubicBezTo>
                <a:cubicBezTo>
                  <a:pt x="5986518" y="1857416"/>
                  <a:pt x="5977000" y="1872733"/>
                  <a:pt x="5961771" y="1878478"/>
                </a:cubicBezTo>
                <a:cubicBezTo>
                  <a:pt x="5961771" y="1878478"/>
                  <a:pt x="5961771" y="1878478"/>
                  <a:pt x="5622934" y="2033566"/>
                </a:cubicBezTo>
                <a:cubicBezTo>
                  <a:pt x="5600091" y="2043140"/>
                  <a:pt x="5575344" y="2033566"/>
                  <a:pt x="5565827" y="2012506"/>
                </a:cubicBezTo>
                <a:cubicBezTo>
                  <a:pt x="5556309" y="1991444"/>
                  <a:pt x="5565827" y="1964639"/>
                  <a:pt x="5586767" y="1955065"/>
                </a:cubicBezTo>
                <a:cubicBezTo>
                  <a:pt x="5586767" y="1955065"/>
                  <a:pt x="5586767" y="1955065"/>
                  <a:pt x="5925602" y="1801889"/>
                </a:cubicBezTo>
                <a:cubicBezTo>
                  <a:pt x="5936072" y="1797102"/>
                  <a:pt x="5947970" y="1797102"/>
                  <a:pt x="5958440" y="1800931"/>
                </a:cubicBezTo>
                <a:close/>
                <a:moveTo>
                  <a:pt x="398962" y="1800922"/>
                </a:moveTo>
                <a:cubicBezTo>
                  <a:pt x="409432" y="1804752"/>
                  <a:pt x="418474" y="1812411"/>
                  <a:pt x="423233" y="1822941"/>
                </a:cubicBezTo>
                <a:cubicBezTo>
                  <a:pt x="425137" y="1828686"/>
                  <a:pt x="427041" y="1834430"/>
                  <a:pt x="427041" y="1840174"/>
                </a:cubicBezTo>
                <a:cubicBezTo>
                  <a:pt x="427041" y="1857407"/>
                  <a:pt x="417522" y="1872724"/>
                  <a:pt x="400390" y="1878468"/>
                </a:cubicBezTo>
                <a:cubicBezTo>
                  <a:pt x="400390" y="1878468"/>
                  <a:pt x="400390" y="1878468"/>
                  <a:pt x="61546" y="2033558"/>
                </a:cubicBezTo>
                <a:cubicBezTo>
                  <a:pt x="40607" y="2043131"/>
                  <a:pt x="15860" y="2033558"/>
                  <a:pt x="6342" y="2012496"/>
                </a:cubicBezTo>
                <a:cubicBezTo>
                  <a:pt x="-3177" y="1991435"/>
                  <a:pt x="6342" y="1964629"/>
                  <a:pt x="27281" y="1955055"/>
                </a:cubicBezTo>
                <a:cubicBezTo>
                  <a:pt x="27281" y="1955055"/>
                  <a:pt x="27281" y="1955055"/>
                  <a:pt x="366125" y="1801879"/>
                </a:cubicBezTo>
                <a:cubicBezTo>
                  <a:pt x="376595" y="1797093"/>
                  <a:pt x="388492" y="1797093"/>
                  <a:pt x="398962" y="1800922"/>
                </a:cubicBezTo>
                <a:close/>
                <a:moveTo>
                  <a:pt x="5395741" y="1792156"/>
                </a:moveTo>
                <a:cubicBezTo>
                  <a:pt x="5414189" y="1792513"/>
                  <a:pt x="5431025" y="1803586"/>
                  <a:pt x="5438189" y="1822160"/>
                </a:cubicBezTo>
                <a:cubicBezTo>
                  <a:pt x="5440099" y="1827876"/>
                  <a:pt x="5442010" y="1833591"/>
                  <a:pt x="5442010" y="1839306"/>
                </a:cubicBezTo>
                <a:cubicBezTo>
                  <a:pt x="5442010" y="1858356"/>
                  <a:pt x="5430547" y="1875501"/>
                  <a:pt x="5411443" y="1883121"/>
                </a:cubicBezTo>
                <a:cubicBezTo>
                  <a:pt x="5411443" y="1883121"/>
                  <a:pt x="5411443" y="1883121"/>
                  <a:pt x="5069457" y="2014565"/>
                </a:cubicBezTo>
                <a:cubicBezTo>
                  <a:pt x="5046534" y="2024090"/>
                  <a:pt x="5019790" y="2012660"/>
                  <a:pt x="5010238" y="1989801"/>
                </a:cubicBezTo>
                <a:cubicBezTo>
                  <a:pt x="5000687" y="1965036"/>
                  <a:pt x="5012148" y="1938366"/>
                  <a:pt x="5036982" y="1928841"/>
                </a:cubicBezTo>
                <a:cubicBezTo>
                  <a:pt x="5036982" y="1928841"/>
                  <a:pt x="5036982" y="1928841"/>
                  <a:pt x="5377053" y="1795490"/>
                </a:cubicBezTo>
                <a:cubicBezTo>
                  <a:pt x="5383263" y="1793109"/>
                  <a:pt x="5389592" y="1792037"/>
                  <a:pt x="5395741" y="1792156"/>
                </a:cubicBezTo>
                <a:close/>
                <a:moveTo>
                  <a:pt x="929266" y="1792145"/>
                </a:moveTo>
                <a:cubicBezTo>
                  <a:pt x="946908" y="1792502"/>
                  <a:pt x="963745" y="1803575"/>
                  <a:pt x="970909" y="1822149"/>
                </a:cubicBezTo>
                <a:cubicBezTo>
                  <a:pt x="974730" y="1827864"/>
                  <a:pt x="974730" y="1833579"/>
                  <a:pt x="974730" y="1839294"/>
                </a:cubicBezTo>
                <a:cubicBezTo>
                  <a:pt x="974730" y="1858344"/>
                  <a:pt x="963267" y="1875489"/>
                  <a:pt x="946072" y="1883109"/>
                </a:cubicBezTo>
                <a:cubicBezTo>
                  <a:pt x="946072" y="1883109"/>
                  <a:pt x="946072" y="1883109"/>
                  <a:pt x="604089" y="2014554"/>
                </a:cubicBezTo>
                <a:cubicBezTo>
                  <a:pt x="579253" y="2024078"/>
                  <a:pt x="552505" y="2012649"/>
                  <a:pt x="542953" y="1989789"/>
                </a:cubicBezTo>
                <a:cubicBezTo>
                  <a:pt x="533400" y="1965024"/>
                  <a:pt x="544863" y="1938354"/>
                  <a:pt x="569700" y="1928829"/>
                </a:cubicBezTo>
                <a:cubicBezTo>
                  <a:pt x="569700" y="1928829"/>
                  <a:pt x="569700" y="1928829"/>
                  <a:pt x="911683" y="1795478"/>
                </a:cubicBezTo>
                <a:cubicBezTo>
                  <a:pt x="917415" y="1793097"/>
                  <a:pt x="923385" y="1792026"/>
                  <a:pt x="929266" y="1792145"/>
                </a:cubicBezTo>
                <a:close/>
                <a:moveTo>
                  <a:pt x="4845291" y="1786421"/>
                </a:moveTo>
                <a:cubicBezTo>
                  <a:pt x="4864226" y="1787854"/>
                  <a:pt x="4882088" y="1801107"/>
                  <a:pt x="4889232" y="1819733"/>
                </a:cubicBezTo>
                <a:cubicBezTo>
                  <a:pt x="4891138" y="1825464"/>
                  <a:pt x="4891138" y="1831195"/>
                  <a:pt x="4891138" y="1836927"/>
                </a:cubicBezTo>
                <a:cubicBezTo>
                  <a:pt x="4891138" y="1857942"/>
                  <a:pt x="4877800" y="1877046"/>
                  <a:pt x="4856840" y="1884687"/>
                </a:cubicBezTo>
                <a:cubicBezTo>
                  <a:pt x="4856840" y="1884687"/>
                  <a:pt x="4856840" y="1884687"/>
                  <a:pt x="4515847" y="1997399"/>
                </a:cubicBezTo>
                <a:cubicBezTo>
                  <a:pt x="4489179" y="2005041"/>
                  <a:pt x="4460602" y="1991668"/>
                  <a:pt x="4451077" y="1964923"/>
                </a:cubicBezTo>
                <a:cubicBezTo>
                  <a:pt x="4443457" y="1938178"/>
                  <a:pt x="4456792" y="1909522"/>
                  <a:pt x="4483463" y="1901881"/>
                </a:cubicBezTo>
                <a:cubicBezTo>
                  <a:pt x="4483463" y="1901881"/>
                  <a:pt x="4483463" y="1901881"/>
                  <a:pt x="4826356" y="1789167"/>
                </a:cubicBezTo>
                <a:cubicBezTo>
                  <a:pt x="4832548" y="1786779"/>
                  <a:pt x="4838978" y="1785943"/>
                  <a:pt x="4845291" y="1786421"/>
                </a:cubicBezTo>
                <a:close/>
                <a:moveTo>
                  <a:pt x="1480544" y="1786407"/>
                </a:moveTo>
                <a:cubicBezTo>
                  <a:pt x="1500175" y="1787839"/>
                  <a:pt x="1517665" y="1801092"/>
                  <a:pt x="1523376" y="1819719"/>
                </a:cubicBezTo>
                <a:cubicBezTo>
                  <a:pt x="1525280" y="1825450"/>
                  <a:pt x="1527184" y="1831181"/>
                  <a:pt x="1527184" y="1836913"/>
                </a:cubicBezTo>
                <a:cubicBezTo>
                  <a:pt x="1527184" y="1857927"/>
                  <a:pt x="1513858" y="1877031"/>
                  <a:pt x="1492918" y="1884672"/>
                </a:cubicBezTo>
                <a:cubicBezTo>
                  <a:pt x="1492918" y="1884672"/>
                  <a:pt x="1492918" y="1884672"/>
                  <a:pt x="1150255" y="1997385"/>
                </a:cubicBezTo>
                <a:cubicBezTo>
                  <a:pt x="1123604" y="2005025"/>
                  <a:pt x="1095048" y="1991653"/>
                  <a:pt x="1087434" y="1964908"/>
                </a:cubicBezTo>
                <a:cubicBezTo>
                  <a:pt x="1077915" y="1938163"/>
                  <a:pt x="1093145" y="1909507"/>
                  <a:pt x="1119796" y="1901866"/>
                </a:cubicBezTo>
                <a:cubicBezTo>
                  <a:pt x="1119796" y="1901866"/>
                  <a:pt x="1119796" y="1901866"/>
                  <a:pt x="1460555" y="1789153"/>
                </a:cubicBezTo>
                <a:cubicBezTo>
                  <a:pt x="1467218" y="1786765"/>
                  <a:pt x="1474000" y="1785929"/>
                  <a:pt x="1480544" y="1786407"/>
                </a:cubicBezTo>
                <a:close/>
                <a:moveTo>
                  <a:pt x="4289928" y="1779643"/>
                </a:moveTo>
                <a:cubicBezTo>
                  <a:pt x="4310378" y="1782608"/>
                  <a:pt x="4327881" y="1797700"/>
                  <a:pt x="4333596" y="1819260"/>
                </a:cubicBezTo>
                <a:cubicBezTo>
                  <a:pt x="4335502" y="1825009"/>
                  <a:pt x="4335502" y="1828842"/>
                  <a:pt x="4335502" y="1834591"/>
                </a:cubicBezTo>
                <a:cubicBezTo>
                  <a:pt x="4335502" y="1857589"/>
                  <a:pt x="4320262" y="1878670"/>
                  <a:pt x="4295494" y="1886336"/>
                </a:cubicBezTo>
                <a:cubicBezTo>
                  <a:pt x="4295494" y="1886336"/>
                  <a:pt x="4295494" y="1886336"/>
                  <a:pt x="3952611" y="1978325"/>
                </a:cubicBezTo>
                <a:cubicBezTo>
                  <a:pt x="3924035" y="1985990"/>
                  <a:pt x="3893554" y="1968743"/>
                  <a:pt x="3885933" y="1939996"/>
                </a:cubicBezTo>
                <a:cubicBezTo>
                  <a:pt x="3878312" y="1911250"/>
                  <a:pt x="3895458" y="1880586"/>
                  <a:pt x="3924035" y="1872921"/>
                </a:cubicBezTo>
                <a:cubicBezTo>
                  <a:pt x="3924035" y="1872921"/>
                  <a:pt x="3924035" y="1872921"/>
                  <a:pt x="4268823" y="1780930"/>
                </a:cubicBezTo>
                <a:cubicBezTo>
                  <a:pt x="4275968" y="1779014"/>
                  <a:pt x="4283112" y="1778655"/>
                  <a:pt x="4289928" y="1779643"/>
                </a:cubicBezTo>
                <a:close/>
                <a:moveTo>
                  <a:pt x="2035631" y="1779626"/>
                </a:moveTo>
                <a:cubicBezTo>
                  <a:pt x="2056622" y="1782591"/>
                  <a:pt x="2075195" y="1797683"/>
                  <a:pt x="2080910" y="1819243"/>
                </a:cubicBezTo>
                <a:cubicBezTo>
                  <a:pt x="2082815" y="1824992"/>
                  <a:pt x="2082815" y="1828825"/>
                  <a:pt x="2082815" y="1834574"/>
                </a:cubicBezTo>
                <a:cubicBezTo>
                  <a:pt x="2082815" y="1857572"/>
                  <a:pt x="2065669" y="1878653"/>
                  <a:pt x="2042805" y="1886319"/>
                </a:cubicBezTo>
                <a:cubicBezTo>
                  <a:pt x="2042805" y="1886319"/>
                  <a:pt x="2042805" y="1886319"/>
                  <a:pt x="1699901" y="1978307"/>
                </a:cubicBezTo>
                <a:cubicBezTo>
                  <a:pt x="1669421" y="1985973"/>
                  <a:pt x="1640845" y="1968725"/>
                  <a:pt x="1633225" y="1939979"/>
                </a:cubicBezTo>
                <a:cubicBezTo>
                  <a:pt x="1625605" y="1911232"/>
                  <a:pt x="1642750" y="1880569"/>
                  <a:pt x="1671326" y="1872903"/>
                </a:cubicBezTo>
                <a:cubicBezTo>
                  <a:pt x="1671326" y="1872903"/>
                  <a:pt x="1671326" y="1872903"/>
                  <a:pt x="2014230" y="1780914"/>
                </a:cubicBezTo>
                <a:cubicBezTo>
                  <a:pt x="2021374" y="1778997"/>
                  <a:pt x="2028637" y="1778638"/>
                  <a:pt x="2035631" y="1779626"/>
                </a:cubicBezTo>
                <a:close/>
                <a:moveTo>
                  <a:pt x="3732186" y="1775478"/>
                </a:moveTo>
                <a:cubicBezTo>
                  <a:pt x="3753993" y="1779592"/>
                  <a:pt x="3772581" y="1797123"/>
                  <a:pt x="3778298" y="1820020"/>
                </a:cubicBezTo>
                <a:cubicBezTo>
                  <a:pt x="3778298" y="1823835"/>
                  <a:pt x="3778298" y="1827652"/>
                  <a:pt x="3778298" y="1831468"/>
                </a:cubicBezTo>
                <a:cubicBezTo>
                  <a:pt x="3778298" y="1858181"/>
                  <a:pt x="3759233" y="1882986"/>
                  <a:pt x="3732542" y="1888710"/>
                </a:cubicBezTo>
                <a:cubicBezTo>
                  <a:pt x="3732542" y="1888710"/>
                  <a:pt x="3732542" y="1888710"/>
                  <a:pt x="3387515" y="1959308"/>
                </a:cubicBezTo>
                <a:cubicBezTo>
                  <a:pt x="3357010" y="1966941"/>
                  <a:pt x="3326508" y="1945952"/>
                  <a:pt x="3318884" y="1915423"/>
                </a:cubicBezTo>
                <a:cubicBezTo>
                  <a:pt x="3313164" y="1882986"/>
                  <a:pt x="3332227" y="1852457"/>
                  <a:pt x="3364636" y="1846733"/>
                </a:cubicBezTo>
                <a:cubicBezTo>
                  <a:pt x="3364636" y="1846733"/>
                  <a:pt x="3364636" y="1846733"/>
                  <a:pt x="3709666" y="1776134"/>
                </a:cubicBezTo>
                <a:cubicBezTo>
                  <a:pt x="3717293" y="1774226"/>
                  <a:pt x="3724920" y="1774107"/>
                  <a:pt x="3732186" y="1775478"/>
                </a:cubicBezTo>
                <a:close/>
                <a:moveTo>
                  <a:pt x="2597096" y="1775459"/>
                </a:moveTo>
                <a:cubicBezTo>
                  <a:pt x="2618899" y="1779573"/>
                  <a:pt x="2637486" y="1797103"/>
                  <a:pt x="2643205" y="1820000"/>
                </a:cubicBezTo>
                <a:cubicBezTo>
                  <a:pt x="2643205" y="1823816"/>
                  <a:pt x="2643205" y="1827632"/>
                  <a:pt x="2643205" y="1831449"/>
                </a:cubicBezTo>
                <a:cubicBezTo>
                  <a:pt x="2643205" y="1858161"/>
                  <a:pt x="2624142" y="1882966"/>
                  <a:pt x="2597454" y="1888690"/>
                </a:cubicBezTo>
                <a:cubicBezTo>
                  <a:pt x="2597454" y="1888690"/>
                  <a:pt x="2597454" y="1888690"/>
                  <a:pt x="2252409" y="1959288"/>
                </a:cubicBezTo>
                <a:cubicBezTo>
                  <a:pt x="2221908" y="1966921"/>
                  <a:pt x="2191406" y="1945932"/>
                  <a:pt x="2183781" y="1915403"/>
                </a:cubicBezTo>
                <a:cubicBezTo>
                  <a:pt x="2178062" y="1882966"/>
                  <a:pt x="2197125" y="1852437"/>
                  <a:pt x="2229533" y="1846713"/>
                </a:cubicBezTo>
                <a:cubicBezTo>
                  <a:pt x="2229533" y="1846713"/>
                  <a:pt x="2229533" y="1846713"/>
                  <a:pt x="2574577" y="1776115"/>
                </a:cubicBezTo>
                <a:cubicBezTo>
                  <a:pt x="2582203" y="1774206"/>
                  <a:pt x="2589828" y="1774087"/>
                  <a:pt x="2597096" y="1775459"/>
                </a:cubicBezTo>
                <a:close/>
                <a:moveTo>
                  <a:pt x="3139439" y="1767857"/>
                </a:moveTo>
                <a:cubicBezTo>
                  <a:pt x="3173753" y="1762151"/>
                  <a:pt x="3204252" y="1786874"/>
                  <a:pt x="3209972" y="1819203"/>
                </a:cubicBezTo>
                <a:cubicBezTo>
                  <a:pt x="3209972" y="1823006"/>
                  <a:pt x="3209972" y="1826810"/>
                  <a:pt x="3209972" y="1828711"/>
                </a:cubicBezTo>
                <a:cubicBezTo>
                  <a:pt x="3209972" y="1859139"/>
                  <a:pt x="3187098" y="1885763"/>
                  <a:pt x="3156597" y="1889566"/>
                </a:cubicBezTo>
                <a:cubicBezTo>
                  <a:pt x="3156597" y="1889566"/>
                  <a:pt x="3156597" y="1889566"/>
                  <a:pt x="2811555" y="1939010"/>
                </a:cubicBezTo>
                <a:cubicBezTo>
                  <a:pt x="2777241" y="1944716"/>
                  <a:pt x="2746740" y="1921895"/>
                  <a:pt x="2741022" y="1887665"/>
                </a:cubicBezTo>
                <a:cubicBezTo>
                  <a:pt x="2735303" y="1853434"/>
                  <a:pt x="2760084" y="1823006"/>
                  <a:pt x="2792492" y="1819203"/>
                </a:cubicBezTo>
                <a:cubicBezTo>
                  <a:pt x="2792492" y="1819203"/>
                  <a:pt x="2792492" y="1819203"/>
                  <a:pt x="3139439" y="1767857"/>
                </a:cubicBezTo>
                <a:close/>
                <a:moveTo>
                  <a:pt x="9859195" y="1522734"/>
                </a:moveTo>
                <a:cubicBezTo>
                  <a:pt x="9864196" y="1523210"/>
                  <a:pt x="9868958" y="1525589"/>
                  <a:pt x="9871816" y="1530346"/>
                </a:cubicBezTo>
                <a:cubicBezTo>
                  <a:pt x="9875626" y="1532249"/>
                  <a:pt x="9877531" y="1537959"/>
                  <a:pt x="9877531" y="1541765"/>
                </a:cubicBezTo>
                <a:cubicBezTo>
                  <a:pt x="9877531" y="1547475"/>
                  <a:pt x="9875626" y="1553184"/>
                  <a:pt x="9869911" y="1556990"/>
                </a:cubicBezTo>
                <a:cubicBezTo>
                  <a:pt x="9869911" y="1556990"/>
                  <a:pt x="9869911" y="1556990"/>
                  <a:pt x="9538436" y="1838657"/>
                </a:cubicBezTo>
                <a:cubicBezTo>
                  <a:pt x="9530816" y="1846270"/>
                  <a:pt x="9519386" y="1846270"/>
                  <a:pt x="9511766" y="1836754"/>
                </a:cubicBezTo>
                <a:cubicBezTo>
                  <a:pt x="9506051" y="1829141"/>
                  <a:pt x="9506051" y="1817722"/>
                  <a:pt x="9513671" y="1810110"/>
                </a:cubicBezTo>
                <a:cubicBezTo>
                  <a:pt x="9513671" y="1810110"/>
                  <a:pt x="9513671" y="1810110"/>
                  <a:pt x="9845146" y="1526540"/>
                </a:cubicBezTo>
                <a:cubicBezTo>
                  <a:pt x="9848956" y="1523685"/>
                  <a:pt x="9854195" y="1522258"/>
                  <a:pt x="9859195" y="1522734"/>
                </a:cubicBezTo>
                <a:close/>
                <a:moveTo>
                  <a:pt x="9283544" y="1516005"/>
                </a:moveTo>
                <a:cubicBezTo>
                  <a:pt x="9289503" y="1516718"/>
                  <a:pt x="9295223" y="1519573"/>
                  <a:pt x="9299036" y="1524331"/>
                </a:cubicBezTo>
                <a:cubicBezTo>
                  <a:pt x="9300942" y="1528137"/>
                  <a:pt x="9302849" y="1533846"/>
                  <a:pt x="9302849" y="1537653"/>
                </a:cubicBezTo>
                <a:cubicBezTo>
                  <a:pt x="9302849" y="1545265"/>
                  <a:pt x="9300942" y="1550974"/>
                  <a:pt x="9295223" y="1554780"/>
                </a:cubicBezTo>
                <a:cubicBezTo>
                  <a:pt x="9295223" y="1554780"/>
                  <a:pt x="9295223" y="1554780"/>
                  <a:pt x="8961563" y="1821217"/>
                </a:cubicBezTo>
                <a:cubicBezTo>
                  <a:pt x="8952030" y="1828830"/>
                  <a:pt x="8938684" y="1826927"/>
                  <a:pt x="8931057" y="1817411"/>
                </a:cubicBezTo>
                <a:cubicBezTo>
                  <a:pt x="8923431" y="1807895"/>
                  <a:pt x="8925338" y="1792671"/>
                  <a:pt x="8934871" y="1785058"/>
                </a:cubicBezTo>
                <a:cubicBezTo>
                  <a:pt x="8934871" y="1785058"/>
                  <a:pt x="8934871" y="1785058"/>
                  <a:pt x="9266623" y="1520524"/>
                </a:cubicBezTo>
                <a:cubicBezTo>
                  <a:pt x="9271389" y="1516718"/>
                  <a:pt x="9277586" y="1515291"/>
                  <a:pt x="9283544" y="1516005"/>
                </a:cubicBezTo>
                <a:close/>
                <a:moveTo>
                  <a:pt x="10444673" y="1515983"/>
                </a:moveTo>
                <a:cubicBezTo>
                  <a:pt x="10450150" y="1516697"/>
                  <a:pt x="10455389" y="1519551"/>
                  <a:pt x="10459199" y="1524309"/>
                </a:cubicBezTo>
                <a:cubicBezTo>
                  <a:pt x="10463009" y="1528115"/>
                  <a:pt x="10464914" y="1533824"/>
                  <a:pt x="10464914" y="1537630"/>
                </a:cubicBezTo>
                <a:cubicBezTo>
                  <a:pt x="10464914" y="1545243"/>
                  <a:pt x="10461104" y="1550952"/>
                  <a:pt x="10455389" y="1554759"/>
                </a:cubicBezTo>
                <a:cubicBezTo>
                  <a:pt x="10455389" y="1554759"/>
                  <a:pt x="10455389" y="1554759"/>
                  <a:pt x="10123915" y="1821192"/>
                </a:cubicBezTo>
                <a:cubicBezTo>
                  <a:pt x="10114389" y="1828804"/>
                  <a:pt x="10099149" y="1826901"/>
                  <a:pt x="10091529" y="1817385"/>
                </a:cubicBezTo>
                <a:cubicBezTo>
                  <a:pt x="10083909" y="1807870"/>
                  <a:pt x="10085814" y="1792645"/>
                  <a:pt x="10095339" y="1785033"/>
                </a:cubicBezTo>
                <a:cubicBezTo>
                  <a:pt x="10095339" y="1785033"/>
                  <a:pt x="10095339" y="1785033"/>
                  <a:pt x="10428719" y="1520503"/>
                </a:cubicBezTo>
                <a:cubicBezTo>
                  <a:pt x="10433481" y="1516697"/>
                  <a:pt x="10439197" y="1515269"/>
                  <a:pt x="10444673" y="1515983"/>
                </a:cubicBezTo>
                <a:close/>
                <a:moveTo>
                  <a:pt x="8713305" y="1508547"/>
                </a:moveTo>
                <a:cubicBezTo>
                  <a:pt x="8719740" y="1509261"/>
                  <a:pt x="8725937" y="1512595"/>
                  <a:pt x="8730703" y="1518310"/>
                </a:cubicBezTo>
                <a:cubicBezTo>
                  <a:pt x="8732609" y="1524026"/>
                  <a:pt x="8734516" y="1529740"/>
                  <a:pt x="8734516" y="1533551"/>
                </a:cubicBezTo>
                <a:cubicBezTo>
                  <a:pt x="8734516" y="1543076"/>
                  <a:pt x="8730703" y="1550696"/>
                  <a:pt x="8724983" y="1554506"/>
                </a:cubicBezTo>
                <a:cubicBezTo>
                  <a:pt x="8724983" y="1554506"/>
                  <a:pt x="8724983" y="1554506"/>
                  <a:pt x="8391331" y="1802160"/>
                </a:cubicBezTo>
                <a:cubicBezTo>
                  <a:pt x="8379891" y="1809779"/>
                  <a:pt x="8362732" y="1807874"/>
                  <a:pt x="8355106" y="1796444"/>
                </a:cubicBezTo>
                <a:cubicBezTo>
                  <a:pt x="8345573" y="1785014"/>
                  <a:pt x="8349386" y="1769774"/>
                  <a:pt x="8360826" y="1760249"/>
                </a:cubicBezTo>
                <a:cubicBezTo>
                  <a:pt x="8360826" y="1760249"/>
                  <a:pt x="8360826" y="1760249"/>
                  <a:pt x="8694478" y="1514500"/>
                </a:cubicBezTo>
                <a:cubicBezTo>
                  <a:pt x="8700197" y="1509738"/>
                  <a:pt x="8706870" y="1507833"/>
                  <a:pt x="8713305" y="1508547"/>
                </a:cubicBezTo>
                <a:close/>
                <a:moveTo>
                  <a:pt x="11022911" y="1508523"/>
                </a:moveTo>
                <a:cubicBezTo>
                  <a:pt x="11029107" y="1509237"/>
                  <a:pt x="11034827" y="1512571"/>
                  <a:pt x="11038640" y="1518286"/>
                </a:cubicBezTo>
                <a:cubicBezTo>
                  <a:pt x="11042453" y="1524001"/>
                  <a:pt x="11044360" y="1529716"/>
                  <a:pt x="11044360" y="1533526"/>
                </a:cubicBezTo>
                <a:cubicBezTo>
                  <a:pt x="11044360" y="1543051"/>
                  <a:pt x="11040547" y="1550671"/>
                  <a:pt x="11034827" y="1554481"/>
                </a:cubicBezTo>
                <a:cubicBezTo>
                  <a:pt x="11034827" y="1554481"/>
                  <a:pt x="11034827" y="1554481"/>
                  <a:pt x="10701175" y="1802131"/>
                </a:cubicBezTo>
                <a:cubicBezTo>
                  <a:pt x="10689735" y="1809751"/>
                  <a:pt x="10672576" y="1807846"/>
                  <a:pt x="10664950" y="1796416"/>
                </a:cubicBezTo>
                <a:cubicBezTo>
                  <a:pt x="10655417" y="1784986"/>
                  <a:pt x="10659230" y="1769746"/>
                  <a:pt x="10670670" y="1760221"/>
                </a:cubicBezTo>
                <a:cubicBezTo>
                  <a:pt x="10670670" y="1760221"/>
                  <a:pt x="10670670" y="1760221"/>
                  <a:pt x="11004322" y="1514476"/>
                </a:cubicBezTo>
                <a:cubicBezTo>
                  <a:pt x="11010042" y="1509714"/>
                  <a:pt x="11016715" y="1507809"/>
                  <a:pt x="11022911" y="1508523"/>
                </a:cubicBezTo>
                <a:close/>
                <a:moveTo>
                  <a:pt x="8149812" y="1501800"/>
                </a:moveTo>
                <a:cubicBezTo>
                  <a:pt x="8156962" y="1503228"/>
                  <a:pt x="8163635" y="1507515"/>
                  <a:pt x="8168401" y="1514182"/>
                </a:cubicBezTo>
                <a:cubicBezTo>
                  <a:pt x="8172214" y="1519897"/>
                  <a:pt x="8174121" y="1525612"/>
                  <a:pt x="8174121" y="1531327"/>
                </a:cubicBezTo>
                <a:cubicBezTo>
                  <a:pt x="8174121" y="1540853"/>
                  <a:pt x="8168401" y="1548473"/>
                  <a:pt x="8160775" y="1554187"/>
                </a:cubicBezTo>
                <a:cubicBezTo>
                  <a:pt x="8160775" y="1554187"/>
                  <a:pt x="8160775" y="1554187"/>
                  <a:pt x="7825223" y="1782791"/>
                </a:cubicBezTo>
                <a:cubicBezTo>
                  <a:pt x="7811877" y="1792316"/>
                  <a:pt x="7794718" y="1788506"/>
                  <a:pt x="7785185" y="1775171"/>
                </a:cubicBezTo>
                <a:cubicBezTo>
                  <a:pt x="7775653" y="1761836"/>
                  <a:pt x="7779466" y="1744691"/>
                  <a:pt x="7792812" y="1735166"/>
                </a:cubicBezTo>
                <a:cubicBezTo>
                  <a:pt x="7792812" y="1735166"/>
                  <a:pt x="7792812" y="1735166"/>
                  <a:pt x="8128364" y="1506563"/>
                </a:cubicBezTo>
                <a:cubicBezTo>
                  <a:pt x="8135036" y="1501800"/>
                  <a:pt x="8142663" y="1500371"/>
                  <a:pt x="8149812" y="1501800"/>
                </a:cubicBezTo>
                <a:close/>
                <a:moveTo>
                  <a:pt x="11594174" y="1501795"/>
                </a:moveTo>
                <a:cubicBezTo>
                  <a:pt x="11601776" y="1503224"/>
                  <a:pt x="11608903" y="1507510"/>
                  <a:pt x="11613654" y="1514178"/>
                </a:cubicBezTo>
                <a:cubicBezTo>
                  <a:pt x="11615555" y="1519893"/>
                  <a:pt x="11617455" y="1525608"/>
                  <a:pt x="11617455" y="1531323"/>
                </a:cubicBezTo>
                <a:cubicBezTo>
                  <a:pt x="11617455" y="1540848"/>
                  <a:pt x="11613654" y="1548468"/>
                  <a:pt x="11606052" y="1554183"/>
                </a:cubicBezTo>
                <a:cubicBezTo>
                  <a:pt x="11606052" y="1554183"/>
                  <a:pt x="11606052" y="1554183"/>
                  <a:pt x="11271574" y="1782786"/>
                </a:cubicBezTo>
                <a:cubicBezTo>
                  <a:pt x="11258270" y="1792311"/>
                  <a:pt x="11239266" y="1788501"/>
                  <a:pt x="11231664" y="1775166"/>
                </a:cubicBezTo>
                <a:cubicBezTo>
                  <a:pt x="11222162" y="1761831"/>
                  <a:pt x="11225963" y="1744685"/>
                  <a:pt x="11239266" y="1735161"/>
                </a:cubicBezTo>
                <a:cubicBezTo>
                  <a:pt x="11239266" y="1735161"/>
                  <a:pt x="11239266" y="1735161"/>
                  <a:pt x="11571844" y="1506558"/>
                </a:cubicBezTo>
                <a:cubicBezTo>
                  <a:pt x="11578496" y="1501795"/>
                  <a:pt x="11586573" y="1500367"/>
                  <a:pt x="11594174" y="1501795"/>
                </a:cubicBezTo>
                <a:close/>
                <a:moveTo>
                  <a:pt x="12139750" y="1497031"/>
                </a:moveTo>
                <a:cubicBezTo>
                  <a:pt x="12139750" y="1497031"/>
                  <a:pt x="12139750" y="1497031"/>
                  <a:pt x="12139750" y="1573231"/>
                </a:cubicBezTo>
                <a:cubicBezTo>
                  <a:pt x="12139750" y="1573231"/>
                  <a:pt x="12139750" y="1573231"/>
                  <a:pt x="11834677" y="1763733"/>
                </a:cubicBezTo>
                <a:cubicBezTo>
                  <a:pt x="11819424" y="1773258"/>
                  <a:pt x="11798450" y="1769448"/>
                  <a:pt x="11788917" y="1754208"/>
                </a:cubicBezTo>
                <a:cubicBezTo>
                  <a:pt x="11779383" y="1738968"/>
                  <a:pt x="11785103" y="1719918"/>
                  <a:pt x="11800357" y="1710392"/>
                </a:cubicBezTo>
                <a:lnTo>
                  <a:pt x="12135937" y="1498936"/>
                </a:lnTo>
                <a:cubicBezTo>
                  <a:pt x="12137843" y="1498936"/>
                  <a:pt x="12137843" y="1498936"/>
                  <a:pt x="12139750" y="1497031"/>
                </a:cubicBezTo>
                <a:close/>
                <a:moveTo>
                  <a:pt x="7592412" y="1496614"/>
                </a:moveTo>
                <a:cubicBezTo>
                  <a:pt x="7600734" y="1498748"/>
                  <a:pt x="7608342" y="1503963"/>
                  <a:pt x="7613097" y="1511548"/>
                </a:cubicBezTo>
                <a:cubicBezTo>
                  <a:pt x="7616901" y="1517237"/>
                  <a:pt x="7616901" y="1522928"/>
                  <a:pt x="7616901" y="1528616"/>
                </a:cubicBezTo>
                <a:cubicBezTo>
                  <a:pt x="7616901" y="1539996"/>
                  <a:pt x="7611195" y="1549478"/>
                  <a:pt x="7601685" y="1555168"/>
                </a:cubicBezTo>
                <a:cubicBezTo>
                  <a:pt x="7601685" y="1555168"/>
                  <a:pt x="7601685" y="1555168"/>
                  <a:pt x="7266927" y="1763784"/>
                </a:cubicBezTo>
                <a:cubicBezTo>
                  <a:pt x="7251710" y="1773266"/>
                  <a:pt x="7232690" y="1769473"/>
                  <a:pt x="7223180" y="1754301"/>
                </a:cubicBezTo>
                <a:cubicBezTo>
                  <a:pt x="7213670" y="1739129"/>
                  <a:pt x="7217474" y="1720164"/>
                  <a:pt x="7232690" y="1710681"/>
                </a:cubicBezTo>
                <a:cubicBezTo>
                  <a:pt x="7232690" y="1710681"/>
                  <a:pt x="7232690" y="1710681"/>
                  <a:pt x="7567448" y="1500170"/>
                </a:cubicBezTo>
                <a:cubicBezTo>
                  <a:pt x="7575056" y="1495428"/>
                  <a:pt x="7584091" y="1494480"/>
                  <a:pt x="7592412" y="1496614"/>
                </a:cubicBezTo>
                <a:close/>
                <a:moveTo>
                  <a:pt x="7043429" y="1490543"/>
                </a:moveTo>
                <a:cubicBezTo>
                  <a:pt x="7052498" y="1492930"/>
                  <a:pt x="7060613" y="1498657"/>
                  <a:pt x="7065387" y="1507250"/>
                </a:cubicBezTo>
                <a:cubicBezTo>
                  <a:pt x="7069206" y="1512978"/>
                  <a:pt x="7069206" y="1518707"/>
                  <a:pt x="7069206" y="1524435"/>
                </a:cubicBezTo>
                <a:cubicBezTo>
                  <a:pt x="7069206" y="1537802"/>
                  <a:pt x="7063478" y="1549259"/>
                  <a:pt x="7052021" y="1554987"/>
                </a:cubicBezTo>
                <a:cubicBezTo>
                  <a:pt x="7052021" y="1554987"/>
                  <a:pt x="7052021" y="1554987"/>
                  <a:pt x="6714055" y="1747844"/>
                </a:cubicBezTo>
                <a:cubicBezTo>
                  <a:pt x="6696870" y="1757391"/>
                  <a:pt x="6675866" y="1751662"/>
                  <a:pt x="6664410" y="1734477"/>
                </a:cubicBezTo>
                <a:cubicBezTo>
                  <a:pt x="6654863" y="1717292"/>
                  <a:pt x="6660591" y="1694378"/>
                  <a:pt x="6677776" y="1684830"/>
                </a:cubicBezTo>
                <a:cubicBezTo>
                  <a:pt x="6677776" y="1684830"/>
                  <a:pt x="6677776" y="1684830"/>
                  <a:pt x="7015742" y="1493885"/>
                </a:cubicBezTo>
                <a:cubicBezTo>
                  <a:pt x="7024334" y="1489112"/>
                  <a:pt x="7034359" y="1488157"/>
                  <a:pt x="7043429" y="1490543"/>
                </a:cubicBezTo>
                <a:close/>
                <a:moveTo>
                  <a:pt x="6500175" y="1483801"/>
                </a:moveTo>
                <a:cubicBezTo>
                  <a:pt x="6509721" y="1486903"/>
                  <a:pt x="6518313" y="1493586"/>
                  <a:pt x="6524041" y="1503135"/>
                </a:cubicBezTo>
                <a:cubicBezTo>
                  <a:pt x="6525950" y="1508863"/>
                  <a:pt x="6527860" y="1514592"/>
                  <a:pt x="6527860" y="1520321"/>
                </a:cubicBezTo>
                <a:cubicBezTo>
                  <a:pt x="6527860" y="1535598"/>
                  <a:pt x="6520223" y="1548964"/>
                  <a:pt x="6506857" y="1554694"/>
                </a:cubicBezTo>
                <a:cubicBezTo>
                  <a:pt x="6506857" y="1554694"/>
                  <a:pt x="6506857" y="1554694"/>
                  <a:pt x="6166999" y="1728470"/>
                </a:cubicBezTo>
                <a:cubicBezTo>
                  <a:pt x="6147906" y="1739928"/>
                  <a:pt x="6124994" y="1732290"/>
                  <a:pt x="6113538" y="1711284"/>
                </a:cubicBezTo>
                <a:cubicBezTo>
                  <a:pt x="6103992" y="1692188"/>
                  <a:pt x="6111629" y="1669272"/>
                  <a:pt x="6130722" y="1659723"/>
                </a:cubicBezTo>
                <a:cubicBezTo>
                  <a:pt x="6130722" y="1659723"/>
                  <a:pt x="6130722" y="1659723"/>
                  <a:pt x="6470580" y="1485949"/>
                </a:cubicBezTo>
                <a:cubicBezTo>
                  <a:pt x="6480127" y="1481174"/>
                  <a:pt x="6490628" y="1480697"/>
                  <a:pt x="6500175" y="1483801"/>
                </a:cubicBezTo>
                <a:close/>
                <a:moveTo>
                  <a:pt x="5958440" y="1477068"/>
                </a:moveTo>
                <a:cubicBezTo>
                  <a:pt x="5968909" y="1480892"/>
                  <a:pt x="5977952" y="1488540"/>
                  <a:pt x="5982710" y="1499058"/>
                </a:cubicBezTo>
                <a:cubicBezTo>
                  <a:pt x="5984614" y="1504795"/>
                  <a:pt x="5986518" y="1510530"/>
                  <a:pt x="5986518" y="1516267"/>
                </a:cubicBezTo>
                <a:cubicBezTo>
                  <a:pt x="5986518" y="1533477"/>
                  <a:pt x="5977000" y="1548776"/>
                  <a:pt x="5961771" y="1556424"/>
                </a:cubicBezTo>
                <a:cubicBezTo>
                  <a:pt x="5961771" y="1556424"/>
                  <a:pt x="5961771" y="1556424"/>
                  <a:pt x="5622934" y="1711317"/>
                </a:cubicBezTo>
                <a:cubicBezTo>
                  <a:pt x="5600091" y="1720877"/>
                  <a:pt x="5575344" y="1711317"/>
                  <a:pt x="5565827" y="1690282"/>
                </a:cubicBezTo>
                <a:cubicBezTo>
                  <a:pt x="5556309" y="1669247"/>
                  <a:pt x="5565827" y="1644387"/>
                  <a:pt x="5586767" y="1632914"/>
                </a:cubicBezTo>
                <a:cubicBezTo>
                  <a:pt x="5586767" y="1632914"/>
                  <a:pt x="5586767" y="1632914"/>
                  <a:pt x="5925602" y="1478023"/>
                </a:cubicBezTo>
                <a:cubicBezTo>
                  <a:pt x="5936072" y="1473242"/>
                  <a:pt x="5947970" y="1473242"/>
                  <a:pt x="5958440" y="1477068"/>
                </a:cubicBezTo>
                <a:close/>
                <a:moveTo>
                  <a:pt x="398249" y="1477059"/>
                </a:moveTo>
                <a:cubicBezTo>
                  <a:pt x="408480" y="1480882"/>
                  <a:pt x="417523" y="1488532"/>
                  <a:pt x="423234" y="1499048"/>
                </a:cubicBezTo>
                <a:cubicBezTo>
                  <a:pt x="425137" y="1504785"/>
                  <a:pt x="427041" y="1510522"/>
                  <a:pt x="427041" y="1516259"/>
                </a:cubicBezTo>
                <a:cubicBezTo>
                  <a:pt x="427041" y="1533468"/>
                  <a:pt x="417523" y="1548766"/>
                  <a:pt x="402294" y="1556416"/>
                </a:cubicBezTo>
                <a:cubicBezTo>
                  <a:pt x="402294" y="1556416"/>
                  <a:pt x="402294" y="1556416"/>
                  <a:pt x="61547" y="1711307"/>
                </a:cubicBezTo>
                <a:cubicBezTo>
                  <a:pt x="40607" y="1720868"/>
                  <a:pt x="15860" y="1711307"/>
                  <a:pt x="6342" y="1690272"/>
                </a:cubicBezTo>
                <a:cubicBezTo>
                  <a:pt x="-3176" y="1669237"/>
                  <a:pt x="6342" y="1644378"/>
                  <a:pt x="27282" y="1632905"/>
                </a:cubicBezTo>
                <a:cubicBezTo>
                  <a:pt x="27282" y="1632905"/>
                  <a:pt x="27282" y="1632905"/>
                  <a:pt x="366125" y="1478015"/>
                </a:cubicBezTo>
                <a:cubicBezTo>
                  <a:pt x="376595" y="1473234"/>
                  <a:pt x="388017" y="1473234"/>
                  <a:pt x="398249" y="1477059"/>
                </a:cubicBezTo>
                <a:close/>
                <a:moveTo>
                  <a:pt x="5394603" y="1468287"/>
                </a:moveTo>
                <a:cubicBezTo>
                  <a:pt x="5412999" y="1468643"/>
                  <a:pt x="5429787" y="1479687"/>
                  <a:pt x="5436930" y="1498212"/>
                </a:cubicBezTo>
                <a:cubicBezTo>
                  <a:pt x="5438835" y="1503912"/>
                  <a:pt x="5438835" y="1509612"/>
                  <a:pt x="5438835" y="1515311"/>
                </a:cubicBezTo>
                <a:cubicBezTo>
                  <a:pt x="5438835" y="1532412"/>
                  <a:pt x="5429310" y="1549512"/>
                  <a:pt x="5410261" y="1557113"/>
                </a:cubicBezTo>
                <a:cubicBezTo>
                  <a:pt x="5410261" y="1557113"/>
                  <a:pt x="5410261" y="1557113"/>
                  <a:pt x="5069259" y="1693914"/>
                </a:cubicBezTo>
                <a:cubicBezTo>
                  <a:pt x="5046402" y="1703415"/>
                  <a:pt x="5019733" y="1692015"/>
                  <a:pt x="5010210" y="1667314"/>
                </a:cubicBezTo>
                <a:cubicBezTo>
                  <a:pt x="5000687" y="1644513"/>
                  <a:pt x="5012115" y="1617913"/>
                  <a:pt x="5036877" y="1608413"/>
                </a:cubicBezTo>
                <a:cubicBezTo>
                  <a:pt x="5036877" y="1608413"/>
                  <a:pt x="5036877" y="1608413"/>
                  <a:pt x="5375970" y="1471613"/>
                </a:cubicBezTo>
                <a:cubicBezTo>
                  <a:pt x="5382162" y="1469237"/>
                  <a:pt x="5388472" y="1468168"/>
                  <a:pt x="5394603" y="1468287"/>
                </a:cubicBezTo>
                <a:close/>
                <a:moveTo>
                  <a:pt x="929397" y="1468276"/>
                </a:moveTo>
                <a:cubicBezTo>
                  <a:pt x="946989" y="1468632"/>
                  <a:pt x="963777" y="1479676"/>
                  <a:pt x="970920" y="1498200"/>
                </a:cubicBezTo>
                <a:cubicBezTo>
                  <a:pt x="972826" y="1503900"/>
                  <a:pt x="974730" y="1509601"/>
                  <a:pt x="974730" y="1515301"/>
                </a:cubicBezTo>
                <a:cubicBezTo>
                  <a:pt x="974730" y="1532401"/>
                  <a:pt x="963300" y="1549501"/>
                  <a:pt x="946155" y="1557101"/>
                </a:cubicBezTo>
                <a:cubicBezTo>
                  <a:pt x="946155" y="1557101"/>
                  <a:pt x="946155" y="1557101"/>
                  <a:pt x="605156" y="1693902"/>
                </a:cubicBezTo>
                <a:cubicBezTo>
                  <a:pt x="580391" y="1703402"/>
                  <a:pt x="553721" y="1692002"/>
                  <a:pt x="546100" y="1667301"/>
                </a:cubicBezTo>
                <a:cubicBezTo>
                  <a:pt x="536576" y="1644501"/>
                  <a:pt x="548005" y="1617901"/>
                  <a:pt x="570866" y="1608401"/>
                </a:cubicBezTo>
                <a:cubicBezTo>
                  <a:pt x="570866" y="1608401"/>
                  <a:pt x="570866" y="1608401"/>
                  <a:pt x="911865" y="1471601"/>
                </a:cubicBezTo>
                <a:cubicBezTo>
                  <a:pt x="917580" y="1469226"/>
                  <a:pt x="923533" y="1468157"/>
                  <a:pt x="929397" y="1468276"/>
                </a:cubicBezTo>
                <a:close/>
                <a:moveTo>
                  <a:pt x="4844457" y="1461448"/>
                </a:moveTo>
                <a:cubicBezTo>
                  <a:pt x="4864107" y="1463144"/>
                  <a:pt x="4881610" y="1475289"/>
                  <a:pt x="4887326" y="1493862"/>
                </a:cubicBezTo>
                <a:cubicBezTo>
                  <a:pt x="4889232" y="1499576"/>
                  <a:pt x="4891138" y="1505292"/>
                  <a:pt x="4891138" y="1511006"/>
                </a:cubicBezTo>
                <a:cubicBezTo>
                  <a:pt x="4891138" y="1531962"/>
                  <a:pt x="4877800" y="1551012"/>
                  <a:pt x="4856840" y="1556728"/>
                </a:cubicBezTo>
                <a:cubicBezTo>
                  <a:pt x="4856840" y="1556728"/>
                  <a:pt x="4856840" y="1556728"/>
                  <a:pt x="4515847" y="1674839"/>
                </a:cubicBezTo>
                <a:cubicBezTo>
                  <a:pt x="4489179" y="1684364"/>
                  <a:pt x="4462507" y="1671029"/>
                  <a:pt x="4452982" y="1644358"/>
                </a:cubicBezTo>
                <a:cubicBezTo>
                  <a:pt x="4443457" y="1619593"/>
                  <a:pt x="4456792" y="1591017"/>
                  <a:pt x="4483463" y="1583397"/>
                </a:cubicBezTo>
                <a:cubicBezTo>
                  <a:pt x="4483463" y="1583397"/>
                  <a:pt x="4483463" y="1583397"/>
                  <a:pt x="4824450" y="1463382"/>
                </a:cubicBezTo>
                <a:cubicBezTo>
                  <a:pt x="4831119" y="1461477"/>
                  <a:pt x="4837908" y="1460882"/>
                  <a:pt x="4844457" y="1461448"/>
                </a:cubicBezTo>
                <a:close/>
                <a:moveTo>
                  <a:pt x="1479724" y="1461434"/>
                </a:moveTo>
                <a:cubicBezTo>
                  <a:pt x="1498668" y="1463130"/>
                  <a:pt x="1516541" y="1475275"/>
                  <a:pt x="1523689" y="1493848"/>
                </a:cubicBezTo>
                <a:cubicBezTo>
                  <a:pt x="1525596" y="1499564"/>
                  <a:pt x="1525596" y="1505278"/>
                  <a:pt x="1525596" y="1510993"/>
                </a:cubicBezTo>
                <a:cubicBezTo>
                  <a:pt x="1525596" y="1531948"/>
                  <a:pt x="1512251" y="1550999"/>
                  <a:pt x="1493187" y="1556713"/>
                </a:cubicBezTo>
                <a:cubicBezTo>
                  <a:pt x="1493187" y="1556713"/>
                  <a:pt x="1493187" y="1556713"/>
                  <a:pt x="1150039" y="1674825"/>
                </a:cubicBezTo>
                <a:cubicBezTo>
                  <a:pt x="1125256" y="1684349"/>
                  <a:pt x="1096660" y="1671014"/>
                  <a:pt x="1089034" y="1644344"/>
                </a:cubicBezTo>
                <a:cubicBezTo>
                  <a:pt x="1079503" y="1619579"/>
                  <a:pt x="1092847" y="1591004"/>
                  <a:pt x="1117630" y="1583384"/>
                </a:cubicBezTo>
                <a:cubicBezTo>
                  <a:pt x="1117630" y="1583384"/>
                  <a:pt x="1117630" y="1583384"/>
                  <a:pt x="1460779" y="1463368"/>
                </a:cubicBezTo>
                <a:cubicBezTo>
                  <a:pt x="1466975" y="1461464"/>
                  <a:pt x="1473409" y="1460868"/>
                  <a:pt x="1479724" y="1461434"/>
                </a:cubicBezTo>
                <a:close/>
                <a:moveTo>
                  <a:pt x="4287991" y="1454950"/>
                </a:moveTo>
                <a:cubicBezTo>
                  <a:pt x="4308456" y="1457007"/>
                  <a:pt x="4325971" y="1471672"/>
                  <a:pt x="4331690" y="1491704"/>
                </a:cubicBezTo>
                <a:cubicBezTo>
                  <a:pt x="4333596" y="1497427"/>
                  <a:pt x="4335502" y="1501243"/>
                  <a:pt x="4335502" y="1506966"/>
                </a:cubicBezTo>
                <a:cubicBezTo>
                  <a:pt x="4335502" y="1529859"/>
                  <a:pt x="4320252" y="1550846"/>
                  <a:pt x="4297375" y="1558477"/>
                </a:cubicBezTo>
                <a:cubicBezTo>
                  <a:pt x="4297375" y="1558477"/>
                  <a:pt x="4297375" y="1558477"/>
                  <a:pt x="3954252" y="1657683"/>
                </a:cubicBezTo>
                <a:cubicBezTo>
                  <a:pt x="3925655" y="1665315"/>
                  <a:pt x="3897059" y="1650053"/>
                  <a:pt x="3887526" y="1621435"/>
                </a:cubicBezTo>
                <a:cubicBezTo>
                  <a:pt x="3879900" y="1594725"/>
                  <a:pt x="3897059" y="1564200"/>
                  <a:pt x="3923748" y="1556569"/>
                </a:cubicBezTo>
                <a:cubicBezTo>
                  <a:pt x="3923748" y="1556569"/>
                  <a:pt x="3923748" y="1556569"/>
                  <a:pt x="4266871" y="1457365"/>
                </a:cubicBezTo>
                <a:cubicBezTo>
                  <a:pt x="4274021" y="1454981"/>
                  <a:pt x="4281169" y="1454264"/>
                  <a:pt x="4287991" y="1454950"/>
                </a:cubicBezTo>
                <a:close/>
                <a:moveTo>
                  <a:pt x="2034947" y="1454934"/>
                </a:moveTo>
                <a:cubicBezTo>
                  <a:pt x="2055090" y="1456991"/>
                  <a:pt x="2073625" y="1471657"/>
                  <a:pt x="2079328" y="1491688"/>
                </a:cubicBezTo>
                <a:cubicBezTo>
                  <a:pt x="2081229" y="1497412"/>
                  <a:pt x="2081229" y="1501227"/>
                  <a:pt x="2081229" y="1506950"/>
                </a:cubicBezTo>
                <a:cubicBezTo>
                  <a:pt x="2081229" y="1529844"/>
                  <a:pt x="2066020" y="1550830"/>
                  <a:pt x="2043205" y="1558461"/>
                </a:cubicBezTo>
                <a:cubicBezTo>
                  <a:pt x="2043205" y="1558461"/>
                  <a:pt x="2043205" y="1558461"/>
                  <a:pt x="1701020" y="1657667"/>
                </a:cubicBezTo>
                <a:cubicBezTo>
                  <a:pt x="1672505" y="1665298"/>
                  <a:pt x="1643989" y="1650035"/>
                  <a:pt x="1636385" y="1621418"/>
                </a:cubicBezTo>
                <a:cubicBezTo>
                  <a:pt x="1628781" y="1594709"/>
                  <a:pt x="1643989" y="1564184"/>
                  <a:pt x="1672505" y="1556553"/>
                </a:cubicBezTo>
                <a:cubicBezTo>
                  <a:pt x="1672505" y="1556553"/>
                  <a:pt x="1672505" y="1556553"/>
                  <a:pt x="2014689" y="1457348"/>
                </a:cubicBezTo>
                <a:cubicBezTo>
                  <a:pt x="2021343" y="1454963"/>
                  <a:pt x="2028234" y="1454248"/>
                  <a:pt x="2034947" y="1454934"/>
                </a:cubicBezTo>
                <a:close/>
                <a:moveTo>
                  <a:pt x="3729077" y="1449679"/>
                </a:moveTo>
                <a:cubicBezTo>
                  <a:pt x="3750749" y="1453151"/>
                  <a:pt x="3768940" y="1469174"/>
                  <a:pt x="3773220" y="1490538"/>
                </a:cubicBezTo>
                <a:cubicBezTo>
                  <a:pt x="3775123" y="1496235"/>
                  <a:pt x="3775123" y="1500034"/>
                  <a:pt x="3775123" y="1503831"/>
                </a:cubicBezTo>
                <a:cubicBezTo>
                  <a:pt x="3775123" y="1528519"/>
                  <a:pt x="3758001" y="1553208"/>
                  <a:pt x="3733267" y="1558905"/>
                </a:cubicBezTo>
                <a:cubicBezTo>
                  <a:pt x="3733267" y="1558905"/>
                  <a:pt x="3733267" y="1558905"/>
                  <a:pt x="3388946" y="1638666"/>
                </a:cubicBezTo>
                <a:cubicBezTo>
                  <a:pt x="3358507" y="1646263"/>
                  <a:pt x="3328069" y="1627272"/>
                  <a:pt x="3322361" y="1598786"/>
                </a:cubicBezTo>
                <a:cubicBezTo>
                  <a:pt x="3314753" y="1568400"/>
                  <a:pt x="3333777" y="1538015"/>
                  <a:pt x="3362311" y="1530418"/>
                </a:cubicBezTo>
                <a:cubicBezTo>
                  <a:pt x="3362311" y="1530418"/>
                  <a:pt x="3362311" y="1530418"/>
                  <a:pt x="3706634" y="1450658"/>
                </a:cubicBezTo>
                <a:cubicBezTo>
                  <a:pt x="3714241" y="1448760"/>
                  <a:pt x="3721853" y="1448522"/>
                  <a:pt x="3729077" y="1449679"/>
                </a:cubicBezTo>
                <a:close/>
                <a:moveTo>
                  <a:pt x="2595306" y="1449661"/>
                </a:moveTo>
                <a:cubicBezTo>
                  <a:pt x="2616529" y="1453133"/>
                  <a:pt x="2634008" y="1469156"/>
                  <a:pt x="2639715" y="1490520"/>
                </a:cubicBezTo>
                <a:cubicBezTo>
                  <a:pt x="2641617" y="1496217"/>
                  <a:pt x="2641617" y="1500015"/>
                  <a:pt x="2641617" y="1503814"/>
                </a:cubicBezTo>
                <a:cubicBezTo>
                  <a:pt x="2641617" y="1528502"/>
                  <a:pt x="2624496" y="1553189"/>
                  <a:pt x="2597862" y="1558887"/>
                </a:cubicBezTo>
                <a:cubicBezTo>
                  <a:pt x="2597862" y="1558887"/>
                  <a:pt x="2597862" y="1558887"/>
                  <a:pt x="2255431" y="1638648"/>
                </a:cubicBezTo>
                <a:cubicBezTo>
                  <a:pt x="2224993" y="1646244"/>
                  <a:pt x="2194554" y="1627253"/>
                  <a:pt x="2188847" y="1598767"/>
                </a:cubicBezTo>
                <a:cubicBezTo>
                  <a:pt x="2181237" y="1568382"/>
                  <a:pt x="2200262" y="1537997"/>
                  <a:pt x="2228797" y="1530401"/>
                </a:cubicBezTo>
                <a:cubicBezTo>
                  <a:pt x="2228797" y="1530401"/>
                  <a:pt x="2228797" y="1530401"/>
                  <a:pt x="2573131" y="1450640"/>
                </a:cubicBezTo>
                <a:cubicBezTo>
                  <a:pt x="2580741" y="1448741"/>
                  <a:pt x="2588231" y="1448503"/>
                  <a:pt x="2595306" y="1449661"/>
                </a:cubicBezTo>
                <a:close/>
                <a:moveTo>
                  <a:pt x="3137756" y="1442427"/>
                </a:moveTo>
                <a:cubicBezTo>
                  <a:pt x="3170206" y="1436712"/>
                  <a:pt x="3200750" y="1457667"/>
                  <a:pt x="3206475" y="1490052"/>
                </a:cubicBezTo>
                <a:cubicBezTo>
                  <a:pt x="3206475" y="1493862"/>
                  <a:pt x="3208386" y="1497671"/>
                  <a:pt x="3208386" y="1499576"/>
                </a:cubicBezTo>
                <a:cubicBezTo>
                  <a:pt x="3208386" y="1528151"/>
                  <a:pt x="3187388" y="1552917"/>
                  <a:pt x="3158755" y="1558632"/>
                </a:cubicBezTo>
                <a:cubicBezTo>
                  <a:pt x="3158755" y="1558632"/>
                  <a:pt x="3158755" y="1558632"/>
                  <a:pt x="2813246" y="1621498"/>
                </a:cubicBezTo>
                <a:cubicBezTo>
                  <a:pt x="2780795" y="1627213"/>
                  <a:pt x="2750253" y="1606257"/>
                  <a:pt x="2744525" y="1573872"/>
                </a:cubicBezTo>
                <a:cubicBezTo>
                  <a:pt x="2736892" y="1541486"/>
                  <a:pt x="2759797" y="1511006"/>
                  <a:pt x="2792248" y="1505291"/>
                </a:cubicBezTo>
                <a:cubicBezTo>
                  <a:pt x="2792248" y="1505291"/>
                  <a:pt x="2792248" y="1505291"/>
                  <a:pt x="3137756" y="1442427"/>
                </a:cubicBezTo>
                <a:close/>
                <a:moveTo>
                  <a:pt x="9860829" y="1204612"/>
                </a:moveTo>
                <a:cubicBezTo>
                  <a:pt x="9866293" y="1205090"/>
                  <a:pt x="9871519" y="1207481"/>
                  <a:pt x="9875319" y="1211306"/>
                </a:cubicBezTo>
                <a:cubicBezTo>
                  <a:pt x="9879119" y="1217044"/>
                  <a:pt x="9879119" y="1220870"/>
                  <a:pt x="9879119" y="1226607"/>
                </a:cubicBezTo>
                <a:cubicBezTo>
                  <a:pt x="9879119" y="1232345"/>
                  <a:pt x="9877219" y="1238083"/>
                  <a:pt x="9871518" y="1243820"/>
                </a:cubicBezTo>
                <a:cubicBezTo>
                  <a:pt x="9871518" y="1243820"/>
                  <a:pt x="9871518" y="1243820"/>
                  <a:pt x="9540880" y="1511592"/>
                </a:cubicBezTo>
                <a:cubicBezTo>
                  <a:pt x="9531379" y="1519243"/>
                  <a:pt x="9518078" y="1519243"/>
                  <a:pt x="9510477" y="1509680"/>
                </a:cubicBezTo>
                <a:cubicBezTo>
                  <a:pt x="9502876" y="1500116"/>
                  <a:pt x="9504776" y="1486728"/>
                  <a:pt x="9514277" y="1479077"/>
                </a:cubicBezTo>
                <a:cubicBezTo>
                  <a:pt x="9514277" y="1479077"/>
                  <a:pt x="9514277" y="1479077"/>
                  <a:pt x="9844915" y="1209393"/>
                </a:cubicBezTo>
                <a:cubicBezTo>
                  <a:pt x="9849665" y="1205568"/>
                  <a:pt x="9855366" y="1204134"/>
                  <a:pt x="9860829" y="1204612"/>
                </a:cubicBezTo>
                <a:close/>
                <a:moveTo>
                  <a:pt x="9284557" y="1198509"/>
                </a:moveTo>
                <a:cubicBezTo>
                  <a:pt x="9290758" y="1199223"/>
                  <a:pt x="9296482" y="1202078"/>
                  <a:pt x="9300299" y="1206835"/>
                </a:cubicBezTo>
                <a:cubicBezTo>
                  <a:pt x="9304115" y="1212544"/>
                  <a:pt x="9306023" y="1216350"/>
                  <a:pt x="9306023" y="1222058"/>
                </a:cubicBezTo>
                <a:cubicBezTo>
                  <a:pt x="9306023" y="1229668"/>
                  <a:pt x="9302207" y="1237280"/>
                  <a:pt x="9296482" y="1242988"/>
                </a:cubicBezTo>
                <a:cubicBezTo>
                  <a:pt x="9296482" y="1242988"/>
                  <a:pt x="9296482" y="1242988"/>
                  <a:pt x="8962556" y="1494190"/>
                </a:cubicBezTo>
                <a:cubicBezTo>
                  <a:pt x="8951107" y="1501802"/>
                  <a:pt x="8935841" y="1499899"/>
                  <a:pt x="8928209" y="1490384"/>
                </a:cubicBezTo>
                <a:cubicBezTo>
                  <a:pt x="8918668" y="1478966"/>
                  <a:pt x="8920576" y="1463742"/>
                  <a:pt x="8932025" y="1454228"/>
                </a:cubicBezTo>
                <a:cubicBezTo>
                  <a:pt x="8932025" y="1454228"/>
                  <a:pt x="8932025" y="1454228"/>
                  <a:pt x="9265952" y="1203029"/>
                </a:cubicBezTo>
                <a:cubicBezTo>
                  <a:pt x="9271677" y="1199223"/>
                  <a:pt x="9278355" y="1197796"/>
                  <a:pt x="9284557" y="1198509"/>
                </a:cubicBezTo>
                <a:close/>
                <a:moveTo>
                  <a:pt x="10445106" y="1198483"/>
                </a:moveTo>
                <a:cubicBezTo>
                  <a:pt x="10451287" y="1199197"/>
                  <a:pt x="10456992" y="1202051"/>
                  <a:pt x="10460796" y="1206809"/>
                </a:cubicBezTo>
                <a:cubicBezTo>
                  <a:pt x="10464600" y="1212518"/>
                  <a:pt x="10466502" y="1216324"/>
                  <a:pt x="10466502" y="1222033"/>
                </a:cubicBezTo>
                <a:cubicBezTo>
                  <a:pt x="10466502" y="1229645"/>
                  <a:pt x="10462698" y="1237258"/>
                  <a:pt x="10456993" y="1242967"/>
                </a:cubicBezTo>
                <a:cubicBezTo>
                  <a:pt x="10456993" y="1242967"/>
                  <a:pt x="10456993" y="1242967"/>
                  <a:pt x="10124163" y="1494166"/>
                </a:cubicBezTo>
                <a:cubicBezTo>
                  <a:pt x="10112752" y="1501779"/>
                  <a:pt x="10097537" y="1499876"/>
                  <a:pt x="10089930" y="1490360"/>
                </a:cubicBezTo>
                <a:cubicBezTo>
                  <a:pt x="10082322" y="1478942"/>
                  <a:pt x="10084224" y="1463718"/>
                  <a:pt x="10093733" y="1454203"/>
                </a:cubicBezTo>
                <a:cubicBezTo>
                  <a:pt x="10093733" y="1454203"/>
                  <a:pt x="10093733" y="1454203"/>
                  <a:pt x="10426563" y="1203003"/>
                </a:cubicBezTo>
                <a:cubicBezTo>
                  <a:pt x="10432268" y="1199197"/>
                  <a:pt x="10438925" y="1197769"/>
                  <a:pt x="10445106" y="1198483"/>
                </a:cubicBezTo>
                <a:close/>
                <a:moveTo>
                  <a:pt x="8713976" y="1190406"/>
                </a:moveTo>
                <a:cubicBezTo>
                  <a:pt x="8720876" y="1191594"/>
                  <a:pt x="8727539" y="1195396"/>
                  <a:pt x="8732297" y="1201099"/>
                </a:cubicBezTo>
                <a:cubicBezTo>
                  <a:pt x="8736104" y="1206803"/>
                  <a:pt x="8736104" y="1212505"/>
                  <a:pt x="8736104" y="1218208"/>
                </a:cubicBezTo>
                <a:cubicBezTo>
                  <a:pt x="8736104" y="1225809"/>
                  <a:pt x="8732297" y="1235312"/>
                  <a:pt x="8724683" y="1241015"/>
                </a:cubicBezTo>
                <a:cubicBezTo>
                  <a:pt x="8724683" y="1241015"/>
                  <a:pt x="8724683" y="1241015"/>
                  <a:pt x="8391573" y="1476736"/>
                </a:cubicBezTo>
                <a:cubicBezTo>
                  <a:pt x="8378249" y="1484339"/>
                  <a:pt x="8361117" y="1482438"/>
                  <a:pt x="8353503" y="1469132"/>
                </a:cubicBezTo>
                <a:cubicBezTo>
                  <a:pt x="8343986" y="1457727"/>
                  <a:pt x="8347793" y="1440617"/>
                  <a:pt x="8359214" y="1431112"/>
                </a:cubicBezTo>
                <a:cubicBezTo>
                  <a:pt x="8359214" y="1431112"/>
                  <a:pt x="8359214" y="1431112"/>
                  <a:pt x="8694227" y="1195396"/>
                </a:cubicBezTo>
                <a:cubicBezTo>
                  <a:pt x="8699937" y="1190644"/>
                  <a:pt x="8707076" y="1189218"/>
                  <a:pt x="8713976" y="1190406"/>
                </a:cubicBezTo>
                <a:close/>
                <a:moveTo>
                  <a:pt x="11023582" y="1190378"/>
                </a:moveTo>
                <a:cubicBezTo>
                  <a:pt x="11030720" y="1191566"/>
                  <a:pt x="11037382" y="1195368"/>
                  <a:pt x="11042141" y="1201071"/>
                </a:cubicBezTo>
                <a:cubicBezTo>
                  <a:pt x="11044045" y="1206774"/>
                  <a:pt x="11045948" y="1212477"/>
                  <a:pt x="11045948" y="1218180"/>
                </a:cubicBezTo>
                <a:cubicBezTo>
                  <a:pt x="11045948" y="1225783"/>
                  <a:pt x="11042141" y="1235288"/>
                  <a:pt x="11034527" y="1240991"/>
                </a:cubicBezTo>
                <a:cubicBezTo>
                  <a:pt x="11034527" y="1240991"/>
                  <a:pt x="11034527" y="1240991"/>
                  <a:pt x="10701417" y="1476710"/>
                </a:cubicBezTo>
                <a:cubicBezTo>
                  <a:pt x="10688093" y="1484313"/>
                  <a:pt x="10670961" y="1482412"/>
                  <a:pt x="10663347" y="1469106"/>
                </a:cubicBezTo>
                <a:cubicBezTo>
                  <a:pt x="10653830" y="1457700"/>
                  <a:pt x="10655733" y="1440591"/>
                  <a:pt x="10669058" y="1431087"/>
                </a:cubicBezTo>
                <a:cubicBezTo>
                  <a:pt x="10669058" y="1431087"/>
                  <a:pt x="10669058" y="1431087"/>
                  <a:pt x="11002168" y="1195368"/>
                </a:cubicBezTo>
                <a:cubicBezTo>
                  <a:pt x="11008830" y="1190616"/>
                  <a:pt x="11016444" y="1189190"/>
                  <a:pt x="11023582" y="1190378"/>
                </a:cubicBezTo>
                <a:close/>
                <a:moveTo>
                  <a:pt x="8150486" y="1182942"/>
                </a:moveTo>
                <a:cubicBezTo>
                  <a:pt x="8158100" y="1184606"/>
                  <a:pt x="8165239" y="1189358"/>
                  <a:pt x="8169997" y="1196960"/>
                </a:cubicBezTo>
                <a:cubicBezTo>
                  <a:pt x="8173804" y="1200763"/>
                  <a:pt x="8175708" y="1206467"/>
                  <a:pt x="8175708" y="1212168"/>
                </a:cubicBezTo>
                <a:cubicBezTo>
                  <a:pt x="8175708" y="1223571"/>
                  <a:pt x="8169997" y="1233074"/>
                  <a:pt x="8160480" y="1238776"/>
                </a:cubicBezTo>
                <a:cubicBezTo>
                  <a:pt x="8160480" y="1238776"/>
                  <a:pt x="8160480" y="1238776"/>
                  <a:pt x="7825460" y="1457373"/>
                </a:cubicBezTo>
                <a:cubicBezTo>
                  <a:pt x="7812135" y="1466876"/>
                  <a:pt x="7793100" y="1463074"/>
                  <a:pt x="7783582" y="1449769"/>
                </a:cubicBezTo>
                <a:cubicBezTo>
                  <a:pt x="7774065" y="1434562"/>
                  <a:pt x="7777872" y="1415556"/>
                  <a:pt x="7793100" y="1407952"/>
                </a:cubicBezTo>
                <a:cubicBezTo>
                  <a:pt x="7793100" y="1407952"/>
                  <a:pt x="7793100" y="1407952"/>
                  <a:pt x="8128120" y="1187458"/>
                </a:cubicBezTo>
                <a:cubicBezTo>
                  <a:pt x="8134782" y="1182705"/>
                  <a:pt x="8142872" y="1181279"/>
                  <a:pt x="8150486" y="1182942"/>
                </a:cubicBezTo>
                <a:close/>
                <a:moveTo>
                  <a:pt x="11595229" y="1182937"/>
                </a:moveTo>
                <a:cubicBezTo>
                  <a:pt x="11602849" y="1184600"/>
                  <a:pt x="11609517" y="1189352"/>
                  <a:pt x="11613327" y="1196955"/>
                </a:cubicBezTo>
                <a:cubicBezTo>
                  <a:pt x="11617137" y="1200757"/>
                  <a:pt x="11619042" y="1206459"/>
                  <a:pt x="11619042" y="1212161"/>
                </a:cubicBezTo>
                <a:cubicBezTo>
                  <a:pt x="11619042" y="1223565"/>
                  <a:pt x="11615232" y="1233069"/>
                  <a:pt x="11605707" y="1238770"/>
                </a:cubicBezTo>
                <a:cubicBezTo>
                  <a:pt x="11605707" y="1238770"/>
                  <a:pt x="11605707" y="1238770"/>
                  <a:pt x="11270423" y="1457367"/>
                </a:cubicBezTo>
                <a:cubicBezTo>
                  <a:pt x="11257087" y="1466870"/>
                  <a:pt x="11238037" y="1463069"/>
                  <a:pt x="11228512" y="1449763"/>
                </a:cubicBezTo>
                <a:cubicBezTo>
                  <a:pt x="11218987" y="1434556"/>
                  <a:pt x="11222797" y="1415549"/>
                  <a:pt x="11236132" y="1407946"/>
                </a:cubicBezTo>
                <a:cubicBezTo>
                  <a:pt x="11236132" y="1407946"/>
                  <a:pt x="11236132" y="1407946"/>
                  <a:pt x="11571416" y="1187451"/>
                </a:cubicBezTo>
                <a:cubicBezTo>
                  <a:pt x="11579036" y="1182699"/>
                  <a:pt x="11587609" y="1181273"/>
                  <a:pt x="11595229" y="1182937"/>
                </a:cubicBezTo>
                <a:close/>
                <a:moveTo>
                  <a:pt x="12139750" y="1177944"/>
                </a:moveTo>
                <a:cubicBezTo>
                  <a:pt x="12139750" y="1177944"/>
                  <a:pt x="12139750" y="1177944"/>
                  <a:pt x="12139750" y="1255774"/>
                </a:cubicBezTo>
                <a:cubicBezTo>
                  <a:pt x="12139750" y="1255774"/>
                  <a:pt x="12139750" y="1255774"/>
                  <a:pt x="11834677" y="1439913"/>
                </a:cubicBezTo>
                <a:cubicBezTo>
                  <a:pt x="11817517" y="1449407"/>
                  <a:pt x="11798450" y="1445609"/>
                  <a:pt x="11788917" y="1428524"/>
                </a:cubicBezTo>
                <a:cubicBezTo>
                  <a:pt x="11779383" y="1413338"/>
                  <a:pt x="11783196" y="1392456"/>
                  <a:pt x="11798450" y="1382965"/>
                </a:cubicBezTo>
                <a:lnTo>
                  <a:pt x="12135937" y="1179842"/>
                </a:lnTo>
                <a:cubicBezTo>
                  <a:pt x="12137843" y="1179842"/>
                  <a:pt x="12137843" y="1177944"/>
                  <a:pt x="12139750" y="1177944"/>
                </a:cubicBezTo>
                <a:close/>
                <a:moveTo>
                  <a:pt x="7594338" y="1175955"/>
                </a:moveTo>
                <a:cubicBezTo>
                  <a:pt x="7602441" y="1178093"/>
                  <a:pt x="7609590" y="1183320"/>
                  <a:pt x="7614356" y="1190924"/>
                </a:cubicBezTo>
                <a:cubicBezTo>
                  <a:pt x="7618169" y="1196625"/>
                  <a:pt x="7620076" y="1202328"/>
                  <a:pt x="7620076" y="1208030"/>
                </a:cubicBezTo>
                <a:cubicBezTo>
                  <a:pt x="7620076" y="1219433"/>
                  <a:pt x="7614356" y="1230835"/>
                  <a:pt x="7604824" y="1236536"/>
                </a:cubicBezTo>
                <a:cubicBezTo>
                  <a:pt x="7604824" y="1236536"/>
                  <a:pt x="7604824" y="1236536"/>
                  <a:pt x="7267372" y="1439910"/>
                </a:cubicBezTo>
                <a:cubicBezTo>
                  <a:pt x="7252119" y="1449414"/>
                  <a:pt x="7231148" y="1445612"/>
                  <a:pt x="7221615" y="1428505"/>
                </a:cubicBezTo>
                <a:cubicBezTo>
                  <a:pt x="7212083" y="1413303"/>
                  <a:pt x="7217802" y="1392394"/>
                  <a:pt x="7233054" y="1382889"/>
                </a:cubicBezTo>
                <a:cubicBezTo>
                  <a:pt x="7233054" y="1382889"/>
                  <a:pt x="7233054" y="1382889"/>
                  <a:pt x="7568600" y="1179519"/>
                </a:cubicBezTo>
                <a:cubicBezTo>
                  <a:pt x="7577179" y="1174767"/>
                  <a:pt x="7586235" y="1173817"/>
                  <a:pt x="7594338" y="1175955"/>
                </a:cubicBezTo>
                <a:close/>
                <a:moveTo>
                  <a:pt x="7043844" y="1168289"/>
                </a:moveTo>
                <a:cubicBezTo>
                  <a:pt x="7052668" y="1170680"/>
                  <a:pt x="7060300" y="1176415"/>
                  <a:pt x="7065070" y="1185018"/>
                </a:cubicBezTo>
                <a:cubicBezTo>
                  <a:pt x="7068886" y="1190754"/>
                  <a:pt x="7070794" y="1196488"/>
                  <a:pt x="7070794" y="1204137"/>
                </a:cubicBezTo>
                <a:cubicBezTo>
                  <a:pt x="7070794" y="1215606"/>
                  <a:pt x="7063162" y="1228986"/>
                  <a:pt x="7051714" y="1234720"/>
                </a:cubicBezTo>
                <a:cubicBezTo>
                  <a:pt x="7051714" y="1234720"/>
                  <a:pt x="7051714" y="1234720"/>
                  <a:pt x="6714009" y="1423981"/>
                </a:cubicBezTo>
                <a:cubicBezTo>
                  <a:pt x="6696837" y="1433539"/>
                  <a:pt x="6673942" y="1427803"/>
                  <a:pt x="6664402" y="1410601"/>
                </a:cubicBezTo>
                <a:cubicBezTo>
                  <a:pt x="6654863" y="1391481"/>
                  <a:pt x="6660587" y="1370454"/>
                  <a:pt x="6677758" y="1360894"/>
                </a:cubicBezTo>
                <a:cubicBezTo>
                  <a:pt x="6677758" y="1360894"/>
                  <a:pt x="6677758" y="1360894"/>
                  <a:pt x="7015463" y="1171635"/>
                </a:cubicBezTo>
                <a:cubicBezTo>
                  <a:pt x="7025003" y="1166856"/>
                  <a:pt x="7035020" y="1165900"/>
                  <a:pt x="7043844" y="1168289"/>
                </a:cubicBezTo>
                <a:close/>
                <a:moveTo>
                  <a:pt x="6500891" y="1161548"/>
                </a:moveTo>
                <a:cubicBezTo>
                  <a:pt x="6510676" y="1164656"/>
                  <a:pt x="6519268" y="1171347"/>
                  <a:pt x="6524041" y="1180908"/>
                </a:cubicBezTo>
                <a:cubicBezTo>
                  <a:pt x="6525950" y="1186644"/>
                  <a:pt x="6527860" y="1192379"/>
                  <a:pt x="6527860" y="1198115"/>
                </a:cubicBezTo>
                <a:cubicBezTo>
                  <a:pt x="6527860" y="1213412"/>
                  <a:pt x="6520223" y="1226794"/>
                  <a:pt x="6506857" y="1234440"/>
                </a:cubicBezTo>
                <a:cubicBezTo>
                  <a:pt x="6506857" y="1234440"/>
                  <a:pt x="6506857" y="1234440"/>
                  <a:pt x="6166999" y="1406519"/>
                </a:cubicBezTo>
                <a:cubicBezTo>
                  <a:pt x="6147906" y="1416079"/>
                  <a:pt x="6123085" y="1408432"/>
                  <a:pt x="6113538" y="1389310"/>
                </a:cubicBezTo>
                <a:cubicBezTo>
                  <a:pt x="6103992" y="1370191"/>
                  <a:pt x="6111629" y="1345334"/>
                  <a:pt x="6130722" y="1335774"/>
                </a:cubicBezTo>
                <a:cubicBezTo>
                  <a:pt x="6130722" y="1335774"/>
                  <a:pt x="6130722" y="1335774"/>
                  <a:pt x="6470580" y="1163700"/>
                </a:cubicBezTo>
                <a:cubicBezTo>
                  <a:pt x="6480127" y="1158919"/>
                  <a:pt x="6491105" y="1158442"/>
                  <a:pt x="6500891" y="1161548"/>
                </a:cubicBezTo>
                <a:close/>
                <a:moveTo>
                  <a:pt x="5957727" y="1155628"/>
                </a:moveTo>
                <a:cubicBezTo>
                  <a:pt x="5967957" y="1159191"/>
                  <a:pt x="5977000" y="1166792"/>
                  <a:pt x="5982710" y="1178193"/>
                </a:cubicBezTo>
                <a:cubicBezTo>
                  <a:pt x="5984614" y="1183894"/>
                  <a:pt x="5986518" y="1189596"/>
                  <a:pt x="5986518" y="1195296"/>
                </a:cubicBezTo>
                <a:cubicBezTo>
                  <a:pt x="5986518" y="1210498"/>
                  <a:pt x="5977000" y="1225697"/>
                  <a:pt x="5961771" y="1233296"/>
                </a:cubicBezTo>
                <a:cubicBezTo>
                  <a:pt x="5961771" y="1233296"/>
                  <a:pt x="5961771" y="1233296"/>
                  <a:pt x="5622934" y="1389114"/>
                </a:cubicBezTo>
                <a:cubicBezTo>
                  <a:pt x="5600091" y="1398614"/>
                  <a:pt x="5575344" y="1389114"/>
                  <a:pt x="5565827" y="1368212"/>
                </a:cubicBezTo>
                <a:cubicBezTo>
                  <a:pt x="5556309" y="1347309"/>
                  <a:pt x="5565827" y="1322605"/>
                  <a:pt x="5586767" y="1313104"/>
                </a:cubicBezTo>
                <a:cubicBezTo>
                  <a:pt x="5586767" y="1313104"/>
                  <a:pt x="5586767" y="1313104"/>
                  <a:pt x="5925602" y="1157291"/>
                </a:cubicBezTo>
                <a:cubicBezTo>
                  <a:pt x="5936072" y="1152540"/>
                  <a:pt x="5947494" y="1152065"/>
                  <a:pt x="5957727" y="1155628"/>
                </a:cubicBezTo>
                <a:close/>
                <a:moveTo>
                  <a:pt x="398307" y="1155617"/>
                </a:moveTo>
                <a:cubicBezTo>
                  <a:pt x="408309" y="1159180"/>
                  <a:pt x="416881" y="1166781"/>
                  <a:pt x="421644" y="1178183"/>
                </a:cubicBezTo>
                <a:cubicBezTo>
                  <a:pt x="425454" y="1183883"/>
                  <a:pt x="425454" y="1189583"/>
                  <a:pt x="425454" y="1195284"/>
                </a:cubicBezTo>
                <a:cubicBezTo>
                  <a:pt x="425454" y="1210486"/>
                  <a:pt x="417834" y="1225685"/>
                  <a:pt x="402594" y="1233286"/>
                </a:cubicBezTo>
                <a:cubicBezTo>
                  <a:pt x="402594" y="1233286"/>
                  <a:pt x="402594" y="1233286"/>
                  <a:pt x="61595" y="1389103"/>
                </a:cubicBezTo>
                <a:cubicBezTo>
                  <a:pt x="40639" y="1398604"/>
                  <a:pt x="15874" y="1389103"/>
                  <a:pt x="6349" y="1368201"/>
                </a:cubicBezTo>
                <a:cubicBezTo>
                  <a:pt x="-3176" y="1347297"/>
                  <a:pt x="6349" y="1322596"/>
                  <a:pt x="27304" y="1313094"/>
                </a:cubicBezTo>
                <a:cubicBezTo>
                  <a:pt x="27304" y="1313094"/>
                  <a:pt x="27304" y="1313094"/>
                  <a:pt x="366398" y="1157280"/>
                </a:cubicBezTo>
                <a:cubicBezTo>
                  <a:pt x="376876" y="1152529"/>
                  <a:pt x="388306" y="1152054"/>
                  <a:pt x="398307" y="1155617"/>
                </a:cubicBezTo>
                <a:close/>
                <a:moveTo>
                  <a:pt x="5393468" y="1144402"/>
                </a:moveTo>
                <a:cubicBezTo>
                  <a:pt x="5411072" y="1144669"/>
                  <a:pt x="5427873" y="1155342"/>
                  <a:pt x="5435021" y="1172421"/>
                </a:cubicBezTo>
                <a:cubicBezTo>
                  <a:pt x="5436928" y="1178114"/>
                  <a:pt x="5438834" y="1183808"/>
                  <a:pt x="5438834" y="1189500"/>
                </a:cubicBezTo>
                <a:cubicBezTo>
                  <a:pt x="5438834" y="1208476"/>
                  <a:pt x="5427396" y="1225552"/>
                  <a:pt x="5410239" y="1231244"/>
                </a:cubicBezTo>
                <a:cubicBezTo>
                  <a:pt x="5410239" y="1231244"/>
                  <a:pt x="5410239" y="1231244"/>
                  <a:pt x="5070896" y="1371665"/>
                </a:cubicBezTo>
                <a:cubicBezTo>
                  <a:pt x="5046116" y="1381152"/>
                  <a:pt x="5021336" y="1369767"/>
                  <a:pt x="5011805" y="1346995"/>
                </a:cubicBezTo>
                <a:cubicBezTo>
                  <a:pt x="5002274" y="1324224"/>
                  <a:pt x="5011805" y="1297657"/>
                  <a:pt x="5036586" y="1288169"/>
                </a:cubicBezTo>
                <a:cubicBezTo>
                  <a:pt x="5036586" y="1288169"/>
                  <a:pt x="5036586" y="1288169"/>
                  <a:pt x="5375924" y="1147752"/>
                </a:cubicBezTo>
                <a:cubicBezTo>
                  <a:pt x="5381644" y="1145381"/>
                  <a:pt x="5387601" y="1144313"/>
                  <a:pt x="5393468" y="1144402"/>
                </a:cubicBezTo>
                <a:close/>
                <a:moveTo>
                  <a:pt x="929385" y="1144389"/>
                </a:moveTo>
                <a:cubicBezTo>
                  <a:pt x="946453" y="1144656"/>
                  <a:pt x="962181" y="1155330"/>
                  <a:pt x="969330" y="1172407"/>
                </a:cubicBezTo>
                <a:cubicBezTo>
                  <a:pt x="973143" y="1178101"/>
                  <a:pt x="973143" y="1183794"/>
                  <a:pt x="973143" y="1189486"/>
                </a:cubicBezTo>
                <a:cubicBezTo>
                  <a:pt x="973143" y="1208461"/>
                  <a:pt x="963611" y="1225538"/>
                  <a:pt x="946453" y="1231231"/>
                </a:cubicBezTo>
                <a:cubicBezTo>
                  <a:pt x="946453" y="1231231"/>
                  <a:pt x="946453" y="1231231"/>
                  <a:pt x="605206" y="1371652"/>
                </a:cubicBezTo>
                <a:cubicBezTo>
                  <a:pt x="582329" y="1381140"/>
                  <a:pt x="555640" y="1369755"/>
                  <a:pt x="546108" y="1346983"/>
                </a:cubicBezTo>
                <a:cubicBezTo>
                  <a:pt x="536576" y="1324212"/>
                  <a:pt x="548014" y="1297646"/>
                  <a:pt x="570891" y="1288158"/>
                </a:cubicBezTo>
                <a:cubicBezTo>
                  <a:pt x="570891" y="1288158"/>
                  <a:pt x="570891" y="1288158"/>
                  <a:pt x="912138" y="1147739"/>
                </a:cubicBezTo>
                <a:cubicBezTo>
                  <a:pt x="917857" y="1145367"/>
                  <a:pt x="923695" y="1144300"/>
                  <a:pt x="929385" y="1144389"/>
                </a:cubicBezTo>
                <a:close/>
                <a:moveTo>
                  <a:pt x="4842182" y="1136797"/>
                </a:moveTo>
                <a:cubicBezTo>
                  <a:pt x="4860988" y="1137688"/>
                  <a:pt x="4878456" y="1149800"/>
                  <a:pt x="4884158" y="1168322"/>
                </a:cubicBezTo>
                <a:cubicBezTo>
                  <a:pt x="4886062" y="1174022"/>
                  <a:pt x="4887962" y="1179722"/>
                  <a:pt x="4887962" y="1185422"/>
                </a:cubicBezTo>
                <a:cubicBezTo>
                  <a:pt x="4887962" y="1204420"/>
                  <a:pt x="4876556" y="1223416"/>
                  <a:pt x="4855639" y="1231014"/>
                </a:cubicBezTo>
                <a:cubicBezTo>
                  <a:pt x="4855639" y="1231014"/>
                  <a:pt x="4855639" y="1231014"/>
                  <a:pt x="4515380" y="1354501"/>
                </a:cubicBezTo>
                <a:cubicBezTo>
                  <a:pt x="4490666" y="1362102"/>
                  <a:pt x="4462152" y="1350702"/>
                  <a:pt x="4454549" y="1326004"/>
                </a:cubicBezTo>
                <a:cubicBezTo>
                  <a:pt x="4445043" y="1301305"/>
                  <a:pt x="4458350" y="1272808"/>
                  <a:pt x="4483062" y="1263308"/>
                </a:cubicBezTo>
                <a:cubicBezTo>
                  <a:pt x="4483062" y="1263308"/>
                  <a:pt x="4483062" y="1263308"/>
                  <a:pt x="4823320" y="1139825"/>
                </a:cubicBezTo>
                <a:cubicBezTo>
                  <a:pt x="4829497" y="1137451"/>
                  <a:pt x="4835916" y="1136501"/>
                  <a:pt x="4842182" y="1136797"/>
                </a:cubicBezTo>
                <a:close/>
                <a:moveTo>
                  <a:pt x="1478252" y="1136782"/>
                </a:moveTo>
                <a:cubicBezTo>
                  <a:pt x="1496621" y="1137673"/>
                  <a:pt x="1513385" y="1149784"/>
                  <a:pt x="1520519" y="1168307"/>
                </a:cubicBezTo>
                <a:cubicBezTo>
                  <a:pt x="1522421" y="1174007"/>
                  <a:pt x="1522421" y="1179706"/>
                  <a:pt x="1522421" y="1185406"/>
                </a:cubicBezTo>
                <a:cubicBezTo>
                  <a:pt x="1522421" y="1204404"/>
                  <a:pt x="1511007" y="1223401"/>
                  <a:pt x="1491984" y="1231000"/>
                </a:cubicBezTo>
                <a:cubicBezTo>
                  <a:pt x="1491984" y="1231000"/>
                  <a:pt x="1491984" y="1231000"/>
                  <a:pt x="1151475" y="1354486"/>
                </a:cubicBezTo>
                <a:cubicBezTo>
                  <a:pt x="1124843" y="1362086"/>
                  <a:pt x="1098211" y="1350686"/>
                  <a:pt x="1088700" y="1325989"/>
                </a:cubicBezTo>
                <a:cubicBezTo>
                  <a:pt x="1081091" y="1301291"/>
                  <a:pt x="1092505" y="1272795"/>
                  <a:pt x="1117234" y="1263296"/>
                </a:cubicBezTo>
                <a:cubicBezTo>
                  <a:pt x="1117234" y="1263296"/>
                  <a:pt x="1117234" y="1263296"/>
                  <a:pt x="1459646" y="1139810"/>
                </a:cubicBezTo>
                <a:cubicBezTo>
                  <a:pt x="1465828" y="1137436"/>
                  <a:pt x="1472129" y="1136485"/>
                  <a:pt x="1478252" y="1136782"/>
                </a:cubicBezTo>
                <a:close/>
                <a:moveTo>
                  <a:pt x="4287305" y="1129713"/>
                </a:moveTo>
                <a:cubicBezTo>
                  <a:pt x="4306924" y="1131585"/>
                  <a:pt x="4324403" y="1144425"/>
                  <a:pt x="4330109" y="1165826"/>
                </a:cubicBezTo>
                <a:cubicBezTo>
                  <a:pt x="4332013" y="1169631"/>
                  <a:pt x="4333914" y="1175338"/>
                  <a:pt x="4333914" y="1181045"/>
                </a:cubicBezTo>
                <a:cubicBezTo>
                  <a:pt x="4333914" y="1201970"/>
                  <a:pt x="4318695" y="1222894"/>
                  <a:pt x="4297769" y="1228599"/>
                </a:cubicBezTo>
                <a:cubicBezTo>
                  <a:pt x="4297769" y="1228599"/>
                  <a:pt x="4297769" y="1228599"/>
                  <a:pt x="3955368" y="1337029"/>
                </a:cubicBezTo>
                <a:cubicBezTo>
                  <a:pt x="3928734" y="1344638"/>
                  <a:pt x="3900197" y="1329419"/>
                  <a:pt x="3890686" y="1302787"/>
                </a:cubicBezTo>
                <a:cubicBezTo>
                  <a:pt x="3883076" y="1276155"/>
                  <a:pt x="3898294" y="1247620"/>
                  <a:pt x="3924929" y="1240012"/>
                </a:cubicBezTo>
                <a:cubicBezTo>
                  <a:pt x="3924929" y="1240012"/>
                  <a:pt x="3924929" y="1240012"/>
                  <a:pt x="4267332" y="1131585"/>
                </a:cubicBezTo>
                <a:cubicBezTo>
                  <a:pt x="4273989" y="1129683"/>
                  <a:pt x="4280766" y="1129089"/>
                  <a:pt x="4287305" y="1129713"/>
                </a:cubicBezTo>
                <a:close/>
                <a:moveTo>
                  <a:pt x="2033027" y="1129695"/>
                </a:moveTo>
                <a:cubicBezTo>
                  <a:pt x="2052752" y="1131568"/>
                  <a:pt x="2070599" y="1144408"/>
                  <a:pt x="2077737" y="1165808"/>
                </a:cubicBezTo>
                <a:cubicBezTo>
                  <a:pt x="2079642" y="1169613"/>
                  <a:pt x="2079642" y="1175320"/>
                  <a:pt x="2079642" y="1181027"/>
                </a:cubicBezTo>
                <a:cubicBezTo>
                  <a:pt x="2079642" y="1201952"/>
                  <a:pt x="2066316" y="1222876"/>
                  <a:pt x="2043467" y="1228582"/>
                </a:cubicBezTo>
                <a:cubicBezTo>
                  <a:pt x="2043467" y="1228582"/>
                  <a:pt x="2043467" y="1228582"/>
                  <a:pt x="1702708" y="1337012"/>
                </a:cubicBezTo>
                <a:cubicBezTo>
                  <a:pt x="1674153" y="1344621"/>
                  <a:pt x="1645598" y="1329403"/>
                  <a:pt x="1637983" y="1302771"/>
                </a:cubicBezTo>
                <a:cubicBezTo>
                  <a:pt x="1630368" y="1276139"/>
                  <a:pt x="1643694" y="1247605"/>
                  <a:pt x="1670346" y="1239996"/>
                </a:cubicBezTo>
                <a:cubicBezTo>
                  <a:pt x="1670346" y="1239996"/>
                  <a:pt x="1670346" y="1239996"/>
                  <a:pt x="2013008" y="1131568"/>
                </a:cubicBezTo>
                <a:cubicBezTo>
                  <a:pt x="2019671" y="1129665"/>
                  <a:pt x="2026453" y="1129071"/>
                  <a:pt x="2033027" y="1129695"/>
                </a:cubicBezTo>
                <a:close/>
                <a:moveTo>
                  <a:pt x="3726351" y="1122417"/>
                </a:moveTo>
                <a:cubicBezTo>
                  <a:pt x="3747340" y="1125382"/>
                  <a:pt x="3765914" y="1140474"/>
                  <a:pt x="3771628" y="1162034"/>
                </a:cubicBezTo>
                <a:cubicBezTo>
                  <a:pt x="3773536" y="1165867"/>
                  <a:pt x="3773536" y="1171616"/>
                  <a:pt x="3773536" y="1175449"/>
                </a:cubicBezTo>
                <a:cubicBezTo>
                  <a:pt x="3773536" y="1200364"/>
                  <a:pt x="3758294" y="1221442"/>
                  <a:pt x="3733526" y="1229108"/>
                </a:cubicBezTo>
                <a:cubicBezTo>
                  <a:pt x="3733526" y="1229108"/>
                  <a:pt x="3733526" y="1229108"/>
                  <a:pt x="3390639" y="1321097"/>
                </a:cubicBezTo>
                <a:cubicBezTo>
                  <a:pt x="3362059" y="1328763"/>
                  <a:pt x="3331579" y="1311513"/>
                  <a:pt x="3323960" y="1282766"/>
                </a:cubicBezTo>
                <a:cubicBezTo>
                  <a:pt x="3316340" y="1254020"/>
                  <a:pt x="3333484" y="1223360"/>
                  <a:pt x="3362059" y="1215695"/>
                </a:cubicBezTo>
                <a:cubicBezTo>
                  <a:pt x="3362059" y="1215695"/>
                  <a:pt x="3362059" y="1215695"/>
                  <a:pt x="3704953" y="1123705"/>
                </a:cubicBezTo>
                <a:cubicBezTo>
                  <a:pt x="3712096" y="1121789"/>
                  <a:pt x="3719357" y="1121429"/>
                  <a:pt x="3726351" y="1122417"/>
                </a:cubicBezTo>
                <a:close/>
                <a:moveTo>
                  <a:pt x="2592851" y="1122397"/>
                </a:moveTo>
                <a:cubicBezTo>
                  <a:pt x="2613837" y="1125361"/>
                  <a:pt x="2632411" y="1140454"/>
                  <a:pt x="2638126" y="1162013"/>
                </a:cubicBezTo>
                <a:cubicBezTo>
                  <a:pt x="2640031" y="1165846"/>
                  <a:pt x="2640031" y="1171596"/>
                  <a:pt x="2640031" y="1175429"/>
                </a:cubicBezTo>
                <a:cubicBezTo>
                  <a:pt x="2640031" y="1200343"/>
                  <a:pt x="2622886" y="1221423"/>
                  <a:pt x="2600026" y="1229089"/>
                </a:cubicBezTo>
                <a:cubicBezTo>
                  <a:pt x="2600026" y="1229089"/>
                  <a:pt x="2600026" y="1229089"/>
                  <a:pt x="2257122" y="1321078"/>
                </a:cubicBezTo>
                <a:cubicBezTo>
                  <a:pt x="2226641" y="1328744"/>
                  <a:pt x="2198065" y="1311496"/>
                  <a:pt x="2190445" y="1282749"/>
                </a:cubicBezTo>
                <a:cubicBezTo>
                  <a:pt x="2182825" y="1254002"/>
                  <a:pt x="2199971" y="1223340"/>
                  <a:pt x="2228546" y="1215674"/>
                </a:cubicBezTo>
                <a:cubicBezTo>
                  <a:pt x="2228546" y="1215674"/>
                  <a:pt x="2228546" y="1215674"/>
                  <a:pt x="2571449" y="1123685"/>
                </a:cubicBezTo>
                <a:cubicBezTo>
                  <a:pt x="2578593" y="1121768"/>
                  <a:pt x="2585856" y="1121409"/>
                  <a:pt x="2592851" y="1122397"/>
                </a:cubicBezTo>
                <a:close/>
                <a:moveTo>
                  <a:pt x="3157611" y="1116357"/>
                </a:moveTo>
                <a:cubicBezTo>
                  <a:pt x="3179268" y="1119929"/>
                  <a:pt x="3197445" y="1136359"/>
                  <a:pt x="3201720" y="1159220"/>
                </a:cubicBezTo>
                <a:cubicBezTo>
                  <a:pt x="3203622" y="1163029"/>
                  <a:pt x="3203622" y="1168744"/>
                  <a:pt x="3203622" y="1172555"/>
                </a:cubicBezTo>
                <a:cubicBezTo>
                  <a:pt x="3203622" y="1197321"/>
                  <a:pt x="3186514" y="1222083"/>
                  <a:pt x="3159900" y="1227799"/>
                </a:cubicBezTo>
                <a:cubicBezTo>
                  <a:pt x="3159900" y="1227799"/>
                  <a:pt x="3159900" y="1227799"/>
                  <a:pt x="2815798" y="1303997"/>
                </a:cubicBezTo>
                <a:cubicBezTo>
                  <a:pt x="2785377" y="1309712"/>
                  <a:pt x="2754961" y="1290662"/>
                  <a:pt x="2747356" y="1260182"/>
                </a:cubicBezTo>
                <a:cubicBezTo>
                  <a:pt x="2741652" y="1229703"/>
                  <a:pt x="2760665" y="1199225"/>
                  <a:pt x="2791085" y="1191605"/>
                </a:cubicBezTo>
                <a:cubicBezTo>
                  <a:pt x="2791085" y="1191605"/>
                  <a:pt x="2791085" y="1191605"/>
                  <a:pt x="3135178" y="1117309"/>
                </a:cubicBezTo>
                <a:cubicBezTo>
                  <a:pt x="3142788" y="1115404"/>
                  <a:pt x="3150392" y="1115166"/>
                  <a:pt x="3157611" y="1116357"/>
                </a:cubicBezTo>
                <a:close/>
                <a:moveTo>
                  <a:pt x="9862398" y="887331"/>
                </a:moveTo>
                <a:cubicBezTo>
                  <a:pt x="9868604" y="888044"/>
                  <a:pt x="9874333" y="890896"/>
                  <a:pt x="9878153" y="895649"/>
                </a:cubicBezTo>
                <a:cubicBezTo>
                  <a:pt x="9881972" y="901352"/>
                  <a:pt x="9883882" y="905154"/>
                  <a:pt x="9883882" y="910857"/>
                </a:cubicBezTo>
                <a:cubicBezTo>
                  <a:pt x="9883882" y="918462"/>
                  <a:pt x="9880063" y="926066"/>
                  <a:pt x="9874333" y="929868"/>
                </a:cubicBezTo>
                <a:cubicBezTo>
                  <a:pt x="9874333" y="929868"/>
                  <a:pt x="9874333" y="929868"/>
                  <a:pt x="9540128" y="1184614"/>
                </a:cubicBezTo>
                <a:cubicBezTo>
                  <a:pt x="9530580" y="1192218"/>
                  <a:pt x="9515302" y="1190317"/>
                  <a:pt x="9505753" y="1178911"/>
                </a:cubicBezTo>
                <a:cubicBezTo>
                  <a:pt x="9498114" y="1167504"/>
                  <a:pt x="9500024" y="1152295"/>
                  <a:pt x="9511482" y="1144691"/>
                </a:cubicBezTo>
                <a:cubicBezTo>
                  <a:pt x="9511482" y="1144691"/>
                  <a:pt x="9511482" y="1144691"/>
                  <a:pt x="9843777" y="891846"/>
                </a:cubicBezTo>
                <a:cubicBezTo>
                  <a:pt x="9849507" y="888044"/>
                  <a:pt x="9856191" y="886618"/>
                  <a:pt x="9862398" y="887331"/>
                </a:cubicBezTo>
                <a:close/>
                <a:moveTo>
                  <a:pt x="9285227" y="879270"/>
                </a:moveTo>
                <a:cubicBezTo>
                  <a:pt x="9291895" y="880464"/>
                  <a:pt x="9298086" y="884282"/>
                  <a:pt x="9301896" y="890009"/>
                </a:cubicBezTo>
                <a:cubicBezTo>
                  <a:pt x="9305706" y="893827"/>
                  <a:pt x="9307611" y="899554"/>
                  <a:pt x="9307611" y="905281"/>
                </a:cubicBezTo>
                <a:cubicBezTo>
                  <a:pt x="9307611" y="914826"/>
                  <a:pt x="9303801" y="922462"/>
                  <a:pt x="9296181" y="928189"/>
                </a:cubicBezTo>
                <a:cubicBezTo>
                  <a:pt x="9296181" y="928189"/>
                  <a:pt x="9296181" y="928189"/>
                  <a:pt x="8962802" y="1168731"/>
                </a:cubicBezTo>
                <a:cubicBezTo>
                  <a:pt x="8951371" y="1176367"/>
                  <a:pt x="8934226" y="1174459"/>
                  <a:pt x="8924701" y="1161095"/>
                </a:cubicBezTo>
                <a:cubicBezTo>
                  <a:pt x="8917081" y="1149641"/>
                  <a:pt x="8918986" y="1132459"/>
                  <a:pt x="8930416" y="1124823"/>
                </a:cubicBezTo>
                <a:cubicBezTo>
                  <a:pt x="8930416" y="1124823"/>
                  <a:pt x="8930416" y="1124823"/>
                  <a:pt x="9265700" y="884282"/>
                </a:cubicBezTo>
                <a:cubicBezTo>
                  <a:pt x="9271415" y="879509"/>
                  <a:pt x="9278559" y="878077"/>
                  <a:pt x="9285227" y="879270"/>
                </a:cubicBezTo>
                <a:close/>
                <a:moveTo>
                  <a:pt x="10445943" y="879249"/>
                </a:moveTo>
                <a:cubicBezTo>
                  <a:pt x="10452849" y="880442"/>
                  <a:pt x="10459517" y="884260"/>
                  <a:pt x="10464279" y="889987"/>
                </a:cubicBezTo>
                <a:cubicBezTo>
                  <a:pt x="10468089" y="893805"/>
                  <a:pt x="10468089" y="899532"/>
                  <a:pt x="10468089" y="905259"/>
                </a:cubicBezTo>
                <a:cubicBezTo>
                  <a:pt x="10468089" y="914805"/>
                  <a:pt x="10464279" y="922441"/>
                  <a:pt x="10458564" y="928168"/>
                </a:cubicBezTo>
                <a:cubicBezTo>
                  <a:pt x="10458564" y="928168"/>
                  <a:pt x="10458564" y="928168"/>
                  <a:pt x="10123280" y="1168705"/>
                </a:cubicBezTo>
                <a:cubicBezTo>
                  <a:pt x="10111849" y="1176341"/>
                  <a:pt x="10094704" y="1174432"/>
                  <a:pt x="10087084" y="1161069"/>
                </a:cubicBezTo>
                <a:cubicBezTo>
                  <a:pt x="10077559" y="1149615"/>
                  <a:pt x="10079464" y="1132433"/>
                  <a:pt x="10092799" y="1124797"/>
                </a:cubicBezTo>
                <a:cubicBezTo>
                  <a:pt x="10092799" y="1124797"/>
                  <a:pt x="10092799" y="1124797"/>
                  <a:pt x="10426178" y="884260"/>
                </a:cubicBezTo>
                <a:cubicBezTo>
                  <a:pt x="10431894" y="879488"/>
                  <a:pt x="10439038" y="878056"/>
                  <a:pt x="10445943" y="879249"/>
                </a:cubicBezTo>
                <a:close/>
                <a:moveTo>
                  <a:pt x="8716319" y="870617"/>
                </a:moveTo>
                <a:cubicBezTo>
                  <a:pt x="8723707" y="872049"/>
                  <a:pt x="8730380" y="876344"/>
                  <a:pt x="8735146" y="883981"/>
                </a:cubicBezTo>
                <a:cubicBezTo>
                  <a:pt x="8738959" y="887799"/>
                  <a:pt x="8740866" y="893527"/>
                  <a:pt x="8740866" y="899254"/>
                </a:cubicBezTo>
                <a:cubicBezTo>
                  <a:pt x="8740866" y="908800"/>
                  <a:pt x="8735146" y="918345"/>
                  <a:pt x="8727520" y="924073"/>
                </a:cubicBezTo>
                <a:cubicBezTo>
                  <a:pt x="8727520" y="924073"/>
                  <a:pt x="8727520" y="924073"/>
                  <a:pt x="8391968" y="1151267"/>
                </a:cubicBezTo>
                <a:cubicBezTo>
                  <a:pt x="8378622" y="1158904"/>
                  <a:pt x="8359557" y="1156995"/>
                  <a:pt x="8351931" y="1141721"/>
                </a:cubicBezTo>
                <a:cubicBezTo>
                  <a:pt x="8342398" y="1128357"/>
                  <a:pt x="8346211" y="1111175"/>
                  <a:pt x="8359557" y="1101629"/>
                </a:cubicBezTo>
                <a:cubicBezTo>
                  <a:pt x="8359557" y="1101629"/>
                  <a:pt x="8359557" y="1101629"/>
                  <a:pt x="8693202" y="874435"/>
                </a:cubicBezTo>
                <a:cubicBezTo>
                  <a:pt x="8700828" y="870617"/>
                  <a:pt x="8708931" y="869185"/>
                  <a:pt x="8716319" y="870617"/>
                </a:cubicBezTo>
                <a:close/>
                <a:moveTo>
                  <a:pt x="11024254" y="870594"/>
                </a:moveTo>
                <a:cubicBezTo>
                  <a:pt x="11031856" y="872025"/>
                  <a:pt x="11038983" y="876321"/>
                  <a:pt x="11043734" y="883958"/>
                </a:cubicBezTo>
                <a:cubicBezTo>
                  <a:pt x="11047535" y="887776"/>
                  <a:pt x="11047535" y="893503"/>
                  <a:pt x="11047535" y="899231"/>
                </a:cubicBezTo>
                <a:cubicBezTo>
                  <a:pt x="11047535" y="908777"/>
                  <a:pt x="11043734" y="918322"/>
                  <a:pt x="11036132" y="924050"/>
                </a:cubicBezTo>
                <a:cubicBezTo>
                  <a:pt x="11036132" y="924050"/>
                  <a:pt x="11036132" y="924050"/>
                  <a:pt x="10701654" y="1151239"/>
                </a:cubicBezTo>
                <a:cubicBezTo>
                  <a:pt x="10688350" y="1158875"/>
                  <a:pt x="10669346" y="1156966"/>
                  <a:pt x="10659844" y="1141693"/>
                </a:cubicBezTo>
                <a:cubicBezTo>
                  <a:pt x="10652242" y="1128329"/>
                  <a:pt x="10654142" y="1111146"/>
                  <a:pt x="10669346" y="1101601"/>
                </a:cubicBezTo>
                <a:cubicBezTo>
                  <a:pt x="10669346" y="1101601"/>
                  <a:pt x="10669346" y="1101601"/>
                  <a:pt x="11001924" y="874412"/>
                </a:cubicBezTo>
                <a:cubicBezTo>
                  <a:pt x="11008575" y="870594"/>
                  <a:pt x="11016652" y="869162"/>
                  <a:pt x="11024254" y="870594"/>
                </a:cubicBezTo>
                <a:close/>
                <a:moveTo>
                  <a:pt x="8152171" y="862274"/>
                </a:moveTo>
                <a:cubicBezTo>
                  <a:pt x="8160017" y="863941"/>
                  <a:pt x="8167150" y="868703"/>
                  <a:pt x="8171905" y="876324"/>
                </a:cubicBezTo>
                <a:cubicBezTo>
                  <a:pt x="8175709" y="882038"/>
                  <a:pt x="8175709" y="887753"/>
                  <a:pt x="8175709" y="893468"/>
                </a:cubicBezTo>
                <a:cubicBezTo>
                  <a:pt x="8175709" y="904898"/>
                  <a:pt x="8171905" y="914423"/>
                  <a:pt x="8162395" y="920138"/>
                </a:cubicBezTo>
                <a:cubicBezTo>
                  <a:pt x="8162395" y="920138"/>
                  <a:pt x="8162395" y="920138"/>
                  <a:pt x="7825735" y="1133503"/>
                </a:cubicBezTo>
                <a:cubicBezTo>
                  <a:pt x="7812420" y="1143028"/>
                  <a:pt x="7791498" y="1137314"/>
                  <a:pt x="7781988" y="1123978"/>
                </a:cubicBezTo>
                <a:cubicBezTo>
                  <a:pt x="7772478" y="1108738"/>
                  <a:pt x="7778184" y="1087784"/>
                  <a:pt x="7791498" y="1078258"/>
                </a:cubicBezTo>
                <a:cubicBezTo>
                  <a:pt x="7791498" y="1078258"/>
                  <a:pt x="7791498" y="1078258"/>
                  <a:pt x="8128158" y="866799"/>
                </a:cubicBezTo>
                <a:cubicBezTo>
                  <a:pt x="8135766" y="862036"/>
                  <a:pt x="8144325" y="860607"/>
                  <a:pt x="8152171" y="862274"/>
                </a:cubicBezTo>
                <a:close/>
                <a:moveTo>
                  <a:pt x="11596678" y="862268"/>
                </a:moveTo>
                <a:cubicBezTo>
                  <a:pt x="11604555" y="863935"/>
                  <a:pt x="11611715" y="868698"/>
                  <a:pt x="11616489" y="876317"/>
                </a:cubicBezTo>
                <a:cubicBezTo>
                  <a:pt x="11620308" y="882033"/>
                  <a:pt x="11622218" y="887747"/>
                  <a:pt x="11622218" y="893462"/>
                </a:cubicBezTo>
                <a:cubicBezTo>
                  <a:pt x="11622218" y="904892"/>
                  <a:pt x="11616489" y="914417"/>
                  <a:pt x="11606942" y="920132"/>
                </a:cubicBezTo>
                <a:cubicBezTo>
                  <a:pt x="11606942" y="920132"/>
                  <a:pt x="11606942" y="920132"/>
                  <a:pt x="11270867" y="1133497"/>
                </a:cubicBezTo>
                <a:cubicBezTo>
                  <a:pt x="11255590" y="1143022"/>
                  <a:pt x="11236495" y="1137306"/>
                  <a:pt x="11226948" y="1123971"/>
                </a:cubicBezTo>
                <a:cubicBezTo>
                  <a:pt x="11217400" y="1108732"/>
                  <a:pt x="11221219" y="1087776"/>
                  <a:pt x="11236495" y="1078251"/>
                </a:cubicBezTo>
                <a:cubicBezTo>
                  <a:pt x="11236495" y="1078251"/>
                  <a:pt x="11236495" y="1078251"/>
                  <a:pt x="11572571" y="866793"/>
                </a:cubicBezTo>
                <a:cubicBezTo>
                  <a:pt x="11580209" y="862030"/>
                  <a:pt x="11588802" y="860601"/>
                  <a:pt x="11596678" y="862268"/>
                </a:cubicBezTo>
                <a:close/>
                <a:moveTo>
                  <a:pt x="12139750" y="857266"/>
                </a:moveTo>
                <a:cubicBezTo>
                  <a:pt x="12139750" y="857266"/>
                  <a:pt x="12139750" y="857266"/>
                  <a:pt x="12139750" y="935278"/>
                </a:cubicBezTo>
                <a:cubicBezTo>
                  <a:pt x="12139750" y="935278"/>
                  <a:pt x="12139750" y="935278"/>
                  <a:pt x="11834946" y="1116043"/>
                </a:cubicBezTo>
                <a:cubicBezTo>
                  <a:pt x="11817801" y="1125556"/>
                  <a:pt x="11796845" y="1119848"/>
                  <a:pt x="11787320" y="1104626"/>
                </a:cubicBezTo>
                <a:cubicBezTo>
                  <a:pt x="11777795" y="1087502"/>
                  <a:pt x="11783510" y="1066571"/>
                  <a:pt x="11798750" y="1057058"/>
                </a:cubicBezTo>
                <a:lnTo>
                  <a:pt x="12135940" y="859168"/>
                </a:lnTo>
                <a:cubicBezTo>
                  <a:pt x="12137845" y="857266"/>
                  <a:pt x="12137845" y="857266"/>
                  <a:pt x="12139750" y="857266"/>
                </a:cubicBezTo>
                <a:close/>
                <a:moveTo>
                  <a:pt x="7595013" y="854170"/>
                </a:moveTo>
                <a:cubicBezTo>
                  <a:pt x="7603579" y="856311"/>
                  <a:pt x="7611193" y="862020"/>
                  <a:pt x="7615952" y="870582"/>
                </a:cubicBezTo>
                <a:cubicBezTo>
                  <a:pt x="7619759" y="876291"/>
                  <a:pt x="7621663" y="881999"/>
                  <a:pt x="7621663" y="887708"/>
                </a:cubicBezTo>
                <a:cubicBezTo>
                  <a:pt x="7621663" y="899125"/>
                  <a:pt x="7614049" y="910542"/>
                  <a:pt x="7604531" y="918153"/>
                </a:cubicBezTo>
                <a:cubicBezTo>
                  <a:pt x="7604531" y="918153"/>
                  <a:pt x="7604531" y="918153"/>
                  <a:pt x="7267601" y="1116053"/>
                </a:cubicBezTo>
                <a:cubicBezTo>
                  <a:pt x="7250469" y="1125566"/>
                  <a:pt x="7229530" y="1119858"/>
                  <a:pt x="7220013" y="1104635"/>
                </a:cubicBezTo>
                <a:cubicBezTo>
                  <a:pt x="7210495" y="1087509"/>
                  <a:pt x="7216205" y="1066577"/>
                  <a:pt x="7233337" y="1057064"/>
                </a:cubicBezTo>
                <a:cubicBezTo>
                  <a:pt x="7233337" y="1057064"/>
                  <a:pt x="7233337" y="1057064"/>
                  <a:pt x="7568363" y="859165"/>
                </a:cubicBezTo>
                <a:cubicBezTo>
                  <a:pt x="7576929" y="853457"/>
                  <a:pt x="7586447" y="852030"/>
                  <a:pt x="7595013" y="854170"/>
                </a:cubicBezTo>
                <a:close/>
                <a:moveTo>
                  <a:pt x="7044817" y="846270"/>
                </a:moveTo>
                <a:cubicBezTo>
                  <a:pt x="7054111" y="848902"/>
                  <a:pt x="7062213" y="855122"/>
                  <a:pt x="7066980" y="864693"/>
                </a:cubicBezTo>
                <a:cubicBezTo>
                  <a:pt x="7068886" y="870434"/>
                  <a:pt x="7070793" y="876176"/>
                  <a:pt x="7070793" y="881918"/>
                </a:cubicBezTo>
                <a:cubicBezTo>
                  <a:pt x="7070793" y="895316"/>
                  <a:pt x="7063167" y="908714"/>
                  <a:pt x="7051728" y="914456"/>
                </a:cubicBezTo>
                <a:cubicBezTo>
                  <a:pt x="7051728" y="914456"/>
                  <a:pt x="7051728" y="914456"/>
                  <a:pt x="6714282" y="1100119"/>
                </a:cubicBezTo>
                <a:cubicBezTo>
                  <a:pt x="6697124" y="1109690"/>
                  <a:pt x="6674246" y="1103949"/>
                  <a:pt x="6664714" y="1084808"/>
                </a:cubicBezTo>
                <a:cubicBezTo>
                  <a:pt x="6653275" y="1067582"/>
                  <a:pt x="6660901" y="1044608"/>
                  <a:pt x="6678059" y="1035038"/>
                </a:cubicBezTo>
                <a:cubicBezTo>
                  <a:pt x="6678059" y="1035038"/>
                  <a:pt x="6678059" y="1035038"/>
                  <a:pt x="7015505" y="849380"/>
                </a:cubicBezTo>
                <a:cubicBezTo>
                  <a:pt x="7025037" y="844595"/>
                  <a:pt x="7035523" y="843638"/>
                  <a:pt x="7044817" y="846270"/>
                </a:cubicBezTo>
                <a:close/>
                <a:moveTo>
                  <a:pt x="6485646" y="836909"/>
                </a:moveTo>
                <a:cubicBezTo>
                  <a:pt x="6501129" y="835656"/>
                  <a:pt x="6516881" y="844607"/>
                  <a:pt x="6524041" y="858929"/>
                </a:cubicBezTo>
                <a:cubicBezTo>
                  <a:pt x="6525950" y="864658"/>
                  <a:pt x="6527860" y="870387"/>
                  <a:pt x="6527860" y="876115"/>
                </a:cubicBezTo>
                <a:cubicBezTo>
                  <a:pt x="6527860" y="891392"/>
                  <a:pt x="6520223" y="904759"/>
                  <a:pt x="6506857" y="912398"/>
                </a:cubicBezTo>
                <a:cubicBezTo>
                  <a:pt x="6506857" y="912398"/>
                  <a:pt x="6506857" y="912398"/>
                  <a:pt x="6166999" y="1082357"/>
                </a:cubicBezTo>
                <a:cubicBezTo>
                  <a:pt x="6147906" y="1093815"/>
                  <a:pt x="6123085" y="1084266"/>
                  <a:pt x="6113538" y="1065171"/>
                </a:cubicBezTo>
                <a:cubicBezTo>
                  <a:pt x="6103992" y="1046070"/>
                  <a:pt x="6111629" y="1023154"/>
                  <a:pt x="6130722" y="1011697"/>
                </a:cubicBezTo>
                <a:cubicBezTo>
                  <a:pt x="6130722" y="1011697"/>
                  <a:pt x="6130722" y="1011697"/>
                  <a:pt x="6470580" y="841743"/>
                </a:cubicBezTo>
                <a:cubicBezTo>
                  <a:pt x="6475354" y="838878"/>
                  <a:pt x="6480485" y="837327"/>
                  <a:pt x="6485646" y="836909"/>
                </a:cubicBezTo>
                <a:close/>
                <a:moveTo>
                  <a:pt x="5957785" y="832476"/>
                </a:moveTo>
                <a:cubicBezTo>
                  <a:pt x="5967786" y="836271"/>
                  <a:pt x="5976358" y="843863"/>
                  <a:pt x="5981120" y="854301"/>
                </a:cubicBezTo>
                <a:cubicBezTo>
                  <a:pt x="5984930" y="859994"/>
                  <a:pt x="5984930" y="865688"/>
                  <a:pt x="5984930" y="871381"/>
                </a:cubicBezTo>
                <a:cubicBezTo>
                  <a:pt x="5984930" y="886564"/>
                  <a:pt x="5977310" y="901746"/>
                  <a:pt x="5962070" y="909338"/>
                </a:cubicBezTo>
                <a:cubicBezTo>
                  <a:pt x="5962070" y="909338"/>
                  <a:pt x="5962070" y="909338"/>
                  <a:pt x="5622984" y="1066863"/>
                </a:cubicBezTo>
                <a:cubicBezTo>
                  <a:pt x="5602029" y="1076353"/>
                  <a:pt x="5575360" y="1066863"/>
                  <a:pt x="5565833" y="1045982"/>
                </a:cubicBezTo>
                <a:cubicBezTo>
                  <a:pt x="5556309" y="1025106"/>
                  <a:pt x="5565833" y="1000434"/>
                  <a:pt x="5586789" y="990945"/>
                </a:cubicBezTo>
                <a:cubicBezTo>
                  <a:pt x="5586789" y="990945"/>
                  <a:pt x="5586789" y="990945"/>
                  <a:pt x="5925877" y="833424"/>
                </a:cubicBezTo>
                <a:cubicBezTo>
                  <a:pt x="5936354" y="828680"/>
                  <a:pt x="5947784" y="828680"/>
                  <a:pt x="5957785" y="832476"/>
                </a:cubicBezTo>
                <a:close/>
                <a:moveTo>
                  <a:pt x="398307" y="832466"/>
                </a:moveTo>
                <a:cubicBezTo>
                  <a:pt x="408309" y="836261"/>
                  <a:pt x="416882" y="843853"/>
                  <a:pt x="421644" y="854291"/>
                </a:cubicBezTo>
                <a:cubicBezTo>
                  <a:pt x="425454" y="859984"/>
                  <a:pt x="425454" y="865678"/>
                  <a:pt x="425454" y="871371"/>
                </a:cubicBezTo>
                <a:cubicBezTo>
                  <a:pt x="425454" y="886554"/>
                  <a:pt x="417834" y="901737"/>
                  <a:pt x="400689" y="909328"/>
                </a:cubicBezTo>
                <a:cubicBezTo>
                  <a:pt x="400689" y="909328"/>
                  <a:pt x="400689" y="909328"/>
                  <a:pt x="61595" y="1066852"/>
                </a:cubicBezTo>
                <a:cubicBezTo>
                  <a:pt x="40639" y="1076341"/>
                  <a:pt x="15874" y="1066852"/>
                  <a:pt x="6349" y="1045972"/>
                </a:cubicBezTo>
                <a:cubicBezTo>
                  <a:pt x="-3176" y="1025096"/>
                  <a:pt x="6349" y="1000424"/>
                  <a:pt x="27304" y="990935"/>
                </a:cubicBezTo>
                <a:cubicBezTo>
                  <a:pt x="27304" y="990935"/>
                  <a:pt x="27304" y="990935"/>
                  <a:pt x="366398" y="833414"/>
                </a:cubicBezTo>
                <a:cubicBezTo>
                  <a:pt x="376876" y="828670"/>
                  <a:pt x="388306" y="828670"/>
                  <a:pt x="398307" y="832466"/>
                </a:cubicBezTo>
                <a:close/>
                <a:moveTo>
                  <a:pt x="5410477" y="824774"/>
                </a:moveTo>
                <a:cubicBezTo>
                  <a:pt x="5421202" y="828807"/>
                  <a:pt x="5430255" y="836871"/>
                  <a:pt x="5435021" y="848257"/>
                </a:cubicBezTo>
                <a:cubicBezTo>
                  <a:pt x="5436928" y="853949"/>
                  <a:pt x="5438834" y="859642"/>
                  <a:pt x="5438834" y="865335"/>
                </a:cubicBezTo>
                <a:cubicBezTo>
                  <a:pt x="5438834" y="882413"/>
                  <a:pt x="5427396" y="899491"/>
                  <a:pt x="5410239" y="907081"/>
                </a:cubicBezTo>
                <a:cubicBezTo>
                  <a:pt x="5410239" y="907081"/>
                  <a:pt x="5410239" y="907081"/>
                  <a:pt x="5070896" y="1049397"/>
                </a:cubicBezTo>
                <a:cubicBezTo>
                  <a:pt x="5048022" y="1058891"/>
                  <a:pt x="5021336" y="1047500"/>
                  <a:pt x="5011805" y="1024730"/>
                </a:cubicBezTo>
                <a:cubicBezTo>
                  <a:pt x="5002274" y="1003856"/>
                  <a:pt x="5013711" y="977291"/>
                  <a:pt x="5034678" y="967803"/>
                </a:cubicBezTo>
                <a:cubicBezTo>
                  <a:pt x="5034678" y="967803"/>
                  <a:pt x="5034678" y="967803"/>
                  <a:pt x="5375924" y="825486"/>
                </a:cubicBezTo>
                <a:cubicBezTo>
                  <a:pt x="5387362" y="820742"/>
                  <a:pt x="5399754" y="820742"/>
                  <a:pt x="5410477" y="824774"/>
                </a:cubicBezTo>
                <a:close/>
                <a:moveTo>
                  <a:pt x="944785" y="824762"/>
                </a:moveTo>
                <a:cubicBezTo>
                  <a:pt x="955509" y="828795"/>
                  <a:pt x="964564" y="836859"/>
                  <a:pt x="969330" y="848245"/>
                </a:cubicBezTo>
                <a:cubicBezTo>
                  <a:pt x="971236" y="853937"/>
                  <a:pt x="973143" y="859630"/>
                  <a:pt x="973143" y="865323"/>
                </a:cubicBezTo>
                <a:cubicBezTo>
                  <a:pt x="973143" y="882401"/>
                  <a:pt x="963611" y="899479"/>
                  <a:pt x="946453" y="907069"/>
                </a:cubicBezTo>
                <a:cubicBezTo>
                  <a:pt x="946453" y="907069"/>
                  <a:pt x="946453" y="907069"/>
                  <a:pt x="605206" y="1049386"/>
                </a:cubicBezTo>
                <a:cubicBezTo>
                  <a:pt x="582329" y="1058877"/>
                  <a:pt x="555640" y="1047489"/>
                  <a:pt x="546108" y="1024718"/>
                </a:cubicBezTo>
                <a:cubicBezTo>
                  <a:pt x="536576" y="1003845"/>
                  <a:pt x="548014" y="977279"/>
                  <a:pt x="570891" y="967791"/>
                </a:cubicBezTo>
                <a:cubicBezTo>
                  <a:pt x="570891" y="967791"/>
                  <a:pt x="570891" y="967791"/>
                  <a:pt x="910231" y="825474"/>
                </a:cubicBezTo>
                <a:cubicBezTo>
                  <a:pt x="921670" y="820730"/>
                  <a:pt x="934061" y="820730"/>
                  <a:pt x="944785" y="824762"/>
                </a:cubicBezTo>
                <a:close/>
                <a:moveTo>
                  <a:pt x="4842165" y="812941"/>
                </a:moveTo>
                <a:cubicBezTo>
                  <a:pt x="4860552" y="813746"/>
                  <a:pt x="4877331" y="825549"/>
                  <a:pt x="4884469" y="842717"/>
                </a:cubicBezTo>
                <a:cubicBezTo>
                  <a:pt x="4886373" y="848440"/>
                  <a:pt x="4886373" y="854162"/>
                  <a:pt x="4886373" y="859885"/>
                </a:cubicBezTo>
                <a:cubicBezTo>
                  <a:pt x="4886373" y="878960"/>
                  <a:pt x="4874949" y="898036"/>
                  <a:pt x="4855912" y="903759"/>
                </a:cubicBezTo>
                <a:cubicBezTo>
                  <a:pt x="4855912" y="903759"/>
                  <a:pt x="4855912" y="903759"/>
                  <a:pt x="4515162" y="1033473"/>
                </a:cubicBezTo>
                <a:cubicBezTo>
                  <a:pt x="4492321" y="1043010"/>
                  <a:pt x="4463764" y="1031565"/>
                  <a:pt x="4454246" y="1006767"/>
                </a:cubicBezTo>
                <a:cubicBezTo>
                  <a:pt x="4446631" y="981968"/>
                  <a:pt x="4458054" y="955263"/>
                  <a:pt x="4482802" y="945725"/>
                </a:cubicBezTo>
                <a:cubicBezTo>
                  <a:pt x="4482802" y="945725"/>
                  <a:pt x="4482802" y="945725"/>
                  <a:pt x="4823545" y="816011"/>
                </a:cubicBezTo>
                <a:cubicBezTo>
                  <a:pt x="4829733" y="813626"/>
                  <a:pt x="4836038" y="812673"/>
                  <a:pt x="4842165" y="812941"/>
                </a:cubicBezTo>
                <a:close/>
                <a:moveTo>
                  <a:pt x="1476350" y="812927"/>
                </a:moveTo>
                <a:cubicBezTo>
                  <a:pt x="1494719" y="813732"/>
                  <a:pt x="1511483" y="825535"/>
                  <a:pt x="1518617" y="842703"/>
                </a:cubicBezTo>
                <a:cubicBezTo>
                  <a:pt x="1520519" y="848426"/>
                  <a:pt x="1522421" y="854148"/>
                  <a:pt x="1522421" y="859871"/>
                </a:cubicBezTo>
                <a:cubicBezTo>
                  <a:pt x="1522421" y="878946"/>
                  <a:pt x="1511008" y="898022"/>
                  <a:pt x="1491985" y="903745"/>
                </a:cubicBezTo>
                <a:cubicBezTo>
                  <a:pt x="1491985" y="903745"/>
                  <a:pt x="1491985" y="903745"/>
                  <a:pt x="1151475" y="1033459"/>
                </a:cubicBezTo>
                <a:cubicBezTo>
                  <a:pt x="1126746" y="1042997"/>
                  <a:pt x="1100114" y="1031552"/>
                  <a:pt x="1090602" y="1006753"/>
                </a:cubicBezTo>
                <a:cubicBezTo>
                  <a:pt x="1081091" y="981955"/>
                  <a:pt x="1094407" y="955249"/>
                  <a:pt x="1117234" y="945711"/>
                </a:cubicBezTo>
                <a:cubicBezTo>
                  <a:pt x="1117234" y="945711"/>
                  <a:pt x="1117234" y="945711"/>
                  <a:pt x="1457744" y="815997"/>
                </a:cubicBezTo>
                <a:cubicBezTo>
                  <a:pt x="1463926" y="813613"/>
                  <a:pt x="1470227" y="812659"/>
                  <a:pt x="1476350" y="812927"/>
                </a:cubicBezTo>
                <a:close/>
                <a:moveTo>
                  <a:pt x="4285653" y="804258"/>
                </a:moveTo>
                <a:cubicBezTo>
                  <a:pt x="4305298" y="806047"/>
                  <a:pt x="4322801" y="818566"/>
                  <a:pt x="4328517" y="838596"/>
                </a:cubicBezTo>
                <a:cubicBezTo>
                  <a:pt x="4330421" y="844319"/>
                  <a:pt x="4332326" y="848134"/>
                  <a:pt x="4332326" y="853857"/>
                </a:cubicBezTo>
                <a:cubicBezTo>
                  <a:pt x="4332326" y="874842"/>
                  <a:pt x="4318991" y="893918"/>
                  <a:pt x="4298036" y="901549"/>
                </a:cubicBezTo>
                <a:cubicBezTo>
                  <a:pt x="4298036" y="901549"/>
                  <a:pt x="4298036" y="901549"/>
                  <a:pt x="3957054" y="1017917"/>
                </a:cubicBezTo>
                <a:cubicBezTo>
                  <a:pt x="3930384" y="1025548"/>
                  <a:pt x="3901807" y="1012194"/>
                  <a:pt x="3894188" y="985486"/>
                </a:cubicBezTo>
                <a:cubicBezTo>
                  <a:pt x="3884663" y="960687"/>
                  <a:pt x="3897997" y="932072"/>
                  <a:pt x="3924670" y="922533"/>
                </a:cubicBezTo>
                <a:cubicBezTo>
                  <a:pt x="3924670" y="922533"/>
                  <a:pt x="3924670" y="922533"/>
                  <a:pt x="4265648" y="806166"/>
                </a:cubicBezTo>
                <a:cubicBezTo>
                  <a:pt x="4272317" y="804258"/>
                  <a:pt x="4279103" y="803662"/>
                  <a:pt x="4285653" y="804258"/>
                </a:cubicBezTo>
                <a:close/>
                <a:moveTo>
                  <a:pt x="2032209" y="804242"/>
                </a:moveTo>
                <a:cubicBezTo>
                  <a:pt x="2051145" y="806031"/>
                  <a:pt x="2069004" y="818550"/>
                  <a:pt x="2076149" y="838580"/>
                </a:cubicBezTo>
                <a:cubicBezTo>
                  <a:pt x="2078054" y="844303"/>
                  <a:pt x="2078054" y="848119"/>
                  <a:pt x="2078054" y="853842"/>
                </a:cubicBezTo>
                <a:cubicBezTo>
                  <a:pt x="2078054" y="874826"/>
                  <a:pt x="2064718" y="893903"/>
                  <a:pt x="2043758" y="901533"/>
                </a:cubicBezTo>
                <a:cubicBezTo>
                  <a:pt x="2043758" y="901533"/>
                  <a:pt x="2043758" y="901533"/>
                  <a:pt x="1702759" y="1017901"/>
                </a:cubicBezTo>
                <a:cubicBezTo>
                  <a:pt x="1676089" y="1025532"/>
                  <a:pt x="1649419" y="1012178"/>
                  <a:pt x="1639894" y="985471"/>
                </a:cubicBezTo>
                <a:cubicBezTo>
                  <a:pt x="1630368" y="960671"/>
                  <a:pt x="1645609" y="932056"/>
                  <a:pt x="1670374" y="922518"/>
                </a:cubicBezTo>
                <a:cubicBezTo>
                  <a:pt x="1670374" y="922518"/>
                  <a:pt x="1670374" y="922518"/>
                  <a:pt x="2013278" y="806150"/>
                </a:cubicBezTo>
                <a:cubicBezTo>
                  <a:pt x="2019470" y="804242"/>
                  <a:pt x="2025899" y="803646"/>
                  <a:pt x="2032209" y="804242"/>
                </a:cubicBezTo>
                <a:close/>
                <a:moveTo>
                  <a:pt x="3725237" y="796620"/>
                </a:moveTo>
                <a:cubicBezTo>
                  <a:pt x="3745001" y="798945"/>
                  <a:pt x="3762885" y="812538"/>
                  <a:pt x="3770041" y="832569"/>
                </a:cubicBezTo>
                <a:cubicBezTo>
                  <a:pt x="3770041" y="838293"/>
                  <a:pt x="3771946" y="844016"/>
                  <a:pt x="3771946" y="847831"/>
                </a:cubicBezTo>
                <a:cubicBezTo>
                  <a:pt x="3771946" y="870725"/>
                  <a:pt x="3756685" y="891710"/>
                  <a:pt x="3733792" y="897434"/>
                </a:cubicBezTo>
                <a:cubicBezTo>
                  <a:pt x="3733792" y="897434"/>
                  <a:pt x="3733792" y="897434"/>
                  <a:pt x="3390422" y="1000454"/>
                </a:cubicBezTo>
                <a:cubicBezTo>
                  <a:pt x="3363712" y="1008085"/>
                  <a:pt x="3335096" y="992823"/>
                  <a:pt x="3325558" y="964206"/>
                </a:cubicBezTo>
                <a:cubicBezTo>
                  <a:pt x="3317928" y="937497"/>
                  <a:pt x="3333191" y="908881"/>
                  <a:pt x="3361805" y="899342"/>
                </a:cubicBezTo>
                <a:cubicBezTo>
                  <a:pt x="3361805" y="899342"/>
                  <a:pt x="3361805" y="899342"/>
                  <a:pt x="3705176" y="798229"/>
                </a:cubicBezTo>
                <a:cubicBezTo>
                  <a:pt x="3711853" y="796321"/>
                  <a:pt x="3718649" y="795845"/>
                  <a:pt x="3725237" y="796620"/>
                </a:cubicBezTo>
                <a:close/>
                <a:moveTo>
                  <a:pt x="2591734" y="796602"/>
                </a:moveTo>
                <a:cubicBezTo>
                  <a:pt x="2611497" y="798927"/>
                  <a:pt x="2629381" y="812520"/>
                  <a:pt x="2636535" y="832551"/>
                </a:cubicBezTo>
                <a:cubicBezTo>
                  <a:pt x="2636535" y="838275"/>
                  <a:pt x="2638443" y="843998"/>
                  <a:pt x="2638443" y="847814"/>
                </a:cubicBezTo>
                <a:cubicBezTo>
                  <a:pt x="2638443" y="870707"/>
                  <a:pt x="2623182" y="891693"/>
                  <a:pt x="2600289" y="897416"/>
                </a:cubicBezTo>
                <a:cubicBezTo>
                  <a:pt x="2600289" y="897416"/>
                  <a:pt x="2600289" y="897416"/>
                  <a:pt x="2256905" y="1000437"/>
                </a:cubicBezTo>
                <a:cubicBezTo>
                  <a:pt x="2230198" y="1008068"/>
                  <a:pt x="2201582" y="992806"/>
                  <a:pt x="2192043" y="964189"/>
                </a:cubicBezTo>
                <a:cubicBezTo>
                  <a:pt x="2184413" y="937480"/>
                  <a:pt x="2199674" y="908863"/>
                  <a:pt x="2228290" y="899324"/>
                </a:cubicBezTo>
                <a:cubicBezTo>
                  <a:pt x="2228290" y="899324"/>
                  <a:pt x="2228290" y="899324"/>
                  <a:pt x="2571674" y="798211"/>
                </a:cubicBezTo>
                <a:cubicBezTo>
                  <a:pt x="2578350" y="796304"/>
                  <a:pt x="2585148" y="795827"/>
                  <a:pt x="2591734" y="796602"/>
                </a:cubicBezTo>
                <a:close/>
                <a:moveTo>
                  <a:pt x="3154889" y="787711"/>
                </a:moveTo>
                <a:cubicBezTo>
                  <a:pt x="3175859" y="791193"/>
                  <a:pt x="3194422" y="807266"/>
                  <a:pt x="3200131" y="828698"/>
                </a:cubicBezTo>
                <a:cubicBezTo>
                  <a:pt x="3200131" y="832508"/>
                  <a:pt x="3202035" y="838223"/>
                  <a:pt x="3202035" y="842033"/>
                </a:cubicBezTo>
                <a:cubicBezTo>
                  <a:pt x="3202035" y="866798"/>
                  <a:pt x="3184905" y="887752"/>
                  <a:pt x="3160154" y="895372"/>
                </a:cubicBezTo>
                <a:cubicBezTo>
                  <a:pt x="3160154" y="895372"/>
                  <a:pt x="3160154" y="895372"/>
                  <a:pt x="2817485" y="983002"/>
                </a:cubicBezTo>
                <a:cubicBezTo>
                  <a:pt x="2787027" y="990622"/>
                  <a:pt x="2758472" y="973477"/>
                  <a:pt x="2750856" y="944903"/>
                </a:cubicBezTo>
                <a:cubicBezTo>
                  <a:pt x="2743240" y="914422"/>
                  <a:pt x="2760373" y="885848"/>
                  <a:pt x="2788928" y="878228"/>
                </a:cubicBezTo>
                <a:cubicBezTo>
                  <a:pt x="2788928" y="878228"/>
                  <a:pt x="2788928" y="878228"/>
                  <a:pt x="3133501" y="788693"/>
                </a:cubicBezTo>
                <a:cubicBezTo>
                  <a:pt x="3140642" y="786788"/>
                  <a:pt x="3147899" y="786550"/>
                  <a:pt x="3154889" y="787711"/>
                </a:cubicBezTo>
                <a:close/>
                <a:moveTo>
                  <a:pt x="9863739" y="570068"/>
                </a:moveTo>
                <a:cubicBezTo>
                  <a:pt x="9870401" y="571019"/>
                  <a:pt x="9876588" y="574345"/>
                  <a:pt x="9881347" y="580048"/>
                </a:cubicBezTo>
                <a:cubicBezTo>
                  <a:pt x="9885153" y="585751"/>
                  <a:pt x="9887057" y="591454"/>
                  <a:pt x="9887057" y="597157"/>
                </a:cubicBezTo>
                <a:cubicBezTo>
                  <a:pt x="9887057" y="604761"/>
                  <a:pt x="9883250" y="614265"/>
                  <a:pt x="9875636" y="618067"/>
                </a:cubicBezTo>
                <a:cubicBezTo>
                  <a:pt x="9875636" y="618067"/>
                  <a:pt x="9875636" y="618067"/>
                  <a:pt x="9540623" y="857587"/>
                </a:cubicBezTo>
                <a:cubicBezTo>
                  <a:pt x="9529202" y="865191"/>
                  <a:pt x="9512070" y="863290"/>
                  <a:pt x="9504456" y="849984"/>
                </a:cubicBezTo>
                <a:cubicBezTo>
                  <a:pt x="9494939" y="838578"/>
                  <a:pt x="9496842" y="821469"/>
                  <a:pt x="9510167" y="811965"/>
                </a:cubicBezTo>
                <a:cubicBezTo>
                  <a:pt x="9510167" y="811965"/>
                  <a:pt x="9510167" y="811965"/>
                  <a:pt x="9843277" y="574345"/>
                </a:cubicBezTo>
                <a:cubicBezTo>
                  <a:pt x="9849939" y="570543"/>
                  <a:pt x="9857077" y="569118"/>
                  <a:pt x="9863739" y="570068"/>
                </a:cubicBezTo>
                <a:close/>
                <a:moveTo>
                  <a:pt x="9288066" y="561743"/>
                </a:moveTo>
                <a:cubicBezTo>
                  <a:pt x="9295215" y="563402"/>
                  <a:pt x="9301888" y="567670"/>
                  <a:pt x="9306654" y="574308"/>
                </a:cubicBezTo>
                <a:cubicBezTo>
                  <a:pt x="9310467" y="578102"/>
                  <a:pt x="9312374" y="583792"/>
                  <a:pt x="9312374" y="589483"/>
                </a:cubicBezTo>
                <a:cubicBezTo>
                  <a:pt x="9312374" y="598966"/>
                  <a:pt x="9306654" y="608450"/>
                  <a:pt x="9299028" y="614140"/>
                </a:cubicBezTo>
                <a:cubicBezTo>
                  <a:pt x="9299028" y="614140"/>
                  <a:pt x="9299028" y="614140"/>
                  <a:pt x="8963476" y="839853"/>
                </a:cubicBezTo>
                <a:cubicBezTo>
                  <a:pt x="8950130" y="849337"/>
                  <a:pt x="8932971" y="845543"/>
                  <a:pt x="8923439" y="832266"/>
                </a:cubicBezTo>
                <a:cubicBezTo>
                  <a:pt x="8913906" y="818989"/>
                  <a:pt x="8917719" y="800021"/>
                  <a:pt x="8931065" y="792434"/>
                </a:cubicBezTo>
                <a:cubicBezTo>
                  <a:pt x="8931065" y="792434"/>
                  <a:pt x="8931065" y="792434"/>
                  <a:pt x="9266617" y="564825"/>
                </a:cubicBezTo>
                <a:cubicBezTo>
                  <a:pt x="9273290" y="561032"/>
                  <a:pt x="9280916" y="560083"/>
                  <a:pt x="9288066" y="561743"/>
                </a:cubicBezTo>
                <a:close/>
                <a:moveTo>
                  <a:pt x="10448544" y="561719"/>
                </a:moveTo>
                <a:cubicBezTo>
                  <a:pt x="10455693" y="563379"/>
                  <a:pt x="10462366" y="567647"/>
                  <a:pt x="10467132" y="574285"/>
                </a:cubicBezTo>
                <a:cubicBezTo>
                  <a:pt x="10470945" y="578079"/>
                  <a:pt x="10472852" y="583769"/>
                  <a:pt x="10472852" y="589459"/>
                </a:cubicBezTo>
                <a:cubicBezTo>
                  <a:pt x="10472852" y="598943"/>
                  <a:pt x="10467132" y="608427"/>
                  <a:pt x="10459506" y="614117"/>
                </a:cubicBezTo>
                <a:cubicBezTo>
                  <a:pt x="10459506" y="614117"/>
                  <a:pt x="10459506" y="614117"/>
                  <a:pt x="10123954" y="839831"/>
                </a:cubicBezTo>
                <a:cubicBezTo>
                  <a:pt x="10110608" y="849314"/>
                  <a:pt x="10093449" y="845521"/>
                  <a:pt x="10083917" y="832244"/>
                </a:cubicBezTo>
                <a:cubicBezTo>
                  <a:pt x="10074384" y="818966"/>
                  <a:pt x="10078197" y="799999"/>
                  <a:pt x="10091543" y="792412"/>
                </a:cubicBezTo>
                <a:cubicBezTo>
                  <a:pt x="10091543" y="792412"/>
                  <a:pt x="10091543" y="792412"/>
                  <a:pt x="10427095" y="564801"/>
                </a:cubicBezTo>
                <a:cubicBezTo>
                  <a:pt x="10433768" y="561008"/>
                  <a:pt x="10441394" y="560060"/>
                  <a:pt x="10448544" y="561719"/>
                </a:cubicBezTo>
                <a:close/>
                <a:moveTo>
                  <a:pt x="8716914" y="552708"/>
                </a:moveTo>
                <a:cubicBezTo>
                  <a:pt x="8724791" y="554373"/>
                  <a:pt x="8731951" y="559130"/>
                  <a:pt x="8736725" y="566742"/>
                </a:cubicBezTo>
                <a:cubicBezTo>
                  <a:pt x="8740544" y="570547"/>
                  <a:pt x="8742454" y="576256"/>
                  <a:pt x="8742454" y="583868"/>
                </a:cubicBezTo>
                <a:cubicBezTo>
                  <a:pt x="8742454" y="593382"/>
                  <a:pt x="8736725" y="602897"/>
                  <a:pt x="8727178" y="608605"/>
                </a:cubicBezTo>
                <a:cubicBezTo>
                  <a:pt x="8727178" y="608605"/>
                  <a:pt x="8727178" y="608605"/>
                  <a:pt x="8391103" y="825535"/>
                </a:cubicBezTo>
                <a:cubicBezTo>
                  <a:pt x="8377736" y="835050"/>
                  <a:pt x="8356731" y="829341"/>
                  <a:pt x="8347184" y="816021"/>
                </a:cubicBezTo>
                <a:cubicBezTo>
                  <a:pt x="8337636" y="800798"/>
                  <a:pt x="8343365" y="781769"/>
                  <a:pt x="8356731" y="772254"/>
                </a:cubicBezTo>
                <a:cubicBezTo>
                  <a:pt x="8356731" y="772254"/>
                  <a:pt x="8356731" y="772254"/>
                  <a:pt x="8692807" y="557227"/>
                </a:cubicBezTo>
                <a:cubicBezTo>
                  <a:pt x="8700445" y="552470"/>
                  <a:pt x="8709038" y="551043"/>
                  <a:pt x="8716914" y="552708"/>
                </a:cubicBezTo>
                <a:close/>
                <a:moveTo>
                  <a:pt x="11026758" y="552682"/>
                </a:moveTo>
                <a:cubicBezTo>
                  <a:pt x="11034635" y="554347"/>
                  <a:pt x="11041796" y="559105"/>
                  <a:pt x="11046569" y="566716"/>
                </a:cubicBezTo>
                <a:cubicBezTo>
                  <a:pt x="11050388" y="570522"/>
                  <a:pt x="11052298" y="576231"/>
                  <a:pt x="11052298" y="583843"/>
                </a:cubicBezTo>
                <a:cubicBezTo>
                  <a:pt x="11052298" y="593357"/>
                  <a:pt x="11046569" y="602871"/>
                  <a:pt x="11037022" y="608580"/>
                </a:cubicBezTo>
                <a:cubicBezTo>
                  <a:pt x="11037022" y="608580"/>
                  <a:pt x="11037022" y="608580"/>
                  <a:pt x="10700947" y="825511"/>
                </a:cubicBezTo>
                <a:cubicBezTo>
                  <a:pt x="10685670" y="835025"/>
                  <a:pt x="10666575" y="829317"/>
                  <a:pt x="10657028" y="815996"/>
                </a:cubicBezTo>
                <a:cubicBezTo>
                  <a:pt x="10647480" y="800773"/>
                  <a:pt x="10651299" y="781744"/>
                  <a:pt x="10666575" y="772230"/>
                </a:cubicBezTo>
                <a:cubicBezTo>
                  <a:pt x="10666575" y="772230"/>
                  <a:pt x="10666575" y="772230"/>
                  <a:pt x="11002651" y="557202"/>
                </a:cubicBezTo>
                <a:cubicBezTo>
                  <a:pt x="11010289" y="552445"/>
                  <a:pt x="11018882" y="551017"/>
                  <a:pt x="11026758" y="552682"/>
                </a:cubicBezTo>
                <a:close/>
                <a:moveTo>
                  <a:pt x="8152845" y="544127"/>
                </a:moveTo>
                <a:cubicBezTo>
                  <a:pt x="8161154" y="546266"/>
                  <a:pt x="8168750" y="551493"/>
                  <a:pt x="8173498" y="559095"/>
                </a:cubicBezTo>
                <a:cubicBezTo>
                  <a:pt x="8177296" y="564797"/>
                  <a:pt x="8177296" y="570499"/>
                  <a:pt x="8177296" y="576201"/>
                </a:cubicBezTo>
                <a:cubicBezTo>
                  <a:pt x="8177296" y="587605"/>
                  <a:pt x="8171598" y="599009"/>
                  <a:pt x="8162103" y="604711"/>
                </a:cubicBezTo>
                <a:cubicBezTo>
                  <a:pt x="8162103" y="604711"/>
                  <a:pt x="8162103" y="604711"/>
                  <a:pt x="7825963" y="808083"/>
                </a:cubicBezTo>
                <a:cubicBezTo>
                  <a:pt x="7810771" y="817587"/>
                  <a:pt x="7789881" y="813785"/>
                  <a:pt x="7780385" y="796679"/>
                </a:cubicBezTo>
                <a:cubicBezTo>
                  <a:pt x="7770890" y="781474"/>
                  <a:pt x="7776587" y="760567"/>
                  <a:pt x="7791780" y="751063"/>
                </a:cubicBezTo>
                <a:cubicBezTo>
                  <a:pt x="7791780" y="751063"/>
                  <a:pt x="7791780" y="751063"/>
                  <a:pt x="8127919" y="547691"/>
                </a:cubicBezTo>
                <a:cubicBezTo>
                  <a:pt x="8135516" y="542939"/>
                  <a:pt x="8144537" y="541989"/>
                  <a:pt x="8152845" y="544127"/>
                </a:cubicBezTo>
                <a:close/>
                <a:moveTo>
                  <a:pt x="11598067" y="544120"/>
                </a:moveTo>
                <a:cubicBezTo>
                  <a:pt x="11606170" y="546258"/>
                  <a:pt x="11613319" y="551485"/>
                  <a:pt x="11618085" y="559088"/>
                </a:cubicBezTo>
                <a:cubicBezTo>
                  <a:pt x="11621899" y="564790"/>
                  <a:pt x="11623805" y="570492"/>
                  <a:pt x="11623805" y="576194"/>
                </a:cubicBezTo>
                <a:cubicBezTo>
                  <a:pt x="11623805" y="587598"/>
                  <a:pt x="11618085" y="599002"/>
                  <a:pt x="11606646" y="604704"/>
                </a:cubicBezTo>
                <a:cubicBezTo>
                  <a:pt x="11606646" y="604704"/>
                  <a:pt x="11606646" y="604704"/>
                  <a:pt x="11271101" y="808077"/>
                </a:cubicBezTo>
                <a:cubicBezTo>
                  <a:pt x="11255849" y="817580"/>
                  <a:pt x="11234877" y="813778"/>
                  <a:pt x="11225345" y="796673"/>
                </a:cubicBezTo>
                <a:cubicBezTo>
                  <a:pt x="11215812" y="781467"/>
                  <a:pt x="11219625" y="760560"/>
                  <a:pt x="11236784" y="751056"/>
                </a:cubicBezTo>
                <a:cubicBezTo>
                  <a:pt x="11236784" y="751056"/>
                  <a:pt x="11236784" y="751056"/>
                  <a:pt x="11572329" y="547684"/>
                </a:cubicBezTo>
                <a:cubicBezTo>
                  <a:pt x="11580908" y="542932"/>
                  <a:pt x="11589964" y="541982"/>
                  <a:pt x="11598067" y="544120"/>
                </a:cubicBezTo>
                <a:close/>
                <a:moveTo>
                  <a:pt x="12139750" y="535003"/>
                </a:moveTo>
                <a:cubicBezTo>
                  <a:pt x="12139750" y="535003"/>
                  <a:pt x="12139750" y="535003"/>
                  <a:pt x="12139750" y="616918"/>
                </a:cubicBezTo>
                <a:cubicBezTo>
                  <a:pt x="12139750" y="616918"/>
                  <a:pt x="12139750" y="616918"/>
                  <a:pt x="11835212" y="792178"/>
                </a:cubicBezTo>
                <a:cubicBezTo>
                  <a:pt x="11818082" y="801703"/>
                  <a:pt x="11795242" y="795988"/>
                  <a:pt x="11785725" y="778843"/>
                </a:cubicBezTo>
                <a:cubicBezTo>
                  <a:pt x="11776208" y="761698"/>
                  <a:pt x="11781918" y="738838"/>
                  <a:pt x="11799048" y="729313"/>
                </a:cubicBezTo>
                <a:lnTo>
                  <a:pt x="12135943" y="536908"/>
                </a:lnTo>
                <a:cubicBezTo>
                  <a:pt x="12137847" y="536908"/>
                  <a:pt x="12137847" y="535003"/>
                  <a:pt x="12139750" y="535003"/>
                </a:cubicBezTo>
                <a:close/>
                <a:moveTo>
                  <a:pt x="7595886" y="534825"/>
                </a:moveTo>
                <a:cubicBezTo>
                  <a:pt x="7604955" y="537196"/>
                  <a:pt x="7613070" y="542884"/>
                  <a:pt x="7617844" y="551417"/>
                </a:cubicBezTo>
                <a:cubicBezTo>
                  <a:pt x="7621663" y="557105"/>
                  <a:pt x="7621663" y="562794"/>
                  <a:pt x="7621663" y="568482"/>
                </a:cubicBezTo>
                <a:cubicBezTo>
                  <a:pt x="7621663" y="581756"/>
                  <a:pt x="7615935" y="593133"/>
                  <a:pt x="7604478" y="600717"/>
                </a:cubicBezTo>
                <a:cubicBezTo>
                  <a:pt x="7604478" y="600717"/>
                  <a:pt x="7604478" y="600717"/>
                  <a:pt x="7266512" y="792231"/>
                </a:cubicBezTo>
                <a:cubicBezTo>
                  <a:pt x="7249327" y="801712"/>
                  <a:pt x="7228323" y="796023"/>
                  <a:pt x="7218776" y="778957"/>
                </a:cubicBezTo>
                <a:cubicBezTo>
                  <a:pt x="7207320" y="761892"/>
                  <a:pt x="7214957" y="739138"/>
                  <a:pt x="7230233" y="729657"/>
                </a:cubicBezTo>
                <a:cubicBezTo>
                  <a:pt x="7230233" y="729657"/>
                  <a:pt x="7230233" y="729657"/>
                  <a:pt x="7568199" y="538144"/>
                </a:cubicBezTo>
                <a:cubicBezTo>
                  <a:pt x="7576791" y="533403"/>
                  <a:pt x="7586816" y="532455"/>
                  <a:pt x="7595886" y="534825"/>
                </a:cubicBezTo>
                <a:close/>
                <a:moveTo>
                  <a:pt x="7044520" y="526281"/>
                </a:moveTo>
                <a:cubicBezTo>
                  <a:pt x="7053807" y="529139"/>
                  <a:pt x="7061903" y="535330"/>
                  <a:pt x="7066666" y="543903"/>
                </a:cubicBezTo>
                <a:cubicBezTo>
                  <a:pt x="7070476" y="549618"/>
                  <a:pt x="7072381" y="557237"/>
                  <a:pt x="7072381" y="562953"/>
                </a:cubicBezTo>
                <a:cubicBezTo>
                  <a:pt x="7072381" y="576287"/>
                  <a:pt x="7064761" y="589623"/>
                  <a:pt x="7051425" y="595337"/>
                </a:cubicBezTo>
                <a:cubicBezTo>
                  <a:pt x="7051425" y="595337"/>
                  <a:pt x="7051425" y="595337"/>
                  <a:pt x="6714236" y="776312"/>
                </a:cubicBezTo>
                <a:cubicBezTo>
                  <a:pt x="6695185" y="785837"/>
                  <a:pt x="6672325" y="780122"/>
                  <a:pt x="6662800" y="761072"/>
                </a:cubicBezTo>
                <a:cubicBezTo>
                  <a:pt x="6653275" y="743927"/>
                  <a:pt x="6660895" y="721067"/>
                  <a:pt x="6678040" y="709637"/>
                </a:cubicBezTo>
                <a:cubicBezTo>
                  <a:pt x="6678040" y="709637"/>
                  <a:pt x="6678040" y="709637"/>
                  <a:pt x="7015230" y="528663"/>
                </a:cubicBezTo>
                <a:cubicBezTo>
                  <a:pt x="7024755" y="523900"/>
                  <a:pt x="7035233" y="523424"/>
                  <a:pt x="7044520" y="526281"/>
                </a:cubicBezTo>
                <a:close/>
                <a:moveTo>
                  <a:pt x="6500891" y="517214"/>
                </a:moveTo>
                <a:cubicBezTo>
                  <a:pt x="6510676" y="520539"/>
                  <a:pt x="6519268" y="527666"/>
                  <a:pt x="6524041" y="538118"/>
                </a:cubicBezTo>
                <a:cubicBezTo>
                  <a:pt x="6525950" y="543819"/>
                  <a:pt x="6527860" y="549520"/>
                  <a:pt x="6527860" y="555221"/>
                </a:cubicBezTo>
                <a:cubicBezTo>
                  <a:pt x="6527860" y="570424"/>
                  <a:pt x="6520223" y="583727"/>
                  <a:pt x="6506857" y="591328"/>
                </a:cubicBezTo>
                <a:cubicBezTo>
                  <a:pt x="6506857" y="591328"/>
                  <a:pt x="6506857" y="591328"/>
                  <a:pt x="6166999" y="760460"/>
                </a:cubicBezTo>
                <a:cubicBezTo>
                  <a:pt x="6147906" y="769962"/>
                  <a:pt x="6123085" y="762360"/>
                  <a:pt x="6113538" y="743357"/>
                </a:cubicBezTo>
                <a:cubicBezTo>
                  <a:pt x="6103992" y="722453"/>
                  <a:pt x="6111629" y="699649"/>
                  <a:pt x="6130722" y="690147"/>
                </a:cubicBezTo>
                <a:cubicBezTo>
                  <a:pt x="6130722" y="690147"/>
                  <a:pt x="6130722" y="690147"/>
                  <a:pt x="6470580" y="519114"/>
                </a:cubicBezTo>
                <a:cubicBezTo>
                  <a:pt x="6480127" y="514363"/>
                  <a:pt x="6491105" y="513888"/>
                  <a:pt x="6500891" y="517214"/>
                </a:cubicBezTo>
                <a:close/>
                <a:moveTo>
                  <a:pt x="5942009" y="506693"/>
                </a:moveTo>
                <a:cubicBezTo>
                  <a:pt x="5958261" y="505537"/>
                  <a:pt x="5973977" y="514778"/>
                  <a:pt x="5981120" y="530416"/>
                </a:cubicBezTo>
                <a:cubicBezTo>
                  <a:pt x="5984930" y="536102"/>
                  <a:pt x="5984930" y="541789"/>
                  <a:pt x="5984930" y="547475"/>
                </a:cubicBezTo>
                <a:cubicBezTo>
                  <a:pt x="5984930" y="564535"/>
                  <a:pt x="5977310" y="579699"/>
                  <a:pt x="5962070" y="585386"/>
                </a:cubicBezTo>
                <a:cubicBezTo>
                  <a:pt x="5962070" y="585386"/>
                  <a:pt x="5962070" y="585386"/>
                  <a:pt x="5622984" y="744609"/>
                </a:cubicBezTo>
                <a:cubicBezTo>
                  <a:pt x="5602029" y="754087"/>
                  <a:pt x="5577264" y="744609"/>
                  <a:pt x="5565833" y="723759"/>
                </a:cubicBezTo>
                <a:cubicBezTo>
                  <a:pt x="5556309" y="702908"/>
                  <a:pt x="5565833" y="678266"/>
                  <a:pt x="5586789" y="668789"/>
                </a:cubicBezTo>
                <a:cubicBezTo>
                  <a:pt x="5586789" y="668789"/>
                  <a:pt x="5586789" y="668789"/>
                  <a:pt x="5925877" y="511460"/>
                </a:cubicBezTo>
                <a:cubicBezTo>
                  <a:pt x="5931114" y="508617"/>
                  <a:pt x="5936591" y="507077"/>
                  <a:pt x="5942009" y="506693"/>
                </a:cubicBezTo>
                <a:close/>
                <a:moveTo>
                  <a:pt x="382532" y="506681"/>
                </a:moveTo>
                <a:cubicBezTo>
                  <a:pt x="398784" y="505526"/>
                  <a:pt x="414500" y="514766"/>
                  <a:pt x="421644" y="530405"/>
                </a:cubicBezTo>
                <a:cubicBezTo>
                  <a:pt x="423549" y="536091"/>
                  <a:pt x="425454" y="541778"/>
                  <a:pt x="425454" y="547464"/>
                </a:cubicBezTo>
                <a:cubicBezTo>
                  <a:pt x="425454" y="564524"/>
                  <a:pt x="415929" y="579688"/>
                  <a:pt x="400689" y="585374"/>
                </a:cubicBezTo>
                <a:cubicBezTo>
                  <a:pt x="400689" y="585374"/>
                  <a:pt x="400689" y="585374"/>
                  <a:pt x="61595" y="744598"/>
                </a:cubicBezTo>
                <a:cubicBezTo>
                  <a:pt x="40640" y="754076"/>
                  <a:pt x="15874" y="744598"/>
                  <a:pt x="6349" y="723747"/>
                </a:cubicBezTo>
                <a:cubicBezTo>
                  <a:pt x="-3176" y="702897"/>
                  <a:pt x="6349" y="678255"/>
                  <a:pt x="27305" y="668777"/>
                </a:cubicBezTo>
                <a:cubicBezTo>
                  <a:pt x="27305" y="668777"/>
                  <a:pt x="27305" y="668777"/>
                  <a:pt x="366399" y="511449"/>
                </a:cubicBezTo>
                <a:cubicBezTo>
                  <a:pt x="371637" y="508606"/>
                  <a:pt x="377114" y="507066"/>
                  <a:pt x="382532" y="506681"/>
                </a:cubicBezTo>
                <a:close/>
                <a:moveTo>
                  <a:pt x="5409823" y="500973"/>
                </a:moveTo>
                <a:cubicBezTo>
                  <a:pt x="5420078" y="505026"/>
                  <a:pt x="5428662" y="513132"/>
                  <a:pt x="5433432" y="524577"/>
                </a:cubicBezTo>
                <a:cubicBezTo>
                  <a:pt x="5437247" y="530300"/>
                  <a:pt x="5437247" y="536022"/>
                  <a:pt x="5437247" y="541744"/>
                </a:cubicBezTo>
                <a:cubicBezTo>
                  <a:pt x="5437247" y="558911"/>
                  <a:pt x="5427709" y="574171"/>
                  <a:pt x="5410538" y="581801"/>
                </a:cubicBezTo>
                <a:cubicBezTo>
                  <a:pt x="5410538" y="581801"/>
                  <a:pt x="5410538" y="581801"/>
                  <a:pt x="5070946" y="728676"/>
                </a:cubicBezTo>
                <a:cubicBezTo>
                  <a:pt x="5048055" y="738212"/>
                  <a:pt x="5023257" y="728676"/>
                  <a:pt x="5011810" y="705786"/>
                </a:cubicBezTo>
                <a:cubicBezTo>
                  <a:pt x="5002274" y="682896"/>
                  <a:pt x="5013719" y="658100"/>
                  <a:pt x="5034702" y="648562"/>
                </a:cubicBezTo>
                <a:cubicBezTo>
                  <a:pt x="5034702" y="648562"/>
                  <a:pt x="5034702" y="648562"/>
                  <a:pt x="5376199" y="501688"/>
                </a:cubicBezTo>
                <a:cubicBezTo>
                  <a:pt x="5387645" y="496919"/>
                  <a:pt x="5399569" y="496919"/>
                  <a:pt x="5409823" y="500973"/>
                </a:cubicBezTo>
                <a:close/>
                <a:moveTo>
                  <a:pt x="943575" y="500959"/>
                </a:moveTo>
                <a:cubicBezTo>
                  <a:pt x="954275" y="505012"/>
                  <a:pt x="963310" y="513119"/>
                  <a:pt x="968066" y="524564"/>
                </a:cubicBezTo>
                <a:cubicBezTo>
                  <a:pt x="969968" y="530286"/>
                  <a:pt x="969968" y="536009"/>
                  <a:pt x="969968" y="541731"/>
                </a:cubicBezTo>
                <a:cubicBezTo>
                  <a:pt x="969968" y="558898"/>
                  <a:pt x="960457" y="574158"/>
                  <a:pt x="945239" y="581788"/>
                </a:cubicBezTo>
                <a:cubicBezTo>
                  <a:pt x="945239" y="581788"/>
                  <a:pt x="945239" y="581788"/>
                  <a:pt x="604741" y="728662"/>
                </a:cubicBezTo>
                <a:cubicBezTo>
                  <a:pt x="581914" y="738200"/>
                  <a:pt x="557185" y="728662"/>
                  <a:pt x="547674" y="705773"/>
                </a:cubicBezTo>
                <a:cubicBezTo>
                  <a:pt x="538163" y="682883"/>
                  <a:pt x="547674" y="658086"/>
                  <a:pt x="570501" y="648549"/>
                </a:cubicBezTo>
                <a:cubicBezTo>
                  <a:pt x="570501" y="648549"/>
                  <a:pt x="570501" y="648549"/>
                  <a:pt x="909097" y="501674"/>
                </a:cubicBezTo>
                <a:cubicBezTo>
                  <a:pt x="920510" y="496906"/>
                  <a:pt x="932875" y="496906"/>
                  <a:pt x="943575" y="500959"/>
                </a:cubicBezTo>
                <a:close/>
                <a:moveTo>
                  <a:pt x="4841065" y="488779"/>
                </a:moveTo>
                <a:cubicBezTo>
                  <a:pt x="4858649" y="489046"/>
                  <a:pt x="4875427" y="499748"/>
                  <a:pt x="4882566" y="516870"/>
                </a:cubicBezTo>
                <a:cubicBezTo>
                  <a:pt x="4884469" y="522577"/>
                  <a:pt x="4886373" y="528285"/>
                  <a:pt x="4886373" y="533993"/>
                </a:cubicBezTo>
                <a:cubicBezTo>
                  <a:pt x="4886373" y="553017"/>
                  <a:pt x="4874949" y="570139"/>
                  <a:pt x="4855912" y="577749"/>
                </a:cubicBezTo>
                <a:cubicBezTo>
                  <a:pt x="4855912" y="577749"/>
                  <a:pt x="4855912" y="577749"/>
                  <a:pt x="4517068" y="712825"/>
                </a:cubicBezTo>
                <a:cubicBezTo>
                  <a:pt x="4492321" y="722338"/>
                  <a:pt x="4465668" y="710923"/>
                  <a:pt x="4456150" y="686191"/>
                </a:cubicBezTo>
                <a:cubicBezTo>
                  <a:pt x="4446631" y="663361"/>
                  <a:pt x="4458054" y="636726"/>
                  <a:pt x="4482802" y="627214"/>
                </a:cubicBezTo>
                <a:cubicBezTo>
                  <a:pt x="4482802" y="627214"/>
                  <a:pt x="4482802" y="627214"/>
                  <a:pt x="4823545" y="492138"/>
                </a:cubicBezTo>
                <a:cubicBezTo>
                  <a:pt x="4829255" y="489760"/>
                  <a:pt x="4835204" y="488690"/>
                  <a:pt x="4841065" y="488779"/>
                </a:cubicBezTo>
                <a:close/>
                <a:moveTo>
                  <a:pt x="1475768" y="488763"/>
                </a:moveTo>
                <a:cubicBezTo>
                  <a:pt x="1493806" y="489031"/>
                  <a:pt x="1511308" y="499732"/>
                  <a:pt x="1517023" y="516854"/>
                </a:cubicBezTo>
                <a:cubicBezTo>
                  <a:pt x="1520833" y="522562"/>
                  <a:pt x="1520833" y="528269"/>
                  <a:pt x="1520833" y="533977"/>
                </a:cubicBezTo>
                <a:cubicBezTo>
                  <a:pt x="1520833" y="553002"/>
                  <a:pt x="1509403" y="570124"/>
                  <a:pt x="1492258" y="577734"/>
                </a:cubicBezTo>
                <a:cubicBezTo>
                  <a:pt x="1492258" y="577734"/>
                  <a:pt x="1492258" y="577734"/>
                  <a:pt x="1151259" y="712810"/>
                </a:cubicBezTo>
                <a:cubicBezTo>
                  <a:pt x="1128399" y="722323"/>
                  <a:pt x="1101728" y="710908"/>
                  <a:pt x="1092203" y="686175"/>
                </a:cubicBezTo>
                <a:cubicBezTo>
                  <a:pt x="1082678" y="663346"/>
                  <a:pt x="1094108" y="636711"/>
                  <a:pt x="1116969" y="627198"/>
                </a:cubicBezTo>
                <a:cubicBezTo>
                  <a:pt x="1116969" y="627198"/>
                  <a:pt x="1116969" y="627198"/>
                  <a:pt x="1457968" y="492122"/>
                </a:cubicBezTo>
                <a:cubicBezTo>
                  <a:pt x="1463683" y="489744"/>
                  <a:pt x="1469755" y="488674"/>
                  <a:pt x="1475768" y="488763"/>
                </a:cubicBezTo>
                <a:close/>
                <a:moveTo>
                  <a:pt x="4284536" y="479572"/>
                </a:moveTo>
                <a:cubicBezTo>
                  <a:pt x="4302958" y="480462"/>
                  <a:pt x="4319771" y="492573"/>
                  <a:pt x="4326924" y="511096"/>
                </a:cubicBezTo>
                <a:cubicBezTo>
                  <a:pt x="4328831" y="516795"/>
                  <a:pt x="4330739" y="522495"/>
                  <a:pt x="4330739" y="528194"/>
                </a:cubicBezTo>
                <a:cubicBezTo>
                  <a:pt x="4330739" y="547192"/>
                  <a:pt x="4317385" y="566190"/>
                  <a:pt x="4298308" y="571889"/>
                </a:cubicBezTo>
                <a:cubicBezTo>
                  <a:pt x="4298308" y="571889"/>
                  <a:pt x="4298308" y="571889"/>
                  <a:pt x="3956841" y="695376"/>
                </a:cubicBezTo>
                <a:cubicBezTo>
                  <a:pt x="3932037" y="704875"/>
                  <a:pt x="3903422" y="691576"/>
                  <a:pt x="3895790" y="666879"/>
                </a:cubicBezTo>
                <a:cubicBezTo>
                  <a:pt x="3886251" y="642182"/>
                  <a:pt x="3899607" y="615584"/>
                  <a:pt x="3924406" y="606085"/>
                </a:cubicBezTo>
                <a:cubicBezTo>
                  <a:pt x="3924406" y="606085"/>
                  <a:pt x="3924406" y="606085"/>
                  <a:pt x="4265875" y="482599"/>
                </a:cubicBezTo>
                <a:cubicBezTo>
                  <a:pt x="4272075" y="480225"/>
                  <a:pt x="4278394" y="479275"/>
                  <a:pt x="4284536" y="479572"/>
                </a:cubicBezTo>
                <a:close/>
                <a:moveTo>
                  <a:pt x="2030557" y="479554"/>
                </a:moveTo>
                <a:cubicBezTo>
                  <a:pt x="2049519" y="480444"/>
                  <a:pt x="2067404" y="492555"/>
                  <a:pt x="2074559" y="511078"/>
                </a:cubicBezTo>
                <a:cubicBezTo>
                  <a:pt x="2076466" y="516778"/>
                  <a:pt x="2076466" y="522477"/>
                  <a:pt x="2076466" y="528177"/>
                </a:cubicBezTo>
                <a:cubicBezTo>
                  <a:pt x="2076466" y="547175"/>
                  <a:pt x="2065020" y="566172"/>
                  <a:pt x="2045939" y="571872"/>
                </a:cubicBezTo>
                <a:cubicBezTo>
                  <a:pt x="2045939" y="571872"/>
                  <a:pt x="2045939" y="571872"/>
                  <a:pt x="1702543" y="695358"/>
                </a:cubicBezTo>
                <a:cubicBezTo>
                  <a:pt x="1677743" y="704857"/>
                  <a:pt x="1651034" y="691559"/>
                  <a:pt x="1641495" y="666862"/>
                </a:cubicBezTo>
                <a:cubicBezTo>
                  <a:pt x="1631957" y="642164"/>
                  <a:pt x="1645311" y="615567"/>
                  <a:pt x="1670112" y="606068"/>
                </a:cubicBezTo>
                <a:cubicBezTo>
                  <a:pt x="1670112" y="606068"/>
                  <a:pt x="1670112" y="606068"/>
                  <a:pt x="2011599" y="482582"/>
                </a:cubicBezTo>
                <a:cubicBezTo>
                  <a:pt x="2017799" y="480207"/>
                  <a:pt x="2024238" y="479257"/>
                  <a:pt x="2030557" y="479554"/>
                </a:cubicBezTo>
                <a:close/>
                <a:moveTo>
                  <a:pt x="3723550" y="470402"/>
                </a:moveTo>
                <a:cubicBezTo>
                  <a:pt x="3743254" y="471922"/>
                  <a:pt x="3760807" y="485514"/>
                  <a:pt x="3766538" y="505544"/>
                </a:cubicBezTo>
                <a:cubicBezTo>
                  <a:pt x="3768450" y="511267"/>
                  <a:pt x="3770359" y="515082"/>
                  <a:pt x="3770359" y="520805"/>
                </a:cubicBezTo>
                <a:cubicBezTo>
                  <a:pt x="3770359" y="541790"/>
                  <a:pt x="3756987" y="560866"/>
                  <a:pt x="3734059" y="568497"/>
                </a:cubicBezTo>
                <a:cubicBezTo>
                  <a:pt x="3734059" y="568497"/>
                  <a:pt x="3734059" y="568497"/>
                  <a:pt x="3392114" y="681049"/>
                </a:cubicBezTo>
                <a:cubicBezTo>
                  <a:pt x="3365365" y="690588"/>
                  <a:pt x="3336709" y="675326"/>
                  <a:pt x="3329067" y="648619"/>
                </a:cubicBezTo>
                <a:cubicBezTo>
                  <a:pt x="3319514" y="621912"/>
                  <a:pt x="3334799" y="595204"/>
                  <a:pt x="3359634" y="585666"/>
                </a:cubicBezTo>
                <a:cubicBezTo>
                  <a:pt x="3359634" y="585666"/>
                  <a:pt x="3359634" y="585666"/>
                  <a:pt x="3703492" y="473114"/>
                </a:cubicBezTo>
                <a:cubicBezTo>
                  <a:pt x="3710179" y="470729"/>
                  <a:pt x="3716986" y="469895"/>
                  <a:pt x="3723550" y="470402"/>
                </a:cubicBezTo>
                <a:close/>
                <a:moveTo>
                  <a:pt x="2590051" y="470381"/>
                </a:moveTo>
                <a:cubicBezTo>
                  <a:pt x="2609752" y="471901"/>
                  <a:pt x="2627305" y="485494"/>
                  <a:pt x="2633035" y="505524"/>
                </a:cubicBezTo>
                <a:cubicBezTo>
                  <a:pt x="2634945" y="511247"/>
                  <a:pt x="2636856" y="515063"/>
                  <a:pt x="2636856" y="520785"/>
                </a:cubicBezTo>
                <a:cubicBezTo>
                  <a:pt x="2636856" y="541770"/>
                  <a:pt x="2623483" y="560847"/>
                  <a:pt x="2600558" y="568477"/>
                </a:cubicBezTo>
                <a:cubicBezTo>
                  <a:pt x="2600558" y="568477"/>
                  <a:pt x="2600558" y="568477"/>
                  <a:pt x="2258596" y="681030"/>
                </a:cubicBezTo>
                <a:cubicBezTo>
                  <a:pt x="2231850" y="690568"/>
                  <a:pt x="2203194" y="675307"/>
                  <a:pt x="2195553" y="648599"/>
                </a:cubicBezTo>
                <a:cubicBezTo>
                  <a:pt x="2186001" y="621892"/>
                  <a:pt x="2201284" y="595185"/>
                  <a:pt x="2226119" y="585646"/>
                </a:cubicBezTo>
                <a:cubicBezTo>
                  <a:pt x="2226119" y="585646"/>
                  <a:pt x="2226119" y="585646"/>
                  <a:pt x="2569992" y="473094"/>
                </a:cubicBezTo>
                <a:cubicBezTo>
                  <a:pt x="2576678" y="470709"/>
                  <a:pt x="2583485" y="469875"/>
                  <a:pt x="2590051" y="470381"/>
                </a:cubicBezTo>
                <a:close/>
                <a:moveTo>
                  <a:pt x="3153226" y="461689"/>
                </a:moveTo>
                <a:cubicBezTo>
                  <a:pt x="3173702" y="464103"/>
                  <a:pt x="3191229" y="478054"/>
                  <a:pt x="3196952" y="499516"/>
                </a:cubicBezTo>
                <a:cubicBezTo>
                  <a:pt x="3198860" y="503332"/>
                  <a:pt x="3198860" y="509055"/>
                  <a:pt x="3198860" y="512871"/>
                </a:cubicBezTo>
                <a:cubicBezTo>
                  <a:pt x="3198860" y="535764"/>
                  <a:pt x="3185507" y="556750"/>
                  <a:pt x="3162613" y="564381"/>
                </a:cubicBezTo>
                <a:cubicBezTo>
                  <a:pt x="3162613" y="564381"/>
                  <a:pt x="3162613" y="564381"/>
                  <a:pt x="2819230" y="665493"/>
                </a:cubicBezTo>
                <a:cubicBezTo>
                  <a:pt x="2790615" y="673125"/>
                  <a:pt x="2761999" y="657862"/>
                  <a:pt x="2754365" y="629246"/>
                </a:cubicBezTo>
                <a:cubicBezTo>
                  <a:pt x="2744827" y="602536"/>
                  <a:pt x="2761999" y="572012"/>
                  <a:pt x="2788707" y="564381"/>
                </a:cubicBezTo>
                <a:cubicBezTo>
                  <a:pt x="2788707" y="564381"/>
                  <a:pt x="2788707" y="564381"/>
                  <a:pt x="3132091" y="463269"/>
                </a:cubicBezTo>
                <a:cubicBezTo>
                  <a:pt x="3139247" y="461361"/>
                  <a:pt x="3146399" y="460884"/>
                  <a:pt x="3153226" y="461689"/>
                </a:cubicBezTo>
                <a:close/>
                <a:moveTo>
                  <a:pt x="9865382" y="251073"/>
                </a:moveTo>
                <a:cubicBezTo>
                  <a:pt x="9872978" y="252741"/>
                  <a:pt x="9880099" y="257509"/>
                  <a:pt x="9884846" y="265137"/>
                </a:cubicBezTo>
                <a:cubicBezTo>
                  <a:pt x="9888644" y="268951"/>
                  <a:pt x="9888644" y="274673"/>
                  <a:pt x="9888644" y="280394"/>
                </a:cubicBezTo>
                <a:cubicBezTo>
                  <a:pt x="9888644" y="289929"/>
                  <a:pt x="9884846" y="299465"/>
                  <a:pt x="9875351" y="305186"/>
                </a:cubicBezTo>
                <a:cubicBezTo>
                  <a:pt x="9875351" y="305186"/>
                  <a:pt x="9875351" y="305186"/>
                  <a:pt x="9543036" y="530219"/>
                </a:cubicBezTo>
                <a:cubicBezTo>
                  <a:pt x="9527844" y="539755"/>
                  <a:pt x="9510753" y="535941"/>
                  <a:pt x="9501259" y="520684"/>
                </a:cubicBezTo>
                <a:cubicBezTo>
                  <a:pt x="9491764" y="507335"/>
                  <a:pt x="9495562" y="490171"/>
                  <a:pt x="9508855" y="480636"/>
                </a:cubicBezTo>
                <a:cubicBezTo>
                  <a:pt x="9508855" y="480636"/>
                  <a:pt x="9508855" y="480636"/>
                  <a:pt x="9843069" y="255602"/>
                </a:cubicBezTo>
                <a:cubicBezTo>
                  <a:pt x="9849716" y="250834"/>
                  <a:pt x="9857786" y="249404"/>
                  <a:pt x="9865382" y="251073"/>
                </a:cubicBezTo>
                <a:close/>
                <a:moveTo>
                  <a:pt x="9288660" y="242274"/>
                </a:moveTo>
                <a:cubicBezTo>
                  <a:pt x="9296298" y="244177"/>
                  <a:pt x="9303459" y="248934"/>
                  <a:pt x="9308232" y="255594"/>
                </a:cubicBezTo>
                <a:cubicBezTo>
                  <a:pt x="9312051" y="261303"/>
                  <a:pt x="9313961" y="267012"/>
                  <a:pt x="9313961" y="272720"/>
                </a:cubicBezTo>
                <a:cubicBezTo>
                  <a:pt x="9313961" y="284138"/>
                  <a:pt x="9308232" y="293652"/>
                  <a:pt x="9298685" y="299361"/>
                </a:cubicBezTo>
                <a:cubicBezTo>
                  <a:pt x="9298685" y="299361"/>
                  <a:pt x="9298685" y="299361"/>
                  <a:pt x="8962610" y="514388"/>
                </a:cubicBezTo>
                <a:cubicBezTo>
                  <a:pt x="8949243" y="523902"/>
                  <a:pt x="8928238" y="518193"/>
                  <a:pt x="8918691" y="504873"/>
                </a:cubicBezTo>
                <a:cubicBezTo>
                  <a:pt x="8909143" y="489650"/>
                  <a:pt x="8914872" y="470622"/>
                  <a:pt x="8928238" y="461107"/>
                </a:cubicBezTo>
                <a:lnTo>
                  <a:pt x="9266223" y="246080"/>
                </a:lnTo>
                <a:cubicBezTo>
                  <a:pt x="9272907" y="241322"/>
                  <a:pt x="9281022" y="240371"/>
                  <a:pt x="9288660" y="242274"/>
                </a:cubicBezTo>
                <a:close/>
                <a:moveTo>
                  <a:pt x="10450170" y="242248"/>
                </a:moveTo>
                <a:cubicBezTo>
                  <a:pt x="10458260" y="244151"/>
                  <a:pt x="10465874" y="248908"/>
                  <a:pt x="10470633" y="255569"/>
                </a:cubicBezTo>
                <a:cubicBezTo>
                  <a:pt x="10472536" y="261277"/>
                  <a:pt x="10474440" y="266986"/>
                  <a:pt x="10474440" y="272695"/>
                </a:cubicBezTo>
                <a:cubicBezTo>
                  <a:pt x="10474440" y="284112"/>
                  <a:pt x="10470633" y="293627"/>
                  <a:pt x="10461115" y="299335"/>
                </a:cubicBezTo>
                <a:cubicBezTo>
                  <a:pt x="10461115" y="299335"/>
                  <a:pt x="10461115" y="299335"/>
                  <a:pt x="10124192" y="514363"/>
                </a:cubicBezTo>
                <a:cubicBezTo>
                  <a:pt x="10110867" y="523878"/>
                  <a:pt x="10091832" y="518169"/>
                  <a:pt x="10082315" y="504848"/>
                </a:cubicBezTo>
                <a:cubicBezTo>
                  <a:pt x="10072797" y="489625"/>
                  <a:pt x="10076604" y="470596"/>
                  <a:pt x="10091832" y="461082"/>
                </a:cubicBezTo>
                <a:lnTo>
                  <a:pt x="10426852" y="246054"/>
                </a:lnTo>
                <a:cubicBezTo>
                  <a:pt x="10433514" y="241297"/>
                  <a:pt x="10442080" y="240345"/>
                  <a:pt x="10450170" y="242248"/>
                </a:cubicBezTo>
                <a:close/>
                <a:moveTo>
                  <a:pt x="8718303" y="233007"/>
                </a:moveTo>
                <a:cubicBezTo>
                  <a:pt x="8726406" y="235155"/>
                  <a:pt x="8733555" y="240405"/>
                  <a:pt x="8738321" y="248042"/>
                </a:cubicBezTo>
                <a:cubicBezTo>
                  <a:pt x="8742135" y="253770"/>
                  <a:pt x="8744041" y="259498"/>
                  <a:pt x="8744041" y="265226"/>
                </a:cubicBezTo>
                <a:cubicBezTo>
                  <a:pt x="8744041" y="276682"/>
                  <a:pt x="8738321" y="288137"/>
                  <a:pt x="8728789" y="293865"/>
                </a:cubicBezTo>
                <a:cubicBezTo>
                  <a:pt x="8728789" y="293865"/>
                  <a:pt x="8728789" y="293865"/>
                  <a:pt x="8391337" y="500068"/>
                </a:cubicBezTo>
                <a:cubicBezTo>
                  <a:pt x="8376085" y="509614"/>
                  <a:pt x="8355113" y="503887"/>
                  <a:pt x="8345581" y="488612"/>
                </a:cubicBezTo>
                <a:cubicBezTo>
                  <a:pt x="8336048" y="473338"/>
                  <a:pt x="8341768" y="452336"/>
                  <a:pt x="8357020" y="442790"/>
                </a:cubicBezTo>
                <a:cubicBezTo>
                  <a:pt x="8357020" y="442790"/>
                  <a:pt x="8357020" y="442790"/>
                  <a:pt x="8692565" y="236587"/>
                </a:cubicBezTo>
                <a:cubicBezTo>
                  <a:pt x="8701144" y="231813"/>
                  <a:pt x="8710200" y="230859"/>
                  <a:pt x="8718303" y="233007"/>
                </a:cubicBezTo>
                <a:close/>
                <a:moveTo>
                  <a:pt x="11027432" y="232979"/>
                </a:moveTo>
                <a:cubicBezTo>
                  <a:pt x="11035773" y="235127"/>
                  <a:pt x="11043399" y="240377"/>
                  <a:pt x="11048165" y="248015"/>
                </a:cubicBezTo>
                <a:cubicBezTo>
                  <a:pt x="11051979" y="253743"/>
                  <a:pt x="11053885" y="259470"/>
                  <a:pt x="11053885" y="265198"/>
                </a:cubicBezTo>
                <a:cubicBezTo>
                  <a:pt x="11053885" y="276654"/>
                  <a:pt x="11048165" y="288110"/>
                  <a:pt x="11036726" y="293838"/>
                </a:cubicBezTo>
                <a:cubicBezTo>
                  <a:pt x="11036726" y="293838"/>
                  <a:pt x="11036726" y="293838"/>
                  <a:pt x="10701181" y="500041"/>
                </a:cubicBezTo>
                <a:cubicBezTo>
                  <a:pt x="10685929" y="509587"/>
                  <a:pt x="10664957" y="503860"/>
                  <a:pt x="10655425" y="488585"/>
                </a:cubicBezTo>
                <a:cubicBezTo>
                  <a:pt x="10645892" y="473311"/>
                  <a:pt x="10651612" y="452309"/>
                  <a:pt x="10666864" y="442762"/>
                </a:cubicBezTo>
                <a:cubicBezTo>
                  <a:pt x="10666864" y="442762"/>
                  <a:pt x="10666864" y="442762"/>
                  <a:pt x="11002409" y="236559"/>
                </a:cubicBezTo>
                <a:cubicBezTo>
                  <a:pt x="11010035" y="231786"/>
                  <a:pt x="11019091" y="230831"/>
                  <a:pt x="11027432" y="232979"/>
                </a:cubicBezTo>
                <a:close/>
                <a:moveTo>
                  <a:pt x="8154912" y="223468"/>
                </a:moveTo>
                <a:cubicBezTo>
                  <a:pt x="8163750" y="225611"/>
                  <a:pt x="8171871" y="230850"/>
                  <a:pt x="8176649" y="238470"/>
                </a:cubicBezTo>
                <a:cubicBezTo>
                  <a:pt x="8178560" y="244185"/>
                  <a:pt x="8180471" y="251805"/>
                  <a:pt x="8180471" y="257520"/>
                </a:cubicBezTo>
                <a:cubicBezTo>
                  <a:pt x="8180471" y="268950"/>
                  <a:pt x="8174738" y="280380"/>
                  <a:pt x="8163273" y="288000"/>
                </a:cubicBezTo>
                <a:cubicBezTo>
                  <a:pt x="8163273" y="288000"/>
                  <a:pt x="8163273" y="288000"/>
                  <a:pt x="7825042" y="484214"/>
                </a:cubicBezTo>
                <a:cubicBezTo>
                  <a:pt x="7809755" y="493739"/>
                  <a:pt x="7786824" y="488024"/>
                  <a:pt x="7777269" y="470879"/>
                </a:cubicBezTo>
                <a:cubicBezTo>
                  <a:pt x="7767715" y="453735"/>
                  <a:pt x="7773447" y="432780"/>
                  <a:pt x="7790646" y="423255"/>
                </a:cubicBezTo>
                <a:cubicBezTo>
                  <a:pt x="7790646" y="423255"/>
                  <a:pt x="7790646" y="423255"/>
                  <a:pt x="8128876" y="227040"/>
                </a:cubicBezTo>
                <a:cubicBezTo>
                  <a:pt x="8136520" y="222278"/>
                  <a:pt x="8146074" y="221325"/>
                  <a:pt x="8154912" y="223468"/>
                </a:cubicBezTo>
                <a:close/>
                <a:moveTo>
                  <a:pt x="11598743" y="223460"/>
                </a:moveTo>
                <a:cubicBezTo>
                  <a:pt x="11607309" y="225603"/>
                  <a:pt x="11614923" y="230841"/>
                  <a:pt x="11619682" y="238461"/>
                </a:cubicBezTo>
                <a:cubicBezTo>
                  <a:pt x="11623489" y="244176"/>
                  <a:pt x="11625393" y="251796"/>
                  <a:pt x="11625393" y="257511"/>
                </a:cubicBezTo>
                <a:cubicBezTo>
                  <a:pt x="11625393" y="268941"/>
                  <a:pt x="11619682" y="280371"/>
                  <a:pt x="11608261" y="287991"/>
                </a:cubicBezTo>
                <a:cubicBezTo>
                  <a:pt x="11608261" y="287991"/>
                  <a:pt x="11608261" y="287991"/>
                  <a:pt x="11271332" y="484206"/>
                </a:cubicBezTo>
                <a:cubicBezTo>
                  <a:pt x="11254200" y="493731"/>
                  <a:pt x="11233261" y="488016"/>
                  <a:pt x="11223743" y="470871"/>
                </a:cubicBezTo>
                <a:cubicBezTo>
                  <a:pt x="11214225" y="453726"/>
                  <a:pt x="11219936" y="432771"/>
                  <a:pt x="11237068" y="423246"/>
                </a:cubicBezTo>
                <a:cubicBezTo>
                  <a:pt x="11237068" y="423246"/>
                  <a:pt x="11237068" y="423246"/>
                  <a:pt x="11572093" y="227031"/>
                </a:cubicBezTo>
                <a:cubicBezTo>
                  <a:pt x="11580659" y="222269"/>
                  <a:pt x="11590177" y="221316"/>
                  <a:pt x="11598743" y="223460"/>
                </a:cubicBezTo>
                <a:close/>
                <a:moveTo>
                  <a:pt x="12139750" y="215916"/>
                </a:moveTo>
                <a:cubicBezTo>
                  <a:pt x="12139750" y="215916"/>
                  <a:pt x="12139750" y="215916"/>
                  <a:pt x="12139750" y="297535"/>
                </a:cubicBezTo>
                <a:cubicBezTo>
                  <a:pt x="12139750" y="297535"/>
                  <a:pt x="12139750" y="297535"/>
                  <a:pt x="11835475" y="466465"/>
                </a:cubicBezTo>
                <a:cubicBezTo>
                  <a:pt x="11816458" y="477854"/>
                  <a:pt x="11795539" y="470261"/>
                  <a:pt x="11784129" y="453179"/>
                </a:cubicBezTo>
                <a:cubicBezTo>
                  <a:pt x="11774620" y="436096"/>
                  <a:pt x="11782227" y="413319"/>
                  <a:pt x="11799342" y="403828"/>
                </a:cubicBezTo>
                <a:cubicBezTo>
                  <a:pt x="11799342" y="403828"/>
                  <a:pt x="11799342" y="403828"/>
                  <a:pt x="12135947" y="217814"/>
                </a:cubicBezTo>
                <a:cubicBezTo>
                  <a:pt x="12137848" y="215916"/>
                  <a:pt x="12137848" y="215916"/>
                  <a:pt x="12139750" y="215916"/>
                </a:cubicBezTo>
                <a:close/>
                <a:moveTo>
                  <a:pt x="7596540" y="214167"/>
                </a:moveTo>
                <a:cubicBezTo>
                  <a:pt x="7605602" y="216542"/>
                  <a:pt x="7613711" y="222244"/>
                  <a:pt x="7619435" y="230796"/>
                </a:cubicBezTo>
                <a:cubicBezTo>
                  <a:pt x="7621343" y="236498"/>
                  <a:pt x="7623251" y="242199"/>
                  <a:pt x="7623251" y="247901"/>
                </a:cubicBezTo>
                <a:cubicBezTo>
                  <a:pt x="7623251" y="261205"/>
                  <a:pt x="7615619" y="274508"/>
                  <a:pt x="7604171" y="280210"/>
                </a:cubicBezTo>
                <a:cubicBezTo>
                  <a:pt x="7604171" y="280210"/>
                  <a:pt x="7604171" y="280210"/>
                  <a:pt x="7266466" y="466461"/>
                </a:cubicBezTo>
                <a:cubicBezTo>
                  <a:pt x="7249294" y="477864"/>
                  <a:pt x="7226399" y="470262"/>
                  <a:pt x="7216859" y="453158"/>
                </a:cubicBezTo>
                <a:cubicBezTo>
                  <a:pt x="7207320" y="436053"/>
                  <a:pt x="7213044" y="413247"/>
                  <a:pt x="7230215" y="403744"/>
                </a:cubicBezTo>
                <a:cubicBezTo>
                  <a:pt x="7230215" y="403744"/>
                  <a:pt x="7230215" y="403744"/>
                  <a:pt x="7567920" y="217493"/>
                </a:cubicBezTo>
                <a:cubicBezTo>
                  <a:pt x="7577460" y="212741"/>
                  <a:pt x="7587477" y="211791"/>
                  <a:pt x="7596540" y="214167"/>
                </a:cubicBezTo>
                <a:close/>
                <a:moveTo>
                  <a:pt x="7044758" y="204259"/>
                </a:moveTo>
                <a:cubicBezTo>
                  <a:pt x="7054283" y="207354"/>
                  <a:pt x="7062856" y="214022"/>
                  <a:pt x="7068571" y="223547"/>
                </a:cubicBezTo>
                <a:cubicBezTo>
                  <a:pt x="7070476" y="229262"/>
                  <a:pt x="7072381" y="234977"/>
                  <a:pt x="7072381" y="240692"/>
                </a:cubicBezTo>
                <a:cubicBezTo>
                  <a:pt x="7072381" y="254027"/>
                  <a:pt x="7064761" y="267362"/>
                  <a:pt x="7051425" y="274982"/>
                </a:cubicBezTo>
                <a:cubicBezTo>
                  <a:pt x="7051425" y="274982"/>
                  <a:pt x="7051425" y="274982"/>
                  <a:pt x="6714236" y="452146"/>
                </a:cubicBezTo>
                <a:cubicBezTo>
                  <a:pt x="6695185" y="463576"/>
                  <a:pt x="6672325" y="455956"/>
                  <a:pt x="6662800" y="436906"/>
                </a:cubicBezTo>
                <a:cubicBezTo>
                  <a:pt x="6653275" y="417857"/>
                  <a:pt x="6658990" y="394997"/>
                  <a:pt x="6678040" y="385472"/>
                </a:cubicBezTo>
                <a:cubicBezTo>
                  <a:pt x="6678040" y="385472"/>
                  <a:pt x="6678040" y="385472"/>
                  <a:pt x="7015230" y="206402"/>
                </a:cubicBezTo>
                <a:cubicBezTo>
                  <a:pt x="7024755" y="201639"/>
                  <a:pt x="7035233" y="201163"/>
                  <a:pt x="7044758" y="204259"/>
                </a:cubicBezTo>
                <a:close/>
                <a:moveTo>
                  <a:pt x="6500891" y="194963"/>
                </a:moveTo>
                <a:cubicBezTo>
                  <a:pt x="6510676" y="198292"/>
                  <a:pt x="6519268" y="205427"/>
                  <a:pt x="6524041" y="215892"/>
                </a:cubicBezTo>
                <a:cubicBezTo>
                  <a:pt x="6527860" y="221600"/>
                  <a:pt x="6527860" y="227308"/>
                  <a:pt x="6527860" y="233016"/>
                </a:cubicBezTo>
                <a:cubicBezTo>
                  <a:pt x="6527860" y="248237"/>
                  <a:pt x="6520223" y="261556"/>
                  <a:pt x="6506857" y="269166"/>
                </a:cubicBezTo>
                <a:cubicBezTo>
                  <a:pt x="6506857" y="269166"/>
                  <a:pt x="6506857" y="269166"/>
                  <a:pt x="6166999" y="436601"/>
                </a:cubicBezTo>
                <a:cubicBezTo>
                  <a:pt x="6147906" y="446114"/>
                  <a:pt x="6123085" y="438504"/>
                  <a:pt x="6113538" y="419477"/>
                </a:cubicBezTo>
                <a:cubicBezTo>
                  <a:pt x="6103992" y="400450"/>
                  <a:pt x="6111629" y="375716"/>
                  <a:pt x="6130722" y="366202"/>
                </a:cubicBezTo>
                <a:cubicBezTo>
                  <a:pt x="6130722" y="366202"/>
                  <a:pt x="6130722" y="366202"/>
                  <a:pt x="6470580" y="196865"/>
                </a:cubicBezTo>
                <a:cubicBezTo>
                  <a:pt x="6480127" y="192109"/>
                  <a:pt x="6491105" y="191633"/>
                  <a:pt x="6500891" y="194963"/>
                </a:cubicBezTo>
                <a:close/>
                <a:moveTo>
                  <a:pt x="5957785" y="186367"/>
                </a:moveTo>
                <a:cubicBezTo>
                  <a:pt x="5967786" y="190163"/>
                  <a:pt x="5976358" y="197754"/>
                  <a:pt x="5981120" y="208192"/>
                </a:cubicBezTo>
                <a:cubicBezTo>
                  <a:pt x="5984930" y="213886"/>
                  <a:pt x="5984930" y="219579"/>
                  <a:pt x="5984930" y="225273"/>
                </a:cubicBezTo>
                <a:cubicBezTo>
                  <a:pt x="5984930" y="240455"/>
                  <a:pt x="5977310" y="255638"/>
                  <a:pt x="5962070" y="263230"/>
                </a:cubicBezTo>
                <a:cubicBezTo>
                  <a:pt x="5962070" y="263230"/>
                  <a:pt x="5962070" y="263230"/>
                  <a:pt x="5622984" y="420750"/>
                </a:cubicBezTo>
                <a:cubicBezTo>
                  <a:pt x="5602029" y="430239"/>
                  <a:pt x="5577264" y="422648"/>
                  <a:pt x="5567739" y="401772"/>
                </a:cubicBezTo>
                <a:cubicBezTo>
                  <a:pt x="5556309" y="380896"/>
                  <a:pt x="5565833" y="356224"/>
                  <a:pt x="5586789" y="346734"/>
                </a:cubicBezTo>
                <a:cubicBezTo>
                  <a:pt x="5586789" y="346734"/>
                  <a:pt x="5586789" y="346734"/>
                  <a:pt x="5925877" y="187316"/>
                </a:cubicBezTo>
                <a:cubicBezTo>
                  <a:pt x="5936354" y="182571"/>
                  <a:pt x="5947784" y="182571"/>
                  <a:pt x="5957785" y="186367"/>
                </a:cubicBezTo>
                <a:close/>
                <a:moveTo>
                  <a:pt x="398308" y="186354"/>
                </a:moveTo>
                <a:cubicBezTo>
                  <a:pt x="408309" y="190150"/>
                  <a:pt x="416882" y="197741"/>
                  <a:pt x="421644" y="208179"/>
                </a:cubicBezTo>
                <a:cubicBezTo>
                  <a:pt x="423549" y="213873"/>
                  <a:pt x="425454" y="219566"/>
                  <a:pt x="425454" y="225260"/>
                </a:cubicBezTo>
                <a:cubicBezTo>
                  <a:pt x="425454" y="240442"/>
                  <a:pt x="415929" y="255625"/>
                  <a:pt x="400689" y="263217"/>
                </a:cubicBezTo>
                <a:cubicBezTo>
                  <a:pt x="400689" y="263217"/>
                  <a:pt x="400689" y="263217"/>
                  <a:pt x="61595" y="420738"/>
                </a:cubicBezTo>
                <a:cubicBezTo>
                  <a:pt x="42545" y="430227"/>
                  <a:pt x="17780" y="422635"/>
                  <a:pt x="6349" y="401759"/>
                </a:cubicBezTo>
                <a:cubicBezTo>
                  <a:pt x="-3176" y="380883"/>
                  <a:pt x="6349" y="356211"/>
                  <a:pt x="27305" y="346722"/>
                </a:cubicBezTo>
                <a:cubicBezTo>
                  <a:pt x="27305" y="346722"/>
                  <a:pt x="27305" y="346722"/>
                  <a:pt x="366399" y="187303"/>
                </a:cubicBezTo>
                <a:cubicBezTo>
                  <a:pt x="376876" y="182559"/>
                  <a:pt x="388307" y="182559"/>
                  <a:pt x="398308" y="186354"/>
                </a:cubicBezTo>
                <a:close/>
                <a:moveTo>
                  <a:pt x="5409190" y="176874"/>
                </a:moveTo>
                <a:cubicBezTo>
                  <a:pt x="5419652" y="180684"/>
                  <a:pt x="5428687" y="188304"/>
                  <a:pt x="5433442" y="198782"/>
                </a:cubicBezTo>
                <a:cubicBezTo>
                  <a:pt x="5435345" y="204497"/>
                  <a:pt x="5437247" y="212117"/>
                  <a:pt x="5437247" y="217832"/>
                </a:cubicBezTo>
                <a:cubicBezTo>
                  <a:pt x="5437247" y="233072"/>
                  <a:pt x="5427736" y="250217"/>
                  <a:pt x="5410617" y="255932"/>
                </a:cubicBezTo>
                <a:cubicBezTo>
                  <a:pt x="5410617" y="255932"/>
                  <a:pt x="5410617" y="255932"/>
                  <a:pt x="5072019" y="406426"/>
                </a:cubicBezTo>
                <a:cubicBezTo>
                  <a:pt x="5049194" y="415951"/>
                  <a:pt x="5024468" y="406426"/>
                  <a:pt x="5014958" y="385471"/>
                </a:cubicBezTo>
                <a:cubicBezTo>
                  <a:pt x="5005447" y="362611"/>
                  <a:pt x="5014958" y="337846"/>
                  <a:pt x="5035880" y="328321"/>
                </a:cubicBezTo>
                <a:cubicBezTo>
                  <a:pt x="5035880" y="328321"/>
                  <a:pt x="5035880" y="328321"/>
                  <a:pt x="5376377" y="177827"/>
                </a:cubicBezTo>
                <a:cubicBezTo>
                  <a:pt x="5386840" y="173064"/>
                  <a:pt x="5398728" y="173064"/>
                  <a:pt x="5409190" y="176874"/>
                </a:cubicBezTo>
                <a:close/>
                <a:moveTo>
                  <a:pt x="942624" y="176859"/>
                </a:moveTo>
                <a:cubicBezTo>
                  <a:pt x="952848" y="180669"/>
                  <a:pt x="961408" y="188289"/>
                  <a:pt x="966164" y="198766"/>
                </a:cubicBezTo>
                <a:cubicBezTo>
                  <a:pt x="968066" y="204481"/>
                  <a:pt x="969968" y="212101"/>
                  <a:pt x="969968" y="217816"/>
                </a:cubicBezTo>
                <a:cubicBezTo>
                  <a:pt x="969968" y="233056"/>
                  <a:pt x="960457" y="250201"/>
                  <a:pt x="945239" y="255916"/>
                </a:cubicBezTo>
                <a:cubicBezTo>
                  <a:pt x="945239" y="255916"/>
                  <a:pt x="945239" y="255916"/>
                  <a:pt x="604741" y="406411"/>
                </a:cubicBezTo>
                <a:cubicBezTo>
                  <a:pt x="583816" y="415936"/>
                  <a:pt x="557185" y="406411"/>
                  <a:pt x="547674" y="385456"/>
                </a:cubicBezTo>
                <a:cubicBezTo>
                  <a:pt x="538163" y="362596"/>
                  <a:pt x="547674" y="337831"/>
                  <a:pt x="570501" y="328306"/>
                </a:cubicBezTo>
                <a:cubicBezTo>
                  <a:pt x="570501" y="328306"/>
                  <a:pt x="570501" y="328306"/>
                  <a:pt x="909097" y="177812"/>
                </a:cubicBezTo>
                <a:cubicBezTo>
                  <a:pt x="920510" y="173049"/>
                  <a:pt x="932399" y="173049"/>
                  <a:pt x="942624" y="176859"/>
                </a:cubicBezTo>
                <a:close/>
                <a:moveTo>
                  <a:pt x="4856423" y="167564"/>
                </a:moveTo>
                <a:cubicBezTo>
                  <a:pt x="4867146" y="171602"/>
                  <a:pt x="4876205" y="179677"/>
                  <a:pt x="4880971" y="191077"/>
                </a:cubicBezTo>
                <a:cubicBezTo>
                  <a:pt x="4882880" y="196777"/>
                  <a:pt x="4884786" y="202476"/>
                  <a:pt x="4884786" y="208176"/>
                </a:cubicBezTo>
                <a:cubicBezTo>
                  <a:pt x="4884786" y="227176"/>
                  <a:pt x="4875252" y="242376"/>
                  <a:pt x="4856184" y="249976"/>
                </a:cubicBezTo>
                <a:cubicBezTo>
                  <a:pt x="4856184" y="249976"/>
                  <a:pt x="4856184" y="249976"/>
                  <a:pt x="4516851" y="390576"/>
                </a:cubicBezTo>
                <a:cubicBezTo>
                  <a:pt x="4493973" y="400076"/>
                  <a:pt x="4467282" y="390576"/>
                  <a:pt x="4457750" y="367776"/>
                </a:cubicBezTo>
                <a:cubicBezTo>
                  <a:pt x="4448219" y="343076"/>
                  <a:pt x="4459658" y="318376"/>
                  <a:pt x="4482534" y="308876"/>
                </a:cubicBezTo>
                <a:cubicBezTo>
                  <a:pt x="4482534" y="308876"/>
                  <a:pt x="4482534" y="308876"/>
                  <a:pt x="4821864" y="168277"/>
                </a:cubicBezTo>
                <a:cubicBezTo>
                  <a:pt x="4833303" y="163527"/>
                  <a:pt x="4845697" y="163527"/>
                  <a:pt x="4856423" y="167564"/>
                </a:cubicBezTo>
                <a:close/>
                <a:moveTo>
                  <a:pt x="1492476" y="167547"/>
                </a:moveTo>
                <a:cubicBezTo>
                  <a:pt x="1503199" y="171584"/>
                  <a:pt x="1512255" y="179659"/>
                  <a:pt x="1517021" y="191059"/>
                </a:cubicBezTo>
                <a:cubicBezTo>
                  <a:pt x="1518927" y="196759"/>
                  <a:pt x="1520833" y="202459"/>
                  <a:pt x="1520833" y="208159"/>
                </a:cubicBezTo>
                <a:cubicBezTo>
                  <a:pt x="1520833" y="227159"/>
                  <a:pt x="1509395" y="242359"/>
                  <a:pt x="1492237" y="249959"/>
                </a:cubicBezTo>
                <a:cubicBezTo>
                  <a:pt x="1492237" y="249959"/>
                  <a:pt x="1492237" y="249959"/>
                  <a:pt x="1150990" y="390559"/>
                </a:cubicBezTo>
                <a:cubicBezTo>
                  <a:pt x="1128114" y="400059"/>
                  <a:pt x="1103330" y="390559"/>
                  <a:pt x="1093798" y="367759"/>
                </a:cubicBezTo>
                <a:cubicBezTo>
                  <a:pt x="1084266" y="343059"/>
                  <a:pt x="1093798" y="318359"/>
                  <a:pt x="1116675" y="308859"/>
                </a:cubicBezTo>
                <a:cubicBezTo>
                  <a:pt x="1116675" y="308859"/>
                  <a:pt x="1116675" y="308859"/>
                  <a:pt x="1457922" y="168259"/>
                </a:cubicBezTo>
                <a:cubicBezTo>
                  <a:pt x="1469360" y="163509"/>
                  <a:pt x="1481752" y="163509"/>
                  <a:pt x="1492476" y="167547"/>
                </a:cubicBezTo>
                <a:close/>
                <a:moveTo>
                  <a:pt x="4266102" y="156882"/>
                </a:moveTo>
                <a:cubicBezTo>
                  <a:pt x="4289029" y="149252"/>
                  <a:pt x="4315778" y="160697"/>
                  <a:pt x="4325330" y="183588"/>
                </a:cubicBezTo>
                <a:cubicBezTo>
                  <a:pt x="4327241" y="189310"/>
                  <a:pt x="4329151" y="195033"/>
                  <a:pt x="4329151" y="200756"/>
                </a:cubicBezTo>
                <a:cubicBezTo>
                  <a:pt x="4329151" y="219831"/>
                  <a:pt x="4317688" y="236999"/>
                  <a:pt x="4298581" y="244630"/>
                </a:cubicBezTo>
                <a:cubicBezTo>
                  <a:pt x="4298581" y="244630"/>
                  <a:pt x="4298581" y="244630"/>
                  <a:pt x="3956620" y="376251"/>
                </a:cubicBezTo>
                <a:cubicBezTo>
                  <a:pt x="3933691" y="385789"/>
                  <a:pt x="3906942" y="374344"/>
                  <a:pt x="3897391" y="349546"/>
                </a:cubicBezTo>
                <a:cubicBezTo>
                  <a:pt x="3887839" y="326655"/>
                  <a:pt x="3899302" y="299949"/>
                  <a:pt x="3924139" y="290411"/>
                </a:cubicBezTo>
                <a:cubicBezTo>
                  <a:pt x="3924139" y="290411"/>
                  <a:pt x="3924139" y="290411"/>
                  <a:pt x="4266102" y="156882"/>
                </a:cubicBezTo>
                <a:close/>
                <a:moveTo>
                  <a:pt x="2010467" y="156862"/>
                </a:moveTo>
                <a:cubicBezTo>
                  <a:pt x="2035214" y="149232"/>
                  <a:pt x="2061870" y="160677"/>
                  <a:pt x="2071389" y="183568"/>
                </a:cubicBezTo>
                <a:cubicBezTo>
                  <a:pt x="2073291" y="189291"/>
                  <a:pt x="2073291" y="195013"/>
                  <a:pt x="2073291" y="200736"/>
                </a:cubicBezTo>
                <a:cubicBezTo>
                  <a:pt x="2073291" y="219812"/>
                  <a:pt x="2061870" y="236980"/>
                  <a:pt x="2044733" y="244610"/>
                </a:cubicBezTo>
                <a:cubicBezTo>
                  <a:pt x="2044733" y="244610"/>
                  <a:pt x="2044733" y="244610"/>
                  <a:pt x="1703979" y="376232"/>
                </a:cubicBezTo>
                <a:cubicBezTo>
                  <a:pt x="1679231" y="385770"/>
                  <a:pt x="1652580" y="374325"/>
                  <a:pt x="1643062" y="349526"/>
                </a:cubicBezTo>
                <a:cubicBezTo>
                  <a:pt x="1633544" y="326635"/>
                  <a:pt x="1644966" y="299930"/>
                  <a:pt x="1669713" y="290392"/>
                </a:cubicBezTo>
                <a:cubicBezTo>
                  <a:pt x="1669713" y="290392"/>
                  <a:pt x="1669713" y="290392"/>
                  <a:pt x="2010467" y="156862"/>
                </a:cubicBezTo>
                <a:close/>
                <a:moveTo>
                  <a:pt x="3720655" y="144611"/>
                </a:moveTo>
                <a:cubicBezTo>
                  <a:pt x="3739815" y="145502"/>
                  <a:pt x="3756568" y="157613"/>
                  <a:pt x="3763695" y="176135"/>
                </a:cubicBezTo>
                <a:cubicBezTo>
                  <a:pt x="3765597" y="181835"/>
                  <a:pt x="3765597" y="187534"/>
                  <a:pt x="3765597" y="193233"/>
                </a:cubicBezTo>
                <a:cubicBezTo>
                  <a:pt x="3765597" y="212231"/>
                  <a:pt x="3754192" y="231229"/>
                  <a:pt x="3735180" y="238828"/>
                </a:cubicBezTo>
                <a:cubicBezTo>
                  <a:pt x="3735180" y="238828"/>
                  <a:pt x="3735180" y="238828"/>
                  <a:pt x="3393026" y="360415"/>
                </a:cubicBezTo>
                <a:cubicBezTo>
                  <a:pt x="3368312" y="369914"/>
                  <a:pt x="3341698" y="356616"/>
                  <a:pt x="3332194" y="331918"/>
                </a:cubicBezTo>
                <a:cubicBezTo>
                  <a:pt x="3322690" y="307221"/>
                  <a:pt x="3335995" y="278724"/>
                  <a:pt x="3360709" y="271125"/>
                </a:cubicBezTo>
                <a:cubicBezTo>
                  <a:pt x="3360709" y="271125"/>
                  <a:pt x="3360709" y="271125"/>
                  <a:pt x="3700965" y="147639"/>
                </a:cubicBezTo>
                <a:cubicBezTo>
                  <a:pt x="3707619" y="145264"/>
                  <a:pt x="3714270" y="144314"/>
                  <a:pt x="3720655" y="144611"/>
                </a:cubicBezTo>
                <a:close/>
                <a:moveTo>
                  <a:pt x="2586993" y="144589"/>
                </a:moveTo>
                <a:cubicBezTo>
                  <a:pt x="2606219" y="145480"/>
                  <a:pt x="2623032" y="157591"/>
                  <a:pt x="2630185" y="176114"/>
                </a:cubicBezTo>
                <a:cubicBezTo>
                  <a:pt x="2632093" y="181813"/>
                  <a:pt x="2632093" y="187512"/>
                  <a:pt x="2632093" y="193212"/>
                </a:cubicBezTo>
                <a:cubicBezTo>
                  <a:pt x="2632093" y="212210"/>
                  <a:pt x="2620647" y="231208"/>
                  <a:pt x="2601569" y="238807"/>
                </a:cubicBezTo>
                <a:cubicBezTo>
                  <a:pt x="2601569" y="238807"/>
                  <a:pt x="2601569" y="238807"/>
                  <a:pt x="2258175" y="360394"/>
                </a:cubicBezTo>
                <a:cubicBezTo>
                  <a:pt x="2233374" y="369893"/>
                  <a:pt x="2206666" y="356594"/>
                  <a:pt x="2197127" y="331897"/>
                </a:cubicBezTo>
                <a:cubicBezTo>
                  <a:pt x="2187588" y="307199"/>
                  <a:pt x="2200943" y="278702"/>
                  <a:pt x="2225743" y="271103"/>
                </a:cubicBezTo>
                <a:cubicBezTo>
                  <a:pt x="2225743" y="271103"/>
                  <a:pt x="2225743" y="271103"/>
                  <a:pt x="2567230" y="147617"/>
                </a:cubicBezTo>
                <a:cubicBezTo>
                  <a:pt x="2573907" y="145242"/>
                  <a:pt x="2580585" y="144292"/>
                  <a:pt x="2586993" y="144589"/>
                </a:cubicBezTo>
                <a:close/>
                <a:moveTo>
                  <a:pt x="3149046" y="135364"/>
                </a:moveTo>
                <a:cubicBezTo>
                  <a:pt x="3168678" y="136784"/>
                  <a:pt x="3186168" y="149926"/>
                  <a:pt x="3191880" y="168396"/>
                </a:cubicBezTo>
                <a:cubicBezTo>
                  <a:pt x="3193780" y="174078"/>
                  <a:pt x="3195686" y="179761"/>
                  <a:pt x="3195686" y="185444"/>
                </a:cubicBezTo>
                <a:cubicBezTo>
                  <a:pt x="3195686" y="206282"/>
                  <a:pt x="3182361" y="225225"/>
                  <a:pt x="3161419" y="232802"/>
                </a:cubicBezTo>
                <a:cubicBezTo>
                  <a:pt x="3161419" y="232802"/>
                  <a:pt x="3161419" y="232802"/>
                  <a:pt x="2818756" y="344567"/>
                </a:cubicBezTo>
                <a:cubicBezTo>
                  <a:pt x="2794009" y="354039"/>
                  <a:pt x="2765453" y="338884"/>
                  <a:pt x="2755934" y="314258"/>
                </a:cubicBezTo>
                <a:cubicBezTo>
                  <a:pt x="2746414" y="287738"/>
                  <a:pt x="2761646" y="259323"/>
                  <a:pt x="2788294" y="249851"/>
                </a:cubicBezTo>
                <a:cubicBezTo>
                  <a:pt x="2788294" y="249851"/>
                  <a:pt x="2788294" y="249851"/>
                  <a:pt x="3129057" y="138087"/>
                </a:cubicBezTo>
                <a:cubicBezTo>
                  <a:pt x="3135720" y="135719"/>
                  <a:pt x="3142502" y="134890"/>
                  <a:pt x="3149046" y="135364"/>
                </a:cubicBezTo>
                <a:close/>
                <a:moveTo>
                  <a:pt x="9144187" y="30"/>
                </a:moveTo>
                <a:cubicBezTo>
                  <a:pt x="9144187" y="30"/>
                  <a:pt x="9144187" y="30"/>
                  <a:pt x="9275861" y="30"/>
                </a:cubicBezTo>
                <a:cubicBezTo>
                  <a:pt x="9275861" y="30"/>
                  <a:pt x="9275861" y="30"/>
                  <a:pt x="8962897" y="187323"/>
                </a:cubicBezTo>
                <a:cubicBezTo>
                  <a:pt x="8947631" y="196878"/>
                  <a:pt x="8926639" y="193056"/>
                  <a:pt x="8917098" y="175856"/>
                </a:cubicBezTo>
                <a:cubicBezTo>
                  <a:pt x="8907556" y="160567"/>
                  <a:pt x="8913281" y="139544"/>
                  <a:pt x="8928547" y="129989"/>
                </a:cubicBezTo>
                <a:cubicBezTo>
                  <a:pt x="8928547" y="129989"/>
                  <a:pt x="8928547" y="129989"/>
                  <a:pt x="9144187" y="30"/>
                </a:cubicBezTo>
                <a:close/>
                <a:moveTo>
                  <a:pt x="8549535" y="29"/>
                </a:moveTo>
                <a:cubicBezTo>
                  <a:pt x="8549535" y="29"/>
                  <a:pt x="8549535" y="29"/>
                  <a:pt x="8688477" y="29"/>
                </a:cubicBezTo>
                <a:cubicBezTo>
                  <a:pt x="8688477" y="29"/>
                  <a:pt x="8688477" y="29"/>
                  <a:pt x="8391560" y="173083"/>
                </a:cubicBezTo>
                <a:cubicBezTo>
                  <a:pt x="8374430" y="182592"/>
                  <a:pt x="8353493" y="176886"/>
                  <a:pt x="8343977" y="159771"/>
                </a:cubicBezTo>
                <a:cubicBezTo>
                  <a:pt x="8334460" y="142656"/>
                  <a:pt x="8340170" y="121738"/>
                  <a:pt x="8357300" y="112230"/>
                </a:cubicBezTo>
                <a:cubicBezTo>
                  <a:pt x="8357300" y="112230"/>
                  <a:pt x="8357300" y="112230"/>
                  <a:pt x="8549535" y="29"/>
                </a:cubicBezTo>
                <a:close/>
                <a:moveTo>
                  <a:pt x="7958714" y="29"/>
                </a:moveTo>
                <a:cubicBezTo>
                  <a:pt x="7958714" y="29"/>
                  <a:pt x="7958714" y="29"/>
                  <a:pt x="8107445" y="29"/>
                </a:cubicBezTo>
                <a:cubicBezTo>
                  <a:pt x="8107445" y="29"/>
                  <a:pt x="8107445" y="29"/>
                  <a:pt x="7825239" y="158743"/>
                </a:cubicBezTo>
                <a:cubicBezTo>
                  <a:pt x="7808077" y="168304"/>
                  <a:pt x="7785196" y="162567"/>
                  <a:pt x="7775662" y="145357"/>
                </a:cubicBezTo>
                <a:cubicBezTo>
                  <a:pt x="7766128" y="126235"/>
                  <a:pt x="7773755" y="105201"/>
                  <a:pt x="7790916" y="95640"/>
                </a:cubicBezTo>
                <a:cubicBezTo>
                  <a:pt x="7790916" y="95640"/>
                  <a:pt x="7790916" y="95640"/>
                  <a:pt x="7958714" y="29"/>
                </a:cubicBezTo>
                <a:close/>
                <a:moveTo>
                  <a:pt x="7373861" y="29"/>
                </a:moveTo>
                <a:cubicBezTo>
                  <a:pt x="7373861" y="29"/>
                  <a:pt x="7373861" y="29"/>
                  <a:pt x="7534349" y="29"/>
                </a:cubicBezTo>
                <a:cubicBezTo>
                  <a:pt x="7534349" y="29"/>
                  <a:pt x="7534349" y="29"/>
                  <a:pt x="7266870" y="142904"/>
                </a:cubicBezTo>
                <a:cubicBezTo>
                  <a:pt x="7247764" y="152429"/>
                  <a:pt x="7224837" y="146714"/>
                  <a:pt x="7215285" y="127664"/>
                </a:cubicBezTo>
                <a:cubicBezTo>
                  <a:pt x="7205732" y="110519"/>
                  <a:pt x="7213374" y="87659"/>
                  <a:pt x="7230569" y="76229"/>
                </a:cubicBezTo>
                <a:cubicBezTo>
                  <a:pt x="7230569" y="76229"/>
                  <a:pt x="7230569" y="76229"/>
                  <a:pt x="7373861" y="29"/>
                </a:cubicBezTo>
                <a:close/>
                <a:moveTo>
                  <a:pt x="6792947" y="29"/>
                </a:moveTo>
                <a:cubicBezTo>
                  <a:pt x="6792947" y="29"/>
                  <a:pt x="6792947" y="29"/>
                  <a:pt x="6962841" y="29"/>
                </a:cubicBezTo>
                <a:cubicBezTo>
                  <a:pt x="6962841" y="29"/>
                  <a:pt x="6962841" y="29"/>
                  <a:pt x="6714681" y="130160"/>
                </a:cubicBezTo>
                <a:cubicBezTo>
                  <a:pt x="6695592" y="139729"/>
                  <a:pt x="6670776" y="132074"/>
                  <a:pt x="6661231" y="112937"/>
                </a:cubicBezTo>
                <a:cubicBezTo>
                  <a:pt x="6651687" y="93800"/>
                  <a:pt x="6659322" y="68922"/>
                  <a:pt x="6678412" y="59354"/>
                </a:cubicBezTo>
                <a:cubicBezTo>
                  <a:pt x="6678412" y="59354"/>
                  <a:pt x="6678412" y="59354"/>
                  <a:pt x="6792947" y="29"/>
                </a:cubicBezTo>
                <a:close/>
                <a:moveTo>
                  <a:pt x="6214724" y="29"/>
                </a:moveTo>
                <a:cubicBezTo>
                  <a:pt x="6214724" y="29"/>
                  <a:pt x="6214724" y="29"/>
                  <a:pt x="6396096" y="29"/>
                </a:cubicBezTo>
                <a:cubicBezTo>
                  <a:pt x="6396096" y="29"/>
                  <a:pt x="6396096" y="29"/>
                  <a:pt x="6166995" y="114329"/>
                </a:cubicBezTo>
                <a:cubicBezTo>
                  <a:pt x="6147903" y="123854"/>
                  <a:pt x="6123084" y="116234"/>
                  <a:pt x="6113538" y="95279"/>
                </a:cubicBezTo>
                <a:cubicBezTo>
                  <a:pt x="6103992" y="76229"/>
                  <a:pt x="6111628" y="51464"/>
                  <a:pt x="6130720" y="41939"/>
                </a:cubicBezTo>
                <a:cubicBezTo>
                  <a:pt x="6130720" y="41939"/>
                  <a:pt x="6130720" y="41939"/>
                  <a:pt x="6214724" y="29"/>
                </a:cubicBezTo>
                <a:close/>
                <a:moveTo>
                  <a:pt x="5637626" y="29"/>
                </a:moveTo>
                <a:cubicBezTo>
                  <a:pt x="5637626" y="29"/>
                  <a:pt x="5637626" y="29"/>
                  <a:pt x="5829356" y="29"/>
                </a:cubicBezTo>
                <a:cubicBezTo>
                  <a:pt x="5829356" y="29"/>
                  <a:pt x="5829356" y="29"/>
                  <a:pt x="5622440" y="99958"/>
                </a:cubicBezTo>
                <a:cubicBezTo>
                  <a:pt x="5601558" y="109567"/>
                  <a:pt x="5576879" y="101880"/>
                  <a:pt x="5567388" y="80741"/>
                </a:cubicBezTo>
                <a:cubicBezTo>
                  <a:pt x="5557896" y="59602"/>
                  <a:pt x="5565490" y="34620"/>
                  <a:pt x="5586371" y="25011"/>
                </a:cubicBezTo>
                <a:cubicBezTo>
                  <a:pt x="5586371" y="25011"/>
                  <a:pt x="5586371" y="25011"/>
                  <a:pt x="5637626" y="29"/>
                </a:cubicBezTo>
                <a:close/>
                <a:moveTo>
                  <a:pt x="5050991" y="29"/>
                </a:moveTo>
                <a:cubicBezTo>
                  <a:pt x="5050991" y="29"/>
                  <a:pt x="5050991" y="29"/>
                  <a:pt x="5257856" y="29"/>
                </a:cubicBezTo>
                <a:cubicBezTo>
                  <a:pt x="5257856" y="29"/>
                  <a:pt x="5257856" y="29"/>
                  <a:pt x="5071865" y="83849"/>
                </a:cubicBezTo>
                <a:cubicBezTo>
                  <a:pt x="5050991" y="95279"/>
                  <a:pt x="5024423" y="85754"/>
                  <a:pt x="5014936" y="62894"/>
                </a:cubicBezTo>
                <a:cubicBezTo>
                  <a:pt x="5005447" y="41939"/>
                  <a:pt x="5014936" y="17174"/>
                  <a:pt x="5037707" y="7649"/>
                </a:cubicBezTo>
                <a:cubicBezTo>
                  <a:pt x="5037707" y="7649"/>
                  <a:pt x="5037707" y="7649"/>
                  <a:pt x="5050991" y="29"/>
                </a:cubicBezTo>
                <a:close/>
                <a:moveTo>
                  <a:pt x="4468137" y="29"/>
                </a:moveTo>
                <a:cubicBezTo>
                  <a:pt x="4468137" y="29"/>
                  <a:pt x="4468137" y="29"/>
                  <a:pt x="4678410" y="29"/>
                </a:cubicBezTo>
                <a:cubicBezTo>
                  <a:pt x="4678410" y="29"/>
                  <a:pt x="4678410" y="29"/>
                  <a:pt x="4517388" y="71353"/>
                </a:cubicBezTo>
                <a:cubicBezTo>
                  <a:pt x="4494658" y="80992"/>
                  <a:pt x="4470031" y="69426"/>
                  <a:pt x="4460559" y="48221"/>
                </a:cubicBezTo>
                <a:cubicBezTo>
                  <a:pt x="4452982" y="30872"/>
                  <a:pt x="4456770" y="13523"/>
                  <a:pt x="4468137" y="29"/>
                </a:cubicBezTo>
                <a:close/>
                <a:moveTo>
                  <a:pt x="3898004" y="29"/>
                </a:moveTo>
                <a:cubicBezTo>
                  <a:pt x="3898004" y="29"/>
                  <a:pt x="3898004" y="29"/>
                  <a:pt x="4092633" y="29"/>
                </a:cubicBezTo>
                <a:cubicBezTo>
                  <a:pt x="4092633" y="29"/>
                  <a:pt x="4092633" y="29"/>
                  <a:pt x="3959064" y="55545"/>
                </a:cubicBezTo>
                <a:cubicBezTo>
                  <a:pt x="3936168" y="65117"/>
                  <a:pt x="3909453" y="53630"/>
                  <a:pt x="3899911" y="30658"/>
                </a:cubicBezTo>
                <a:cubicBezTo>
                  <a:pt x="3896097" y="21087"/>
                  <a:pt x="3894188" y="9600"/>
                  <a:pt x="3898004" y="29"/>
                </a:cubicBezTo>
                <a:close/>
                <a:moveTo>
                  <a:pt x="3332214" y="29"/>
                </a:moveTo>
                <a:cubicBezTo>
                  <a:pt x="3332214" y="29"/>
                  <a:pt x="3332214" y="29"/>
                  <a:pt x="3497315" y="29"/>
                </a:cubicBezTo>
                <a:cubicBezTo>
                  <a:pt x="3497315" y="29"/>
                  <a:pt x="3497315" y="29"/>
                  <a:pt x="3394843" y="41670"/>
                </a:cubicBezTo>
                <a:cubicBezTo>
                  <a:pt x="3370170" y="49241"/>
                  <a:pt x="3343603" y="37885"/>
                  <a:pt x="3334112" y="15171"/>
                </a:cubicBezTo>
                <a:cubicBezTo>
                  <a:pt x="3332214" y="9493"/>
                  <a:pt x="3332214" y="5707"/>
                  <a:pt x="3332214" y="29"/>
                </a:cubicBezTo>
                <a:close/>
                <a:moveTo>
                  <a:pt x="2760704" y="28"/>
                </a:moveTo>
                <a:cubicBezTo>
                  <a:pt x="2760704" y="28"/>
                  <a:pt x="2760704" y="28"/>
                  <a:pt x="2890879" y="28"/>
                </a:cubicBezTo>
                <a:cubicBezTo>
                  <a:pt x="2890879" y="28"/>
                  <a:pt x="2890879" y="28"/>
                  <a:pt x="2821076" y="27192"/>
                </a:cubicBezTo>
                <a:cubicBezTo>
                  <a:pt x="2796550" y="34954"/>
                  <a:pt x="2772022" y="23312"/>
                  <a:pt x="2760704" y="28"/>
                </a:cubicBezTo>
                <a:close/>
                <a:moveTo>
                  <a:pt x="11404328" y="19"/>
                </a:moveTo>
                <a:cubicBezTo>
                  <a:pt x="11404328" y="19"/>
                  <a:pt x="11404328" y="19"/>
                  <a:pt x="11552367" y="19"/>
                </a:cubicBezTo>
                <a:cubicBezTo>
                  <a:pt x="11552367" y="19"/>
                  <a:pt x="11552367" y="19"/>
                  <a:pt x="11271473" y="158733"/>
                </a:cubicBezTo>
                <a:cubicBezTo>
                  <a:pt x="11254392" y="168294"/>
                  <a:pt x="11231616" y="162557"/>
                  <a:pt x="11222127" y="145347"/>
                </a:cubicBezTo>
                <a:cubicBezTo>
                  <a:pt x="11212637" y="126225"/>
                  <a:pt x="11218331" y="105191"/>
                  <a:pt x="11235412" y="95630"/>
                </a:cubicBezTo>
                <a:cubicBezTo>
                  <a:pt x="11235412" y="95630"/>
                  <a:pt x="11235412" y="95630"/>
                  <a:pt x="11404328" y="19"/>
                </a:cubicBezTo>
                <a:close/>
                <a:moveTo>
                  <a:pt x="11942099" y="17"/>
                </a:moveTo>
                <a:cubicBezTo>
                  <a:pt x="11942099" y="17"/>
                  <a:pt x="11942099" y="17"/>
                  <a:pt x="12100062" y="17"/>
                </a:cubicBezTo>
                <a:cubicBezTo>
                  <a:pt x="12100062" y="17"/>
                  <a:pt x="12100062" y="17"/>
                  <a:pt x="11835521" y="142892"/>
                </a:cubicBezTo>
                <a:cubicBezTo>
                  <a:pt x="11816490" y="152417"/>
                  <a:pt x="11793652" y="146702"/>
                  <a:pt x="11784136" y="127652"/>
                </a:cubicBezTo>
                <a:cubicBezTo>
                  <a:pt x="11774620" y="110507"/>
                  <a:pt x="11780330" y="87647"/>
                  <a:pt x="11799361" y="76217"/>
                </a:cubicBezTo>
                <a:cubicBezTo>
                  <a:pt x="11799361" y="76217"/>
                  <a:pt x="11799361" y="76217"/>
                  <a:pt x="11942099" y="17"/>
                </a:cubicBezTo>
                <a:close/>
                <a:moveTo>
                  <a:pt x="76928" y="14"/>
                </a:moveTo>
                <a:cubicBezTo>
                  <a:pt x="76928" y="14"/>
                  <a:pt x="76928" y="14"/>
                  <a:pt x="271465" y="14"/>
                </a:cubicBezTo>
                <a:cubicBezTo>
                  <a:pt x="271465" y="14"/>
                  <a:pt x="271465" y="14"/>
                  <a:pt x="63577" y="99944"/>
                </a:cubicBezTo>
                <a:cubicBezTo>
                  <a:pt x="42598" y="109552"/>
                  <a:pt x="17804" y="101866"/>
                  <a:pt x="8268" y="80727"/>
                </a:cubicBezTo>
                <a:cubicBezTo>
                  <a:pt x="-3175" y="59588"/>
                  <a:pt x="6361" y="34605"/>
                  <a:pt x="27340" y="24997"/>
                </a:cubicBezTo>
                <a:cubicBezTo>
                  <a:pt x="27340" y="24997"/>
                  <a:pt x="27340" y="24997"/>
                  <a:pt x="76928" y="14"/>
                </a:cubicBezTo>
                <a:close/>
                <a:moveTo>
                  <a:pt x="583733" y="12"/>
                </a:moveTo>
                <a:cubicBezTo>
                  <a:pt x="583733" y="12"/>
                  <a:pt x="583733" y="12"/>
                  <a:pt x="792167" y="12"/>
                </a:cubicBezTo>
                <a:cubicBezTo>
                  <a:pt x="792167" y="12"/>
                  <a:pt x="792167" y="12"/>
                  <a:pt x="604767" y="83832"/>
                </a:cubicBezTo>
                <a:cubicBezTo>
                  <a:pt x="583733" y="95262"/>
                  <a:pt x="558874" y="85737"/>
                  <a:pt x="549312" y="62877"/>
                </a:cubicBezTo>
                <a:cubicBezTo>
                  <a:pt x="539751" y="41922"/>
                  <a:pt x="549312" y="17157"/>
                  <a:pt x="570347" y="7632"/>
                </a:cubicBezTo>
                <a:cubicBezTo>
                  <a:pt x="570347" y="7632"/>
                  <a:pt x="570347" y="7632"/>
                  <a:pt x="583733" y="12"/>
                </a:cubicBezTo>
                <a:close/>
                <a:moveTo>
                  <a:pt x="1102307" y="10"/>
                </a:moveTo>
                <a:cubicBezTo>
                  <a:pt x="1102307" y="10"/>
                  <a:pt x="1102307" y="10"/>
                  <a:pt x="1312869" y="10"/>
                </a:cubicBezTo>
                <a:cubicBezTo>
                  <a:pt x="1312869" y="10"/>
                  <a:pt x="1312869" y="10"/>
                  <a:pt x="1153525" y="71334"/>
                </a:cubicBezTo>
                <a:cubicBezTo>
                  <a:pt x="1130761" y="80973"/>
                  <a:pt x="1104204" y="69406"/>
                  <a:pt x="1094719" y="48202"/>
                </a:cubicBezTo>
                <a:cubicBezTo>
                  <a:pt x="1089028" y="30853"/>
                  <a:pt x="1090925" y="13503"/>
                  <a:pt x="1102307" y="10"/>
                </a:cubicBezTo>
                <a:close/>
                <a:moveTo>
                  <a:pt x="1643393" y="7"/>
                </a:moveTo>
                <a:cubicBezTo>
                  <a:pt x="1643393" y="7"/>
                  <a:pt x="1643393" y="7"/>
                  <a:pt x="1838335" y="7"/>
                </a:cubicBezTo>
                <a:cubicBezTo>
                  <a:pt x="1838335" y="7"/>
                  <a:pt x="1838335" y="7"/>
                  <a:pt x="1704551" y="55524"/>
                </a:cubicBezTo>
                <a:cubicBezTo>
                  <a:pt x="1681617" y="65095"/>
                  <a:pt x="1654860" y="53609"/>
                  <a:pt x="1645304" y="30637"/>
                </a:cubicBezTo>
                <a:cubicBezTo>
                  <a:pt x="1641482" y="21065"/>
                  <a:pt x="1641482" y="9579"/>
                  <a:pt x="1643393" y="7"/>
                </a:cubicBezTo>
                <a:close/>
                <a:moveTo>
                  <a:pt x="2197113" y="5"/>
                </a:moveTo>
                <a:cubicBezTo>
                  <a:pt x="2197113" y="5"/>
                  <a:pt x="2197113" y="5"/>
                  <a:pt x="2363803" y="5"/>
                </a:cubicBezTo>
                <a:cubicBezTo>
                  <a:pt x="2363803" y="5"/>
                  <a:pt x="2363803" y="5"/>
                  <a:pt x="2260340" y="41647"/>
                </a:cubicBezTo>
                <a:cubicBezTo>
                  <a:pt x="2235433" y="49218"/>
                  <a:pt x="2208609" y="37861"/>
                  <a:pt x="2199030" y="15147"/>
                </a:cubicBezTo>
                <a:cubicBezTo>
                  <a:pt x="2197113" y="9469"/>
                  <a:pt x="2197113" y="5683"/>
                  <a:pt x="2197113" y="5"/>
                </a:cubicBezTo>
                <a:close/>
                <a:moveTo>
                  <a:pt x="9742489" y="4"/>
                </a:moveTo>
                <a:cubicBezTo>
                  <a:pt x="9742489" y="4"/>
                  <a:pt x="9742489" y="4"/>
                  <a:pt x="9866419" y="4"/>
                </a:cubicBezTo>
                <a:cubicBezTo>
                  <a:pt x="9866419" y="4"/>
                  <a:pt x="9866419" y="4"/>
                  <a:pt x="9542293" y="201631"/>
                </a:cubicBezTo>
                <a:cubicBezTo>
                  <a:pt x="9527040" y="211142"/>
                  <a:pt x="9506067" y="207338"/>
                  <a:pt x="9496534" y="192120"/>
                </a:cubicBezTo>
                <a:cubicBezTo>
                  <a:pt x="9487001" y="176903"/>
                  <a:pt x="9492721" y="155980"/>
                  <a:pt x="9507974" y="146469"/>
                </a:cubicBezTo>
                <a:cubicBezTo>
                  <a:pt x="9507974" y="146469"/>
                  <a:pt x="9507974" y="146469"/>
                  <a:pt x="9742489" y="4"/>
                </a:cubicBezTo>
                <a:close/>
                <a:moveTo>
                  <a:pt x="10304665" y="2"/>
                </a:moveTo>
                <a:cubicBezTo>
                  <a:pt x="10304665" y="2"/>
                  <a:pt x="10304665" y="2"/>
                  <a:pt x="10436339" y="2"/>
                </a:cubicBezTo>
                <a:cubicBezTo>
                  <a:pt x="10436339" y="2"/>
                  <a:pt x="10436339" y="2"/>
                  <a:pt x="10125283" y="187296"/>
                </a:cubicBezTo>
                <a:cubicBezTo>
                  <a:pt x="10108109" y="196852"/>
                  <a:pt x="10087117" y="193029"/>
                  <a:pt x="10077576" y="175829"/>
                </a:cubicBezTo>
                <a:cubicBezTo>
                  <a:pt x="10068034" y="160540"/>
                  <a:pt x="10073759" y="139517"/>
                  <a:pt x="10089025" y="129961"/>
                </a:cubicBezTo>
                <a:cubicBezTo>
                  <a:pt x="10089025" y="129961"/>
                  <a:pt x="10089025" y="129961"/>
                  <a:pt x="10304665" y="2"/>
                </a:cubicBezTo>
                <a:close/>
                <a:moveTo>
                  <a:pt x="10857477" y="0"/>
                </a:moveTo>
                <a:cubicBezTo>
                  <a:pt x="10857477" y="0"/>
                  <a:pt x="10857477" y="0"/>
                  <a:pt x="10998322" y="0"/>
                </a:cubicBezTo>
                <a:cubicBezTo>
                  <a:pt x="10998322" y="0"/>
                  <a:pt x="10998322" y="0"/>
                  <a:pt x="10701405" y="173054"/>
                </a:cubicBezTo>
                <a:cubicBezTo>
                  <a:pt x="10684275" y="182563"/>
                  <a:pt x="10663338" y="176857"/>
                  <a:pt x="10653822" y="159742"/>
                </a:cubicBezTo>
                <a:cubicBezTo>
                  <a:pt x="10644305" y="142627"/>
                  <a:pt x="10650015" y="121708"/>
                  <a:pt x="10665241" y="112200"/>
                </a:cubicBezTo>
                <a:cubicBezTo>
                  <a:pt x="10665241" y="112200"/>
                  <a:pt x="10665241" y="112200"/>
                  <a:pt x="10857477" y="0"/>
                </a:cubicBezTo>
                <a:close/>
              </a:path>
            </a:pathLst>
          </a:custGeom>
          <a:solidFill>
            <a:srgbClr val="000000">
              <a:alpha val="20000"/>
            </a:srgbClr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3" y="1437139"/>
            <a:ext cx="9960236" cy="3026868"/>
          </a:xfrm>
          <a:prstGeom prst="rect">
            <a:avLst/>
          </a:prstGeom>
        </p:spPr>
        <p:txBody>
          <a:bodyPr lIns="0" tIns="45710" rIns="91420" bIns="45710" anchor="b" anchorCtr="0"/>
          <a:lstStyle>
            <a:lvl1pPr marL="0" algn="l" defTabSz="1218642" rtl="0" eaLnBrk="1" latinLnBrk="0" hangingPunct="1">
              <a:lnSpc>
                <a:spcPts val="7000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6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2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556301" y="494899"/>
            <a:ext cx="2710461" cy="625075"/>
          </a:xfrm>
          <a:prstGeom prst="rect">
            <a:avLst/>
          </a:prstGeom>
          <a:noFill/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F72D7AD-72C7-4205-8BEC-0E5F62FC92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164532" y="2438989"/>
            <a:ext cx="3036925" cy="101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784965"/>
      </p:ext>
    </p:extLst>
  </p:cSld>
  <p:clrMapOvr>
    <a:masterClrMapping/>
  </p:clrMapOvr>
  <p:transition spd="med"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Global-1">
    <p:bg>
      <p:bgPr>
        <a:solidFill>
          <a:schemeClr val="bg2">
            <a:lumMod val="50000"/>
            <a:lumOff val="5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893"/>
            <a:ext cx="12190410" cy="6857107"/>
          </a:xfrm>
          <a:prstGeom prst="rect">
            <a:avLst/>
          </a:prstGeom>
        </p:spPr>
      </p:pic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cs typeface="Arial" pitchFamily="34" charset="0"/>
            </a:endParaRPr>
          </a:p>
        </p:txBody>
      </p: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46" y="1849075"/>
            <a:ext cx="9957815" cy="194767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642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lang="en-US" sz="5999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548646" y="3999755"/>
            <a:ext cx="9957815" cy="737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9"/>
              </a:lnSpc>
              <a:spcBef>
                <a:spcPts val="0"/>
              </a:spcBef>
              <a:buNone/>
              <a:defRPr sz="2399" spc="0" baseline="0">
                <a:solidFill>
                  <a:schemeClr val="bg1"/>
                </a:solidFill>
              </a:defRPr>
            </a:lvl1pPr>
            <a:lvl2pPr marL="4570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712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4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5305" y="5505444"/>
            <a:ext cx="1330103" cy="443301"/>
          </a:xfrm>
          <a:prstGeom prst="rect">
            <a:avLst/>
          </a:prstGeom>
        </p:spPr>
      </p:pic>
      <p:sp>
        <p:nvSpPr>
          <p:cNvPr id="15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333" b="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1333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763546"/>
      </p:ext>
    </p:extLst>
  </p:cSld>
  <p:clrMapOvr>
    <a:masterClrMapping/>
  </p:clrMapOvr>
  <p:transition spd="med"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074420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1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1748699" y="6395722"/>
            <a:ext cx="443301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18029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  <p15:guide id="2" pos="5117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6566225"/>
            <a:ext cx="12188826" cy="2990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86938" y="6561620"/>
            <a:ext cx="1256974" cy="313440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539" y="6525954"/>
            <a:ext cx="2742486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81C0148-7551-41F8-A273-4787F6CFEC9F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4076" y="807523"/>
            <a:ext cx="11655691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-2" y="-204890"/>
            <a:ext cx="10512862" cy="1325563"/>
          </a:xfrm>
        </p:spPr>
        <p:txBody>
          <a:bodyPr>
            <a:normAutofit/>
          </a:bodyPr>
          <a:lstStyle>
            <a:lvl1pPr>
              <a:defRPr sz="319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3" y="274320"/>
            <a:ext cx="1074324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1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1748699" y="6395722"/>
            <a:ext cx="443301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9010C0-223A-496D-9EA1-A35649B103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8643" y="6197604"/>
            <a:ext cx="10743248" cy="20161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066">
                <a:solidFill>
                  <a:srgbClr val="939598"/>
                </a:solidFill>
              </a:defRPr>
            </a:lvl1pPr>
            <a:lvl2pPr marL="609321" indent="0">
              <a:buNone/>
              <a:defRPr sz="1066"/>
            </a:lvl2pPr>
            <a:lvl3pPr marL="1218641" indent="0">
              <a:buNone/>
              <a:defRPr sz="1066"/>
            </a:lvl3pPr>
            <a:lvl4pPr marL="1827963" indent="0">
              <a:buNone/>
              <a:defRPr sz="1066"/>
            </a:lvl4pPr>
            <a:lvl5pPr marL="2437284" indent="0">
              <a:buNone/>
              <a:defRPr sz="1066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2196417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  <p15:guide id="2" pos="5117" userDrawn="1">
          <p15:clr>
            <a:srgbClr val="FBAE40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1" y="274320"/>
            <a:ext cx="9647471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11073384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3658381"/>
      </p:ext>
    </p:extLst>
  </p:cSld>
  <p:clrMapOvr>
    <a:masterClrMapping/>
  </p:clrMapOvr>
  <p:transition spd="med"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Conten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591057"/>
            <a:ext cx="11073384" cy="4798203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0">
              <a:buNone/>
              <a:defRPr sz="2666" b="1"/>
            </a:lvl2pPr>
            <a:lvl3pPr marL="1218642" indent="0">
              <a:buNone/>
              <a:defRPr sz="2399" b="1"/>
            </a:lvl3pPr>
            <a:lvl4pPr marL="1827963" indent="0">
              <a:buNone/>
              <a:defRPr sz="2133" b="1"/>
            </a:lvl4pPr>
            <a:lvl5pPr marL="2437284" indent="0">
              <a:buNone/>
              <a:defRPr sz="2133" b="1"/>
            </a:lvl5pPr>
            <a:lvl6pPr marL="3046601" indent="0">
              <a:buNone/>
              <a:defRPr sz="2133" b="1"/>
            </a:lvl6pPr>
            <a:lvl7pPr marL="3655926" indent="0">
              <a:buNone/>
              <a:defRPr sz="2133" b="1"/>
            </a:lvl7pPr>
            <a:lvl8pPr marL="4265243" indent="0">
              <a:buNone/>
              <a:defRPr sz="2133" b="1"/>
            </a:lvl8pPr>
            <a:lvl9pPr marL="4874564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3" y="274320"/>
            <a:ext cx="969153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549830546"/>
      </p:ext>
    </p:extLst>
  </p:cSld>
  <p:clrMapOvr>
    <a:masterClrMapping/>
  </p:clrMapOvr>
  <p:transition spd="med"/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25"/>
          <p:cNvSpPr>
            <a:spLocks noGrp="1"/>
          </p:cNvSpPr>
          <p:nvPr>
            <p:ph type="ftr" sz="quarter" idx="13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6" y="274320"/>
            <a:ext cx="9553827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4" y="1179576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3066" y="1188765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9086042"/>
      </p:ext>
    </p:extLst>
  </p:cSld>
  <p:clrMapOvr>
    <a:masterClrMapping/>
  </p:clrMapOvr>
  <p:transition spd="med"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603671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603671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5286" y="0"/>
            <a:ext cx="5353539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2833533"/>
      </p:ext>
    </p:extLst>
  </p:cSld>
  <p:clrMapOvr>
    <a:masterClrMapping/>
  </p:clrMapOvr>
  <p:transition spd="med"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2" y="0"/>
            <a:ext cx="4061793" cy="6858000"/>
          </a:xfrm>
          <a:prstGeom prst="rect">
            <a:avLst/>
          </a:prstGeom>
          <a:solidFill>
            <a:srgbClr val="6EBE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/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49951" y="-3177"/>
            <a:ext cx="4011840" cy="6858285"/>
          </a:xfrm>
          <a:custGeom>
            <a:avLst/>
            <a:gdLst>
              <a:gd name="connsiteX0" fmla="*/ 4011840 w 4011840"/>
              <a:gd name="connsiteY0" fmla="*/ 6728839 h 6858285"/>
              <a:gd name="connsiteX1" fmla="*/ 4011840 w 4011840"/>
              <a:gd name="connsiteY1" fmla="*/ 6814737 h 6858285"/>
              <a:gd name="connsiteX2" fmla="*/ 3960866 w 4011840"/>
              <a:gd name="connsiteY2" fmla="*/ 6841809 h 6858285"/>
              <a:gd name="connsiteX3" fmla="*/ 3909430 w 4011840"/>
              <a:gd name="connsiteY3" fmla="*/ 6826569 h 6858285"/>
              <a:gd name="connsiteX4" fmla="*/ 3903712 w 4011840"/>
              <a:gd name="connsiteY4" fmla="*/ 6809424 h 6858285"/>
              <a:gd name="connsiteX5" fmla="*/ 3924672 w 4011840"/>
              <a:gd name="connsiteY5" fmla="*/ 6775134 h 6858285"/>
              <a:gd name="connsiteX6" fmla="*/ 4006988 w 4011840"/>
              <a:gd name="connsiteY6" fmla="*/ 6731416 h 6858285"/>
              <a:gd name="connsiteX7" fmla="*/ 396081 w 4011840"/>
              <a:gd name="connsiteY7" fmla="*/ 6635423 h 6858285"/>
              <a:gd name="connsiteX8" fmla="*/ 419128 w 4011840"/>
              <a:gd name="connsiteY8" fmla="*/ 6656349 h 6858285"/>
              <a:gd name="connsiteX9" fmla="*/ 400120 w 4011840"/>
              <a:gd name="connsiteY9" fmla="*/ 6709616 h 6858285"/>
              <a:gd name="connsiteX10" fmla="*/ 97901 w 4011840"/>
              <a:gd name="connsiteY10" fmla="*/ 6858002 h 6858285"/>
              <a:gd name="connsiteX11" fmla="*/ 10466 w 4011840"/>
              <a:gd name="connsiteY11" fmla="*/ 6858002 h 6858285"/>
              <a:gd name="connsiteX12" fmla="*/ 8566 w 4011840"/>
              <a:gd name="connsiteY12" fmla="*/ 6858002 h 6858285"/>
              <a:gd name="connsiteX13" fmla="*/ 4764 w 4011840"/>
              <a:gd name="connsiteY13" fmla="*/ 6838978 h 6858285"/>
              <a:gd name="connsiteX14" fmla="*/ 27573 w 4011840"/>
              <a:gd name="connsiteY14" fmla="*/ 6802833 h 6858285"/>
              <a:gd name="connsiteX15" fmla="*/ 365906 w 4011840"/>
              <a:gd name="connsiteY15" fmla="*/ 6637326 h 6858285"/>
              <a:gd name="connsiteX16" fmla="*/ 396081 w 4011840"/>
              <a:gd name="connsiteY16" fmla="*/ 6635423 h 6858285"/>
              <a:gd name="connsiteX17" fmla="*/ 939733 w 4011840"/>
              <a:gd name="connsiteY17" fmla="*/ 6619807 h 6858285"/>
              <a:gd name="connsiteX18" fmla="*/ 963599 w 4011840"/>
              <a:gd name="connsiteY18" fmla="*/ 6640551 h 6858285"/>
              <a:gd name="connsiteX19" fmla="*/ 944506 w 4011840"/>
              <a:gd name="connsiteY19" fmla="*/ 6693960 h 6858285"/>
              <a:gd name="connsiteX20" fmla="*/ 618014 w 4011840"/>
              <a:gd name="connsiteY20" fmla="*/ 6858002 h 6858285"/>
              <a:gd name="connsiteX21" fmla="*/ 562644 w 4011840"/>
              <a:gd name="connsiteY21" fmla="*/ 6858002 h 6858285"/>
              <a:gd name="connsiteX22" fmla="*/ 553097 w 4011840"/>
              <a:gd name="connsiteY22" fmla="*/ 6846557 h 6858285"/>
              <a:gd name="connsiteX23" fmla="*/ 549279 w 4011840"/>
              <a:gd name="connsiteY23" fmla="*/ 6829390 h 6858285"/>
              <a:gd name="connsiteX24" fmla="*/ 570281 w 4011840"/>
              <a:gd name="connsiteY24" fmla="*/ 6793148 h 6858285"/>
              <a:gd name="connsiteX25" fmla="*/ 910138 w 4011840"/>
              <a:gd name="connsiteY25" fmla="*/ 6623384 h 6858285"/>
              <a:gd name="connsiteX26" fmla="*/ 939733 w 4011840"/>
              <a:gd name="connsiteY26" fmla="*/ 6619807 h 6858285"/>
              <a:gd name="connsiteX27" fmla="*/ 1485698 w 4011840"/>
              <a:gd name="connsiteY27" fmla="*/ 6606629 h 6858285"/>
              <a:gd name="connsiteX28" fmla="*/ 1507827 w 4011840"/>
              <a:gd name="connsiteY28" fmla="*/ 6625941 h 6858285"/>
              <a:gd name="connsiteX29" fmla="*/ 1492599 w 4011840"/>
              <a:gd name="connsiteY29" fmla="*/ 6677438 h 6858285"/>
              <a:gd name="connsiteX30" fmla="*/ 1153761 w 4011840"/>
              <a:gd name="connsiteY30" fmla="*/ 6852909 h 6858285"/>
              <a:gd name="connsiteX31" fmla="*/ 1102364 w 4011840"/>
              <a:gd name="connsiteY31" fmla="*/ 6837650 h 6858285"/>
              <a:gd name="connsiteX32" fmla="*/ 1098557 w 4011840"/>
              <a:gd name="connsiteY32" fmla="*/ 6818577 h 6858285"/>
              <a:gd name="connsiteX33" fmla="*/ 1119496 w 4011840"/>
              <a:gd name="connsiteY33" fmla="*/ 6784246 h 6858285"/>
              <a:gd name="connsiteX34" fmla="*/ 1456431 w 4011840"/>
              <a:gd name="connsiteY34" fmla="*/ 6608775 h 6858285"/>
              <a:gd name="connsiteX35" fmla="*/ 1485698 w 4011840"/>
              <a:gd name="connsiteY35" fmla="*/ 6606629 h 6858285"/>
              <a:gd name="connsiteX36" fmla="*/ 2037015 w 4011840"/>
              <a:gd name="connsiteY36" fmla="*/ 6592968 h 6858285"/>
              <a:gd name="connsiteX37" fmla="*/ 2060595 w 4011840"/>
              <a:gd name="connsiteY37" fmla="*/ 6611304 h 6858285"/>
              <a:gd name="connsiteX38" fmla="*/ 2043444 w 4011840"/>
              <a:gd name="connsiteY38" fmla="*/ 6662739 h 6858285"/>
              <a:gd name="connsiteX39" fmla="*/ 1706255 w 4011840"/>
              <a:gd name="connsiteY39" fmla="*/ 6841809 h 6858285"/>
              <a:gd name="connsiteX40" fmla="*/ 1654819 w 4011840"/>
              <a:gd name="connsiteY40" fmla="*/ 6826569 h 6858285"/>
              <a:gd name="connsiteX41" fmla="*/ 1651009 w 4011840"/>
              <a:gd name="connsiteY41" fmla="*/ 6809424 h 6858285"/>
              <a:gd name="connsiteX42" fmla="*/ 1670059 w 4011840"/>
              <a:gd name="connsiteY42" fmla="*/ 6775134 h 6858285"/>
              <a:gd name="connsiteX43" fmla="*/ 2009154 w 4011840"/>
              <a:gd name="connsiteY43" fmla="*/ 6596064 h 6858285"/>
              <a:gd name="connsiteX44" fmla="*/ 2037015 w 4011840"/>
              <a:gd name="connsiteY44" fmla="*/ 6592968 h 6858285"/>
              <a:gd name="connsiteX45" fmla="*/ 3727788 w 4011840"/>
              <a:gd name="connsiteY45" fmla="*/ 6578028 h 6858285"/>
              <a:gd name="connsiteX46" fmla="*/ 3749716 w 4011840"/>
              <a:gd name="connsiteY46" fmla="*/ 6595371 h 6858285"/>
              <a:gd name="connsiteX47" fmla="*/ 3734462 w 4011840"/>
              <a:gd name="connsiteY47" fmla="*/ 6646685 h 6858285"/>
              <a:gd name="connsiteX48" fmla="*/ 3397032 w 4011840"/>
              <a:gd name="connsiteY48" fmla="*/ 6831037 h 6858285"/>
              <a:gd name="connsiteX49" fmla="*/ 3347462 w 4011840"/>
              <a:gd name="connsiteY49" fmla="*/ 6815832 h 6858285"/>
              <a:gd name="connsiteX50" fmla="*/ 3341741 w 4011840"/>
              <a:gd name="connsiteY50" fmla="*/ 6798728 h 6858285"/>
              <a:gd name="connsiteX51" fmla="*/ 3362712 w 4011840"/>
              <a:gd name="connsiteY51" fmla="*/ 6764518 h 6858285"/>
              <a:gd name="connsiteX52" fmla="*/ 3700144 w 4011840"/>
              <a:gd name="connsiteY52" fmla="*/ 6582067 h 6858285"/>
              <a:gd name="connsiteX53" fmla="*/ 3727788 w 4011840"/>
              <a:gd name="connsiteY53" fmla="*/ 6578028 h 6858285"/>
              <a:gd name="connsiteX54" fmla="*/ 2592701 w 4011840"/>
              <a:gd name="connsiteY54" fmla="*/ 6578028 h 6858285"/>
              <a:gd name="connsiteX55" fmla="*/ 2614625 w 4011840"/>
              <a:gd name="connsiteY55" fmla="*/ 6595371 h 6858285"/>
              <a:gd name="connsiteX56" fmla="*/ 2599374 w 4011840"/>
              <a:gd name="connsiteY56" fmla="*/ 6646685 h 6858285"/>
              <a:gd name="connsiteX57" fmla="*/ 2261929 w 4011840"/>
              <a:gd name="connsiteY57" fmla="*/ 6831037 h 6858285"/>
              <a:gd name="connsiteX58" fmla="*/ 2212361 w 4011840"/>
              <a:gd name="connsiteY58" fmla="*/ 6815832 h 6858285"/>
              <a:gd name="connsiteX59" fmla="*/ 2206641 w 4011840"/>
              <a:gd name="connsiteY59" fmla="*/ 6798728 h 6858285"/>
              <a:gd name="connsiteX60" fmla="*/ 2225706 w 4011840"/>
              <a:gd name="connsiteY60" fmla="*/ 6764518 h 6858285"/>
              <a:gd name="connsiteX61" fmla="*/ 2565057 w 4011840"/>
              <a:gd name="connsiteY61" fmla="*/ 6582067 h 6858285"/>
              <a:gd name="connsiteX62" fmla="*/ 2592701 w 4011840"/>
              <a:gd name="connsiteY62" fmla="*/ 6578028 h 6858285"/>
              <a:gd name="connsiteX63" fmla="*/ 3153211 w 4011840"/>
              <a:gd name="connsiteY63" fmla="*/ 6564133 h 6858285"/>
              <a:gd name="connsiteX64" fmla="*/ 3175070 w 4011840"/>
              <a:gd name="connsiteY64" fmla="*/ 6580744 h 6858285"/>
              <a:gd name="connsiteX65" fmla="*/ 3161766 w 4011840"/>
              <a:gd name="connsiteY65" fmla="*/ 6630101 h 6858285"/>
              <a:gd name="connsiteX66" fmla="*/ 2825350 w 4011840"/>
              <a:gd name="connsiteY66" fmla="*/ 6819936 h 6858285"/>
              <a:gd name="connsiteX67" fmla="*/ 2775931 w 4011840"/>
              <a:gd name="connsiteY67" fmla="*/ 6804749 h 6858285"/>
              <a:gd name="connsiteX68" fmla="*/ 2770229 w 4011840"/>
              <a:gd name="connsiteY68" fmla="*/ 6787664 h 6858285"/>
              <a:gd name="connsiteX69" fmla="*/ 2789236 w 4011840"/>
              <a:gd name="connsiteY69" fmla="*/ 6757290 h 6858285"/>
              <a:gd name="connsiteX70" fmla="*/ 3125653 w 4011840"/>
              <a:gd name="connsiteY70" fmla="*/ 6567455 h 6858285"/>
              <a:gd name="connsiteX71" fmla="*/ 3153211 w 4011840"/>
              <a:gd name="connsiteY71" fmla="*/ 6564133 h 6858285"/>
              <a:gd name="connsiteX72" fmla="*/ 4011840 w 4011840"/>
              <a:gd name="connsiteY72" fmla="*/ 6402257 h 6858285"/>
              <a:gd name="connsiteX73" fmla="*/ 4011840 w 4011840"/>
              <a:gd name="connsiteY73" fmla="*/ 6490934 h 6858285"/>
              <a:gd name="connsiteX74" fmla="*/ 3961098 w 4011840"/>
              <a:gd name="connsiteY74" fmla="*/ 6516712 h 6858285"/>
              <a:gd name="connsiteX75" fmla="*/ 3907832 w 4011840"/>
              <a:gd name="connsiteY75" fmla="*/ 6499609 h 6858285"/>
              <a:gd name="connsiteX76" fmla="*/ 3902128 w 4011840"/>
              <a:gd name="connsiteY76" fmla="*/ 6482505 h 6858285"/>
              <a:gd name="connsiteX77" fmla="*/ 3924952 w 4011840"/>
              <a:gd name="connsiteY77" fmla="*/ 6446398 h 6858285"/>
              <a:gd name="connsiteX78" fmla="*/ 4007146 w 4011840"/>
              <a:gd name="connsiteY78" fmla="*/ 6404642 h 6858285"/>
              <a:gd name="connsiteX79" fmla="*/ 396081 w 4011840"/>
              <a:gd name="connsiteY79" fmla="*/ 6313171 h 6858285"/>
              <a:gd name="connsiteX80" fmla="*/ 419127 w 4011840"/>
              <a:gd name="connsiteY80" fmla="*/ 6334126 h 6858285"/>
              <a:gd name="connsiteX81" fmla="*/ 400120 w 4011840"/>
              <a:gd name="connsiteY81" fmla="*/ 6387466 h 6858285"/>
              <a:gd name="connsiteX82" fmla="*/ 63687 w 4011840"/>
              <a:gd name="connsiteY82" fmla="*/ 6553201 h 6858285"/>
              <a:gd name="connsiteX83" fmla="*/ 8565 w 4011840"/>
              <a:gd name="connsiteY83" fmla="*/ 6534151 h 6858285"/>
              <a:gd name="connsiteX84" fmla="*/ 4764 w 4011840"/>
              <a:gd name="connsiteY84" fmla="*/ 6517006 h 6858285"/>
              <a:gd name="connsiteX85" fmla="*/ 27573 w 4011840"/>
              <a:gd name="connsiteY85" fmla="*/ 6478906 h 6858285"/>
              <a:gd name="connsiteX86" fmla="*/ 365906 w 4011840"/>
              <a:gd name="connsiteY86" fmla="*/ 6315076 h 6858285"/>
              <a:gd name="connsiteX87" fmla="*/ 396081 w 4011840"/>
              <a:gd name="connsiteY87" fmla="*/ 6313171 h 6858285"/>
              <a:gd name="connsiteX88" fmla="*/ 940474 w 4011840"/>
              <a:gd name="connsiteY88" fmla="*/ 6300224 h 6858285"/>
              <a:gd name="connsiteX89" fmla="*/ 963607 w 4011840"/>
              <a:gd name="connsiteY89" fmla="*/ 6319488 h 6858285"/>
              <a:gd name="connsiteX90" fmla="*/ 944529 w 4011840"/>
              <a:gd name="connsiteY90" fmla="*/ 6372763 h 6858285"/>
              <a:gd name="connsiteX91" fmla="*/ 606835 w 4011840"/>
              <a:gd name="connsiteY91" fmla="*/ 6540198 h 6858285"/>
              <a:gd name="connsiteX92" fmla="*/ 551507 w 4011840"/>
              <a:gd name="connsiteY92" fmla="*/ 6523074 h 6858285"/>
              <a:gd name="connsiteX93" fmla="*/ 547691 w 4011840"/>
              <a:gd name="connsiteY93" fmla="*/ 6505950 h 6858285"/>
              <a:gd name="connsiteX94" fmla="*/ 570586 w 4011840"/>
              <a:gd name="connsiteY94" fmla="*/ 6469799 h 6858285"/>
              <a:gd name="connsiteX95" fmla="*/ 910187 w 4011840"/>
              <a:gd name="connsiteY95" fmla="*/ 6302364 h 6858285"/>
              <a:gd name="connsiteX96" fmla="*/ 940474 w 4011840"/>
              <a:gd name="connsiteY96" fmla="*/ 6300224 h 6858285"/>
              <a:gd name="connsiteX97" fmla="*/ 1486674 w 4011840"/>
              <a:gd name="connsiteY97" fmla="*/ 6285982 h 6858285"/>
              <a:gd name="connsiteX98" fmla="*/ 1509738 w 4011840"/>
              <a:gd name="connsiteY98" fmla="*/ 6305364 h 6858285"/>
              <a:gd name="connsiteX99" fmla="*/ 1492618 w 4011840"/>
              <a:gd name="connsiteY99" fmla="*/ 6358966 h 6858285"/>
              <a:gd name="connsiteX100" fmla="*/ 1154033 w 4011840"/>
              <a:gd name="connsiteY100" fmla="*/ 6529342 h 6858285"/>
              <a:gd name="connsiteX101" fmla="*/ 1100773 w 4011840"/>
              <a:gd name="connsiteY101" fmla="*/ 6512113 h 6858285"/>
              <a:gd name="connsiteX102" fmla="*/ 1096968 w 4011840"/>
              <a:gd name="connsiteY102" fmla="*/ 6494884 h 6858285"/>
              <a:gd name="connsiteX103" fmla="*/ 1117892 w 4011840"/>
              <a:gd name="connsiteY103" fmla="*/ 6458512 h 6858285"/>
              <a:gd name="connsiteX104" fmla="*/ 1456477 w 4011840"/>
              <a:gd name="connsiteY104" fmla="*/ 6288135 h 6858285"/>
              <a:gd name="connsiteX105" fmla="*/ 1486674 w 4011840"/>
              <a:gd name="connsiteY105" fmla="*/ 6285982 h 6858285"/>
              <a:gd name="connsiteX106" fmla="*/ 2038415 w 4011840"/>
              <a:gd name="connsiteY106" fmla="*/ 6273228 h 6858285"/>
              <a:gd name="connsiteX107" fmla="*/ 2062198 w 4011840"/>
              <a:gd name="connsiteY107" fmla="*/ 6292469 h 6858285"/>
              <a:gd name="connsiteX108" fmla="*/ 2045072 w 4011840"/>
              <a:gd name="connsiteY108" fmla="*/ 6345679 h 6858285"/>
              <a:gd name="connsiteX109" fmla="*/ 1706487 w 4011840"/>
              <a:gd name="connsiteY109" fmla="*/ 6516712 h 6858285"/>
              <a:gd name="connsiteX110" fmla="*/ 1653226 w 4011840"/>
              <a:gd name="connsiteY110" fmla="*/ 6499609 h 6858285"/>
              <a:gd name="connsiteX111" fmla="*/ 1649422 w 4011840"/>
              <a:gd name="connsiteY111" fmla="*/ 6482505 h 6858285"/>
              <a:gd name="connsiteX112" fmla="*/ 1670346 w 4011840"/>
              <a:gd name="connsiteY112" fmla="*/ 6446398 h 6858285"/>
              <a:gd name="connsiteX113" fmla="*/ 2008931 w 4011840"/>
              <a:gd name="connsiteY113" fmla="*/ 6275366 h 6858285"/>
              <a:gd name="connsiteX114" fmla="*/ 2038415 w 4011840"/>
              <a:gd name="connsiteY114" fmla="*/ 6273228 h 6858285"/>
              <a:gd name="connsiteX115" fmla="*/ 3729186 w 4011840"/>
              <a:gd name="connsiteY115" fmla="*/ 6260519 h 6858285"/>
              <a:gd name="connsiteX116" fmla="*/ 3751316 w 4011840"/>
              <a:gd name="connsiteY116" fmla="*/ 6279737 h 6858285"/>
              <a:gd name="connsiteX117" fmla="*/ 3736088 w 4011840"/>
              <a:gd name="connsiteY117" fmla="*/ 6330986 h 6858285"/>
              <a:gd name="connsiteX118" fmla="*/ 3397264 w 4011840"/>
              <a:gd name="connsiteY118" fmla="*/ 6505611 h 6858285"/>
              <a:gd name="connsiteX119" fmla="*/ 3345866 w 4011840"/>
              <a:gd name="connsiteY119" fmla="*/ 6488528 h 6858285"/>
              <a:gd name="connsiteX120" fmla="*/ 3340155 w 4011840"/>
              <a:gd name="connsiteY120" fmla="*/ 6469547 h 6858285"/>
              <a:gd name="connsiteX121" fmla="*/ 3361094 w 4011840"/>
              <a:gd name="connsiteY121" fmla="*/ 6435381 h 6858285"/>
              <a:gd name="connsiteX122" fmla="*/ 3699920 w 4011840"/>
              <a:gd name="connsiteY122" fmla="*/ 6262654 h 6858285"/>
              <a:gd name="connsiteX123" fmla="*/ 3729186 w 4011840"/>
              <a:gd name="connsiteY123" fmla="*/ 6260519 h 6858285"/>
              <a:gd name="connsiteX124" fmla="*/ 2595567 w 4011840"/>
              <a:gd name="connsiteY124" fmla="*/ 6260519 h 6858285"/>
              <a:gd name="connsiteX125" fmla="*/ 2617780 w 4011840"/>
              <a:gd name="connsiteY125" fmla="*/ 6279737 h 6858285"/>
              <a:gd name="connsiteX126" fmla="*/ 2600583 w 4011840"/>
              <a:gd name="connsiteY126" fmla="*/ 6330986 h 6858285"/>
              <a:gd name="connsiteX127" fmla="*/ 2262377 w 4011840"/>
              <a:gd name="connsiteY127" fmla="*/ 6505611 h 6858285"/>
              <a:gd name="connsiteX128" fmla="*/ 2210786 w 4011840"/>
              <a:gd name="connsiteY128" fmla="*/ 6488528 h 6858285"/>
              <a:gd name="connsiteX129" fmla="*/ 2205054 w 4011840"/>
              <a:gd name="connsiteY129" fmla="*/ 6469547 h 6858285"/>
              <a:gd name="connsiteX130" fmla="*/ 2226073 w 4011840"/>
              <a:gd name="connsiteY130" fmla="*/ 6435381 h 6858285"/>
              <a:gd name="connsiteX131" fmla="*/ 2566189 w 4011840"/>
              <a:gd name="connsiteY131" fmla="*/ 6262654 h 6858285"/>
              <a:gd name="connsiteX132" fmla="*/ 2595567 w 4011840"/>
              <a:gd name="connsiteY132" fmla="*/ 6260519 h 6858285"/>
              <a:gd name="connsiteX133" fmla="*/ 3155659 w 4011840"/>
              <a:gd name="connsiteY133" fmla="*/ 6245321 h 6858285"/>
              <a:gd name="connsiteX134" fmla="*/ 3177874 w 4011840"/>
              <a:gd name="connsiteY134" fmla="*/ 6263701 h 6858285"/>
              <a:gd name="connsiteX135" fmla="*/ 3162585 w 4011840"/>
              <a:gd name="connsiteY135" fmla="*/ 6317169 h 6858285"/>
              <a:gd name="connsiteX136" fmla="*/ 2822468 w 4011840"/>
              <a:gd name="connsiteY136" fmla="*/ 6492853 h 6858285"/>
              <a:gd name="connsiteX137" fmla="*/ 2770875 w 4011840"/>
              <a:gd name="connsiteY137" fmla="*/ 6477576 h 6858285"/>
              <a:gd name="connsiteX138" fmla="*/ 2767055 w 4011840"/>
              <a:gd name="connsiteY138" fmla="*/ 6458480 h 6858285"/>
              <a:gd name="connsiteX139" fmla="*/ 2788072 w 4011840"/>
              <a:gd name="connsiteY139" fmla="*/ 6426017 h 6858285"/>
              <a:gd name="connsiteX140" fmla="*/ 3126282 w 4011840"/>
              <a:gd name="connsiteY140" fmla="*/ 6248424 h 6858285"/>
              <a:gd name="connsiteX141" fmla="*/ 3155659 w 4011840"/>
              <a:gd name="connsiteY141" fmla="*/ 6245321 h 6858285"/>
              <a:gd name="connsiteX142" fmla="*/ 4011840 w 4011840"/>
              <a:gd name="connsiteY142" fmla="*/ 6076623 h 6858285"/>
              <a:gd name="connsiteX143" fmla="*/ 4011840 w 4011840"/>
              <a:gd name="connsiteY143" fmla="*/ 6165693 h 6858285"/>
              <a:gd name="connsiteX144" fmla="*/ 3959152 w 4011840"/>
              <a:gd name="connsiteY144" fmla="*/ 6191239 h 6858285"/>
              <a:gd name="connsiteX145" fmla="*/ 3905930 w 4011840"/>
              <a:gd name="connsiteY145" fmla="*/ 6172165 h 6858285"/>
              <a:gd name="connsiteX146" fmla="*/ 3902128 w 4011840"/>
              <a:gd name="connsiteY146" fmla="*/ 6154999 h 6858285"/>
              <a:gd name="connsiteX147" fmla="*/ 3924936 w 4011840"/>
              <a:gd name="connsiteY147" fmla="*/ 6118759 h 6858285"/>
              <a:gd name="connsiteX148" fmla="*/ 4007532 w 4011840"/>
              <a:gd name="connsiteY148" fmla="*/ 6078712 h 6858285"/>
              <a:gd name="connsiteX149" fmla="*/ 380904 w 4011840"/>
              <a:gd name="connsiteY149" fmla="*/ 5988309 h 6858285"/>
              <a:gd name="connsiteX150" fmla="*/ 419127 w 4011840"/>
              <a:gd name="connsiteY150" fmla="*/ 6010276 h 6858285"/>
              <a:gd name="connsiteX151" fmla="*/ 400120 w 4011840"/>
              <a:gd name="connsiteY151" fmla="*/ 6065521 h 6858285"/>
              <a:gd name="connsiteX152" fmla="*/ 63687 w 4011840"/>
              <a:gd name="connsiteY152" fmla="*/ 6229351 h 6858285"/>
              <a:gd name="connsiteX153" fmla="*/ 8565 w 4011840"/>
              <a:gd name="connsiteY153" fmla="*/ 6210301 h 6858285"/>
              <a:gd name="connsiteX154" fmla="*/ 4764 w 4011840"/>
              <a:gd name="connsiteY154" fmla="*/ 6193156 h 6858285"/>
              <a:gd name="connsiteX155" fmla="*/ 27573 w 4011840"/>
              <a:gd name="connsiteY155" fmla="*/ 6156961 h 6858285"/>
              <a:gd name="connsiteX156" fmla="*/ 365906 w 4011840"/>
              <a:gd name="connsiteY156" fmla="*/ 5993131 h 6858285"/>
              <a:gd name="connsiteX157" fmla="*/ 380904 w 4011840"/>
              <a:gd name="connsiteY157" fmla="*/ 5988309 h 6858285"/>
              <a:gd name="connsiteX158" fmla="*/ 940179 w 4011840"/>
              <a:gd name="connsiteY158" fmla="*/ 5978208 h 6858285"/>
              <a:gd name="connsiteX159" fmla="*/ 963295 w 4011840"/>
              <a:gd name="connsiteY159" fmla="*/ 5999163 h 6858285"/>
              <a:gd name="connsiteX160" fmla="*/ 944230 w 4011840"/>
              <a:gd name="connsiteY160" fmla="*/ 6052503 h 6858285"/>
              <a:gd name="connsiteX161" fmla="*/ 606791 w 4011840"/>
              <a:gd name="connsiteY161" fmla="*/ 6218238 h 6858285"/>
              <a:gd name="connsiteX162" fmla="*/ 551504 w 4011840"/>
              <a:gd name="connsiteY162" fmla="*/ 6199188 h 6858285"/>
              <a:gd name="connsiteX163" fmla="*/ 547691 w 4011840"/>
              <a:gd name="connsiteY163" fmla="*/ 6180138 h 6858285"/>
              <a:gd name="connsiteX164" fmla="*/ 570568 w 4011840"/>
              <a:gd name="connsiteY164" fmla="*/ 6143943 h 6858285"/>
              <a:gd name="connsiteX165" fmla="*/ 909915 w 4011840"/>
              <a:gd name="connsiteY165" fmla="*/ 5980113 h 6858285"/>
              <a:gd name="connsiteX166" fmla="*/ 940179 w 4011840"/>
              <a:gd name="connsiteY166" fmla="*/ 5978208 h 6858285"/>
              <a:gd name="connsiteX167" fmla="*/ 1487950 w 4011840"/>
              <a:gd name="connsiteY167" fmla="*/ 5966222 h 6858285"/>
              <a:gd name="connsiteX168" fmla="*/ 1511303 w 4011840"/>
              <a:gd name="connsiteY168" fmla="*/ 5986463 h 6858285"/>
              <a:gd name="connsiteX169" fmla="*/ 1492239 w 4011840"/>
              <a:gd name="connsiteY169" fmla="*/ 6041708 h 6858285"/>
              <a:gd name="connsiteX170" fmla="*/ 1152893 w 4011840"/>
              <a:gd name="connsiteY170" fmla="*/ 6205538 h 6858285"/>
              <a:gd name="connsiteX171" fmla="*/ 1097606 w 4011840"/>
              <a:gd name="connsiteY171" fmla="*/ 6186488 h 6858285"/>
              <a:gd name="connsiteX172" fmla="*/ 1093793 w 4011840"/>
              <a:gd name="connsiteY172" fmla="*/ 6169343 h 6858285"/>
              <a:gd name="connsiteX173" fmla="*/ 1116671 w 4011840"/>
              <a:gd name="connsiteY173" fmla="*/ 6131243 h 6858285"/>
              <a:gd name="connsiteX174" fmla="*/ 1456017 w 4011840"/>
              <a:gd name="connsiteY174" fmla="*/ 5967413 h 6858285"/>
              <a:gd name="connsiteX175" fmla="*/ 1487950 w 4011840"/>
              <a:gd name="connsiteY175" fmla="*/ 5966222 h 6858285"/>
              <a:gd name="connsiteX176" fmla="*/ 2039813 w 4011840"/>
              <a:gd name="connsiteY176" fmla="*/ 5952817 h 6858285"/>
              <a:gd name="connsiteX177" fmla="*/ 2063798 w 4011840"/>
              <a:gd name="connsiteY177" fmla="*/ 5973798 h 6858285"/>
              <a:gd name="connsiteX178" fmla="*/ 2044799 w 4011840"/>
              <a:gd name="connsiteY178" fmla="*/ 6027205 h 6858285"/>
              <a:gd name="connsiteX179" fmla="*/ 1706714 w 4011840"/>
              <a:gd name="connsiteY179" fmla="*/ 6191239 h 6858285"/>
              <a:gd name="connsiteX180" fmla="*/ 1651633 w 4011840"/>
              <a:gd name="connsiteY180" fmla="*/ 6172165 h 6858285"/>
              <a:gd name="connsiteX181" fmla="*/ 1647834 w 4011840"/>
              <a:gd name="connsiteY181" fmla="*/ 6154999 h 6858285"/>
              <a:gd name="connsiteX182" fmla="*/ 1670626 w 4011840"/>
              <a:gd name="connsiteY182" fmla="*/ 6118759 h 6858285"/>
              <a:gd name="connsiteX183" fmla="*/ 2008712 w 4011840"/>
              <a:gd name="connsiteY183" fmla="*/ 5954725 h 6858285"/>
              <a:gd name="connsiteX184" fmla="*/ 2039813 w 4011840"/>
              <a:gd name="connsiteY184" fmla="*/ 5952817 h 6858285"/>
              <a:gd name="connsiteX185" fmla="*/ 3730408 w 4011840"/>
              <a:gd name="connsiteY185" fmla="*/ 5940108 h 6858285"/>
              <a:gd name="connsiteX186" fmla="*/ 3754476 w 4011840"/>
              <a:gd name="connsiteY186" fmla="*/ 5961063 h 6858285"/>
              <a:gd name="connsiteX187" fmla="*/ 3735412 w 4011840"/>
              <a:gd name="connsiteY187" fmla="*/ 6016308 h 6858285"/>
              <a:gd name="connsiteX188" fmla="*/ 3396080 w 4011840"/>
              <a:gd name="connsiteY188" fmla="*/ 6180138 h 6858285"/>
              <a:gd name="connsiteX189" fmla="*/ 3340791 w 4011840"/>
              <a:gd name="connsiteY189" fmla="*/ 6161088 h 6858285"/>
              <a:gd name="connsiteX190" fmla="*/ 3336980 w 4011840"/>
              <a:gd name="connsiteY190" fmla="*/ 6142038 h 6858285"/>
              <a:gd name="connsiteX191" fmla="*/ 3359854 w 4011840"/>
              <a:gd name="connsiteY191" fmla="*/ 6105843 h 6858285"/>
              <a:gd name="connsiteX192" fmla="*/ 3699190 w 4011840"/>
              <a:gd name="connsiteY192" fmla="*/ 5942013 h 6858285"/>
              <a:gd name="connsiteX193" fmla="*/ 3730408 w 4011840"/>
              <a:gd name="connsiteY193" fmla="*/ 5940108 h 6858285"/>
              <a:gd name="connsiteX194" fmla="*/ 2596907 w 4011840"/>
              <a:gd name="connsiteY194" fmla="*/ 5940108 h 6858285"/>
              <a:gd name="connsiteX195" fmla="*/ 2620976 w 4011840"/>
              <a:gd name="connsiteY195" fmla="*/ 5961063 h 6858285"/>
              <a:gd name="connsiteX196" fmla="*/ 2601911 w 4011840"/>
              <a:gd name="connsiteY196" fmla="*/ 6016308 h 6858285"/>
              <a:gd name="connsiteX197" fmla="*/ 2262565 w 4011840"/>
              <a:gd name="connsiteY197" fmla="*/ 6180138 h 6858285"/>
              <a:gd name="connsiteX198" fmla="*/ 2207278 w 4011840"/>
              <a:gd name="connsiteY198" fmla="*/ 6161088 h 6858285"/>
              <a:gd name="connsiteX199" fmla="*/ 2203466 w 4011840"/>
              <a:gd name="connsiteY199" fmla="*/ 6142038 h 6858285"/>
              <a:gd name="connsiteX200" fmla="*/ 2226343 w 4011840"/>
              <a:gd name="connsiteY200" fmla="*/ 6105843 h 6858285"/>
              <a:gd name="connsiteX201" fmla="*/ 2565688 w 4011840"/>
              <a:gd name="connsiteY201" fmla="*/ 5942013 h 6858285"/>
              <a:gd name="connsiteX202" fmla="*/ 2596907 w 4011840"/>
              <a:gd name="connsiteY202" fmla="*/ 5940108 h 6858285"/>
              <a:gd name="connsiteX203" fmla="*/ 3158038 w 4011840"/>
              <a:gd name="connsiteY203" fmla="*/ 5928122 h 6858285"/>
              <a:gd name="connsiteX204" fmla="*/ 3181392 w 4011840"/>
              <a:gd name="connsiteY204" fmla="*/ 5948363 h 6858285"/>
              <a:gd name="connsiteX205" fmla="*/ 3162325 w 4011840"/>
              <a:gd name="connsiteY205" fmla="*/ 6003608 h 6858285"/>
              <a:gd name="connsiteX206" fmla="*/ 2822979 w 4011840"/>
              <a:gd name="connsiteY206" fmla="*/ 6167438 h 6858285"/>
              <a:gd name="connsiteX207" fmla="*/ 2769598 w 4011840"/>
              <a:gd name="connsiteY207" fmla="*/ 6148388 h 6858285"/>
              <a:gd name="connsiteX208" fmla="*/ 2763878 w 4011840"/>
              <a:gd name="connsiteY208" fmla="*/ 6131243 h 6858285"/>
              <a:gd name="connsiteX209" fmla="*/ 2788667 w 4011840"/>
              <a:gd name="connsiteY209" fmla="*/ 6093143 h 6858285"/>
              <a:gd name="connsiteX210" fmla="*/ 3126105 w 4011840"/>
              <a:gd name="connsiteY210" fmla="*/ 5929313 h 6858285"/>
              <a:gd name="connsiteX211" fmla="*/ 3158038 w 4011840"/>
              <a:gd name="connsiteY211" fmla="*/ 5928122 h 6858285"/>
              <a:gd name="connsiteX212" fmla="*/ 4011840 w 4011840"/>
              <a:gd name="connsiteY212" fmla="*/ 5749863 h 6858285"/>
              <a:gd name="connsiteX213" fmla="*/ 4011840 w 4011840"/>
              <a:gd name="connsiteY213" fmla="*/ 5842922 h 6858285"/>
              <a:gd name="connsiteX214" fmla="*/ 3958228 w 4011840"/>
              <a:gd name="connsiteY214" fmla="*/ 5867437 h 6858285"/>
              <a:gd name="connsiteX215" fmla="*/ 3902776 w 4011840"/>
              <a:gd name="connsiteY215" fmla="*/ 5846560 h 6858285"/>
              <a:gd name="connsiteX216" fmla="*/ 3898954 w 4011840"/>
              <a:gd name="connsiteY216" fmla="*/ 5829480 h 6858285"/>
              <a:gd name="connsiteX217" fmla="*/ 3923810 w 4011840"/>
              <a:gd name="connsiteY217" fmla="*/ 5789625 h 6858285"/>
              <a:gd name="connsiteX218" fmla="*/ 4006898 w 4011840"/>
              <a:gd name="connsiteY218" fmla="*/ 5752095 h 6858285"/>
              <a:gd name="connsiteX219" fmla="*/ 397251 w 4011840"/>
              <a:gd name="connsiteY219" fmla="*/ 5667772 h 6858285"/>
              <a:gd name="connsiteX220" fmla="*/ 420367 w 4011840"/>
              <a:gd name="connsiteY220" fmla="*/ 5688013 h 6858285"/>
              <a:gd name="connsiteX221" fmla="*/ 401303 w 4011840"/>
              <a:gd name="connsiteY221" fmla="*/ 5743258 h 6858285"/>
              <a:gd name="connsiteX222" fmla="*/ 63863 w 4011840"/>
              <a:gd name="connsiteY222" fmla="*/ 5907088 h 6858285"/>
              <a:gd name="connsiteX223" fmla="*/ 8576 w 4011840"/>
              <a:gd name="connsiteY223" fmla="*/ 5888038 h 6858285"/>
              <a:gd name="connsiteX224" fmla="*/ 4764 w 4011840"/>
              <a:gd name="connsiteY224" fmla="*/ 5868988 h 6858285"/>
              <a:gd name="connsiteX225" fmla="*/ 27641 w 4011840"/>
              <a:gd name="connsiteY225" fmla="*/ 5832793 h 6858285"/>
              <a:gd name="connsiteX226" fmla="*/ 366987 w 4011840"/>
              <a:gd name="connsiteY226" fmla="*/ 5668963 h 6858285"/>
              <a:gd name="connsiteX227" fmla="*/ 397251 w 4011840"/>
              <a:gd name="connsiteY227" fmla="*/ 5667772 h 6858285"/>
              <a:gd name="connsiteX228" fmla="*/ 941847 w 4011840"/>
              <a:gd name="connsiteY228" fmla="*/ 5656671 h 6858285"/>
              <a:gd name="connsiteX229" fmla="*/ 965201 w 4011840"/>
              <a:gd name="connsiteY229" fmla="*/ 5676936 h 6858285"/>
              <a:gd name="connsiteX230" fmla="*/ 946137 w 4011840"/>
              <a:gd name="connsiteY230" fmla="*/ 5732250 h 6858285"/>
              <a:gd name="connsiteX231" fmla="*/ 606791 w 4011840"/>
              <a:gd name="connsiteY231" fmla="*/ 5894377 h 6858285"/>
              <a:gd name="connsiteX232" fmla="*/ 551504 w 4011840"/>
              <a:gd name="connsiteY232" fmla="*/ 5873396 h 6858285"/>
              <a:gd name="connsiteX233" fmla="*/ 547691 w 4011840"/>
              <a:gd name="connsiteY233" fmla="*/ 5856229 h 6858285"/>
              <a:gd name="connsiteX234" fmla="*/ 570568 w 4011840"/>
              <a:gd name="connsiteY234" fmla="*/ 5818082 h 6858285"/>
              <a:gd name="connsiteX235" fmla="*/ 909914 w 4011840"/>
              <a:gd name="connsiteY235" fmla="*/ 5657863 h 6858285"/>
              <a:gd name="connsiteX236" fmla="*/ 941847 w 4011840"/>
              <a:gd name="connsiteY236" fmla="*/ 5656671 h 6858285"/>
              <a:gd name="connsiteX237" fmla="*/ 1487895 w 4011840"/>
              <a:gd name="connsiteY237" fmla="*/ 5644852 h 6858285"/>
              <a:gd name="connsiteX238" fmla="*/ 1512898 w 4011840"/>
              <a:gd name="connsiteY238" fmla="*/ 5665859 h 6858285"/>
              <a:gd name="connsiteX239" fmla="*/ 1491943 w 4011840"/>
              <a:gd name="connsiteY239" fmla="*/ 5723153 h 6858285"/>
              <a:gd name="connsiteX240" fmla="*/ 1152849 w 4011840"/>
              <a:gd name="connsiteY240" fmla="*/ 5881664 h 6858285"/>
              <a:gd name="connsiteX241" fmla="*/ 1097603 w 4011840"/>
              <a:gd name="connsiteY241" fmla="*/ 5860656 h 6858285"/>
              <a:gd name="connsiteX242" fmla="*/ 1093793 w 4011840"/>
              <a:gd name="connsiteY242" fmla="*/ 5843468 h 6858285"/>
              <a:gd name="connsiteX243" fmla="*/ 1116653 w 4011840"/>
              <a:gd name="connsiteY243" fmla="*/ 5805273 h 6858285"/>
              <a:gd name="connsiteX244" fmla="*/ 1455747 w 4011840"/>
              <a:gd name="connsiteY244" fmla="*/ 5646762 h 6858285"/>
              <a:gd name="connsiteX245" fmla="*/ 1487895 w 4011840"/>
              <a:gd name="connsiteY245" fmla="*/ 5644852 h 6858285"/>
              <a:gd name="connsiteX246" fmla="*/ 2025802 w 4011840"/>
              <a:gd name="connsiteY246" fmla="*/ 5631125 h 6858285"/>
              <a:gd name="connsiteX247" fmla="*/ 2066916 w 4011840"/>
              <a:gd name="connsiteY247" fmla="*/ 5654878 h 6858285"/>
              <a:gd name="connsiteX248" fmla="*/ 2045894 w 4011840"/>
              <a:gd name="connsiteY248" fmla="*/ 5711813 h 6858285"/>
              <a:gd name="connsiteX249" fmla="*/ 1705799 w 4011840"/>
              <a:gd name="connsiteY249" fmla="*/ 5867437 h 6858285"/>
              <a:gd name="connsiteX250" fmla="*/ 1648480 w 4011840"/>
              <a:gd name="connsiteY250" fmla="*/ 5846560 h 6858285"/>
              <a:gd name="connsiteX251" fmla="*/ 1644659 w 4011840"/>
              <a:gd name="connsiteY251" fmla="*/ 5829480 h 6858285"/>
              <a:gd name="connsiteX252" fmla="*/ 1669497 w 4011840"/>
              <a:gd name="connsiteY252" fmla="*/ 5789625 h 6858285"/>
              <a:gd name="connsiteX253" fmla="*/ 2009592 w 4011840"/>
              <a:gd name="connsiteY253" fmla="*/ 5635900 h 6858285"/>
              <a:gd name="connsiteX254" fmla="*/ 2025802 w 4011840"/>
              <a:gd name="connsiteY254" fmla="*/ 5631125 h 6858285"/>
              <a:gd name="connsiteX255" fmla="*/ 3732520 w 4011840"/>
              <a:gd name="connsiteY255" fmla="*/ 5620418 h 6858285"/>
              <a:gd name="connsiteX256" fmla="*/ 3756078 w 4011840"/>
              <a:gd name="connsiteY256" fmla="*/ 5642408 h 6858285"/>
              <a:gd name="connsiteX257" fmla="*/ 3735138 w 4011840"/>
              <a:gd name="connsiteY257" fmla="*/ 5699775 h 6858285"/>
              <a:gd name="connsiteX258" fmla="*/ 3396308 w 4011840"/>
              <a:gd name="connsiteY258" fmla="*/ 5854665 h 6858285"/>
              <a:gd name="connsiteX259" fmla="*/ 3339199 w 4011840"/>
              <a:gd name="connsiteY259" fmla="*/ 5833630 h 6858285"/>
              <a:gd name="connsiteX260" fmla="*/ 3335390 w 4011840"/>
              <a:gd name="connsiteY260" fmla="*/ 5814508 h 6858285"/>
              <a:gd name="connsiteX261" fmla="*/ 3360135 w 4011840"/>
              <a:gd name="connsiteY261" fmla="*/ 5776264 h 6858285"/>
              <a:gd name="connsiteX262" fmla="*/ 3698968 w 4011840"/>
              <a:gd name="connsiteY262" fmla="*/ 5621374 h 6858285"/>
              <a:gd name="connsiteX263" fmla="*/ 3732520 w 4011840"/>
              <a:gd name="connsiteY263" fmla="*/ 5620418 h 6858285"/>
              <a:gd name="connsiteX264" fmla="*/ 2598306 w 4011840"/>
              <a:gd name="connsiteY264" fmla="*/ 5620418 h 6858285"/>
              <a:gd name="connsiteX265" fmla="*/ 2622577 w 4011840"/>
              <a:gd name="connsiteY265" fmla="*/ 5642408 h 6858285"/>
              <a:gd name="connsiteX266" fmla="*/ 2601638 w 4011840"/>
              <a:gd name="connsiteY266" fmla="*/ 5699775 h 6858285"/>
              <a:gd name="connsiteX267" fmla="*/ 2262794 w 4011840"/>
              <a:gd name="connsiteY267" fmla="*/ 5854665 h 6858285"/>
              <a:gd name="connsiteX268" fmla="*/ 2205686 w 4011840"/>
              <a:gd name="connsiteY268" fmla="*/ 5833630 h 6858285"/>
              <a:gd name="connsiteX269" fmla="*/ 2201879 w 4011840"/>
              <a:gd name="connsiteY269" fmla="*/ 5814508 h 6858285"/>
              <a:gd name="connsiteX270" fmla="*/ 2226626 w 4011840"/>
              <a:gd name="connsiteY270" fmla="*/ 5776264 h 6858285"/>
              <a:gd name="connsiteX271" fmla="*/ 2565468 w 4011840"/>
              <a:gd name="connsiteY271" fmla="*/ 5621374 h 6858285"/>
              <a:gd name="connsiteX272" fmla="*/ 2598306 w 4011840"/>
              <a:gd name="connsiteY272" fmla="*/ 5620418 h 6858285"/>
              <a:gd name="connsiteX273" fmla="*/ 3160334 w 4011840"/>
              <a:gd name="connsiteY273" fmla="*/ 5609262 h 6858285"/>
              <a:gd name="connsiteX274" fmla="*/ 3184589 w 4011840"/>
              <a:gd name="connsiteY274" fmla="*/ 5631142 h 6858285"/>
              <a:gd name="connsiteX275" fmla="*/ 3161758 w 4011840"/>
              <a:gd name="connsiteY275" fmla="*/ 5688219 h 6858285"/>
              <a:gd name="connsiteX276" fmla="*/ 2823162 w 4011840"/>
              <a:gd name="connsiteY276" fmla="*/ 5840426 h 6858285"/>
              <a:gd name="connsiteX277" fmla="*/ 2766094 w 4011840"/>
              <a:gd name="connsiteY277" fmla="*/ 5817595 h 6858285"/>
              <a:gd name="connsiteX278" fmla="*/ 2762292 w 4011840"/>
              <a:gd name="connsiteY278" fmla="*/ 5800472 h 6858285"/>
              <a:gd name="connsiteX279" fmla="*/ 2787018 w 4011840"/>
              <a:gd name="connsiteY279" fmla="*/ 5760517 h 6858285"/>
              <a:gd name="connsiteX280" fmla="*/ 3127521 w 4011840"/>
              <a:gd name="connsiteY280" fmla="*/ 5610214 h 6858285"/>
              <a:gd name="connsiteX281" fmla="*/ 3160334 w 4011840"/>
              <a:gd name="connsiteY281" fmla="*/ 5609262 h 6858285"/>
              <a:gd name="connsiteX282" fmla="*/ 4011840 w 4011840"/>
              <a:gd name="connsiteY282" fmla="*/ 5423585 h 6858285"/>
              <a:gd name="connsiteX283" fmla="*/ 4011840 w 4011840"/>
              <a:gd name="connsiteY283" fmla="*/ 5518922 h 6858285"/>
              <a:gd name="connsiteX284" fmla="*/ 3958460 w 4011840"/>
              <a:gd name="connsiteY284" fmla="*/ 5541963 h 6858285"/>
              <a:gd name="connsiteX285" fmla="*/ 3901184 w 4011840"/>
              <a:gd name="connsiteY285" fmla="*/ 5519103 h 6858285"/>
              <a:gd name="connsiteX286" fmla="*/ 3897364 w 4011840"/>
              <a:gd name="connsiteY286" fmla="*/ 5501958 h 6858285"/>
              <a:gd name="connsiteX287" fmla="*/ 3924092 w 4011840"/>
              <a:gd name="connsiteY287" fmla="*/ 5461953 h 6858285"/>
              <a:gd name="connsiteX288" fmla="*/ 4007056 w 4011840"/>
              <a:gd name="connsiteY288" fmla="*/ 5425676 h 6858285"/>
              <a:gd name="connsiteX289" fmla="*/ 398204 w 4011840"/>
              <a:gd name="connsiteY289" fmla="*/ 5347056 h 6858285"/>
              <a:gd name="connsiteX290" fmla="*/ 422273 w 4011840"/>
              <a:gd name="connsiteY290" fmla="*/ 5367196 h 6858285"/>
              <a:gd name="connsiteX291" fmla="*/ 401302 w 4011840"/>
              <a:gd name="connsiteY291" fmla="*/ 5422166 h 6858285"/>
              <a:gd name="connsiteX292" fmla="*/ 63863 w 4011840"/>
              <a:gd name="connsiteY292" fmla="*/ 5583285 h 6858285"/>
              <a:gd name="connsiteX293" fmla="*/ 8576 w 4011840"/>
              <a:gd name="connsiteY293" fmla="*/ 5564330 h 6858285"/>
              <a:gd name="connsiteX294" fmla="*/ 4763 w 4011840"/>
              <a:gd name="connsiteY294" fmla="*/ 5547270 h 6858285"/>
              <a:gd name="connsiteX295" fmla="*/ 27641 w 4011840"/>
              <a:gd name="connsiteY295" fmla="*/ 5509360 h 6858285"/>
              <a:gd name="connsiteX296" fmla="*/ 366986 w 4011840"/>
              <a:gd name="connsiteY296" fmla="*/ 5348240 h 6858285"/>
              <a:gd name="connsiteX297" fmla="*/ 398204 w 4011840"/>
              <a:gd name="connsiteY297" fmla="*/ 5347056 h 6858285"/>
              <a:gd name="connsiteX298" fmla="*/ 941871 w 4011840"/>
              <a:gd name="connsiteY298" fmla="*/ 5334657 h 6858285"/>
              <a:gd name="connsiteX299" fmla="*/ 965208 w 4011840"/>
              <a:gd name="connsiteY299" fmla="*/ 5356619 h 6858285"/>
              <a:gd name="connsiteX300" fmla="*/ 946158 w 4011840"/>
              <a:gd name="connsiteY300" fmla="*/ 5412003 h 6858285"/>
              <a:gd name="connsiteX301" fmla="*/ 605159 w 4011840"/>
              <a:gd name="connsiteY301" fmla="*/ 5570514 h 6858285"/>
              <a:gd name="connsiteX302" fmla="*/ 549913 w 4011840"/>
              <a:gd name="connsiteY302" fmla="*/ 5549506 h 6858285"/>
              <a:gd name="connsiteX303" fmla="*/ 546103 w 4011840"/>
              <a:gd name="connsiteY303" fmla="*/ 5532318 h 6858285"/>
              <a:gd name="connsiteX304" fmla="*/ 570868 w 4011840"/>
              <a:gd name="connsiteY304" fmla="*/ 5494123 h 6858285"/>
              <a:gd name="connsiteX305" fmla="*/ 909962 w 4011840"/>
              <a:gd name="connsiteY305" fmla="*/ 5335612 h 6858285"/>
              <a:gd name="connsiteX306" fmla="*/ 941871 w 4011840"/>
              <a:gd name="connsiteY306" fmla="*/ 5334657 h 6858285"/>
              <a:gd name="connsiteX307" fmla="*/ 1489585 w 4011840"/>
              <a:gd name="connsiteY307" fmla="*/ 5323794 h 6858285"/>
              <a:gd name="connsiteX308" fmla="*/ 1512904 w 4011840"/>
              <a:gd name="connsiteY308" fmla="*/ 5347457 h 6858285"/>
              <a:gd name="connsiteX309" fmla="*/ 1491964 w 4011840"/>
              <a:gd name="connsiteY309" fmla="*/ 5402912 h 6858285"/>
              <a:gd name="connsiteX310" fmla="*/ 1153121 w 4011840"/>
              <a:gd name="connsiteY310" fmla="*/ 5555889 h 6858285"/>
              <a:gd name="connsiteX311" fmla="*/ 1096012 w 4011840"/>
              <a:gd name="connsiteY311" fmla="*/ 5534855 h 6858285"/>
              <a:gd name="connsiteX312" fmla="*/ 1092205 w 4011840"/>
              <a:gd name="connsiteY312" fmla="*/ 5517645 h 6858285"/>
              <a:gd name="connsiteX313" fmla="*/ 1116952 w 4011840"/>
              <a:gd name="connsiteY313" fmla="*/ 5477488 h 6858285"/>
              <a:gd name="connsiteX314" fmla="*/ 1457699 w 4011840"/>
              <a:gd name="connsiteY314" fmla="*/ 5324511 h 6858285"/>
              <a:gd name="connsiteX315" fmla="*/ 1489585 w 4011840"/>
              <a:gd name="connsiteY315" fmla="*/ 5323794 h 6858285"/>
              <a:gd name="connsiteX316" fmla="*/ 2026929 w 4011840"/>
              <a:gd name="connsiteY316" fmla="*/ 5309969 h 6858285"/>
              <a:gd name="connsiteX317" fmla="*/ 2068518 w 4011840"/>
              <a:gd name="connsiteY317" fmla="*/ 5336223 h 6858285"/>
              <a:gd name="connsiteX318" fmla="*/ 2045619 w 4011840"/>
              <a:gd name="connsiteY318" fmla="*/ 5395278 h 6858285"/>
              <a:gd name="connsiteX319" fmla="*/ 1704121 w 4011840"/>
              <a:gd name="connsiteY319" fmla="*/ 5541963 h 6858285"/>
              <a:gd name="connsiteX320" fmla="*/ 1646887 w 4011840"/>
              <a:gd name="connsiteY320" fmla="*/ 5519103 h 6858285"/>
              <a:gd name="connsiteX321" fmla="*/ 1643071 w 4011840"/>
              <a:gd name="connsiteY321" fmla="*/ 5501958 h 6858285"/>
              <a:gd name="connsiteX322" fmla="*/ 1669781 w 4011840"/>
              <a:gd name="connsiteY322" fmla="*/ 5461953 h 6858285"/>
              <a:gd name="connsiteX323" fmla="*/ 2009371 w 4011840"/>
              <a:gd name="connsiteY323" fmla="*/ 5313363 h 6858285"/>
              <a:gd name="connsiteX324" fmla="*/ 2026929 w 4011840"/>
              <a:gd name="connsiteY324" fmla="*/ 5309969 h 6858285"/>
              <a:gd name="connsiteX325" fmla="*/ 3719258 w 4011840"/>
              <a:gd name="connsiteY325" fmla="*/ 5298894 h 6858285"/>
              <a:gd name="connsiteX326" fmla="*/ 3759236 w 4011840"/>
              <a:gd name="connsiteY326" fmla="*/ 5327059 h 6858285"/>
              <a:gd name="connsiteX327" fmla="*/ 3736336 w 4011840"/>
              <a:gd name="connsiteY327" fmla="*/ 5386191 h 6858285"/>
              <a:gd name="connsiteX328" fmla="*/ 3394855 w 4011840"/>
              <a:gd name="connsiteY328" fmla="*/ 5529250 h 6858285"/>
              <a:gd name="connsiteX329" fmla="*/ 3337618 w 4011840"/>
              <a:gd name="connsiteY329" fmla="*/ 5504453 h 6858285"/>
              <a:gd name="connsiteX330" fmla="*/ 3333804 w 4011840"/>
              <a:gd name="connsiteY330" fmla="*/ 5487286 h 6858285"/>
              <a:gd name="connsiteX331" fmla="*/ 3360513 w 4011840"/>
              <a:gd name="connsiteY331" fmla="*/ 5447229 h 6858285"/>
              <a:gd name="connsiteX332" fmla="*/ 3701998 w 4011840"/>
              <a:gd name="connsiteY332" fmla="*/ 5302262 h 6858285"/>
              <a:gd name="connsiteX333" fmla="*/ 3719258 w 4011840"/>
              <a:gd name="connsiteY333" fmla="*/ 5298894 h 6858285"/>
              <a:gd name="connsiteX334" fmla="*/ 2583547 w 4011840"/>
              <a:gd name="connsiteY334" fmla="*/ 5298894 h 6858285"/>
              <a:gd name="connsiteX335" fmla="*/ 2624178 w 4011840"/>
              <a:gd name="connsiteY335" fmla="*/ 5327059 h 6858285"/>
              <a:gd name="connsiteX336" fmla="*/ 2601368 w 4011840"/>
              <a:gd name="connsiteY336" fmla="*/ 5386191 h 6858285"/>
              <a:gd name="connsiteX337" fmla="*/ 2261117 w 4011840"/>
              <a:gd name="connsiteY337" fmla="*/ 5529250 h 6858285"/>
              <a:gd name="connsiteX338" fmla="*/ 2204092 w 4011840"/>
              <a:gd name="connsiteY338" fmla="*/ 5504453 h 6858285"/>
              <a:gd name="connsiteX339" fmla="*/ 2200290 w 4011840"/>
              <a:gd name="connsiteY339" fmla="*/ 5487286 h 6858285"/>
              <a:gd name="connsiteX340" fmla="*/ 2226902 w 4011840"/>
              <a:gd name="connsiteY340" fmla="*/ 5447229 h 6858285"/>
              <a:gd name="connsiteX341" fmla="*/ 2567153 w 4011840"/>
              <a:gd name="connsiteY341" fmla="*/ 5302262 h 6858285"/>
              <a:gd name="connsiteX342" fmla="*/ 2583547 w 4011840"/>
              <a:gd name="connsiteY342" fmla="*/ 5298894 h 6858285"/>
              <a:gd name="connsiteX343" fmla="*/ 3161733 w 4011840"/>
              <a:gd name="connsiteY343" fmla="*/ 5292225 h 6858285"/>
              <a:gd name="connsiteX344" fmla="*/ 3186188 w 4011840"/>
              <a:gd name="connsiteY344" fmla="*/ 5317400 h 6858285"/>
              <a:gd name="connsiteX345" fmla="*/ 3161495 w 4011840"/>
              <a:gd name="connsiteY345" fmla="*/ 5376300 h 6858285"/>
              <a:gd name="connsiteX346" fmla="*/ 2821486 w 4011840"/>
              <a:gd name="connsiteY346" fmla="*/ 5515000 h 6858285"/>
              <a:gd name="connsiteX347" fmla="*/ 2762604 w 4011840"/>
              <a:gd name="connsiteY347" fmla="*/ 5488400 h 6858285"/>
              <a:gd name="connsiteX348" fmla="*/ 2760705 w 4011840"/>
              <a:gd name="connsiteY348" fmla="*/ 5471300 h 6858285"/>
              <a:gd name="connsiteX349" fmla="*/ 2787298 w 4011840"/>
              <a:gd name="connsiteY349" fmla="*/ 5429500 h 6858285"/>
              <a:gd name="connsiteX350" fmla="*/ 3127305 w 4011840"/>
              <a:gd name="connsiteY350" fmla="*/ 5292700 h 6858285"/>
              <a:gd name="connsiteX351" fmla="*/ 3161733 w 4011840"/>
              <a:gd name="connsiteY351" fmla="*/ 5292225 h 6858285"/>
              <a:gd name="connsiteX352" fmla="*/ 4011840 w 4011840"/>
              <a:gd name="connsiteY352" fmla="*/ 5097617 h 6858285"/>
              <a:gd name="connsiteX353" fmla="*/ 4011840 w 4011840"/>
              <a:gd name="connsiteY353" fmla="*/ 5195949 h 6858285"/>
              <a:gd name="connsiteX354" fmla="*/ 3958692 w 4011840"/>
              <a:gd name="connsiteY354" fmla="*/ 5218087 h 6858285"/>
              <a:gd name="connsiteX355" fmla="*/ 3899590 w 4011840"/>
              <a:gd name="connsiteY355" fmla="*/ 5193257 h 6858285"/>
              <a:gd name="connsiteX356" fmla="*/ 3895780 w 4011840"/>
              <a:gd name="connsiteY356" fmla="*/ 5176068 h 6858285"/>
              <a:gd name="connsiteX357" fmla="*/ 3924374 w 4011840"/>
              <a:gd name="connsiteY357" fmla="*/ 5134049 h 6858285"/>
              <a:gd name="connsiteX358" fmla="*/ 4007216 w 4011840"/>
              <a:gd name="connsiteY358" fmla="*/ 5099543 h 6858285"/>
              <a:gd name="connsiteX359" fmla="*/ 398945 w 4011840"/>
              <a:gd name="connsiteY359" fmla="*/ 5024845 h 6858285"/>
              <a:gd name="connsiteX360" fmla="*/ 422281 w 4011840"/>
              <a:gd name="connsiteY360" fmla="*/ 5045110 h 6858285"/>
              <a:gd name="connsiteX361" fmla="*/ 401326 w 4011840"/>
              <a:gd name="connsiteY361" fmla="*/ 5100424 h 6858285"/>
              <a:gd name="connsiteX362" fmla="*/ 62232 w 4011840"/>
              <a:gd name="connsiteY362" fmla="*/ 5262551 h 6858285"/>
              <a:gd name="connsiteX363" fmla="*/ 8891 w 4011840"/>
              <a:gd name="connsiteY363" fmla="*/ 5241570 h 6858285"/>
              <a:gd name="connsiteX364" fmla="*/ 3176 w 4011840"/>
              <a:gd name="connsiteY364" fmla="*/ 5224403 h 6858285"/>
              <a:gd name="connsiteX365" fmla="*/ 27941 w 4011840"/>
              <a:gd name="connsiteY365" fmla="*/ 5186256 h 6858285"/>
              <a:gd name="connsiteX366" fmla="*/ 367036 w 4011840"/>
              <a:gd name="connsiteY366" fmla="*/ 5026037 h 6858285"/>
              <a:gd name="connsiteX367" fmla="*/ 398945 w 4011840"/>
              <a:gd name="connsiteY367" fmla="*/ 5024845 h 6858285"/>
              <a:gd name="connsiteX368" fmla="*/ 942531 w 4011840"/>
              <a:gd name="connsiteY368" fmla="*/ 5014175 h 6858285"/>
              <a:gd name="connsiteX369" fmla="*/ 966802 w 4011840"/>
              <a:gd name="connsiteY369" fmla="*/ 5037690 h 6858285"/>
              <a:gd name="connsiteX370" fmla="*/ 945862 w 4011840"/>
              <a:gd name="connsiteY370" fmla="*/ 5092795 h 6858285"/>
              <a:gd name="connsiteX371" fmla="*/ 605115 w 4011840"/>
              <a:gd name="connsiteY371" fmla="*/ 5246711 h 6858285"/>
              <a:gd name="connsiteX372" fmla="*/ 549910 w 4011840"/>
              <a:gd name="connsiteY372" fmla="*/ 5225809 h 6858285"/>
              <a:gd name="connsiteX373" fmla="*/ 546103 w 4011840"/>
              <a:gd name="connsiteY373" fmla="*/ 5208707 h 6858285"/>
              <a:gd name="connsiteX374" fmla="*/ 570850 w 4011840"/>
              <a:gd name="connsiteY374" fmla="*/ 5168803 h 6858285"/>
              <a:gd name="connsiteX375" fmla="*/ 909693 w 4011840"/>
              <a:gd name="connsiteY375" fmla="*/ 5014888 h 6858285"/>
              <a:gd name="connsiteX376" fmla="*/ 942531 w 4011840"/>
              <a:gd name="connsiteY376" fmla="*/ 5014175 h 6858285"/>
              <a:gd name="connsiteX377" fmla="*/ 1491734 w 4011840"/>
              <a:gd name="connsiteY377" fmla="*/ 5004627 h 6858285"/>
              <a:gd name="connsiteX378" fmla="*/ 1516059 w 4011840"/>
              <a:gd name="connsiteY378" fmla="*/ 5028079 h 6858285"/>
              <a:gd name="connsiteX379" fmla="*/ 1493165 w 4011840"/>
              <a:gd name="connsiteY379" fmla="*/ 5084934 h 6858285"/>
              <a:gd name="connsiteX380" fmla="*/ 1153575 w 4011840"/>
              <a:gd name="connsiteY380" fmla="*/ 5230861 h 6858285"/>
              <a:gd name="connsiteX381" fmla="*/ 1094433 w 4011840"/>
              <a:gd name="connsiteY381" fmla="*/ 5208119 h 6858285"/>
              <a:gd name="connsiteX382" fmla="*/ 1090618 w 4011840"/>
              <a:gd name="connsiteY382" fmla="*/ 5191063 h 6858285"/>
              <a:gd name="connsiteX383" fmla="*/ 1117327 w 4011840"/>
              <a:gd name="connsiteY383" fmla="*/ 5151264 h 6858285"/>
              <a:gd name="connsiteX384" fmla="*/ 1458825 w 4011840"/>
              <a:gd name="connsiteY384" fmla="*/ 5005338 h 6858285"/>
              <a:gd name="connsiteX385" fmla="*/ 1491734 w 4011840"/>
              <a:gd name="connsiteY385" fmla="*/ 5004627 h 6858285"/>
              <a:gd name="connsiteX386" fmla="*/ 2028590 w 4011840"/>
              <a:gd name="connsiteY386" fmla="*/ 4989339 h 6858285"/>
              <a:gd name="connsiteX387" fmla="*/ 2070119 w 4011840"/>
              <a:gd name="connsiteY387" fmla="*/ 5017541 h 6858285"/>
              <a:gd name="connsiteX388" fmla="*/ 2045349 w 4011840"/>
              <a:gd name="connsiteY388" fmla="*/ 5076750 h 6858285"/>
              <a:gd name="connsiteX389" fmla="*/ 1704349 w 4011840"/>
              <a:gd name="connsiteY389" fmla="*/ 5218087 h 6858285"/>
              <a:gd name="connsiteX390" fmla="*/ 1645293 w 4011840"/>
              <a:gd name="connsiteY390" fmla="*/ 5193257 h 6858285"/>
              <a:gd name="connsiteX391" fmla="*/ 1641483 w 4011840"/>
              <a:gd name="connsiteY391" fmla="*/ 5176068 h 6858285"/>
              <a:gd name="connsiteX392" fmla="*/ 1670059 w 4011840"/>
              <a:gd name="connsiteY392" fmla="*/ 5134049 h 6858285"/>
              <a:gd name="connsiteX393" fmla="*/ 2011058 w 4011840"/>
              <a:gd name="connsiteY393" fmla="*/ 4992712 h 6858285"/>
              <a:gd name="connsiteX394" fmla="*/ 2028590 w 4011840"/>
              <a:gd name="connsiteY394" fmla="*/ 4989339 h 6858285"/>
              <a:gd name="connsiteX395" fmla="*/ 3720408 w 4011840"/>
              <a:gd name="connsiteY395" fmla="*/ 4979828 h 6858285"/>
              <a:gd name="connsiteX396" fmla="*/ 3762740 w 4011840"/>
              <a:gd name="connsiteY396" fmla="*/ 5009832 h 6858285"/>
              <a:gd name="connsiteX397" fmla="*/ 3736068 w 4011840"/>
              <a:gd name="connsiteY397" fmla="*/ 5068887 h 6858285"/>
              <a:gd name="connsiteX398" fmla="*/ 3395084 w 4011840"/>
              <a:gd name="connsiteY398" fmla="*/ 5202237 h 6858285"/>
              <a:gd name="connsiteX399" fmla="*/ 3334121 w 4011840"/>
              <a:gd name="connsiteY399" fmla="*/ 5175567 h 6858285"/>
              <a:gd name="connsiteX400" fmla="*/ 3332215 w 4011840"/>
              <a:gd name="connsiteY400" fmla="*/ 5158422 h 6858285"/>
              <a:gd name="connsiteX401" fmla="*/ 3360792 w 4011840"/>
              <a:gd name="connsiteY401" fmla="*/ 5116512 h 6858285"/>
              <a:gd name="connsiteX402" fmla="*/ 3701776 w 4011840"/>
              <a:gd name="connsiteY402" fmla="*/ 4983162 h 6858285"/>
              <a:gd name="connsiteX403" fmla="*/ 3720408 w 4011840"/>
              <a:gd name="connsiteY403" fmla="*/ 4979828 h 6858285"/>
              <a:gd name="connsiteX404" fmla="*/ 2585923 w 4011840"/>
              <a:gd name="connsiteY404" fmla="*/ 4979828 h 6858285"/>
              <a:gd name="connsiteX405" fmla="*/ 2629210 w 4011840"/>
              <a:gd name="connsiteY405" fmla="*/ 5009832 h 6858285"/>
              <a:gd name="connsiteX406" fmla="*/ 2602444 w 4011840"/>
              <a:gd name="connsiteY406" fmla="*/ 5068887 h 6858285"/>
              <a:gd name="connsiteX407" fmla="*/ 2260209 w 4011840"/>
              <a:gd name="connsiteY407" fmla="*/ 5202237 h 6858285"/>
              <a:gd name="connsiteX408" fmla="*/ 2199027 w 4011840"/>
              <a:gd name="connsiteY408" fmla="*/ 5175567 h 6858285"/>
              <a:gd name="connsiteX409" fmla="*/ 2197115 w 4011840"/>
              <a:gd name="connsiteY409" fmla="*/ 5158422 h 6858285"/>
              <a:gd name="connsiteX410" fmla="*/ 2225794 w 4011840"/>
              <a:gd name="connsiteY410" fmla="*/ 5116512 h 6858285"/>
              <a:gd name="connsiteX411" fmla="*/ 2568028 w 4011840"/>
              <a:gd name="connsiteY411" fmla="*/ 4983162 h 6858285"/>
              <a:gd name="connsiteX412" fmla="*/ 2585923 w 4011840"/>
              <a:gd name="connsiteY412" fmla="*/ 4979828 h 6858285"/>
              <a:gd name="connsiteX413" fmla="*/ 3148522 w 4011840"/>
              <a:gd name="connsiteY413" fmla="*/ 4969031 h 6858285"/>
              <a:gd name="connsiteX414" fmla="*/ 3190913 w 4011840"/>
              <a:gd name="connsiteY414" fmla="*/ 5000728 h 6858285"/>
              <a:gd name="connsiteX415" fmla="*/ 3162293 w 4011840"/>
              <a:gd name="connsiteY415" fmla="*/ 5061853 h 6858285"/>
              <a:gd name="connsiteX416" fmla="*/ 2820804 w 4011840"/>
              <a:gd name="connsiteY416" fmla="*/ 5187924 h 6858285"/>
              <a:gd name="connsiteX417" fmla="*/ 2759756 w 4011840"/>
              <a:gd name="connsiteY417" fmla="*/ 5161182 h 6858285"/>
              <a:gd name="connsiteX418" fmla="*/ 2755940 w 4011840"/>
              <a:gd name="connsiteY418" fmla="*/ 5143990 h 6858285"/>
              <a:gd name="connsiteX419" fmla="*/ 2788374 w 4011840"/>
              <a:gd name="connsiteY419" fmla="*/ 5098146 h 6858285"/>
              <a:gd name="connsiteX420" fmla="*/ 3129862 w 4011840"/>
              <a:gd name="connsiteY420" fmla="*/ 4972076 h 6858285"/>
              <a:gd name="connsiteX421" fmla="*/ 3148522 w 4011840"/>
              <a:gd name="connsiteY421" fmla="*/ 4969031 h 6858285"/>
              <a:gd name="connsiteX422" fmla="*/ 4011840 w 4011840"/>
              <a:gd name="connsiteY422" fmla="*/ 4771408 h 6858285"/>
              <a:gd name="connsiteX423" fmla="*/ 4011840 w 4011840"/>
              <a:gd name="connsiteY423" fmla="*/ 4871523 h 6858285"/>
              <a:gd name="connsiteX424" fmla="*/ 3957012 w 4011840"/>
              <a:gd name="connsiteY424" fmla="*/ 4892674 h 6858285"/>
              <a:gd name="connsiteX425" fmla="*/ 3897996 w 4011840"/>
              <a:gd name="connsiteY425" fmla="*/ 4866004 h 6858285"/>
              <a:gd name="connsiteX426" fmla="*/ 3894188 w 4011840"/>
              <a:gd name="connsiteY426" fmla="*/ 4848859 h 6858285"/>
              <a:gd name="connsiteX427" fmla="*/ 3924648 w 4011840"/>
              <a:gd name="connsiteY427" fmla="*/ 4805044 h 6858285"/>
              <a:gd name="connsiteX428" fmla="*/ 4007834 w 4011840"/>
              <a:gd name="connsiteY428" fmla="*/ 4772953 h 6858285"/>
              <a:gd name="connsiteX429" fmla="*/ 398944 w 4011840"/>
              <a:gd name="connsiteY429" fmla="*/ 4701876 h 6858285"/>
              <a:gd name="connsiteX430" fmla="*/ 422281 w 4011840"/>
              <a:gd name="connsiteY430" fmla="*/ 4722883 h 6858285"/>
              <a:gd name="connsiteX431" fmla="*/ 401326 w 4011840"/>
              <a:gd name="connsiteY431" fmla="*/ 4778267 h 6858285"/>
              <a:gd name="connsiteX432" fmla="*/ 62232 w 4011840"/>
              <a:gd name="connsiteY432" fmla="*/ 4938688 h 6858285"/>
              <a:gd name="connsiteX433" fmla="*/ 6986 w 4011840"/>
              <a:gd name="connsiteY433" fmla="*/ 4919590 h 6858285"/>
              <a:gd name="connsiteX434" fmla="*/ 3176 w 4011840"/>
              <a:gd name="connsiteY434" fmla="*/ 4900492 h 6858285"/>
              <a:gd name="connsiteX435" fmla="*/ 27941 w 4011840"/>
              <a:gd name="connsiteY435" fmla="*/ 4864207 h 6858285"/>
              <a:gd name="connsiteX436" fmla="*/ 367035 w 4011840"/>
              <a:gd name="connsiteY436" fmla="*/ 4703786 h 6858285"/>
              <a:gd name="connsiteX437" fmla="*/ 398944 w 4011840"/>
              <a:gd name="connsiteY437" fmla="*/ 4701876 h 6858285"/>
              <a:gd name="connsiteX438" fmla="*/ 943147 w 4011840"/>
              <a:gd name="connsiteY438" fmla="*/ 4693284 h 6858285"/>
              <a:gd name="connsiteX439" fmla="*/ 966774 w 4011840"/>
              <a:gd name="connsiteY439" fmla="*/ 4715192 h 6858285"/>
              <a:gd name="connsiteX440" fmla="*/ 945772 w 4011840"/>
              <a:gd name="connsiteY440" fmla="*/ 4772342 h 6858285"/>
              <a:gd name="connsiteX441" fmla="*/ 604023 w 4011840"/>
              <a:gd name="connsiteY441" fmla="*/ 4922837 h 6858285"/>
              <a:gd name="connsiteX442" fmla="*/ 546746 w 4011840"/>
              <a:gd name="connsiteY442" fmla="*/ 4901882 h 6858285"/>
              <a:gd name="connsiteX443" fmla="*/ 542928 w 4011840"/>
              <a:gd name="connsiteY443" fmla="*/ 4882832 h 6858285"/>
              <a:gd name="connsiteX444" fmla="*/ 569657 w 4011840"/>
              <a:gd name="connsiteY444" fmla="*/ 4842827 h 6858285"/>
              <a:gd name="connsiteX445" fmla="*/ 909497 w 4011840"/>
              <a:gd name="connsiteY445" fmla="*/ 4694237 h 6858285"/>
              <a:gd name="connsiteX446" fmla="*/ 943147 w 4011840"/>
              <a:gd name="connsiteY446" fmla="*/ 4693284 h 6858285"/>
              <a:gd name="connsiteX447" fmla="*/ 1476099 w 4011840"/>
              <a:gd name="connsiteY447" fmla="*/ 4679736 h 6858285"/>
              <a:gd name="connsiteX448" fmla="*/ 1517653 w 4011840"/>
              <a:gd name="connsiteY448" fmla="*/ 4707755 h 6858285"/>
              <a:gd name="connsiteX449" fmla="*/ 1492870 w 4011840"/>
              <a:gd name="connsiteY449" fmla="*/ 4766579 h 6858285"/>
              <a:gd name="connsiteX450" fmla="*/ 1151623 w 4011840"/>
              <a:gd name="connsiteY450" fmla="*/ 4906999 h 6858285"/>
              <a:gd name="connsiteX451" fmla="*/ 1094430 w 4011840"/>
              <a:gd name="connsiteY451" fmla="*/ 4882331 h 6858285"/>
              <a:gd name="connsiteX452" fmla="*/ 1090618 w 4011840"/>
              <a:gd name="connsiteY452" fmla="*/ 4865253 h 6858285"/>
              <a:gd name="connsiteX453" fmla="*/ 1117307 w 4011840"/>
              <a:gd name="connsiteY453" fmla="*/ 4823506 h 6858285"/>
              <a:gd name="connsiteX454" fmla="*/ 1458554 w 4011840"/>
              <a:gd name="connsiteY454" fmla="*/ 4683087 h 6858285"/>
              <a:gd name="connsiteX455" fmla="*/ 1476099 w 4011840"/>
              <a:gd name="connsiteY455" fmla="*/ 4679736 h 6858285"/>
              <a:gd name="connsiteX456" fmla="*/ 2029448 w 4011840"/>
              <a:gd name="connsiteY456" fmla="*/ 4670533 h 6858285"/>
              <a:gd name="connsiteX457" fmla="*/ 2071719 w 4011840"/>
              <a:gd name="connsiteY457" fmla="*/ 4700269 h 6858285"/>
              <a:gd name="connsiteX458" fmla="*/ 2045082 w 4011840"/>
              <a:gd name="connsiteY458" fmla="*/ 4761229 h 6858285"/>
              <a:gd name="connsiteX459" fmla="*/ 1704573 w 4011840"/>
              <a:gd name="connsiteY459" fmla="*/ 4892674 h 6858285"/>
              <a:gd name="connsiteX460" fmla="*/ 1643700 w 4011840"/>
              <a:gd name="connsiteY460" fmla="*/ 4866004 h 6858285"/>
              <a:gd name="connsiteX461" fmla="*/ 1639895 w 4011840"/>
              <a:gd name="connsiteY461" fmla="*/ 4848859 h 6858285"/>
              <a:gd name="connsiteX462" fmla="*/ 1670332 w 4011840"/>
              <a:gd name="connsiteY462" fmla="*/ 4805044 h 6858285"/>
              <a:gd name="connsiteX463" fmla="*/ 2010841 w 4011840"/>
              <a:gd name="connsiteY463" fmla="*/ 4673599 h 6858285"/>
              <a:gd name="connsiteX464" fmla="*/ 2029448 w 4011840"/>
              <a:gd name="connsiteY464" fmla="*/ 4670533 h 6858285"/>
              <a:gd name="connsiteX465" fmla="*/ 3720840 w 4011840"/>
              <a:gd name="connsiteY465" fmla="*/ 4661020 h 6858285"/>
              <a:gd name="connsiteX466" fmla="*/ 3764004 w 4011840"/>
              <a:gd name="connsiteY466" fmla="*/ 4692545 h 6858285"/>
              <a:gd name="connsiteX467" fmla="*/ 3735408 w 4011840"/>
              <a:gd name="connsiteY467" fmla="*/ 4755238 h 6858285"/>
              <a:gd name="connsiteX468" fmla="*/ 3392273 w 4011840"/>
              <a:gd name="connsiteY468" fmla="*/ 4876825 h 6858285"/>
              <a:gd name="connsiteX469" fmla="*/ 3331265 w 4011840"/>
              <a:gd name="connsiteY469" fmla="*/ 4848328 h 6858285"/>
              <a:gd name="connsiteX470" fmla="*/ 3327453 w 4011840"/>
              <a:gd name="connsiteY470" fmla="*/ 4831230 h 6858285"/>
              <a:gd name="connsiteX471" fmla="*/ 3359861 w 4011840"/>
              <a:gd name="connsiteY471" fmla="*/ 4785635 h 6858285"/>
              <a:gd name="connsiteX472" fmla="*/ 3701092 w 4011840"/>
              <a:gd name="connsiteY472" fmla="*/ 4664048 h 6858285"/>
              <a:gd name="connsiteX473" fmla="*/ 3720840 w 4011840"/>
              <a:gd name="connsiteY473" fmla="*/ 4661020 h 6858285"/>
              <a:gd name="connsiteX474" fmla="*/ 2587339 w 4011840"/>
              <a:gd name="connsiteY474" fmla="*/ 4661020 h 6858285"/>
              <a:gd name="connsiteX475" fmla="*/ 2630501 w 4011840"/>
              <a:gd name="connsiteY475" fmla="*/ 4692545 h 6858285"/>
              <a:gd name="connsiteX476" fmla="*/ 2601905 w 4011840"/>
              <a:gd name="connsiteY476" fmla="*/ 4755238 h 6858285"/>
              <a:gd name="connsiteX477" fmla="*/ 2258757 w 4011840"/>
              <a:gd name="connsiteY477" fmla="*/ 4876825 h 6858285"/>
              <a:gd name="connsiteX478" fmla="*/ 2197753 w 4011840"/>
              <a:gd name="connsiteY478" fmla="*/ 4848328 h 6858285"/>
              <a:gd name="connsiteX479" fmla="*/ 2193940 w 4011840"/>
              <a:gd name="connsiteY479" fmla="*/ 4831230 h 6858285"/>
              <a:gd name="connsiteX480" fmla="*/ 2226348 w 4011840"/>
              <a:gd name="connsiteY480" fmla="*/ 4785635 h 6858285"/>
              <a:gd name="connsiteX481" fmla="*/ 2567590 w 4011840"/>
              <a:gd name="connsiteY481" fmla="*/ 4664048 h 6858285"/>
              <a:gd name="connsiteX482" fmla="*/ 2587339 w 4011840"/>
              <a:gd name="connsiteY482" fmla="*/ 4661020 h 6858285"/>
              <a:gd name="connsiteX483" fmla="*/ 3149675 w 4011840"/>
              <a:gd name="connsiteY483" fmla="*/ 4651820 h 6858285"/>
              <a:gd name="connsiteX484" fmla="*/ 3194414 w 4011840"/>
              <a:gd name="connsiteY484" fmla="*/ 4685085 h 6858285"/>
              <a:gd name="connsiteX485" fmla="*/ 3162027 w 4011840"/>
              <a:gd name="connsiteY485" fmla="*/ 4748038 h 6858285"/>
              <a:gd name="connsiteX486" fmla="*/ 2819126 w 4011840"/>
              <a:gd name="connsiteY486" fmla="*/ 4862498 h 6858285"/>
              <a:gd name="connsiteX487" fmla="*/ 2756258 w 4011840"/>
              <a:gd name="connsiteY487" fmla="*/ 4830068 h 6858285"/>
              <a:gd name="connsiteX488" fmla="*/ 2754353 w 4011840"/>
              <a:gd name="connsiteY488" fmla="*/ 4814807 h 6858285"/>
              <a:gd name="connsiteX489" fmla="*/ 2788646 w 4011840"/>
              <a:gd name="connsiteY489" fmla="*/ 4767115 h 6858285"/>
              <a:gd name="connsiteX490" fmla="*/ 3129644 w 4011840"/>
              <a:gd name="connsiteY490" fmla="*/ 4654562 h 6858285"/>
              <a:gd name="connsiteX491" fmla="*/ 3149675 w 4011840"/>
              <a:gd name="connsiteY491" fmla="*/ 4651820 h 6858285"/>
              <a:gd name="connsiteX492" fmla="*/ 4011840 w 4011840"/>
              <a:gd name="connsiteY492" fmla="*/ 4445533 h 6858285"/>
              <a:gd name="connsiteX493" fmla="*/ 4011840 w 4011840"/>
              <a:gd name="connsiteY493" fmla="*/ 4548851 h 6858285"/>
              <a:gd name="connsiteX494" fmla="*/ 3957236 w 4011840"/>
              <a:gd name="connsiteY494" fmla="*/ 4569111 h 6858285"/>
              <a:gd name="connsiteX495" fmla="*/ 3896404 w 4011840"/>
              <a:gd name="connsiteY495" fmla="*/ 4538506 h 6858285"/>
              <a:gd name="connsiteX496" fmla="*/ 3892602 w 4011840"/>
              <a:gd name="connsiteY496" fmla="*/ 4523203 h 6858285"/>
              <a:gd name="connsiteX497" fmla="*/ 3924918 w 4011840"/>
              <a:gd name="connsiteY497" fmla="*/ 4477296 h 6858285"/>
              <a:gd name="connsiteX498" fmla="*/ 4007986 w 4011840"/>
              <a:gd name="connsiteY498" fmla="*/ 4446942 h 6858285"/>
              <a:gd name="connsiteX499" fmla="*/ 398944 w 4011840"/>
              <a:gd name="connsiteY499" fmla="*/ 4379613 h 6858285"/>
              <a:gd name="connsiteX500" fmla="*/ 422281 w 4011840"/>
              <a:gd name="connsiteY500" fmla="*/ 4400620 h 6858285"/>
              <a:gd name="connsiteX501" fmla="*/ 401326 w 4011840"/>
              <a:gd name="connsiteY501" fmla="*/ 4456004 h 6858285"/>
              <a:gd name="connsiteX502" fmla="*/ 62232 w 4011840"/>
              <a:gd name="connsiteY502" fmla="*/ 4616425 h 6858285"/>
              <a:gd name="connsiteX503" fmla="*/ 6986 w 4011840"/>
              <a:gd name="connsiteY503" fmla="*/ 4595417 h 6858285"/>
              <a:gd name="connsiteX504" fmla="*/ 3176 w 4011840"/>
              <a:gd name="connsiteY504" fmla="*/ 4578229 h 6858285"/>
              <a:gd name="connsiteX505" fmla="*/ 27941 w 4011840"/>
              <a:gd name="connsiteY505" fmla="*/ 4540034 h 6858285"/>
              <a:gd name="connsiteX506" fmla="*/ 367035 w 4011840"/>
              <a:gd name="connsiteY506" fmla="*/ 4381523 h 6858285"/>
              <a:gd name="connsiteX507" fmla="*/ 398944 w 4011840"/>
              <a:gd name="connsiteY507" fmla="*/ 4379613 h 6858285"/>
              <a:gd name="connsiteX508" fmla="*/ 943805 w 4011840"/>
              <a:gd name="connsiteY508" fmla="*/ 4371271 h 6858285"/>
              <a:gd name="connsiteX509" fmla="*/ 968368 w 4011840"/>
              <a:gd name="connsiteY509" fmla="*/ 4394876 h 6858285"/>
              <a:gd name="connsiteX510" fmla="*/ 945475 w 4011840"/>
              <a:gd name="connsiteY510" fmla="*/ 4452100 h 6858285"/>
              <a:gd name="connsiteX511" fmla="*/ 603977 w 4011840"/>
              <a:gd name="connsiteY511" fmla="*/ 4598974 h 6858285"/>
              <a:gd name="connsiteX512" fmla="*/ 546743 w 4011840"/>
              <a:gd name="connsiteY512" fmla="*/ 4576085 h 6858285"/>
              <a:gd name="connsiteX513" fmla="*/ 542927 w 4011840"/>
              <a:gd name="connsiteY513" fmla="*/ 4558918 h 6858285"/>
              <a:gd name="connsiteX514" fmla="*/ 569637 w 4011840"/>
              <a:gd name="connsiteY514" fmla="*/ 4518861 h 6858285"/>
              <a:gd name="connsiteX515" fmla="*/ 909226 w 4011840"/>
              <a:gd name="connsiteY515" fmla="*/ 4371986 h 6858285"/>
              <a:gd name="connsiteX516" fmla="*/ 943805 w 4011840"/>
              <a:gd name="connsiteY516" fmla="*/ 4371271 h 6858285"/>
              <a:gd name="connsiteX517" fmla="*/ 1477208 w 4011840"/>
              <a:gd name="connsiteY517" fmla="*/ 4359077 h 6858285"/>
              <a:gd name="connsiteX518" fmla="*/ 1517660 w 4011840"/>
              <a:gd name="connsiteY518" fmla="*/ 4387168 h 6858285"/>
              <a:gd name="connsiteX519" fmla="*/ 1492894 w 4011840"/>
              <a:gd name="connsiteY519" fmla="*/ 4448048 h 6858285"/>
              <a:gd name="connsiteX520" fmla="*/ 1151895 w 4011840"/>
              <a:gd name="connsiteY520" fmla="*/ 4583124 h 6858285"/>
              <a:gd name="connsiteX521" fmla="*/ 1092840 w 4011840"/>
              <a:gd name="connsiteY521" fmla="*/ 4556490 h 6858285"/>
              <a:gd name="connsiteX522" fmla="*/ 1089029 w 4011840"/>
              <a:gd name="connsiteY522" fmla="*/ 4539367 h 6858285"/>
              <a:gd name="connsiteX523" fmla="*/ 1117605 w 4011840"/>
              <a:gd name="connsiteY523" fmla="*/ 4497513 h 6858285"/>
              <a:gd name="connsiteX524" fmla="*/ 1458604 w 4011840"/>
              <a:gd name="connsiteY524" fmla="*/ 4362436 h 6858285"/>
              <a:gd name="connsiteX525" fmla="*/ 1477208 w 4011840"/>
              <a:gd name="connsiteY525" fmla="*/ 4359077 h 6858285"/>
              <a:gd name="connsiteX526" fmla="*/ 2029782 w 4011840"/>
              <a:gd name="connsiteY526" fmla="*/ 4349914 h 6858285"/>
              <a:gd name="connsiteX527" fmla="*/ 2073629 w 4011840"/>
              <a:gd name="connsiteY527" fmla="*/ 4381655 h 6858285"/>
              <a:gd name="connsiteX528" fmla="*/ 2045109 w 4011840"/>
              <a:gd name="connsiteY528" fmla="*/ 4442865 h 6858285"/>
              <a:gd name="connsiteX529" fmla="*/ 1702940 w 4011840"/>
              <a:gd name="connsiteY529" fmla="*/ 4569111 h 6858285"/>
              <a:gd name="connsiteX530" fmla="*/ 1642110 w 4011840"/>
              <a:gd name="connsiteY530" fmla="*/ 4538506 h 6858285"/>
              <a:gd name="connsiteX531" fmla="*/ 1638308 w 4011840"/>
              <a:gd name="connsiteY531" fmla="*/ 4523203 h 6858285"/>
              <a:gd name="connsiteX532" fmla="*/ 1670624 w 4011840"/>
              <a:gd name="connsiteY532" fmla="*/ 4477296 h 6858285"/>
              <a:gd name="connsiteX533" fmla="*/ 2010892 w 4011840"/>
              <a:gd name="connsiteY533" fmla="*/ 4352963 h 6858285"/>
              <a:gd name="connsiteX534" fmla="*/ 2029782 w 4011840"/>
              <a:gd name="connsiteY534" fmla="*/ 4349914 h 6858285"/>
              <a:gd name="connsiteX535" fmla="*/ 3722768 w 4011840"/>
              <a:gd name="connsiteY535" fmla="*/ 4341193 h 6858285"/>
              <a:gd name="connsiteX536" fmla="*/ 3765602 w 4011840"/>
              <a:gd name="connsiteY536" fmla="*/ 4375580 h 6858285"/>
              <a:gd name="connsiteX537" fmla="*/ 3733240 w 4011840"/>
              <a:gd name="connsiteY537" fmla="*/ 4438622 h 6858285"/>
              <a:gd name="connsiteX538" fmla="*/ 3392498 w 4011840"/>
              <a:gd name="connsiteY538" fmla="*/ 4551335 h 6858285"/>
              <a:gd name="connsiteX539" fmla="*/ 3329674 w 4011840"/>
              <a:gd name="connsiteY539" fmla="*/ 4518858 h 6858285"/>
              <a:gd name="connsiteX540" fmla="*/ 3325864 w 4011840"/>
              <a:gd name="connsiteY540" fmla="*/ 4503575 h 6858285"/>
              <a:gd name="connsiteX541" fmla="*/ 3360130 w 4011840"/>
              <a:gd name="connsiteY541" fmla="*/ 4455816 h 6858285"/>
              <a:gd name="connsiteX542" fmla="*/ 3702782 w 4011840"/>
              <a:gd name="connsiteY542" fmla="*/ 4343103 h 6858285"/>
              <a:gd name="connsiteX543" fmla="*/ 3722768 w 4011840"/>
              <a:gd name="connsiteY543" fmla="*/ 4341193 h 6858285"/>
              <a:gd name="connsiteX544" fmla="*/ 2589270 w 4011840"/>
              <a:gd name="connsiteY544" fmla="*/ 4341193 h 6858285"/>
              <a:gd name="connsiteX545" fmla="*/ 2632103 w 4011840"/>
              <a:gd name="connsiteY545" fmla="*/ 4375580 h 6858285"/>
              <a:gd name="connsiteX546" fmla="*/ 2599739 w 4011840"/>
              <a:gd name="connsiteY546" fmla="*/ 4438622 h 6858285"/>
              <a:gd name="connsiteX547" fmla="*/ 2258981 w 4011840"/>
              <a:gd name="connsiteY547" fmla="*/ 4551335 h 6858285"/>
              <a:gd name="connsiteX548" fmla="*/ 2196160 w 4011840"/>
              <a:gd name="connsiteY548" fmla="*/ 4518858 h 6858285"/>
              <a:gd name="connsiteX549" fmla="*/ 2192353 w 4011840"/>
              <a:gd name="connsiteY549" fmla="*/ 4503575 h 6858285"/>
              <a:gd name="connsiteX550" fmla="*/ 2226618 w 4011840"/>
              <a:gd name="connsiteY550" fmla="*/ 4455816 h 6858285"/>
              <a:gd name="connsiteX551" fmla="*/ 2569281 w 4011840"/>
              <a:gd name="connsiteY551" fmla="*/ 4343103 h 6858285"/>
              <a:gd name="connsiteX552" fmla="*/ 2589270 w 4011840"/>
              <a:gd name="connsiteY552" fmla="*/ 4341193 h 6858285"/>
              <a:gd name="connsiteX553" fmla="*/ 3152169 w 4011840"/>
              <a:gd name="connsiteY553" fmla="*/ 4331988 h 6858285"/>
              <a:gd name="connsiteX554" fmla="*/ 3195709 w 4011840"/>
              <a:gd name="connsiteY554" fmla="*/ 4369816 h 6858285"/>
              <a:gd name="connsiteX555" fmla="*/ 3161515 w 4011840"/>
              <a:gd name="connsiteY555" fmla="*/ 4434681 h 6858285"/>
              <a:gd name="connsiteX556" fmla="*/ 2819566 w 4011840"/>
              <a:gd name="connsiteY556" fmla="*/ 4535794 h 6858285"/>
              <a:gd name="connsiteX557" fmla="*/ 2753078 w 4011840"/>
              <a:gd name="connsiteY557" fmla="*/ 4499546 h 6858285"/>
              <a:gd name="connsiteX558" fmla="*/ 2751179 w 4011840"/>
              <a:gd name="connsiteY558" fmla="*/ 4486191 h 6858285"/>
              <a:gd name="connsiteX559" fmla="*/ 2789170 w 4011840"/>
              <a:gd name="connsiteY559" fmla="*/ 4434681 h 6858285"/>
              <a:gd name="connsiteX560" fmla="*/ 3131122 w 4011840"/>
              <a:gd name="connsiteY560" fmla="*/ 4333568 h 6858285"/>
              <a:gd name="connsiteX561" fmla="*/ 3152169 w 4011840"/>
              <a:gd name="connsiteY561" fmla="*/ 4331988 h 6858285"/>
              <a:gd name="connsiteX562" fmla="*/ 4011840 w 4011840"/>
              <a:gd name="connsiteY562" fmla="*/ 4120157 h 6858285"/>
              <a:gd name="connsiteX563" fmla="*/ 4011840 w 4011840"/>
              <a:gd name="connsiteY563" fmla="*/ 4224539 h 6858285"/>
              <a:gd name="connsiteX564" fmla="*/ 3956340 w 4011840"/>
              <a:gd name="connsiteY564" fmla="*/ 4243386 h 6858285"/>
              <a:gd name="connsiteX565" fmla="*/ 3893252 w 4011840"/>
              <a:gd name="connsiteY565" fmla="*/ 4212906 h 6858285"/>
              <a:gd name="connsiteX566" fmla="*/ 3889424 w 4011840"/>
              <a:gd name="connsiteY566" fmla="*/ 4195761 h 6858285"/>
              <a:gd name="connsiteX567" fmla="*/ 3923840 w 4011840"/>
              <a:gd name="connsiteY567" fmla="*/ 4150041 h 6858285"/>
              <a:gd name="connsiteX568" fmla="*/ 4007382 w 4011840"/>
              <a:gd name="connsiteY568" fmla="*/ 4121671 h 6858285"/>
              <a:gd name="connsiteX569" fmla="*/ 383168 w 4011840"/>
              <a:gd name="connsiteY569" fmla="*/ 4054778 h 6858285"/>
              <a:gd name="connsiteX570" fmla="*/ 422281 w 4011840"/>
              <a:gd name="connsiteY570" fmla="*/ 4078680 h 6858285"/>
              <a:gd name="connsiteX571" fmla="*/ 401325 w 4011840"/>
              <a:gd name="connsiteY571" fmla="*/ 4135973 h 6858285"/>
              <a:gd name="connsiteX572" fmla="*/ 62231 w 4011840"/>
              <a:gd name="connsiteY572" fmla="*/ 4292575 h 6858285"/>
              <a:gd name="connsiteX573" fmla="*/ 6986 w 4011840"/>
              <a:gd name="connsiteY573" fmla="*/ 4271567 h 6858285"/>
              <a:gd name="connsiteX574" fmla="*/ 3176 w 4011840"/>
              <a:gd name="connsiteY574" fmla="*/ 4254379 h 6858285"/>
              <a:gd name="connsiteX575" fmla="*/ 27941 w 4011840"/>
              <a:gd name="connsiteY575" fmla="*/ 4216184 h 6858285"/>
              <a:gd name="connsiteX576" fmla="*/ 367035 w 4011840"/>
              <a:gd name="connsiteY576" fmla="*/ 4059583 h 6858285"/>
              <a:gd name="connsiteX577" fmla="*/ 383168 w 4011840"/>
              <a:gd name="connsiteY577" fmla="*/ 4054778 h 6858285"/>
              <a:gd name="connsiteX578" fmla="*/ 926784 w 4011840"/>
              <a:gd name="connsiteY578" fmla="*/ 4046333 h 6858285"/>
              <a:gd name="connsiteX579" fmla="*/ 968368 w 4011840"/>
              <a:gd name="connsiteY579" fmla="*/ 4072655 h 6858285"/>
              <a:gd name="connsiteX580" fmla="*/ 945475 w 4011840"/>
              <a:gd name="connsiteY580" fmla="*/ 4131864 h 6858285"/>
              <a:gd name="connsiteX581" fmla="*/ 603977 w 4011840"/>
              <a:gd name="connsiteY581" fmla="*/ 4275111 h 6858285"/>
              <a:gd name="connsiteX582" fmla="*/ 544835 w 4011840"/>
              <a:gd name="connsiteY582" fmla="*/ 4252191 h 6858285"/>
              <a:gd name="connsiteX583" fmla="*/ 542927 w 4011840"/>
              <a:gd name="connsiteY583" fmla="*/ 4235002 h 6858285"/>
              <a:gd name="connsiteX584" fmla="*/ 569637 w 4011840"/>
              <a:gd name="connsiteY584" fmla="*/ 4192983 h 6858285"/>
              <a:gd name="connsiteX585" fmla="*/ 909226 w 4011840"/>
              <a:gd name="connsiteY585" fmla="*/ 4049736 h 6858285"/>
              <a:gd name="connsiteX586" fmla="*/ 926784 w 4011840"/>
              <a:gd name="connsiteY586" fmla="*/ 4046333 h 6858285"/>
              <a:gd name="connsiteX587" fmla="*/ 1458388 w 4011840"/>
              <a:gd name="connsiteY587" fmla="*/ 4041415 h 6858285"/>
              <a:gd name="connsiteX588" fmla="*/ 1519261 w 4011840"/>
              <a:gd name="connsiteY588" fmla="*/ 4069836 h 6858285"/>
              <a:gd name="connsiteX589" fmla="*/ 1492629 w 4011840"/>
              <a:gd name="connsiteY589" fmla="*/ 4130469 h 6858285"/>
              <a:gd name="connsiteX590" fmla="*/ 1152120 w 4011840"/>
              <a:gd name="connsiteY590" fmla="*/ 4259312 h 6858285"/>
              <a:gd name="connsiteX591" fmla="*/ 1091247 w 4011840"/>
              <a:gd name="connsiteY591" fmla="*/ 4230891 h 6858285"/>
              <a:gd name="connsiteX592" fmla="*/ 1087442 w 4011840"/>
              <a:gd name="connsiteY592" fmla="*/ 4215733 h 6858285"/>
              <a:gd name="connsiteX593" fmla="*/ 1117879 w 4011840"/>
              <a:gd name="connsiteY593" fmla="*/ 4170258 h 6858285"/>
              <a:gd name="connsiteX594" fmla="*/ 1458388 w 4011840"/>
              <a:gd name="connsiteY594" fmla="*/ 4041415 h 6858285"/>
              <a:gd name="connsiteX595" fmla="*/ 2031406 w 4011840"/>
              <a:gd name="connsiteY595" fmla="*/ 4031097 h 6858285"/>
              <a:gd name="connsiteX596" fmla="*/ 2075219 w 4011840"/>
              <a:gd name="connsiteY596" fmla="*/ 4064316 h 6858285"/>
              <a:gd name="connsiteX597" fmla="*/ 2042922 w 4011840"/>
              <a:gd name="connsiteY597" fmla="*/ 4127181 h 6858285"/>
              <a:gd name="connsiteX598" fmla="*/ 1702894 w 4011840"/>
              <a:gd name="connsiteY598" fmla="*/ 4243386 h 6858285"/>
              <a:gd name="connsiteX599" fmla="*/ 1640208 w 4011840"/>
              <a:gd name="connsiteY599" fmla="*/ 4212906 h 6858285"/>
              <a:gd name="connsiteX600" fmla="*/ 1638308 w 4011840"/>
              <a:gd name="connsiteY600" fmla="*/ 4195761 h 6858285"/>
              <a:gd name="connsiteX601" fmla="*/ 1670601 w 4011840"/>
              <a:gd name="connsiteY601" fmla="*/ 4150041 h 6858285"/>
              <a:gd name="connsiteX602" fmla="*/ 2012528 w 4011840"/>
              <a:gd name="connsiteY602" fmla="*/ 4033836 h 6858285"/>
              <a:gd name="connsiteX603" fmla="*/ 2031406 w 4011840"/>
              <a:gd name="connsiteY603" fmla="*/ 4031097 h 6858285"/>
              <a:gd name="connsiteX604" fmla="*/ 3725864 w 4011840"/>
              <a:gd name="connsiteY604" fmla="*/ 4022416 h 6858285"/>
              <a:gd name="connsiteX605" fmla="*/ 3770668 w 4011840"/>
              <a:gd name="connsiteY605" fmla="*/ 4060189 h 6858285"/>
              <a:gd name="connsiteX606" fmla="*/ 3734420 w 4011840"/>
              <a:gd name="connsiteY606" fmla="*/ 4124959 h 6858285"/>
              <a:gd name="connsiteX607" fmla="*/ 3391048 w 4011840"/>
              <a:gd name="connsiteY607" fmla="*/ 4225924 h 6858285"/>
              <a:gd name="connsiteX608" fmla="*/ 3326184 w 4011840"/>
              <a:gd name="connsiteY608" fmla="*/ 4191634 h 6858285"/>
              <a:gd name="connsiteX609" fmla="*/ 3324277 w 4011840"/>
              <a:gd name="connsiteY609" fmla="*/ 4176394 h 6858285"/>
              <a:gd name="connsiteX610" fmla="*/ 3362432 w 4011840"/>
              <a:gd name="connsiteY610" fmla="*/ 4126864 h 6858285"/>
              <a:gd name="connsiteX611" fmla="*/ 3705804 w 4011840"/>
              <a:gd name="connsiteY611" fmla="*/ 4023994 h 6858285"/>
              <a:gd name="connsiteX612" fmla="*/ 3725864 w 4011840"/>
              <a:gd name="connsiteY612" fmla="*/ 4022416 h 6858285"/>
              <a:gd name="connsiteX613" fmla="*/ 2590959 w 4011840"/>
              <a:gd name="connsiteY613" fmla="*/ 4022416 h 6858285"/>
              <a:gd name="connsiteX614" fmla="*/ 2635603 w 4011840"/>
              <a:gd name="connsiteY614" fmla="*/ 4060189 h 6858285"/>
              <a:gd name="connsiteX615" fmla="*/ 2599484 w 4011840"/>
              <a:gd name="connsiteY615" fmla="*/ 4124959 h 6858285"/>
              <a:gd name="connsiteX616" fmla="*/ 2257300 w 4011840"/>
              <a:gd name="connsiteY616" fmla="*/ 4225924 h 6858285"/>
              <a:gd name="connsiteX617" fmla="*/ 2192666 w 4011840"/>
              <a:gd name="connsiteY617" fmla="*/ 4191634 h 6858285"/>
              <a:gd name="connsiteX618" fmla="*/ 2190765 w 4011840"/>
              <a:gd name="connsiteY618" fmla="*/ 4176394 h 6858285"/>
              <a:gd name="connsiteX619" fmla="*/ 2228785 w 4011840"/>
              <a:gd name="connsiteY619" fmla="*/ 4126864 h 6858285"/>
              <a:gd name="connsiteX620" fmla="*/ 2570968 w 4011840"/>
              <a:gd name="connsiteY620" fmla="*/ 4023994 h 6858285"/>
              <a:gd name="connsiteX621" fmla="*/ 2590959 w 4011840"/>
              <a:gd name="connsiteY621" fmla="*/ 4022416 h 6858285"/>
              <a:gd name="connsiteX622" fmla="*/ 3155344 w 4011840"/>
              <a:gd name="connsiteY622" fmla="*/ 4014776 h 6858285"/>
              <a:gd name="connsiteX623" fmla="*/ 3200742 w 4011840"/>
              <a:gd name="connsiteY623" fmla="*/ 4054156 h 6858285"/>
              <a:gd name="connsiteX624" fmla="*/ 3160626 w 4011840"/>
              <a:gd name="connsiteY624" fmla="*/ 4120831 h 6858285"/>
              <a:gd name="connsiteX625" fmla="*/ 2816772 w 4011840"/>
              <a:gd name="connsiteY625" fmla="*/ 4210366 h 6858285"/>
              <a:gd name="connsiteX626" fmla="*/ 2749914 w 4011840"/>
              <a:gd name="connsiteY626" fmla="*/ 4170361 h 6858285"/>
              <a:gd name="connsiteX627" fmla="*/ 2748002 w 4011840"/>
              <a:gd name="connsiteY627" fmla="*/ 4157026 h 6858285"/>
              <a:gd name="connsiteX628" fmla="*/ 2788116 w 4011840"/>
              <a:gd name="connsiteY628" fmla="*/ 4103686 h 6858285"/>
              <a:gd name="connsiteX629" fmla="*/ 3133885 w 4011840"/>
              <a:gd name="connsiteY629" fmla="*/ 4016056 h 6858285"/>
              <a:gd name="connsiteX630" fmla="*/ 3155344 w 4011840"/>
              <a:gd name="connsiteY630" fmla="*/ 4014776 h 6858285"/>
              <a:gd name="connsiteX631" fmla="*/ 4011840 w 4011840"/>
              <a:gd name="connsiteY631" fmla="*/ 3792351 h 6858285"/>
              <a:gd name="connsiteX632" fmla="*/ 4011840 w 4011840"/>
              <a:gd name="connsiteY632" fmla="*/ 3898685 h 6858285"/>
              <a:gd name="connsiteX633" fmla="*/ 3954656 w 4011840"/>
              <a:gd name="connsiteY633" fmla="*/ 3916388 h 6858285"/>
              <a:gd name="connsiteX634" fmla="*/ 3891656 w 4011840"/>
              <a:gd name="connsiteY634" fmla="*/ 3884095 h 6858285"/>
              <a:gd name="connsiteX635" fmla="*/ 3887840 w 4011840"/>
              <a:gd name="connsiteY635" fmla="*/ 3868899 h 6858285"/>
              <a:gd name="connsiteX636" fmla="*/ 3924112 w 4011840"/>
              <a:gd name="connsiteY636" fmla="*/ 3819510 h 6858285"/>
              <a:gd name="connsiteX637" fmla="*/ 4008000 w 4011840"/>
              <a:gd name="connsiteY637" fmla="*/ 3793539 h 6858285"/>
              <a:gd name="connsiteX638" fmla="*/ 398944 w 4011840"/>
              <a:gd name="connsiteY638" fmla="*/ 3734455 h 6858285"/>
              <a:gd name="connsiteX639" fmla="*/ 422280 w 4011840"/>
              <a:gd name="connsiteY639" fmla="*/ 3756417 h 6858285"/>
              <a:gd name="connsiteX640" fmla="*/ 401325 w 4011840"/>
              <a:gd name="connsiteY640" fmla="*/ 3813710 h 6858285"/>
              <a:gd name="connsiteX641" fmla="*/ 62231 w 4011840"/>
              <a:gd name="connsiteY641" fmla="*/ 3970312 h 6858285"/>
              <a:gd name="connsiteX642" fmla="*/ 6985 w 4011840"/>
              <a:gd name="connsiteY642" fmla="*/ 3949304 h 6858285"/>
              <a:gd name="connsiteX643" fmla="*/ 3175 w 4011840"/>
              <a:gd name="connsiteY643" fmla="*/ 3930207 h 6858285"/>
              <a:gd name="connsiteX644" fmla="*/ 27941 w 4011840"/>
              <a:gd name="connsiteY644" fmla="*/ 3892011 h 6858285"/>
              <a:gd name="connsiteX645" fmla="*/ 367035 w 4011840"/>
              <a:gd name="connsiteY645" fmla="*/ 3735410 h 6858285"/>
              <a:gd name="connsiteX646" fmla="*/ 398944 w 4011840"/>
              <a:gd name="connsiteY646" fmla="*/ 3734455 h 6858285"/>
              <a:gd name="connsiteX647" fmla="*/ 927625 w 4011840"/>
              <a:gd name="connsiteY647" fmla="*/ 3725656 h 6858285"/>
              <a:gd name="connsiteX648" fmla="*/ 968374 w 4011840"/>
              <a:gd name="connsiteY648" fmla="*/ 3753711 h 6858285"/>
              <a:gd name="connsiteX649" fmla="*/ 945497 w 4011840"/>
              <a:gd name="connsiteY649" fmla="*/ 3812611 h 6858285"/>
              <a:gd name="connsiteX650" fmla="*/ 604250 w 4011840"/>
              <a:gd name="connsiteY650" fmla="*/ 3951311 h 6858285"/>
              <a:gd name="connsiteX651" fmla="*/ 545152 w 4011840"/>
              <a:gd name="connsiteY651" fmla="*/ 3928511 h 6858285"/>
              <a:gd name="connsiteX652" fmla="*/ 541339 w 4011840"/>
              <a:gd name="connsiteY652" fmla="*/ 3911411 h 6858285"/>
              <a:gd name="connsiteX653" fmla="*/ 569935 w 4011840"/>
              <a:gd name="connsiteY653" fmla="*/ 3869611 h 6858285"/>
              <a:gd name="connsiteX654" fmla="*/ 909276 w 4011840"/>
              <a:gd name="connsiteY654" fmla="*/ 3729011 h 6858285"/>
              <a:gd name="connsiteX655" fmla="*/ 927625 w 4011840"/>
              <a:gd name="connsiteY655" fmla="*/ 3725656 h 6858285"/>
              <a:gd name="connsiteX656" fmla="*/ 1478619 w 4011840"/>
              <a:gd name="connsiteY656" fmla="*/ 3718044 h 6858285"/>
              <a:gd name="connsiteX657" fmla="*/ 1520856 w 4011840"/>
              <a:gd name="connsiteY657" fmla="*/ 3749569 h 6858285"/>
              <a:gd name="connsiteX658" fmla="*/ 1492342 w 4011840"/>
              <a:gd name="connsiteY658" fmla="*/ 3810362 h 6858285"/>
              <a:gd name="connsiteX659" fmla="*/ 1152074 w 4011840"/>
              <a:gd name="connsiteY659" fmla="*/ 3933849 h 6858285"/>
              <a:gd name="connsiteX660" fmla="*/ 1089343 w 4011840"/>
              <a:gd name="connsiteY660" fmla="*/ 3905352 h 6858285"/>
              <a:gd name="connsiteX661" fmla="*/ 1087442 w 4011840"/>
              <a:gd name="connsiteY661" fmla="*/ 3890154 h 6858285"/>
              <a:gd name="connsiteX662" fmla="*/ 1117857 w 4011840"/>
              <a:gd name="connsiteY662" fmla="*/ 3844559 h 6858285"/>
              <a:gd name="connsiteX663" fmla="*/ 1460026 w 4011840"/>
              <a:gd name="connsiteY663" fmla="*/ 3721072 h 6858285"/>
              <a:gd name="connsiteX664" fmla="*/ 1478619 w 4011840"/>
              <a:gd name="connsiteY664" fmla="*/ 3718044 h 6858285"/>
              <a:gd name="connsiteX665" fmla="*/ 2033482 w 4011840"/>
              <a:gd name="connsiteY665" fmla="*/ 3710433 h 6858285"/>
              <a:gd name="connsiteX666" fmla="*/ 2078351 w 4011840"/>
              <a:gd name="connsiteY666" fmla="*/ 3745426 h 6858285"/>
              <a:gd name="connsiteX667" fmla="*/ 2043960 w 4011840"/>
              <a:gd name="connsiteY667" fmla="*/ 3810012 h 6858285"/>
              <a:gd name="connsiteX668" fmla="*/ 1701997 w 4011840"/>
              <a:gd name="connsiteY668" fmla="*/ 3916388 h 6858285"/>
              <a:gd name="connsiteX669" fmla="*/ 1637043 w 4011840"/>
              <a:gd name="connsiteY669" fmla="*/ 3884095 h 6858285"/>
              <a:gd name="connsiteX670" fmla="*/ 1635133 w 4011840"/>
              <a:gd name="connsiteY670" fmla="*/ 3868899 h 6858285"/>
              <a:gd name="connsiteX671" fmla="*/ 1669520 w 4011840"/>
              <a:gd name="connsiteY671" fmla="*/ 3819510 h 6858285"/>
              <a:gd name="connsiteX672" fmla="*/ 2013393 w 4011840"/>
              <a:gd name="connsiteY672" fmla="*/ 3713134 h 6858285"/>
              <a:gd name="connsiteX673" fmla="*/ 2033482 w 4011840"/>
              <a:gd name="connsiteY673" fmla="*/ 3710433 h 6858285"/>
              <a:gd name="connsiteX674" fmla="*/ 3726988 w 4011840"/>
              <a:gd name="connsiteY674" fmla="*/ 3702861 h 6858285"/>
              <a:gd name="connsiteX675" fmla="*/ 3772266 w 4011840"/>
              <a:gd name="connsiteY675" fmla="*/ 3743251 h 6858285"/>
              <a:gd name="connsiteX676" fmla="*/ 3734164 w 4011840"/>
              <a:gd name="connsiteY676" fmla="*/ 3807924 h 6858285"/>
              <a:gd name="connsiteX677" fmla="*/ 3391274 w 4011840"/>
              <a:gd name="connsiteY677" fmla="*/ 3899227 h 6858285"/>
              <a:gd name="connsiteX678" fmla="*/ 3324595 w 4011840"/>
              <a:gd name="connsiteY678" fmla="*/ 3861184 h 6858285"/>
              <a:gd name="connsiteX679" fmla="*/ 3322691 w 4011840"/>
              <a:gd name="connsiteY679" fmla="*/ 3847869 h 6858285"/>
              <a:gd name="connsiteX680" fmla="*/ 3362695 w 4011840"/>
              <a:gd name="connsiteY680" fmla="*/ 3796512 h 6858285"/>
              <a:gd name="connsiteX681" fmla="*/ 3705588 w 4011840"/>
              <a:gd name="connsiteY681" fmla="*/ 3705209 h 6858285"/>
              <a:gd name="connsiteX682" fmla="*/ 3726988 w 4011840"/>
              <a:gd name="connsiteY682" fmla="*/ 3702861 h 6858285"/>
              <a:gd name="connsiteX683" fmla="*/ 2593304 w 4011840"/>
              <a:gd name="connsiteY683" fmla="*/ 3702861 h 6858285"/>
              <a:gd name="connsiteX684" fmla="*/ 2638736 w 4011840"/>
              <a:gd name="connsiteY684" fmla="*/ 3743251 h 6858285"/>
              <a:gd name="connsiteX685" fmla="*/ 2600503 w 4011840"/>
              <a:gd name="connsiteY685" fmla="*/ 3807924 h 6858285"/>
              <a:gd name="connsiteX686" fmla="*/ 2256408 w 4011840"/>
              <a:gd name="connsiteY686" fmla="*/ 3899227 h 6858285"/>
              <a:gd name="connsiteX687" fmla="*/ 2189501 w 4011840"/>
              <a:gd name="connsiteY687" fmla="*/ 3861184 h 6858285"/>
              <a:gd name="connsiteX688" fmla="*/ 2187590 w 4011840"/>
              <a:gd name="connsiteY688" fmla="*/ 3847869 h 6858285"/>
              <a:gd name="connsiteX689" fmla="*/ 2227734 w 4011840"/>
              <a:gd name="connsiteY689" fmla="*/ 3796512 h 6858285"/>
              <a:gd name="connsiteX690" fmla="*/ 2571828 w 4011840"/>
              <a:gd name="connsiteY690" fmla="*/ 3705209 h 6858285"/>
              <a:gd name="connsiteX691" fmla="*/ 2593304 w 4011840"/>
              <a:gd name="connsiteY691" fmla="*/ 3702861 h 6858285"/>
              <a:gd name="connsiteX692" fmla="*/ 3135575 w 4011840"/>
              <a:gd name="connsiteY692" fmla="*/ 3696651 h 6858285"/>
              <a:gd name="connsiteX693" fmla="*/ 3202342 w 4011840"/>
              <a:gd name="connsiteY693" fmla="*/ 3740466 h 6858285"/>
              <a:gd name="connsiteX694" fmla="*/ 3160373 w 4011840"/>
              <a:gd name="connsiteY694" fmla="*/ 3809046 h 6858285"/>
              <a:gd name="connsiteX695" fmla="*/ 2815092 w 4011840"/>
              <a:gd name="connsiteY695" fmla="*/ 3883341 h 6858285"/>
              <a:gd name="connsiteX696" fmla="*/ 2746418 w 4011840"/>
              <a:gd name="connsiteY696" fmla="*/ 3841431 h 6858285"/>
              <a:gd name="connsiteX697" fmla="*/ 2746418 w 4011840"/>
              <a:gd name="connsiteY697" fmla="*/ 3828096 h 6858285"/>
              <a:gd name="connsiteX698" fmla="*/ 2790295 w 4011840"/>
              <a:gd name="connsiteY698" fmla="*/ 3772851 h 6858285"/>
              <a:gd name="connsiteX699" fmla="*/ 3135575 w 4011840"/>
              <a:gd name="connsiteY699" fmla="*/ 3696651 h 6858285"/>
              <a:gd name="connsiteX700" fmla="*/ 4011840 w 4011840"/>
              <a:gd name="connsiteY700" fmla="*/ 3466417 h 6858285"/>
              <a:gd name="connsiteX701" fmla="*/ 4011840 w 4011840"/>
              <a:gd name="connsiteY701" fmla="*/ 3576032 h 6858285"/>
              <a:gd name="connsiteX702" fmla="*/ 3954880 w 4011840"/>
              <a:gd name="connsiteY702" fmla="*/ 3592817 h 6858285"/>
              <a:gd name="connsiteX703" fmla="*/ 3888158 w 4011840"/>
              <a:gd name="connsiteY703" fmla="*/ 3556569 h 6858285"/>
              <a:gd name="connsiteX704" fmla="*/ 3886250 w 4011840"/>
              <a:gd name="connsiteY704" fmla="*/ 3541306 h 6858285"/>
              <a:gd name="connsiteX705" fmla="*/ 3924376 w 4011840"/>
              <a:gd name="connsiteY705" fmla="*/ 3491704 h 6858285"/>
              <a:gd name="connsiteX706" fmla="*/ 4008146 w 4011840"/>
              <a:gd name="connsiteY706" fmla="*/ 3467485 h 6858285"/>
              <a:gd name="connsiteX707" fmla="*/ 398651 w 4011840"/>
              <a:gd name="connsiteY707" fmla="*/ 3413736 h 6858285"/>
              <a:gd name="connsiteX708" fmla="*/ 421971 w 4011840"/>
              <a:gd name="connsiteY708" fmla="*/ 3435588 h 6858285"/>
              <a:gd name="connsiteX709" fmla="*/ 401031 w 4011840"/>
              <a:gd name="connsiteY709" fmla="*/ 3492594 h 6858285"/>
              <a:gd name="connsiteX710" fmla="*/ 62187 w 4011840"/>
              <a:gd name="connsiteY710" fmla="*/ 3646509 h 6858285"/>
              <a:gd name="connsiteX711" fmla="*/ 6983 w 4011840"/>
              <a:gd name="connsiteY711" fmla="*/ 3625607 h 6858285"/>
              <a:gd name="connsiteX712" fmla="*/ 3175 w 4011840"/>
              <a:gd name="connsiteY712" fmla="*/ 3608505 h 6858285"/>
              <a:gd name="connsiteX713" fmla="*/ 27922 w 4011840"/>
              <a:gd name="connsiteY713" fmla="*/ 3568601 h 6858285"/>
              <a:gd name="connsiteX714" fmla="*/ 366766 w 4011840"/>
              <a:gd name="connsiteY714" fmla="*/ 3414687 h 6858285"/>
              <a:gd name="connsiteX715" fmla="*/ 398651 w 4011840"/>
              <a:gd name="connsiteY715" fmla="*/ 3413736 h 6858285"/>
              <a:gd name="connsiteX716" fmla="*/ 928445 w 4011840"/>
              <a:gd name="connsiteY716" fmla="*/ 3403423 h 6858285"/>
              <a:gd name="connsiteX717" fmla="*/ 969969 w 4011840"/>
              <a:gd name="connsiteY717" fmla="*/ 3433348 h 6858285"/>
              <a:gd name="connsiteX718" fmla="*/ 945204 w 4011840"/>
              <a:gd name="connsiteY718" fmla="*/ 3492248 h 6858285"/>
              <a:gd name="connsiteX719" fmla="*/ 604205 w 4011840"/>
              <a:gd name="connsiteY719" fmla="*/ 3629048 h 6858285"/>
              <a:gd name="connsiteX720" fmla="*/ 543244 w 4011840"/>
              <a:gd name="connsiteY720" fmla="*/ 3602448 h 6858285"/>
              <a:gd name="connsiteX721" fmla="*/ 541339 w 4011840"/>
              <a:gd name="connsiteY721" fmla="*/ 3585348 h 6858285"/>
              <a:gd name="connsiteX722" fmla="*/ 569914 w 4011840"/>
              <a:gd name="connsiteY722" fmla="*/ 3543548 h 6858285"/>
              <a:gd name="connsiteX723" fmla="*/ 910913 w 4011840"/>
              <a:gd name="connsiteY723" fmla="*/ 3406748 h 6858285"/>
              <a:gd name="connsiteX724" fmla="*/ 928445 w 4011840"/>
              <a:gd name="connsiteY724" fmla="*/ 3403423 h 6858285"/>
              <a:gd name="connsiteX725" fmla="*/ 1478769 w 4011840"/>
              <a:gd name="connsiteY725" fmla="*/ 3396584 h 6858285"/>
              <a:gd name="connsiteX726" fmla="*/ 1522735 w 4011840"/>
              <a:gd name="connsiteY726" fmla="*/ 3428999 h 6858285"/>
              <a:gd name="connsiteX727" fmla="*/ 1492233 w 4011840"/>
              <a:gd name="connsiteY727" fmla="*/ 3491863 h 6858285"/>
              <a:gd name="connsiteX728" fmla="*/ 1149084 w 4011840"/>
              <a:gd name="connsiteY728" fmla="*/ 3609973 h 6858285"/>
              <a:gd name="connsiteX729" fmla="*/ 1088080 w 4011840"/>
              <a:gd name="connsiteY729" fmla="*/ 3579493 h 6858285"/>
              <a:gd name="connsiteX730" fmla="*/ 1084267 w 4011840"/>
              <a:gd name="connsiteY730" fmla="*/ 3564253 h 6858285"/>
              <a:gd name="connsiteX731" fmla="*/ 1116676 w 4011840"/>
              <a:gd name="connsiteY731" fmla="*/ 3518533 h 6858285"/>
              <a:gd name="connsiteX732" fmla="*/ 1459824 w 4011840"/>
              <a:gd name="connsiteY732" fmla="*/ 3398519 h 6858285"/>
              <a:gd name="connsiteX733" fmla="*/ 1478769 w 4011840"/>
              <a:gd name="connsiteY733" fmla="*/ 3396584 h 6858285"/>
              <a:gd name="connsiteX734" fmla="*/ 2035412 w 4011840"/>
              <a:gd name="connsiteY734" fmla="*/ 3390086 h 6858285"/>
              <a:gd name="connsiteX735" fmla="*/ 2079949 w 4011840"/>
              <a:gd name="connsiteY735" fmla="*/ 3426840 h 6858285"/>
              <a:gd name="connsiteX736" fmla="*/ 2043698 w 4011840"/>
              <a:gd name="connsiteY736" fmla="*/ 3491704 h 6858285"/>
              <a:gd name="connsiteX737" fmla="*/ 1700314 w 4011840"/>
              <a:gd name="connsiteY737" fmla="*/ 3592817 h 6858285"/>
              <a:gd name="connsiteX738" fmla="*/ 1635452 w 4011840"/>
              <a:gd name="connsiteY738" fmla="*/ 3556569 h 6858285"/>
              <a:gd name="connsiteX739" fmla="*/ 1633545 w 4011840"/>
              <a:gd name="connsiteY739" fmla="*/ 3541306 h 6858285"/>
              <a:gd name="connsiteX740" fmla="*/ 1671698 w 4011840"/>
              <a:gd name="connsiteY740" fmla="*/ 3491704 h 6858285"/>
              <a:gd name="connsiteX741" fmla="*/ 2015083 w 4011840"/>
              <a:gd name="connsiteY741" fmla="*/ 3392501 h 6858285"/>
              <a:gd name="connsiteX742" fmla="*/ 2035412 w 4011840"/>
              <a:gd name="connsiteY742" fmla="*/ 3390086 h 6858285"/>
              <a:gd name="connsiteX743" fmla="*/ 3729540 w 4011840"/>
              <a:gd name="connsiteY743" fmla="*/ 3384850 h 6858285"/>
              <a:gd name="connsiteX744" fmla="*/ 3773836 w 4011840"/>
              <a:gd name="connsiteY744" fmla="*/ 3427575 h 6858285"/>
              <a:gd name="connsiteX745" fmla="*/ 3733748 w 4011840"/>
              <a:gd name="connsiteY745" fmla="*/ 3494041 h 6858285"/>
              <a:gd name="connsiteX746" fmla="*/ 3388242 w 4011840"/>
              <a:gd name="connsiteY746" fmla="*/ 3575701 h 6858285"/>
              <a:gd name="connsiteX747" fmla="*/ 3321424 w 4011840"/>
              <a:gd name="connsiteY747" fmla="*/ 3533921 h 6858285"/>
              <a:gd name="connsiteX748" fmla="*/ 3319515 w 4011840"/>
              <a:gd name="connsiteY748" fmla="*/ 3520628 h 6858285"/>
              <a:gd name="connsiteX749" fmla="*/ 3361512 w 4011840"/>
              <a:gd name="connsiteY749" fmla="*/ 3465555 h 6858285"/>
              <a:gd name="connsiteX750" fmla="*/ 3707020 w 4011840"/>
              <a:gd name="connsiteY750" fmla="*/ 3385799 h 6858285"/>
              <a:gd name="connsiteX751" fmla="*/ 3729540 w 4011840"/>
              <a:gd name="connsiteY751" fmla="*/ 3384850 h 6858285"/>
              <a:gd name="connsiteX752" fmla="*/ 2596040 w 4011840"/>
              <a:gd name="connsiteY752" fmla="*/ 3384845 h 6858285"/>
              <a:gd name="connsiteX753" fmla="*/ 2640334 w 4011840"/>
              <a:gd name="connsiteY753" fmla="*/ 3427574 h 6858285"/>
              <a:gd name="connsiteX754" fmla="*/ 2598338 w 4011840"/>
              <a:gd name="connsiteY754" fmla="*/ 3494041 h 6858285"/>
              <a:gd name="connsiteX755" fmla="*/ 2254725 w 4011840"/>
              <a:gd name="connsiteY755" fmla="*/ 3575701 h 6858285"/>
              <a:gd name="connsiteX756" fmla="*/ 2187911 w 4011840"/>
              <a:gd name="connsiteY756" fmla="*/ 3533921 h 6858285"/>
              <a:gd name="connsiteX757" fmla="*/ 2186002 w 4011840"/>
              <a:gd name="connsiteY757" fmla="*/ 3520628 h 6858285"/>
              <a:gd name="connsiteX758" fmla="*/ 2227999 w 4011840"/>
              <a:gd name="connsiteY758" fmla="*/ 3465555 h 6858285"/>
              <a:gd name="connsiteX759" fmla="*/ 2573520 w 4011840"/>
              <a:gd name="connsiteY759" fmla="*/ 3385794 h 6858285"/>
              <a:gd name="connsiteX760" fmla="*/ 2596040 w 4011840"/>
              <a:gd name="connsiteY760" fmla="*/ 3384845 h 6858285"/>
              <a:gd name="connsiteX761" fmla="*/ 3137316 w 4011840"/>
              <a:gd name="connsiteY761" fmla="*/ 3377570 h 6858285"/>
              <a:gd name="connsiteX762" fmla="*/ 3205849 w 4011840"/>
              <a:gd name="connsiteY762" fmla="*/ 3425189 h 6858285"/>
              <a:gd name="connsiteX763" fmla="*/ 3158257 w 4011840"/>
              <a:gd name="connsiteY763" fmla="*/ 3493768 h 6858285"/>
              <a:gd name="connsiteX764" fmla="*/ 2813680 w 4011840"/>
              <a:gd name="connsiteY764" fmla="*/ 3556633 h 6858285"/>
              <a:gd name="connsiteX765" fmla="*/ 2745145 w 4011840"/>
              <a:gd name="connsiteY765" fmla="*/ 3509008 h 6858285"/>
              <a:gd name="connsiteX766" fmla="*/ 2743240 w 4011840"/>
              <a:gd name="connsiteY766" fmla="*/ 3497578 h 6858285"/>
              <a:gd name="connsiteX767" fmla="*/ 2792741 w 4011840"/>
              <a:gd name="connsiteY767" fmla="*/ 3440428 h 6858285"/>
              <a:gd name="connsiteX768" fmla="*/ 3137316 w 4011840"/>
              <a:gd name="connsiteY768" fmla="*/ 3377570 h 6858285"/>
              <a:gd name="connsiteX769" fmla="*/ 4011840 w 4011840"/>
              <a:gd name="connsiteY769" fmla="*/ 3141126 h 6858285"/>
              <a:gd name="connsiteX770" fmla="*/ 4011840 w 4011840"/>
              <a:gd name="connsiteY770" fmla="*/ 3251800 h 6858285"/>
              <a:gd name="connsiteX771" fmla="*/ 3953196 w 4011840"/>
              <a:gd name="connsiteY771" fmla="*/ 3267426 h 6858285"/>
              <a:gd name="connsiteX772" fmla="*/ 3886568 w 4011840"/>
              <a:gd name="connsiteY772" fmla="*/ 3229382 h 6858285"/>
              <a:gd name="connsiteX773" fmla="*/ 3884664 w 4011840"/>
              <a:gd name="connsiteY773" fmla="*/ 3216071 h 6858285"/>
              <a:gd name="connsiteX774" fmla="*/ 3924642 w 4011840"/>
              <a:gd name="connsiteY774" fmla="*/ 3164714 h 6858285"/>
              <a:gd name="connsiteX775" fmla="*/ 4008762 w 4011840"/>
              <a:gd name="connsiteY775" fmla="*/ 3141959 h 6858285"/>
              <a:gd name="connsiteX776" fmla="*/ 399603 w 4011840"/>
              <a:gd name="connsiteY776" fmla="*/ 3091489 h 6858285"/>
              <a:gd name="connsiteX777" fmla="*/ 423874 w 4011840"/>
              <a:gd name="connsiteY777" fmla="*/ 3113341 h 6858285"/>
              <a:gd name="connsiteX778" fmla="*/ 401031 w 4011840"/>
              <a:gd name="connsiteY778" fmla="*/ 3170346 h 6858285"/>
              <a:gd name="connsiteX779" fmla="*/ 62187 w 4011840"/>
              <a:gd name="connsiteY779" fmla="*/ 3324257 h 6858285"/>
              <a:gd name="connsiteX780" fmla="*/ 6982 w 4011840"/>
              <a:gd name="connsiteY780" fmla="*/ 3301458 h 6858285"/>
              <a:gd name="connsiteX781" fmla="*/ 3175 w 4011840"/>
              <a:gd name="connsiteY781" fmla="*/ 3284355 h 6858285"/>
              <a:gd name="connsiteX782" fmla="*/ 27922 w 4011840"/>
              <a:gd name="connsiteY782" fmla="*/ 3246351 h 6858285"/>
              <a:gd name="connsiteX783" fmla="*/ 366766 w 4011840"/>
              <a:gd name="connsiteY783" fmla="*/ 3092440 h 6858285"/>
              <a:gd name="connsiteX784" fmla="*/ 399603 w 4011840"/>
              <a:gd name="connsiteY784" fmla="*/ 3091489 h 6858285"/>
              <a:gd name="connsiteX785" fmla="*/ 910964 w 4011840"/>
              <a:gd name="connsiteY785" fmla="*/ 3084205 h 6858285"/>
              <a:gd name="connsiteX786" fmla="*/ 969977 w 4011840"/>
              <a:gd name="connsiteY786" fmla="*/ 3110874 h 6858285"/>
              <a:gd name="connsiteX787" fmla="*/ 945229 w 4011840"/>
              <a:gd name="connsiteY787" fmla="*/ 3171835 h 6858285"/>
              <a:gd name="connsiteX788" fmla="*/ 604476 w 4011840"/>
              <a:gd name="connsiteY788" fmla="*/ 3305182 h 6858285"/>
              <a:gd name="connsiteX789" fmla="*/ 543559 w 4011840"/>
              <a:gd name="connsiteY789" fmla="*/ 3278513 h 6858285"/>
              <a:gd name="connsiteX790" fmla="*/ 539752 w 4011840"/>
              <a:gd name="connsiteY790" fmla="*/ 3261369 h 6858285"/>
              <a:gd name="connsiteX791" fmla="*/ 570210 w 4011840"/>
              <a:gd name="connsiteY791" fmla="*/ 3217554 h 6858285"/>
              <a:gd name="connsiteX792" fmla="*/ 910964 w 4011840"/>
              <a:gd name="connsiteY792" fmla="*/ 3084205 h 6858285"/>
              <a:gd name="connsiteX793" fmla="*/ 1479596 w 4011840"/>
              <a:gd name="connsiteY793" fmla="*/ 3075472 h 6858285"/>
              <a:gd name="connsiteX794" fmla="*/ 1522429 w 4011840"/>
              <a:gd name="connsiteY794" fmla="*/ 3110614 h 6858285"/>
              <a:gd name="connsiteX795" fmla="*/ 1491970 w 4011840"/>
              <a:gd name="connsiteY795" fmla="*/ 3173568 h 6858285"/>
              <a:gd name="connsiteX796" fmla="*/ 1149308 w 4011840"/>
              <a:gd name="connsiteY796" fmla="*/ 3286117 h 6858285"/>
              <a:gd name="connsiteX797" fmla="*/ 1086486 w 4011840"/>
              <a:gd name="connsiteY797" fmla="*/ 3253688 h 6858285"/>
              <a:gd name="connsiteX798" fmla="*/ 1082679 w 4011840"/>
              <a:gd name="connsiteY798" fmla="*/ 3238426 h 6858285"/>
              <a:gd name="connsiteX799" fmla="*/ 1118849 w 4011840"/>
              <a:gd name="connsiteY799" fmla="*/ 3190736 h 6858285"/>
              <a:gd name="connsiteX800" fmla="*/ 1459607 w 4011840"/>
              <a:gd name="connsiteY800" fmla="*/ 3078184 h 6858285"/>
              <a:gd name="connsiteX801" fmla="*/ 1479596 w 4011840"/>
              <a:gd name="connsiteY801" fmla="*/ 3075472 h 6858285"/>
              <a:gd name="connsiteX802" fmla="*/ 2036269 w 4011840"/>
              <a:gd name="connsiteY802" fmla="*/ 3070212 h 6858285"/>
              <a:gd name="connsiteX803" fmla="*/ 2081548 w 4011840"/>
              <a:gd name="connsiteY803" fmla="*/ 3109532 h 6858285"/>
              <a:gd name="connsiteX804" fmla="*/ 2043443 w 4011840"/>
              <a:gd name="connsiteY804" fmla="*/ 3176106 h 6858285"/>
              <a:gd name="connsiteX805" fmla="*/ 1700538 w 4011840"/>
              <a:gd name="connsiteY805" fmla="*/ 3267409 h 6858285"/>
              <a:gd name="connsiteX806" fmla="*/ 1633862 w 4011840"/>
              <a:gd name="connsiteY806" fmla="*/ 3229366 h 6858285"/>
              <a:gd name="connsiteX807" fmla="*/ 1631957 w 4011840"/>
              <a:gd name="connsiteY807" fmla="*/ 3216051 h 6858285"/>
              <a:gd name="connsiteX808" fmla="*/ 1671963 w 4011840"/>
              <a:gd name="connsiteY808" fmla="*/ 3164695 h 6858285"/>
              <a:gd name="connsiteX809" fmla="*/ 2014867 w 4011840"/>
              <a:gd name="connsiteY809" fmla="*/ 3071490 h 6858285"/>
              <a:gd name="connsiteX810" fmla="*/ 2036269 w 4011840"/>
              <a:gd name="connsiteY810" fmla="*/ 3070212 h 6858285"/>
              <a:gd name="connsiteX811" fmla="*/ 3731232 w 4011840"/>
              <a:gd name="connsiteY811" fmla="*/ 3064526 h 6858285"/>
              <a:gd name="connsiteX812" fmla="*/ 3777344 w 4011840"/>
              <a:gd name="connsiteY812" fmla="*/ 3109067 h 6858285"/>
              <a:gd name="connsiteX813" fmla="*/ 3731588 w 4011840"/>
              <a:gd name="connsiteY813" fmla="*/ 3177757 h 6858285"/>
              <a:gd name="connsiteX814" fmla="*/ 3386557 w 4011840"/>
              <a:gd name="connsiteY814" fmla="*/ 3250258 h 6858285"/>
              <a:gd name="connsiteX815" fmla="*/ 3317928 w 4011840"/>
              <a:gd name="connsiteY815" fmla="*/ 3204467 h 6858285"/>
              <a:gd name="connsiteX816" fmla="*/ 3317928 w 4011840"/>
              <a:gd name="connsiteY816" fmla="*/ 3193018 h 6858285"/>
              <a:gd name="connsiteX817" fmla="*/ 3363681 w 4011840"/>
              <a:gd name="connsiteY817" fmla="*/ 3135781 h 6858285"/>
              <a:gd name="connsiteX818" fmla="*/ 3708712 w 4011840"/>
              <a:gd name="connsiteY818" fmla="*/ 3065182 h 6858285"/>
              <a:gd name="connsiteX819" fmla="*/ 3731232 w 4011840"/>
              <a:gd name="connsiteY819" fmla="*/ 3064526 h 6858285"/>
              <a:gd name="connsiteX820" fmla="*/ 2597728 w 4011840"/>
              <a:gd name="connsiteY820" fmla="*/ 3064505 h 6858285"/>
              <a:gd name="connsiteX821" fmla="*/ 2643838 w 4011840"/>
              <a:gd name="connsiteY821" fmla="*/ 3109046 h 6858285"/>
              <a:gd name="connsiteX822" fmla="*/ 2598086 w 4011840"/>
              <a:gd name="connsiteY822" fmla="*/ 3177737 h 6858285"/>
              <a:gd name="connsiteX823" fmla="*/ 2253042 w 4011840"/>
              <a:gd name="connsiteY823" fmla="*/ 3250241 h 6858285"/>
              <a:gd name="connsiteX824" fmla="*/ 2184414 w 4011840"/>
              <a:gd name="connsiteY824" fmla="*/ 3204449 h 6858285"/>
              <a:gd name="connsiteX825" fmla="*/ 2184414 w 4011840"/>
              <a:gd name="connsiteY825" fmla="*/ 3193000 h 6858285"/>
              <a:gd name="connsiteX826" fmla="*/ 2230166 w 4011840"/>
              <a:gd name="connsiteY826" fmla="*/ 3135760 h 6858285"/>
              <a:gd name="connsiteX827" fmla="*/ 2575210 w 4011840"/>
              <a:gd name="connsiteY827" fmla="*/ 3065161 h 6858285"/>
              <a:gd name="connsiteX828" fmla="*/ 2597728 w 4011840"/>
              <a:gd name="connsiteY828" fmla="*/ 3064505 h 6858285"/>
              <a:gd name="connsiteX829" fmla="*/ 3139002 w 4011840"/>
              <a:gd name="connsiteY829" fmla="*/ 3058185 h 6858285"/>
              <a:gd name="connsiteX830" fmla="*/ 3209344 w 4011840"/>
              <a:gd name="connsiteY830" fmla="*/ 3111524 h 6858285"/>
              <a:gd name="connsiteX831" fmla="*/ 3156112 w 4011840"/>
              <a:gd name="connsiteY831" fmla="*/ 3180105 h 6858285"/>
              <a:gd name="connsiteX832" fmla="*/ 2811996 w 4011840"/>
              <a:gd name="connsiteY832" fmla="*/ 3231532 h 6858285"/>
              <a:gd name="connsiteX833" fmla="*/ 2741653 w 4011840"/>
              <a:gd name="connsiteY833" fmla="*/ 3180105 h 6858285"/>
              <a:gd name="connsiteX834" fmla="*/ 2741653 w 4011840"/>
              <a:gd name="connsiteY834" fmla="*/ 3170578 h 6858285"/>
              <a:gd name="connsiteX835" fmla="*/ 2792985 w 4011840"/>
              <a:gd name="connsiteY835" fmla="*/ 3109621 h 6858285"/>
              <a:gd name="connsiteX836" fmla="*/ 3139002 w 4011840"/>
              <a:gd name="connsiteY836" fmla="*/ 3058185 h 6858285"/>
              <a:gd name="connsiteX837" fmla="*/ 4011840 w 4011840"/>
              <a:gd name="connsiteY837" fmla="*/ 2813695 h 6858285"/>
              <a:gd name="connsiteX838" fmla="*/ 4011840 w 4011840"/>
              <a:gd name="connsiteY838" fmla="*/ 2929155 h 6858285"/>
              <a:gd name="connsiteX839" fmla="*/ 3953196 w 4011840"/>
              <a:gd name="connsiteY839" fmla="*/ 2943545 h 6858285"/>
              <a:gd name="connsiteX840" fmla="*/ 3884664 w 4011840"/>
              <a:gd name="connsiteY840" fmla="*/ 2901507 h 6858285"/>
              <a:gd name="connsiteX841" fmla="*/ 3884664 w 4011840"/>
              <a:gd name="connsiteY841" fmla="*/ 2888131 h 6858285"/>
              <a:gd name="connsiteX842" fmla="*/ 3926546 w 4011840"/>
              <a:gd name="connsiteY842" fmla="*/ 2834624 h 6858285"/>
              <a:gd name="connsiteX843" fmla="*/ 4010200 w 4011840"/>
              <a:gd name="connsiteY843" fmla="*/ 2814097 h 6858285"/>
              <a:gd name="connsiteX844" fmla="*/ 399603 w 4011840"/>
              <a:gd name="connsiteY844" fmla="*/ 2769236 h 6858285"/>
              <a:gd name="connsiteX845" fmla="*/ 423874 w 4011840"/>
              <a:gd name="connsiteY845" fmla="*/ 2791116 h 6858285"/>
              <a:gd name="connsiteX846" fmla="*/ 401030 w 4011840"/>
              <a:gd name="connsiteY846" fmla="*/ 2848194 h 6858285"/>
              <a:gd name="connsiteX847" fmla="*/ 62187 w 4011840"/>
              <a:gd name="connsiteY847" fmla="*/ 3000399 h 6858285"/>
              <a:gd name="connsiteX848" fmla="*/ 6982 w 4011840"/>
              <a:gd name="connsiteY848" fmla="*/ 2979471 h 6858285"/>
              <a:gd name="connsiteX849" fmla="*/ 3175 w 4011840"/>
              <a:gd name="connsiteY849" fmla="*/ 2960446 h 6858285"/>
              <a:gd name="connsiteX850" fmla="*/ 27922 w 4011840"/>
              <a:gd name="connsiteY850" fmla="*/ 2922394 h 6858285"/>
              <a:gd name="connsiteX851" fmla="*/ 366765 w 4011840"/>
              <a:gd name="connsiteY851" fmla="*/ 2770189 h 6858285"/>
              <a:gd name="connsiteX852" fmla="*/ 399603 w 4011840"/>
              <a:gd name="connsiteY852" fmla="*/ 2769236 h 6858285"/>
              <a:gd name="connsiteX853" fmla="*/ 930705 w 4011840"/>
              <a:gd name="connsiteY853" fmla="*/ 2760523 h 6858285"/>
              <a:gd name="connsiteX854" fmla="*/ 973124 w 4011840"/>
              <a:gd name="connsiteY854" fmla="*/ 2790565 h 6858285"/>
              <a:gd name="connsiteX855" fmla="*/ 946396 w 4011840"/>
              <a:gd name="connsiteY855" fmla="*/ 2851609 h 6858285"/>
              <a:gd name="connsiteX856" fmla="*/ 604662 w 4011840"/>
              <a:gd name="connsiteY856" fmla="*/ 2981323 h 6858285"/>
              <a:gd name="connsiteX857" fmla="*/ 543570 w 4011840"/>
              <a:gd name="connsiteY857" fmla="*/ 2954616 h 6858285"/>
              <a:gd name="connsiteX858" fmla="*/ 539752 w 4011840"/>
              <a:gd name="connsiteY858" fmla="*/ 2937448 h 6858285"/>
              <a:gd name="connsiteX859" fmla="*/ 570298 w 4011840"/>
              <a:gd name="connsiteY859" fmla="*/ 2893575 h 6858285"/>
              <a:gd name="connsiteX860" fmla="*/ 912032 w 4011840"/>
              <a:gd name="connsiteY860" fmla="*/ 2763862 h 6858285"/>
              <a:gd name="connsiteX861" fmla="*/ 930705 w 4011840"/>
              <a:gd name="connsiteY861" fmla="*/ 2760523 h 6858285"/>
              <a:gd name="connsiteX862" fmla="*/ 1482623 w 4011840"/>
              <a:gd name="connsiteY862" fmla="*/ 2755562 h 6858285"/>
              <a:gd name="connsiteX863" fmla="*/ 1525577 w 4011840"/>
              <a:gd name="connsiteY863" fmla="*/ 2791407 h 6858285"/>
              <a:gd name="connsiteX864" fmla="*/ 1493123 w 4011840"/>
              <a:gd name="connsiteY864" fmla="*/ 2856085 h 6858285"/>
              <a:gd name="connsiteX865" fmla="*/ 1149495 w 4011840"/>
              <a:gd name="connsiteY865" fmla="*/ 2962612 h 6858285"/>
              <a:gd name="connsiteX866" fmla="*/ 1084588 w 4011840"/>
              <a:gd name="connsiteY866" fmla="*/ 2928370 h 6858285"/>
              <a:gd name="connsiteX867" fmla="*/ 1082679 w 4011840"/>
              <a:gd name="connsiteY867" fmla="*/ 2913153 h 6858285"/>
              <a:gd name="connsiteX868" fmla="*/ 1118950 w 4011840"/>
              <a:gd name="connsiteY868" fmla="*/ 2863693 h 6858285"/>
              <a:gd name="connsiteX869" fmla="*/ 1462578 w 4011840"/>
              <a:gd name="connsiteY869" fmla="*/ 2757168 h 6858285"/>
              <a:gd name="connsiteX870" fmla="*/ 1482623 w 4011840"/>
              <a:gd name="connsiteY870" fmla="*/ 2755562 h 6858285"/>
              <a:gd name="connsiteX871" fmla="*/ 2037929 w 4011840"/>
              <a:gd name="connsiteY871" fmla="*/ 2750376 h 6858285"/>
              <a:gd name="connsiteX872" fmla="*/ 2083145 w 4011840"/>
              <a:gd name="connsiteY872" fmla="*/ 2792565 h 6858285"/>
              <a:gd name="connsiteX873" fmla="*/ 2043190 w 4011840"/>
              <a:gd name="connsiteY873" fmla="*/ 2859446 h 6858285"/>
              <a:gd name="connsiteX874" fmla="*/ 1698856 w 4011840"/>
              <a:gd name="connsiteY874" fmla="*/ 2943524 h 6858285"/>
              <a:gd name="connsiteX875" fmla="*/ 1632272 w 4011840"/>
              <a:gd name="connsiteY875" fmla="*/ 2901486 h 6858285"/>
              <a:gd name="connsiteX876" fmla="*/ 1630369 w 4011840"/>
              <a:gd name="connsiteY876" fmla="*/ 2888109 h 6858285"/>
              <a:gd name="connsiteX877" fmla="*/ 1672222 w 4011840"/>
              <a:gd name="connsiteY877" fmla="*/ 2834604 h 6858285"/>
              <a:gd name="connsiteX878" fmla="*/ 2016556 w 4011840"/>
              <a:gd name="connsiteY878" fmla="*/ 2750526 h 6858285"/>
              <a:gd name="connsiteX879" fmla="*/ 2037929 w 4011840"/>
              <a:gd name="connsiteY879" fmla="*/ 2750376 h 6858285"/>
              <a:gd name="connsiteX880" fmla="*/ 3710448 w 4011840"/>
              <a:gd name="connsiteY880" fmla="*/ 2745765 h 6858285"/>
              <a:gd name="connsiteX881" fmla="*/ 3778944 w 4011840"/>
              <a:gd name="connsiteY881" fmla="*/ 2795292 h 6858285"/>
              <a:gd name="connsiteX882" fmla="*/ 3731376 w 4011840"/>
              <a:gd name="connsiteY882" fmla="*/ 2863875 h 6858285"/>
              <a:gd name="connsiteX883" fmla="*/ 3385145 w 4011840"/>
              <a:gd name="connsiteY883" fmla="*/ 2924837 h 6858285"/>
              <a:gd name="connsiteX884" fmla="*/ 3316655 w 4011840"/>
              <a:gd name="connsiteY884" fmla="*/ 2875305 h 6858285"/>
              <a:gd name="connsiteX885" fmla="*/ 3314753 w 4011840"/>
              <a:gd name="connsiteY885" fmla="*/ 2865779 h 6858285"/>
              <a:gd name="connsiteX886" fmla="*/ 3364218 w 4011840"/>
              <a:gd name="connsiteY886" fmla="*/ 2806724 h 6858285"/>
              <a:gd name="connsiteX887" fmla="*/ 3710448 w 4011840"/>
              <a:gd name="connsiteY887" fmla="*/ 2745765 h 6858285"/>
              <a:gd name="connsiteX888" fmla="*/ 2576948 w 4011840"/>
              <a:gd name="connsiteY888" fmla="*/ 2745743 h 6858285"/>
              <a:gd name="connsiteX889" fmla="*/ 2645436 w 4011840"/>
              <a:gd name="connsiteY889" fmla="*/ 2795273 h 6858285"/>
              <a:gd name="connsiteX890" fmla="*/ 2595973 w 4011840"/>
              <a:gd name="connsiteY890" fmla="*/ 2863852 h 6858285"/>
              <a:gd name="connsiteX891" fmla="*/ 2251629 w 4011840"/>
              <a:gd name="connsiteY891" fmla="*/ 2924813 h 6858285"/>
              <a:gd name="connsiteX892" fmla="*/ 2183141 w 4011840"/>
              <a:gd name="connsiteY892" fmla="*/ 2875282 h 6858285"/>
              <a:gd name="connsiteX893" fmla="*/ 2181238 w 4011840"/>
              <a:gd name="connsiteY893" fmla="*/ 2865758 h 6858285"/>
              <a:gd name="connsiteX894" fmla="*/ 2230702 w 4011840"/>
              <a:gd name="connsiteY894" fmla="*/ 2806703 h 6858285"/>
              <a:gd name="connsiteX895" fmla="*/ 2576948 w 4011840"/>
              <a:gd name="connsiteY895" fmla="*/ 2745743 h 6858285"/>
              <a:gd name="connsiteX896" fmla="*/ 3140488 w 4011840"/>
              <a:gd name="connsiteY896" fmla="*/ 2739127 h 6858285"/>
              <a:gd name="connsiteX897" fmla="*/ 3210926 w 4011840"/>
              <a:gd name="connsiteY897" fmla="*/ 2796693 h 6858285"/>
              <a:gd name="connsiteX898" fmla="*/ 3153818 w 4011840"/>
              <a:gd name="connsiteY898" fmla="*/ 2867695 h 6858285"/>
              <a:gd name="connsiteX899" fmla="*/ 2807329 w 4011840"/>
              <a:gd name="connsiteY899" fmla="*/ 2906076 h 6858285"/>
              <a:gd name="connsiteX900" fmla="*/ 2736893 w 4011840"/>
              <a:gd name="connsiteY900" fmla="*/ 2848505 h 6858285"/>
              <a:gd name="connsiteX901" fmla="*/ 2736893 w 4011840"/>
              <a:gd name="connsiteY901" fmla="*/ 2840828 h 6858285"/>
              <a:gd name="connsiteX902" fmla="*/ 2794003 w 4011840"/>
              <a:gd name="connsiteY902" fmla="*/ 2777505 h 6858285"/>
              <a:gd name="connsiteX903" fmla="*/ 3140488 w 4011840"/>
              <a:gd name="connsiteY903" fmla="*/ 2739127 h 6858285"/>
              <a:gd name="connsiteX904" fmla="*/ 4011840 w 4011840"/>
              <a:gd name="connsiteY904" fmla="*/ 2488817 h 6858285"/>
              <a:gd name="connsiteX905" fmla="*/ 4011840 w 4011840"/>
              <a:gd name="connsiteY905" fmla="*/ 2605107 h 6858285"/>
              <a:gd name="connsiteX906" fmla="*/ 3951516 w 4011840"/>
              <a:gd name="connsiteY906" fmla="*/ 2618129 h 6858285"/>
              <a:gd name="connsiteX907" fmla="*/ 3883076 w 4011840"/>
              <a:gd name="connsiteY907" fmla="*/ 2574325 h 6858285"/>
              <a:gd name="connsiteX908" fmla="*/ 3883076 w 4011840"/>
              <a:gd name="connsiteY908" fmla="*/ 2562897 h 6858285"/>
              <a:gd name="connsiteX909" fmla="*/ 3926804 w 4011840"/>
              <a:gd name="connsiteY909" fmla="*/ 2507652 h 6858285"/>
              <a:gd name="connsiteX910" fmla="*/ 4010808 w 4011840"/>
              <a:gd name="connsiteY910" fmla="*/ 2489046 h 6858285"/>
              <a:gd name="connsiteX911" fmla="*/ 399503 w 4011840"/>
              <a:gd name="connsiteY911" fmla="*/ 2446974 h 6858285"/>
              <a:gd name="connsiteX912" fmla="*/ 423846 w 4011840"/>
              <a:gd name="connsiteY912" fmla="*/ 2468859 h 6858285"/>
              <a:gd name="connsiteX913" fmla="*/ 400935 w 4011840"/>
              <a:gd name="connsiteY913" fmla="*/ 2525937 h 6858285"/>
              <a:gd name="connsiteX914" fmla="*/ 61095 w 4011840"/>
              <a:gd name="connsiteY914" fmla="*/ 2676233 h 6858285"/>
              <a:gd name="connsiteX915" fmla="*/ 3818 w 4011840"/>
              <a:gd name="connsiteY915" fmla="*/ 2655306 h 6858285"/>
              <a:gd name="connsiteX916" fmla="*/ 0 w 4011840"/>
              <a:gd name="connsiteY916" fmla="*/ 2638182 h 6858285"/>
              <a:gd name="connsiteX917" fmla="*/ 26729 w 4011840"/>
              <a:gd name="connsiteY917" fmla="*/ 2598228 h 6858285"/>
              <a:gd name="connsiteX918" fmla="*/ 366569 w 4011840"/>
              <a:gd name="connsiteY918" fmla="*/ 2447925 h 6858285"/>
              <a:gd name="connsiteX919" fmla="*/ 399503 w 4011840"/>
              <a:gd name="connsiteY919" fmla="*/ 2446974 h 6858285"/>
              <a:gd name="connsiteX920" fmla="*/ 930705 w 4011840"/>
              <a:gd name="connsiteY920" fmla="*/ 2440109 h 6858285"/>
              <a:gd name="connsiteX921" fmla="*/ 973124 w 4011840"/>
              <a:gd name="connsiteY921" fmla="*/ 2471595 h 6858285"/>
              <a:gd name="connsiteX922" fmla="*/ 944487 w 4011840"/>
              <a:gd name="connsiteY922" fmla="*/ 2532310 h 6858285"/>
              <a:gd name="connsiteX923" fmla="*/ 602753 w 4011840"/>
              <a:gd name="connsiteY923" fmla="*/ 2657520 h 6858285"/>
              <a:gd name="connsiteX924" fmla="*/ 541661 w 4011840"/>
              <a:gd name="connsiteY924" fmla="*/ 2629065 h 6858285"/>
              <a:gd name="connsiteX925" fmla="*/ 539751 w 4011840"/>
              <a:gd name="connsiteY925" fmla="*/ 2613887 h 6858285"/>
              <a:gd name="connsiteX926" fmla="*/ 570297 w 4011840"/>
              <a:gd name="connsiteY926" fmla="*/ 2568357 h 6858285"/>
              <a:gd name="connsiteX927" fmla="*/ 912032 w 4011840"/>
              <a:gd name="connsiteY927" fmla="*/ 2443134 h 6858285"/>
              <a:gd name="connsiteX928" fmla="*/ 930705 w 4011840"/>
              <a:gd name="connsiteY928" fmla="*/ 2440109 h 6858285"/>
              <a:gd name="connsiteX929" fmla="*/ 1482958 w 4011840"/>
              <a:gd name="connsiteY929" fmla="*/ 2434934 h 6858285"/>
              <a:gd name="connsiteX930" fmla="*/ 1527491 w 4011840"/>
              <a:gd name="connsiteY930" fmla="*/ 2472764 h 6858285"/>
              <a:gd name="connsiteX931" fmla="*/ 1491245 w 4011840"/>
              <a:gd name="connsiteY931" fmla="*/ 2537631 h 6858285"/>
              <a:gd name="connsiteX932" fmla="*/ 1147861 w 4011840"/>
              <a:gd name="connsiteY932" fmla="*/ 2638738 h 6858285"/>
              <a:gd name="connsiteX933" fmla="*/ 1082999 w 4011840"/>
              <a:gd name="connsiteY933" fmla="*/ 2602491 h 6858285"/>
              <a:gd name="connsiteX934" fmla="*/ 1081092 w 4011840"/>
              <a:gd name="connsiteY934" fmla="*/ 2587229 h 6858285"/>
              <a:gd name="connsiteX935" fmla="*/ 1119245 w 4011840"/>
              <a:gd name="connsiteY935" fmla="*/ 2537631 h 6858285"/>
              <a:gd name="connsiteX936" fmla="*/ 1462630 w 4011840"/>
              <a:gd name="connsiteY936" fmla="*/ 2436514 h 6858285"/>
              <a:gd name="connsiteX937" fmla="*/ 1482958 w 4011840"/>
              <a:gd name="connsiteY937" fmla="*/ 2434934 h 6858285"/>
              <a:gd name="connsiteX938" fmla="*/ 2016607 w 4011840"/>
              <a:gd name="connsiteY938" fmla="*/ 2431420 h 6858285"/>
              <a:gd name="connsiteX939" fmla="*/ 2085053 w 4011840"/>
              <a:gd name="connsiteY939" fmla="*/ 2475236 h 6858285"/>
              <a:gd name="connsiteX940" fmla="*/ 2041322 w 4011840"/>
              <a:gd name="connsiteY940" fmla="*/ 2543819 h 6858285"/>
              <a:gd name="connsiteX941" fmla="*/ 1697222 w 4011840"/>
              <a:gd name="connsiteY941" fmla="*/ 2618110 h 6858285"/>
              <a:gd name="connsiteX942" fmla="*/ 1630683 w 4011840"/>
              <a:gd name="connsiteY942" fmla="*/ 2574297 h 6858285"/>
              <a:gd name="connsiteX943" fmla="*/ 1628782 w 4011840"/>
              <a:gd name="connsiteY943" fmla="*/ 2562869 h 6858285"/>
              <a:gd name="connsiteX944" fmla="*/ 1674409 w 4011840"/>
              <a:gd name="connsiteY944" fmla="*/ 2507623 h 6858285"/>
              <a:gd name="connsiteX945" fmla="*/ 2016607 w 4011840"/>
              <a:gd name="connsiteY945" fmla="*/ 2431420 h 6858285"/>
              <a:gd name="connsiteX946" fmla="*/ 2799530 w 4011840"/>
              <a:gd name="connsiteY946" fmla="*/ 2428900 h 6858285"/>
              <a:gd name="connsiteX947" fmla="*/ 3148601 w 4011840"/>
              <a:gd name="connsiteY947" fmla="*/ 2428900 h 6858285"/>
              <a:gd name="connsiteX948" fmla="*/ 3221085 w 4011840"/>
              <a:gd name="connsiteY948" fmla="*/ 2499556 h 6858285"/>
              <a:gd name="connsiteX949" fmla="*/ 3148601 w 4011840"/>
              <a:gd name="connsiteY949" fmla="*/ 2570198 h 6858285"/>
              <a:gd name="connsiteX950" fmla="*/ 2799530 w 4011840"/>
              <a:gd name="connsiteY950" fmla="*/ 2570198 h 6858285"/>
              <a:gd name="connsiteX951" fmla="*/ 2728953 w 4011840"/>
              <a:gd name="connsiteY951" fmla="*/ 2499556 h 6858285"/>
              <a:gd name="connsiteX952" fmla="*/ 2799530 w 4011840"/>
              <a:gd name="connsiteY952" fmla="*/ 2428900 h 6858285"/>
              <a:gd name="connsiteX953" fmla="*/ 3713474 w 4011840"/>
              <a:gd name="connsiteY953" fmla="*/ 2424773 h 6858285"/>
              <a:gd name="connsiteX954" fmla="*/ 3782104 w 4011840"/>
              <a:gd name="connsiteY954" fmla="*/ 2478118 h 6858285"/>
              <a:gd name="connsiteX955" fmla="*/ 3730632 w 4011840"/>
              <a:gd name="connsiteY955" fmla="*/ 2546706 h 6858285"/>
              <a:gd name="connsiteX956" fmla="*/ 3383699 w 4011840"/>
              <a:gd name="connsiteY956" fmla="*/ 2598127 h 6858285"/>
              <a:gd name="connsiteX957" fmla="*/ 3315071 w 4011840"/>
              <a:gd name="connsiteY957" fmla="*/ 2546706 h 6858285"/>
              <a:gd name="connsiteX958" fmla="*/ 3313164 w 4011840"/>
              <a:gd name="connsiteY958" fmla="*/ 2537183 h 6858285"/>
              <a:gd name="connsiteX959" fmla="*/ 3366541 w 4011840"/>
              <a:gd name="connsiteY959" fmla="*/ 2476213 h 6858285"/>
              <a:gd name="connsiteX960" fmla="*/ 3713474 w 4011840"/>
              <a:gd name="connsiteY960" fmla="*/ 2424773 h 6858285"/>
              <a:gd name="connsiteX961" fmla="*/ 2578386 w 4011840"/>
              <a:gd name="connsiteY961" fmla="*/ 2424750 h 6858285"/>
              <a:gd name="connsiteX962" fmla="*/ 2647013 w 4011840"/>
              <a:gd name="connsiteY962" fmla="*/ 2478093 h 6858285"/>
              <a:gd name="connsiteX963" fmla="*/ 2595543 w 4011840"/>
              <a:gd name="connsiteY963" fmla="*/ 2546673 h 6858285"/>
              <a:gd name="connsiteX964" fmla="*/ 2248597 w 4011840"/>
              <a:gd name="connsiteY964" fmla="*/ 2598105 h 6858285"/>
              <a:gd name="connsiteX965" fmla="*/ 2179970 w 4011840"/>
              <a:gd name="connsiteY965" fmla="*/ 2546673 h 6858285"/>
              <a:gd name="connsiteX966" fmla="*/ 2178064 w 4011840"/>
              <a:gd name="connsiteY966" fmla="*/ 2537148 h 6858285"/>
              <a:gd name="connsiteX967" fmla="*/ 2231440 w 4011840"/>
              <a:gd name="connsiteY967" fmla="*/ 2476187 h 6858285"/>
              <a:gd name="connsiteX968" fmla="*/ 2578386 w 4011840"/>
              <a:gd name="connsiteY968" fmla="*/ 2424750 h 6858285"/>
              <a:gd name="connsiteX969" fmla="*/ 4011840 w 4011840"/>
              <a:gd name="connsiteY969" fmla="*/ 2170473 h 6858285"/>
              <a:gd name="connsiteX970" fmla="*/ 4011840 w 4011840"/>
              <a:gd name="connsiteY970" fmla="*/ 2283142 h 6858285"/>
              <a:gd name="connsiteX971" fmla="*/ 3952804 w 4011840"/>
              <a:gd name="connsiteY971" fmla="*/ 2297465 h 6858285"/>
              <a:gd name="connsiteX972" fmla="*/ 3884032 w 4011840"/>
              <a:gd name="connsiteY972" fmla="*/ 2257651 h 6858285"/>
              <a:gd name="connsiteX973" fmla="*/ 3926060 w 4011840"/>
              <a:gd name="connsiteY973" fmla="*/ 2191286 h 6858285"/>
              <a:gd name="connsiteX974" fmla="*/ 4010006 w 4011840"/>
              <a:gd name="connsiteY974" fmla="*/ 2170918 h 6858285"/>
              <a:gd name="connsiteX975" fmla="*/ 398983 w 4011840"/>
              <a:gd name="connsiteY975" fmla="*/ 2123120 h 6858285"/>
              <a:gd name="connsiteX976" fmla="*/ 423236 w 4011840"/>
              <a:gd name="connsiteY976" fmla="*/ 2145003 h 6858285"/>
              <a:gd name="connsiteX977" fmla="*/ 427040 w 4011840"/>
              <a:gd name="connsiteY977" fmla="*/ 2164030 h 6858285"/>
              <a:gd name="connsiteX978" fmla="*/ 402312 w 4011840"/>
              <a:gd name="connsiteY978" fmla="*/ 2202079 h 6858285"/>
              <a:gd name="connsiteX979" fmla="*/ 61813 w 4011840"/>
              <a:gd name="connsiteY979" fmla="*/ 2354282 h 6858285"/>
              <a:gd name="connsiteX980" fmla="*/ 6649 w 4011840"/>
              <a:gd name="connsiteY980" fmla="*/ 2333354 h 6858285"/>
              <a:gd name="connsiteX981" fmla="*/ 27573 w 4011840"/>
              <a:gd name="connsiteY981" fmla="*/ 2276277 h 6858285"/>
              <a:gd name="connsiteX982" fmla="*/ 366169 w 4011840"/>
              <a:gd name="connsiteY982" fmla="*/ 2124071 h 6858285"/>
              <a:gd name="connsiteX983" fmla="*/ 398983 w 4011840"/>
              <a:gd name="connsiteY983" fmla="*/ 2123120 h 6858285"/>
              <a:gd name="connsiteX984" fmla="*/ 930370 w 4011840"/>
              <a:gd name="connsiteY984" fmla="*/ 2116219 h 6858285"/>
              <a:gd name="connsiteX985" fmla="*/ 972820 w 4011840"/>
              <a:gd name="connsiteY985" fmla="*/ 2145797 h 6858285"/>
              <a:gd name="connsiteX986" fmla="*/ 974730 w 4011840"/>
              <a:gd name="connsiteY986" fmla="*/ 2162851 h 6858285"/>
              <a:gd name="connsiteX987" fmla="*/ 944162 w 4011840"/>
              <a:gd name="connsiteY987" fmla="*/ 2206429 h 6858285"/>
              <a:gd name="connsiteX988" fmla="*/ 602179 w 4011840"/>
              <a:gd name="connsiteY988" fmla="*/ 2335271 h 6858285"/>
              <a:gd name="connsiteX989" fmla="*/ 542953 w 4011840"/>
              <a:gd name="connsiteY989" fmla="*/ 2308740 h 6858285"/>
              <a:gd name="connsiteX990" fmla="*/ 569700 w 4011840"/>
              <a:gd name="connsiteY990" fmla="*/ 2248111 h 6858285"/>
              <a:gd name="connsiteX991" fmla="*/ 911683 w 4011840"/>
              <a:gd name="connsiteY991" fmla="*/ 2119271 h 6858285"/>
              <a:gd name="connsiteX992" fmla="*/ 930370 w 4011840"/>
              <a:gd name="connsiteY992" fmla="*/ 2116219 h 6858285"/>
              <a:gd name="connsiteX993" fmla="*/ 1482447 w 4011840"/>
              <a:gd name="connsiteY993" fmla="*/ 2110273 h 6858285"/>
              <a:gd name="connsiteX994" fmla="*/ 1525280 w 4011840"/>
              <a:gd name="connsiteY994" fmla="*/ 2147134 h 6858285"/>
              <a:gd name="connsiteX995" fmla="*/ 1527184 w 4011840"/>
              <a:gd name="connsiteY995" fmla="*/ 2162332 h 6858285"/>
              <a:gd name="connsiteX996" fmla="*/ 1492917 w 4011840"/>
              <a:gd name="connsiteY996" fmla="*/ 2209820 h 6858285"/>
              <a:gd name="connsiteX997" fmla="*/ 1150255 w 4011840"/>
              <a:gd name="connsiteY997" fmla="*/ 2316193 h 6858285"/>
              <a:gd name="connsiteX998" fmla="*/ 1085530 w 4011840"/>
              <a:gd name="connsiteY998" fmla="*/ 2283894 h 6858285"/>
              <a:gd name="connsiteX999" fmla="*/ 1119796 w 4011840"/>
              <a:gd name="connsiteY999" fmla="*/ 2219317 h 6858285"/>
              <a:gd name="connsiteX1000" fmla="*/ 1462458 w 4011840"/>
              <a:gd name="connsiteY1000" fmla="*/ 2112944 h 6858285"/>
              <a:gd name="connsiteX1001" fmla="*/ 1482447 w 4011840"/>
              <a:gd name="connsiteY1001" fmla="*/ 2110273 h 6858285"/>
              <a:gd name="connsiteX1002" fmla="*/ 2038710 w 4011840"/>
              <a:gd name="connsiteY1002" fmla="*/ 2106607 h 6858285"/>
              <a:gd name="connsiteX1003" fmla="*/ 2084082 w 4011840"/>
              <a:gd name="connsiteY1003" fmla="*/ 2147672 h 6858285"/>
              <a:gd name="connsiteX1004" fmla="*/ 2085991 w 4011840"/>
              <a:gd name="connsiteY1004" fmla="*/ 2160946 h 6858285"/>
              <a:gd name="connsiteX1005" fmla="*/ 2043989 w 4011840"/>
              <a:gd name="connsiteY1005" fmla="*/ 2214037 h 6858285"/>
              <a:gd name="connsiteX1006" fmla="*/ 1698467 w 4011840"/>
              <a:gd name="connsiteY1006" fmla="*/ 2297465 h 6858285"/>
              <a:gd name="connsiteX1007" fmla="*/ 1631654 w 4011840"/>
              <a:gd name="connsiteY1007" fmla="*/ 2257649 h 6858285"/>
              <a:gd name="connsiteX1008" fmla="*/ 1671742 w 4011840"/>
              <a:gd name="connsiteY1008" fmla="*/ 2191284 h 6858285"/>
              <a:gd name="connsiteX1009" fmla="*/ 2017264 w 4011840"/>
              <a:gd name="connsiteY1009" fmla="*/ 2107852 h 6858285"/>
              <a:gd name="connsiteX1010" fmla="*/ 2038710 w 4011840"/>
              <a:gd name="connsiteY1010" fmla="*/ 2106607 h 6858285"/>
              <a:gd name="connsiteX1011" fmla="*/ 3734742 w 4011840"/>
              <a:gd name="connsiteY1011" fmla="*/ 2101210 h 6858285"/>
              <a:gd name="connsiteX1012" fmla="*/ 3779872 w 4011840"/>
              <a:gd name="connsiteY1012" fmla="*/ 2149163 h 6858285"/>
              <a:gd name="connsiteX1013" fmla="*/ 3779872 w 4011840"/>
              <a:gd name="connsiteY1013" fmla="*/ 2158688 h 6858285"/>
              <a:gd name="connsiteX1014" fmla="*/ 3732116 w 4011840"/>
              <a:gd name="connsiteY1014" fmla="*/ 2217741 h 6858285"/>
              <a:gd name="connsiteX1015" fmla="*/ 3384469 w 4011840"/>
              <a:gd name="connsiteY1015" fmla="*/ 2278699 h 6858285"/>
              <a:gd name="connsiteX1016" fmla="*/ 3315701 w 4011840"/>
              <a:gd name="connsiteY1016" fmla="*/ 2231076 h 6858285"/>
              <a:gd name="connsiteX1017" fmla="*/ 3363456 w 4011840"/>
              <a:gd name="connsiteY1017" fmla="*/ 2160593 h 6858285"/>
              <a:gd name="connsiteX1018" fmla="*/ 3711104 w 4011840"/>
              <a:gd name="connsiteY1018" fmla="*/ 2101538 h 6858285"/>
              <a:gd name="connsiteX1019" fmla="*/ 3734742 w 4011840"/>
              <a:gd name="connsiteY1019" fmla="*/ 2101210 h 6858285"/>
              <a:gd name="connsiteX1020" fmla="*/ 2601252 w 4011840"/>
              <a:gd name="connsiteY1020" fmla="*/ 2101207 h 6858285"/>
              <a:gd name="connsiteX1021" fmla="*/ 2646380 w 4011840"/>
              <a:gd name="connsiteY1021" fmla="*/ 2149158 h 6858285"/>
              <a:gd name="connsiteX1022" fmla="*/ 2646380 w 4011840"/>
              <a:gd name="connsiteY1022" fmla="*/ 2158685 h 6858285"/>
              <a:gd name="connsiteX1023" fmla="*/ 2596715 w 4011840"/>
              <a:gd name="connsiteY1023" fmla="*/ 2217739 h 6858285"/>
              <a:gd name="connsiteX1024" fmla="*/ 2250972 w 4011840"/>
              <a:gd name="connsiteY1024" fmla="*/ 2278698 h 6858285"/>
              <a:gd name="connsiteX1025" fmla="*/ 2182205 w 4011840"/>
              <a:gd name="connsiteY1025" fmla="*/ 2231074 h 6858285"/>
              <a:gd name="connsiteX1026" fmla="*/ 2229960 w 4011840"/>
              <a:gd name="connsiteY1026" fmla="*/ 2160590 h 6858285"/>
              <a:gd name="connsiteX1027" fmla="*/ 2577613 w 4011840"/>
              <a:gd name="connsiteY1027" fmla="*/ 2101535 h 6858285"/>
              <a:gd name="connsiteX1028" fmla="*/ 2601252 w 4011840"/>
              <a:gd name="connsiteY1028" fmla="*/ 2101207 h 6858285"/>
              <a:gd name="connsiteX1029" fmla="*/ 3141099 w 4011840"/>
              <a:gd name="connsiteY1029" fmla="*/ 2094543 h 6858285"/>
              <a:gd name="connsiteX1030" fmla="*/ 3211539 w 4011840"/>
              <a:gd name="connsiteY1030" fmla="*/ 2151589 h 6858285"/>
              <a:gd name="connsiteX1031" fmla="*/ 3211539 w 4011840"/>
              <a:gd name="connsiteY1031" fmla="*/ 2159195 h 6858285"/>
              <a:gd name="connsiteX1032" fmla="*/ 3156330 w 4011840"/>
              <a:gd name="connsiteY1032" fmla="*/ 2221944 h 6858285"/>
              <a:gd name="connsiteX1033" fmla="*/ 2807941 w 4011840"/>
              <a:gd name="connsiteY1033" fmla="*/ 2259975 h 6858285"/>
              <a:gd name="connsiteX1034" fmla="*/ 2737501 w 4011840"/>
              <a:gd name="connsiteY1034" fmla="*/ 2202929 h 6858285"/>
              <a:gd name="connsiteX1035" fmla="*/ 2794615 w 4011840"/>
              <a:gd name="connsiteY1035" fmla="*/ 2132570 h 6858285"/>
              <a:gd name="connsiteX1036" fmla="*/ 3141099 w 4011840"/>
              <a:gd name="connsiteY1036" fmla="*/ 2094543 h 6858285"/>
              <a:gd name="connsiteX1037" fmla="*/ 4011840 w 4011840"/>
              <a:gd name="connsiteY1037" fmla="*/ 1849489 h 6858285"/>
              <a:gd name="connsiteX1038" fmla="*/ 4011840 w 4011840"/>
              <a:gd name="connsiteY1038" fmla="*/ 1962430 h 6858285"/>
              <a:gd name="connsiteX1039" fmla="*/ 3952612 w 4011840"/>
              <a:gd name="connsiteY1039" fmla="*/ 1978320 h 6858285"/>
              <a:gd name="connsiteX1040" fmla="*/ 3885932 w 4011840"/>
              <a:gd name="connsiteY1040" fmla="*/ 1939991 h 6858285"/>
              <a:gd name="connsiteX1041" fmla="*/ 3924032 w 4011840"/>
              <a:gd name="connsiteY1041" fmla="*/ 1872916 h 6858285"/>
              <a:gd name="connsiteX1042" fmla="*/ 4008210 w 4011840"/>
              <a:gd name="connsiteY1042" fmla="*/ 1850457 h 6858285"/>
              <a:gd name="connsiteX1043" fmla="*/ 398962 w 4011840"/>
              <a:gd name="connsiteY1043" fmla="*/ 1800917 h 6858285"/>
              <a:gd name="connsiteX1044" fmla="*/ 423233 w 4011840"/>
              <a:gd name="connsiteY1044" fmla="*/ 1822936 h 6858285"/>
              <a:gd name="connsiteX1045" fmla="*/ 427041 w 4011840"/>
              <a:gd name="connsiteY1045" fmla="*/ 1840169 h 6858285"/>
              <a:gd name="connsiteX1046" fmla="*/ 400390 w 4011840"/>
              <a:gd name="connsiteY1046" fmla="*/ 1878463 h 6858285"/>
              <a:gd name="connsiteX1047" fmla="*/ 61546 w 4011840"/>
              <a:gd name="connsiteY1047" fmla="*/ 2033553 h 6858285"/>
              <a:gd name="connsiteX1048" fmla="*/ 6342 w 4011840"/>
              <a:gd name="connsiteY1048" fmla="*/ 2012491 h 6858285"/>
              <a:gd name="connsiteX1049" fmla="*/ 27281 w 4011840"/>
              <a:gd name="connsiteY1049" fmla="*/ 1955050 h 6858285"/>
              <a:gd name="connsiteX1050" fmla="*/ 366125 w 4011840"/>
              <a:gd name="connsiteY1050" fmla="*/ 1801874 h 6858285"/>
              <a:gd name="connsiteX1051" fmla="*/ 398962 w 4011840"/>
              <a:gd name="connsiteY1051" fmla="*/ 1800917 h 6858285"/>
              <a:gd name="connsiteX1052" fmla="*/ 929266 w 4011840"/>
              <a:gd name="connsiteY1052" fmla="*/ 1792140 h 6858285"/>
              <a:gd name="connsiteX1053" fmla="*/ 970909 w 4011840"/>
              <a:gd name="connsiteY1053" fmla="*/ 1822144 h 6858285"/>
              <a:gd name="connsiteX1054" fmla="*/ 974730 w 4011840"/>
              <a:gd name="connsiteY1054" fmla="*/ 1839289 h 6858285"/>
              <a:gd name="connsiteX1055" fmla="*/ 946072 w 4011840"/>
              <a:gd name="connsiteY1055" fmla="*/ 1883104 h 6858285"/>
              <a:gd name="connsiteX1056" fmla="*/ 604089 w 4011840"/>
              <a:gd name="connsiteY1056" fmla="*/ 2014549 h 6858285"/>
              <a:gd name="connsiteX1057" fmla="*/ 542953 w 4011840"/>
              <a:gd name="connsiteY1057" fmla="*/ 1989784 h 6858285"/>
              <a:gd name="connsiteX1058" fmla="*/ 569700 w 4011840"/>
              <a:gd name="connsiteY1058" fmla="*/ 1928824 h 6858285"/>
              <a:gd name="connsiteX1059" fmla="*/ 911683 w 4011840"/>
              <a:gd name="connsiteY1059" fmla="*/ 1795473 h 6858285"/>
              <a:gd name="connsiteX1060" fmla="*/ 929266 w 4011840"/>
              <a:gd name="connsiteY1060" fmla="*/ 1792140 h 6858285"/>
              <a:gd name="connsiteX1061" fmla="*/ 1480544 w 4011840"/>
              <a:gd name="connsiteY1061" fmla="*/ 1786402 h 6858285"/>
              <a:gd name="connsiteX1062" fmla="*/ 1523376 w 4011840"/>
              <a:gd name="connsiteY1062" fmla="*/ 1819714 h 6858285"/>
              <a:gd name="connsiteX1063" fmla="*/ 1527184 w 4011840"/>
              <a:gd name="connsiteY1063" fmla="*/ 1836908 h 6858285"/>
              <a:gd name="connsiteX1064" fmla="*/ 1492918 w 4011840"/>
              <a:gd name="connsiteY1064" fmla="*/ 1884667 h 6858285"/>
              <a:gd name="connsiteX1065" fmla="*/ 1150255 w 4011840"/>
              <a:gd name="connsiteY1065" fmla="*/ 1997380 h 6858285"/>
              <a:gd name="connsiteX1066" fmla="*/ 1087434 w 4011840"/>
              <a:gd name="connsiteY1066" fmla="*/ 1964903 h 6858285"/>
              <a:gd name="connsiteX1067" fmla="*/ 1119796 w 4011840"/>
              <a:gd name="connsiteY1067" fmla="*/ 1901861 h 6858285"/>
              <a:gd name="connsiteX1068" fmla="*/ 1460555 w 4011840"/>
              <a:gd name="connsiteY1068" fmla="*/ 1789148 h 6858285"/>
              <a:gd name="connsiteX1069" fmla="*/ 1480544 w 4011840"/>
              <a:gd name="connsiteY1069" fmla="*/ 1786402 h 6858285"/>
              <a:gd name="connsiteX1070" fmla="*/ 2035632 w 4011840"/>
              <a:gd name="connsiteY1070" fmla="*/ 1779621 h 6858285"/>
              <a:gd name="connsiteX1071" fmla="*/ 2080910 w 4011840"/>
              <a:gd name="connsiteY1071" fmla="*/ 1819238 h 6858285"/>
              <a:gd name="connsiteX1072" fmla="*/ 2082815 w 4011840"/>
              <a:gd name="connsiteY1072" fmla="*/ 1834569 h 6858285"/>
              <a:gd name="connsiteX1073" fmla="*/ 2042805 w 4011840"/>
              <a:gd name="connsiteY1073" fmla="*/ 1886314 h 6858285"/>
              <a:gd name="connsiteX1074" fmla="*/ 1699901 w 4011840"/>
              <a:gd name="connsiteY1074" fmla="*/ 1978302 h 6858285"/>
              <a:gd name="connsiteX1075" fmla="*/ 1633225 w 4011840"/>
              <a:gd name="connsiteY1075" fmla="*/ 1939974 h 6858285"/>
              <a:gd name="connsiteX1076" fmla="*/ 1671326 w 4011840"/>
              <a:gd name="connsiteY1076" fmla="*/ 1872898 h 6858285"/>
              <a:gd name="connsiteX1077" fmla="*/ 2014230 w 4011840"/>
              <a:gd name="connsiteY1077" fmla="*/ 1780909 h 6858285"/>
              <a:gd name="connsiteX1078" fmla="*/ 2035632 w 4011840"/>
              <a:gd name="connsiteY1078" fmla="*/ 1779621 h 6858285"/>
              <a:gd name="connsiteX1079" fmla="*/ 3732186 w 4011840"/>
              <a:gd name="connsiteY1079" fmla="*/ 1775473 h 6858285"/>
              <a:gd name="connsiteX1080" fmla="*/ 3778300 w 4011840"/>
              <a:gd name="connsiteY1080" fmla="*/ 1820015 h 6858285"/>
              <a:gd name="connsiteX1081" fmla="*/ 3778300 w 4011840"/>
              <a:gd name="connsiteY1081" fmla="*/ 1831463 h 6858285"/>
              <a:gd name="connsiteX1082" fmla="*/ 3732544 w 4011840"/>
              <a:gd name="connsiteY1082" fmla="*/ 1888705 h 6858285"/>
              <a:gd name="connsiteX1083" fmla="*/ 3387514 w 4011840"/>
              <a:gd name="connsiteY1083" fmla="*/ 1959303 h 6858285"/>
              <a:gd name="connsiteX1084" fmla="*/ 3318883 w 4011840"/>
              <a:gd name="connsiteY1084" fmla="*/ 1915418 h 6858285"/>
              <a:gd name="connsiteX1085" fmla="*/ 3364636 w 4011840"/>
              <a:gd name="connsiteY1085" fmla="*/ 1846728 h 6858285"/>
              <a:gd name="connsiteX1086" fmla="*/ 3709668 w 4011840"/>
              <a:gd name="connsiteY1086" fmla="*/ 1776129 h 6858285"/>
              <a:gd name="connsiteX1087" fmla="*/ 3732186 w 4011840"/>
              <a:gd name="connsiteY1087" fmla="*/ 1775473 h 6858285"/>
              <a:gd name="connsiteX1088" fmla="*/ 2597096 w 4011840"/>
              <a:gd name="connsiteY1088" fmla="*/ 1775454 h 6858285"/>
              <a:gd name="connsiteX1089" fmla="*/ 2643205 w 4011840"/>
              <a:gd name="connsiteY1089" fmla="*/ 1819995 h 6858285"/>
              <a:gd name="connsiteX1090" fmla="*/ 2643205 w 4011840"/>
              <a:gd name="connsiteY1090" fmla="*/ 1831444 h 6858285"/>
              <a:gd name="connsiteX1091" fmla="*/ 2597453 w 4011840"/>
              <a:gd name="connsiteY1091" fmla="*/ 1888685 h 6858285"/>
              <a:gd name="connsiteX1092" fmla="*/ 2252409 w 4011840"/>
              <a:gd name="connsiteY1092" fmla="*/ 1959283 h 6858285"/>
              <a:gd name="connsiteX1093" fmla="*/ 2183781 w 4011840"/>
              <a:gd name="connsiteY1093" fmla="*/ 1915398 h 6858285"/>
              <a:gd name="connsiteX1094" fmla="*/ 2229533 w 4011840"/>
              <a:gd name="connsiteY1094" fmla="*/ 1846708 h 6858285"/>
              <a:gd name="connsiteX1095" fmla="*/ 2574577 w 4011840"/>
              <a:gd name="connsiteY1095" fmla="*/ 1776110 h 6858285"/>
              <a:gd name="connsiteX1096" fmla="*/ 2597096 w 4011840"/>
              <a:gd name="connsiteY1096" fmla="*/ 1775454 h 6858285"/>
              <a:gd name="connsiteX1097" fmla="*/ 3139439 w 4011840"/>
              <a:gd name="connsiteY1097" fmla="*/ 1767852 h 6858285"/>
              <a:gd name="connsiteX1098" fmla="*/ 3209972 w 4011840"/>
              <a:gd name="connsiteY1098" fmla="*/ 1819198 h 6858285"/>
              <a:gd name="connsiteX1099" fmla="*/ 3209972 w 4011840"/>
              <a:gd name="connsiteY1099" fmla="*/ 1828706 h 6858285"/>
              <a:gd name="connsiteX1100" fmla="*/ 3156596 w 4011840"/>
              <a:gd name="connsiteY1100" fmla="*/ 1889561 h 6858285"/>
              <a:gd name="connsiteX1101" fmla="*/ 2811555 w 4011840"/>
              <a:gd name="connsiteY1101" fmla="*/ 1939005 h 6858285"/>
              <a:gd name="connsiteX1102" fmla="*/ 2741022 w 4011840"/>
              <a:gd name="connsiteY1102" fmla="*/ 1887660 h 6858285"/>
              <a:gd name="connsiteX1103" fmla="*/ 2792492 w 4011840"/>
              <a:gd name="connsiteY1103" fmla="*/ 1819198 h 6858285"/>
              <a:gd name="connsiteX1104" fmla="*/ 3139439 w 4011840"/>
              <a:gd name="connsiteY1104" fmla="*/ 1767852 h 6858285"/>
              <a:gd name="connsiteX1105" fmla="*/ 4011840 w 4011840"/>
              <a:gd name="connsiteY1105" fmla="*/ 1531095 h 6858285"/>
              <a:gd name="connsiteX1106" fmla="*/ 4011840 w 4011840"/>
              <a:gd name="connsiteY1106" fmla="*/ 1641028 h 6858285"/>
              <a:gd name="connsiteX1107" fmla="*/ 3954252 w 4011840"/>
              <a:gd name="connsiteY1107" fmla="*/ 1657678 h 6858285"/>
              <a:gd name="connsiteX1108" fmla="*/ 3887528 w 4011840"/>
              <a:gd name="connsiteY1108" fmla="*/ 1621430 h 6858285"/>
              <a:gd name="connsiteX1109" fmla="*/ 3923748 w 4011840"/>
              <a:gd name="connsiteY1109" fmla="*/ 1556564 h 6858285"/>
              <a:gd name="connsiteX1110" fmla="*/ 4007518 w 4011840"/>
              <a:gd name="connsiteY1110" fmla="*/ 1532344 h 6858285"/>
              <a:gd name="connsiteX1111" fmla="*/ 398249 w 4011840"/>
              <a:gd name="connsiteY1111" fmla="*/ 1477054 h 6858285"/>
              <a:gd name="connsiteX1112" fmla="*/ 423234 w 4011840"/>
              <a:gd name="connsiteY1112" fmla="*/ 1499043 h 6858285"/>
              <a:gd name="connsiteX1113" fmla="*/ 427041 w 4011840"/>
              <a:gd name="connsiteY1113" fmla="*/ 1516254 h 6858285"/>
              <a:gd name="connsiteX1114" fmla="*/ 402294 w 4011840"/>
              <a:gd name="connsiteY1114" fmla="*/ 1556411 h 6858285"/>
              <a:gd name="connsiteX1115" fmla="*/ 61547 w 4011840"/>
              <a:gd name="connsiteY1115" fmla="*/ 1711302 h 6858285"/>
              <a:gd name="connsiteX1116" fmla="*/ 6342 w 4011840"/>
              <a:gd name="connsiteY1116" fmla="*/ 1690267 h 6858285"/>
              <a:gd name="connsiteX1117" fmla="*/ 27282 w 4011840"/>
              <a:gd name="connsiteY1117" fmla="*/ 1632900 h 6858285"/>
              <a:gd name="connsiteX1118" fmla="*/ 366125 w 4011840"/>
              <a:gd name="connsiteY1118" fmla="*/ 1478010 h 6858285"/>
              <a:gd name="connsiteX1119" fmla="*/ 398249 w 4011840"/>
              <a:gd name="connsiteY1119" fmla="*/ 1477054 h 6858285"/>
              <a:gd name="connsiteX1120" fmla="*/ 929397 w 4011840"/>
              <a:gd name="connsiteY1120" fmla="*/ 1468271 h 6858285"/>
              <a:gd name="connsiteX1121" fmla="*/ 970920 w 4011840"/>
              <a:gd name="connsiteY1121" fmla="*/ 1498195 h 6858285"/>
              <a:gd name="connsiteX1122" fmla="*/ 974730 w 4011840"/>
              <a:gd name="connsiteY1122" fmla="*/ 1515296 h 6858285"/>
              <a:gd name="connsiteX1123" fmla="*/ 946155 w 4011840"/>
              <a:gd name="connsiteY1123" fmla="*/ 1557096 h 6858285"/>
              <a:gd name="connsiteX1124" fmla="*/ 605156 w 4011840"/>
              <a:gd name="connsiteY1124" fmla="*/ 1693897 h 6858285"/>
              <a:gd name="connsiteX1125" fmla="*/ 546100 w 4011840"/>
              <a:gd name="connsiteY1125" fmla="*/ 1667296 h 6858285"/>
              <a:gd name="connsiteX1126" fmla="*/ 570866 w 4011840"/>
              <a:gd name="connsiteY1126" fmla="*/ 1608396 h 6858285"/>
              <a:gd name="connsiteX1127" fmla="*/ 911865 w 4011840"/>
              <a:gd name="connsiteY1127" fmla="*/ 1471596 h 6858285"/>
              <a:gd name="connsiteX1128" fmla="*/ 929397 w 4011840"/>
              <a:gd name="connsiteY1128" fmla="*/ 1468271 h 6858285"/>
              <a:gd name="connsiteX1129" fmla="*/ 1479724 w 4011840"/>
              <a:gd name="connsiteY1129" fmla="*/ 1461429 h 6858285"/>
              <a:gd name="connsiteX1130" fmla="*/ 1523689 w 4011840"/>
              <a:gd name="connsiteY1130" fmla="*/ 1493843 h 6858285"/>
              <a:gd name="connsiteX1131" fmla="*/ 1525596 w 4011840"/>
              <a:gd name="connsiteY1131" fmla="*/ 1510988 h 6858285"/>
              <a:gd name="connsiteX1132" fmla="*/ 1493187 w 4011840"/>
              <a:gd name="connsiteY1132" fmla="*/ 1556708 h 6858285"/>
              <a:gd name="connsiteX1133" fmla="*/ 1150039 w 4011840"/>
              <a:gd name="connsiteY1133" fmla="*/ 1674820 h 6858285"/>
              <a:gd name="connsiteX1134" fmla="*/ 1089034 w 4011840"/>
              <a:gd name="connsiteY1134" fmla="*/ 1644339 h 6858285"/>
              <a:gd name="connsiteX1135" fmla="*/ 1117630 w 4011840"/>
              <a:gd name="connsiteY1135" fmla="*/ 1583379 h 6858285"/>
              <a:gd name="connsiteX1136" fmla="*/ 1460779 w 4011840"/>
              <a:gd name="connsiteY1136" fmla="*/ 1463363 h 6858285"/>
              <a:gd name="connsiteX1137" fmla="*/ 1479724 w 4011840"/>
              <a:gd name="connsiteY1137" fmla="*/ 1461429 h 6858285"/>
              <a:gd name="connsiteX1138" fmla="*/ 2034947 w 4011840"/>
              <a:gd name="connsiteY1138" fmla="*/ 1454929 h 6858285"/>
              <a:gd name="connsiteX1139" fmla="*/ 2079328 w 4011840"/>
              <a:gd name="connsiteY1139" fmla="*/ 1491683 h 6858285"/>
              <a:gd name="connsiteX1140" fmla="*/ 2081229 w 4011840"/>
              <a:gd name="connsiteY1140" fmla="*/ 1506945 h 6858285"/>
              <a:gd name="connsiteX1141" fmla="*/ 2043204 w 4011840"/>
              <a:gd name="connsiteY1141" fmla="*/ 1558456 h 6858285"/>
              <a:gd name="connsiteX1142" fmla="*/ 1701020 w 4011840"/>
              <a:gd name="connsiteY1142" fmla="*/ 1657662 h 6858285"/>
              <a:gd name="connsiteX1143" fmla="*/ 1636385 w 4011840"/>
              <a:gd name="connsiteY1143" fmla="*/ 1621413 h 6858285"/>
              <a:gd name="connsiteX1144" fmla="*/ 1672505 w 4011840"/>
              <a:gd name="connsiteY1144" fmla="*/ 1556548 h 6858285"/>
              <a:gd name="connsiteX1145" fmla="*/ 2014689 w 4011840"/>
              <a:gd name="connsiteY1145" fmla="*/ 1457343 h 6858285"/>
              <a:gd name="connsiteX1146" fmla="*/ 2034947 w 4011840"/>
              <a:gd name="connsiteY1146" fmla="*/ 1454929 h 6858285"/>
              <a:gd name="connsiteX1147" fmla="*/ 3729076 w 4011840"/>
              <a:gd name="connsiteY1147" fmla="*/ 1449674 h 6858285"/>
              <a:gd name="connsiteX1148" fmla="*/ 3773220 w 4011840"/>
              <a:gd name="connsiteY1148" fmla="*/ 1490533 h 6858285"/>
              <a:gd name="connsiteX1149" fmla="*/ 3775124 w 4011840"/>
              <a:gd name="connsiteY1149" fmla="*/ 1503826 h 6858285"/>
              <a:gd name="connsiteX1150" fmla="*/ 3733268 w 4011840"/>
              <a:gd name="connsiteY1150" fmla="*/ 1558900 h 6858285"/>
              <a:gd name="connsiteX1151" fmla="*/ 3388949 w 4011840"/>
              <a:gd name="connsiteY1151" fmla="*/ 1638661 h 6858285"/>
              <a:gd name="connsiteX1152" fmla="*/ 3322361 w 4011840"/>
              <a:gd name="connsiteY1152" fmla="*/ 1598781 h 6858285"/>
              <a:gd name="connsiteX1153" fmla="*/ 3362311 w 4011840"/>
              <a:gd name="connsiteY1153" fmla="*/ 1530413 h 6858285"/>
              <a:gd name="connsiteX1154" fmla="*/ 3706634 w 4011840"/>
              <a:gd name="connsiteY1154" fmla="*/ 1450653 h 6858285"/>
              <a:gd name="connsiteX1155" fmla="*/ 3729076 w 4011840"/>
              <a:gd name="connsiteY1155" fmla="*/ 1449674 h 6858285"/>
              <a:gd name="connsiteX1156" fmla="*/ 2595306 w 4011840"/>
              <a:gd name="connsiteY1156" fmla="*/ 1449656 h 6858285"/>
              <a:gd name="connsiteX1157" fmla="*/ 2639715 w 4011840"/>
              <a:gd name="connsiteY1157" fmla="*/ 1490515 h 6858285"/>
              <a:gd name="connsiteX1158" fmla="*/ 2641617 w 4011840"/>
              <a:gd name="connsiteY1158" fmla="*/ 1503809 h 6858285"/>
              <a:gd name="connsiteX1159" fmla="*/ 2597862 w 4011840"/>
              <a:gd name="connsiteY1159" fmla="*/ 1558882 h 6858285"/>
              <a:gd name="connsiteX1160" fmla="*/ 2255431 w 4011840"/>
              <a:gd name="connsiteY1160" fmla="*/ 1638643 h 6858285"/>
              <a:gd name="connsiteX1161" fmla="*/ 2188847 w 4011840"/>
              <a:gd name="connsiteY1161" fmla="*/ 1598762 h 6858285"/>
              <a:gd name="connsiteX1162" fmla="*/ 2228797 w 4011840"/>
              <a:gd name="connsiteY1162" fmla="*/ 1530396 h 6858285"/>
              <a:gd name="connsiteX1163" fmla="*/ 2573131 w 4011840"/>
              <a:gd name="connsiteY1163" fmla="*/ 1450635 h 6858285"/>
              <a:gd name="connsiteX1164" fmla="*/ 2595306 w 4011840"/>
              <a:gd name="connsiteY1164" fmla="*/ 1449656 h 6858285"/>
              <a:gd name="connsiteX1165" fmla="*/ 3137758 w 4011840"/>
              <a:gd name="connsiteY1165" fmla="*/ 1442422 h 6858285"/>
              <a:gd name="connsiteX1166" fmla="*/ 3206474 w 4011840"/>
              <a:gd name="connsiteY1166" fmla="*/ 1490047 h 6858285"/>
              <a:gd name="connsiteX1167" fmla="*/ 3208386 w 4011840"/>
              <a:gd name="connsiteY1167" fmla="*/ 1499571 h 6858285"/>
              <a:gd name="connsiteX1168" fmla="*/ 3158756 w 4011840"/>
              <a:gd name="connsiteY1168" fmla="*/ 1558627 h 6858285"/>
              <a:gd name="connsiteX1169" fmla="*/ 2813246 w 4011840"/>
              <a:gd name="connsiteY1169" fmla="*/ 1621493 h 6858285"/>
              <a:gd name="connsiteX1170" fmla="*/ 2744526 w 4011840"/>
              <a:gd name="connsiteY1170" fmla="*/ 1573867 h 6858285"/>
              <a:gd name="connsiteX1171" fmla="*/ 2792249 w 4011840"/>
              <a:gd name="connsiteY1171" fmla="*/ 1505286 h 6858285"/>
              <a:gd name="connsiteX1172" fmla="*/ 3137758 w 4011840"/>
              <a:gd name="connsiteY1172" fmla="*/ 1442422 h 6858285"/>
              <a:gd name="connsiteX1173" fmla="*/ 4011840 w 4011840"/>
              <a:gd name="connsiteY1173" fmla="*/ 1212485 h 6858285"/>
              <a:gd name="connsiteX1174" fmla="*/ 4011840 w 4011840"/>
              <a:gd name="connsiteY1174" fmla="*/ 1319140 h 6858285"/>
              <a:gd name="connsiteX1175" fmla="*/ 3955366 w 4011840"/>
              <a:gd name="connsiteY1175" fmla="*/ 1337024 h 6858285"/>
              <a:gd name="connsiteX1176" fmla="*/ 3890684 w 4011840"/>
              <a:gd name="connsiteY1176" fmla="*/ 1302782 h 6858285"/>
              <a:gd name="connsiteX1177" fmla="*/ 3924928 w 4011840"/>
              <a:gd name="connsiteY1177" fmla="*/ 1240007 h 6858285"/>
              <a:gd name="connsiteX1178" fmla="*/ 4008522 w 4011840"/>
              <a:gd name="connsiteY1178" fmla="*/ 1213536 h 6858285"/>
              <a:gd name="connsiteX1179" fmla="*/ 398307 w 4011840"/>
              <a:gd name="connsiteY1179" fmla="*/ 1155612 h 6858285"/>
              <a:gd name="connsiteX1180" fmla="*/ 421644 w 4011840"/>
              <a:gd name="connsiteY1180" fmla="*/ 1178178 h 6858285"/>
              <a:gd name="connsiteX1181" fmla="*/ 425454 w 4011840"/>
              <a:gd name="connsiteY1181" fmla="*/ 1195279 h 6858285"/>
              <a:gd name="connsiteX1182" fmla="*/ 402594 w 4011840"/>
              <a:gd name="connsiteY1182" fmla="*/ 1233281 h 6858285"/>
              <a:gd name="connsiteX1183" fmla="*/ 61595 w 4011840"/>
              <a:gd name="connsiteY1183" fmla="*/ 1389098 h 6858285"/>
              <a:gd name="connsiteX1184" fmla="*/ 6349 w 4011840"/>
              <a:gd name="connsiteY1184" fmla="*/ 1368196 h 6858285"/>
              <a:gd name="connsiteX1185" fmla="*/ 27304 w 4011840"/>
              <a:gd name="connsiteY1185" fmla="*/ 1313089 h 6858285"/>
              <a:gd name="connsiteX1186" fmla="*/ 366398 w 4011840"/>
              <a:gd name="connsiteY1186" fmla="*/ 1157275 h 6858285"/>
              <a:gd name="connsiteX1187" fmla="*/ 398307 w 4011840"/>
              <a:gd name="connsiteY1187" fmla="*/ 1155612 h 6858285"/>
              <a:gd name="connsiteX1188" fmla="*/ 929385 w 4011840"/>
              <a:gd name="connsiteY1188" fmla="*/ 1144384 h 6858285"/>
              <a:gd name="connsiteX1189" fmla="*/ 969330 w 4011840"/>
              <a:gd name="connsiteY1189" fmla="*/ 1172402 h 6858285"/>
              <a:gd name="connsiteX1190" fmla="*/ 973143 w 4011840"/>
              <a:gd name="connsiteY1190" fmla="*/ 1189481 h 6858285"/>
              <a:gd name="connsiteX1191" fmla="*/ 946453 w 4011840"/>
              <a:gd name="connsiteY1191" fmla="*/ 1231226 h 6858285"/>
              <a:gd name="connsiteX1192" fmla="*/ 605206 w 4011840"/>
              <a:gd name="connsiteY1192" fmla="*/ 1371647 h 6858285"/>
              <a:gd name="connsiteX1193" fmla="*/ 546107 w 4011840"/>
              <a:gd name="connsiteY1193" fmla="*/ 1346978 h 6858285"/>
              <a:gd name="connsiteX1194" fmla="*/ 570891 w 4011840"/>
              <a:gd name="connsiteY1194" fmla="*/ 1288153 h 6858285"/>
              <a:gd name="connsiteX1195" fmla="*/ 912138 w 4011840"/>
              <a:gd name="connsiteY1195" fmla="*/ 1147734 h 6858285"/>
              <a:gd name="connsiteX1196" fmla="*/ 929385 w 4011840"/>
              <a:gd name="connsiteY1196" fmla="*/ 1144384 h 6858285"/>
              <a:gd name="connsiteX1197" fmla="*/ 1478252 w 4011840"/>
              <a:gd name="connsiteY1197" fmla="*/ 1136777 h 6858285"/>
              <a:gd name="connsiteX1198" fmla="*/ 1520519 w 4011840"/>
              <a:gd name="connsiteY1198" fmla="*/ 1168302 h 6858285"/>
              <a:gd name="connsiteX1199" fmla="*/ 1522421 w 4011840"/>
              <a:gd name="connsiteY1199" fmla="*/ 1185401 h 6858285"/>
              <a:gd name="connsiteX1200" fmla="*/ 1491984 w 4011840"/>
              <a:gd name="connsiteY1200" fmla="*/ 1230995 h 6858285"/>
              <a:gd name="connsiteX1201" fmla="*/ 1151475 w 4011840"/>
              <a:gd name="connsiteY1201" fmla="*/ 1354481 h 6858285"/>
              <a:gd name="connsiteX1202" fmla="*/ 1088700 w 4011840"/>
              <a:gd name="connsiteY1202" fmla="*/ 1325984 h 6858285"/>
              <a:gd name="connsiteX1203" fmla="*/ 1117234 w 4011840"/>
              <a:gd name="connsiteY1203" fmla="*/ 1263291 h 6858285"/>
              <a:gd name="connsiteX1204" fmla="*/ 1459646 w 4011840"/>
              <a:gd name="connsiteY1204" fmla="*/ 1139805 h 6858285"/>
              <a:gd name="connsiteX1205" fmla="*/ 1478252 w 4011840"/>
              <a:gd name="connsiteY1205" fmla="*/ 1136777 h 6858285"/>
              <a:gd name="connsiteX1206" fmla="*/ 2033027 w 4011840"/>
              <a:gd name="connsiteY1206" fmla="*/ 1129690 h 6858285"/>
              <a:gd name="connsiteX1207" fmla="*/ 2077738 w 4011840"/>
              <a:gd name="connsiteY1207" fmla="*/ 1165803 h 6858285"/>
              <a:gd name="connsiteX1208" fmla="*/ 2079641 w 4011840"/>
              <a:gd name="connsiteY1208" fmla="*/ 1181022 h 6858285"/>
              <a:gd name="connsiteX1209" fmla="*/ 2043467 w 4011840"/>
              <a:gd name="connsiteY1209" fmla="*/ 1228577 h 6858285"/>
              <a:gd name="connsiteX1210" fmla="*/ 1702708 w 4011840"/>
              <a:gd name="connsiteY1210" fmla="*/ 1337007 h 6858285"/>
              <a:gd name="connsiteX1211" fmla="*/ 1637983 w 4011840"/>
              <a:gd name="connsiteY1211" fmla="*/ 1302766 h 6858285"/>
              <a:gd name="connsiteX1212" fmla="*/ 1670346 w 4011840"/>
              <a:gd name="connsiteY1212" fmla="*/ 1239991 h 6858285"/>
              <a:gd name="connsiteX1213" fmla="*/ 2013008 w 4011840"/>
              <a:gd name="connsiteY1213" fmla="*/ 1131563 h 6858285"/>
              <a:gd name="connsiteX1214" fmla="*/ 2033027 w 4011840"/>
              <a:gd name="connsiteY1214" fmla="*/ 1129690 h 6858285"/>
              <a:gd name="connsiteX1215" fmla="*/ 3726352 w 4011840"/>
              <a:gd name="connsiteY1215" fmla="*/ 1122412 h 6858285"/>
              <a:gd name="connsiteX1216" fmla="*/ 3771630 w 4011840"/>
              <a:gd name="connsiteY1216" fmla="*/ 1162029 h 6858285"/>
              <a:gd name="connsiteX1217" fmla="*/ 3773534 w 4011840"/>
              <a:gd name="connsiteY1217" fmla="*/ 1175444 h 6858285"/>
              <a:gd name="connsiteX1218" fmla="*/ 3733528 w 4011840"/>
              <a:gd name="connsiteY1218" fmla="*/ 1229103 h 6858285"/>
              <a:gd name="connsiteX1219" fmla="*/ 3390637 w 4011840"/>
              <a:gd name="connsiteY1219" fmla="*/ 1321092 h 6858285"/>
              <a:gd name="connsiteX1220" fmla="*/ 3323960 w 4011840"/>
              <a:gd name="connsiteY1220" fmla="*/ 1282761 h 6858285"/>
              <a:gd name="connsiteX1221" fmla="*/ 3362061 w 4011840"/>
              <a:gd name="connsiteY1221" fmla="*/ 1215690 h 6858285"/>
              <a:gd name="connsiteX1222" fmla="*/ 3704952 w 4011840"/>
              <a:gd name="connsiteY1222" fmla="*/ 1123700 h 6858285"/>
              <a:gd name="connsiteX1223" fmla="*/ 3726352 w 4011840"/>
              <a:gd name="connsiteY1223" fmla="*/ 1122412 h 6858285"/>
              <a:gd name="connsiteX1224" fmla="*/ 2592851 w 4011840"/>
              <a:gd name="connsiteY1224" fmla="*/ 1122392 h 6858285"/>
              <a:gd name="connsiteX1225" fmla="*/ 2638126 w 4011840"/>
              <a:gd name="connsiteY1225" fmla="*/ 1162008 h 6858285"/>
              <a:gd name="connsiteX1226" fmla="*/ 2640030 w 4011840"/>
              <a:gd name="connsiteY1226" fmla="*/ 1175424 h 6858285"/>
              <a:gd name="connsiteX1227" fmla="*/ 2600026 w 4011840"/>
              <a:gd name="connsiteY1227" fmla="*/ 1229084 h 6858285"/>
              <a:gd name="connsiteX1228" fmla="*/ 2257121 w 4011840"/>
              <a:gd name="connsiteY1228" fmla="*/ 1321073 h 6858285"/>
              <a:gd name="connsiteX1229" fmla="*/ 2190445 w 4011840"/>
              <a:gd name="connsiteY1229" fmla="*/ 1282744 h 6858285"/>
              <a:gd name="connsiteX1230" fmla="*/ 2228546 w 4011840"/>
              <a:gd name="connsiteY1230" fmla="*/ 1215669 h 6858285"/>
              <a:gd name="connsiteX1231" fmla="*/ 2571449 w 4011840"/>
              <a:gd name="connsiteY1231" fmla="*/ 1123680 h 6858285"/>
              <a:gd name="connsiteX1232" fmla="*/ 2592851 w 4011840"/>
              <a:gd name="connsiteY1232" fmla="*/ 1122392 h 6858285"/>
              <a:gd name="connsiteX1233" fmla="*/ 3157611 w 4011840"/>
              <a:gd name="connsiteY1233" fmla="*/ 1116352 h 6858285"/>
              <a:gd name="connsiteX1234" fmla="*/ 3201722 w 4011840"/>
              <a:gd name="connsiteY1234" fmla="*/ 1159215 h 6858285"/>
              <a:gd name="connsiteX1235" fmla="*/ 3203624 w 4011840"/>
              <a:gd name="connsiteY1235" fmla="*/ 1172550 h 6858285"/>
              <a:gd name="connsiteX1236" fmla="*/ 3159900 w 4011840"/>
              <a:gd name="connsiteY1236" fmla="*/ 1227794 h 6858285"/>
              <a:gd name="connsiteX1237" fmla="*/ 2815797 w 4011840"/>
              <a:gd name="connsiteY1237" fmla="*/ 1303992 h 6858285"/>
              <a:gd name="connsiteX1238" fmla="*/ 2747356 w 4011840"/>
              <a:gd name="connsiteY1238" fmla="*/ 1260177 h 6858285"/>
              <a:gd name="connsiteX1239" fmla="*/ 2791085 w 4011840"/>
              <a:gd name="connsiteY1239" fmla="*/ 1191600 h 6858285"/>
              <a:gd name="connsiteX1240" fmla="*/ 3135184 w 4011840"/>
              <a:gd name="connsiteY1240" fmla="*/ 1117304 h 6858285"/>
              <a:gd name="connsiteX1241" fmla="*/ 3157611 w 4011840"/>
              <a:gd name="connsiteY1241" fmla="*/ 1116352 h 6858285"/>
              <a:gd name="connsiteX1242" fmla="*/ 4011840 w 4011840"/>
              <a:gd name="connsiteY1242" fmla="*/ 892779 h 6858285"/>
              <a:gd name="connsiteX1243" fmla="*/ 4011840 w 4011840"/>
              <a:gd name="connsiteY1243" fmla="*/ 999216 h 6858285"/>
              <a:gd name="connsiteX1244" fmla="*/ 3957056 w 4011840"/>
              <a:gd name="connsiteY1244" fmla="*/ 1017912 h 6858285"/>
              <a:gd name="connsiteX1245" fmla="*/ 3894188 w 4011840"/>
              <a:gd name="connsiteY1245" fmla="*/ 985481 h 6858285"/>
              <a:gd name="connsiteX1246" fmla="*/ 3924668 w 4011840"/>
              <a:gd name="connsiteY1246" fmla="*/ 922528 h 6858285"/>
              <a:gd name="connsiteX1247" fmla="*/ 4007916 w 4011840"/>
              <a:gd name="connsiteY1247" fmla="*/ 894118 h 6858285"/>
              <a:gd name="connsiteX1248" fmla="*/ 398307 w 4011840"/>
              <a:gd name="connsiteY1248" fmla="*/ 832461 h 6858285"/>
              <a:gd name="connsiteX1249" fmla="*/ 421644 w 4011840"/>
              <a:gd name="connsiteY1249" fmla="*/ 854286 h 6858285"/>
              <a:gd name="connsiteX1250" fmla="*/ 425454 w 4011840"/>
              <a:gd name="connsiteY1250" fmla="*/ 871366 h 6858285"/>
              <a:gd name="connsiteX1251" fmla="*/ 400689 w 4011840"/>
              <a:gd name="connsiteY1251" fmla="*/ 909323 h 6858285"/>
              <a:gd name="connsiteX1252" fmla="*/ 61595 w 4011840"/>
              <a:gd name="connsiteY1252" fmla="*/ 1066847 h 6858285"/>
              <a:gd name="connsiteX1253" fmla="*/ 6349 w 4011840"/>
              <a:gd name="connsiteY1253" fmla="*/ 1045967 h 6858285"/>
              <a:gd name="connsiteX1254" fmla="*/ 27304 w 4011840"/>
              <a:gd name="connsiteY1254" fmla="*/ 990930 h 6858285"/>
              <a:gd name="connsiteX1255" fmla="*/ 366398 w 4011840"/>
              <a:gd name="connsiteY1255" fmla="*/ 833409 h 6858285"/>
              <a:gd name="connsiteX1256" fmla="*/ 398307 w 4011840"/>
              <a:gd name="connsiteY1256" fmla="*/ 832461 h 6858285"/>
              <a:gd name="connsiteX1257" fmla="*/ 944785 w 4011840"/>
              <a:gd name="connsiteY1257" fmla="*/ 824757 h 6858285"/>
              <a:gd name="connsiteX1258" fmla="*/ 969330 w 4011840"/>
              <a:gd name="connsiteY1258" fmla="*/ 848240 h 6858285"/>
              <a:gd name="connsiteX1259" fmla="*/ 973143 w 4011840"/>
              <a:gd name="connsiteY1259" fmla="*/ 865318 h 6858285"/>
              <a:gd name="connsiteX1260" fmla="*/ 946453 w 4011840"/>
              <a:gd name="connsiteY1260" fmla="*/ 907064 h 6858285"/>
              <a:gd name="connsiteX1261" fmla="*/ 605206 w 4011840"/>
              <a:gd name="connsiteY1261" fmla="*/ 1049381 h 6858285"/>
              <a:gd name="connsiteX1262" fmla="*/ 546108 w 4011840"/>
              <a:gd name="connsiteY1262" fmla="*/ 1024713 h 6858285"/>
              <a:gd name="connsiteX1263" fmla="*/ 570891 w 4011840"/>
              <a:gd name="connsiteY1263" fmla="*/ 967786 h 6858285"/>
              <a:gd name="connsiteX1264" fmla="*/ 910231 w 4011840"/>
              <a:gd name="connsiteY1264" fmla="*/ 825469 h 6858285"/>
              <a:gd name="connsiteX1265" fmla="*/ 944785 w 4011840"/>
              <a:gd name="connsiteY1265" fmla="*/ 824757 h 6858285"/>
              <a:gd name="connsiteX1266" fmla="*/ 1476350 w 4011840"/>
              <a:gd name="connsiteY1266" fmla="*/ 812922 h 6858285"/>
              <a:gd name="connsiteX1267" fmla="*/ 1518617 w 4011840"/>
              <a:gd name="connsiteY1267" fmla="*/ 842698 h 6858285"/>
              <a:gd name="connsiteX1268" fmla="*/ 1522421 w 4011840"/>
              <a:gd name="connsiteY1268" fmla="*/ 859866 h 6858285"/>
              <a:gd name="connsiteX1269" fmla="*/ 1491985 w 4011840"/>
              <a:gd name="connsiteY1269" fmla="*/ 903740 h 6858285"/>
              <a:gd name="connsiteX1270" fmla="*/ 1151476 w 4011840"/>
              <a:gd name="connsiteY1270" fmla="*/ 1033454 h 6858285"/>
              <a:gd name="connsiteX1271" fmla="*/ 1090602 w 4011840"/>
              <a:gd name="connsiteY1271" fmla="*/ 1006748 h 6858285"/>
              <a:gd name="connsiteX1272" fmla="*/ 1117234 w 4011840"/>
              <a:gd name="connsiteY1272" fmla="*/ 945706 h 6858285"/>
              <a:gd name="connsiteX1273" fmla="*/ 1457743 w 4011840"/>
              <a:gd name="connsiteY1273" fmla="*/ 815992 h 6858285"/>
              <a:gd name="connsiteX1274" fmla="*/ 1476350 w 4011840"/>
              <a:gd name="connsiteY1274" fmla="*/ 812922 h 6858285"/>
              <a:gd name="connsiteX1275" fmla="*/ 2032209 w 4011840"/>
              <a:gd name="connsiteY1275" fmla="*/ 804237 h 6858285"/>
              <a:gd name="connsiteX1276" fmla="*/ 2076148 w 4011840"/>
              <a:gd name="connsiteY1276" fmla="*/ 838575 h 6858285"/>
              <a:gd name="connsiteX1277" fmla="*/ 2078054 w 4011840"/>
              <a:gd name="connsiteY1277" fmla="*/ 853837 h 6858285"/>
              <a:gd name="connsiteX1278" fmla="*/ 2043759 w 4011840"/>
              <a:gd name="connsiteY1278" fmla="*/ 901528 h 6858285"/>
              <a:gd name="connsiteX1279" fmla="*/ 1702759 w 4011840"/>
              <a:gd name="connsiteY1279" fmla="*/ 1017896 h 6858285"/>
              <a:gd name="connsiteX1280" fmla="*/ 1639894 w 4011840"/>
              <a:gd name="connsiteY1280" fmla="*/ 985466 h 6858285"/>
              <a:gd name="connsiteX1281" fmla="*/ 1670374 w 4011840"/>
              <a:gd name="connsiteY1281" fmla="*/ 922513 h 6858285"/>
              <a:gd name="connsiteX1282" fmla="*/ 2013278 w 4011840"/>
              <a:gd name="connsiteY1282" fmla="*/ 806145 h 6858285"/>
              <a:gd name="connsiteX1283" fmla="*/ 2032209 w 4011840"/>
              <a:gd name="connsiteY1283" fmla="*/ 804237 h 6858285"/>
              <a:gd name="connsiteX1284" fmla="*/ 3725236 w 4011840"/>
              <a:gd name="connsiteY1284" fmla="*/ 796615 h 6858285"/>
              <a:gd name="connsiteX1285" fmla="*/ 3770040 w 4011840"/>
              <a:gd name="connsiteY1285" fmla="*/ 832564 h 6858285"/>
              <a:gd name="connsiteX1286" fmla="*/ 3771948 w 4011840"/>
              <a:gd name="connsiteY1286" fmla="*/ 847826 h 6858285"/>
              <a:gd name="connsiteX1287" fmla="*/ 3733792 w 4011840"/>
              <a:gd name="connsiteY1287" fmla="*/ 897429 h 6858285"/>
              <a:gd name="connsiteX1288" fmla="*/ 3390423 w 4011840"/>
              <a:gd name="connsiteY1288" fmla="*/ 1000449 h 6858285"/>
              <a:gd name="connsiteX1289" fmla="*/ 3325558 w 4011840"/>
              <a:gd name="connsiteY1289" fmla="*/ 964201 h 6858285"/>
              <a:gd name="connsiteX1290" fmla="*/ 3361806 w 4011840"/>
              <a:gd name="connsiteY1290" fmla="*/ 899337 h 6858285"/>
              <a:gd name="connsiteX1291" fmla="*/ 3705176 w 4011840"/>
              <a:gd name="connsiteY1291" fmla="*/ 798224 h 6858285"/>
              <a:gd name="connsiteX1292" fmla="*/ 3725236 w 4011840"/>
              <a:gd name="connsiteY1292" fmla="*/ 796615 h 6858285"/>
              <a:gd name="connsiteX1293" fmla="*/ 2591734 w 4011840"/>
              <a:gd name="connsiteY1293" fmla="*/ 796597 h 6858285"/>
              <a:gd name="connsiteX1294" fmla="*/ 2636535 w 4011840"/>
              <a:gd name="connsiteY1294" fmla="*/ 832546 h 6858285"/>
              <a:gd name="connsiteX1295" fmla="*/ 2638443 w 4011840"/>
              <a:gd name="connsiteY1295" fmla="*/ 847809 h 6858285"/>
              <a:gd name="connsiteX1296" fmla="*/ 2600289 w 4011840"/>
              <a:gd name="connsiteY1296" fmla="*/ 897411 h 6858285"/>
              <a:gd name="connsiteX1297" fmla="*/ 2256905 w 4011840"/>
              <a:gd name="connsiteY1297" fmla="*/ 1000432 h 6858285"/>
              <a:gd name="connsiteX1298" fmla="*/ 2192044 w 4011840"/>
              <a:gd name="connsiteY1298" fmla="*/ 964184 h 6858285"/>
              <a:gd name="connsiteX1299" fmla="*/ 2228290 w 4011840"/>
              <a:gd name="connsiteY1299" fmla="*/ 899319 h 6858285"/>
              <a:gd name="connsiteX1300" fmla="*/ 2571674 w 4011840"/>
              <a:gd name="connsiteY1300" fmla="*/ 798206 h 6858285"/>
              <a:gd name="connsiteX1301" fmla="*/ 2591734 w 4011840"/>
              <a:gd name="connsiteY1301" fmla="*/ 796597 h 6858285"/>
              <a:gd name="connsiteX1302" fmla="*/ 3154890 w 4011840"/>
              <a:gd name="connsiteY1302" fmla="*/ 787706 h 6858285"/>
              <a:gd name="connsiteX1303" fmla="*/ 3200131 w 4011840"/>
              <a:gd name="connsiteY1303" fmla="*/ 828693 h 6858285"/>
              <a:gd name="connsiteX1304" fmla="*/ 3202035 w 4011840"/>
              <a:gd name="connsiteY1304" fmla="*/ 842028 h 6858285"/>
              <a:gd name="connsiteX1305" fmla="*/ 3160155 w 4011840"/>
              <a:gd name="connsiteY1305" fmla="*/ 895367 h 6858285"/>
              <a:gd name="connsiteX1306" fmla="*/ 2817485 w 4011840"/>
              <a:gd name="connsiteY1306" fmla="*/ 982997 h 6858285"/>
              <a:gd name="connsiteX1307" fmla="*/ 2750856 w 4011840"/>
              <a:gd name="connsiteY1307" fmla="*/ 944898 h 6858285"/>
              <a:gd name="connsiteX1308" fmla="*/ 2788932 w 4011840"/>
              <a:gd name="connsiteY1308" fmla="*/ 878223 h 6858285"/>
              <a:gd name="connsiteX1309" fmla="*/ 3133502 w 4011840"/>
              <a:gd name="connsiteY1309" fmla="*/ 788688 h 6858285"/>
              <a:gd name="connsiteX1310" fmla="*/ 3154890 w 4011840"/>
              <a:gd name="connsiteY1310" fmla="*/ 787706 h 6858285"/>
              <a:gd name="connsiteX1311" fmla="*/ 4011840 w 4011840"/>
              <a:gd name="connsiteY1311" fmla="*/ 574461 h 6858285"/>
              <a:gd name="connsiteX1312" fmla="*/ 4011840 w 4011840"/>
              <a:gd name="connsiteY1312" fmla="*/ 675481 h 6858285"/>
              <a:gd name="connsiteX1313" fmla="*/ 3956840 w 4011840"/>
              <a:gd name="connsiteY1313" fmla="*/ 695371 h 6858285"/>
              <a:gd name="connsiteX1314" fmla="*/ 3895788 w 4011840"/>
              <a:gd name="connsiteY1314" fmla="*/ 666874 h 6858285"/>
              <a:gd name="connsiteX1315" fmla="*/ 3924406 w 4011840"/>
              <a:gd name="connsiteY1315" fmla="*/ 606080 h 6858285"/>
              <a:gd name="connsiteX1316" fmla="*/ 4007772 w 4011840"/>
              <a:gd name="connsiteY1316" fmla="*/ 575932 h 6858285"/>
              <a:gd name="connsiteX1317" fmla="*/ 382532 w 4011840"/>
              <a:gd name="connsiteY1317" fmla="*/ 506676 h 6858285"/>
              <a:gd name="connsiteX1318" fmla="*/ 421644 w 4011840"/>
              <a:gd name="connsiteY1318" fmla="*/ 530400 h 6858285"/>
              <a:gd name="connsiteX1319" fmla="*/ 425454 w 4011840"/>
              <a:gd name="connsiteY1319" fmla="*/ 547459 h 6858285"/>
              <a:gd name="connsiteX1320" fmla="*/ 400689 w 4011840"/>
              <a:gd name="connsiteY1320" fmla="*/ 585369 h 6858285"/>
              <a:gd name="connsiteX1321" fmla="*/ 61595 w 4011840"/>
              <a:gd name="connsiteY1321" fmla="*/ 744593 h 6858285"/>
              <a:gd name="connsiteX1322" fmla="*/ 6349 w 4011840"/>
              <a:gd name="connsiteY1322" fmla="*/ 723742 h 6858285"/>
              <a:gd name="connsiteX1323" fmla="*/ 27304 w 4011840"/>
              <a:gd name="connsiteY1323" fmla="*/ 668772 h 6858285"/>
              <a:gd name="connsiteX1324" fmla="*/ 366399 w 4011840"/>
              <a:gd name="connsiteY1324" fmla="*/ 511444 h 6858285"/>
              <a:gd name="connsiteX1325" fmla="*/ 382532 w 4011840"/>
              <a:gd name="connsiteY1325" fmla="*/ 506676 h 6858285"/>
              <a:gd name="connsiteX1326" fmla="*/ 943575 w 4011840"/>
              <a:gd name="connsiteY1326" fmla="*/ 500954 h 6858285"/>
              <a:gd name="connsiteX1327" fmla="*/ 968066 w 4011840"/>
              <a:gd name="connsiteY1327" fmla="*/ 524559 h 6858285"/>
              <a:gd name="connsiteX1328" fmla="*/ 969968 w 4011840"/>
              <a:gd name="connsiteY1328" fmla="*/ 541726 h 6858285"/>
              <a:gd name="connsiteX1329" fmla="*/ 945239 w 4011840"/>
              <a:gd name="connsiteY1329" fmla="*/ 581783 h 6858285"/>
              <a:gd name="connsiteX1330" fmla="*/ 604741 w 4011840"/>
              <a:gd name="connsiteY1330" fmla="*/ 728657 h 6858285"/>
              <a:gd name="connsiteX1331" fmla="*/ 547674 w 4011840"/>
              <a:gd name="connsiteY1331" fmla="*/ 705768 h 6858285"/>
              <a:gd name="connsiteX1332" fmla="*/ 570501 w 4011840"/>
              <a:gd name="connsiteY1332" fmla="*/ 648544 h 6858285"/>
              <a:gd name="connsiteX1333" fmla="*/ 909097 w 4011840"/>
              <a:gd name="connsiteY1333" fmla="*/ 501669 h 6858285"/>
              <a:gd name="connsiteX1334" fmla="*/ 943575 w 4011840"/>
              <a:gd name="connsiteY1334" fmla="*/ 500954 h 6858285"/>
              <a:gd name="connsiteX1335" fmla="*/ 1475768 w 4011840"/>
              <a:gd name="connsiteY1335" fmla="*/ 488758 h 6858285"/>
              <a:gd name="connsiteX1336" fmla="*/ 1517023 w 4011840"/>
              <a:gd name="connsiteY1336" fmla="*/ 516849 h 6858285"/>
              <a:gd name="connsiteX1337" fmla="*/ 1520833 w 4011840"/>
              <a:gd name="connsiteY1337" fmla="*/ 533972 h 6858285"/>
              <a:gd name="connsiteX1338" fmla="*/ 1492258 w 4011840"/>
              <a:gd name="connsiteY1338" fmla="*/ 577729 h 6858285"/>
              <a:gd name="connsiteX1339" fmla="*/ 1151259 w 4011840"/>
              <a:gd name="connsiteY1339" fmla="*/ 712805 h 6858285"/>
              <a:gd name="connsiteX1340" fmla="*/ 1092203 w 4011840"/>
              <a:gd name="connsiteY1340" fmla="*/ 686170 h 6858285"/>
              <a:gd name="connsiteX1341" fmla="*/ 1116969 w 4011840"/>
              <a:gd name="connsiteY1341" fmla="*/ 627193 h 6858285"/>
              <a:gd name="connsiteX1342" fmla="*/ 1457968 w 4011840"/>
              <a:gd name="connsiteY1342" fmla="*/ 492117 h 6858285"/>
              <a:gd name="connsiteX1343" fmla="*/ 1475768 w 4011840"/>
              <a:gd name="connsiteY1343" fmla="*/ 488758 h 6858285"/>
              <a:gd name="connsiteX1344" fmla="*/ 2030557 w 4011840"/>
              <a:gd name="connsiteY1344" fmla="*/ 479549 h 6858285"/>
              <a:gd name="connsiteX1345" fmla="*/ 2074559 w 4011840"/>
              <a:gd name="connsiteY1345" fmla="*/ 511073 h 6858285"/>
              <a:gd name="connsiteX1346" fmla="*/ 2076467 w 4011840"/>
              <a:gd name="connsiteY1346" fmla="*/ 528172 h 6858285"/>
              <a:gd name="connsiteX1347" fmla="*/ 2045938 w 4011840"/>
              <a:gd name="connsiteY1347" fmla="*/ 571867 h 6858285"/>
              <a:gd name="connsiteX1348" fmla="*/ 1702543 w 4011840"/>
              <a:gd name="connsiteY1348" fmla="*/ 695353 h 6858285"/>
              <a:gd name="connsiteX1349" fmla="*/ 1641495 w 4011840"/>
              <a:gd name="connsiteY1349" fmla="*/ 666857 h 6858285"/>
              <a:gd name="connsiteX1350" fmla="*/ 1670112 w 4011840"/>
              <a:gd name="connsiteY1350" fmla="*/ 606063 h 6858285"/>
              <a:gd name="connsiteX1351" fmla="*/ 2011599 w 4011840"/>
              <a:gd name="connsiteY1351" fmla="*/ 482577 h 6858285"/>
              <a:gd name="connsiteX1352" fmla="*/ 2030557 w 4011840"/>
              <a:gd name="connsiteY1352" fmla="*/ 479549 h 6858285"/>
              <a:gd name="connsiteX1353" fmla="*/ 3723552 w 4011840"/>
              <a:gd name="connsiteY1353" fmla="*/ 470397 h 6858285"/>
              <a:gd name="connsiteX1354" fmla="*/ 3766538 w 4011840"/>
              <a:gd name="connsiteY1354" fmla="*/ 505539 h 6858285"/>
              <a:gd name="connsiteX1355" fmla="*/ 3770360 w 4011840"/>
              <a:gd name="connsiteY1355" fmla="*/ 520800 h 6858285"/>
              <a:gd name="connsiteX1356" fmla="*/ 3734060 w 4011840"/>
              <a:gd name="connsiteY1356" fmla="*/ 568492 h 6858285"/>
              <a:gd name="connsiteX1357" fmla="*/ 3392112 w 4011840"/>
              <a:gd name="connsiteY1357" fmla="*/ 681044 h 6858285"/>
              <a:gd name="connsiteX1358" fmla="*/ 3329066 w 4011840"/>
              <a:gd name="connsiteY1358" fmla="*/ 648614 h 6858285"/>
              <a:gd name="connsiteX1359" fmla="*/ 3359633 w 4011840"/>
              <a:gd name="connsiteY1359" fmla="*/ 585661 h 6858285"/>
              <a:gd name="connsiteX1360" fmla="*/ 3703492 w 4011840"/>
              <a:gd name="connsiteY1360" fmla="*/ 473109 h 6858285"/>
              <a:gd name="connsiteX1361" fmla="*/ 3723552 w 4011840"/>
              <a:gd name="connsiteY1361" fmla="*/ 470397 h 6858285"/>
              <a:gd name="connsiteX1362" fmla="*/ 2590051 w 4011840"/>
              <a:gd name="connsiteY1362" fmla="*/ 470376 h 6858285"/>
              <a:gd name="connsiteX1363" fmla="*/ 2633035 w 4011840"/>
              <a:gd name="connsiteY1363" fmla="*/ 505519 h 6858285"/>
              <a:gd name="connsiteX1364" fmla="*/ 2636856 w 4011840"/>
              <a:gd name="connsiteY1364" fmla="*/ 520780 h 6858285"/>
              <a:gd name="connsiteX1365" fmla="*/ 2600558 w 4011840"/>
              <a:gd name="connsiteY1365" fmla="*/ 568472 h 6858285"/>
              <a:gd name="connsiteX1366" fmla="*/ 2258596 w 4011840"/>
              <a:gd name="connsiteY1366" fmla="*/ 681025 h 6858285"/>
              <a:gd name="connsiteX1367" fmla="*/ 2195553 w 4011840"/>
              <a:gd name="connsiteY1367" fmla="*/ 648594 h 6858285"/>
              <a:gd name="connsiteX1368" fmla="*/ 2226119 w 4011840"/>
              <a:gd name="connsiteY1368" fmla="*/ 585641 h 6858285"/>
              <a:gd name="connsiteX1369" fmla="*/ 2569992 w 4011840"/>
              <a:gd name="connsiteY1369" fmla="*/ 473089 h 6858285"/>
              <a:gd name="connsiteX1370" fmla="*/ 2590051 w 4011840"/>
              <a:gd name="connsiteY1370" fmla="*/ 470376 h 6858285"/>
              <a:gd name="connsiteX1371" fmla="*/ 3153226 w 4011840"/>
              <a:gd name="connsiteY1371" fmla="*/ 461684 h 6858285"/>
              <a:gd name="connsiteX1372" fmla="*/ 3196954 w 4011840"/>
              <a:gd name="connsiteY1372" fmla="*/ 499511 h 6858285"/>
              <a:gd name="connsiteX1373" fmla="*/ 3198860 w 4011840"/>
              <a:gd name="connsiteY1373" fmla="*/ 512866 h 6858285"/>
              <a:gd name="connsiteX1374" fmla="*/ 3162616 w 4011840"/>
              <a:gd name="connsiteY1374" fmla="*/ 564376 h 6858285"/>
              <a:gd name="connsiteX1375" fmla="*/ 2819228 w 4011840"/>
              <a:gd name="connsiteY1375" fmla="*/ 665488 h 6858285"/>
              <a:gd name="connsiteX1376" fmla="*/ 2754367 w 4011840"/>
              <a:gd name="connsiteY1376" fmla="*/ 629241 h 6858285"/>
              <a:gd name="connsiteX1377" fmla="*/ 2788705 w 4011840"/>
              <a:gd name="connsiteY1377" fmla="*/ 564376 h 6858285"/>
              <a:gd name="connsiteX1378" fmla="*/ 3132091 w 4011840"/>
              <a:gd name="connsiteY1378" fmla="*/ 463264 h 6858285"/>
              <a:gd name="connsiteX1379" fmla="*/ 3153226 w 4011840"/>
              <a:gd name="connsiteY1379" fmla="*/ 461684 h 6858285"/>
              <a:gd name="connsiteX1380" fmla="*/ 4011840 w 4011840"/>
              <a:gd name="connsiteY1380" fmla="*/ 256161 h 6858285"/>
              <a:gd name="connsiteX1381" fmla="*/ 4011840 w 4011840"/>
              <a:gd name="connsiteY1381" fmla="*/ 354991 h 6858285"/>
              <a:gd name="connsiteX1382" fmla="*/ 3956616 w 4011840"/>
              <a:gd name="connsiteY1382" fmla="*/ 376246 h 6858285"/>
              <a:gd name="connsiteX1383" fmla="*/ 3897392 w 4011840"/>
              <a:gd name="connsiteY1383" fmla="*/ 349541 h 6858285"/>
              <a:gd name="connsiteX1384" fmla="*/ 3924140 w 4011840"/>
              <a:gd name="connsiteY1384" fmla="*/ 290406 h 6858285"/>
              <a:gd name="connsiteX1385" fmla="*/ 4007626 w 4011840"/>
              <a:gd name="connsiteY1385" fmla="*/ 257806 h 6858285"/>
              <a:gd name="connsiteX1386" fmla="*/ 398308 w 4011840"/>
              <a:gd name="connsiteY1386" fmla="*/ 186349 h 6858285"/>
              <a:gd name="connsiteX1387" fmla="*/ 421644 w 4011840"/>
              <a:gd name="connsiteY1387" fmla="*/ 208174 h 6858285"/>
              <a:gd name="connsiteX1388" fmla="*/ 425454 w 4011840"/>
              <a:gd name="connsiteY1388" fmla="*/ 225255 h 6858285"/>
              <a:gd name="connsiteX1389" fmla="*/ 400689 w 4011840"/>
              <a:gd name="connsiteY1389" fmla="*/ 263212 h 6858285"/>
              <a:gd name="connsiteX1390" fmla="*/ 61595 w 4011840"/>
              <a:gd name="connsiteY1390" fmla="*/ 420733 h 6858285"/>
              <a:gd name="connsiteX1391" fmla="*/ 6349 w 4011840"/>
              <a:gd name="connsiteY1391" fmla="*/ 401754 h 6858285"/>
              <a:gd name="connsiteX1392" fmla="*/ 27305 w 4011840"/>
              <a:gd name="connsiteY1392" fmla="*/ 346717 h 6858285"/>
              <a:gd name="connsiteX1393" fmla="*/ 366399 w 4011840"/>
              <a:gd name="connsiteY1393" fmla="*/ 187298 h 6858285"/>
              <a:gd name="connsiteX1394" fmla="*/ 398308 w 4011840"/>
              <a:gd name="connsiteY1394" fmla="*/ 186349 h 6858285"/>
              <a:gd name="connsiteX1395" fmla="*/ 942624 w 4011840"/>
              <a:gd name="connsiteY1395" fmla="*/ 176854 h 6858285"/>
              <a:gd name="connsiteX1396" fmla="*/ 966164 w 4011840"/>
              <a:gd name="connsiteY1396" fmla="*/ 198761 h 6858285"/>
              <a:gd name="connsiteX1397" fmla="*/ 969968 w 4011840"/>
              <a:gd name="connsiteY1397" fmla="*/ 217811 h 6858285"/>
              <a:gd name="connsiteX1398" fmla="*/ 945239 w 4011840"/>
              <a:gd name="connsiteY1398" fmla="*/ 255911 h 6858285"/>
              <a:gd name="connsiteX1399" fmla="*/ 604741 w 4011840"/>
              <a:gd name="connsiteY1399" fmla="*/ 406406 h 6858285"/>
              <a:gd name="connsiteX1400" fmla="*/ 547674 w 4011840"/>
              <a:gd name="connsiteY1400" fmla="*/ 385451 h 6858285"/>
              <a:gd name="connsiteX1401" fmla="*/ 570501 w 4011840"/>
              <a:gd name="connsiteY1401" fmla="*/ 328301 h 6858285"/>
              <a:gd name="connsiteX1402" fmla="*/ 909097 w 4011840"/>
              <a:gd name="connsiteY1402" fmla="*/ 177807 h 6858285"/>
              <a:gd name="connsiteX1403" fmla="*/ 942624 w 4011840"/>
              <a:gd name="connsiteY1403" fmla="*/ 176854 h 6858285"/>
              <a:gd name="connsiteX1404" fmla="*/ 1492476 w 4011840"/>
              <a:gd name="connsiteY1404" fmla="*/ 167542 h 6858285"/>
              <a:gd name="connsiteX1405" fmla="*/ 1517021 w 4011840"/>
              <a:gd name="connsiteY1405" fmla="*/ 191054 h 6858285"/>
              <a:gd name="connsiteX1406" fmla="*/ 1520833 w 4011840"/>
              <a:gd name="connsiteY1406" fmla="*/ 208154 h 6858285"/>
              <a:gd name="connsiteX1407" fmla="*/ 1492238 w 4011840"/>
              <a:gd name="connsiteY1407" fmla="*/ 249954 h 6858285"/>
              <a:gd name="connsiteX1408" fmla="*/ 1150990 w 4011840"/>
              <a:gd name="connsiteY1408" fmla="*/ 390554 h 6858285"/>
              <a:gd name="connsiteX1409" fmla="*/ 1093798 w 4011840"/>
              <a:gd name="connsiteY1409" fmla="*/ 367754 h 6858285"/>
              <a:gd name="connsiteX1410" fmla="*/ 1116675 w 4011840"/>
              <a:gd name="connsiteY1410" fmla="*/ 308854 h 6858285"/>
              <a:gd name="connsiteX1411" fmla="*/ 1457922 w 4011840"/>
              <a:gd name="connsiteY1411" fmla="*/ 168254 h 6858285"/>
              <a:gd name="connsiteX1412" fmla="*/ 1492476 w 4011840"/>
              <a:gd name="connsiteY1412" fmla="*/ 167542 h 6858285"/>
              <a:gd name="connsiteX1413" fmla="*/ 2010467 w 4011840"/>
              <a:gd name="connsiteY1413" fmla="*/ 156857 h 6858285"/>
              <a:gd name="connsiteX1414" fmla="*/ 2071388 w 4011840"/>
              <a:gd name="connsiteY1414" fmla="*/ 183563 h 6858285"/>
              <a:gd name="connsiteX1415" fmla="*/ 2073292 w 4011840"/>
              <a:gd name="connsiteY1415" fmla="*/ 200731 h 6858285"/>
              <a:gd name="connsiteX1416" fmla="*/ 2044733 w 4011840"/>
              <a:gd name="connsiteY1416" fmla="*/ 244605 h 6858285"/>
              <a:gd name="connsiteX1417" fmla="*/ 1703979 w 4011840"/>
              <a:gd name="connsiteY1417" fmla="*/ 376227 h 6858285"/>
              <a:gd name="connsiteX1418" fmla="*/ 1643062 w 4011840"/>
              <a:gd name="connsiteY1418" fmla="*/ 349521 h 6858285"/>
              <a:gd name="connsiteX1419" fmla="*/ 1669713 w 4011840"/>
              <a:gd name="connsiteY1419" fmla="*/ 290387 h 6858285"/>
              <a:gd name="connsiteX1420" fmla="*/ 2010467 w 4011840"/>
              <a:gd name="connsiteY1420" fmla="*/ 156857 h 6858285"/>
              <a:gd name="connsiteX1421" fmla="*/ 3720656 w 4011840"/>
              <a:gd name="connsiteY1421" fmla="*/ 144606 h 6858285"/>
              <a:gd name="connsiteX1422" fmla="*/ 3763698 w 4011840"/>
              <a:gd name="connsiteY1422" fmla="*/ 176130 h 6858285"/>
              <a:gd name="connsiteX1423" fmla="*/ 3765600 w 4011840"/>
              <a:gd name="connsiteY1423" fmla="*/ 193228 h 6858285"/>
              <a:gd name="connsiteX1424" fmla="*/ 3735180 w 4011840"/>
              <a:gd name="connsiteY1424" fmla="*/ 238823 h 6858285"/>
              <a:gd name="connsiteX1425" fmla="*/ 3393028 w 4011840"/>
              <a:gd name="connsiteY1425" fmla="*/ 360410 h 6858285"/>
              <a:gd name="connsiteX1426" fmla="*/ 3332195 w 4011840"/>
              <a:gd name="connsiteY1426" fmla="*/ 331913 h 6858285"/>
              <a:gd name="connsiteX1427" fmla="*/ 3360708 w 4011840"/>
              <a:gd name="connsiteY1427" fmla="*/ 271120 h 6858285"/>
              <a:gd name="connsiteX1428" fmla="*/ 3700964 w 4011840"/>
              <a:gd name="connsiteY1428" fmla="*/ 147634 h 6858285"/>
              <a:gd name="connsiteX1429" fmla="*/ 3720656 w 4011840"/>
              <a:gd name="connsiteY1429" fmla="*/ 144606 h 6858285"/>
              <a:gd name="connsiteX1430" fmla="*/ 2586993 w 4011840"/>
              <a:gd name="connsiteY1430" fmla="*/ 144584 h 6858285"/>
              <a:gd name="connsiteX1431" fmla="*/ 2630185 w 4011840"/>
              <a:gd name="connsiteY1431" fmla="*/ 176109 h 6858285"/>
              <a:gd name="connsiteX1432" fmla="*/ 2632093 w 4011840"/>
              <a:gd name="connsiteY1432" fmla="*/ 193207 h 6858285"/>
              <a:gd name="connsiteX1433" fmla="*/ 2601569 w 4011840"/>
              <a:gd name="connsiteY1433" fmla="*/ 238802 h 6858285"/>
              <a:gd name="connsiteX1434" fmla="*/ 2258175 w 4011840"/>
              <a:gd name="connsiteY1434" fmla="*/ 360389 h 6858285"/>
              <a:gd name="connsiteX1435" fmla="*/ 2197127 w 4011840"/>
              <a:gd name="connsiteY1435" fmla="*/ 331892 h 6858285"/>
              <a:gd name="connsiteX1436" fmla="*/ 2225743 w 4011840"/>
              <a:gd name="connsiteY1436" fmla="*/ 271098 h 6858285"/>
              <a:gd name="connsiteX1437" fmla="*/ 2567230 w 4011840"/>
              <a:gd name="connsiteY1437" fmla="*/ 147612 h 6858285"/>
              <a:gd name="connsiteX1438" fmla="*/ 2586993 w 4011840"/>
              <a:gd name="connsiteY1438" fmla="*/ 144584 h 6858285"/>
              <a:gd name="connsiteX1439" fmla="*/ 3149047 w 4011840"/>
              <a:gd name="connsiteY1439" fmla="*/ 135359 h 6858285"/>
              <a:gd name="connsiteX1440" fmla="*/ 3191878 w 4011840"/>
              <a:gd name="connsiteY1440" fmla="*/ 168391 h 6858285"/>
              <a:gd name="connsiteX1441" fmla="*/ 3195685 w 4011840"/>
              <a:gd name="connsiteY1441" fmla="*/ 185439 h 6858285"/>
              <a:gd name="connsiteX1442" fmla="*/ 3161420 w 4011840"/>
              <a:gd name="connsiteY1442" fmla="*/ 232797 h 6858285"/>
              <a:gd name="connsiteX1443" fmla="*/ 2818756 w 4011840"/>
              <a:gd name="connsiteY1443" fmla="*/ 344562 h 6858285"/>
              <a:gd name="connsiteX1444" fmla="*/ 2755934 w 4011840"/>
              <a:gd name="connsiteY1444" fmla="*/ 314253 h 6858285"/>
              <a:gd name="connsiteX1445" fmla="*/ 2788299 w 4011840"/>
              <a:gd name="connsiteY1445" fmla="*/ 249846 h 6858285"/>
              <a:gd name="connsiteX1446" fmla="*/ 3129056 w 4011840"/>
              <a:gd name="connsiteY1446" fmla="*/ 138082 h 6858285"/>
              <a:gd name="connsiteX1447" fmla="*/ 3149047 w 4011840"/>
              <a:gd name="connsiteY1447" fmla="*/ 135359 h 6858285"/>
              <a:gd name="connsiteX1448" fmla="*/ 3898002 w 4011840"/>
              <a:gd name="connsiteY1448" fmla="*/ 24 h 6858285"/>
              <a:gd name="connsiteX1449" fmla="*/ 3980112 w 4011840"/>
              <a:gd name="connsiteY1449" fmla="*/ 24 h 6858285"/>
              <a:gd name="connsiteX1450" fmla="*/ 4011840 w 4011840"/>
              <a:gd name="connsiteY1450" fmla="*/ 24 h 6858285"/>
              <a:gd name="connsiteX1451" fmla="*/ 4011840 w 4011840"/>
              <a:gd name="connsiteY1451" fmla="*/ 33605 h 6858285"/>
              <a:gd name="connsiteX1452" fmla="*/ 3959064 w 4011840"/>
              <a:gd name="connsiteY1452" fmla="*/ 55540 h 6858285"/>
              <a:gd name="connsiteX1453" fmla="*/ 3899912 w 4011840"/>
              <a:gd name="connsiteY1453" fmla="*/ 30653 h 6858285"/>
              <a:gd name="connsiteX1454" fmla="*/ 3898002 w 4011840"/>
              <a:gd name="connsiteY1454" fmla="*/ 24 h 6858285"/>
              <a:gd name="connsiteX1455" fmla="*/ 3332212 w 4011840"/>
              <a:gd name="connsiteY1455" fmla="*/ 24 h 6858285"/>
              <a:gd name="connsiteX1456" fmla="*/ 3497315 w 4011840"/>
              <a:gd name="connsiteY1456" fmla="*/ 24 h 6858285"/>
              <a:gd name="connsiteX1457" fmla="*/ 3394843 w 4011840"/>
              <a:gd name="connsiteY1457" fmla="*/ 41665 h 6858285"/>
              <a:gd name="connsiteX1458" fmla="*/ 3334111 w 4011840"/>
              <a:gd name="connsiteY1458" fmla="*/ 15166 h 6858285"/>
              <a:gd name="connsiteX1459" fmla="*/ 3332212 w 4011840"/>
              <a:gd name="connsiteY1459" fmla="*/ 24 h 6858285"/>
              <a:gd name="connsiteX1460" fmla="*/ 2760703 w 4011840"/>
              <a:gd name="connsiteY1460" fmla="*/ 23 h 6858285"/>
              <a:gd name="connsiteX1461" fmla="*/ 2890880 w 4011840"/>
              <a:gd name="connsiteY1461" fmla="*/ 23 h 6858285"/>
              <a:gd name="connsiteX1462" fmla="*/ 2821076 w 4011840"/>
              <a:gd name="connsiteY1462" fmla="*/ 27187 h 6858285"/>
              <a:gd name="connsiteX1463" fmla="*/ 2760703 w 4011840"/>
              <a:gd name="connsiteY1463" fmla="*/ 23 h 6858285"/>
              <a:gd name="connsiteX1464" fmla="*/ 76928 w 4011840"/>
              <a:gd name="connsiteY1464" fmla="*/ 9 h 6858285"/>
              <a:gd name="connsiteX1465" fmla="*/ 271465 w 4011840"/>
              <a:gd name="connsiteY1465" fmla="*/ 9 h 6858285"/>
              <a:gd name="connsiteX1466" fmla="*/ 63577 w 4011840"/>
              <a:gd name="connsiteY1466" fmla="*/ 99939 h 6858285"/>
              <a:gd name="connsiteX1467" fmla="*/ 8268 w 4011840"/>
              <a:gd name="connsiteY1467" fmla="*/ 80722 h 6858285"/>
              <a:gd name="connsiteX1468" fmla="*/ 27340 w 4011840"/>
              <a:gd name="connsiteY1468" fmla="*/ 24992 h 6858285"/>
              <a:gd name="connsiteX1469" fmla="*/ 76928 w 4011840"/>
              <a:gd name="connsiteY1469" fmla="*/ 9 h 6858285"/>
              <a:gd name="connsiteX1470" fmla="*/ 583733 w 4011840"/>
              <a:gd name="connsiteY1470" fmla="*/ 7 h 6858285"/>
              <a:gd name="connsiteX1471" fmla="*/ 792167 w 4011840"/>
              <a:gd name="connsiteY1471" fmla="*/ 7 h 6858285"/>
              <a:gd name="connsiteX1472" fmla="*/ 604767 w 4011840"/>
              <a:gd name="connsiteY1472" fmla="*/ 83827 h 6858285"/>
              <a:gd name="connsiteX1473" fmla="*/ 549312 w 4011840"/>
              <a:gd name="connsiteY1473" fmla="*/ 62872 h 6858285"/>
              <a:gd name="connsiteX1474" fmla="*/ 570347 w 4011840"/>
              <a:gd name="connsiteY1474" fmla="*/ 7627 h 6858285"/>
              <a:gd name="connsiteX1475" fmla="*/ 583733 w 4011840"/>
              <a:gd name="connsiteY1475" fmla="*/ 7 h 6858285"/>
              <a:gd name="connsiteX1476" fmla="*/ 1102307 w 4011840"/>
              <a:gd name="connsiteY1476" fmla="*/ 5 h 6858285"/>
              <a:gd name="connsiteX1477" fmla="*/ 1312869 w 4011840"/>
              <a:gd name="connsiteY1477" fmla="*/ 5 h 6858285"/>
              <a:gd name="connsiteX1478" fmla="*/ 1153525 w 4011840"/>
              <a:gd name="connsiteY1478" fmla="*/ 71329 h 6858285"/>
              <a:gd name="connsiteX1479" fmla="*/ 1094719 w 4011840"/>
              <a:gd name="connsiteY1479" fmla="*/ 48197 h 6858285"/>
              <a:gd name="connsiteX1480" fmla="*/ 1102307 w 4011840"/>
              <a:gd name="connsiteY1480" fmla="*/ 5 h 6858285"/>
              <a:gd name="connsiteX1481" fmla="*/ 1643393 w 4011840"/>
              <a:gd name="connsiteY1481" fmla="*/ 2 h 6858285"/>
              <a:gd name="connsiteX1482" fmla="*/ 1838335 w 4011840"/>
              <a:gd name="connsiteY1482" fmla="*/ 2 h 6858285"/>
              <a:gd name="connsiteX1483" fmla="*/ 1704551 w 4011840"/>
              <a:gd name="connsiteY1483" fmla="*/ 55519 h 6858285"/>
              <a:gd name="connsiteX1484" fmla="*/ 1645304 w 4011840"/>
              <a:gd name="connsiteY1484" fmla="*/ 30632 h 6858285"/>
              <a:gd name="connsiteX1485" fmla="*/ 1643393 w 4011840"/>
              <a:gd name="connsiteY1485" fmla="*/ 2 h 6858285"/>
              <a:gd name="connsiteX1486" fmla="*/ 2197113 w 4011840"/>
              <a:gd name="connsiteY1486" fmla="*/ 0 h 6858285"/>
              <a:gd name="connsiteX1487" fmla="*/ 2363803 w 4011840"/>
              <a:gd name="connsiteY1487" fmla="*/ 0 h 6858285"/>
              <a:gd name="connsiteX1488" fmla="*/ 2260341 w 4011840"/>
              <a:gd name="connsiteY1488" fmla="*/ 41642 h 6858285"/>
              <a:gd name="connsiteX1489" fmla="*/ 2199030 w 4011840"/>
              <a:gd name="connsiteY1489" fmla="*/ 15142 h 6858285"/>
              <a:gd name="connsiteX1490" fmla="*/ 2197113 w 4011840"/>
              <a:gd name="connsiteY1490" fmla="*/ 0 h 6858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</a:cxnLst>
            <a:rect l="l" t="t" r="r" b="b"/>
            <a:pathLst>
              <a:path w="4011840" h="6858285">
                <a:moveTo>
                  <a:pt x="4011840" y="6728839"/>
                </a:moveTo>
                <a:lnTo>
                  <a:pt x="4011840" y="6814737"/>
                </a:lnTo>
                <a:lnTo>
                  <a:pt x="3960866" y="6841809"/>
                </a:lnTo>
                <a:cubicBezTo>
                  <a:pt x="3941816" y="6853239"/>
                  <a:pt x="3918956" y="6845619"/>
                  <a:pt x="3909430" y="6826569"/>
                </a:cubicBezTo>
                <a:cubicBezTo>
                  <a:pt x="3905620" y="6820854"/>
                  <a:pt x="3903712" y="6815139"/>
                  <a:pt x="3903712" y="6809424"/>
                </a:cubicBezTo>
                <a:cubicBezTo>
                  <a:pt x="3903712" y="6796089"/>
                  <a:pt x="3911334" y="6782754"/>
                  <a:pt x="3924672" y="6775134"/>
                </a:cubicBezTo>
                <a:cubicBezTo>
                  <a:pt x="3924672" y="6775134"/>
                  <a:pt x="3924672" y="6775134"/>
                  <a:pt x="4006988" y="6731416"/>
                </a:cubicBezTo>
                <a:close/>
                <a:moveTo>
                  <a:pt x="396081" y="6635423"/>
                </a:moveTo>
                <a:cubicBezTo>
                  <a:pt x="405822" y="6638752"/>
                  <a:pt x="414376" y="6645886"/>
                  <a:pt x="419128" y="6656349"/>
                </a:cubicBezTo>
                <a:cubicBezTo>
                  <a:pt x="428631" y="6675373"/>
                  <a:pt x="421028" y="6700104"/>
                  <a:pt x="400120" y="6709616"/>
                </a:cubicBezTo>
                <a:cubicBezTo>
                  <a:pt x="400120" y="6709616"/>
                  <a:pt x="400120" y="6709616"/>
                  <a:pt x="97901" y="6858002"/>
                </a:cubicBezTo>
                <a:cubicBezTo>
                  <a:pt x="97901" y="6858002"/>
                  <a:pt x="97901" y="6858002"/>
                  <a:pt x="10466" y="6858002"/>
                </a:cubicBezTo>
                <a:cubicBezTo>
                  <a:pt x="10466" y="6858002"/>
                  <a:pt x="8566" y="6858002"/>
                  <a:pt x="8566" y="6858002"/>
                </a:cubicBezTo>
                <a:cubicBezTo>
                  <a:pt x="6665" y="6852295"/>
                  <a:pt x="4764" y="6844686"/>
                  <a:pt x="4764" y="6838978"/>
                </a:cubicBezTo>
                <a:cubicBezTo>
                  <a:pt x="4764" y="6823759"/>
                  <a:pt x="12367" y="6810443"/>
                  <a:pt x="27573" y="6802833"/>
                </a:cubicBezTo>
                <a:cubicBezTo>
                  <a:pt x="27573" y="6802833"/>
                  <a:pt x="27573" y="6802833"/>
                  <a:pt x="365906" y="6637326"/>
                </a:cubicBezTo>
                <a:cubicBezTo>
                  <a:pt x="375410" y="6632570"/>
                  <a:pt x="386339" y="6632094"/>
                  <a:pt x="396081" y="6635423"/>
                </a:cubicBezTo>
                <a:close/>
                <a:moveTo>
                  <a:pt x="939733" y="6619807"/>
                </a:moveTo>
                <a:cubicBezTo>
                  <a:pt x="949279" y="6622907"/>
                  <a:pt x="957871" y="6630060"/>
                  <a:pt x="963599" y="6640551"/>
                </a:cubicBezTo>
                <a:cubicBezTo>
                  <a:pt x="973146" y="6659625"/>
                  <a:pt x="965509" y="6682515"/>
                  <a:pt x="944506" y="6693960"/>
                </a:cubicBezTo>
                <a:cubicBezTo>
                  <a:pt x="944506" y="6693960"/>
                  <a:pt x="944506" y="6693960"/>
                  <a:pt x="618014" y="6858002"/>
                </a:cubicBezTo>
                <a:cubicBezTo>
                  <a:pt x="618014" y="6858002"/>
                  <a:pt x="618014" y="6858002"/>
                  <a:pt x="562644" y="6858002"/>
                </a:cubicBezTo>
                <a:cubicBezTo>
                  <a:pt x="558825" y="6856095"/>
                  <a:pt x="555007" y="6852280"/>
                  <a:pt x="553097" y="6846557"/>
                </a:cubicBezTo>
                <a:cubicBezTo>
                  <a:pt x="549279" y="6840835"/>
                  <a:pt x="549279" y="6835113"/>
                  <a:pt x="549279" y="6829390"/>
                </a:cubicBezTo>
                <a:cubicBezTo>
                  <a:pt x="549279" y="6814131"/>
                  <a:pt x="556916" y="6800778"/>
                  <a:pt x="570281" y="6793148"/>
                </a:cubicBezTo>
                <a:cubicBezTo>
                  <a:pt x="570281" y="6793148"/>
                  <a:pt x="570281" y="6793148"/>
                  <a:pt x="910138" y="6623384"/>
                </a:cubicBezTo>
                <a:cubicBezTo>
                  <a:pt x="919685" y="6617661"/>
                  <a:pt x="930186" y="6616707"/>
                  <a:pt x="939733" y="6619807"/>
                </a:cubicBezTo>
                <a:close/>
                <a:moveTo>
                  <a:pt x="1485698" y="6606629"/>
                </a:moveTo>
                <a:cubicBezTo>
                  <a:pt x="1494978" y="6609729"/>
                  <a:pt x="1503069" y="6616404"/>
                  <a:pt x="1507827" y="6625941"/>
                </a:cubicBezTo>
                <a:cubicBezTo>
                  <a:pt x="1519249" y="6645014"/>
                  <a:pt x="1511635" y="6667901"/>
                  <a:pt x="1492599" y="6677438"/>
                </a:cubicBezTo>
                <a:cubicBezTo>
                  <a:pt x="1492599" y="6677438"/>
                  <a:pt x="1492599" y="6677438"/>
                  <a:pt x="1153761" y="6852909"/>
                </a:cubicBezTo>
                <a:cubicBezTo>
                  <a:pt x="1134725" y="6864352"/>
                  <a:pt x="1111882" y="6856723"/>
                  <a:pt x="1102364" y="6837650"/>
                </a:cubicBezTo>
                <a:cubicBezTo>
                  <a:pt x="1098557" y="6831928"/>
                  <a:pt x="1098557" y="6824299"/>
                  <a:pt x="1098557" y="6818577"/>
                </a:cubicBezTo>
                <a:cubicBezTo>
                  <a:pt x="1098557" y="6805226"/>
                  <a:pt x="1106171" y="6791875"/>
                  <a:pt x="1119496" y="6784246"/>
                </a:cubicBezTo>
                <a:cubicBezTo>
                  <a:pt x="1119496" y="6784246"/>
                  <a:pt x="1119496" y="6784246"/>
                  <a:pt x="1456431" y="6608775"/>
                </a:cubicBezTo>
                <a:cubicBezTo>
                  <a:pt x="1465948" y="6604007"/>
                  <a:pt x="1476418" y="6603530"/>
                  <a:pt x="1485698" y="6606629"/>
                </a:cubicBezTo>
                <a:close/>
                <a:moveTo>
                  <a:pt x="2037015" y="6592968"/>
                </a:moveTo>
                <a:cubicBezTo>
                  <a:pt x="2046302" y="6595587"/>
                  <a:pt x="2054881" y="6601779"/>
                  <a:pt x="2060595" y="6611304"/>
                </a:cubicBezTo>
                <a:cubicBezTo>
                  <a:pt x="2070120" y="6630354"/>
                  <a:pt x="2062500" y="6653214"/>
                  <a:pt x="2043444" y="6662739"/>
                </a:cubicBezTo>
                <a:cubicBezTo>
                  <a:pt x="2043444" y="6662739"/>
                  <a:pt x="2043444" y="6662739"/>
                  <a:pt x="1706255" y="6841809"/>
                </a:cubicBezTo>
                <a:cubicBezTo>
                  <a:pt x="1687205" y="6853239"/>
                  <a:pt x="1664344" y="6845619"/>
                  <a:pt x="1654819" y="6826569"/>
                </a:cubicBezTo>
                <a:cubicBezTo>
                  <a:pt x="1652914" y="6820854"/>
                  <a:pt x="1651009" y="6815139"/>
                  <a:pt x="1651009" y="6809424"/>
                </a:cubicBezTo>
                <a:cubicBezTo>
                  <a:pt x="1651009" y="6796089"/>
                  <a:pt x="1658629" y="6782754"/>
                  <a:pt x="1670059" y="6775134"/>
                </a:cubicBezTo>
                <a:cubicBezTo>
                  <a:pt x="1670059" y="6775134"/>
                  <a:pt x="1670059" y="6775134"/>
                  <a:pt x="2009154" y="6596064"/>
                </a:cubicBezTo>
                <a:cubicBezTo>
                  <a:pt x="2017726" y="6591301"/>
                  <a:pt x="2027728" y="6590349"/>
                  <a:pt x="2037015" y="6592968"/>
                </a:cubicBezTo>
                <a:close/>
                <a:moveTo>
                  <a:pt x="3727788" y="6578028"/>
                </a:moveTo>
                <a:cubicBezTo>
                  <a:pt x="3736844" y="6580642"/>
                  <a:pt x="3744948" y="6586818"/>
                  <a:pt x="3749716" y="6595371"/>
                </a:cubicBezTo>
                <a:cubicBezTo>
                  <a:pt x="3759248" y="6614376"/>
                  <a:pt x="3753528" y="6635282"/>
                  <a:pt x="3734462" y="6646685"/>
                </a:cubicBezTo>
                <a:cubicBezTo>
                  <a:pt x="3734462" y="6646685"/>
                  <a:pt x="3734462" y="6646685"/>
                  <a:pt x="3397032" y="6831037"/>
                </a:cubicBezTo>
                <a:cubicBezTo>
                  <a:pt x="3379870" y="6840539"/>
                  <a:pt x="3356992" y="6832937"/>
                  <a:pt x="3347462" y="6815832"/>
                </a:cubicBezTo>
                <a:cubicBezTo>
                  <a:pt x="3343646" y="6810131"/>
                  <a:pt x="3341741" y="6804429"/>
                  <a:pt x="3341741" y="6798728"/>
                </a:cubicBezTo>
                <a:cubicBezTo>
                  <a:pt x="3341741" y="6785424"/>
                  <a:pt x="3349366" y="6772120"/>
                  <a:pt x="3362712" y="6764518"/>
                </a:cubicBezTo>
                <a:cubicBezTo>
                  <a:pt x="3362712" y="6764518"/>
                  <a:pt x="3362712" y="6764518"/>
                  <a:pt x="3700144" y="6582067"/>
                </a:cubicBezTo>
                <a:cubicBezTo>
                  <a:pt x="3708724" y="6576365"/>
                  <a:pt x="3718732" y="6575415"/>
                  <a:pt x="3727788" y="6578028"/>
                </a:cubicBezTo>
                <a:close/>
                <a:moveTo>
                  <a:pt x="2592701" y="6578028"/>
                </a:moveTo>
                <a:cubicBezTo>
                  <a:pt x="2601757" y="6580641"/>
                  <a:pt x="2609859" y="6586818"/>
                  <a:pt x="2614625" y="6595371"/>
                </a:cubicBezTo>
                <a:cubicBezTo>
                  <a:pt x="2624159" y="6614376"/>
                  <a:pt x="2618439" y="6635282"/>
                  <a:pt x="2599374" y="6646685"/>
                </a:cubicBezTo>
                <a:cubicBezTo>
                  <a:pt x="2599374" y="6646685"/>
                  <a:pt x="2599374" y="6646685"/>
                  <a:pt x="2261929" y="6831037"/>
                </a:cubicBezTo>
                <a:cubicBezTo>
                  <a:pt x="2244770" y="6840539"/>
                  <a:pt x="2221893" y="6832937"/>
                  <a:pt x="2212361" y="6815832"/>
                </a:cubicBezTo>
                <a:cubicBezTo>
                  <a:pt x="2208547" y="6810131"/>
                  <a:pt x="2206641" y="6804429"/>
                  <a:pt x="2206641" y="6798728"/>
                </a:cubicBezTo>
                <a:cubicBezTo>
                  <a:pt x="2206641" y="6785424"/>
                  <a:pt x="2214267" y="6772120"/>
                  <a:pt x="2225706" y="6764518"/>
                </a:cubicBezTo>
                <a:cubicBezTo>
                  <a:pt x="2225706" y="6764518"/>
                  <a:pt x="2225706" y="6764518"/>
                  <a:pt x="2565057" y="6582067"/>
                </a:cubicBezTo>
                <a:cubicBezTo>
                  <a:pt x="2573636" y="6576365"/>
                  <a:pt x="2583648" y="6575415"/>
                  <a:pt x="2592701" y="6578028"/>
                </a:cubicBezTo>
                <a:close/>
                <a:moveTo>
                  <a:pt x="3153211" y="6564133"/>
                </a:moveTo>
                <a:cubicBezTo>
                  <a:pt x="3162241" y="6566506"/>
                  <a:pt x="3170320" y="6572201"/>
                  <a:pt x="3175070" y="6580744"/>
                </a:cubicBezTo>
                <a:cubicBezTo>
                  <a:pt x="3184574" y="6599727"/>
                  <a:pt x="3178873" y="6620609"/>
                  <a:pt x="3161766" y="6630101"/>
                </a:cubicBezTo>
                <a:cubicBezTo>
                  <a:pt x="3161766" y="6630101"/>
                  <a:pt x="3161766" y="6630101"/>
                  <a:pt x="2825350" y="6819936"/>
                </a:cubicBezTo>
                <a:cubicBezTo>
                  <a:pt x="2808242" y="6829427"/>
                  <a:pt x="2785433" y="6823732"/>
                  <a:pt x="2775931" y="6804749"/>
                </a:cubicBezTo>
                <a:cubicBezTo>
                  <a:pt x="2772130" y="6799054"/>
                  <a:pt x="2770229" y="6793359"/>
                  <a:pt x="2770229" y="6787664"/>
                </a:cubicBezTo>
                <a:cubicBezTo>
                  <a:pt x="2770229" y="6774375"/>
                  <a:pt x="2777831" y="6762985"/>
                  <a:pt x="2789236" y="6757290"/>
                </a:cubicBezTo>
                <a:cubicBezTo>
                  <a:pt x="2789236" y="6757290"/>
                  <a:pt x="2789236" y="6757290"/>
                  <a:pt x="3125653" y="6567455"/>
                </a:cubicBezTo>
                <a:cubicBezTo>
                  <a:pt x="3134208" y="6562710"/>
                  <a:pt x="3144185" y="6561760"/>
                  <a:pt x="3153211" y="6564133"/>
                </a:cubicBezTo>
                <a:close/>
                <a:moveTo>
                  <a:pt x="4011840" y="6402257"/>
                </a:moveTo>
                <a:lnTo>
                  <a:pt x="4011840" y="6490934"/>
                </a:lnTo>
                <a:lnTo>
                  <a:pt x="3961098" y="6516712"/>
                </a:lnTo>
                <a:cubicBezTo>
                  <a:pt x="3940172" y="6526214"/>
                  <a:pt x="3917344" y="6518612"/>
                  <a:pt x="3907832" y="6499609"/>
                </a:cubicBezTo>
                <a:cubicBezTo>
                  <a:pt x="3904028" y="6493908"/>
                  <a:pt x="3902128" y="6488206"/>
                  <a:pt x="3902128" y="6482505"/>
                </a:cubicBezTo>
                <a:cubicBezTo>
                  <a:pt x="3902128" y="6467302"/>
                  <a:pt x="3911636" y="6454000"/>
                  <a:pt x="3924952" y="6446398"/>
                </a:cubicBezTo>
                <a:cubicBezTo>
                  <a:pt x="3924952" y="6446398"/>
                  <a:pt x="3924952" y="6446398"/>
                  <a:pt x="4007146" y="6404642"/>
                </a:cubicBezTo>
                <a:close/>
                <a:moveTo>
                  <a:pt x="396081" y="6313171"/>
                </a:moveTo>
                <a:cubicBezTo>
                  <a:pt x="405822" y="6316504"/>
                  <a:pt x="414375" y="6323648"/>
                  <a:pt x="419127" y="6334126"/>
                </a:cubicBezTo>
                <a:cubicBezTo>
                  <a:pt x="428631" y="6353176"/>
                  <a:pt x="421028" y="6377941"/>
                  <a:pt x="400120" y="6387466"/>
                </a:cubicBezTo>
                <a:cubicBezTo>
                  <a:pt x="400120" y="6387466"/>
                  <a:pt x="400120" y="6387466"/>
                  <a:pt x="63687" y="6553201"/>
                </a:cubicBezTo>
                <a:cubicBezTo>
                  <a:pt x="42779" y="6562726"/>
                  <a:pt x="18069" y="6553201"/>
                  <a:pt x="8565" y="6534151"/>
                </a:cubicBezTo>
                <a:cubicBezTo>
                  <a:pt x="6665" y="6528436"/>
                  <a:pt x="4764" y="6522721"/>
                  <a:pt x="4764" y="6517006"/>
                </a:cubicBezTo>
                <a:cubicBezTo>
                  <a:pt x="4764" y="6501766"/>
                  <a:pt x="12367" y="6486526"/>
                  <a:pt x="27573" y="6478906"/>
                </a:cubicBezTo>
                <a:cubicBezTo>
                  <a:pt x="27573" y="6478906"/>
                  <a:pt x="27573" y="6478906"/>
                  <a:pt x="365906" y="6315076"/>
                </a:cubicBezTo>
                <a:cubicBezTo>
                  <a:pt x="375410" y="6310313"/>
                  <a:pt x="386339" y="6309837"/>
                  <a:pt x="396081" y="6313171"/>
                </a:cubicBezTo>
                <a:close/>
                <a:moveTo>
                  <a:pt x="940474" y="6300224"/>
                </a:moveTo>
                <a:cubicBezTo>
                  <a:pt x="950252" y="6303315"/>
                  <a:pt x="958837" y="6309975"/>
                  <a:pt x="963607" y="6319488"/>
                </a:cubicBezTo>
                <a:cubicBezTo>
                  <a:pt x="973146" y="6340417"/>
                  <a:pt x="965515" y="6363250"/>
                  <a:pt x="944529" y="6372763"/>
                </a:cubicBezTo>
                <a:cubicBezTo>
                  <a:pt x="944529" y="6372763"/>
                  <a:pt x="944529" y="6372763"/>
                  <a:pt x="606835" y="6540198"/>
                </a:cubicBezTo>
                <a:cubicBezTo>
                  <a:pt x="585849" y="6551614"/>
                  <a:pt x="562954" y="6542100"/>
                  <a:pt x="551507" y="6523074"/>
                </a:cubicBezTo>
                <a:cubicBezTo>
                  <a:pt x="549599" y="6517366"/>
                  <a:pt x="547691" y="6511658"/>
                  <a:pt x="547691" y="6505950"/>
                </a:cubicBezTo>
                <a:cubicBezTo>
                  <a:pt x="547691" y="6490728"/>
                  <a:pt x="557231" y="6475507"/>
                  <a:pt x="570586" y="6469799"/>
                </a:cubicBezTo>
                <a:cubicBezTo>
                  <a:pt x="570586" y="6469799"/>
                  <a:pt x="570586" y="6469799"/>
                  <a:pt x="910187" y="6302364"/>
                </a:cubicBezTo>
                <a:cubicBezTo>
                  <a:pt x="919726" y="6297608"/>
                  <a:pt x="930696" y="6297132"/>
                  <a:pt x="940474" y="6300224"/>
                </a:cubicBezTo>
                <a:close/>
                <a:moveTo>
                  <a:pt x="1486674" y="6285982"/>
                </a:moveTo>
                <a:cubicBezTo>
                  <a:pt x="1496423" y="6289093"/>
                  <a:pt x="1504982" y="6295793"/>
                  <a:pt x="1509738" y="6305364"/>
                </a:cubicBezTo>
                <a:cubicBezTo>
                  <a:pt x="1519249" y="6324508"/>
                  <a:pt x="1511640" y="6349394"/>
                  <a:pt x="1492618" y="6358966"/>
                </a:cubicBezTo>
                <a:cubicBezTo>
                  <a:pt x="1492618" y="6358966"/>
                  <a:pt x="1492618" y="6358966"/>
                  <a:pt x="1154033" y="6529342"/>
                </a:cubicBezTo>
                <a:cubicBezTo>
                  <a:pt x="1135012" y="6538914"/>
                  <a:pt x="1110284" y="6531256"/>
                  <a:pt x="1100773" y="6512113"/>
                </a:cubicBezTo>
                <a:cubicBezTo>
                  <a:pt x="1098871" y="6506370"/>
                  <a:pt x="1096968" y="6500627"/>
                  <a:pt x="1096968" y="6494884"/>
                </a:cubicBezTo>
                <a:cubicBezTo>
                  <a:pt x="1096968" y="6479569"/>
                  <a:pt x="1104577" y="6466169"/>
                  <a:pt x="1117892" y="6458512"/>
                </a:cubicBezTo>
                <a:cubicBezTo>
                  <a:pt x="1117892" y="6458512"/>
                  <a:pt x="1117892" y="6458512"/>
                  <a:pt x="1456477" y="6288135"/>
                </a:cubicBezTo>
                <a:cubicBezTo>
                  <a:pt x="1465988" y="6283350"/>
                  <a:pt x="1476926" y="6282871"/>
                  <a:pt x="1486674" y="6285982"/>
                </a:cubicBezTo>
                <a:close/>
                <a:moveTo>
                  <a:pt x="2038415" y="6273228"/>
                </a:moveTo>
                <a:cubicBezTo>
                  <a:pt x="2047931" y="6276316"/>
                  <a:pt x="2056491" y="6282967"/>
                  <a:pt x="2062198" y="6292469"/>
                </a:cubicBezTo>
                <a:cubicBezTo>
                  <a:pt x="2071708" y="6311473"/>
                  <a:pt x="2064099" y="6334277"/>
                  <a:pt x="2045072" y="6345679"/>
                </a:cubicBezTo>
                <a:cubicBezTo>
                  <a:pt x="2045072" y="6345679"/>
                  <a:pt x="2045072" y="6345679"/>
                  <a:pt x="1706487" y="6516712"/>
                </a:cubicBezTo>
                <a:cubicBezTo>
                  <a:pt x="1687465" y="6526214"/>
                  <a:pt x="1662737" y="6518612"/>
                  <a:pt x="1653226" y="6499609"/>
                </a:cubicBezTo>
                <a:cubicBezTo>
                  <a:pt x="1651324" y="6493908"/>
                  <a:pt x="1649422" y="6488206"/>
                  <a:pt x="1649422" y="6482505"/>
                </a:cubicBezTo>
                <a:cubicBezTo>
                  <a:pt x="1649422" y="6467302"/>
                  <a:pt x="1657031" y="6454000"/>
                  <a:pt x="1670346" y="6446398"/>
                </a:cubicBezTo>
                <a:cubicBezTo>
                  <a:pt x="1670346" y="6446398"/>
                  <a:pt x="1670346" y="6446398"/>
                  <a:pt x="2008931" y="6275366"/>
                </a:cubicBezTo>
                <a:cubicBezTo>
                  <a:pt x="2018442" y="6270615"/>
                  <a:pt x="2028904" y="6270140"/>
                  <a:pt x="2038415" y="6273228"/>
                </a:cubicBezTo>
                <a:close/>
                <a:moveTo>
                  <a:pt x="3729186" y="6260519"/>
                </a:moveTo>
                <a:cubicBezTo>
                  <a:pt x="3738468" y="6263603"/>
                  <a:pt x="3746556" y="6270247"/>
                  <a:pt x="3751316" y="6279737"/>
                </a:cubicBezTo>
                <a:cubicBezTo>
                  <a:pt x="3760836" y="6298718"/>
                  <a:pt x="3755126" y="6321495"/>
                  <a:pt x="3736088" y="6330986"/>
                </a:cubicBezTo>
                <a:cubicBezTo>
                  <a:pt x="3736088" y="6330986"/>
                  <a:pt x="3736088" y="6330986"/>
                  <a:pt x="3397264" y="6505611"/>
                </a:cubicBezTo>
                <a:cubicBezTo>
                  <a:pt x="3378225" y="6515102"/>
                  <a:pt x="3355383" y="6507509"/>
                  <a:pt x="3345866" y="6488528"/>
                </a:cubicBezTo>
                <a:cubicBezTo>
                  <a:pt x="3342057" y="6482834"/>
                  <a:pt x="3340155" y="6477140"/>
                  <a:pt x="3340155" y="6469547"/>
                </a:cubicBezTo>
                <a:cubicBezTo>
                  <a:pt x="3340155" y="6456261"/>
                  <a:pt x="3347765" y="6442974"/>
                  <a:pt x="3361094" y="6435381"/>
                </a:cubicBezTo>
                <a:cubicBezTo>
                  <a:pt x="3361094" y="6435381"/>
                  <a:pt x="3361094" y="6435381"/>
                  <a:pt x="3699920" y="6262654"/>
                </a:cubicBezTo>
                <a:cubicBezTo>
                  <a:pt x="3709436" y="6257909"/>
                  <a:pt x="3719904" y="6257435"/>
                  <a:pt x="3729186" y="6260519"/>
                </a:cubicBezTo>
                <a:close/>
                <a:moveTo>
                  <a:pt x="2595567" y="6260519"/>
                </a:moveTo>
                <a:cubicBezTo>
                  <a:pt x="2604884" y="6263603"/>
                  <a:pt x="2613003" y="6270247"/>
                  <a:pt x="2617780" y="6279737"/>
                </a:cubicBezTo>
                <a:cubicBezTo>
                  <a:pt x="2627334" y="6298718"/>
                  <a:pt x="2621601" y="6321495"/>
                  <a:pt x="2600583" y="6330986"/>
                </a:cubicBezTo>
                <a:cubicBezTo>
                  <a:pt x="2600583" y="6330986"/>
                  <a:pt x="2600583" y="6330986"/>
                  <a:pt x="2262377" y="6505611"/>
                </a:cubicBezTo>
                <a:cubicBezTo>
                  <a:pt x="2243270" y="6515102"/>
                  <a:pt x="2220340" y="6507509"/>
                  <a:pt x="2210786" y="6488528"/>
                </a:cubicBezTo>
                <a:cubicBezTo>
                  <a:pt x="2206965" y="6482834"/>
                  <a:pt x="2205054" y="6477140"/>
                  <a:pt x="2205054" y="6469547"/>
                </a:cubicBezTo>
                <a:cubicBezTo>
                  <a:pt x="2205054" y="6456261"/>
                  <a:pt x="2212697" y="6442974"/>
                  <a:pt x="2226073" y="6435381"/>
                </a:cubicBezTo>
                <a:cubicBezTo>
                  <a:pt x="2226073" y="6435381"/>
                  <a:pt x="2226073" y="6435381"/>
                  <a:pt x="2566189" y="6262654"/>
                </a:cubicBezTo>
                <a:cubicBezTo>
                  <a:pt x="2575743" y="6257909"/>
                  <a:pt x="2586252" y="6257435"/>
                  <a:pt x="2595567" y="6260519"/>
                </a:cubicBezTo>
                <a:close/>
                <a:moveTo>
                  <a:pt x="3155659" y="6245321"/>
                </a:moveTo>
                <a:cubicBezTo>
                  <a:pt x="3164974" y="6247947"/>
                  <a:pt x="3173095" y="6254153"/>
                  <a:pt x="3177874" y="6263701"/>
                </a:cubicBezTo>
                <a:cubicBezTo>
                  <a:pt x="3189337" y="6282797"/>
                  <a:pt x="3181694" y="6305712"/>
                  <a:pt x="3162585" y="6317169"/>
                </a:cubicBezTo>
                <a:cubicBezTo>
                  <a:pt x="3162585" y="6317169"/>
                  <a:pt x="3162585" y="6317169"/>
                  <a:pt x="2822468" y="6492853"/>
                </a:cubicBezTo>
                <a:cubicBezTo>
                  <a:pt x="2805269" y="6502401"/>
                  <a:pt x="2780431" y="6496672"/>
                  <a:pt x="2770875" y="6477576"/>
                </a:cubicBezTo>
                <a:cubicBezTo>
                  <a:pt x="2768965" y="6471847"/>
                  <a:pt x="2767055" y="6466118"/>
                  <a:pt x="2767055" y="6458480"/>
                </a:cubicBezTo>
                <a:cubicBezTo>
                  <a:pt x="2767055" y="6445113"/>
                  <a:pt x="2774698" y="6431746"/>
                  <a:pt x="2788072" y="6426017"/>
                </a:cubicBezTo>
                <a:cubicBezTo>
                  <a:pt x="2788072" y="6426017"/>
                  <a:pt x="2788072" y="6426017"/>
                  <a:pt x="3126282" y="6248424"/>
                </a:cubicBezTo>
                <a:cubicBezTo>
                  <a:pt x="3135836" y="6243650"/>
                  <a:pt x="3146345" y="6242695"/>
                  <a:pt x="3155659" y="6245321"/>
                </a:cubicBezTo>
                <a:close/>
                <a:moveTo>
                  <a:pt x="4011840" y="6076623"/>
                </a:moveTo>
                <a:lnTo>
                  <a:pt x="4011840" y="6165693"/>
                </a:lnTo>
                <a:lnTo>
                  <a:pt x="3959152" y="6191239"/>
                </a:lnTo>
                <a:cubicBezTo>
                  <a:pt x="3940144" y="6200776"/>
                  <a:pt x="3915434" y="6193146"/>
                  <a:pt x="3905930" y="6172165"/>
                </a:cubicBezTo>
                <a:cubicBezTo>
                  <a:pt x="3902128" y="6166443"/>
                  <a:pt x="3902128" y="6160721"/>
                  <a:pt x="3902128" y="6154999"/>
                </a:cubicBezTo>
                <a:cubicBezTo>
                  <a:pt x="3902128" y="6139740"/>
                  <a:pt x="3909730" y="6124481"/>
                  <a:pt x="3924936" y="6118759"/>
                </a:cubicBezTo>
                <a:cubicBezTo>
                  <a:pt x="3924936" y="6118759"/>
                  <a:pt x="3924936" y="6118759"/>
                  <a:pt x="4007532" y="6078712"/>
                </a:cubicBezTo>
                <a:close/>
                <a:moveTo>
                  <a:pt x="380904" y="5988309"/>
                </a:moveTo>
                <a:cubicBezTo>
                  <a:pt x="396318" y="5987059"/>
                  <a:pt x="411999" y="5995988"/>
                  <a:pt x="419127" y="6010276"/>
                </a:cubicBezTo>
                <a:cubicBezTo>
                  <a:pt x="428631" y="6031231"/>
                  <a:pt x="421028" y="6055996"/>
                  <a:pt x="400120" y="6065521"/>
                </a:cubicBezTo>
                <a:cubicBezTo>
                  <a:pt x="400120" y="6065521"/>
                  <a:pt x="400120" y="6065521"/>
                  <a:pt x="63687" y="6229351"/>
                </a:cubicBezTo>
                <a:cubicBezTo>
                  <a:pt x="42779" y="6238876"/>
                  <a:pt x="18069" y="6231256"/>
                  <a:pt x="8565" y="6210301"/>
                </a:cubicBezTo>
                <a:cubicBezTo>
                  <a:pt x="6664" y="6204586"/>
                  <a:pt x="4764" y="6198871"/>
                  <a:pt x="4764" y="6193156"/>
                </a:cubicBezTo>
                <a:cubicBezTo>
                  <a:pt x="4764" y="6177916"/>
                  <a:pt x="12367" y="6162676"/>
                  <a:pt x="27573" y="6156961"/>
                </a:cubicBezTo>
                <a:cubicBezTo>
                  <a:pt x="27573" y="6156961"/>
                  <a:pt x="27573" y="6156961"/>
                  <a:pt x="365906" y="5993131"/>
                </a:cubicBezTo>
                <a:cubicBezTo>
                  <a:pt x="370658" y="5990273"/>
                  <a:pt x="375766" y="5988725"/>
                  <a:pt x="380904" y="5988309"/>
                </a:cubicBezTo>
                <a:close/>
                <a:moveTo>
                  <a:pt x="940179" y="5978208"/>
                </a:moveTo>
                <a:cubicBezTo>
                  <a:pt x="949950" y="5981541"/>
                  <a:pt x="958529" y="5988685"/>
                  <a:pt x="963295" y="5999163"/>
                </a:cubicBezTo>
                <a:cubicBezTo>
                  <a:pt x="974733" y="6018213"/>
                  <a:pt x="965201" y="6042978"/>
                  <a:pt x="944230" y="6052503"/>
                </a:cubicBezTo>
                <a:cubicBezTo>
                  <a:pt x="944230" y="6052503"/>
                  <a:pt x="944230" y="6052503"/>
                  <a:pt x="606791" y="6218238"/>
                </a:cubicBezTo>
                <a:cubicBezTo>
                  <a:pt x="585820" y="6227763"/>
                  <a:pt x="561036" y="6218238"/>
                  <a:pt x="551504" y="6199188"/>
                </a:cubicBezTo>
                <a:cubicBezTo>
                  <a:pt x="549598" y="6193473"/>
                  <a:pt x="547691" y="6185853"/>
                  <a:pt x="547691" y="6180138"/>
                </a:cubicBezTo>
                <a:cubicBezTo>
                  <a:pt x="547691" y="6164898"/>
                  <a:pt x="555317" y="6151563"/>
                  <a:pt x="570568" y="6143943"/>
                </a:cubicBezTo>
                <a:cubicBezTo>
                  <a:pt x="570568" y="6143943"/>
                  <a:pt x="570568" y="6143943"/>
                  <a:pt x="909915" y="5980113"/>
                </a:cubicBezTo>
                <a:cubicBezTo>
                  <a:pt x="919447" y="5975350"/>
                  <a:pt x="930409" y="5974874"/>
                  <a:pt x="940179" y="5978208"/>
                </a:cubicBezTo>
                <a:close/>
                <a:moveTo>
                  <a:pt x="1487950" y="5966222"/>
                </a:moveTo>
                <a:cubicBezTo>
                  <a:pt x="1497958" y="5969794"/>
                  <a:pt x="1506537" y="5976938"/>
                  <a:pt x="1511303" y="5986463"/>
                </a:cubicBezTo>
                <a:cubicBezTo>
                  <a:pt x="1520836" y="6007418"/>
                  <a:pt x="1513210" y="6032183"/>
                  <a:pt x="1492239" y="6041708"/>
                </a:cubicBezTo>
                <a:cubicBezTo>
                  <a:pt x="1492239" y="6041708"/>
                  <a:pt x="1492239" y="6041708"/>
                  <a:pt x="1152893" y="6205538"/>
                </a:cubicBezTo>
                <a:cubicBezTo>
                  <a:pt x="1131922" y="6215063"/>
                  <a:pt x="1109045" y="6207443"/>
                  <a:pt x="1097606" y="6186488"/>
                </a:cubicBezTo>
                <a:cubicBezTo>
                  <a:pt x="1095700" y="6180773"/>
                  <a:pt x="1093793" y="6175058"/>
                  <a:pt x="1093793" y="6169343"/>
                </a:cubicBezTo>
                <a:cubicBezTo>
                  <a:pt x="1093793" y="6154103"/>
                  <a:pt x="1103326" y="6138863"/>
                  <a:pt x="1116671" y="6131243"/>
                </a:cubicBezTo>
                <a:cubicBezTo>
                  <a:pt x="1116671" y="6131243"/>
                  <a:pt x="1116671" y="6131243"/>
                  <a:pt x="1456017" y="5967413"/>
                </a:cubicBezTo>
                <a:cubicBezTo>
                  <a:pt x="1466502" y="5962650"/>
                  <a:pt x="1477941" y="5962650"/>
                  <a:pt x="1487950" y="5966222"/>
                </a:cubicBezTo>
                <a:close/>
                <a:moveTo>
                  <a:pt x="2039813" y="5952817"/>
                </a:moveTo>
                <a:cubicBezTo>
                  <a:pt x="2049553" y="5956155"/>
                  <a:pt x="2058100" y="5963308"/>
                  <a:pt x="2063798" y="5973798"/>
                </a:cubicBezTo>
                <a:cubicBezTo>
                  <a:pt x="2073295" y="5992872"/>
                  <a:pt x="2063798" y="6017668"/>
                  <a:pt x="2044799" y="6027205"/>
                </a:cubicBezTo>
                <a:cubicBezTo>
                  <a:pt x="2044799" y="6027205"/>
                  <a:pt x="2044799" y="6027205"/>
                  <a:pt x="1706714" y="6191239"/>
                </a:cubicBezTo>
                <a:cubicBezTo>
                  <a:pt x="1685821" y="6200776"/>
                  <a:pt x="1661129" y="6193146"/>
                  <a:pt x="1651633" y="6172165"/>
                </a:cubicBezTo>
                <a:cubicBezTo>
                  <a:pt x="1649733" y="6166443"/>
                  <a:pt x="1647834" y="6160721"/>
                  <a:pt x="1647834" y="6154999"/>
                </a:cubicBezTo>
                <a:cubicBezTo>
                  <a:pt x="1647834" y="6139740"/>
                  <a:pt x="1655431" y="6124481"/>
                  <a:pt x="1670626" y="6118759"/>
                </a:cubicBezTo>
                <a:cubicBezTo>
                  <a:pt x="1670626" y="6118759"/>
                  <a:pt x="1670626" y="6118759"/>
                  <a:pt x="2008712" y="5954725"/>
                </a:cubicBezTo>
                <a:cubicBezTo>
                  <a:pt x="2019158" y="5949956"/>
                  <a:pt x="2030079" y="5949479"/>
                  <a:pt x="2039813" y="5952817"/>
                </a:cubicBezTo>
                <a:close/>
                <a:moveTo>
                  <a:pt x="3730408" y="5940108"/>
                </a:moveTo>
                <a:cubicBezTo>
                  <a:pt x="3740180" y="5943442"/>
                  <a:pt x="3748756" y="5950585"/>
                  <a:pt x="3754476" y="5961063"/>
                </a:cubicBezTo>
                <a:cubicBezTo>
                  <a:pt x="3764010" y="5982018"/>
                  <a:pt x="3754476" y="6004878"/>
                  <a:pt x="3735412" y="6016308"/>
                </a:cubicBezTo>
                <a:cubicBezTo>
                  <a:pt x="3735412" y="6016308"/>
                  <a:pt x="3735412" y="6016308"/>
                  <a:pt x="3396080" y="6180138"/>
                </a:cubicBezTo>
                <a:cubicBezTo>
                  <a:pt x="3375107" y="6189663"/>
                  <a:pt x="3350323" y="6180138"/>
                  <a:pt x="3340791" y="6161088"/>
                </a:cubicBezTo>
                <a:cubicBezTo>
                  <a:pt x="3338885" y="6155373"/>
                  <a:pt x="3336980" y="6149658"/>
                  <a:pt x="3336980" y="6142038"/>
                </a:cubicBezTo>
                <a:cubicBezTo>
                  <a:pt x="3336980" y="6126798"/>
                  <a:pt x="3346510" y="6113463"/>
                  <a:pt x="3359854" y="6105843"/>
                </a:cubicBezTo>
                <a:cubicBezTo>
                  <a:pt x="3359854" y="6105843"/>
                  <a:pt x="3359854" y="6105843"/>
                  <a:pt x="3699190" y="5942013"/>
                </a:cubicBezTo>
                <a:cubicBezTo>
                  <a:pt x="3709676" y="5937250"/>
                  <a:pt x="3720634" y="5936774"/>
                  <a:pt x="3730408" y="5940108"/>
                </a:cubicBezTo>
                <a:close/>
                <a:moveTo>
                  <a:pt x="2596907" y="5940108"/>
                </a:moveTo>
                <a:cubicBezTo>
                  <a:pt x="2606677" y="5943442"/>
                  <a:pt x="2615256" y="5950585"/>
                  <a:pt x="2620976" y="5961063"/>
                </a:cubicBezTo>
                <a:cubicBezTo>
                  <a:pt x="2630508" y="5982018"/>
                  <a:pt x="2620976" y="6004878"/>
                  <a:pt x="2601911" y="6016308"/>
                </a:cubicBezTo>
                <a:cubicBezTo>
                  <a:pt x="2601911" y="6016308"/>
                  <a:pt x="2601911" y="6016308"/>
                  <a:pt x="2262565" y="6180138"/>
                </a:cubicBezTo>
                <a:cubicBezTo>
                  <a:pt x="2241595" y="6189663"/>
                  <a:pt x="2216811" y="6180138"/>
                  <a:pt x="2207278" y="6161088"/>
                </a:cubicBezTo>
                <a:cubicBezTo>
                  <a:pt x="2205372" y="6155373"/>
                  <a:pt x="2203466" y="6149658"/>
                  <a:pt x="2203466" y="6142038"/>
                </a:cubicBezTo>
                <a:cubicBezTo>
                  <a:pt x="2203466" y="6126798"/>
                  <a:pt x="2211091" y="6113463"/>
                  <a:pt x="2226343" y="6105843"/>
                </a:cubicBezTo>
                <a:cubicBezTo>
                  <a:pt x="2226343" y="6105843"/>
                  <a:pt x="2226343" y="6105843"/>
                  <a:pt x="2565688" y="5942013"/>
                </a:cubicBezTo>
                <a:cubicBezTo>
                  <a:pt x="2576174" y="5937250"/>
                  <a:pt x="2587136" y="5936774"/>
                  <a:pt x="2596907" y="5940108"/>
                </a:cubicBezTo>
                <a:close/>
                <a:moveTo>
                  <a:pt x="3158038" y="5928122"/>
                </a:moveTo>
                <a:cubicBezTo>
                  <a:pt x="3168046" y="5931694"/>
                  <a:pt x="3176626" y="5938838"/>
                  <a:pt x="3181392" y="5948363"/>
                </a:cubicBezTo>
                <a:cubicBezTo>
                  <a:pt x="3190924" y="5969318"/>
                  <a:pt x="3183299" y="5994083"/>
                  <a:pt x="3162325" y="6003608"/>
                </a:cubicBezTo>
                <a:cubicBezTo>
                  <a:pt x="3162325" y="6003608"/>
                  <a:pt x="3162325" y="6003608"/>
                  <a:pt x="2822979" y="6167438"/>
                </a:cubicBezTo>
                <a:cubicBezTo>
                  <a:pt x="2803913" y="6176963"/>
                  <a:pt x="2779131" y="6169343"/>
                  <a:pt x="2769598" y="6148388"/>
                </a:cubicBezTo>
                <a:cubicBezTo>
                  <a:pt x="2765784" y="6142673"/>
                  <a:pt x="2763878" y="6136958"/>
                  <a:pt x="2763878" y="6131243"/>
                </a:cubicBezTo>
                <a:cubicBezTo>
                  <a:pt x="2763878" y="6116003"/>
                  <a:pt x="2773410" y="6100763"/>
                  <a:pt x="2788667" y="6093143"/>
                </a:cubicBezTo>
                <a:cubicBezTo>
                  <a:pt x="2788667" y="6093143"/>
                  <a:pt x="2788667" y="6093143"/>
                  <a:pt x="3126105" y="5929313"/>
                </a:cubicBezTo>
                <a:cubicBezTo>
                  <a:pt x="3136591" y="5924550"/>
                  <a:pt x="3148030" y="5924550"/>
                  <a:pt x="3158038" y="5928122"/>
                </a:cubicBezTo>
                <a:close/>
                <a:moveTo>
                  <a:pt x="4011840" y="5749863"/>
                </a:moveTo>
                <a:lnTo>
                  <a:pt x="4011840" y="5842922"/>
                </a:lnTo>
                <a:lnTo>
                  <a:pt x="3958228" y="5867437"/>
                </a:lnTo>
                <a:cubicBezTo>
                  <a:pt x="3937196" y="5876926"/>
                  <a:pt x="3912336" y="5867437"/>
                  <a:pt x="3902776" y="5846560"/>
                </a:cubicBezTo>
                <a:cubicBezTo>
                  <a:pt x="3898954" y="5840867"/>
                  <a:pt x="3898954" y="5835173"/>
                  <a:pt x="3898954" y="5829480"/>
                </a:cubicBezTo>
                <a:cubicBezTo>
                  <a:pt x="3898954" y="5812399"/>
                  <a:pt x="3906600" y="5797216"/>
                  <a:pt x="3923810" y="5789625"/>
                </a:cubicBezTo>
                <a:cubicBezTo>
                  <a:pt x="3923810" y="5789625"/>
                  <a:pt x="3923810" y="5789625"/>
                  <a:pt x="4006898" y="5752095"/>
                </a:cubicBezTo>
                <a:close/>
                <a:moveTo>
                  <a:pt x="397251" y="5667772"/>
                </a:moveTo>
                <a:cubicBezTo>
                  <a:pt x="407022" y="5671344"/>
                  <a:pt x="415601" y="5678488"/>
                  <a:pt x="420367" y="5688013"/>
                </a:cubicBezTo>
                <a:cubicBezTo>
                  <a:pt x="431806" y="5708968"/>
                  <a:pt x="422273" y="5733733"/>
                  <a:pt x="401303" y="5743258"/>
                </a:cubicBezTo>
                <a:cubicBezTo>
                  <a:pt x="401303" y="5743258"/>
                  <a:pt x="401303" y="5743258"/>
                  <a:pt x="63863" y="5907088"/>
                </a:cubicBezTo>
                <a:cubicBezTo>
                  <a:pt x="42892" y="5916613"/>
                  <a:pt x="18109" y="5907088"/>
                  <a:pt x="8576" y="5888038"/>
                </a:cubicBezTo>
                <a:cubicBezTo>
                  <a:pt x="4764" y="5882323"/>
                  <a:pt x="4764" y="5874703"/>
                  <a:pt x="4764" y="5868988"/>
                </a:cubicBezTo>
                <a:cubicBezTo>
                  <a:pt x="4764" y="5853748"/>
                  <a:pt x="12389" y="5840413"/>
                  <a:pt x="27641" y="5832793"/>
                </a:cubicBezTo>
                <a:cubicBezTo>
                  <a:pt x="27641" y="5832793"/>
                  <a:pt x="27641" y="5832793"/>
                  <a:pt x="366987" y="5668963"/>
                </a:cubicBezTo>
                <a:cubicBezTo>
                  <a:pt x="376519" y="5664200"/>
                  <a:pt x="387481" y="5664200"/>
                  <a:pt x="397251" y="5667772"/>
                </a:cubicBezTo>
                <a:close/>
                <a:moveTo>
                  <a:pt x="941847" y="5656671"/>
                </a:moveTo>
                <a:cubicBezTo>
                  <a:pt x="951856" y="5660247"/>
                  <a:pt x="960435" y="5667400"/>
                  <a:pt x="965201" y="5676936"/>
                </a:cubicBezTo>
                <a:cubicBezTo>
                  <a:pt x="974733" y="5697917"/>
                  <a:pt x="965201" y="5722713"/>
                  <a:pt x="946137" y="5732250"/>
                </a:cubicBezTo>
                <a:cubicBezTo>
                  <a:pt x="946137" y="5732250"/>
                  <a:pt x="946137" y="5732250"/>
                  <a:pt x="606791" y="5894377"/>
                </a:cubicBezTo>
                <a:cubicBezTo>
                  <a:pt x="585820" y="5903914"/>
                  <a:pt x="561036" y="5894377"/>
                  <a:pt x="551504" y="5873396"/>
                </a:cubicBezTo>
                <a:cubicBezTo>
                  <a:pt x="547691" y="5867674"/>
                  <a:pt x="547691" y="5861952"/>
                  <a:pt x="547691" y="5856229"/>
                </a:cubicBezTo>
                <a:cubicBezTo>
                  <a:pt x="547691" y="5840970"/>
                  <a:pt x="555317" y="5825711"/>
                  <a:pt x="570568" y="5818082"/>
                </a:cubicBezTo>
                <a:cubicBezTo>
                  <a:pt x="570568" y="5818082"/>
                  <a:pt x="570568" y="5818082"/>
                  <a:pt x="909914" y="5657863"/>
                </a:cubicBezTo>
                <a:cubicBezTo>
                  <a:pt x="920400" y="5653094"/>
                  <a:pt x="931838" y="5653094"/>
                  <a:pt x="941847" y="5656671"/>
                </a:cubicBezTo>
                <a:close/>
                <a:moveTo>
                  <a:pt x="1487895" y="5644852"/>
                </a:moveTo>
                <a:cubicBezTo>
                  <a:pt x="1498134" y="5648194"/>
                  <a:pt x="1507183" y="5655356"/>
                  <a:pt x="1512898" y="5665859"/>
                </a:cubicBezTo>
                <a:cubicBezTo>
                  <a:pt x="1522423" y="5686867"/>
                  <a:pt x="1512898" y="5711694"/>
                  <a:pt x="1491943" y="5723153"/>
                </a:cubicBezTo>
                <a:cubicBezTo>
                  <a:pt x="1491943" y="5723153"/>
                  <a:pt x="1491943" y="5723153"/>
                  <a:pt x="1152849" y="5881664"/>
                </a:cubicBezTo>
                <a:cubicBezTo>
                  <a:pt x="1131894" y="5891213"/>
                  <a:pt x="1107128" y="5881664"/>
                  <a:pt x="1097603" y="5860656"/>
                </a:cubicBezTo>
                <a:cubicBezTo>
                  <a:pt x="1093793" y="5854927"/>
                  <a:pt x="1093793" y="5849198"/>
                  <a:pt x="1093793" y="5843468"/>
                </a:cubicBezTo>
                <a:cubicBezTo>
                  <a:pt x="1093793" y="5828190"/>
                  <a:pt x="1101413" y="5812912"/>
                  <a:pt x="1116653" y="5805273"/>
                </a:cubicBezTo>
                <a:cubicBezTo>
                  <a:pt x="1116653" y="5805273"/>
                  <a:pt x="1116653" y="5805273"/>
                  <a:pt x="1455747" y="5646762"/>
                </a:cubicBezTo>
                <a:cubicBezTo>
                  <a:pt x="1466225" y="5641987"/>
                  <a:pt x="1477655" y="5641510"/>
                  <a:pt x="1487895" y="5644852"/>
                </a:cubicBezTo>
                <a:close/>
                <a:moveTo>
                  <a:pt x="2025802" y="5631125"/>
                </a:moveTo>
                <a:cubicBezTo>
                  <a:pt x="2042192" y="5629969"/>
                  <a:pt x="2058318" y="5639221"/>
                  <a:pt x="2066916" y="5654878"/>
                </a:cubicBezTo>
                <a:cubicBezTo>
                  <a:pt x="2076469" y="5677652"/>
                  <a:pt x="2066916" y="5702324"/>
                  <a:pt x="2045894" y="5711813"/>
                </a:cubicBezTo>
                <a:cubicBezTo>
                  <a:pt x="2045894" y="5711813"/>
                  <a:pt x="2045894" y="5711813"/>
                  <a:pt x="1705799" y="5867437"/>
                </a:cubicBezTo>
                <a:cubicBezTo>
                  <a:pt x="1682871" y="5876926"/>
                  <a:pt x="1658033" y="5867437"/>
                  <a:pt x="1648480" y="5846560"/>
                </a:cubicBezTo>
                <a:cubicBezTo>
                  <a:pt x="1646569" y="5840867"/>
                  <a:pt x="1644659" y="5835173"/>
                  <a:pt x="1644659" y="5829480"/>
                </a:cubicBezTo>
                <a:cubicBezTo>
                  <a:pt x="1644659" y="5812399"/>
                  <a:pt x="1654212" y="5797216"/>
                  <a:pt x="1669497" y="5789625"/>
                </a:cubicBezTo>
                <a:cubicBezTo>
                  <a:pt x="1669497" y="5789625"/>
                  <a:pt x="1669497" y="5789625"/>
                  <a:pt x="2009592" y="5635900"/>
                </a:cubicBezTo>
                <a:cubicBezTo>
                  <a:pt x="2014846" y="5633053"/>
                  <a:pt x="2020339" y="5631511"/>
                  <a:pt x="2025802" y="5631125"/>
                </a:cubicBezTo>
                <a:close/>
                <a:moveTo>
                  <a:pt x="3732520" y="5620418"/>
                </a:moveTo>
                <a:cubicBezTo>
                  <a:pt x="3742752" y="5624242"/>
                  <a:pt x="3751320" y="5631891"/>
                  <a:pt x="3756078" y="5642408"/>
                </a:cubicBezTo>
                <a:cubicBezTo>
                  <a:pt x="3765600" y="5665355"/>
                  <a:pt x="3756078" y="5690214"/>
                  <a:pt x="3735138" y="5699775"/>
                </a:cubicBezTo>
                <a:cubicBezTo>
                  <a:pt x="3735138" y="5699775"/>
                  <a:pt x="3735138" y="5699775"/>
                  <a:pt x="3396308" y="5854665"/>
                </a:cubicBezTo>
                <a:cubicBezTo>
                  <a:pt x="3373464" y="5864226"/>
                  <a:pt x="3348715" y="5854665"/>
                  <a:pt x="3339199" y="5833630"/>
                </a:cubicBezTo>
                <a:cubicBezTo>
                  <a:pt x="3337292" y="5827894"/>
                  <a:pt x="3335390" y="5820245"/>
                  <a:pt x="3335390" y="5814508"/>
                </a:cubicBezTo>
                <a:cubicBezTo>
                  <a:pt x="3335390" y="5799210"/>
                  <a:pt x="3344907" y="5783913"/>
                  <a:pt x="3360135" y="5776264"/>
                </a:cubicBezTo>
                <a:cubicBezTo>
                  <a:pt x="3360135" y="5776264"/>
                  <a:pt x="3360135" y="5776264"/>
                  <a:pt x="3698968" y="5621374"/>
                </a:cubicBezTo>
                <a:cubicBezTo>
                  <a:pt x="3710392" y="5616593"/>
                  <a:pt x="3722288" y="5616593"/>
                  <a:pt x="3732520" y="5620418"/>
                </a:cubicBezTo>
                <a:close/>
                <a:moveTo>
                  <a:pt x="2598306" y="5620418"/>
                </a:moveTo>
                <a:cubicBezTo>
                  <a:pt x="2608777" y="5624242"/>
                  <a:pt x="2617819" y="5631891"/>
                  <a:pt x="2622577" y="5642408"/>
                </a:cubicBezTo>
                <a:cubicBezTo>
                  <a:pt x="2632096" y="5665355"/>
                  <a:pt x="2622577" y="5690214"/>
                  <a:pt x="2601638" y="5699775"/>
                </a:cubicBezTo>
                <a:cubicBezTo>
                  <a:pt x="2601638" y="5699775"/>
                  <a:pt x="2601638" y="5699775"/>
                  <a:pt x="2262794" y="5854665"/>
                </a:cubicBezTo>
                <a:cubicBezTo>
                  <a:pt x="2239951" y="5864226"/>
                  <a:pt x="2215204" y="5854665"/>
                  <a:pt x="2205686" y="5833630"/>
                </a:cubicBezTo>
                <a:cubicBezTo>
                  <a:pt x="2203782" y="5827894"/>
                  <a:pt x="2201879" y="5820245"/>
                  <a:pt x="2201879" y="5814508"/>
                </a:cubicBezTo>
                <a:cubicBezTo>
                  <a:pt x="2201879" y="5799210"/>
                  <a:pt x="2211397" y="5783913"/>
                  <a:pt x="2226626" y="5776264"/>
                </a:cubicBezTo>
                <a:cubicBezTo>
                  <a:pt x="2226626" y="5776264"/>
                  <a:pt x="2226626" y="5776264"/>
                  <a:pt x="2565468" y="5621374"/>
                </a:cubicBezTo>
                <a:cubicBezTo>
                  <a:pt x="2575938" y="5616593"/>
                  <a:pt x="2587837" y="5616593"/>
                  <a:pt x="2598306" y="5620418"/>
                </a:cubicBezTo>
                <a:close/>
                <a:moveTo>
                  <a:pt x="3160334" y="5609262"/>
                </a:moveTo>
                <a:cubicBezTo>
                  <a:pt x="3170798" y="5613068"/>
                  <a:pt x="3179834" y="5620678"/>
                  <a:pt x="3184589" y="5631142"/>
                </a:cubicBezTo>
                <a:cubicBezTo>
                  <a:pt x="3194099" y="5653973"/>
                  <a:pt x="3184589" y="5678707"/>
                  <a:pt x="3161758" y="5688219"/>
                </a:cubicBezTo>
                <a:cubicBezTo>
                  <a:pt x="3161758" y="5688219"/>
                  <a:pt x="3161758" y="5688219"/>
                  <a:pt x="2823162" y="5840426"/>
                </a:cubicBezTo>
                <a:cubicBezTo>
                  <a:pt x="2800335" y="5849939"/>
                  <a:pt x="2775607" y="5840426"/>
                  <a:pt x="2766094" y="5817595"/>
                </a:cubicBezTo>
                <a:cubicBezTo>
                  <a:pt x="2764193" y="5811887"/>
                  <a:pt x="2762292" y="5806179"/>
                  <a:pt x="2762292" y="5800472"/>
                </a:cubicBezTo>
                <a:cubicBezTo>
                  <a:pt x="2762292" y="5783348"/>
                  <a:pt x="2771803" y="5768128"/>
                  <a:pt x="2787018" y="5760517"/>
                </a:cubicBezTo>
                <a:cubicBezTo>
                  <a:pt x="2787018" y="5760517"/>
                  <a:pt x="2787018" y="5760517"/>
                  <a:pt x="3127521" y="5610214"/>
                </a:cubicBezTo>
                <a:cubicBezTo>
                  <a:pt x="3137983" y="5605457"/>
                  <a:pt x="3149871" y="5605457"/>
                  <a:pt x="3160334" y="5609262"/>
                </a:cubicBezTo>
                <a:close/>
                <a:moveTo>
                  <a:pt x="4011840" y="5423585"/>
                </a:moveTo>
                <a:lnTo>
                  <a:pt x="4011840" y="5518922"/>
                </a:lnTo>
                <a:lnTo>
                  <a:pt x="3958460" y="5541963"/>
                </a:lnTo>
                <a:cubicBezTo>
                  <a:pt x="3935548" y="5551488"/>
                  <a:pt x="3910732" y="5541963"/>
                  <a:pt x="3901184" y="5519103"/>
                </a:cubicBezTo>
                <a:cubicBezTo>
                  <a:pt x="3897364" y="5513388"/>
                  <a:pt x="3897364" y="5507673"/>
                  <a:pt x="3897364" y="5501958"/>
                </a:cubicBezTo>
                <a:cubicBezTo>
                  <a:pt x="3897364" y="5484813"/>
                  <a:pt x="3906912" y="5469573"/>
                  <a:pt x="3924092" y="5461953"/>
                </a:cubicBezTo>
                <a:cubicBezTo>
                  <a:pt x="3924092" y="5461953"/>
                  <a:pt x="3924092" y="5461953"/>
                  <a:pt x="4007056" y="5425676"/>
                </a:cubicBezTo>
                <a:close/>
                <a:moveTo>
                  <a:pt x="398204" y="5347056"/>
                </a:moveTo>
                <a:cubicBezTo>
                  <a:pt x="407975" y="5350610"/>
                  <a:pt x="416554" y="5357718"/>
                  <a:pt x="422273" y="5367196"/>
                </a:cubicBezTo>
                <a:cubicBezTo>
                  <a:pt x="431805" y="5388046"/>
                  <a:pt x="422273" y="5412688"/>
                  <a:pt x="401302" y="5422166"/>
                </a:cubicBezTo>
                <a:cubicBezTo>
                  <a:pt x="401302" y="5422166"/>
                  <a:pt x="401302" y="5422166"/>
                  <a:pt x="63863" y="5583285"/>
                </a:cubicBezTo>
                <a:cubicBezTo>
                  <a:pt x="42892" y="5592763"/>
                  <a:pt x="18108" y="5585181"/>
                  <a:pt x="8576" y="5564330"/>
                </a:cubicBezTo>
                <a:cubicBezTo>
                  <a:pt x="4763" y="5558643"/>
                  <a:pt x="4763" y="5552957"/>
                  <a:pt x="4763" y="5547270"/>
                </a:cubicBezTo>
                <a:cubicBezTo>
                  <a:pt x="4763" y="5532106"/>
                  <a:pt x="12389" y="5516942"/>
                  <a:pt x="27641" y="5509360"/>
                </a:cubicBezTo>
                <a:cubicBezTo>
                  <a:pt x="27641" y="5509360"/>
                  <a:pt x="27641" y="5509360"/>
                  <a:pt x="366986" y="5348240"/>
                </a:cubicBezTo>
                <a:cubicBezTo>
                  <a:pt x="377472" y="5343502"/>
                  <a:pt x="388434" y="5343502"/>
                  <a:pt x="398204" y="5347056"/>
                </a:cubicBezTo>
                <a:close/>
                <a:moveTo>
                  <a:pt x="941871" y="5334657"/>
                </a:moveTo>
                <a:cubicBezTo>
                  <a:pt x="951873" y="5338476"/>
                  <a:pt x="960445" y="5346116"/>
                  <a:pt x="965208" y="5356619"/>
                </a:cubicBezTo>
                <a:cubicBezTo>
                  <a:pt x="974733" y="5377627"/>
                  <a:pt x="967113" y="5402454"/>
                  <a:pt x="946158" y="5412003"/>
                </a:cubicBezTo>
                <a:cubicBezTo>
                  <a:pt x="946158" y="5412003"/>
                  <a:pt x="946158" y="5412003"/>
                  <a:pt x="605159" y="5570514"/>
                </a:cubicBezTo>
                <a:cubicBezTo>
                  <a:pt x="584203" y="5580063"/>
                  <a:pt x="559438" y="5570514"/>
                  <a:pt x="549913" y="5549506"/>
                </a:cubicBezTo>
                <a:cubicBezTo>
                  <a:pt x="548008" y="5543777"/>
                  <a:pt x="546103" y="5538048"/>
                  <a:pt x="546103" y="5532318"/>
                </a:cubicBezTo>
                <a:cubicBezTo>
                  <a:pt x="546103" y="5515130"/>
                  <a:pt x="555628" y="5499852"/>
                  <a:pt x="570868" y="5494123"/>
                </a:cubicBezTo>
                <a:cubicBezTo>
                  <a:pt x="570868" y="5494123"/>
                  <a:pt x="570868" y="5494123"/>
                  <a:pt x="909962" y="5335612"/>
                </a:cubicBezTo>
                <a:cubicBezTo>
                  <a:pt x="920440" y="5330837"/>
                  <a:pt x="931870" y="5330837"/>
                  <a:pt x="941871" y="5334657"/>
                </a:cubicBezTo>
                <a:close/>
                <a:moveTo>
                  <a:pt x="1489585" y="5323794"/>
                </a:moveTo>
                <a:cubicBezTo>
                  <a:pt x="1499579" y="5327857"/>
                  <a:pt x="1508145" y="5335984"/>
                  <a:pt x="1512904" y="5347457"/>
                </a:cubicBezTo>
                <a:cubicBezTo>
                  <a:pt x="1522422" y="5368492"/>
                  <a:pt x="1512904" y="5393351"/>
                  <a:pt x="1491964" y="5402912"/>
                </a:cubicBezTo>
                <a:cubicBezTo>
                  <a:pt x="1491964" y="5402912"/>
                  <a:pt x="1491964" y="5402912"/>
                  <a:pt x="1153121" y="5555889"/>
                </a:cubicBezTo>
                <a:cubicBezTo>
                  <a:pt x="1130277" y="5567363"/>
                  <a:pt x="1105530" y="5557802"/>
                  <a:pt x="1096012" y="5534855"/>
                </a:cubicBezTo>
                <a:cubicBezTo>
                  <a:pt x="1094109" y="5529118"/>
                  <a:pt x="1092205" y="5523382"/>
                  <a:pt x="1092205" y="5517645"/>
                </a:cubicBezTo>
                <a:cubicBezTo>
                  <a:pt x="1092205" y="5500435"/>
                  <a:pt x="1101723" y="5485137"/>
                  <a:pt x="1116952" y="5477488"/>
                </a:cubicBezTo>
                <a:cubicBezTo>
                  <a:pt x="1116952" y="5477488"/>
                  <a:pt x="1116952" y="5477488"/>
                  <a:pt x="1457699" y="5324511"/>
                </a:cubicBezTo>
                <a:cubicBezTo>
                  <a:pt x="1468169" y="5319730"/>
                  <a:pt x="1479591" y="5319730"/>
                  <a:pt x="1489585" y="5323794"/>
                </a:cubicBezTo>
                <a:close/>
                <a:moveTo>
                  <a:pt x="2026929" y="5309969"/>
                </a:moveTo>
                <a:cubicBezTo>
                  <a:pt x="2044546" y="5310148"/>
                  <a:pt x="2061364" y="5320506"/>
                  <a:pt x="2068518" y="5336223"/>
                </a:cubicBezTo>
                <a:cubicBezTo>
                  <a:pt x="2078057" y="5359083"/>
                  <a:pt x="2066610" y="5383848"/>
                  <a:pt x="2045619" y="5395278"/>
                </a:cubicBezTo>
                <a:cubicBezTo>
                  <a:pt x="2045619" y="5395278"/>
                  <a:pt x="2045619" y="5395278"/>
                  <a:pt x="1704121" y="5541963"/>
                </a:cubicBezTo>
                <a:cubicBezTo>
                  <a:pt x="1683136" y="5551488"/>
                  <a:pt x="1656426" y="5541963"/>
                  <a:pt x="1646887" y="5519103"/>
                </a:cubicBezTo>
                <a:cubicBezTo>
                  <a:pt x="1644979" y="5513388"/>
                  <a:pt x="1643071" y="5507673"/>
                  <a:pt x="1643071" y="5501958"/>
                </a:cubicBezTo>
                <a:cubicBezTo>
                  <a:pt x="1643071" y="5484813"/>
                  <a:pt x="1652611" y="5469573"/>
                  <a:pt x="1669781" y="5461953"/>
                </a:cubicBezTo>
                <a:cubicBezTo>
                  <a:pt x="1669781" y="5461953"/>
                  <a:pt x="1669781" y="5461953"/>
                  <a:pt x="2009371" y="5313363"/>
                </a:cubicBezTo>
                <a:cubicBezTo>
                  <a:pt x="2015094" y="5310981"/>
                  <a:pt x="2021056" y="5309910"/>
                  <a:pt x="2026929" y="5309969"/>
                </a:cubicBezTo>
                <a:close/>
                <a:moveTo>
                  <a:pt x="3719258" y="5298894"/>
                </a:moveTo>
                <a:cubicBezTo>
                  <a:pt x="3736336" y="5299163"/>
                  <a:pt x="3752080" y="5309892"/>
                  <a:pt x="3759236" y="5327059"/>
                </a:cubicBezTo>
                <a:cubicBezTo>
                  <a:pt x="3768772" y="5349949"/>
                  <a:pt x="3759236" y="5376653"/>
                  <a:pt x="3736336" y="5386191"/>
                </a:cubicBezTo>
                <a:cubicBezTo>
                  <a:pt x="3736336" y="5386191"/>
                  <a:pt x="3736336" y="5386191"/>
                  <a:pt x="3394855" y="5529250"/>
                </a:cubicBezTo>
                <a:cubicBezTo>
                  <a:pt x="3371961" y="5538788"/>
                  <a:pt x="3347159" y="5527343"/>
                  <a:pt x="3337618" y="5504453"/>
                </a:cubicBezTo>
                <a:cubicBezTo>
                  <a:pt x="3333804" y="5498731"/>
                  <a:pt x="3333804" y="5493009"/>
                  <a:pt x="3333804" y="5487286"/>
                </a:cubicBezTo>
                <a:cubicBezTo>
                  <a:pt x="3333804" y="5470119"/>
                  <a:pt x="3343341" y="5454859"/>
                  <a:pt x="3360513" y="5447229"/>
                </a:cubicBezTo>
                <a:cubicBezTo>
                  <a:pt x="3360513" y="5447229"/>
                  <a:pt x="3360513" y="5447229"/>
                  <a:pt x="3701998" y="5302262"/>
                </a:cubicBezTo>
                <a:cubicBezTo>
                  <a:pt x="3707720" y="5299878"/>
                  <a:pt x="3713564" y="5298805"/>
                  <a:pt x="3719258" y="5298894"/>
                </a:cubicBezTo>
                <a:close/>
                <a:moveTo>
                  <a:pt x="2583547" y="5298894"/>
                </a:moveTo>
                <a:cubicBezTo>
                  <a:pt x="2600298" y="5299163"/>
                  <a:pt x="2617050" y="5309892"/>
                  <a:pt x="2624178" y="5327059"/>
                </a:cubicBezTo>
                <a:cubicBezTo>
                  <a:pt x="2633683" y="5349949"/>
                  <a:pt x="2624178" y="5376653"/>
                  <a:pt x="2601368" y="5386191"/>
                </a:cubicBezTo>
                <a:cubicBezTo>
                  <a:pt x="2601368" y="5386191"/>
                  <a:pt x="2601368" y="5386191"/>
                  <a:pt x="2261117" y="5529250"/>
                </a:cubicBezTo>
                <a:cubicBezTo>
                  <a:pt x="2238307" y="5538788"/>
                  <a:pt x="2213596" y="5527343"/>
                  <a:pt x="2204092" y="5504453"/>
                </a:cubicBezTo>
                <a:cubicBezTo>
                  <a:pt x="2200290" y="5498731"/>
                  <a:pt x="2200290" y="5493009"/>
                  <a:pt x="2200290" y="5487286"/>
                </a:cubicBezTo>
                <a:cubicBezTo>
                  <a:pt x="2200290" y="5470119"/>
                  <a:pt x="2209795" y="5454859"/>
                  <a:pt x="2226902" y="5447229"/>
                </a:cubicBezTo>
                <a:cubicBezTo>
                  <a:pt x="2226902" y="5447229"/>
                  <a:pt x="2226902" y="5447229"/>
                  <a:pt x="2567153" y="5302262"/>
                </a:cubicBezTo>
                <a:cubicBezTo>
                  <a:pt x="2572380" y="5299878"/>
                  <a:pt x="2577964" y="5298805"/>
                  <a:pt x="2583547" y="5298894"/>
                </a:cubicBezTo>
                <a:close/>
                <a:moveTo>
                  <a:pt x="3161733" y="5292225"/>
                </a:moveTo>
                <a:cubicBezTo>
                  <a:pt x="3172419" y="5296500"/>
                  <a:pt x="3181443" y="5305050"/>
                  <a:pt x="3186188" y="5317400"/>
                </a:cubicBezTo>
                <a:cubicBezTo>
                  <a:pt x="3195686" y="5340200"/>
                  <a:pt x="3184290" y="5366800"/>
                  <a:pt x="3161495" y="5376300"/>
                </a:cubicBezTo>
                <a:cubicBezTo>
                  <a:pt x="3161495" y="5376300"/>
                  <a:pt x="3161495" y="5376300"/>
                  <a:pt x="2821486" y="5515000"/>
                </a:cubicBezTo>
                <a:cubicBezTo>
                  <a:pt x="2798692" y="5524500"/>
                  <a:pt x="2772100" y="5513100"/>
                  <a:pt x="2762604" y="5488400"/>
                </a:cubicBezTo>
                <a:cubicBezTo>
                  <a:pt x="2760705" y="5484600"/>
                  <a:pt x="2760705" y="5477000"/>
                  <a:pt x="2760705" y="5471300"/>
                </a:cubicBezTo>
                <a:cubicBezTo>
                  <a:pt x="2760705" y="5454200"/>
                  <a:pt x="2770200" y="5437100"/>
                  <a:pt x="2787298" y="5429500"/>
                </a:cubicBezTo>
                <a:cubicBezTo>
                  <a:pt x="2787298" y="5429500"/>
                  <a:pt x="2787298" y="5429500"/>
                  <a:pt x="3127305" y="5292700"/>
                </a:cubicBezTo>
                <a:cubicBezTo>
                  <a:pt x="3138701" y="5287950"/>
                  <a:pt x="3151049" y="5287950"/>
                  <a:pt x="3161733" y="5292225"/>
                </a:cubicBezTo>
                <a:close/>
                <a:moveTo>
                  <a:pt x="4011840" y="5097617"/>
                </a:moveTo>
                <a:lnTo>
                  <a:pt x="4011840" y="5195949"/>
                </a:lnTo>
                <a:lnTo>
                  <a:pt x="3958692" y="5218087"/>
                </a:lnTo>
                <a:cubicBezTo>
                  <a:pt x="3933908" y="5227637"/>
                  <a:pt x="3909124" y="5216177"/>
                  <a:pt x="3899590" y="5193257"/>
                </a:cubicBezTo>
                <a:cubicBezTo>
                  <a:pt x="3895780" y="5187528"/>
                  <a:pt x="3895780" y="5181798"/>
                  <a:pt x="3895780" y="5176068"/>
                </a:cubicBezTo>
                <a:cubicBezTo>
                  <a:pt x="3895780" y="5156968"/>
                  <a:pt x="3905308" y="5141689"/>
                  <a:pt x="3924374" y="5134049"/>
                </a:cubicBezTo>
                <a:cubicBezTo>
                  <a:pt x="3924374" y="5134049"/>
                  <a:pt x="3924374" y="5134049"/>
                  <a:pt x="4007216" y="5099543"/>
                </a:cubicBezTo>
                <a:close/>
                <a:moveTo>
                  <a:pt x="398945" y="5024845"/>
                </a:moveTo>
                <a:cubicBezTo>
                  <a:pt x="408946" y="5028421"/>
                  <a:pt x="417519" y="5035573"/>
                  <a:pt x="422281" y="5045110"/>
                </a:cubicBezTo>
                <a:cubicBezTo>
                  <a:pt x="431806" y="5066091"/>
                  <a:pt x="422281" y="5090887"/>
                  <a:pt x="401326" y="5100424"/>
                </a:cubicBezTo>
                <a:cubicBezTo>
                  <a:pt x="401326" y="5100424"/>
                  <a:pt x="401326" y="5100424"/>
                  <a:pt x="62232" y="5262551"/>
                </a:cubicBezTo>
                <a:cubicBezTo>
                  <a:pt x="43182" y="5272088"/>
                  <a:pt x="18416" y="5262551"/>
                  <a:pt x="8891" y="5241570"/>
                </a:cubicBezTo>
                <a:cubicBezTo>
                  <a:pt x="5081" y="5235848"/>
                  <a:pt x="3176" y="5230126"/>
                  <a:pt x="3176" y="5224403"/>
                </a:cubicBezTo>
                <a:cubicBezTo>
                  <a:pt x="3176" y="5209144"/>
                  <a:pt x="12701" y="5193885"/>
                  <a:pt x="27941" y="5186256"/>
                </a:cubicBezTo>
                <a:cubicBezTo>
                  <a:pt x="27941" y="5186256"/>
                  <a:pt x="27941" y="5186256"/>
                  <a:pt x="367036" y="5026037"/>
                </a:cubicBezTo>
                <a:cubicBezTo>
                  <a:pt x="377513" y="5021268"/>
                  <a:pt x="388943" y="5021268"/>
                  <a:pt x="398945" y="5024845"/>
                </a:cubicBezTo>
                <a:close/>
                <a:moveTo>
                  <a:pt x="942531" y="5014175"/>
                </a:moveTo>
                <a:cubicBezTo>
                  <a:pt x="953001" y="5018213"/>
                  <a:pt x="962043" y="5026289"/>
                  <a:pt x="966802" y="5037690"/>
                </a:cubicBezTo>
                <a:cubicBezTo>
                  <a:pt x="976320" y="5058592"/>
                  <a:pt x="966802" y="5083295"/>
                  <a:pt x="945862" y="5092795"/>
                </a:cubicBezTo>
                <a:cubicBezTo>
                  <a:pt x="945862" y="5092795"/>
                  <a:pt x="945862" y="5092795"/>
                  <a:pt x="605115" y="5246711"/>
                </a:cubicBezTo>
                <a:cubicBezTo>
                  <a:pt x="584175" y="5256212"/>
                  <a:pt x="559428" y="5246711"/>
                  <a:pt x="549910" y="5225809"/>
                </a:cubicBezTo>
                <a:cubicBezTo>
                  <a:pt x="546103" y="5220108"/>
                  <a:pt x="546103" y="5214408"/>
                  <a:pt x="546103" y="5208707"/>
                </a:cubicBezTo>
                <a:cubicBezTo>
                  <a:pt x="546103" y="5191605"/>
                  <a:pt x="555621" y="5176404"/>
                  <a:pt x="570850" y="5168803"/>
                </a:cubicBezTo>
                <a:cubicBezTo>
                  <a:pt x="570850" y="5168803"/>
                  <a:pt x="570850" y="5168803"/>
                  <a:pt x="909693" y="5014888"/>
                </a:cubicBezTo>
                <a:cubicBezTo>
                  <a:pt x="920163" y="5010137"/>
                  <a:pt x="932061" y="5010137"/>
                  <a:pt x="942531" y="5014175"/>
                </a:cubicBezTo>
                <a:close/>
                <a:moveTo>
                  <a:pt x="1491734" y="5004627"/>
                </a:moveTo>
                <a:cubicBezTo>
                  <a:pt x="1502228" y="5008654"/>
                  <a:pt x="1511290" y="5016708"/>
                  <a:pt x="1516059" y="5028079"/>
                </a:cubicBezTo>
                <a:cubicBezTo>
                  <a:pt x="1525598" y="5050821"/>
                  <a:pt x="1516059" y="5075458"/>
                  <a:pt x="1493165" y="5084934"/>
                </a:cubicBezTo>
                <a:cubicBezTo>
                  <a:pt x="1493165" y="5084934"/>
                  <a:pt x="1493165" y="5084934"/>
                  <a:pt x="1153575" y="5230861"/>
                </a:cubicBezTo>
                <a:cubicBezTo>
                  <a:pt x="1130682" y="5240337"/>
                  <a:pt x="1103972" y="5230861"/>
                  <a:pt x="1094433" y="5208119"/>
                </a:cubicBezTo>
                <a:cubicBezTo>
                  <a:pt x="1092526" y="5202434"/>
                  <a:pt x="1090618" y="5196748"/>
                  <a:pt x="1090618" y="5191063"/>
                </a:cubicBezTo>
                <a:cubicBezTo>
                  <a:pt x="1090618" y="5174006"/>
                  <a:pt x="1102065" y="5158845"/>
                  <a:pt x="1117327" y="5151264"/>
                </a:cubicBezTo>
                <a:cubicBezTo>
                  <a:pt x="1117327" y="5151264"/>
                  <a:pt x="1117327" y="5151264"/>
                  <a:pt x="1458825" y="5005338"/>
                </a:cubicBezTo>
                <a:cubicBezTo>
                  <a:pt x="1469318" y="5000600"/>
                  <a:pt x="1481242" y="5000600"/>
                  <a:pt x="1491734" y="5004627"/>
                </a:cubicBezTo>
                <a:close/>
                <a:moveTo>
                  <a:pt x="2028590" y="4989339"/>
                </a:moveTo>
                <a:cubicBezTo>
                  <a:pt x="2046182" y="4989608"/>
                  <a:pt x="2062975" y="5000352"/>
                  <a:pt x="2070119" y="5017541"/>
                </a:cubicBezTo>
                <a:cubicBezTo>
                  <a:pt x="2079644" y="5040461"/>
                  <a:pt x="2068214" y="5067200"/>
                  <a:pt x="2045349" y="5076750"/>
                </a:cubicBezTo>
                <a:cubicBezTo>
                  <a:pt x="2045349" y="5076750"/>
                  <a:pt x="2045349" y="5076750"/>
                  <a:pt x="1704349" y="5218087"/>
                </a:cubicBezTo>
                <a:cubicBezTo>
                  <a:pt x="1681489" y="5227637"/>
                  <a:pt x="1654818" y="5216177"/>
                  <a:pt x="1645293" y="5193257"/>
                </a:cubicBezTo>
                <a:cubicBezTo>
                  <a:pt x="1643388" y="5187528"/>
                  <a:pt x="1641483" y="5181798"/>
                  <a:pt x="1641483" y="5176068"/>
                </a:cubicBezTo>
                <a:cubicBezTo>
                  <a:pt x="1641483" y="5156968"/>
                  <a:pt x="1652914" y="5141689"/>
                  <a:pt x="1670059" y="5134049"/>
                </a:cubicBezTo>
                <a:cubicBezTo>
                  <a:pt x="1670059" y="5134049"/>
                  <a:pt x="1670059" y="5134049"/>
                  <a:pt x="2011058" y="4992712"/>
                </a:cubicBezTo>
                <a:cubicBezTo>
                  <a:pt x="2016773" y="4990324"/>
                  <a:pt x="2022726" y="4989250"/>
                  <a:pt x="2028590" y="4989339"/>
                </a:cubicBezTo>
                <a:close/>
                <a:moveTo>
                  <a:pt x="3720408" y="4979828"/>
                </a:moveTo>
                <a:cubicBezTo>
                  <a:pt x="3738808" y="4980185"/>
                  <a:pt x="3755596" y="4991258"/>
                  <a:pt x="3762740" y="5009832"/>
                </a:cubicBezTo>
                <a:cubicBezTo>
                  <a:pt x="3770360" y="5032692"/>
                  <a:pt x="3758930" y="5059362"/>
                  <a:pt x="3736068" y="5068887"/>
                </a:cubicBezTo>
                <a:cubicBezTo>
                  <a:pt x="3736068" y="5068887"/>
                  <a:pt x="3736068" y="5068887"/>
                  <a:pt x="3395084" y="5202237"/>
                </a:cubicBezTo>
                <a:cubicBezTo>
                  <a:pt x="3370317" y="5211762"/>
                  <a:pt x="3343646" y="5200332"/>
                  <a:pt x="3334121" y="5175567"/>
                </a:cubicBezTo>
                <a:cubicBezTo>
                  <a:pt x="3332215" y="5169852"/>
                  <a:pt x="3332215" y="5164137"/>
                  <a:pt x="3332215" y="5158422"/>
                </a:cubicBezTo>
                <a:cubicBezTo>
                  <a:pt x="3332215" y="5141277"/>
                  <a:pt x="3343646" y="5122227"/>
                  <a:pt x="3360792" y="5116512"/>
                </a:cubicBezTo>
                <a:cubicBezTo>
                  <a:pt x="3360792" y="5116512"/>
                  <a:pt x="3360792" y="5116512"/>
                  <a:pt x="3701776" y="4983162"/>
                </a:cubicBezTo>
                <a:cubicBezTo>
                  <a:pt x="3707968" y="4980781"/>
                  <a:pt x="3714280" y="4979709"/>
                  <a:pt x="3720408" y="4979828"/>
                </a:cubicBezTo>
                <a:close/>
                <a:moveTo>
                  <a:pt x="2585923" y="4979828"/>
                </a:moveTo>
                <a:cubicBezTo>
                  <a:pt x="2604117" y="4980185"/>
                  <a:pt x="2622040" y="4991258"/>
                  <a:pt x="2629210" y="5009832"/>
                </a:cubicBezTo>
                <a:cubicBezTo>
                  <a:pt x="2636858" y="5032692"/>
                  <a:pt x="2625387" y="5059362"/>
                  <a:pt x="2602444" y="5068887"/>
                </a:cubicBezTo>
                <a:cubicBezTo>
                  <a:pt x="2602444" y="5068887"/>
                  <a:pt x="2602444" y="5068887"/>
                  <a:pt x="2260209" y="5202237"/>
                </a:cubicBezTo>
                <a:cubicBezTo>
                  <a:pt x="2235354" y="5211762"/>
                  <a:pt x="2208587" y="5200332"/>
                  <a:pt x="2199027" y="5175567"/>
                </a:cubicBezTo>
                <a:cubicBezTo>
                  <a:pt x="2197115" y="5169852"/>
                  <a:pt x="2197115" y="5164137"/>
                  <a:pt x="2197115" y="5158422"/>
                </a:cubicBezTo>
                <a:cubicBezTo>
                  <a:pt x="2197115" y="5141277"/>
                  <a:pt x="2206675" y="5122227"/>
                  <a:pt x="2225794" y="5116512"/>
                </a:cubicBezTo>
                <a:cubicBezTo>
                  <a:pt x="2225794" y="5116512"/>
                  <a:pt x="2225794" y="5116512"/>
                  <a:pt x="2568028" y="4983162"/>
                </a:cubicBezTo>
                <a:cubicBezTo>
                  <a:pt x="2573764" y="4980780"/>
                  <a:pt x="2579859" y="4979709"/>
                  <a:pt x="2585923" y="4979828"/>
                </a:cubicBezTo>
                <a:close/>
                <a:moveTo>
                  <a:pt x="3148522" y="4969031"/>
                </a:moveTo>
                <a:cubicBezTo>
                  <a:pt x="3166945" y="4969927"/>
                  <a:pt x="3183758" y="4982104"/>
                  <a:pt x="3190913" y="5000728"/>
                </a:cubicBezTo>
                <a:cubicBezTo>
                  <a:pt x="3200448" y="5025560"/>
                  <a:pt x="3187095" y="5052302"/>
                  <a:pt x="3162293" y="5061853"/>
                </a:cubicBezTo>
                <a:cubicBezTo>
                  <a:pt x="3162293" y="5061853"/>
                  <a:pt x="3162293" y="5061853"/>
                  <a:pt x="2820804" y="5187924"/>
                </a:cubicBezTo>
                <a:cubicBezTo>
                  <a:pt x="2796003" y="5197475"/>
                  <a:pt x="2769296" y="5184104"/>
                  <a:pt x="2759756" y="5161182"/>
                </a:cubicBezTo>
                <a:cubicBezTo>
                  <a:pt x="2757847" y="5155451"/>
                  <a:pt x="2755940" y="5149721"/>
                  <a:pt x="2755940" y="5143990"/>
                </a:cubicBezTo>
                <a:cubicBezTo>
                  <a:pt x="2755940" y="5124889"/>
                  <a:pt x="2767388" y="5105787"/>
                  <a:pt x="2788374" y="5098146"/>
                </a:cubicBezTo>
                <a:cubicBezTo>
                  <a:pt x="2788374" y="5098146"/>
                  <a:pt x="2788374" y="5098146"/>
                  <a:pt x="3129862" y="4972076"/>
                </a:cubicBezTo>
                <a:cubicBezTo>
                  <a:pt x="3136060" y="4969688"/>
                  <a:pt x="3142382" y="4968733"/>
                  <a:pt x="3148522" y="4969031"/>
                </a:cubicBezTo>
                <a:close/>
                <a:moveTo>
                  <a:pt x="4011840" y="4771408"/>
                </a:moveTo>
                <a:lnTo>
                  <a:pt x="4011840" y="4871523"/>
                </a:lnTo>
                <a:lnTo>
                  <a:pt x="3957012" y="4892674"/>
                </a:lnTo>
                <a:cubicBezTo>
                  <a:pt x="3934168" y="4902199"/>
                  <a:pt x="3907512" y="4890769"/>
                  <a:pt x="3897996" y="4866004"/>
                </a:cubicBezTo>
                <a:cubicBezTo>
                  <a:pt x="3896096" y="4860289"/>
                  <a:pt x="3894188" y="4854574"/>
                  <a:pt x="3894188" y="4848859"/>
                </a:cubicBezTo>
                <a:cubicBezTo>
                  <a:pt x="3894188" y="4829809"/>
                  <a:pt x="3905612" y="4812664"/>
                  <a:pt x="3924648" y="4805044"/>
                </a:cubicBezTo>
                <a:cubicBezTo>
                  <a:pt x="3924648" y="4805044"/>
                  <a:pt x="3924648" y="4805044"/>
                  <a:pt x="4007834" y="4772953"/>
                </a:cubicBezTo>
                <a:close/>
                <a:moveTo>
                  <a:pt x="398944" y="4701876"/>
                </a:moveTo>
                <a:cubicBezTo>
                  <a:pt x="408946" y="4705218"/>
                  <a:pt x="417518" y="4712380"/>
                  <a:pt x="422281" y="4722883"/>
                </a:cubicBezTo>
                <a:cubicBezTo>
                  <a:pt x="431806" y="4743891"/>
                  <a:pt x="422281" y="4768718"/>
                  <a:pt x="401326" y="4778267"/>
                </a:cubicBezTo>
                <a:cubicBezTo>
                  <a:pt x="401326" y="4778267"/>
                  <a:pt x="401326" y="4778267"/>
                  <a:pt x="62232" y="4938688"/>
                </a:cubicBezTo>
                <a:cubicBezTo>
                  <a:pt x="43181" y="4948237"/>
                  <a:pt x="16511" y="4940598"/>
                  <a:pt x="6986" y="4919590"/>
                </a:cubicBezTo>
                <a:cubicBezTo>
                  <a:pt x="5081" y="4913861"/>
                  <a:pt x="3176" y="4906222"/>
                  <a:pt x="3176" y="4900492"/>
                </a:cubicBezTo>
                <a:cubicBezTo>
                  <a:pt x="3176" y="4885214"/>
                  <a:pt x="12701" y="4869936"/>
                  <a:pt x="27941" y="4864207"/>
                </a:cubicBezTo>
                <a:cubicBezTo>
                  <a:pt x="27941" y="4864207"/>
                  <a:pt x="27941" y="4864207"/>
                  <a:pt x="367035" y="4703786"/>
                </a:cubicBezTo>
                <a:cubicBezTo>
                  <a:pt x="377513" y="4699011"/>
                  <a:pt x="388943" y="4698534"/>
                  <a:pt x="398944" y="4701876"/>
                </a:cubicBezTo>
                <a:close/>
                <a:moveTo>
                  <a:pt x="943147" y="4693284"/>
                </a:moveTo>
                <a:cubicBezTo>
                  <a:pt x="953409" y="4697094"/>
                  <a:pt x="962000" y="4704714"/>
                  <a:pt x="966774" y="4715192"/>
                </a:cubicBezTo>
                <a:cubicBezTo>
                  <a:pt x="976320" y="4738052"/>
                  <a:pt x="966774" y="4762817"/>
                  <a:pt x="945772" y="4772342"/>
                </a:cubicBezTo>
                <a:cubicBezTo>
                  <a:pt x="945772" y="4772342"/>
                  <a:pt x="945772" y="4772342"/>
                  <a:pt x="604023" y="4922837"/>
                </a:cubicBezTo>
                <a:cubicBezTo>
                  <a:pt x="583021" y="4932362"/>
                  <a:pt x="556292" y="4922837"/>
                  <a:pt x="546746" y="4901882"/>
                </a:cubicBezTo>
                <a:cubicBezTo>
                  <a:pt x="544837" y="4894262"/>
                  <a:pt x="542928" y="4888547"/>
                  <a:pt x="542928" y="4882832"/>
                </a:cubicBezTo>
                <a:cubicBezTo>
                  <a:pt x="542928" y="4867592"/>
                  <a:pt x="552474" y="4850447"/>
                  <a:pt x="569657" y="4842827"/>
                </a:cubicBezTo>
                <a:cubicBezTo>
                  <a:pt x="569657" y="4842827"/>
                  <a:pt x="569657" y="4842827"/>
                  <a:pt x="909497" y="4694237"/>
                </a:cubicBezTo>
                <a:cubicBezTo>
                  <a:pt x="920952" y="4689474"/>
                  <a:pt x="932885" y="4689474"/>
                  <a:pt x="943147" y="4693284"/>
                </a:cubicBezTo>
                <a:close/>
                <a:moveTo>
                  <a:pt x="1476099" y="4679736"/>
                </a:moveTo>
                <a:cubicBezTo>
                  <a:pt x="1493704" y="4680003"/>
                  <a:pt x="1510504" y="4690677"/>
                  <a:pt x="1517653" y="4707755"/>
                </a:cubicBezTo>
                <a:cubicBezTo>
                  <a:pt x="1527185" y="4730526"/>
                  <a:pt x="1515746" y="4757092"/>
                  <a:pt x="1492870" y="4766579"/>
                </a:cubicBezTo>
                <a:cubicBezTo>
                  <a:pt x="1492870" y="4766579"/>
                  <a:pt x="1492870" y="4766579"/>
                  <a:pt x="1151623" y="4906999"/>
                </a:cubicBezTo>
                <a:cubicBezTo>
                  <a:pt x="1128746" y="4916487"/>
                  <a:pt x="1102056" y="4905101"/>
                  <a:pt x="1094430" y="4882331"/>
                </a:cubicBezTo>
                <a:cubicBezTo>
                  <a:pt x="1090618" y="4876638"/>
                  <a:pt x="1090618" y="4870945"/>
                  <a:pt x="1090618" y="4865253"/>
                </a:cubicBezTo>
                <a:cubicBezTo>
                  <a:pt x="1090618" y="4848175"/>
                  <a:pt x="1100150" y="4831096"/>
                  <a:pt x="1117307" y="4823506"/>
                </a:cubicBezTo>
                <a:cubicBezTo>
                  <a:pt x="1117307" y="4823506"/>
                  <a:pt x="1117307" y="4823506"/>
                  <a:pt x="1458554" y="4683087"/>
                </a:cubicBezTo>
                <a:cubicBezTo>
                  <a:pt x="1464273" y="4680715"/>
                  <a:pt x="1470231" y="4679647"/>
                  <a:pt x="1476099" y="4679736"/>
                </a:cubicBezTo>
                <a:close/>
                <a:moveTo>
                  <a:pt x="2029448" y="4670533"/>
                </a:moveTo>
                <a:cubicBezTo>
                  <a:pt x="2047822" y="4671337"/>
                  <a:pt x="2064586" y="4683124"/>
                  <a:pt x="2071719" y="4700269"/>
                </a:cubicBezTo>
                <a:cubicBezTo>
                  <a:pt x="2081231" y="4725034"/>
                  <a:pt x="2067915" y="4751704"/>
                  <a:pt x="2045082" y="4761229"/>
                </a:cubicBezTo>
                <a:cubicBezTo>
                  <a:pt x="2045082" y="4761229"/>
                  <a:pt x="2045082" y="4761229"/>
                  <a:pt x="1704573" y="4892674"/>
                </a:cubicBezTo>
                <a:cubicBezTo>
                  <a:pt x="1679843" y="4902199"/>
                  <a:pt x="1653211" y="4890769"/>
                  <a:pt x="1643700" y="4866004"/>
                </a:cubicBezTo>
                <a:cubicBezTo>
                  <a:pt x="1641797" y="4860289"/>
                  <a:pt x="1639895" y="4854574"/>
                  <a:pt x="1639895" y="4848859"/>
                </a:cubicBezTo>
                <a:cubicBezTo>
                  <a:pt x="1639895" y="4829809"/>
                  <a:pt x="1651309" y="4812664"/>
                  <a:pt x="1670332" y="4805044"/>
                </a:cubicBezTo>
                <a:cubicBezTo>
                  <a:pt x="1670332" y="4805044"/>
                  <a:pt x="1670332" y="4805044"/>
                  <a:pt x="2010841" y="4673599"/>
                </a:cubicBezTo>
                <a:cubicBezTo>
                  <a:pt x="2017024" y="4671218"/>
                  <a:pt x="2023325" y="4670265"/>
                  <a:pt x="2029448" y="4670533"/>
                </a:cubicBezTo>
                <a:close/>
                <a:moveTo>
                  <a:pt x="3720840" y="4661020"/>
                </a:moveTo>
                <a:cubicBezTo>
                  <a:pt x="3740052" y="4661910"/>
                  <a:pt x="3756856" y="4674022"/>
                  <a:pt x="3764004" y="4692545"/>
                </a:cubicBezTo>
                <a:cubicBezTo>
                  <a:pt x="3773538" y="4717242"/>
                  <a:pt x="3760192" y="4745739"/>
                  <a:pt x="3735408" y="4755238"/>
                </a:cubicBezTo>
                <a:cubicBezTo>
                  <a:pt x="3735408" y="4755238"/>
                  <a:pt x="3735408" y="4755238"/>
                  <a:pt x="3392273" y="4876825"/>
                </a:cubicBezTo>
                <a:cubicBezTo>
                  <a:pt x="3367488" y="4886324"/>
                  <a:pt x="3340798" y="4873025"/>
                  <a:pt x="3331265" y="4848328"/>
                </a:cubicBezTo>
                <a:cubicBezTo>
                  <a:pt x="3329361" y="4842628"/>
                  <a:pt x="3327453" y="4836929"/>
                  <a:pt x="3327453" y="4831230"/>
                </a:cubicBezTo>
                <a:cubicBezTo>
                  <a:pt x="3327453" y="4812232"/>
                  <a:pt x="3340798" y="4793234"/>
                  <a:pt x="3359861" y="4785635"/>
                </a:cubicBezTo>
                <a:cubicBezTo>
                  <a:pt x="3359861" y="4785635"/>
                  <a:pt x="3359861" y="4785635"/>
                  <a:pt x="3701092" y="4664048"/>
                </a:cubicBezTo>
                <a:cubicBezTo>
                  <a:pt x="3707764" y="4661673"/>
                  <a:pt x="3714436" y="4660723"/>
                  <a:pt x="3720840" y="4661020"/>
                </a:cubicBezTo>
                <a:close/>
                <a:moveTo>
                  <a:pt x="2587339" y="4661020"/>
                </a:moveTo>
                <a:cubicBezTo>
                  <a:pt x="2606552" y="4661910"/>
                  <a:pt x="2623352" y="4674022"/>
                  <a:pt x="2630501" y="4692545"/>
                </a:cubicBezTo>
                <a:cubicBezTo>
                  <a:pt x="2640033" y="4717242"/>
                  <a:pt x="2626688" y="4745739"/>
                  <a:pt x="2601905" y="4755238"/>
                </a:cubicBezTo>
                <a:cubicBezTo>
                  <a:pt x="2601905" y="4755238"/>
                  <a:pt x="2601905" y="4755238"/>
                  <a:pt x="2258757" y="4876825"/>
                </a:cubicBezTo>
                <a:cubicBezTo>
                  <a:pt x="2233974" y="4886324"/>
                  <a:pt x="2207285" y="4873025"/>
                  <a:pt x="2197753" y="4848328"/>
                </a:cubicBezTo>
                <a:cubicBezTo>
                  <a:pt x="2195847" y="4842628"/>
                  <a:pt x="2193940" y="4836929"/>
                  <a:pt x="2193940" y="4831230"/>
                </a:cubicBezTo>
                <a:cubicBezTo>
                  <a:pt x="2193940" y="4812232"/>
                  <a:pt x="2207285" y="4793234"/>
                  <a:pt x="2226348" y="4785635"/>
                </a:cubicBezTo>
                <a:cubicBezTo>
                  <a:pt x="2226348" y="4785635"/>
                  <a:pt x="2226348" y="4785635"/>
                  <a:pt x="2567590" y="4664048"/>
                </a:cubicBezTo>
                <a:cubicBezTo>
                  <a:pt x="2574263" y="4661673"/>
                  <a:pt x="2580935" y="4660723"/>
                  <a:pt x="2587339" y="4661020"/>
                </a:cubicBezTo>
                <a:close/>
                <a:moveTo>
                  <a:pt x="3149675" y="4651820"/>
                </a:moveTo>
                <a:cubicBezTo>
                  <a:pt x="3169412" y="4653251"/>
                  <a:pt x="3187273" y="4666485"/>
                  <a:pt x="3194414" y="4685085"/>
                </a:cubicBezTo>
                <a:cubicBezTo>
                  <a:pt x="3202035" y="4711792"/>
                  <a:pt x="3188702" y="4740407"/>
                  <a:pt x="3162027" y="4748038"/>
                </a:cubicBezTo>
                <a:cubicBezTo>
                  <a:pt x="3162027" y="4748038"/>
                  <a:pt x="3162027" y="4748038"/>
                  <a:pt x="2819126" y="4862498"/>
                </a:cubicBezTo>
                <a:cubicBezTo>
                  <a:pt x="2794360" y="4872037"/>
                  <a:pt x="2765783" y="4856775"/>
                  <a:pt x="2756258" y="4830068"/>
                </a:cubicBezTo>
                <a:cubicBezTo>
                  <a:pt x="2754353" y="4826253"/>
                  <a:pt x="2754353" y="4820530"/>
                  <a:pt x="2754353" y="4814807"/>
                </a:cubicBezTo>
                <a:cubicBezTo>
                  <a:pt x="2754353" y="4793822"/>
                  <a:pt x="2767688" y="4774745"/>
                  <a:pt x="2788646" y="4767115"/>
                </a:cubicBezTo>
                <a:cubicBezTo>
                  <a:pt x="2788646" y="4767115"/>
                  <a:pt x="2788646" y="4767115"/>
                  <a:pt x="3129644" y="4654562"/>
                </a:cubicBezTo>
                <a:cubicBezTo>
                  <a:pt x="3136311" y="4652178"/>
                  <a:pt x="3143098" y="4651343"/>
                  <a:pt x="3149675" y="4651820"/>
                </a:cubicBezTo>
                <a:close/>
                <a:moveTo>
                  <a:pt x="4011840" y="4445533"/>
                </a:moveTo>
                <a:lnTo>
                  <a:pt x="4011840" y="4548851"/>
                </a:lnTo>
                <a:lnTo>
                  <a:pt x="3957236" y="4569111"/>
                </a:lnTo>
                <a:cubicBezTo>
                  <a:pt x="3932522" y="4576762"/>
                  <a:pt x="3904008" y="4565285"/>
                  <a:pt x="3896404" y="4538506"/>
                </a:cubicBezTo>
                <a:cubicBezTo>
                  <a:pt x="3894504" y="4534680"/>
                  <a:pt x="3892602" y="4528941"/>
                  <a:pt x="3892602" y="4523203"/>
                </a:cubicBezTo>
                <a:cubicBezTo>
                  <a:pt x="3892602" y="4502162"/>
                  <a:pt x="3904008" y="4484947"/>
                  <a:pt x="3924918" y="4477296"/>
                </a:cubicBezTo>
                <a:cubicBezTo>
                  <a:pt x="3924918" y="4477296"/>
                  <a:pt x="3924918" y="4477296"/>
                  <a:pt x="4007986" y="4446942"/>
                </a:cubicBezTo>
                <a:close/>
                <a:moveTo>
                  <a:pt x="398944" y="4379613"/>
                </a:moveTo>
                <a:cubicBezTo>
                  <a:pt x="408946" y="4382955"/>
                  <a:pt x="417518" y="4390116"/>
                  <a:pt x="422281" y="4400620"/>
                </a:cubicBezTo>
                <a:cubicBezTo>
                  <a:pt x="431806" y="4421628"/>
                  <a:pt x="422281" y="4446455"/>
                  <a:pt x="401326" y="4456004"/>
                </a:cubicBezTo>
                <a:cubicBezTo>
                  <a:pt x="401326" y="4456004"/>
                  <a:pt x="401326" y="4456004"/>
                  <a:pt x="62232" y="4616425"/>
                </a:cubicBezTo>
                <a:cubicBezTo>
                  <a:pt x="41276" y="4625974"/>
                  <a:pt x="16511" y="4616425"/>
                  <a:pt x="6986" y="4595417"/>
                </a:cubicBezTo>
                <a:cubicBezTo>
                  <a:pt x="5081" y="4589688"/>
                  <a:pt x="3176" y="4583959"/>
                  <a:pt x="3176" y="4578229"/>
                </a:cubicBezTo>
                <a:cubicBezTo>
                  <a:pt x="3176" y="4561041"/>
                  <a:pt x="12701" y="4547673"/>
                  <a:pt x="27941" y="4540034"/>
                </a:cubicBezTo>
                <a:cubicBezTo>
                  <a:pt x="27941" y="4540034"/>
                  <a:pt x="27941" y="4540034"/>
                  <a:pt x="367035" y="4381523"/>
                </a:cubicBezTo>
                <a:cubicBezTo>
                  <a:pt x="377513" y="4376748"/>
                  <a:pt x="388943" y="4376271"/>
                  <a:pt x="398944" y="4379613"/>
                </a:cubicBezTo>
                <a:close/>
                <a:moveTo>
                  <a:pt x="943805" y="4371271"/>
                </a:moveTo>
                <a:cubicBezTo>
                  <a:pt x="954537" y="4375324"/>
                  <a:pt x="963599" y="4383431"/>
                  <a:pt x="968368" y="4394876"/>
                </a:cubicBezTo>
                <a:cubicBezTo>
                  <a:pt x="977908" y="4415858"/>
                  <a:pt x="966461" y="4442562"/>
                  <a:pt x="945475" y="4452100"/>
                </a:cubicBezTo>
                <a:cubicBezTo>
                  <a:pt x="945475" y="4452100"/>
                  <a:pt x="945475" y="4452100"/>
                  <a:pt x="603977" y="4598974"/>
                </a:cubicBezTo>
                <a:cubicBezTo>
                  <a:pt x="581084" y="4608512"/>
                  <a:pt x="556282" y="4598974"/>
                  <a:pt x="546743" y="4576085"/>
                </a:cubicBezTo>
                <a:cubicBezTo>
                  <a:pt x="544835" y="4570362"/>
                  <a:pt x="542927" y="4564640"/>
                  <a:pt x="542927" y="4558918"/>
                </a:cubicBezTo>
                <a:cubicBezTo>
                  <a:pt x="542927" y="4541750"/>
                  <a:pt x="552466" y="4526491"/>
                  <a:pt x="569637" y="4518861"/>
                </a:cubicBezTo>
                <a:cubicBezTo>
                  <a:pt x="569637" y="4518861"/>
                  <a:pt x="569637" y="4518861"/>
                  <a:pt x="909226" y="4371986"/>
                </a:cubicBezTo>
                <a:cubicBezTo>
                  <a:pt x="920673" y="4367218"/>
                  <a:pt x="933074" y="4367218"/>
                  <a:pt x="943805" y="4371271"/>
                </a:cubicBezTo>
                <a:close/>
                <a:moveTo>
                  <a:pt x="1477208" y="4359077"/>
                </a:moveTo>
                <a:cubicBezTo>
                  <a:pt x="1495514" y="4359345"/>
                  <a:pt x="1511945" y="4370046"/>
                  <a:pt x="1517660" y="4387168"/>
                </a:cubicBezTo>
                <a:cubicBezTo>
                  <a:pt x="1527185" y="4411901"/>
                  <a:pt x="1515755" y="4438536"/>
                  <a:pt x="1492894" y="4448048"/>
                </a:cubicBezTo>
                <a:cubicBezTo>
                  <a:pt x="1492894" y="4448048"/>
                  <a:pt x="1492894" y="4448048"/>
                  <a:pt x="1151895" y="4583124"/>
                </a:cubicBezTo>
                <a:cubicBezTo>
                  <a:pt x="1129035" y="4592637"/>
                  <a:pt x="1102365" y="4581222"/>
                  <a:pt x="1092840" y="4556490"/>
                </a:cubicBezTo>
                <a:cubicBezTo>
                  <a:pt x="1090934" y="4550782"/>
                  <a:pt x="1089029" y="4545075"/>
                  <a:pt x="1089029" y="4539367"/>
                </a:cubicBezTo>
                <a:cubicBezTo>
                  <a:pt x="1089029" y="4522245"/>
                  <a:pt x="1100460" y="4505122"/>
                  <a:pt x="1117605" y="4497513"/>
                </a:cubicBezTo>
                <a:cubicBezTo>
                  <a:pt x="1117605" y="4497513"/>
                  <a:pt x="1117605" y="4497513"/>
                  <a:pt x="1458604" y="4362436"/>
                </a:cubicBezTo>
                <a:cubicBezTo>
                  <a:pt x="1464795" y="4360058"/>
                  <a:pt x="1471106" y="4358988"/>
                  <a:pt x="1477208" y="4359077"/>
                </a:cubicBezTo>
                <a:close/>
                <a:moveTo>
                  <a:pt x="2029782" y="4349914"/>
                </a:moveTo>
                <a:cubicBezTo>
                  <a:pt x="2048677" y="4350811"/>
                  <a:pt x="2066499" y="4363005"/>
                  <a:pt x="2073629" y="4381655"/>
                </a:cubicBezTo>
                <a:cubicBezTo>
                  <a:pt x="2081232" y="4406522"/>
                  <a:pt x="2069826" y="4435214"/>
                  <a:pt x="2045109" y="4442865"/>
                </a:cubicBezTo>
                <a:cubicBezTo>
                  <a:pt x="2045109" y="4442865"/>
                  <a:pt x="2045109" y="4442865"/>
                  <a:pt x="1702940" y="4569111"/>
                </a:cubicBezTo>
                <a:cubicBezTo>
                  <a:pt x="1678228" y="4576762"/>
                  <a:pt x="1651615" y="4565285"/>
                  <a:pt x="1642110" y="4538506"/>
                </a:cubicBezTo>
                <a:cubicBezTo>
                  <a:pt x="1640209" y="4534680"/>
                  <a:pt x="1638308" y="4528941"/>
                  <a:pt x="1638308" y="4523203"/>
                </a:cubicBezTo>
                <a:cubicBezTo>
                  <a:pt x="1638308" y="4502162"/>
                  <a:pt x="1651615" y="4484947"/>
                  <a:pt x="1670624" y="4477296"/>
                </a:cubicBezTo>
                <a:cubicBezTo>
                  <a:pt x="1670624" y="4477296"/>
                  <a:pt x="1670624" y="4477296"/>
                  <a:pt x="2010892" y="4352963"/>
                </a:cubicBezTo>
                <a:cubicBezTo>
                  <a:pt x="2017070" y="4350572"/>
                  <a:pt x="2023486" y="4349615"/>
                  <a:pt x="2029782" y="4349914"/>
                </a:cubicBezTo>
                <a:close/>
                <a:moveTo>
                  <a:pt x="3722768" y="4341193"/>
                </a:moveTo>
                <a:cubicBezTo>
                  <a:pt x="3742404" y="4342984"/>
                  <a:pt x="3759894" y="4355521"/>
                  <a:pt x="3765602" y="4375580"/>
                </a:cubicBezTo>
                <a:cubicBezTo>
                  <a:pt x="3775124" y="4402325"/>
                  <a:pt x="3759894" y="4430981"/>
                  <a:pt x="3733240" y="4438622"/>
                </a:cubicBezTo>
                <a:cubicBezTo>
                  <a:pt x="3733240" y="4438622"/>
                  <a:pt x="3733240" y="4438622"/>
                  <a:pt x="3392498" y="4551335"/>
                </a:cubicBezTo>
                <a:cubicBezTo>
                  <a:pt x="3365843" y="4560887"/>
                  <a:pt x="3337287" y="4545604"/>
                  <a:pt x="3329674" y="4518858"/>
                </a:cubicBezTo>
                <a:cubicBezTo>
                  <a:pt x="3327768" y="4515038"/>
                  <a:pt x="3325864" y="4509306"/>
                  <a:pt x="3325864" y="4503575"/>
                </a:cubicBezTo>
                <a:cubicBezTo>
                  <a:pt x="3325864" y="4482561"/>
                  <a:pt x="3339192" y="4463457"/>
                  <a:pt x="3360130" y="4455816"/>
                </a:cubicBezTo>
                <a:cubicBezTo>
                  <a:pt x="3360130" y="4455816"/>
                  <a:pt x="3360130" y="4455816"/>
                  <a:pt x="3702782" y="4343103"/>
                </a:cubicBezTo>
                <a:cubicBezTo>
                  <a:pt x="3709444" y="4341193"/>
                  <a:pt x="3716226" y="4340596"/>
                  <a:pt x="3722768" y="4341193"/>
                </a:cubicBezTo>
                <a:close/>
                <a:moveTo>
                  <a:pt x="2589270" y="4341193"/>
                </a:moveTo>
                <a:cubicBezTo>
                  <a:pt x="2608901" y="4342984"/>
                  <a:pt x="2626391" y="4355521"/>
                  <a:pt x="2632103" y="4375580"/>
                </a:cubicBezTo>
                <a:cubicBezTo>
                  <a:pt x="2641621" y="4402325"/>
                  <a:pt x="2626391" y="4430981"/>
                  <a:pt x="2599739" y="4438622"/>
                </a:cubicBezTo>
                <a:cubicBezTo>
                  <a:pt x="2599739" y="4438622"/>
                  <a:pt x="2599739" y="4438622"/>
                  <a:pt x="2258981" y="4551335"/>
                </a:cubicBezTo>
                <a:cubicBezTo>
                  <a:pt x="2232330" y="4560887"/>
                  <a:pt x="2203775" y="4545604"/>
                  <a:pt x="2196160" y="4518858"/>
                </a:cubicBezTo>
                <a:cubicBezTo>
                  <a:pt x="2194257" y="4515038"/>
                  <a:pt x="2192353" y="4509306"/>
                  <a:pt x="2192353" y="4503575"/>
                </a:cubicBezTo>
                <a:cubicBezTo>
                  <a:pt x="2192353" y="4482561"/>
                  <a:pt x="2205679" y="4463457"/>
                  <a:pt x="2226618" y="4455816"/>
                </a:cubicBezTo>
                <a:cubicBezTo>
                  <a:pt x="2226618" y="4455816"/>
                  <a:pt x="2226618" y="4455816"/>
                  <a:pt x="2569281" y="4343103"/>
                </a:cubicBezTo>
                <a:cubicBezTo>
                  <a:pt x="2575943" y="4341193"/>
                  <a:pt x="2582725" y="4340596"/>
                  <a:pt x="2589270" y="4341193"/>
                </a:cubicBezTo>
                <a:close/>
                <a:moveTo>
                  <a:pt x="3152169" y="4331988"/>
                </a:moveTo>
                <a:cubicBezTo>
                  <a:pt x="3172559" y="4334403"/>
                  <a:pt x="3190013" y="4348353"/>
                  <a:pt x="3195709" y="4369816"/>
                </a:cubicBezTo>
                <a:cubicBezTo>
                  <a:pt x="3205209" y="4396525"/>
                  <a:pt x="3188113" y="4427050"/>
                  <a:pt x="3161515" y="4434681"/>
                </a:cubicBezTo>
                <a:cubicBezTo>
                  <a:pt x="3161515" y="4434681"/>
                  <a:pt x="3161515" y="4434681"/>
                  <a:pt x="2819566" y="4535794"/>
                </a:cubicBezTo>
                <a:cubicBezTo>
                  <a:pt x="2791073" y="4543425"/>
                  <a:pt x="2762578" y="4528162"/>
                  <a:pt x="2753078" y="4499546"/>
                </a:cubicBezTo>
                <a:cubicBezTo>
                  <a:pt x="2753078" y="4495730"/>
                  <a:pt x="2751179" y="4490007"/>
                  <a:pt x="2751179" y="4486191"/>
                </a:cubicBezTo>
                <a:cubicBezTo>
                  <a:pt x="2751179" y="4463298"/>
                  <a:pt x="2766377" y="4442312"/>
                  <a:pt x="2789170" y="4434681"/>
                </a:cubicBezTo>
                <a:cubicBezTo>
                  <a:pt x="2789170" y="4434681"/>
                  <a:pt x="2789170" y="4434681"/>
                  <a:pt x="3131122" y="4333568"/>
                </a:cubicBezTo>
                <a:cubicBezTo>
                  <a:pt x="3138245" y="4331660"/>
                  <a:pt x="3145370" y="4331183"/>
                  <a:pt x="3152169" y="4331988"/>
                </a:cubicBezTo>
                <a:close/>
                <a:moveTo>
                  <a:pt x="4011840" y="4120157"/>
                </a:moveTo>
                <a:lnTo>
                  <a:pt x="4011840" y="4224539"/>
                </a:lnTo>
                <a:lnTo>
                  <a:pt x="3956340" y="4243386"/>
                </a:lnTo>
                <a:cubicBezTo>
                  <a:pt x="3929572" y="4252911"/>
                  <a:pt x="3900896" y="4237671"/>
                  <a:pt x="3893252" y="4212906"/>
                </a:cubicBezTo>
                <a:cubicBezTo>
                  <a:pt x="3891336" y="4207191"/>
                  <a:pt x="3889424" y="4201476"/>
                  <a:pt x="3889424" y="4195761"/>
                </a:cubicBezTo>
                <a:cubicBezTo>
                  <a:pt x="3889424" y="4174806"/>
                  <a:pt x="3902812" y="4155756"/>
                  <a:pt x="3923840" y="4150041"/>
                </a:cubicBezTo>
                <a:cubicBezTo>
                  <a:pt x="3923840" y="4150041"/>
                  <a:pt x="3923840" y="4150041"/>
                  <a:pt x="4007382" y="4121671"/>
                </a:cubicBezTo>
                <a:close/>
                <a:moveTo>
                  <a:pt x="383168" y="4054778"/>
                </a:moveTo>
                <a:cubicBezTo>
                  <a:pt x="399420" y="4053614"/>
                  <a:pt x="415137" y="4062925"/>
                  <a:pt x="422281" y="4078680"/>
                </a:cubicBezTo>
                <a:cubicBezTo>
                  <a:pt x="431806" y="4099688"/>
                  <a:pt x="424186" y="4124515"/>
                  <a:pt x="401325" y="4135973"/>
                </a:cubicBezTo>
                <a:cubicBezTo>
                  <a:pt x="401325" y="4135973"/>
                  <a:pt x="401325" y="4135973"/>
                  <a:pt x="62231" y="4292575"/>
                </a:cubicBezTo>
                <a:cubicBezTo>
                  <a:pt x="41276" y="4302124"/>
                  <a:pt x="16511" y="4292575"/>
                  <a:pt x="6986" y="4271567"/>
                </a:cubicBezTo>
                <a:cubicBezTo>
                  <a:pt x="5081" y="4265838"/>
                  <a:pt x="3176" y="4260109"/>
                  <a:pt x="3176" y="4254379"/>
                </a:cubicBezTo>
                <a:cubicBezTo>
                  <a:pt x="3176" y="4239101"/>
                  <a:pt x="12701" y="4223823"/>
                  <a:pt x="27941" y="4216184"/>
                </a:cubicBezTo>
                <a:cubicBezTo>
                  <a:pt x="27941" y="4216184"/>
                  <a:pt x="27941" y="4216184"/>
                  <a:pt x="367035" y="4059583"/>
                </a:cubicBezTo>
                <a:cubicBezTo>
                  <a:pt x="372274" y="4056718"/>
                  <a:pt x="377751" y="4055166"/>
                  <a:pt x="383168" y="4054778"/>
                </a:cubicBezTo>
                <a:close/>
                <a:moveTo>
                  <a:pt x="926784" y="4046333"/>
                </a:moveTo>
                <a:cubicBezTo>
                  <a:pt x="944402" y="4046513"/>
                  <a:pt x="961214" y="4056898"/>
                  <a:pt x="968368" y="4072655"/>
                </a:cubicBezTo>
                <a:cubicBezTo>
                  <a:pt x="977907" y="4095575"/>
                  <a:pt x="966460" y="4122314"/>
                  <a:pt x="945475" y="4131864"/>
                </a:cubicBezTo>
                <a:cubicBezTo>
                  <a:pt x="945475" y="4131864"/>
                  <a:pt x="945475" y="4131864"/>
                  <a:pt x="603977" y="4275111"/>
                </a:cubicBezTo>
                <a:cubicBezTo>
                  <a:pt x="581083" y="4284661"/>
                  <a:pt x="554374" y="4275111"/>
                  <a:pt x="544835" y="4252191"/>
                </a:cubicBezTo>
                <a:cubicBezTo>
                  <a:pt x="542927" y="4246462"/>
                  <a:pt x="542927" y="4240732"/>
                  <a:pt x="542927" y="4235002"/>
                </a:cubicBezTo>
                <a:cubicBezTo>
                  <a:pt x="542927" y="4217812"/>
                  <a:pt x="552466" y="4200622"/>
                  <a:pt x="569637" y="4192983"/>
                </a:cubicBezTo>
                <a:cubicBezTo>
                  <a:pt x="569637" y="4192983"/>
                  <a:pt x="569637" y="4192983"/>
                  <a:pt x="909226" y="4049736"/>
                </a:cubicBezTo>
                <a:cubicBezTo>
                  <a:pt x="914950" y="4047348"/>
                  <a:pt x="920912" y="4046274"/>
                  <a:pt x="926784" y="4046333"/>
                </a:cubicBezTo>
                <a:close/>
                <a:moveTo>
                  <a:pt x="1458388" y="4041415"/>
                </a:moveTo>
                <a:cubicBezTo>
                  <a:pt x="1483118" y="4033836"/>
                  <a:pt x="1509750" y="4045204"/>
                  <a:pt x="1519261" y="4069836"/>
                </a:cubicBezTo>
                <a:cubicBezTo>
                  <a:pt x="1528773" y="4092573"/>
                  <a:pt x="1517359" y="4120995"/>
                  <a:pt x="1492629" y="4130469"/>
                </a:cubicBezTo>
                <a:cubicBezTo>
                  <a:pt x="1492629" y="4130469"/>
                  <a:pt x="1492629" y="4130469"/>
                  <a:pt x="1152120" y="4259312"/>
                </a:cubicBezTo>
                <a:cubicBezTo>
                  <a:pt x="1127390" y="4268786"/>
                  <a:pt x="1100758" y="4255522"/>
                  <a:pt x="1091247" y="4230891"/>
                </a:cubicBezTo>
                <a:cubicBezTo>
                  <a:pt x="1089345" y="4225206"/>
                  <a:pt x="1087442" y="4219522"/>
                  <a:pt x="1087442" y="4215733"/>
                </a:cubicBezTo>
                <a:cubicBezTo>
                  <a:pt x="1087442" y="4196785"/>
                  <a:pt x="1098856" y="4177837"/>
                  <a:pt x="1117879" y="4170258"/>
                </a:cubicBezTo>
                <a:cubicBezTo>
                  <a:pt x="1117879" y="4170258"/>
                  <a:pt x="1117879" y="4170258"/>
                  <a:pt x="1458388" y="4041415"/>
                </a:cubicBezTo>
                <a:close/>
                <a:moveTo>
                  <a:pt x="2031406" y="4031097"/>
                </a:moveTo>
                <a:cubicBezTo>
                  <a:pt x="2050288" y="4032526"/>
                  <a:pt x="2068096" y="4045742"/>
                  <a:pt x="2075219" y="4064316"/>
                </a:cubicBezTo>
                <a:cubicBezTo>
                  <a:pt x="2082819" y="4090986"/>
                  <a:pt x="2069521" y="4119561"/>
                  <a:pt x="2042922" y="4127181"/>
                </a:cubicBezTo>
                <a:cubicBezTo>
                  <a:pt x="2042922" y="4127181"/>
                  <a:pt x="2042922" y="4127181"/>
                  <a:pt x="1702894" y="4243386"/>
                </a:cubicBezTo>
                <a:cubicBezTo>
                  <a:pt x="1676300" y="4252911"/>
                  <a:pt x="1649705" y="4237671"/>
                  <a:pt x="1640208" y="4212906"/>
                </a:cubicBezTo>
                <a:cubicBezTo>
                  <a:pt x="1638308" y="4207191"/>
                  <a:pt x="1638308" y="4201476"/>
                  <a:pt x="1638308" y="4195761"/>
                </a:cubicBezTo>
                <a:cubicBezTo>
                  <a:pt x="1638308" y="4174806"/>
                  <a:pt x="1649705" y="4155756"/>
                  <a:pt x="1670601" y="4150041"/>
                </a:cubicBezTo>
                <a:cubicBezTo>
                  <a:pt x="1670601" y="4150041"/>
                  <a:pt x="1670601" y="4150041"/>
                  <a:pt x="2012528" y="4033836"/>
                </a:cubicBezTo>
                <a:cubicBezTo>
                  <a:pt x="2018702" y="4031455"/>
                  <a:pt x="2025113" y="4030621"/>
                  <a:pt x="2031406" y="4031097"/>
                </a:cubicBezTo>
                <a:close/>
                <a:moveTo>
                  <a:pt x="3725864" y="4022416"/>
                </a:moveTo>
                <a:cubicBezTo>
                  <a:pt x="3745628" y="4024827"/>
                  <a:pt x="3763516" y="4038758"/>
                  <a:pt x="3770668" y="4060189"/>
                </a:cubicBezTo>
                <a:cubicBezTo>
                  <a:pt x="3778300" y="4086859"/>
                  <a:pt x="3763036" y="4115434"/>
                  <a:pt x="3734420" y="4124959"/>
                </a:cubicBezTo>
                <a:cubicBezTo>
                  <a:pt x="3734420" y="4124959"/>
                  <a:pt x="3734420" y="4124959"/>
                  <a:pt x="3391048" y="4225924"/>
                </a:cubicBezTo>
                <a:cubicBezTo>
                  <a:pt x="3364339" y="4235449"/>
                  <a:pt x="3335725" y="4218304"/>
                  <a:pt x="3326184" y="4191634"/>
                </a:cubicBezTo>
                <a:cubicBezTo>
                  <a:pt x="3326184" y="4185919"/>
                  <a:pt x="3324277" y="4182109"/>
                  <a:pt x="3324277" y="4176394"/>
                </a:cubicBezTo>
                <a:cubicBezTo>
                  <a:pt x="3324277" y="4153534"/>
                  <a:pt x="3339540" y="4132579"/>
                  <a:pt x="3362432" y="4126864"/>
                </a:cubicBezTo>
                <a:cubicBezTo>
                  <a:pt x="3362432" y="4126864"/>
                  <a:pt x="3362432" y="4126864"/>
                  <a:pt x="3705804" y="4023994"/>
                </a:cubicBezTo>
                <a:cubicBezTo>
                  <a:pt x="3712480" y="4022089"/>
                  <a:pt x="3719276" y="4021613"/>
                  <a:pt x="3725864" y="4022416"/>
                </a:cubicBezTo>
                <a:close/>
                <a:moveTo>
                  <a:pt x="2590959" y="4022416"/>
                </a:moveTo>
                <a:cubicBezTo>
                  <a:pt x="2610652" y="4024827"/>
                  <a:pt x="2628475" y="4038758"/>
                  <a:pt x="2635603" y="4060189"/>
                </a:cubicBezTo>
                <a:cubicBezTo>
                  <a:pt x="2643208" y="4086859"/>
                  <a:pt x="2627999" y="4115434"/>
                  <a:pt x="2599484" y="4124959"/>
                </a:cubicBezTo>
                <a:cubicBezTo>
                  <a:pt x="2599484" y="4124959"/>
                  <a:pt x="2599484" y="4124959"/>
                  <a:pt x="2257300" y="4225924"/>
                </a:cubicBezTo>
                <a:cubicBezTo>
                  <a:pt x="2230686" y="4235449"/>
                  <a:pt x="2202171" y="4218304"/>
                  <a:pt x="2192666" y="4191634"/>
                </a:cubicBezTo>
                <a:cubicBezTo>
                  <a:pt x="2190765" y="4185919"/>
                  <a:pt x="2190765" y="4182109"/>
                  <a:pt x="2190765" y="4176394"/>
                </a:cubicBezTo>
                <a:cubicBezTo>
                  <a:pt x="2190765" y="4153534"/>
                  <a:pt x="2205972" y="4132579"/>
                  <a:pt x="2228785" y="4126864"/>
                </a:cubicBezTo>
                <a:cubicBezTo>
                  <a:pt x="2228785" y="4126864"/>
                  <a:pt x="2228785" y="4126864"/>
                  <a:pt x="2570968" y="4023994"/>
                </a:cubicBezTo>
                <a:cubicBezTo>
                  <a:pt x="2577622" y="4022089"/>
                  <a:pt x="2584395" y="4021613"/>
                  <a:pt x="2590959" y="4022416"/>
                </a:cubicBezTo>
                <a:close/>
                <a:moveTo>
                  <a:pt x="3155344" y="4014776"/>
                </a:moveTo>
                <a:cubicBezTo>
                  <a:pt x="3176388" y="4017723"/>
                  <a:pt x="3195015" y="4032725"/>
                  <a:pt x="3200742" y="4054156"/>
                </a:cubicBezTo>
                <a:cubicBezTo>
                  <a:pt x="3208384" y="4084636"/>
                  <a:pt x="3189282" y="4113211"/>
                  <a:pt x="3160626" y="4120831"/>
                </a:cubicBezTo>
                <a:cubicBezTo>
                  <a:pt x="3160626" y="4120831"/>
                  <a:pt x="3160626" y="4120831"/>
                  <a:pt x="2816772" y="4210366"/>
                </a:cubicBezTo>
                <a:cubicBezTo>
                  <a:pt x="2786207" y="4217986"/>
                  <a:pt x="2757555" y="4198936"/>
                  <a:pt x="2749914" y="4170361"/>
                </a:cubicBezTo>
                <a:cubicBezTo>
                  <a:pt x="2748002" y="4166551"/>
                  <a:pt x="2748002" y="4160836"/>
                  <a:pt x="2748002" y="4157026"/>
                </a:cubicBezTo>
                <a:cubicBezTo>
                  <a:pt x="2748002" y="4132261"/>
                  <a:pt x="2765195" y="4109401"/>
                  <a:pt x="2788116" y="4103686"/>
                </a:cubicBezTo>
                <a:cubicBezTo>
                  <a:pt x="2788116" y="4103686"/>
                  <a:pt x="2788116" y="4103686"/>
                  <a:pt x="3133885" y="4016056"/>
                </a:cubicBezTo>
                <a:cubicBezTo>
                  <a:pt x="3141047" y="4014151"/>
                  <a:pt x="3148330" y="4013794"/>
                  <a:pt x="3155344" y="4014776"/>
                </a:cubicBezTo>
                <a:close/>
                <a:moveTo>
                  <a:pt x="4011840" y="3792351"/>
                </a:moveTo>
                <a:lnTo>
                  <a:pt x="4011840" y="3898685"/>
                </a:lnTo>
                <a:lnTo>
                  <a:pt x="3954656" y="3916388"/>
                </a:lnTo>
                <a:cubicBezTo>
                  <a:pt x="3927928" y="3925886"/>
                  <a:pt x="3899294" y="3910689"/>
                  <a:pt x="3891656" y="3884095"/>
                </a:cubicBezTo>
                <a:cubicBezTo>
                  <a:pt x="3889748" y="3878397"/>
                  <a:pt x="3887840" y="3874597"/>
                  <a:pt x="3887840" y="3868899"/>
                </a:cubicBezTo>
                <a:cubicBezTo>
                  <a:pt x="3887840" y="3846104"/>
                  <a:pt x="3903112" y="3827108"/>
                  <a:pt x="3924112" y="3819510"/>
                </a:cubicBezTo>
                <a:cubicBezTo>
                  <a:pt x="3924112" y="3819510"/>
                  <a:pt x="3924112" y="3819510"/>
                  <a:pt x="4008000" y="3793539"/>
                </a:cubicBezTo>
                <a:close/>
                <a:moveTo>
                  <a:pt x="398944" y="3734455"/>
                </a:moveTo>
                <a:cubicBezTo>
                  <a:pt x="408945" y="3738274"/>
                  <a:pt x="417518" y="3745914"/>
                  <a:pt x="422280" y="3756417"/>
                </a:cubicBezTo>
                <a:cubicBezTo>
                  <a:pt x="431805" y="3777425"/>
                  <a:pt x="424185" y="3804162"/>
                  <a:pt x="401325" y="3813710"/>
                </a:cubicBezTo>
                <a:cubicBezTo>
                  <a:pt x="401325" y="3813710"/>
                  <a:pt x="401325" y="3813710"/>
                  <a:pt x="62231" y="3970312"/>
                </a:cubicBezTo>
                <a:cubicBezTo>
                  <a:pt x="41276" y="3979861"/>
                  <a:pt x="16511" y="3970312"/>
                  <a:pt x="6985" y="3949304"/>
                </a:cubicBezTo>
                <a:cubicBezTo>
                  <a:pt x="5080" y="3943575"/>
                  <a:pt x="3175" y="3935936"/>
                  <a:pt x="3175" y="3930207"/>
                </a:cubicBezTo>
                <a:cubicBezTo>
                  <a:pt x="3175" y="3914929"/>
                  <a:pt x="12701" y="3899650"/>
                  <a:pt x="27941" y="3892011"/>
                </a:cubicBezTo>
                <a:cubicBezTo>
                  <a:pt x="27941" y="3892011"/>
                  <a:pt x="27941" y="3892011"/>
                  <a:pt x="367035" y="3735410"/>
                </a:cubicBezTo>
                <a:cubicBezTo>
                  <a:pt x="377512" y="3730635"/>
                  <a:pt x="388942" y="3730635"/>
                  <a:pt x="398944" y="3734455"/>
                </a:cubicBezTo>
                <a:close/>
                <a:moveTo>
                  <a:pt x="927625" y="3725656"/>
                </a:moveTo>
                <a:cubicBezTo>
                  <a:pt x="945497" y="3725923"/>
                  <a:pt x="961225" y="3736611"/>
                  <a:pt x="968374" y="3753711"/>
                </a:cubicBezTo>
                <a:cubicBezTo>
                  <a:pt x="977906" y="3776511"/>
                  <a:pt x="968374" y="3803111"/>
                  <a:pt x="945497" y="3812611"/>
                </a:cubicBezTo>
                <a:cubicBezTo>
                  <a:pt x="945497" y="3812611"/>
                  <a:pt x="945497" y="3812611"/>
                  <a:pt x="604250" y="3951311"/>
                </a:cubicBezTo>
                <a:cubicBezTo>
                  <a:pt x="581374" y="3960811"/>
                  <a:pt x="554684" y="3951311"/>
                  <a:pt x="545152" y="3928511"/>
                </a:cubicBezTo>
                <a:cubicBezTo>
                  <a:pt x="543246" y="3922811"/>
                  <a:pt x="541339" y="3917111"/>
                  <a:pt x="541339" y="3911411"/>
                </a:cubicBezTo>
                <a:cubicBezTo>
                  <a:pt x="541339" y="3892411"/>
                  <a:pt x="552778" y="3875311"/>
                  <a:pt x="569935" y="3869611"/>
                </a:cubicBezTo>
                <a:cubicBezTo>
                  <a:pt x="569935" y="3869611"/>
                  <a:pt x="569935" y="3869611"/>
                  <a:pt x="909276" y="3729011"/>
                </a:cubicBezTo>
                <a:cubicBezTo>
                  <a:pt x="915471" y="3726636"/>
                  <a:pt x="921667" y="3725567"/>
                  <a:pt x="927625" y="3725656"/>
                </a:cubicBezTo>
                <a:close/>
                <a:moveTo>
                  <a:pt x="1478619" y="3718044"/>
                </a:moveTo>
                <a:cubicBezTo>
                  <a:pt x="1496975" y="3718935"/>
                  <a:pt x="1513727" y="3731046"/>
                  <a:pt x="1520856" y="3749569"/>
                </a:cubicBezTo>
                <a:cubicBezTo>
                  <a:pt x="1530361" y="3774266"/>
                  <a:pt x="1517054" y="3802763"/>
                  <a:pt x="1492342" y="3810362"/>
                </a:cubicBezTo>
                <a:cubicBezTo>
                  <a:pt x="1492342" y="3810362"/>
                  <a:pt x="1492342" y="3810362"/>
                  <a:pt x="1152074" y="3933849"/>
                </a:cubicBezTo>
                <a:cubicBezTo>
                  <a:pt x="1127362" y="3943348"/>
                  <a:pt x="1098848" y="3930049"/>
                  <a:pt x="1089343" y="3905352"/>
                </a:cubicBezTo>
                <a:cubicBezTo>
                  <a:pt x="1087442" y="3901552"/>
                  <a:pt x="1087442" y="3895853"/>
                  <a:pt x="1087442" y="3890154"/>
                </a:cubicBezTo>
                <a:cubicBezTo>
                  <a:pt x="1087442" y="3869256"/>
                  <a:pt x="1098848" y="3852158"/>
                  <a:pt x="1117857" y="3844559"/>
                </a:cubicBezTo>
                <a:cubicBezTo>
                  <a:pt x="1117857" y="3844559"/>
                  <a:pt x="1117857" y="3844559"/>
                  <a:pt x="1460026" y="3721072"/>
                </a:cubicBezTo>
                <a:cubicBezTo>
                  <a:pt x="1466204" y="3718697"/>
                  <a:pt x="1472501" y="3717747"/>
                  <a:pt x="1478619" y="3718044"/>
                </a:cubicBezTo>
                <a:close/>
                <a:moveTo>
                  <a:pt x="2033482" y="3710433"/>
                </a:moveTo>
                <a:cubicBezTo>
                  <a:pt x="2053278" y="3711947"/>
                  <a:pt x="2071188" y="3725481"/>
                  <a:pt x="2078351" y="3745426"/>
                </a:cubicBezTo>
                <a:cubicBezTo>
                  <a:pt x="2085994" y="3772020"/>
                  <a:pt x="2070710" y="3800514"/>
                  <a:pt x="2043960" y="3810012"/>
                </a:cubicBezTo>
                <a:cubicBezTo>
                  <a:pt x="2043960" y="3810012"/>
                  <a:pt x="2043960" y="3810012"/>
                  <a:pt x="1701997" y="3916388"/>
                </a:cubicBezTo>
                <a:cubicBezTo>
                  <a:pt x="1673341" y="3925886"/>
                  <a:pt x="1644685" y="3910689"/>
                  <a:pt x="1637043" y="3884095"/>
                </a:cubicBezTo>
                <a:cubicBezTo>
                  <a:pt x="1635133" y="3878397"/>
                  <a:pt x="1635133" y="3874597"/>
                  <a:pt x="1635133" y="3868899"/>
                </a:cubicBezTo>
                <a:cubicBezTo>
                  <a:pt x="1635133" y="3846104"/>
                  <a:pt x="1648506" y="3827108"/>
                  <a:pt x="1669520" y="3819510"/>
                </a:cubicBezTo>
                <a:cubicBezTo>
                  <a:pt x="1669520" y="3819510"/>
                  <a:pt x="1669520" y="3819510"/>
                  <a:pt x="2013393" y="3713134"/>
                </a:cubicBezTo>
                <a:cubicBezTo>
                  <a:pt x="2020079" y="3710759"/>
                  <a:pt x="2026885" y="3709928"/>
                  <a:pt x="2033482" y="3710433"/>
                </a:cubicBezTo>
                <a:close/>
                <a:moveTo>
                  <a:pt x="3726988" y="3702861"/>
                </a:moveTo>
                <a:cubicBezTo>
                  <a:pt x="3747976" y="3705090"/>
                  <a:pt x="3766548" y="3720426"/>
                  <a:pt x="3772266" y="3743251"/>
                </a:cubicBezTo>
                <a:cubicBezTo>
                  <a:pt x="3779884" y="3771784"/>
                  <a:pt x="3762740" y="3800316"/>
                  <a:pt x="3734164" y="3807924"/>
                </a:cubicBezTo>
                <a:cubicBezTo>
                  <a:pt x="3734164" y="3807924"/>
                  <a:pt x="3734164" y="3807924"/>
                  <a:pt x="3391274" y="3899227"/>
                </a:cubicBezTo>
                <a:cubicBezTo>
                  <a:pt x="3360792" y="3906836"/>
                  <a:pt x="3332215" y="3889717"/>
                  <a:pt x="3324595" y="3861184"/>
                </a:cubicBezTo>
                <a:cubicBezTo>
                  <a:pt x="3322691" y="3857380"/>
                  <a:pt x="3322691" y="3851674"/>
                  <a:pt x="3322691" y="3847869"/>
                </a:cubicBezTo>
                <a:cubicBezTo>
                  <a:pt x="3322691" y="3823142"/>
                  <a:pt x="3337931" y="3802218"/>
                  <a:pt x="3362695" y="3796512"/>
                </a:cubicBezTo>
                <a:cubicBezTo>
                  <a:pt x="3362695" y="3796512"/>
                  <a:pt x="3362695" y="3796512"/>
                  <a:pt x="3705588" y="3705209"/>
                </a:cubicBezTo>
                <a:cubicBezTo>
                  <a:pt x="3712732" y="3702831"/>
                  <a:pt x="3719992" y="3702118"/>
                  <a:pt x="3726988" y="3702861"/>
                </a:cubicBezTo>
                <a:close/>
                <a:moveTo>
                  <a:pt x="2593304" y="3702861"/>
                </a:moveTo>
                <a:cubicBezTo>
                  <a:pt x="2614363" y="3705090"/>
                  <a:pt x="2633002" y="3720426"/>
                  <a:pt x="2638736" y="3743251"/>
                </a:cubicBezTo>
                <a:cubicBezTo>
                  <a:pt x="2646382" y="3771784"/>
                  <a:pt x="2629177" y="3800316"/>
                  <a:pt x="2600503" y="3807924"/>
                </a:cubicBezTo>
                <a:cubicBezTo>
                  <a:pt x="2600503" y="3807924"/>
                  <a:pt x="2600503" y="3807924"/>
                  <a:pt x="2256408" y="3899227"/>
                </a:cubicBezTo>
                <a:cubicBezTo>
                  <a:pt x="2225822" y="3906836"/>
                  <a:pt x="2197147" y="3889717"/>
                  <a:pt x="2189501" y="3861184"/>
                </a:cubicBezTo>
                <a:cubicBezTo>
                  <a:pt x="2187590" y="3857380"/>
                  <a:pt x="2187590" y="3851674"/>
                  <a:pt x="2187590" y="3847869"/>
                </a:cubicBezTo>
                <a:cubicBezTo>
                  <a:pt x="2187590" y="3823142"/>
                  <a:pt x="2202883" y="3802218"/>
                  <a:pt x="2227734" y="3796512"/>
                </a:cubicBezTo>
                <a:cubicBezTo>
                  <a:pt x="2227734" y="3796512"/>
                  <a:pt x="2227734" y="3796512"/>
                  <a:pt x="2571828" y="3705209"/>
                </a:cubicBezTo>
                <a:cubicBezTo>
                  <a:pt x="2578997" y="3702831"/>
                  <a:pt x="2586285" y="3702118"/>
                  <a:pt x="2593304" y="3702861"/>
                </a:cubicBezTo>
                <a:close/>
                <a:moveTo>
                  <a:pt x="3135575" y="3696651"/>
                </a:moveTo>
                <a:cubicBezTo>
                  <a:pt x="3166097" y="3690936"/>
                  <a:pt x="3196619" y="3709986"/>
                  <a:pt x="3202342" y="3740466"/>
                </a:cubicBezTo>
                <a:cubicBezTo>
                  <a:pt x="3209972" y="3770946"/>
                  <a:pt x="3190898" y="3801426"/>
                  <a:pt x="3160373" y="3809046"/>
                </a:cubicBezTo>
                <a:cubicBezTo>
                  <a:pt x="3160373" y="3809046"/>
                  <a:pt x="3160373" y="3809046"/>
                  <a:pt x="2815092" y="3883341"/>
                </a:cubicBezTo>
                <a:cubicBezTo>
                  <a:pt x="2784567" y="3890961"/>
                  <a:pt x="2754047" y="3871911"/>
                  <a:pt x="2746418" y="3841431"/>
                </a:cubicBezTo>
                <a:cubicBezTo>
                  <a:pt x="2746418" y="3835716"/>
                  <a:pt x="2746418" y="3831906"/>
                  <a:pt x="2746418" y="3828096"/>
                </a:cubicBezTo>
                <a:cubicBezTo>
                  <a:pt x="2746418" y="3801426"/>
                  <a:pt x="2763583" y="3778566"/>
                  <a:pt x="2790295" y="3772851"/>
                </a:cubicBezTo>
                <a:cubicBezTo>
                  <a:pt x="2790295" y="3772851"/>
                  <a:pt x="2790295" y="3772851"/>
                  <a:pt x="3135575" y="3696651"/>
                </a:cubicBezTo>
                <a:close/>
                <a:moveTo>
                  <a:pt x="4011840" y="3466417"/>
                </a:moveTo>
                <a:lnTo>
                  <a:pt x="4011840" y="3576032"/>
                </a:lnTo>
                <a:lnTo>
                  <a:pt x="3954880" y="3592817"/>
                </a:lnTo>
                <a:cubicBezTo>
                  <a:pt x="3926284" y="3600448"/>
                  <a:pt x="3897688" y="3585186"/>
                  <a:pt x="3888158" y="3556569"/>
                </a:cubicBezTo>
                <a:cubicBezTo>
                  <a:pt x="3888158" y="3552753"/>
                  <a:pt x="3886250" y="3547030"/>
                  <a:pt x="3886250" y="3541306"/>
                </a:cubicBezTo>
                <a:cubicBezTo>
                  <a:pt x="3886250" y="3518413"/>
                  <a:pt x="3901502" y="3497427"/>
                  <a:pt x="3924376" y="3491704"/>
                </a:cubicBezTo>
                <a:cubicBezTo>
                  <a:pt x="3924376" y="3491704"/>
                  <a:pt x="3924376" y="3491704"/>
                  <a:pt x="4008146" y="3467485"/>
                </a:cubicBezTo>
                <a:close/>
                <a:moveTo>
                  <a:pt x="398651" y="3413736"/>
                </a:moveTo>
                <a:cubicBezTo>
                  <a:pt x="408645" y="3417537"/>
                  <a:pt x="417211" y="3425137"/>
                  <a:pt x="421971" y="3435588"/>
                </a:cubicBezTo>
                <a:cubicBezTo>
                  <a:pt x="433392" y="3456490"/>
                  <a:pt x="423874" y="3483093"/>
                  <a:pt x="401031" y="3492594"/>
                </a:cubicBezTo>
                <a:cubicBezTo>
                  <a:pt x="401031" y="3492594"/>
                  <a:pt x="401031" y="3492594"/>
                  <a:pt x="62187" y="3646509"/>
                </a:cubicBezTo>
                <a:cubicBezTo>
                  <a:pt x="41248" y="3656010"/>
                  <a:pt x="16501" y="3646509"/>
                  <a:pt x="6983" y="3625607"/>
                </a:cubicBezTo>
                <a:cubicBezTo>
                  <a:pt x="3175" y="3619906"/>
                  <a:pt x="3175" y="3614206"/>
                  <a:pt x="3175" y="3608505"/>
                </a:cubicBezTo>
                <a:cubicBezTo>
                  <a:pt x="3175" y="3591403"/>
                  <a:pt x="12693" y="3576202"/>
                  <a:pt x="27922" y="3568601"/>
                </a:cubicBezTo>
                <a:cubicBezTo>
                  <a:pt x="27922" y="3568601"/>
                  <a:pt x="27922" y="3568601"/>
                  <a:pt x="366766" y="3414687"/>
                </a:cubicBezTo>
                <a:cubicBezTo>
                  <a:pt x="377236" y="3409937"/>
                  <a:pt x="388657" y="3409937"/>
                  <a:pt x="398651" y="3413736"/>
                </a:cubicBezTo>
                <a:close/>
                <a:moveTo>
                  <a:pt x="928445" y="3403423"/>
                </a:moveTo>
                <a:cubicBezTo>
                  <a:pt x="946037" y="3403779"/>
                  <a:pt x="962825" y="3414824"/>
                  <a:pt x="969969" y="3433348"/>
                </a:cubicBezTo>
                <a:cubicBezTo>
                  <a:pt x="979494" y="3456148"/>
                  <a:pt x="968064" y="3482748"/>
                  <a:pt x="945204" y="3492248"/>
                </a:cubicBezTo>
                <a:cubicBezTo>
                  <a:pt x="945204" y="3492248"/>
                  <a:pt x="945204" y="3492248"/>
                  <a:pt x="604205" y="3629048"/>
                </a:cubicBezTo>
                <a:cubicBezTo>
                  <a:pt x="579439" y="3638548"/>
                  <a:pt x="552769" y="3627148"/>
                  <a:pt x="543244" y="3602448"/>
                </a:cubicBezTo>
                <a:cubicBezTo>
                  <a:pt x="541339" y="3596748"/>
                  <a:pt x="541339" y="3591048"/>
                  <a:pt x="541339" y="3585348"/>
                </a:cubicBezTo>
                <a:cubicBezTo>
                  <a:pt x="541339" y="3568248"/>
                  <a:pt x="550864" y="3551148"/>
                  <a:pt x="569914" y="3543548"/>
                </a:cubicBezTo>
                <a:cubicBezTo>
                  <a:pt x="569914" y="3543548"/>
                  <a:pt x="569914" y="3543548"/>
                  <a:pt x="910913" y="3406748"/>
                </a:cubicBezTo>
                <a:cubicBezTo>
                  <a:pt x="916628" y="3404375"/>
                  <a:pt x="922581" y="3403304"/>
                  <a:pt x="928445" y="3403423"/>
                </a:cubicBezTo>
                <a:close/>
                <a:moveTo>
                  <a:pt x="1478769" y="3396584"/>
                </a:moveTo>
                <a:cubicBezTo>
                  <a:pt x="1497714" y="3398280"/>
                  <a:pt x="1515586" y="3410426"/>
                  <a:pt x="1522735" y="3428999"/>
                </a:cubicBezTo>
                <a:cubicBezTo>
                  <a:pt x="1530360" y="3455668"/>
                  <a:pt x="1517016" y="3484243"/>
                  <a:pt x="1492233" y="3491863"/>
                </a:cubicBezTo>
                <a:cubicBezTo>
                  <a:pt x="1492233" y="3491863"/>
                  <a:pt x="1492233" y="3491863"/>
                  <a:pt x="1149084" y="3609973"/>
                </a:cubicBezTo>
                <a:cubicBezTo>
                  <a:pt x="1124301" y="3619498"/>
                  <a:pt x="1095705" y="3606163"/>
                  <a:pt x="1088080" y="3579493"/>
                </a:cubicBezTo>
                <a:cubicBezTo>
                  <a:pt x="1086173" y="3575683"/>
                  <a:pt x="1084267" y="3569968"/>
                  <a:pt x="1084267" y="3564253"/>
                </a:cubicBezTo>
                <a:cubicBezTo>
                  <a:pt x="1084267" y="3543298"/>
                  <a:pt x="1097612" y="3524248"/>
                  <a:pt x="1116676" y="3518533"/>
                </a:cubicBezTo>
                <a:cubicBezTo>
                  <a:pt x="1116676" y="3518533"/>
                  <a:pt x="1116676" y="3518533"/>
                  <a:pt x="1459824" y="3398519"/>
                </a:cubicBezTo>
                <a:cubicBezTo>
                  <a:pt x="1466020" y="3396614"/>
                  <a:pt x="1472454" y="3396018"/>
                  <a:pt x="1478769" y="3396584"/>
                </a:cubicBezTo>
                <a:close/>
                <a:moveTo>
                  <a:pt x="2035412" y="3390086"/>
                </a:moveTo>
                <a:cubicBezTo>
                  <a:pt x="2055626" y="3392143"/>
                  <a:pt x="2074226" y="3406808"/>
                  <a:pt x="2079949" y="3426840"/>
                </a:cubicBezTo>
                <a:cubicBezTo>
                  <a:pt x="2087581" y="3455456"/>
                  <a:pt x="2072317" y="3484073"/>
                  <a:pt x="2043698" y="3491704"/>
                </a:cubicBezTo>
                <a:cubicBezTo>
                  <a:pt x="2043698" y="3491704"/>
                  <a:pt x="2043698" y="3491704"/>
                  <a:pt x="1700314" y="3592817"/>
                </a:cubicBezTo>
                <a:cubicBezTo>
                  <a:pt x="1671698" y="3600448"/>
                  <a:pt x="1643083" y="3585186"/>
                  <a:pt x="1635452" y="3556569"/>
                </a:cubicBezTo>
                <a:cubicBezTo>
                  <a:pt x="1633545" y="3552753"/>
                  <a:pt x="1633545" y="3547030"/>
                  <a:pt x="1633545" y="3541306"/>
                </a:cubicBezTo>
                <a:cubicBezTo>
                  <a:pt x="1633545" y="3518413"/>
                  <a:pt x="1648806" y="3497427"/>
                  <a:pt x="1671698" y="3491704"/>
                </a:cubicBezTo>
                <a:cubicBezTo>
                  <a:pt x="1671698" y="3491704"/>
                  <a:pt x="1671698" y="3491704"/>
                  <a:pt x="2015083" y="3392501"/>
                </a:cubicBezTo>
                <a:cubicBezTo>
                  <a:pt x="2021760" y="3390117"/>
                  <a:pt x="2028675" y="3389400"/>
                  <a:pt x="2035412" y="3390086"/>
                </a:cubicBezTo>
                <a:close/>
                <a:moveTo>
                  <a:pt x="3729540" y="3384850"/>
                </a:moveTo>
                <a:cubicBezTo>
                  <a:pt x="3751288" y="3388411"/>
                  <a:pt x="3769540" y="3404789"/>
                  <a:pt x="3773836" y="3427575"/>
                </a:cubicBezTo>
                <a:cubicBezTo>
                  <a:pt x="3781474" y="3456060"/>
                  <a:pt x="3762384" y="3486445"/>
                  <a:pt x="3733748" y="3494041"/>
                </a:cubicBezTo>
                <a:cubicBezTo>
                  <a:pt x="3733748" y="3494041"/>
                  <a:pt x="3733748" y="3494041"/>
                  <a:pt x="3388242" y="3575701"/>
                </a:cubicBezTo>
                <a:cubicBezTo>
                  <a:pt x="3357694" y="3581398"/>
                  <a:pt x="3327150" y="3564306"/>
                  <a:pt x="3321424" y="3533921"/>
                </a:cubicBezTo>
                <a:cubicBezTo>
                  <a:pt x="3319515" y="3528224"/>
                  <a:pt x="3319515" y="3524426"/>
                  <a:pt x="3319515" y="3520628"/>
                </a:cubicBezTo>
                <a:cubicBezTo>
                  <a:pt x="3319515" y="3495940"/>
                  <a:pt x="3336696" y="3473151"/>
                  <a:pt x="3361512" y="3465555"/>
                </a:cubicBezTo>
                <a:cubicBezTo>
                  <a:pt x="3361512" y="3465555"/>
                  <a:pt x="3361512" y="3465555"/>
                  <a:pt x="3707020" y="3385799"/>
                </a:cubicBezTo>
                <a:cubicBezTo>
                  <a:pt x="3714656" y="3383903"/>
                  <a:pt x="3722292" y="3383661"/>
                  <a:pt x="3729540" y="3384850"/>
                </a:cubicBezTo>
                <a:close/>
                <a:moveTo>
                  <a:pt x="2596040" y="3384845"/>
                </a:moveTo>
                <a:cubicBezTo>
                  <a:pt x="2617785" y="3388406"/>
                  <a:pt x="2636040" y="3404787"/>
                  <a:pt x="2640334" y="3427574"/>
                </a:cubicBezTo>
                <a:cubicBezTo>
                  <a:pt x="2647970" y="3456060"/>
                  <a:pt x="2628881" y="3486445"/>
                  <a:pt x="2598338" y="3494041"/>
                </a:cubicBezTo>
                <a:cubicBezTo>
                  <a:pt x="2598338" y="3494041"/>
                  <a:pt x="2598338" y="3494041"/>
                  <a:pt x="2254725" y="3575701"/>
                </a:cubicBezTo>
                <a:cubicBezTo>
                  <a:pt x="2224181" y="3581398"/>
                  <a:pt x="2193638" y="3564306"/>
                  <a:pt x="2187911" y="3533921"/>
                </a:cubicBezTo>
                <a:cubicBezTo>
                  <a:pt x="2186002" y="3528224"/>
                  <a:pt x="2186002" y="3524426"/>
                  <a:pt x="2186002" y="3520628"/>
                </a:cubicBezTo>
                <a:cubicBezTo>
                  <a:pt x="2186002" y="3495940"/>
                  <a:pt x="2203183" y="3473151"/>
                  <a:pt x="2227999" y="3465555"/>
                </a:cubicBezTo>
                <a:cubicBezTo>
                  <a:pt x="2227999" y="3465555"/>
                  <a:pt x="2227999" y="3465555"/>
                  <a:pt x="2573520" y="3385794"/>
                </a:cubicBezTo>
                <a:cubicBezTo>
                  <a:pt x="2581156" y="3383896"/>
                  <a:pt x="2588792" y="3383659"/>
                  <a:pt x="2596040" y="3384845"/>
                </a:cubicBezTo>
                <a:close/>
                <a:moveTo>
                  <a:pt x="3137316" y="3377570"/>
                </a:moveTo>
                <a:cubicBezTo>
                  <a:pt x="3169680" y="3371857"/>
                  <a:pt x="3200139" y="3392806"/>
                  <a:pt x="3205849" y="3425189"/>
                </a:cubicBezTo>
                <a:cubicBezTo>
                  <a:pt x="3211557" y="3457573"/>
                  <a:pt x="3190620" y="3488053"/>
                  <a:pt x="3158257" y="3493768"/>
                </a:cubicBezTo>
                <a:cubicBezTo>
                  <a:pt x="3158257" y="3493768"/>
                  <a:pt x="3158257" y="3493768"/>
                  <a:pt x="2813680" y="3556633"/>
                </a:cubicBezTo>
                <a:cubicBezTo>
                  <a:pt x="2781314" y="3562348"/>
                  <a:pt x="2750856" y="3541393"/>
                  <a:pt x="2745145" y="3509008"/>
                </a:cubicBezTo>
                <a:cubicBezTo>
                  <a:pt x="2743240" y="3505198"/>
                  <a:pt x="2743240" y="3501388"/>
                  <a:pt x="2743240" y="3497578"/>
                </a:cubicBezTo>
                <a:cubicBezTo>
                  <a:pt x="2743240" y="3470908"/>
                  <a:pt x="2764181" y="3446143"/>
                  <a:pt x="2792741" y="3440428"/>
                </a:cubicBezTo>
                <a:cubicBezTo>
                  <a:pt x="2792741" y="3440428"/>
                  <a:pt x="2792741" y="3440428"/>
                  <a:pt x="3137316" y="3377570"/>
                </a:cubicBezTo>
                <a:close/>
                <a:moveTo>
                  <a:pt x="4011840" y="3141126"/>
                </a:moveTo>
                <a:lnTo>
                  <a:pt x="4011840" y="3251800"/>
                </a:lnTo>
                <a:lnTo>
                  <a:pt x="3953196" y="3267426"/>
                </a:lnTo>
                <a:cubicBezTo>
                  <a:pt x="3924642" y="3275036"/>
                  <a:pt x="3894184" y="3257916"/>
                  <a:pt x="3886568" y="3229382"/>
                </a:cubicBezTo>
                <a:cubicBezTo>
                  <a:pt x="3886568" y="3225578"/>
                  <a:pt x="3884664" y="3219872"/>
                  <a:pt x="3884664" y="3216071"/>
                </a:cubicBezTo>
                <a:cubicBezTo>
                  <a:pt x="3884664" y="3191341"/>
                  <a:pt x="3901798" y="3170420"/>
                  <a:pt x="3924642" y="3164714"/>
                </a:cubicBezTo>
                <a:cubicBezTo>
                  <a:pt x="3924642" y="3164714"/>
                  <a:pt x="3924642" y="3164714"/>
                  <a:pt x="4008762" y="3141959"/>
                </a:cubicBezTo>
                <a:close/>
                <a:moveTo>
                  <a:pt x="399603" y="3091489"/>
                </a:moveTo>
                <a:cubicBezTo>
                  <a:pt x="410073" y="3095288"/>
                  <a:pt x="419115" y="3102890"/>
                  <a:pt x="423874" y="3113341"/>
                </a:cubicBezTo>
                <a:cubicBezTo>
                  <a:pt x="433392" y="3134243"/>
                  <a:pt x="423874" y="3160845"/>
                  <a:pt x="401031" y="3170346"/>
                </a:cubicBezTo>
                <a:cubicBezTo>
                  <a:pt x="401031" y="3170346"/>
                  <a:pt x="401031" y="3170346"/>
                  <a:pt x="62187" y="3324257"/>
                </a:cubicBezTo>
                <a:cubicBezTo>
                  <a:pt x="41247" y="3333758"/>
                  <a:pt x="16500" y="3324257"/>
                  <a:pt x="6982" y="3301458"/>
                </a:cubicBezTo>
                <a:cubicBezTo>
                  <a:pt x="3175" y="3295756"/>
                  <a:pt x="3175" y="3290055"/>
                  <a:pt x="3175" y="3284355"/>
                </a:cubicBezTo>
                <a:cubicBezTo>
                  <a:pt x="3175" y="3269153"/>
                  <a:pt x="12693" y="3252053"/>
                  <a:pt x="27922" y="3246351"/>
                </a:cubicBezTo>
                <a:cubicBezTo>
                  <a:pt x="27922" y="3246351"/>
                  <a:pt x="27922" y="3246351"/>
                  <a:pt x="366766" y="3092440"/>
                </a:cubicBezTo>
                <a:cubicBezTo>
                  <a:pt x="377235" y="3087688"/>
                  <a:pt x="389133" y="3087688"/>
                  <a:pt x="399603" y="3091489"/>
                </a:cubicBezTo>
                <a:close/>
                <a:moveTo>
                  <a:pt x="910964" y="3084205"/>
                </a:moveTo>
                <a:cubicBezTo>
                  <a:pt x="933807" y="3076586"/>
                  <a:pt x="960458" y="3088016"/>
                  <a:pt x="969977" y="3110874"/>
                </a:cubicBezTo>
                <a:cubicBezTo>
                  <a:pt x="979495" y="3135641"/>
                  <a:pt x="968073" y="3162310"/>
                  <a:pt x="945229" y="3171835"/>
                </a:cubicBezTo>
                <a:cubicBezTo>
                  <a:pt x="945229" y="3171835"/>
                  <a:pt x="945229" y="3171835"/>
                  <a:pt x="604476" y="3305182"/>
                </a:cubicBezTo>
                <a:cubicBezTo>
                  <a:pt x="579728" y="3314707"/>
                  <a:pt x="553077" y="3301372"/>
                  <a:pt x="543559" y="3278513"/>
                </a:cubicBezTo>
                <a:cubicBezTo>
                  <a:pt x="541655" y="3272798"/>
                  <a:pt x="539752" y="3267083"/>
                  <a:pt x="539752" y="3261369"/>
                </a:cubicBezTo>
                <a:cubicBezTo>
                  <a:pt x="539752" y="3242317"/>
                  <a:pt x="551174" y="3225173"/>
                  <a:pt x="570210" y="3217554"/>
                </a:cubicBezTo>
                <a:cubicBezTo>
                  <a:pt x="570210" y="3217554"/>
                  <a:pt x="570210" y="3217554"/>
                  <a:pt x="910964" y="3084205"/>
                </a:cubicBezTo>
                <a:close/>
                <a:moveTo>
                  <a:pt x="1479596" y="3075472"/>
                </a:moveTo>
                <a:cubicBezTo>
                  <a:pt x="1499228" y="3076991"/>
                  <a:pt x="1516718" y="3090584"/>
                  <a:pt x="1522429" y="3110614"/>
                </a:cubicBezTo>
                <a:cubicBezTo>
                  <a:pt x="1531947" y="3137321"/>
                  <a:pt x="1516718" y="3165935"/>
                  <a:pt x="1491970" y="3173568"/>
                </a:cubicBezTo>
                <a:cubicBezTo>
                  <a:pt x="1491970" y="3173568"/>
                  <a:pt x="1491970" y="3173568"/>
                  <a:pt x="1149308" y="3286117"/>
                </a:cubicBezTo>
                <a:cubicBezTo>
                  <a:pt x="1122656" y="3295656"/>
                  <a:pt x="1094101" y="3280396"/>
                  <a:pt x="1086486" y="3253688"/>
                </a:cubicBezTo>
                <a:cubicBezTo>
                  <a:pt x="1084582" y="3249872"/>
                  <a:pt x="1082679" y="3244148"/>
                  <a:pt x="1082679" y="3238426"/>
                </a:cubicBezTo>
                <a:cubicBezTo>
                  <a:pt x="1082679" y="3217441"/>
                  <a:pt x="1097908" y="3198366"/>
                  <a:pt x="1118849" y="3190736"/>
                </a:cubicBezTo>
                <a:cubicBezTo>
                  <a:pt x="1118849" y="3190736"/>
                  <a:pt x="1118849" y="3190736"/>
                  <a:pt x="1459607" y="3078184"/>
                </a:cubicBezTo>
                <a:cubicBezTo>
                  <a:pt x="1466270" y="3075800"/>
                  <a:pt x="1473052" y="3074965"/>
                  <a:pt x="1479596" y="3075472"/>
                </a:cubicBezTo>
                <a:close/>
                <a:moveTo>
                  <a:pt x="2036269" y="3070212"/>
                </a:moveTo>
                <a:cubicBezTo>
                  <a:pt x="2057258" y="3073154"/>
                  <a:pt x="2075832" y="3088134"/>
                  <a:pt x="2081548" y="3109532"/>
                </a:cubicBezTo>
                <a:cubicBezTo>
                  <a:pt x="2089168" y="3139966"/>
                  <a:pt x="2072023" y="3168499"/>
                  <a:pt x="2043443" y="3176106"/>
                </a:cubicBezTo>
                <a:cubicBezTo>
                  <a:pt x="2043443" y="3176106"/>
                  <a:pt x="2043443" y="3176106"/>
                  <a:pt x="1700538" y="3267409"/>
                </a:cubicBezTo>
                <a:cubicBezTo>
                  <a:pt x="1670058" y="3275018"/>
                  <a:pt x="1641482" y="3257898"/>
                  <a:pt x="1633862" y="3229366"/>
                </a:cubicBezTo>
                <a:cubicBezTo>
                  <a:pt x="1631957" y="3225562"/>
                  <a:pt x="1631957" y="3219855"/>
                  <a:pt x="1631957" y="3216051"/>
                </a:cubicBezTo>
                <a:cubicBezTo>
                  <a:pt x="1631957" y="3191325"/>
                  <a:pt x="1647198" y="3170401"/>
                  <a:pt x="1671963" y="3164695"/>
                </a:cubicBezTo>
                <a:cubicBezTo>
                  <a:pt x="1671963" y="3164695"/>
                  <a:pt x="1671963" y="3164695"/>
                  <a:pt x="2014867" y="3071490"/>
                </a:cubicBezTo>
                <a:cubicBezTo>
                  <a:pt x="2022011" y="3069588"/>
                  <a:pt x="2029274" y="3069230"/>
                  <a:pt x="2036269" y="3070212"/>
                </a:cubicBezTo>
                <a:close/>
                <a:moveTo>
                  <a:pt x="3731232" y="3064526"/>
                </a:moveTo>
                <a:cubicBezTo>
                  <a:pt x="3753036" y="3068642"/>
                  <a:pt x="3771624" y="3086171"/>
                  <a:pt x="3777344" y="3109067"/>
                </a:cubicBezTo>
                <a:cubicBezTo>
                  <a:pt x="3783062" y="3141504"/>
                  <a:pt x="3762092" y="3172032"/>
                  <a:pt x="3731588" y="3177757"/>
                </a:cubicBezTo>
                <a:cubicBezTo>
                  <a:pt x="3731588" y="3177757"/>
                  <a:pt x="3731588" y="3177757"/>
                  <a:pt x="3386557" y="3250258"/>
                </a:cubicBezTo>
                <a:cubicBezTo>
                  <a:pt x="3356055" y="3255985"/>
                  <a:pt x="3325554" y="3234992"/>
                  <a:pt x="3317928" y="3204467"/>
                </a:cubicBezTo>
                <a:cubicBezTo>
                  <a:pt x="3317928" y="3200651"/>
                  <a:pt x="3317928" y="3196834"/>
                  <a:pt x="3317928" y="3193018"/>
                </a:cubicBezTo>
                <a:cubicBezTo>
                  <a:pt x="3317928" y="3166307"/>
                  <a:pt x="3335085" y="3141504"/>
                  <a:pt x="3363681" y="3135781"/>
                </a:cubicBezTo>
                <a:cubicBezTo>
                  <a:pt x="3363681" y="3135781"/>
                  <a:pt x="3363681" y="3135781"/>
                  <a:pt x="3708712" y="3065182"/>
                </a:cubicBezTo>
                <a:cubicBezTo>
                  <a:pt x="3716336" y="3063275"/>
                  <a:pt x="3723964" y="3063157"/>
                  <a:pt x="3731232" y="3064526"/>
                </a:cubicBezTo>
                <a:close/>
                <a:moveTo>
                  <a:pt x="2597728" y="3064505"/>
                </a:moveTo>
                <a:cubicBezTo>
                  <a:pt x="2619532" y="3068620"/>
                  <a:pt x="2638119" y="3086150"/>
                  <a:pt x="2643838" y="3109046"/>
                </a:cubicBezTo>
                <a:cubicBezTo>
                  <a:pt x="2649557" y="3141483"/>
                  <a:pt x="2628587" y="3172011"/>
                  <a:pt x="2598086" y="3177737"/>
                </a:cubicBezTo>
                <a:cubicBezTo>
                  <a:pt x="2598086" y="3177737"/>
                  <a:pt x="2598086" y="3177737"/>
                  <a:pt x="2253042" y="3250241"/>
                </a:cubicBezTo>
                <a:cubicBezTo>
                  <a:pt x="2222541" y="3255966"/>
                  <a:pt x="2192040" y="3234975"/>
                  <a:pt x="2184414" y="3204449"/>
                </a:cubicBezTo>
                <a:cubicBezTo>
                  <a:pt x="2184414" y="3200633"/>
                  <a:pt x="2184414" y="3196817"/>
                  <a:pt x="2184414" y="3193000"/>
                </a:cubicBezTo>
                <a:cubicBezTo>
                  <a:pt x="2184414" y="3166289"/>
                  <a:pt x="2201571" y="3141483"/>
                  <a:pt x="2230166" y="3135760"/>
                </a:cubicBezTo>
                <a:cubicBezTo>
                  <a:pt x="2230166" y="3135760"/>
                  <a:pt x="2230166" y="3135760"/>
                  <a:pt x="2575210" y="3065161"/>
                </a:cubicBezTo>
                <a:cubicBezTo>
                  <a:pt x="2582837" y="3063252"/>
                  <a:pt x="2590461" y="3063132"/>
                  <a:pt x="2597728" y="3064505"/>
                </a:cubicBezTo>
                <a:close/>
                <a:moveTo>
                  <a:pt x="3139002" y="3058185"/>
                </a:moveTo>
                <a:cubicBezTo>
                  <a:pt x="3173224" y="3054375"/>
                  <a:pt x="3203641" y="3077235"/>
                  <a:pt x="3209344" y="3111524"/>
                </a:cubicBezTo>
                <a:cubicBezTo>
                  <a:pt x="3213145" y="3143909"/>
                  <a:pt x="3190332" y="3176294"/>
                  <a:pt x="3156112" y="3180105"/>
                </a:cubicBezTo>
                <a:cubicBezTo>
                  <a:pt x="3156112" y="3180105"/>
                  <a:pt x="3156112" y="3180105"/>
                  <a:pt x="2811996" y="3231532"/>
                </a:cubicBezTo>
                <a:cubicBezTo>
                  <a:pt x="2777776" y="3235344"/>
                  <a:pt x="2747356" y="3212490"/>
                  <a:pt x="2741653" y="3180105"/>
                </a:cubicBezTo>
                <a:cubicBezTo>
                  <a:pt x="2741653" y="3176294"/>
                  <a:pt x="2741653" y="3172482"/>
                  <a:pt x="2741653" y="3170578"/>
                </a:cubicBezTo>
                <a:cubicBezTo>
                  <a:pt x="2741653" y="3140101"/>
                  <a:pt x="2762567" y="3113431"/>
                  <a:pt x="2792985" y="3109621"/>
                </a:cubicBezTo>
                <a:cubicBezTo>
                  <a:pt x="2792985" y="3109621"/>
                  <a:pt x="2792985" y="3109621"/>
                  <a:pt x="3139002" y="3058185"/>
                </a:cubicBezTo>
                <a:close/>
                <a:moveTo>
                  <a:pt x="4011840" y="2813695"/>
                </a:moveTo>
                <a:lnTo>
                  <a:pt x="4011840" y="2929155"/>
                </a:lnTo>
                <a:lnTo>
                  <a:pt x="3953196" y="2943545"/>
                </a:lnTo>
                <a:cubicBezTo>
                  <a:pt x="3922736" y="2951190"/>
                  <a:pt x="3892278" y="2932080"/>
                  <a:pt x="3884664" y="2901507"/>
                </a:cubicBezTo>
                <a:cubicBezTo>
                  <a:pt x="3884664" y="2897685"/>
                  <a:pt x="3884664" y="2893863"/>
                  <a:pt x="3884664" y="2888131"/>
                </a:cubicBezTo>
                <a:cubicBezTo>
                  <a:pt x="3884664" y="2863287"/>
                  <a:pt x="3899892" y="2840356"/>
                  <a:pt x="3926546" y="2834624"/>
                </a:cubicBezTo>
                <a:cubicBezTo>
                  <a:pt x="3926546" y="2834624"/>
                  <a:pt x="3926546" y="2834624"/>
                  <a:pt x="4010200" y="2814097"/>
                </a:cubicBezTo>
                <a:close/>
                <a:moveTo>
                  <a:pt x="399603" y="2769236"/>
                </a:moveTo>
                <a:cubicBezTo>
                  <a:pt x="410073" y="2773041"/>
                  <a:pt x="419115" y="2780652"/>
                  <a:pt x="423874" y="2791116"/>
                </a:cubicBezTo>
                <a:cubicBezTo>
                  <a:pt x="433392" y="2812044"/>
                  <a:pt x="423874" y="2838680"/>
                  <a:pt x="401030" y="2848194"/>
                </a:cubicBezTo>
                <a:cubicBezTo>
                  <a:pt x="401030" y="2848194"/>
                  <a:pt x="401030" y="2848194"/>
                  <a:pt x="62187" y="3000399"/>
                </a:cubicBezTo>
                <a:cubicBezTo>
                  <a:pt x="41247" y="3009914"/>
                  <a:pt x="16500" y="3000399"/>
                  <a:pt x="6982" y="2979471"/>
                </a:cubicBezTo>
                <a:cubicBezTo>
                  <a:pt x="3175" y="2973763"/>
                  <a:pt x="3175" y="2968056"/>
                  <a:pt x="3175" y="2960446"/>
                </a:cubicBezTo>
                <a:cubicBezTo>
                  <a:pt x="3175" y="2945225"/>
                  <a:pt x="10789" y="2930005"/>
                  <a:pt x="27922" y="2922394"/>
                </a:cubicBezTo>
                <a:cubicBezTo>
                  <a:pt x="27922" y="2922394"/>
                  <a:pt x="27922" y="2922394"/>
                  <a:pt x="366765" y="2770189"/>
                </a:cubicBezTo>
                <a:cubicBezTo>
                  <a:pt x="377235" y="2765431"/>
                  <a:pt x="389133" y="2765431"/>
                  <a:pt x="399603" y="2769236"/>
                </a:cubicBezTo>
                <a:close/>
                <a:moveTo>
                  <a:pt x="930705" y="2760523"/>
                </a:moveTo>
                <a:cubicBezTo>
                  <a:pt x="949140" y="2760880"/>
                  <a:pt x="965965" y="2771968"/>
                  <a:pt x="973124" y="2790565"/>
                </a:cubicBezTo>
                <a:cubicBezTo>
                  <a:pt x="982670" y="2815364"/>
                  <a:pt x="969306" y="2842071"/>
                  <a:pt x="946396" y="2851609"/>
                </a:cubicBezTo>
                <a:cubicBezTo>
                  <a:pt x="946396" y="2851609"/>
                  <a:pt x="946396" y="2851609"/>
                  <a:pt x="604662" y="2981323"/>
                </a:cubicBezTo>
                <a:cubicBezTo>
                  <a:pt x="579843" y="2990862"/>
                  <a:pt x="551206" y="2977508"/>
                  <a:pt x="543570" y="2954616"/>
                </a:cubicBezTo>
                <a:cubicBezTo>
                  <a:pt x="541661" y="2948894"/>
                  <a:pt x="539752" y="2943172"/>
                  <a:pt x="539752" y="2937448"/>
                </a:cubicBezTo>
                <a:cubicBezTo>
                  <a:pt x="539752" y="2918374"/>
                  <a:pt x="551206" y="2899297"/>
                  <a:pt x="570298" y="2893575"/>
                </a:cubicBezTo>
                <a:cubicBezTo>
                  <a:pt x="570298" y="2893575"/>
                  <a:pt x="570298" y="2893575"/>
                  <a:pt x="912032" y="2763862"/>
                </a:cubicBezTo>
                <a:cubicBezTo>
                  <a:pt x="918237" y="2761479"/>
                  <a:pt x="924561" y="2760403"/>
                  <a:pt x="930705" y="2760523"/>
                </a:cubicBezTo>
                <a:close/>
                <a:moveTo>
                  <a:pt x="1482623" y="2755562"/>
                </a:moveTo>
                <a:cubicBezTo>
                  <a:pt x="1502310" y="2757882"/>
                  <a:pt x="1519850" y="2771434"/>
                  <a:pt x="1525577" y="2791407"/>
                </a:cubicBezTo>
                <a:cubicBezTo>
                  <a:pt x="1535122" y="2818039"/>
                  <a:pt x="1519850" y="2846572"/>
                  <a:pt x="1493123" y="2856085"/>
                </a:cubicBezTo>
                <a:cubicBezTo>
                  <a:pt x="1493123" y="2856085"/>
                  <a:pt x="1493123" y="2856085"/>
                  <a:pt x="1149495" y="2962612"/>
                </a:cubicBezTo>
                <a:cubicBezTo>
                  <a:pt x="1122769" y="2970220"/>
                  <a:pt x="1092224" y="2955002"/>
                  <a:pt x="1084588" y="2928370"/>
                </a:cubicBezTo>
                <a:cubicBezTo>
                  <a:pt x="1082679" y="2924566"/>
                  <a:pt x="1082679" y="2918859"/>
                  <a:pt x="1082679" y="2913153"/>
                </a:cubicBezTo>
                <a:cubicBezTo>
                  <a:pt x="1082679" y="2892227"/>
                  <a:pt x="1096042" y="2871303"/>
                  <a:pt x="1118950" y="2863693"/>
                </a:cubicBezTo>
                <a:cubicBezTo>
                  <a:pt x="1118950" y="2863693"/>
                  <a:pt x="1118950" y="2863693"/>
                  <a:pt x="1462578" y="2757168"/>
                </a:cubicBezTo>
                <a:cubicBezTo>
                  <a:pt x="1469260" y="2755265"/>
                  <a:pt x="1476061" y="2754790"/>
                  <a:pt x="1482623" y="2755562"/>
                </a:cubicBezTo>
                <a:close/>
                <a:moveTo>
                  <a:pt x="2037929" y="2750376"/>
                </a:moveTo>
                <a:cubicBezTo>
                  <a:pt x="2058890" y="2754227"/>
                  <a:pt x="2077438" y="2769633"/>
                  <a:pt x="2083145" y="2792565"/>
                </a:cubicBezTo>
                <a:cubicBezTo>
                  <a:pt x="2090755" y="2821228"/>
                  <a:pt x="2071730" y="2851802"/>
                  <a:pt x="2043190" y="2859446"/>
                </a:cubicBezTo>
                <a:cubicBezTo>
                  <a:pt x="2043190" y="2859446"/>
                  <a:pt x="2043190" y="2859446"/>
                  <a:pt x="1698856" y="2943524"/>
                </a:cubicBezTo>
                <a:cubicBezTo>
                  <a:pt x="1668417" y="2951168"/>
                  <a:pt x="1639881" y="2932060"/>
                  <a:pt x="1632272" y="2901486"/>
                </a:cubicBezTo>
                <a:cubicBezTo>
                  <a:pt x="1630369" y="2897664"/>
                  <a:pt x="1630369" y="2893842"/>
                  <a:pt x="1630369" y="2888109"/>
                </a:cubicBezTo>
                <a:cubicBezTo>
                  <a:pt x="1630369" y="2863268"/>
                  <a:pt x="1647491" y="2840337"/>
                  <a:pt x="1672222" y="2834604"/>
                </a:cubicBezTo>
                <a:cubicBezTo>
                  <a:pt x="1672222" y="2834604"/>
                  <a:pt x="1672222" y="2834604"/>
                  <a:pt x="2016556" y="2750526"/>
                </a:cubicBezTo>
                <a:cubicBezTo>
                  <a:pt x="2023690" y="2749093"/>
                  <a:pt x="2030943" y="2749093"/>
                  <a:pt x="2037929" y="2750376"/>
                </a:cubicBezTo>
                <a:close/>
                <a:moveTo>
                  <a:pt x="3710448" y="2745765"/>
                </a:moveTo>
                <a:cubicBezTo>
                  <a:pt x="3742792" y="2740051"/>
                  <a:pt x="3773232" y="2762911"/>
                  <a:pt x="3778944" y="2795292"/>
                </a:cubicBezTo>
                <a:cubicBezTo>
                  <a:pt x="3784650" y="2827678"/>
                  <a:pt x="3763720" y="2858160"/>
                  <a:pt x="3731376" y="2863875"/>
                </a:cubicBezTo>
                <a:cubicBezTo>
                  <a:pt x="3731376" y="2863875"/>
                  <a:pt x="3731376" y="2863875"/>
                  <a:pt x="3385145" y="2924837"/>
                </a:cubicBezTo>
                <a:cubicBezTo>
                  <a:pt x="3352800" y="2930551"/>
                  <a:pt x="3322363" y="2907691"/>
                  <a:pt x="3316655" y="2875305"/>
                </a:cubicBezTo>
                <a:cubicBezTo>
                  <a:pt x="3316655" y="2871495"/>
                  <a:pt x="3314753" y="2869590"/>
                  <a:pt x="3314753" y="2865779"/>
                </a:cubicBezTo>
                <a:cubicBezTo>
                  <a:pt x="3314753" y="2837202"/>
                  <a:pt x="3335679" y="2812439"/>
                  <a:pt x="3364218" y="2806724"/>
                </a:cubicBezTo>
                <a:cubicBezTo>
                  <a:pt x="3364218" y="2806724"/>
                  <a:pt x="3364218" y="2806724"/>
                  <a:pt x="3710448" y="2745765"/>
                </a:cubicBezTo>
                <a:close/>
                <a:moveTo>
                  <a:pt x="2576948" y="2745743"/>
                </a:moveTo>
                <a:cubicBezTo>
                  <a:pt x="2609290" y="2740028"/>
                  <a:pt x="2639729" y="2762887"/>
                  <a:pt x="2645436" y="2795273"/>
                </a:cubicBezTo>
                <a:cubicBezTo>
                  <a:pt x="2651144" y="2827657"/>
                  <a:pt x="2630217" y="2858138"/>
                  <a:pt x="2595973" y="2863852"/>
                </a:cubicBezTo>
                <a:cubicBezTo>
                  <a:pt x="2595973" y="2863852"/>
                  <a:pt x="2595973" y="2863852"/>
                  <a:pt x="2251629" y="2924813"/>
                </a:cubicBezTo>
                <a:cubicBezTo>
                  <a:pt x="2219287" y="2930528"/>
                  <a:pt x="2188848" y="2907668"/>
                  <a:pt x="2183141" y="2875282"/>
                </a:cubicBezTo>
                <a:cubicBezTo>
                  <a:pt x="2183141" y="2871473"/>
                  <a:pt x="2181238" y="2869568"/>
                  <a:pt x="2181238" y="2865758"/>
                </a:cubicBezTo>
                <a:cubicBezTo>
                  <a:pt x="2181238" y="2837183"/>
                  <a:pt x="2202166" y="2812418"/>
                  <a:pt x="2230702" y="2806703"/>
                </a:cubicBezTo>
                <a:cubicBezTo>
                  <a:pt x="2230702" y="2806703"/>
                  <a:pt x="2230702" y="2806703"/>
                  <a:pt x="2576948" y="2745743"/>
                </a:cubicBezTo>
                <a:close/>
                <a:moveTo>
                  <a:pt x="3140488" y="2739127"/>
                </a:moveTo>
                <a:cubicBezTo>
                  <a:pt x="3176662" y="2735289"/>
                  <a:pt x="3207121" y="2760236"/>
                  <a:pt x="3210926" y="2796693"/>
                </a:cubicBezTo>
                <a:cubicBezTo>
                  <a:pt x="3214735" y="2831234"/>
                  <a:pt x="3189988" y="2863857"/>
                  <a:pt x="3153818" y="2867695"/>
                </a:cubicBezTo>
                <a:cubicBezTo>
                  <a:pt x="3153818" y="2867695"/>
                  <a:pt x="3153818" y="2867695"/>
                  <a:pt x="2807329" y="2906076"/>
                </a:cubicBezTo>
                <a:cubicBezTo>
                  <a:pt x="2773061" y="2909915"/>
                  <a:pt x="2740696" y="2883048"/>
                  <a:pt x="2736893" y="2848505"/>
                </a:cubicBezTo>
                <a:cubicBezTo>
                  <a:pt x="2736893" y="2846586"/>
                  <a:pt x="2736893" y="2842748"/>
                  <a:pt x="2736893" y="2840828"/>
                </a:cubicBezTo>
                <a:cubicBezTo>
                  <a:pt x="2736893" y="2808208"/>
                  <a:pt x="2761639" y="2781342"/>
                  <a:pt x="2794003" y="2777505"/>
                </a:cubicBezTo>
                <a:cubicBezTo>
                  <a:pt x="2794003" y="2777505"/>
                  <a:pt x="2794003" y="2777505"/>
                  <a:pt x="3140488" y="2739127"/>
                </a:cubicBezTo>
                <a:close/>
                <a:moveTo>
                  <a:pt x="4011840" y="2488817"/>
                </a:moveTo>
                <a:lnTo>
                  <a:pt x="4011840" y="2605107"/>
                </a:lnTo>
                <a:lnTo>
                  <a:pt x="3951516" y="2618129"/>
                </a:lnTo>
                <a:cubicBezTo>
                  <a:pt x="3921098" y="2625749"/>
                  <a:pt x="3890680" y="2606702"/>
                  <a:pt x="3883076" y="2574325"/>
                </a:cubicBezTo>
                <a:cubicBezTo>
                  <a:pt x="3883076" y="2570513"/>
                  <a:pt x="3883076" y="2566705"/>
                  <a:pt x="3883076" y="2562897"/>
                </a:cubicBezTo>
                <a:cubicBezTo>
                  <a:pt x="3883076" y="2536230"/>
                  <a:pt x="3900186" y="2513366"/>
                  <a:pt x="3926804" y="2507652"/>
                </a:cubicBezTo>
                <a:cubicBezTo>
                  <a:pt x="3926804" y="2507652"/>
                  <a:pt x="3926804" y="2507652"/>
                  <a:pt x="4010808" y="2489046"/>
                </a:cubicBezTo>
                <a:close/>
                <a:moveTo>
                  <a:pt x="399503" y="2446974"/>
                </a:moveTo>
                <a:cubicBezTo>
                  <a:pt x="410004" y="2450780"/>
                  <a:pt x="419073" y="2458390"/>
                  <a:pt x="423846" y="2468859"/>
                </a:cubicBezTo>
                <a:cubicBezTo>
                  <a:pt x="433392" y="2491688"/>
                  <a:pt x="423846" y="2516422"/>
                  <a:pt x="400935" y="2525937"/>
                </a:cubicBezTo>
                <a:cubicBezTo>
                  <a:pt x="400935" y="2525937"/>
                  <a:pt x="400935" y="2525937"/>
                  <a:pt x="61095" y="2676233"/>
                </a:cubicBezTo>
                <a:cubicBezTo>
                  <a:pt x="40093" y="2687647"/>
                  <a:pt x="13364" y="2676233"/>
                  <a:pt x="3818" y="2655306"/>
                </a:cubicBezTo>
                <a:cubicBezTo>
                  <a:pt x="1909" y="2649597"/>
                  <a:pt x="0" y="2643887"/>
                  <a:pt x="0" y="2638182"/>
                </a:cubicBezTo>
                <a:cubicBezTo>
                  <a:pt x="0" y="2621058"/>
                  <a:pt x="9546" y="2605839"/>
                  <a:pt x="26729" y="2598228"/>
                </a:cubicBezTo>
                <a:cubicBezTo>
                  <a:pt x="26729" y="2598228"/>
                  <a:pt x="26729" y="2598228"/>
                  <a:pt x="366569" y="2447925"/>
                </a:cubicBezTo>
                <a:cubicBezTo>
                  <a:pt x="377070" y="2443169"/>
                  <a:pt x="389002" y="2443169"/>
                  <a:pt x="399503" y="2446974"/>
                </a:cubicBezTo>
                <a:close/>
                <a:moveTo>
                  <a:pt x="930705" y="2440109"/>
                </a:moveTo>
                <a:cubicBezTo>
                  <a:pt x="949140" y="2441000"/>
                  <a:pt x="965965" y="2453095"/>
                  <a:pt x="973124" y="2471595"/>
                </a:cubicBezTo>
                <a:cubicBezTo>
                  <a:pt x="982669" y="2496260"/>
                  <a:pt x="969306" y="2522822"/>
                  <a:pt x="944487" y="2532310"/>
                </a:cubicBezTo>
                <a:cubicBezTo>
                  <a:pt x="944487" y="2532310"/>
                  <a:pt x="944487" y="2532310"/>
                  <a:pt x="602753" y="2657520"/>
                </a:cubicBezTo>
                <a:cubicBezTo>
                  <a:pt x="577934" y="2667007"/>
                  <a:pt x="551206" y="2653725"/>
                  <a:pt x="541661" y="2629065"/>
                </a:cubicBezTo>
                <a:cubicBezTo>
                  <a:pt x="539751" y="2623373"/>
                  <a:pt x="539751" y="2617681"/>
                  <a:pt x="539751" y="2613887"/>
                </a:cubicBezTo>
                <a:cubicBezTo>
                  <a:pt x="539751" y="2593017"/>
                  <a:pt x="551206" y="2575945"/>
                  <a:pt x="570297" y="2568357"/>
                </a:cubicBezTo>
                <a:cubicBezTo>
                  <a:pt x="570297" y="2568357"/>
                  <a:pt x="570297" y="2568357"/>
                  <a:pt x="912032" y="2443134"/>
                </a:cubicBezTo>
                <a:cubicBezTo>
                  <a:pt x="918236" y="2440761"/>
                  <a:pt x="924560" y="2439813"/>
                  <a:pt x="930705" y="2440109"/>
                </a:cubicBezTo>
                <a:close/>
                <a:moveTo>
                  <a:pt x="1482958" y="2434934"/>
                </a:moveTo>
                <a:cubicBezTo>
                  <a:pt x="1503168" y="2437349"/>
                  <a:pt x="1521768" y="2451300"/>
                  <a:pt x="1527491" y="2472764"/>
                </a:cubicBezTo>
                <a:cubicBezTo>
                  <a:pt x="1535122" y="2499474"/>
                  <a:pt x="1519860" y="2528092"/>
                  <a:pt x="1491245" y="2537631"/>
                </a:cubicBezTo>
                <a:cubicBezTo>
                  <a:pt x="1491245" y="2537631"/>
                  <a:pt x="1491245" y="2537631"/>
                  <a:pt x="1147861" y="2638738"/>
                </a:cubicBezTo>
                <a:cubicBezTo>
                  <a:pt x="1121153" y="2646368"/>
                  <a:pt x="1092538" y="2631108"/>
                  <a:pt x="1082999" y="2602491"/>
                </a:cubicBezTo>
                <a:cubicBezTo>
                  <a:pt x="1081092" y="2596768"/>
                  <a:pt x="1081092" y="2592952"/>
                  <a:pt x="1081092" y="2587229"/>
                </a:cubicBezTo>
                <a:cubicBezTo>
                  <a:pt x="1081092" y="2564338"/>
                  <a:pt x="1096353" y="2545262"/>
                  <a:pt x="1119245" y="2537631"/>
                </a:cubicBezTo>
                <a:cubicBezTo>
                  <a:pt x="1119245" y="2537631"/>
                  <a:pt x="1119245" y="2537631"/>
                  <a:pt x="1462630" y="2436514"/>
                </a:cubicBezTo>
                <a:cubicBezTo>
                  <a:pt x="1469306" y="2434606"/>
                  <a:pt x="1476222" y="2434129"/>
                  <a:pt x="1482958" y="2434934"/>
                </a:cubicBezTo>
                <a:close/>
                <a:moveTo>
                  <a:pt x="2016607" y="2431420"/>
                </a:moveTo>
                <a:cubicBezTo>
                  <a:pt x="2047025" y="2425705"/>
                  <a:pt x="2077447" y="2444755"/>
                  <a:pt x="2085053" y="2475236"/>
                </a:cubicBezTo>
                <a:cubicBezTo>
                  <a:pt x="2090756" y="2505718"/>
                  <a:pt x="2071744" y="2536199"/>
                  <a:pt x="2041322" y="2543819"/>
                </a:cubicBezTo>
                <a:cubicBezTo>
                  <a:pt x="2041322" y="2543819"/>
                  <a:pt x="2041322" y="2543819"/>
                  <a:pt x="1697222" y="2618110"/>
                </a:cubicBezTo>
                <a:cubicBezTo>
                  <a:pt x="1666804" y="2625730"/>
                  <a:pt x="1636386" y="2606681"/>
                  <a:pt x="1630683" y="2574297"/>
                </a:cubicBezTo>
                <a:cubicBezTo>
                  <a:pt x="1628782" y="2570488"/>
                  <a:pt x="1628782" y="2566678"/>
                  <a:pt x="1628782" y="2562869"/>
                </a:cubicBezTo>
                <a:cubicBezTo>
                  <a:pt x="1628782" y="2536199"/>
                  <a:pt x="1647793" y="2513338"/>
                  <a:pt x="1674409" y="2507623"/>
                </a:cubicBezTo>
                <a:cubicBezTo>
                  <a:pt x="1674409" y="2507623"/>
                  <a:pt x="1674409" y="2507623"/>
                  <a:pt x="2016607" y="2431420"/>
                </a:cubicBezTo>
                <a:close/>
                <a:moveTo>
                  <a:pt x="2799530" y="2428900"/>
                </a:moveTo>
                <a:cubicBezTo>
                  <a:pt x="2799530" y="2428900"/>
                  <a:pt x="2799530" y="2428900"/>
                  <a:pt x="3148601" y="2428900"/>
                </a:cubicBezTo>
                <a:cubicBezTo>
                  <a:pt x="3188659" y="2428900"/>
                  <a:pt x="3221085" y="2459451"/>
                  <a:pt x="3221085" y="2499556"/>
                </a:cubicBezTo>
                <a:cubicBezTo>
                  <a:pt x="3221085" y="2537746"/>
                  <a:pt x="3188659" y="2570198"/>
                  <a:pt x="3148601" y="2570198"/>
                </a:cubicBezTo>
                <a:cubicBezTo>
                  <a:pt x="3148601" y="2570198"/>
                  <a:pt x="3148601" y="2570198"/>
                  <a:pt x="2799530" y="2570198"/>
                </a:cubicBezTo>
                <a:cubicBezTo>
                  <a:pt x="2761379" y="2570198"/>
                  <a:pt x="2728953" y="2537746"/>
                  <a:pt x="2728953" y="2499556"/>
                </a:cubicBezTo>
                <a:cubicBezTo>
                  <a:pt x="2728953" y="2459451"/>
                  <a:pt x="2761379" y="2428900"/>
                  <a:pt x="2799530" y="2428900"/>
                </a:cubicBezTo>
                <a:close/>
                <a:moveTo>
                  <a:pt x="3713474" y="2424773"/>
                </a:moveTo>
                <a:cubicBezTo>
                  <a:pt x="3745884" y="2420960"/>
                  <a:pt x="3778294" y="2443824"/>
                  <a:pt x="3782104" y="2478118"/>
                </a:cubicBezTo>
                <a:cubicBezTo>
                  <a:pt x="3787824" y="2510510"/>
                  <a:pt x="3764948" y="2542896"/>
                  <a:pt x="3730632" y="2546706"/>
                </a:cubicBezTo>
                <a:cubicBezTo>
                  <a:pt x="3730632" y="2546706"/>
                  <a:pt x="3730632" y="2546706"/>
                  <a:pt x="3383699" y="2598127"/>
                </a:cubicBezTo>
                <a:cubicBezTo>
                  <a:pt x="3351292" y="2601938"/>
                  <a:pt x="3318883" y="2579083"/>
                  <a:pt x="3315071" y="2546706"/>
                </a:cubicBezTo>
                <a:cubicBezTo>
                  <a:pt x="3313164" y="2542896"/>
                  <a:pt x="3313164" y="2539086"/>
                  <a:pt x="3313164" y="2537183"/>
                </a:cubicBezTo>
                <a:cubicBezTo>
                  <a:pt x="3313164" y="2506700"/>
                  <a:pt x="3336040" y="2480026"/>
                  <a:pt x="3366541" y="2476213"/>
                </a:cubicBezTo>
                <a:cubicBezTo>
                  <a:pt x="3366541" y="2476213"/>
                  <a:pt x="3366541" y="2476213"/>
                  <a:pt x="3713474" y="2424773"/>
                </a:cubicBezTo>
                <a:close/>
                <a:moveTo>
                  <a:pt x="2578386" y="2424750"/>
                </a:moveTo>
                <a:cubicBezTo>
                  <a:pt x="2610793" y="2420940"/>
                  <a:pt x="2643200" y="2443801"/>
                  <a:pt x="2647013" y="2478093"/>
                </a:cubicBezTo>
                <a:cubicBezTo>
                  <a:pt x="2652731" y="2510478"/>
                  <a:pt x="2629856" y="2542862"/>
                  <a:pt x="2595543" y="2546673"/>
                </a:cubicBezTo>
                <a:cubicBezTo>
                  <a:pt x="2595543" y="2546673"/>
                  <a:pt x="2595543" y="2546673"/>
                  <a:pt x="2248597" y="2598105"/>
                </a:cubicBezTo>
                <a:cubicBezTo>
                  <a:pt x="2216190" y="2601915"/>
                  <a:pt x="2183783" y="2579056"/>
                  <a:pt x="2179970" y="2546673"/>
                </a:cubicBezTo>
                <a:cubicBezTo>
                  <a:pt x="2178064" y="2542862"/>
                  <a:pt x="2178064" y="2539052"/>
                  <a:pt x="2178064" y="2537148"/>
                </a:cubicBezTo>
                <a:cubicBezTo>
                  <a:pt x="2178064" y="2506667"/>
                  <a:pt x="2200939" y="2479996"/>
                  <a:pt x="2231440" y="2476187"/>
                </a:cubicBezTo>
                <a:cubicBezTo>
                  <a:pt x="2231440" y="2476187"/>
                  <a:pt x="2231440" y="2476187"/>
                  <a:pt x="2578386" y="2424750"/>
                </a:cubicBezTo>
                <a:close/>
                <a:moveTo>
                  <a:pt x="4011840" y="2170473"/>
                </a:moveTo>
                <a:lnTo>
                  <a:pt x="4011840" y="2283142"/>
                </a:lnTo>
                <a:lnTo>
                  <a:pt x="3952804" y="2297465"/>
                </a:lnTo>
                <a:cubicBezTo>
                  <a:pt x="3922240" y="2305051"/>
                  <a:pt x="3891674" y="2286085"/>
                  <a:pt x="3884032" y="2257651"/>
                </a:cubicBezTo>
                <a:cubicBezTo>
                  <a:pt x="3878302" y="2227314"/>
                  <a:pt x="3895496" y="2196975"/>
                  <a:pt x="3926060" y="2191286"/>
                </a:cubicBezTo>
                <a:cubicBezTo>
                  <a:pt x="3926060" y="2191286"/>
                  <a:pt x="3926060" y="2191286"/>
                  <a:pt x="4010006" y="2170918"/>
                </a:cubicBezTo>
                <a:close/>
                <a:moveTo>
                  <a:pt x="398983" y="2123120"/>
                </a:moveTo>
                <a:cubicBezTo>
                  <a:pt x="409445" y="2126926"/>
                  <a:pt x="418480" y="2134534"/>
                  <a:pt x="423236" y="2145003"/>
                </a:cubicBezTo>
                <a:cubicBezTo>
                  <a:pt x="425138" y="2150710"/>
                  <a:pt x="427040" y="2158322"/>
                  <a:pt x="427040" y="2164030"/>
                </a:cubicBezTo>
                <a:cubicBezTo>
                  <a:pt x="427040" y="2179250"/>
                  <a:pt x="417529" y="2196374"/>
                  <a:pt x="402312" y="2202079"/>
                </a:cubicBezTo>
                <a:cubicBezTo>
                  <a:pt x="402312" y="2202079"/>
                  <a:pt x="402312" y="2202079"/>
                  <a:pt x="61813" y="2354282"/>
                </a:cubicBezTo>
                <a:cubicBezTo>
                  <a:pt x="40889" y="2363796"/>
                  <a:pt x="16160" y="2354282"/>
                  <a:pt x="6649" y="2333354"/>
                </a:cubicBezTo>
                <a:cubicBezTo>
                  <a:pt x="-4765" y="2312425"/>
                  <a:pt x="4746" y="2285781"/>
                  <a:pt x="27573" y="2276277"/>
                </a:cubicBezTo>
                <a:cubicBezTo>
                  <a:pt x="27573" y="2276277"/>
                  <a:pt x="27573" y="2276277"/>
                  <a:pt x="366169" y="2124071"/>
                </a:cubicBezTo>
                <a:cubicBezTo>
                  <a:pt x="376631" y="2119317"/>
                  <a:pt x="388520" y="2119317"/>
                  <a:pt x="398983" y="2123120"/>
                </a:cubicBezTo>
                <a:close/>
                <a:moveTo>
                  <a:pt x="930370" y="2116219"/>
                </a:moveTo>
                <a:cubicBezTo>
                  <a:pt x="948819" y="2117022"/>
                  <a:pt x="965655" y="2128742"/>
                  <a:pt x="972820" y="2145797"/>
                </a:cubicBezTo>
                <a:cubicBezTo>
                  <a:pt x="974730" y="2151482"/>
                  <a:pt x="974730" y="2157168"/>
                  <a:pt x="974730" y="2162851"/>
                </a:cubicBezTo>
                <a:cubicBezTo>
                  <a:pt x="974730" y="2181799"/>
                  <a:pt x="963267" y="2198852"/>
                  <a:pt x="944162" y="2206429"/>
                </a:cubicBezTo>
                <a:cubicBezTo>
                  <a:pt x="944162" y="2206429"/>
                  <a:pt x="944162" y="2206429"/>
                  <a:pt x="602179" y="2335271"/>
                </a:cubicBezTo>
                <a:cubicBezTo>
                  <a:pt x="579252" y="2344740"/>
                  <a:pt x="550595" y="2333375"/>
                  <a:pt x="542953" y="2308740"/>
                </a:cubicBezTo>
                <a:cubicBezTo>
                  <a:pt x="533400" y="2284105"/>
                  <a:pt x="544863" y="2257586"/>
                  <a:pt x="569700" y="2248111"/>
                </a:cubicBezTo>
                <a:cubicBezTo>
                  <a:pt x="569700" y="2248111"/>
                  <a:pt x="569700" y="2248111"/>
                  <a:pt x="911683" y="2119271"/>
                </a:cubicBezTo>
                <a:cubicBezTo>
                  <a:pt x="917892" y="2116901"/>
                  <a:pt x="924221" y="2115954"/>
                  <a:pt x="930370" y="2116219"/>
                </a:cubicBezTo>
                <a:close/>
                <a:moveTo>
                  <a:pt x="1482447" y="2110273"/>
                </a:moveTo>
                <a:cubicBezTo>
                  <a:pt x="1502079" y="2111874"/>
                  <a:pt x="1519569" y="2125762"/>
                  <a:pt x="1525280" y="2147134"/>
                </a:cubicBezTo>
                <a:cubicBezTo>
                  <a:pt x="1527184" y="2150933"/>
                  <a:pt x="1527184" y="2156633"/>
                  <a:pt x="1527184" y="2162332"/>
                </a:cubicBezTo>
                <a:cubicBezTo>
                  <a:pt x="1527184" y="2183226"/>
                  <a:pt x="1513858" y="2204123"/>
                  <a:pt x="1492917" y="2209820"/>
                </a:cubicBezTo>
                <a:cubicBezTo>
                  <a:pt x="1492917" y="2209820"/>
                  <a:pt x="1492917" y="2209820"/>
                  <a:pt x="1150255" y="2316193"/>
                </a:cubicBezTo>
                <a:cubicBezTo>
                  <a:pt x="1123603" y="2325693"/>
                  <a:pt x="1093145" y="2310492"/>
                  <a:pt x="1085530" y="2283894"/>
                </a:cubicBezTo>
                <a:cubicBezTo>
                  <a:pt x="1077915" y="2255409"/>
                  <a:pt x="1093145" y="2226917"/>
                  <a:pt x="1119796" y="2219317"/>
                </a:cubicBezTo>
                <a:cubicBezTo>
                  <a:pt x="1119796" y="2219317"/>
                  <a:pt x="1119796" y="2219317"/>
                  <a:pt x="1462458" y="2112944"/>
                </a:cubicBezTo>
                <a:cubicBezTo>
                  <a:pt x="1469121" y="2110569"/>
                  <a:pt x="1475903" y="2109738"/>
                  <a:pt x="1482447" y="2110273"/>
                </a:cubicBezTo>
                <a:close/>
                <a:moveTo>
                  <a:pt x="2038710" y="2106607"/>
                </a:moveTo>
                <a:cubicBezTo>
                  <a:pt x="2059742" y="2109629"/>
                  <a:pt x="2078355" y="2124916"/>
                  <a:pt x="2084082" y="2147672"/>
                </a:cubicBezTo>
                <a:cubicBezTo>
                  <a:pt x="2084082" y="2151465"/>
                  <a:pt x="2085991" y="2157154"/>
                  <a:pt x="2085991" y="2160946"/>
                </a:cubicBezTo>
                <a:cubicBezTo>
                  <a:pt x="2085991" y="2185596"/>
                  <a:pt x="2068810" y="2208348"/>
                  <a:pt x="2043989" y="2214037"/>
                </a:cubicBezTo>
                <a:cubicBezTo>
                  <a:pt x="2043989" y="2214037"/>
                  <a:pt x="2043989" y="2214037"/>
                  <a:pt x="1698467" y="2297465"/>
                </a:cubicBezTo>
                <a:cubicBezTo>
                  <a:pt x="1667924" y="2305051"/>
                  <a:pt x="1639290" y="2286085"/>
                  <a:pt x="1631654" y="2257649"/>
                </a:cubicBezTo>
                <a:cubicBezTo>
                  <a:pt x="1624018" y="2227312"/>
                  <a:pt x="1643107" y="2196972"/>
                  <a:pt x="1671742" y="2191284"/>
                </a:cubicBezTo>
                <a:cubicBezTo>
                  <a:pt x="1671742" y="2191284"/>
                  <a:pt x="1671742" y="2191284"/>
                  <a:pt x="2017264" y="2107852"/>
                </a:cubicBezTo>
                <a:cubicBezTo>
                  <a:pt x="2024423" y="2105955"/>
                  <a:pt x="2031700" y="2105600"/>
                  <a:pt x="2038710" y="2106607"/>
                </a:cubicBezTo>
                <a:close/>
                <a:moveTo>
                  <a:pt x="3734742" y="2101210"/>
                </a:moveTo>
                <a:cubicBezTo>
                  <a:pt x="3757308" y="2105942"/>
                  <a:pt x="3775572" y="2124873"/>
                  <a:pt x="3779872" y="2149163"/>
                </a:cubicBezTo>
                <a:cubicBezTo>
                  <a:pt x="3779872" y="2152972"/>
                  <a:pt x="3779872" y="2156782"/>
                  <a:pt x="3779872" y="2158688"/>
                </a:cubicBezTo>
                <a:cubicBezTo>
                  <a:pt x="3779872" y="2187262"/>
                  <a:pt x="3760768" y="2212026"/>
                  <a:pt x="3732116" y="2217741"/>
                </a:cubicBezTo>
                <a:cubicBezTo>
                  <a:pt x="3732116" y="2217741"/>
                  <a:pt x="3732116" y="2217741"/>
                  <a:pt x="3384469" y="2278699"/>
                </a:cubicBezTo>
                <a:cubicBezTo>
                  <a:pt x="3351995" y="2284410"/>
                  <a:pt x="3321431" y="2263461"/>
                  <a:pt x="3315701" y="2231076"/>
                </a:cubicBezTo>
                <a:cubicBezTo>
                  <a:pt x="3309970" y="2198691"/>
                  <a:pt x="3330982" y="2166308"/>
                  <a:pt x="3363456" y="2160593"/>
                </a:cubicBezTo>
                <a:cubicBezTo>
                  <a:pt x="3363456" y="2160593"/>
                  <a:pt x="3363456" y="2160593"/>
                  <a:pt x="3711104" y="2101538"/>
                </a:cubicBezTo>
                <a:cubicBezTo>
                  <a:pt x="3719222" y="2099633"/>
                  <a:pt x="3727220" y="2099633"/>
                  <a:pt x="3734742" y="2101210"/>
                </a:cubicBezTo>
                <a:close/>
                <a:moveTo>
                  <a:pt x="2601252" y="2101207"/>
                </a:moveTo>
                <a:cubicBezTo>
                  <a:pt x="2623816" y="2105940"/>
                  <a:pt x="2642082" y="2124870"/>
                  <a:pt x="2646380" y="2149158"/>
                </a:cubicBezTo>
                <a:cubicBezTo>
                  <a:pt x="2646380" y="2152969"/>
                  <a:pt x="2646380" y="2156780"/>
                  <a:pt x="2646380" y="2158685"/>
                </a:cubicBezTo>
                <a:cubicBezTo>
                  <a:pt x="2646380" y="2187260"/>
                  <a:pt x="2627278" y="2212024"/>
                  <a:pt x="2596715" y="2217739"/>
                </a:cubicBezTo>
                <a:cubicBezTo>
                  <a:pt x="2596715" y="2217739"/>
                  <a:pt x="2596715" y="2217739"/>
                  <a:pt x="2250972" y="2278698"/>
                </a:cubicBezTo>
                <a:cubicBezTo>
                  <a:pt x="2218499" y="2284410"/>
                  <a:pt x="2187936" y="2263459"/>
                  <a:pt x="2182205" y="2231074"/>
                </a:cubicBezTo>
                <a:cubicBezTo>
                  <a:pt x="2176475" y="2198689"/>
                  <a:pt x="2197487" y="2166304"/>
                  <a:pt x="2229960" y="2160590"/>
                </a:cubicBezTo>
                <a:cubicBezTo>
                  <a:pt x="2229960" y="2160590"/>
                  <a:pt x="2229960" y="2160590"/>
                  <a:pt x="2577613" y="2101535"/>
                </a:cubicBezTo>
                <a:cubicBezTo>
                  <a:pt x="2585732" y="2099630"/>
                  <a:pt x="2593730" y="2099630"/>
                  <a:pt x="2601252" y="2101207"/>
                </a:cubicBezTo>
                <a:close/>
                <a:moveTo>
                  <a:pt x="3141099" y="2094543"/>
                </a:moveTo>
                <a:cubicBezTo>
                  <a:pt x="3177271" y="2090740"/>
                  <a:pt x="3207731" y="2117360"/>
                  <a:pt x="3211539" y="2151589"/>
                </a:cubicBezTo>
                <a:cubicBezTo>
                  <a:pt x="3211539" y="2153490"/>
                  <a:pt x="3211539" y="2157291"/>
                  <a:pt x="3211539" y="2159195"/>
                </a:cubicBezTo>
                <a:cubicBezTo>
                  <a:pt x="3211539" y="2191522"/>
                  <a:pt x="3188693" y="2218141"/>
                  <a:pt x="3156330" y="2221944"/>
                </a:cubicBezTo>
                <a:cubicBezTo>
                  <a:pt x="3156330" y="2221944"/>
                  <a:pt x="3156330" y="2221944"/>
                  <a:pt x="2807941" y="2259975"/>
                </a:cubicBezTo>
                <a:cubicBezTo>
                  <a:pt x="2773673" y="2263775"/>
                  <a:pt x="2741309" y="2239058"/>
                  <a:pt x="2737501" y="2202929"/>
                </a:cubicBezTo>
                <a:cubicBezTo>
                  <a:pt x="2733694" y="2168703"/>
                  <a:pt x="2760347" y="2136375"/>
                  <a:pt x="2794615" y="2132570"/>
                </a:cubicBezTo>
                <a:cubicBezTo>
                  <a:pt x="2794615" y="2132570"/>
                  <a:pt x="2794615" y="2132570"/>
                  <a:pt x="3141099" y="2094543"/>
                </a:cubicBezTo>
                <a:close/>
                <a:moveTo>
                  <a:pt x="4011840" y="1849489"/>
                </a:moveTo>
                <a:lnTo>
                  <a:pt x="4011840" y="1962430"/>
                </a:lnTo>
                <a:lnTo>
                  <a:pt x="3952612" y="1978320"/>
                </a:lnTo>
                <a:cubicBezTo>
                  <a:pt x="3924032" y="1985985"/>
                  <a:pt x="3893552" y="1968738"/>
                  <a:pt x="3885932" y="1939991"/>
                </a:cubicBezTo>
                <a:cubicBezTo>
                  <a:pt x="3878314" y="1911245"/>
                  <a:pt x="3895458" y="1880581"/>
                  <a:pt x="3924032" y="1872916"/>
                </a:cubicBezTo>
                <a:cubicBezTo>
                  <a:pt x="3924032" y="1872916"/>
                  <a:pt x="3924032" y="1872916"/>
                  <a:pt x="4008210" y="1850457"/>
                </a:cubicBezTo>
                <a:close/>
                <a:moveTo>
                  <a:pt x="398962" y="1800917"/>
                </a:moveTo>
                <a:cubicBezTo>
                  <a:pt x="409432" y="1804747"/>
                  <a:pt x="418474" y="1812406"/>
                  <a:pt x="423233" y="1822936"/>
                </a:cubicBezTo>
                <a:cubicBezTo>
                  <a:pt x="425137" y="1828681"/>
                  <a:pt x="427041" y="1834425"/>
                  <a:pt x="427041" y="1840169"/>
                </a:cubicBezTo>
                <a:cubicBezTo>
                  <a:pt x="427041" y="1857402"/>
                  <a:pt x="417522" y="1872719"/>
                  <a:pt x="400390" y="1878463"/>
                </a:cubicBezTo>
                <a:cubicBezTo>
                  <a:pt x="400390" y="1878463"/>
                  <a:pt x="400390" y="1878463"/>
                  <a:pt x="61546" y="2033553"/>
                </a:cubicBezTo>
                <a:cubicBezTo>
                  <a:pt x="40607" y="2043126"/>
                  <a:pt x="15860" y="2033553"/>
                  <a:pt x="6342" y="2012491"/>
                </a:cubicBezTo>
                <a:cubicBezTo>
                  <a:pt x="-3177" y="1991430"/>
                  <a:pt x="6342" y="1964624"/>
                  <a:pt x="27281" y="1955050"/>
                </a:cubicBezTo>
                <a:cubicBezTo>
                  <a:pt x="27281" y="1955050"/>
                  <a:pt x="27281" y="1955050"/>
                  <a:pt x="366125" y="1801874"/>
                </a:cubicBezTo>
                <a:cubicBezTo>
                  <a:pt x="376595" y="1797088"/>
                  <a:pt x="388492" y="1797088"/>
                  <a:pt x="398962" y="1800917"/>
                </a:cubicBezTo>
                <a:close/>
                <a:moveTo>
                  <a:pt x="929266" y="1792140"/>
                </a:moveTo>
                <a:cubicBezTo>
                  <a:pt x="946908" y="1792497"/>
                  <a:pt x="963745" y="1803570"/>
                  <a:pt x="970909" y="1822144"/>
                </a:cubicBezTo>
                <a:cubicBezTo>
                  <a:pt x="974730" y="1827859"/>
                  <a:pt x="974730" y="1833574"/>
                  <a:pt x="974730" y="1839289"/>
                </a:cubicBezTo>
                <a:cubicBezTo>
                  <a:pt x="974730" y="1858339"/>
                  <a:pt x="963267" y="1875484"/>
                  <a:pt x="946072" y="1883104"/>
                </a:cubicBezTo>
                <a:cubicBezTo>
                  <a:pt x="946072" y="1883104"/>
                  <a:pt x="946072" y="1883104"/>
                  <a:pt x="604089" y="2014549"/>
                </a:cubicBezTo>
                <a:cubicBezTo>
                  <a:pt x="579253" y="2024073"/>
                  <a:pt x="552505" y="2012644"/>
                  <a:pt x="542953" y="1989784"/>
                </a:cubicBezTo>
                <a:cubicBezTo>
                  <a:pt x="533400" y="1965019"/>
                  <a:pt x="544863" y="1938349"/>
                  <a:pt x="569700" y="1928824"/>
                </a:cubicBezTo>
                <a:cubicBezTo>
                  <a:pt x="569700" y="1928824"/>
                  <a:pt x="569700" y="1928824"/>
                  <a:pt x="911683" y="1795473"/>
                </a:cubicBezTo>
                <a:cubicBezTo>
                  <a:pt x="917415" y="1793092"/>
                  <a:pt x="923385" y="1792021"/>
                  <a:pt x="929266" y="1792140"/>
                </a:cubicBezTo>
                <a:close/>
                <a:moveTo>
                  <a:pt x="1480544" y="1786402"/>
                </a:moveTo>
                <a:cubicBezTo>
                  <a:pt x="1500175" y="1787834"/>
                  <a:pt x="1517665" y="1801087"/>
                  <a:pt x="1523376" y="1819714"/>
                </a:cubicBezTo>
                <a:cubicBezTo>
                  <a:pt x="1525280" y="1825445"/>
                  <a:pt x="1527184" y="1831176"/>
                  <a:pt x="1527184" y="1836908"/>
                </a:cubicBezTo>
                <a:cubicBezTo>
                  <a:pt x="1527184" y="1857922"/>
                  <a:pt x="1513858" y="1877026"/>
                  <a:pt x="1492918" y="1884667"/>
                </a:cubicBezTo>
                <a:cubicBezTo>
                  <a:pt x="1492918" y="1884667"/>
                  <a:pt x="1492918" y="1884667"/>
                  <a:pt x="1150255" y="1997380"/>
                </a:cubicBezTo>
                <a:cubicBezTo>
                  <a:pt x="1123604" y="2005020"/>
                  <a:pt x="1095048" y="1991648"/>
                  <a:pt x="1087434" y="1964903"/>
                </a:cubicBezTo>
                <a:cubicBezTo>
                  <a:pt x="1077915" y="1938158"/>
                  <a:pt x="1093145" y="1909502"/>
                  <a:pt x="1119796" y="1901861"/>
                </a:cubicBezTo>
                <a:cubicBezTo>
                  <a:pt x="1119796" y="1901861"/>
                  <a:pt x="1119796" y="1901861"/>
                  <a:pt x="1460555" y="1789148"/>
                </a:cubicBezTo>
                <a:cubicBezTo>
                  <a:pt x="1467218" y="1786760"/>
                  <a:pt x="1474000" y="1785924"/>
                  <a:pt x="1480544" y="1786402"/>
                </a:cubicBezTo>
                <a:close/>
                <a:moveTo>
                  <a:pt x="2035632" y="1779621"/>
                </a:moveTo>
                <a:cubicBezTo>
                  <a:pt x="2056622" y="1782586"/>
                  <a:pt x="2075195" y="1797678"/>
                  <a:pt x="2080910" y="1819238"/>
                </a:cubicBezTo>
                <a:cubicBezTo>
                  <a:pt x="2082815" y="1824987"/>
                  <a:pt x="2082815" y="1828820"/>
                  <a:pt x="2082815" y="1834569"/>
                </a:cubicBezTo>
                <a:cubicBezTo>
                  <a:pt x="2082815" y="1857567"/>
                  <a:pt x="2065670" y="1878648"/>
                  <a:pt x="2042805" y="1886314"/>
                </a:cubicBezTo>
                <a:cubicBezTo>
                  <a:pt x="2042805" y="1886314"/>
                  <a:pt x="2042805" y="1886314"/>
                  <a:pt x="1699901" y="1978302"/>
                </a:cubicBezTo>
                <a:cubicBezTo>
                  <a:pt x="1669421" y="1985968"/>
                  <a:pt x="1640845" y="1968720"/>
                  <a:pt x="1633225" y="1939974"/>
                </a:cubicBezTo>
                <a:cubicBezTo>
                  <a:pt x="1625605" y="1911227"/>
                  <a:pt x="1642750" y="1880564"/>
                  <a:pt x="1671326" y="1872898"/>
                </a:cubicBezTo>
                <a:cubicBezTo>
                  <a:pt x="1671326" y="1872898"/>
                  <a:pt x="1671326" y="1872898"/>
                  <a:pt x="2014230" y="1780909"/>
                </a:cubicBezTo>
                <a:cubicBezTo>
                  <a:pt x="2021374" y="1778992"/>
                  <a:pt x="2028637" y="1778633"/>
                  <a:pt x="2035632" y="1779621"/>
                </a:cubicBezTo>
                <a:close/>
                <a:moveTo>
                  <a:pt x="3732186" y="1775473"/>
                </a:moveTo>
                <a:cubicBezTo>
                  <a:pt x="3753992" y="1779587"/>
                  <a:pt x="3772580" y="1797118"/>
                  <a:pt x="3778300" y="1820015"/>
                </a:cubicBezTo>
                <a:cubicBezTo>
                  <a:pt x="3778300" y="1823830"/>
                  <a:pt x="3778300" y="1827647"/>
                  <a:pt x="3778300" y="1831463"/>
                </a:cubicBezTo>
                <a:cubicBezTo>
                  <a:pt x="3778300" y="1858176"/>
                  <a:pt x="3759236" y="1882981"/>
                  <a:pt x="3732544" y="1888705"/>
                </a:cubicBezTo>
                <a:cubicBezTo>
                  <a:pt x="3732544" y="1888705"/>
                  <a:pt x="3732544" y="1888705"/>
                  <a:pt x="3387514" y="1959303"/>
                </a:cubicBezTo>
                <a:cubicBezTo>
                  <a:pt x="3357010" y="1966936"/>
                  <a:pt x="3326509" y="1945947"/>
                  <a:pt x="3318883" y="1915418"/>
                </a:cubicBezTo>
                <a:cubicBezTo>
                  <a:pt x="3313164" y="1882981"/>
                  <a:pt x="3332228" y="1852452"/>
                  <a:pt x="3364636" y="1846728"/>
                </a:cubicBezTo>
                <a:cubicBezTo>
                  <a:pt x="3364636" y="1846728"/>
                  <a:pt x="3364636" y="1846728"/>
                  <a:pt x="3709668" y="1776129"/>
                </a:cubicBezTo>
                <a:cubicBezTo>
                  <a:pt x="3717292" y="1774221"/>
                  <a:pt x="3724918" y="1774102"/>
                  <a:pt x="3732186" y="1775473"/>
                </a:cubicBezTo>
                <a:close/>
                <a:moveTo>
                  <a:pt x="2597096" y="1775454"/>
                </a:moveTo>
                <a:cubicBezTo>
                  <a:pt x="2618900" y="1779568"/>
                  <a:pt x="2637486" y="1797098"/>
                  <a:pt x="2643205" y="1819995"/>
                </a:cubicBezTo>
                <a:cubicBezTo>
                  <a:pt x="2643205" y="1823811"/>
                  <a:pt x="2643205" y="1827627"/>
                  <a:pt x="2643205" y="1831444"/>
                </a:cubicBezTo>
                <a:cubicBezTo>
                  <a:pt x="2643205" y="1858156"/>
                  <a:pt x="2624142" y="1882961"/>
                  <a:pt x="2597453" y="1888685"/>
                </a:cubicBezTo>
                <a:cubicBezTo>
                  <a:pt x="2597453" y="1888685"/>
                  <a:pt x="2597453" y="1888685"/>
                  <a:pt x="2252409" y="1959283"/>
                </a:cubicBezTo>
                <a:cubicBezTo>
                  <a:pt x="2221908" y="1966916"/>
                  <a:pt x="2191406" y="1945927"/>
                  <a:pt x="2183781" y="1915398"/>
                </a:cubicBezTo>
                <a:cubicBezTo>
                  <a:pt x="2178062" y="1882961"/>
                  <a:pt x="2197125" y="1852432"/>
                  <a:pt x="2229533" y="1846708"/>
                </a:cubicBezTo>
                <a:cubicBezTo>
                  <a:pt x="2229533" y="1846708"/>
                  <a:pt x="2229533" y="1846708"/>
                  <a:pt x="2574577" y="1776110"/>
                </a:cubicBezTo>
                <a:cubicBezTo>
                  <a:pt x="2582203" y="1774201"/>
                  <a:pt x="2589828" y="1774082"/>
                  <a:pt x="2597096" y="1775454"/>
                </a:cubicBezTo>
                <a:close/>
                <a:moveTo>
                  <a:pt x="3139439" y="1767852"/>
                </a:moveTo>
                <a:cubicBezTo>
                  <a:pt x="3173753" y="1762146"/>
                  <a:pt x="3204252" y="1786869"/>
                  <a:pt x="3209972" y="1819198"/>
                </a:cubicBezTo>
                <a:cubicBezTo>
                  <a:pt x="3209972" y="1823001"/>
                  <a:pt x="3209972" y="1826805"/>
                  <a:pt x="3209972" y="1828706"/>
                </a:cubicBezTo>
                <a:cubicBezTo>
                  <a:pt x="3209972" y="1859134"/>
                  <a:pt x="3187098" y="1885758"/>
                  <a:pt x="3156596" y="1889561"/>
                </a:cubicBezTo>
                <a:cubicBezTo>
                  <a:pt x="3156596" y="1889561"/>
                  <a:pt x="3156596" y="1889561"/>
                  <a:pt x="2811555" y="1939005"/>
                </a:cubicBezTo>
                <a:cubicBezTo>
                  <a:pt x="2777239" y="1944711"/>
                  <a:pt x="2746740" y="1921890"/>
                  <a:pt x="2741022" y="1887660"/>
                </a:cubicBezTo>
                <a:cubicBezTo>
                  <a:pt x="2735303" y="1853429"/>
                  <a:pt x="2760084" y="1823001"/>
                  <a:pt x="2792492" y="1819198"/>
                </a:cubicBezTo>
                <a:cubicBezTo>
                  <a:pt x="2792492" y="1819198"/>
                  <a:pt x="2792492" y="1819198"/>
                  <a:pt x="3139439" y="1767852"/>
                </a:cubicBezTo>
                <a:close/>
                <a:moveTo>
                  <a:pt x="4011840" y="1531095"/>
                </a:moveTo>
                <a:lnTo>
                  <a:pt x="4011840" y="1641028"/>
                </a:lnTo>
                <a:lnTo>
                  <a:pt x="3954252" y="1657678"/>
                </a:lnTo>
                <a:cubicBezTo>
                  <a:pt x="3925656" y="1665310"/>
                  <a:pt x="3897056" y="1650048"/>
                  <a:pt x="3887528" y="1621430"/>
                </a:cubicBezTo>
                <a:cubicBezTo>
                  <a:pt x="3879902" y="1594720"/>
                  <a:pt x="3897056" y="1564195"/>
                  <a:pt x="3923748" y="1556564"/>
                </a:cubicBezTo>
                <a:cubicBezTo>
                  <a:pt x="3923748" y="1556564"/>
                  <a:pt x="3923748" y="1556564"/>
                  <a:pt x="4007518" y="1532344"/>
                </a:cubicBezTo>
                <a:close/>
                <a:moveTo>
                  <a:pt x="398249" y="1477054"/>
                </a:moveTo>
                <a:cubicBezTo>
                  <a:pt x="408480" y="1480877"/>
                  <a:pt x="417523" y="1488527"/>
                  <a:pt x="423234" y="1499043"/>
                </a:cubicBezTo>
                <a:cubicBezTo>
                  <a:pt x="425137" y="1504780"/>
                  <a:pt x="427041" y="1510517"/>
                  <a:pt x="427041" y="1516254"/>
                </a:cubicBezTo>
                <a:cubicBezTo>
                  <a:pt x="427041" y="1533463"/>
                  <a:pt x="417523" y="1548761"/>
                  <a:pt x="402294" y="1556411"/>
                </a:cubicBezTo>
                <a:cubicBezTo>
                  <a:pt x="402294" y="1556411"/>
                  <a:pt x="402294" y="1556411"/>
                  <a:pt x="61547" y="1711302"/>
                </a:cubicBezTo>
                <a:cubicBezTo>
                  <a:pt x="40607" y="1720863"/>
                  <a:pt x="15860" y="1711302"/>
                  <a:pt x="6342" y="1690267"/>
                </a:cubicBezTo>
                <a:cubicBezTo>
                  <a:pt x="-3176" y="1669232"/>
                  <a:pt x="6342" y="1644373"/>
                  <a:pt x="27282" y="1632900"/>
                </a:cubicBezTo>
                <a:cubicBezTo>
                  <a:pt x="27282" y="1632900"/>
                  <a:pt x="27282" y="1632900"/>
                  <a:pt x="366125" y="1478010"/>
                </a:cubicBezTo>
                <a:cubicBezTo>
                  <a:pt x="376595" y="1473229"/>
                  <a:pt x="388017" y="1473229"/>
                  <a:pt x="398249" y="1477054"/>
                </a:cubicBezTo>
                <a:close/>
                <a:moveTo>
                  <a:pt x="929397" y="1468271"/>
                </a:moveTo>
                <a:cubicBezTo>
                  <a:pt x="946989" y="1468627"/>
                  <a:pt x="963777" y="1479671"/>
                  <a:pt x="970920" y="1498195"/>
                </a:cubicBezTo>
                <a:cubicBezTo>
                  <a:pt x="972826" y="1503895"/>
                  <a:pt x="974730" y="1509596"/>
                  <a:pt x="974730" y="1515296"/>
                </a:cubicBezTo>
                <a:cubicBezTo>
                  <a:pt x="974730" y="1532396"/>
                  <a:pt x="963300" y="1549496"/>
                  <a:pt x="946155" y="1557096"/>
                </a:cubicBezTo>
                <a:cubicBezTo>
                  <a:pt x="946155" y="1557096"/>
                  <a:pt x="946155" y="1557096"/>
                  <a:pt x="605156" y="1693897"/>
                </a:cubicBezTo>
                <a:cubicBezTo>
                  <a:pt x="580391" y="1703397"/>
                  <a:pt x="553721" y="1691997"/>
                  <a:pt x="546100" y="1667296"/>
                </a:cubicBezTo>
                <a:cubicBezTo>
                  <a:pt x="536576" y="1644496"/>
                  <a:pt x="548005" y="1617896"/>
                  <a:pt x="570866" y="1608396"/>
                </a:cubicBezTo>
                <a:cubicBezTo>
                  <a:pt x="570866" y="1608396"/>
                  <a:pt x="570866" y="1608396"/>
                  <a:pt x="911865" y="1471596"/>
                </a:cubicBezTo>
                <a:cubicBezTo>
                  <a:pt x="917580" y="1469221"/>
                  <a:pt x="923533" y="1468152"/>
                  <a:pt x="929397" y="1468271"/>
                </a:cubicBezTo>
                <a:close/>
                <a:moveTo>
                  <a:pt x="1479724" y="1461429"/>
                </a:moveTo>
                <a:cubicBezTo>
                  <a:pt x="1498668" y="1463125"/>
                  <a:pt x="1516541" y="1475270"/>
                  <a:pt x="1523689" y="1493843"/>
                </a:cubicBezTo>
                <a:cubicBezTo>
                  <a:pt x="1525596" y="1499559"/>
                  <a:pt x="1525596" y="1505273"/>
                  <a:pt x="1525596" y="1510988"/>
                </a:cubicBezTo>
                <a:cubicBezTo>
                  <a:pt x="1525596" y="1531943"/>
                  <a:pt x="1512251" y="1550994"/>
                  <a:pt x="1493187" y="1556708"/>
                </a:cubicBezTo>
                <a:cubicBezTo>
                  <a:pt x="1493187" y="1556708"/>
                  <a:pt x="1493187" y="1556708"/>
                  <a:pt x="1150039" y="1674820"/>
                </a:cubicBezTo>
                <a:cubicBezTo>
                  <a:pt x="1125256" y="1684344"/>
                  <a:pt x="1096660" y="1671009"/>
                  <a:pt x="1089034" y="1644339"/>
                </a:cubicBezTo>
                <a:cubicBezTo>
                  <a:pt x="1079503" y="1619574"/>
                  <a:pt x="1092847" y="1590999"/>
                  <a:pt x="1117630" y="1583379"/>
                </a:cubicBezTo>
                <a:cubicBezTo>
                  <a:pt x="1117630" y="1583379"/>
                  <a:pt x="1117630" y="1583379"/>
                  <a:pt x="1460779" y="1463363"/>
                </a:cubicBezTo>
                <a:cubicBezTo>
                  <a:pt x="1466975" y="1461459"/>
                  <a:pt x="1473409" y="1460863"/>
                  <a:pt x="1479724" y="1461429"/>
                </a:cubicBezTo>
                <a:close/>
                <a:moveTo>
                  <a:pt x="2034947" y="1454929"/>
                </a:moveTo>
                <a:cubicBezTo>
                  <a:pt x="2055091" y="1456986"/>
                  <a:pt x="2073625" y="1471652"/>
                  <a:pt x="2079328" y="1491683"/>
                </a:cubicBezTo>
                <a:cubicBezTo>
                  <a:pt x="2081229" y="1497407"/>
                  <a:pt x="2081229" y="1501222"/>
                  <a:pt x="2081229" y="1506945"/>
                </a:cubicBezTo>
                <a:cubicBezTo>
                  <a:pt x="2081229" y="1529839"/>
                  <a:pt x="2066021" y="1550825"/>
                  <a:pt x="2043204" y="1558456"/>
                </a:cubicBezTo>
                <a:cubicBezTo>
                  <a:pt x="2043204" y="1558456"/>
                  <a:pt x="2043204" y="1558456"/>
                  <a:pt x="1701020" y="1657662"/>
                </a:cubicBezTo>
                <a:cubicBezTo>
                  <a:pt x="1672505" y="1665293"/>
                  <a:pt x="1643989" y="1650030"/>
                  <a:pt x="1636385" y="1621413"/>
                </a:cubicBezTo>
                <a:cubicBezTo>
                  <a:pt x="1628781" y="1594704"/>
                  <a:pt x="1643989" y="1564179"/>
                  <a:pt x="1672505" y="1556548"/>
                </a:cubicBezTo>
                <a:cubicBezTo>
                  <a:pt x="1672505" y="1556548"/>
                  <a:pt x="1672505" y="1556548"/>
                  <a:pt x="2014689" y="1457343"/>
                </a:cubicBezTo>
                <a:cubicBezTo>
                  <a:pt x="2021343" y="1454958"/>
                  <a:pt x="2028234" y="1454243"/>
                  <a:pt x="2034947" y="1454929"/>
                </a:cubicBezTo>
                <a:close/>
                <a:moveTo>
                  <a:pt x="3729076" y="1449674"/>
                </a:moveTo>
                <a:cubicBezTo>
                  <a:pt x="3750748" y="1453146"/>
                  <a:pt x="3768942" y="1469169"/>
                  <a:pt x="3773220" y="1490533"/>
                </a:cubicBezTo>
                <a:cubicBezTo>
                  <a:pt x="3775124" y="1496230"/>
                  <a:pt x="3775124" y="1500029"/>
                  <a:pt x="3775124" y="1503826"/>
                </a:cubicBezTo>
                <a:cubicBezTo>
                  <a:pt x="3775124" y="1528514"/>
                  <a:pt x="3758002" y="1553203"/>
                  <a:pt x="3733268" y="1558900"/>
                </a:cubicBezTo>
                <a:cubicBezTo>
                  <a:pt x="3733268" y="1558900"/>
                  <a:pt x="3733268" y="1558900"/>
                  <a:pt x="3388949" y="1638661"/>
                </a:cubicBezTo>
                <a:cubicBezTo>
                  <a:pt x="3358507" y="1646258"/>
                  <a:pt x="3328069" y="1627267"/>
                  <a:pt x="3322361" y="1598781"/>
                </a:cubicBezTo>
                <a:cubicBezTo>
                  <a:pt x="3314753" y="1568395"/>
                  <a:pt x="3333778" y="1538010"/>
                  <a:pt x="3362311" y="1530413"/>
                </a:cubicBezTo>
                <a:cubicBezTo>
                  <a:pt x="3362311" y="1530413"/>
                  <a:pt x="3362311" y="1530413"/>
                  <a:pt x="3706634" y="1450653"/>
                </a:cubicBezTo>
                <a:cubicBezTo>
                  <a:pt x="3714244" y="1448755"/>
                  <a:pt x="3721852" y="1448517"/>
                  <a:pt x="3729076" y="1449674"/>
                </a:cubicBezTo>
                <a:close/>
                <a:moveTo>
                  <a:pt x="2595306" y="1449656"/>
                </a:moveTo>
                <a:cubicBezTo>
                  <a:pt x="2616530" y="1453128"/>
                  <a:pt x="2634008" y="1469151"/>
                  <a:pt x="2639715" y="1490515"/>
                </a:cubicBezTo>
                <a:cubicBezTo>
                  <a:pt x="2641617" y="1496212"/>
                  <a:pt x="2641617" y="1500010"/>
                  <a:pt x="2641617" y="1503809"/>
                </a:cubicBezTo>
                <a:cubicBezTo>
                  <a:pt x="2641617" y="1528497"/>
                  <a:pt x="2624496" y="1553184"/>
                  <a:pt x="2597862" y="1558882"/>
                </a:cubicBezTo>
                <a:cubicBezTo>
                  <a:pt x="2597862" y="1558882"/>
                  <a:pt x="2597862" y="1558882"/>
                  <a:pt x="2255431" y="1638643"/>
                </a:cubicBezTo>
                <a:cubicBezTo>
                  <a:pt x="2224992" y="1646239"/>
                  <a:pt x="2194554" y="1627248"/>
                  <a:pt x="2188847" y="1598762"/>
                </a:cubicBezTo>
                <a:cubicBezTo>
                  <a:pt x="2181237" y="1568377"/>
                  <a:pt x="2200261" y="1537992"/>
                  <a:pt x="2228797" y="1530396"/>
                </a:cubicBezTo>
                <a:cubicBezTo>
                  <a:pt x="2228797" y="1530396"/>
                  <a:pt x="2228797" y="1530396"/>
                  <a:pt x="2573131" y="1450635"/>
                </a:cubicBezTo>
                <a:cubicBezTo>
                  <a:pt x="2580740" y="1448736"/>
                  <a:pt x="2588232" y="1448498"/>
                  <a:pt x="2595306" y="1449656"/>
                </a:cubicBezTo>
                <a:close/>
                <a:moveTo>
                  <a:pt x="3137758" y="1442422"/>
                </a:moveTo>
                <a:cubicBezTo>
                  <a:pt x="3170208" y="1436707"/>
                  <a:pt x="3200750" y="1457662"/>
                  <a:pt x="3206474" y="1490047"/>
                </a:cubicBezTo>
                <a:cubicBezTo>
                  <a:pt x="3206474" y="1493857"/>
                  <a:pt x="3208386" y="1497666"/>
                  <a:pt x="3208386" y="1499571"/>
                </a:cubicBezTo>
                <a:cubicBezTo>
                  <a:pt x="3208386" y="1528146"/>
                  <a:pt x="3187387" y="1552912"/>
                  <a:pt x="3158756" y="1558627"/>
                </a:cubicBezTo>
                <a:cubicBezTo>
                  <a:pt x="3158756" y="1558627"/>
                  <a:pt x="3158756" y="1558627"/>
                  <a:pt x="2813246" y="1621493"/>
                </a:cubicBezTo>
                <a:cubicBezTo>
                  <a:pt x="2780793" y="1627208"/>
                  <a:pt x="2750254" y="1606252"/>
                  <a:pt x="2744526" y="1573867"/>
                </a:cubicBezTo>
                <a:cubicBezTo>
                  <a:pt x="2736890" y="1541481"/>
                  <a:pt x="2759798" y="1511001"/>
                  <a:pt x="2792249" y="1505286"/>
                </a:cubicBezTo>
                <a:cubicBezTo>
                  <a:pt x="2792249" y="1505286"/>
                  <a:pt x="2792249" y="1505286"/>
                  <a:pt x="3137758" y="1442422"/>
                </a:cubicBezTo>
                <a:close/>
                <a:moveTo>
                  <a:pt x="4011840" y="1212485"/>
                </a:moveTo>
                <a:lnTo>
                  <a:pt x="4011840" y="1319140"/>
                </a:lnTo>
                <a:lnTo>
                  <a:pt x="3955366" y="1337024"/>
                </a:lnTo>
                <a:cubicBezTo>
                  <a:pt x="3928732" y="1344633"/>
                  <a:pt x="3900198" y="1329414"/>
                  <a:pt x="3890684" y="1302782"/>
                </a:cubicBezTo>
                <a:cubicBezTo>
                  <a:pt x="3883076" y="1276150"/>
                  <a:pt x="3898296" y="1247615"/>
                  <a:pt x="3924928" y="1240007"/>
                </a:cubicBezTo>
                <a:cubicBezTo>
                  <a:pt x="3924928" y="1240007"/>
                  <a:pt x="3924928" y="1240007"/>
                  <a:pt x="4008522" y="1213536"/>
                </a:cubicBezTo>
                <a:close/>
                <a:moveTo>
                  <a:pt x="398307" y="1155612"/>
                </a:moveTo>
                <a:cubicBezTo>
                  <a:pt x="408309" y="1159175"/>
                  <a:pt x="416881" y="1166776"/>
                  <a:pt x="421644" y="1178178"/>
                </a:cubicBezTo>
                <a:cubicBezTo>
                  <a:pt x="425454" y="1183878"/>
                  <a:pt x="425454" y="1189578"/>
                  <a:pt x="425454" y="1195279"/>
                </a:cubicBezTo>
                <a:cubicBezTo>
                  <a:pt x="425454" y="1210481"/>
                  <a:pt x="417834" y="1225680"/>
                  <a:pt x="402594" y="1233281"/>
                </a:cubicBezTo>
                <a:cubicBezTo>
                  <a:pt x="402594" y="1233281"/>
                  <a:pt x="402594" y="1233281"/>
                  <a:pt x="61595" y="1389098"/>
                </a:cubicBezTo>
                <a:cubicBezTo>
                  <a:pt x="40639" y="1398599"/>
                  <a:pt x="15874" y="1389098"/>
                  <a:pt x="6349" y="1368196"/>
                </a:cubicBezTo>
                <a:cubicBezTo>
                  <a:pt x="-3176" y="1347292"/>
                  <a:pt x="6349" y="1322591"/>
                  <a:pt x="27304" y="1313089"/>
                </a:cubicBezTo>
                <a:cubicBezTo>
                  <a:pt x="27304" y="1313089"/>
                  <a:pt x="27304" y="1313089"/>
                  <a:pt x="366398" y="1157275"/>
                </a:cubicBezTo>
                <a:cubicBezTo>
                  <a:pt x="376876" y="1152524"/>
                  <a:pt x="388306" y="1152049"/>
                  <a:pt x="398307" y="1155612"/>
                </a:cubicBezTo>
                <a:close/>
                <a:moveTo>
                  <a:pt x="929385" y="1144384"/>
                </a:moveTo>
                <a:cubicBezTo>
                  <a:pt x="946453" y="1144651"/>
                  <a:pt x="962181" y="1155325"/>
                  <a:pt x="969330" y="1172402"/>
                </a:cubicBezTo>
                <a:cubicBezTo>
                  <a:pt x="973143" y="1178096"/>
                  <a:pt x="973143" y="1183789"/>
                  <a:pt x="973143" y="1189481"/>
                </a:cubicBezTo>
                <a:cubicBezTo>
                  <a:pt x="973143" y="1208456"/>
                  <a:pt x="963611" y="1225533"/>
                  <a:pt x="946453" y="1231226"/>
                </a:cubicBezTo>
                <a:cubicBezTo>
                  <a:pt x="946453" y="1231226"/>
                  <a:pt x="946453" y="1231226"/>
                  <a:pt x="605206" y="1371647"/>
                </a:cubicBezTo>
                <a:cubicBezTo>
                  <a:pt x="582329" y="1381135"/>
                  <a:pt x="555640" y="1369750"/>
                  <a:pt x="546107" y="1346978"/>
                </a:cubicBezTo>
                <a:cubicBezTo>
                  <a:pt x="536576" y="1324207"/>
                  <a:pt x="548014" y="1297641"/>
                  <a:pt x="570891" y="1288153"/>
                </a:cubicBezTo>
                <a:cubicBezTo>
                  <a:pt x="570891" y="1288153"/>
                  <a:pt x="570891" y="1288153"/>
                  <a:pt x="912138" y="1147734"/>
                </a:cubicBezTo>
                <a:cubicBezTo>
                  <a:pt x="917857" y="1145362"/>
                  <a:pt x="923695" y="1144295"/>
                  <a:pt x="929385" y="1144384"/>
                </a:cubicBezTo>
                <a:close/>
                <a:moveTo>
                  <a:pt x="1478252" y="1136777"/>
                </a:moveTo>
                <a:cubicBezTo>
                  <a:pt x="1496621" y="1137668"/>
                  <a:pt x="1513385" y="1149779"/>
                  <a:pt x="1520519" y="1168302"/>
                </a:cubicBezTo>
                <a:cubicBezTo>
                  <a:pt x="1522421" y="1174002"/>
                  <a:pt x="1522421" y="1179701"/>
                  <a:pt x="1522421" y="1185401"/>
                </a:cubicBezTo>
                <a:cubicBezTo>
                  <a:pt x="1522421" y="1204399"/>
                  <a:pt x="1511007" y="1223396"/>
                  <a:pt x="1491984" y="1230995"/>
                </a:cubicBezTo>
                <a:cubicBezTo>
                  <a:pt x="1491984" y="1230995"/>
                  <a:pt x="1491984" y="1230995"/>
                  <a:pt x="1151475" y="1354481"/>
                </a:cubicBezTo>
                <a:cubicBezTo>
                  <a:pt x="1124843" y="1362081"/>
                  <a:pt x="1098211" y="1350681"/>
                  <a:pt x="1088700" y="1325984"/>
                </a:cubicBezTo>
                <a:cubicBezTo>
                  <a:pt x="1081091" y="1301286"/>
                  <a:pt x="1092504" y="1272790"/>
                  <a:pt x="1117234" y="1263291"/>
                </a:cubicBezTo>
                <a:cubicBezTo>
                  <a:pt x="1117234" y="1263291"/>
                  <a:pt x="1117234" y="1263291"/>
                  <a:pt x="1459646" y="1139805"/>
                </a:cubicBezTo>
                <a:cubicBezTo>
                  <a:pt x="1465828" y="1137431"/>
                  <a:pt x="1472129" y="1136480"/>
                  <a:pt x="1478252" y="1136777"/>
                </a:cubicBezTo>
                <a:close/>
                <a:moveTo>
                  <a:pt x="2033027" y="1129690"/>
                </a:moveTo>
                <a:cubicBezTo>
                  <a:pt x="2052752" y="1131563"/>
                  <a:pt x="2070599" y="1144403"/>
                  <a:pt x="2077738" y="1165803"/>
                </a:cubicBezTo>
                <a:cubicBezTo>
                  <a:pt x="2079641" y="1169608"/>
                  <a:pt x="2079641" y="1175315"/>
                  <a:pt x="2079641" y="1181022"/>
                </a:cubicBezTo>
                <a:cubicBezTo>
                  <a:pt x="2079641" y="1201947"/>
                  <a:pt x="2066315" y="1222871"/>
                  <a:pt x="2043467" y="1228577"/>
                </a:cubicBezTo>
                <a:cubicBezTo>
                  <a:pt x="2043467" y="1228577"/>
                  <a:pt x="2043467" y="1228577"/>
                  <a:pt x="1702708" y="1337007"/>
                </a:cubicBezTo>
                <a:cubicBezTo>
                  <a:pt x="1674153" y="1344616"/>
                  <a:pt x="1645598" y="1329398"/>
                  <a:pt x="1637983" y="1302766"/>
                </a:cubicBezTo>
                <a:cubicBezTo>
                  <a:pt x="1630368" y="1276134"/>
                  <a:pt x="1643694" y="1247600"/>
                  <a:pt x="1670346" y="1239991"/>
                </a:cubicBezTo>
                <a:cubicBezTo>
                  <a:pt x="1670346" y="1239991"/>
                  <a:pt x="1670346" y="1239991"/>
                  <a:pt x="2013008" y="1131563"/>
                </a:cubicBezTo>
                <a:cubicBezTo>
                  <a:pt x="2019671" y="1129660"/>
                  <a:pt x="2026453" y="1129066"/>
                  <a:pt x="2033027" y="1129690"/>
                </a:cubicBezTo>
                <a:close/>
                <a:moveTo>
                  <a:pt x="3726352" y="1122412"/>
                </a:moveTo>
                <a:cubicBezTo>
                  <a:pt x="3747340" y="1125377"/>
                  <a:pt x="3765914" y="1140469"/>
                  <a:pt x="3771630" y="1162029"/>
                </a:cubicBezTo>
                <a:cubicBezTo>
                  <a:pt x="3773534" y="1165862"/>
                  <a:pt x="3773534" y="1171611"/>
                  <a:pt x="3773534" y="1175444"/>
                </a:cubicBezTo>
                <a:cubicBezTo>
                  <a:pt x="3773534" y="1200359"/>
                  <a:pt x="3758296" y="1221437"/>
                  <a:pt x="3733528" y="1229103"/>
                </a:cubicBezTo>
                <a:cubicBezTo>
                  <a:pt x="3733528" y="1229103"/>
                  <a:pt x="3733528" y="1229103"/>
                  <a:pt x="3390637" y="1321092"/>
                </a:cubicBezTo>
                <a:cubicBezTo>
                  <a:pt x="3362061" y="1328758"/>
                  <a:pt x="3331580" y="1311508"/>
                  <a:pt x="3323960" y="1282761"/>
                </a:cubicBezTo>
                <a:cubicBezTo>
                  <a:pt x="3316339" y="1254015"/>
                  <a:pt x="3333484" y="1223355"/>
                  <a:pt x="3362061" y="1215690"/>
                </a:cubicBezTo>
                <a:cubicBezTo>
                  <a:pt x="3362061" y="1215690"/>
                  <a:pt x="3362061" y="1215690"/>
                  <a:pt x="3704952" y="1123700"/>
                </a:cubicBezTo>
                <a:cubicBezTo>
                  <a:pt x="3712096" y="1121784"/>
                  <a:pt x="3719358" y="1121424"/>
                  <a:pt x="3726352" y="1122412"/>
                </a:cubicBezTo>
                <a:close/>
                <a:moveTo>
                  <a:pt x="2592851" y="1122392"/>
                </a:moveTo>
                <a:cubicBezTo>
                  <a:pt x="2613837" y="1125356"/>
                  <a:pt x="2632410" y="1140449"/>
                  <a:pt x="2638126" y="1162008"/>
                </a:cubicBezTo>
                <a:cubicBezTo>
                  <a:pt x="2640030" y="1165841"/>
                  <a:pt x="2640030" y="1171591"/>
                  <a:pt x="2640030" y="1175424"/>
                </a:cubicBezTo>
                <a:cubicBezTo>
                  <a:pt x="2640030" y="1200338"/>
                  <a:pt x="2622885" y="1221418"/>
                  <a:pt x="2600026" y="1229084"/>
                </a:cubicBezTo>
                <a:cubicBezTo>
                  <a:pt x="2600026" y="1229084"/>
                  <a:pt x="2600026" y="1229084"/>
                  <a:pt x="2257121" y="1321073"/>
                </a:cubicBezTo>
                <a:cubicBezTo>
                  <a:pt x="2226641" y="1328739"/>
                  <a:pt x="2198066" y="1311491"/>
                  <a:pt x="2190445" y="1282744"/>
                </a:cubicBezTo>
                <a:cubicBezTo>
                  <a:pt x="2182826" y="1253997"/>
                  <a:pt x="2199971" y="1223335"/>
                  <a:pt x="2228546" y="1215669"/>
                </a:cubicBezTo>
                <a:cubicBezTo>
                  <a:pt x="2228546" y="1215669"/>
                  <a:pt x="2228546" y="1215669"/>
                  <a:pt x="2571449" y="1123680"/>
                </a:cubicBezTo>
                <a:cubicBezTo>
                  <a:pt x="2578593" y="1121763"/>
                  <a:pt x="2585856" y="1121404"/>
                  <a:pt x="2592851" y="1122392"/>
                </a:cubicBezTo>
                <a:close/>
                <a:moveTo>
                  <a:pt x="3157611" y="1116352"/>
                </a:moveTo>
                <a:cubicBezTo>
                  <a:pt x="3179267" y="1119924"/>
                  <a:pt x="3197446" y="1136354"/>
                  <a:pt x="3201722" y="1159215"/>
                </a:cubicBezTo>
                <a:cubicBezTo>
                  <a:pt x="3203624" y="1163024"/>
                  <a:pt x="3203624" y="1168739"/>
                  <a:pt x="3203624" y="1172550"/>
                </a:cubicBezTo>
                <a:cubicBezTo>
                  <a:pt x="3203624" y="1197316"/>
                  <a:pt x="3186515" y="1222078"/>
                  <a:pt x="3159900" y="1227794"/>
                </a:cubicBezTo>
                <a:cubicBezTo>
                  <a:pt x="3159900" y="1227794"/>
                  <a:pt x="3159900" y="1227794"/>
                  <a:pt x="2815797" y="1303992"/>
                </a:cubicBezTo>
                <a:cubicBezTo>
                  <a:pt x="2785375" y="1309707"/>
                  <a:pt x="2754960" y="1290657"/>
                  <a:pt x="2747356" y="1260177"/>
                </a:cubicBezTo>
                <a:cubicBezTo>
                  <a:pt x="2741654" y="1229698"/>
                  <a:pt x="2760664" y="1199220"/>
                  <a:pt x="2791085" y="1191600"/>
                </a:cubicBezTo>
                <a:cubicBezTo>
                  <a:pt x="2791085" y="1191600"/>
                  <a:pt x="2791085" y="1191600"/>
                  <a:pt x="3135184" y="1117304"/>
                </a:cubicBezTo>
                <a:cubicBezTo>
                  <a:pt x="3142789" y="1115399"/>
                  <a:pt x="3150393" y="1115161"/>
                  <a:pt x="3157611" y="1116352"/>
                </a:cubicBezTo>
                <a:close/>
                <a:moveTo>
                  <a:pt x="4011840" y="892779"/>
                </a:moveTo>
                <a:lnTo>
                  <a:pt x="4011840" y="999216"/>
                </a:lnTo>
                <a:lnTo>
                  <a:pt x="3957056" y="1017912"/>
                </a:lnTo>
                <a:cubicBezTo>
                  <a:pt x="3930386" y="1025543"/>
                  <a:pt x="3901808" y="1012189"/>
                  <a:pt x="3894188" y="985481"/>
                </a:cubicBezTo>
                <a:cubicBezTo>
                  <a:pt x="3884664" y="960682"/>
                  <a:pt x="3898000" y="932067"/>
                  <a:pt x="3924668" y="922528"/>
                </a:cubicBezTo>
                <a:cubicBezTo>
                  <a:pt x="3924668" y="922528"/>
                  <a:pt x="3924668" y="922528"/>
                  <a:pt x="4007916" y="894118"/>
                </a:cubicBezTo>
                <a:close/>
                <a:moveTo>
                  <a:pt x="398307" y="832461"/>
                </a:moveTo>
                <a:cubicBezTo>
                  <a:pt x="408309" y="836256"/>
                  <a:pt x="416881" y="843848"/>
                  <a:pt x="421644" y="854286"/>
                </a:cubicBezTo>
                <a:cubicBezTo>
                  <a:pt x="425454" y="859979"/>
                  <a:pt x="425454" y="865673"/>
                  <a:pt x="425454" y="871366"/>
                </a:cubicBezTo>
                <a:cubicBezTo>
                  <a:pt x="425454" y="886549"/>
                  <a:pt x="417834" y="901732"/>
                  <a:pt x="400689" y="909323"/>
                </a:cubicBezTo>
                <a:cubicBezTo>
                  <a:pt x="400689" y="909323"/>
                  <a:pt x="400689" y="909323"/>
                  <a:pt x="61595" y="1066847"/>
                </a:cubicBezTo>
                <a:cubicBezTo>
                  <a:pt x="40639" y="1076336"/>
                  <a:pt x="15874" y="1066847"/>
                  <a:pt x="6349" y="1045967"/>
                </a:cubicBezTo>
                <a:cubicBezTo>
                  <a:pt x="-3176" y="1025091"/>
                  <a:pt x="6349" y="1000419"/>
                  <a:pt x="27304" y="990930"/>
                </a:cubicBezTo>
                <a:cubicBezTo>
                  <a:pt x="27304" y="990930"/>
                  <a:pt x="27304" y="990930"/>
                  <a:pt x="366398" y="833409"/>
                </a:cubicBezTo>
                <a:cubicBezTo>
                  <a:pt x="376876" y="828665"/>
                  <a:pt x="388306" y="828665"/>
                  <a:pt x="398307" y="832461"/>
                </a:cubicBezTo>
                <a:close/>
                <a:moveTo>
                  <a:pt x="944785" y="824757"/>
                </a:moveTo>
                <a:cubicBezTo>
                  <a:pt x="955509" y="828790"/>
                  <a:pt x="964564" y="836854"/>
                  <a:pt x="969330" y="848240"/>
                </a:cubicBezTo>
                <a:cubicBezTo>
                  <a:pt x="971236" y="853932"/>
                  <a:pt x="973143" y="859625"/>
                  <a:pt x="973143" y="865318"/>
                </a:cubicBezTo>
                <a:cubicBezTo>
                  <a:pt x="973143" y="882396"/>
                  <a:pt x="963611" y="899474"/>
                  <a:pt x="946453" y="907064"/>
                </a:cubicBezTo>
                <a:cubicBezTo>
                  <a:pt x="946453" y="907064"/>
                  <a:pt x="946453" y="907064"/>
                  <a:pt x="605206" y="1049381"/>
                </a:cubicBezTo>
                <a:cubicBezTo>
                  <a:pt x="582329" y="1058872"/>
                  <a:pt x="555640" y="1047484"/>
                  <a:pt x="546108" y="1024713"/>
                </a:cubicBezTo>
                <a:cubicBezTo>
                  <a:pt x="536576" y="1003840"/>
                  <a:pt x="548014" y="977274"/>
                  <a:pt x="570891" y="967786"/>
                </a:cubicBezTo>
                <a:cubicBezTo>
                  <a:pt x="570891" y="967786"/>
                  <a:pt x="570891" y="967786"/>
                  <a:pt x="910231" y="825469"/>
                </a:cubicBezTo>
                <a:cubicBezTo>
                  <a:pt x="921670" y="820725"/>
                  <a:pt x="934061" y="820725"/>
                  <a:pt x="944785" y="824757"/>
                </a:cubicBezTo>
                <a:close/>
                <a:moveTo>
                  <a:pt x="1476350" y="812922"/>
                </a:moveTo>
                <a:cubicBezTo>
                  <a:pt x="1494719" y="813727"/>
                  <a:pt x="1511483" y="825530"/>
                  <a:pt x="1518617" y="842698"/>
                </a:cubicBezTo>
                <a:cubicBezTo>
                  <a:pt x="1520519" y="848421"/>
                  <a:pt x="1522421" y="854143"/>
                  <a:pt x="1522421" y="859866"/>
                </a:cubicBezTo>
                <a:cubicBezTo>
                  <a:pt x="1522421" y="878941"/>
                  <a:pt x="1511008" y="898017"/>
                  <a:pt x="1491985" y="903740"/>
                </a:cubicBezTo>
                <a:cubicBezTo>
                  <a:pt x="1491985" y="903740"/>
                  <a:pt x="1491985" y="903740"/>
                  <a:pt x="1151476" y="1033454"/>
                </a:cubicBezTo>
                <a:cubicBezTo>
                  <a:pt x="1126746" y="1042992"/>
                  <a:pt x="1100114" y="1031547"/>
                  <a:pt x="1090602" y="1006748"/>
                </a:cubicBezTo>
                <a:cubicBezTo>
                  <a:pt x="1081091" y="981950"/>
                  <a:pt x="1094407" y="955244"/>
                  <a:pt x="1117234" y="945706"/>
                </a:cubicBezTo>
                <a:cubicBezTo>
                  <a:pt x="1117234" y="945706"/>
                  <a:pt x="1117234" y="945706"/>
                  <a:pt x="1457743" y="815992"/>
                </a:cubicBezTo>
                <a:cubicBezTo>
                  <a:pt x="1463926" y="813608"/>
                  <a:pt x="1470227" y="812654"/>
                  <a:pt x="1476350" y="812922"/>
                </a:cubicBezTo>
                <a:close/>
                <a:moveTo>
                  <a:pt x="2032209" y="804237"/>
                </a:moveTo>
                <a:cubicBezTo>
                  <a:pt x="2051146" y="806026"/>
                  <a:pt x="2069005" y="818545"/>
                  <a:pt x="2076148" y="838575"/>
                </a:cubicBezTo>
                <a:cubicBezTo>
                  <a:pt x="2078054" y="844298"/>
                  <a:pt x="2078054" y="848114"/>
                  <a:pt x="2078054" y="853837"/>
                </a:cubicBezTo>
                <a:cubicBezTo>
                  <a:pt x="2078054" y="874821"/>
                  <a:pt x="2064718" y="893898"/>
                  <a:pt x="2043759" y="901528"/>
                </a:cubicBezTo>
                <a:cubicBezTo>
                  <a:pt x="2043759" y="901528"/>
                  <a:pt x="2043759" y="901528"/>
                  <a:pt x="1702759" y="1017896"/>
                </a:cubicBezTo>
                <a:cubicBezTo>
                  <a:pt x="1676089" y="1025527"/>
                  <a:pt x="1649419" y="1012173"/>
                  <a:pt x="1639894" y="985466"/>
                </a:cubicBezTo>
                <a:cubicBezTo>
                  <a:pt x="1630368" y="960666"/>
                  <a:pt x="1645609" y="932051"/>
                  <a:pt x="1670374" y="922513"/>
                </a:cubicBezTo>
                <a:cubicBezTo>
                  <a:pt x="1670374" y="922513"/>
                  <a:pt x="1670374" y="922513"/>
                  <a:pt x="2013278" y="806145"/>
                </a:cubicBezTo>
                <a:cubicBezTo>
                  <a:pt x="2019470" y="804237"/>
                  <a:pt x="2025899" y="803641"/>
                  <a:pt x="2032209" y="804237"/>
                </a:cubicBezTo>
                <a:close/>
                <a:moveTo>
                  <a:pt x="3725236" y="796615"/>
                </a:moveTo>
                <a:cubicBezTo>
                  <a:pt x="3745002" y="798940"/>
                  <a:pt x="3762884" y="812533"/>
                  <a:pt x="3770040" y="832564"/>
                </a:cubicBezTo>
                <a:cubicBezTo>
                  <a:pt x="3770040" y="838288"/>
                  <a:pt x="3771948" y="844011"/>
                  <a:pt x="3771948" y="847826"/>
                </a:cubicBezTo>
                <a:cubicBezTo>
                  <a:pt x="3771948" y="870720"/>
                  <a:pt x="3756688" y="891705"/>
                  <a:pt x="3733792" y="897429"/>
                </a:cubicBezTo>
                <a:cubicBezTo>
                  <a:pt x="3733792" y="897429"/>
                  <a:pt x="3733792" y="897429"/>
                  <a:pt x="3390423" y="1000449"/>
                </a:cubicBezTo>
                <a:cubicBezTo>
                  <a:pt x="3363713" y="1008080"/>
                  <a:pt x="3335097" y="992818"/>
                  <a:pt x="3325558" y="964201"/>
                </a:cubicBezTo>
                <a:cubicBezTo>
                  <a:pt x="3317928" y="937492"/>
                  <a:pt x="3333189" y="908876"/>
                  <a:pt x="3361806" y="899337"/>
                </a:cubicBezTo>
                <a:cubicBezTo>
                  <a:pt x="3361806" y="899337"/>
                  <a:pt x="3361806" y="899337"/>
                  <a:pt x="3705176" y="798224"/>
                </a:cubicBezTo>
                <a:cubicBezTo>
                  <a:pt x="3711854" y="796316"/>
                  <a:pt x="3718648" y="795840"/>
                  <a:pt x="3725236" y="796615"/>
                </a:cubicBezTo>
                <a:close/>
                <a:moveTo>
                  <a:pt x="2591734" y="796597"/>
                </a:moveTo>
                <a:cubicBezTo>
                  <a:pt x="2611497" y="798922"/>
                  <a:pt x="2629381" y="812515"/>
                  <a:pt x="2636535" y="832546"/>
                </a:cubicBezTo>
                <a:cubicBezTo>
                  <a:pt x="2636535" y="838270"/>
                  <a:pt x="2638443" y="843993"/>
                  <a:pt x="2638443" y="847809"/>
                </a:cubicBezTo>
                <a:cubicBezTo>
                  <a:pt x="2638443" y="870702"/>
                  <a:pt x="2623182" y="891688"/>
                  <a:pt x="2600289" y="897411"/>
                </a:cubicBezTo>
                <a:cubicBezTo>
                  <a:pt x="2600289" y="897411"/>
                  <a:pt x="2600289" y="897411"/>
                  <a:pt x="2256905" y="1000432"/>
                </a:cubicBezTo>
                <a:cubicBezTo>
                  <a:pt x="2230197" y="1008063"/>
                  <a:pt x="2201582" y="992801"/>
                  <a:pt x="2192044" y="964184"/>
                </a:cubicBezTo>
                <a:cubicBezTo>
                  <a:pt x="2184413" y="937475"/>
                  <a:pt x="2199674" y="908858"/>
                  <a:pt x="2228290" y="899319"/>
                </a:cubicBezTo>
                <a:cubicBezTo>
                  <a:pt x="2228290" y="899319"/>
                  <a:pt x="2228290" y="899319"/>
                  <a:pt x="2571674" y="798206"/>
                </a:cubicBezTo>
                <a:cubicBezTo>
                  <a:pt x="2578350" y="796299"/>
                  <a:pt x="2585147" y="795822"/>
                  <a:pt x="2591734" y="796597"/>
                </a:cubicBezTo>
                <a:close/>
                <a:moveTo>
                  <a:pt x="3154890" y="787706"/>
                </a:moveTo>
                <a:cubicBezTo>
                  <a:pt x="3175860" y="791188"/>
                  <a:pt x="3194420" y="807261"/>
                  <a:pt x="3200131" y="828693"/>
                </a:cubicBezTo>
                <a:cubicBezTo>
                  <a:pt x="3200131" y="832503"/>
                  <a:pt x="3202035" y="838218"/>
                  <a:pt x="3202035" y="842028"/>
                </a:cubicBezTo>
                <a:cubicBezTo>
                  <a:pt x="3202035" y="866793"/>
                  <a:pt x="3184903" y="887747"/>
                  <a:pt x="3160155" y="895367"/>
                </a:cubicBezTo>
                <a:cubicBezTo>
                  <a:pt x="3160155" y="895367"/>
                  <a:pt x="3160155" y="895367"/>
                  <a:pt x="2817485" y="982997"/>
                </a:cubicBezTo>
                <a:cubicBezTo>
                  <a:pt x="2787025" y="990617"/>
                  <a:pt x="2758469" y="973472"/>
                  <a:pt x="2750856" y="944898"/>
                </a:cubicBezTo>
                <a:cubicBezTo>
                  <a:pt x="2743240" y="914417"/>
                  <a:pt x="2760373" y="885843"/>
                  <a:pt x="2788932" y="878223"/>
                </a:cubicBezTo>
                <a:cubicBezTo>
                  <a:pt x="2788932" y="878223"/>
                  <a:pt x="2788932" y="878223"/>
                  <a:pt x="3133502" y="788688"/>
                </a:cubicBezTo>
                <a:cubicBezTo>
                  <a:pt x="3140640" y="786783"/>
                  <a:pt x="3147899" y="786545"/>
                  <a:pt x="3154890" y="787706"/>
                </a:cubicBezTo>
                <a:close/>
                <a:moveTo>
                  <a:pt x="4011840" y="574461"/>
                </a:moveTo>
                <a:lnTo>
                  <a:pt x="4011840" y="675481"/>
                </a:lnTo>
                <a:lnTo>
                  <a:pt x="3956840" y="695371"/>
                </a:lnTo>
                <a:cubicBezTo>
                  <a:pt x="3932036" y="704870"/>
                  <a:pt x="3903420" y="691571"/>
                  <a:pt x="3895788" y="666874"/>
                </a:cubicBezTo>
                <a:cubicBezTo>
                  <a:pt x="3886250" y="642177"/>
                  <a:pt x="3899604" y="615579"/>
                  <a:pt x="3924406" y="606080"/>
                </a:cubicBezTo>
                <a:cubicBezTo>
                  <a:pt x="3924406" y="606080"/>
                  <a:pt x="3924406" y="606080"/>
                  <a:pt x="4007772" y="575932"/>
                </a:cubicBezTo>
                <a:close/>
                <a:moveTo>
                  <a:pt x="382532" y="506676"/>
                </a:moveTo>
                <a:cubicBezTo>
                  <a:pt x="398784" y="505521"/>
                  <a:pt x="414500" y="514761"/>
                  <a:pt x="421644" y="530400"/>
                </a:cubicBezTo>
                <a:cubicBezTo>
                  <a:pt x="423549" y="536086"/>
                  <a:pt x="425454" y="541773"/>
                  <a:pt x="425454" y="547459"/>
                </a:cubicBezTo>
                <a:cubicBezTo>
                  <a:pt x="425454" y="564519"/>
                  <a:pt x="415929" y="579683"/>
                  <a:pt x="400689" y="585369"/>
                </a:cubicBezTo>
                <a:cubicBezTo>
                  <a:pt x="400689" y="585369"/>
                  <a:pt x="400689" y="585369"/>
                  <a:pt x="61595" y="744593"/>
                </a:cubicBezTo>
                <a:cubicBezTo>
                  <a:pt x="40640" y="754071"/>
                  <a:pt x="15874" y="744593"/>
                  <a:pt x="6349" y="723742"/>
                </a:cubicBezTo>
                <a:cubicBezTo>
                  <a:pt x="-3176" y="702892"/>
                  <a:pt x="6349" y="678250"/>
                  <a:pt x="27304" y="668772"/>
                </a:cubicBezTo>
                <a:cubicBezTo>
                  <a:pt x="27304" y="668772"/>
                  <a:pt x="27304" y="668772"/>
                  <a:pt x="366399" y="511444"/>
                </a:cubicBezTo>
                <a:cubicBezTo>
                  <a:pt x="371637" y="508601"/>
                  <a:pt x="377114" y="507061"/>
                  <a:pt x="382532" y="506676"/>
                </a:cubicBezTo>
                <a:close/>
                <a:moveTo>
                  <a:pt x="943575" y="500954"/>
                </a:moveTo>
                <a:cubicBezTo>
                  <a:pt x="954275" y="505007"/>
                  <a:pt x="963310" y="513114"/>
                  <a:pt x="968066" y="524559"/>
                </a:cubicBezTo>
                <a:cubicBezTo>
                  <a:pt x="969968" y="530281"/>
                  <a:pt x="969968" y="536004"/>
                  <a:pt x="969968" y="541726"/>
                </a:cubicBezTo>
                <a:cubicBezTo>
                  <a:pt x="969968" y="558893"/>
                  <a:pt x="960457" y="574153"/>
                  <a:pt x="945239" y="581783"/>
                </a:cubicBezTo>
                <a:cubicBezTo>
                  <a:pt x="945239" y="581783"/>
                  <a:pt x="945239" y="581783"/>
                  <a:pt x="604741" y="728657"/>
                </a:cubicBezTo>
                <a:cubicBezTo>
                  <a:pt x="581914" y="738195"/>
                  <a:pt x="557185" y="728657"/>
                  <a:pt x="547674" y="705768"/>
                </a:cubicBezTo>
                <a:cubicBezTo>
                  <a:pt x="538163" y="682878"/>
                  <a:pt x="547674" y="658081"/>
                  <a:pt x="570501" y="648544"/>
                </a:cubicBezTo>
                <a:cubicBezTo>
                  <a:pt x="570501" y="648544"/>
                  <a:pt x="570501" y="648544"/>
                  <a:pt x="909097" y="501669"/>
                </a:cubicBezTo>
                <a:cubicBezTo>
                  <a:pt x="920510" y="496901"/>
                  <a:pt x="932875" y="496901"/>
                  <a:pt x="943575" y="500954"/>
                </a:cubicBezTo>
                <a:close/>
                <a:moveTo>
                  <a:pt x="1475768" y="488758"/>
                </a:moveTo>
                <a:cubicBezTo>
                  <a:pt x="1493806" y="489026"/>
                  <a:pt x="1511308" y="499727"/>
                  <a:pt x="1517023" y="516849"/>
                </a:cubicBezTo>
                <a:cubicBezTo>
                  <a:pt x="1520833" y="522557"/>
                  <a:pt x="1520833" y="528264"/>
                  <a:pt x="1520833" y="533972"/>
                </a:cubicBezTo>
                <a:cubicBezTo>
                  <a:pt x="1520833" y="552997"/>
                  <a:pt x="1509403" y="570119"/>
                  <a:pt x="1492258" y="577729"/>
                </a:cubicBezTo>
                <a:cubicBezTo>
                  <a:pt x="1492258" y="577729"/>
                  <a:pt x="1492258" y="577729"/>
                  <a:pt x="1151259" y="712805"/>
                </a:cubicBezTo>
                <a:cubicBezTo>
                  <a:pt x="1128399" y="722318"/>
                  <a:pt x="1101728" y="710903"/>
                  <a:pt x="1092203" y="686170"/>
                </a:cubicBezTo>
                <a:cubicBezTo>
                  <a:pt x="1082678" y="663341"/>
                  <a:pt x="1094108" y="636706"/>
                  <a:pt x="1116969" y="627193"/>
                </a:cubicBezTo>
                <a:cubicBezTo>
                  <a:pt x="1116969" y="627193"/>
                  <a:pt x="1116969" y="627193"/>
                  <a:pt x="1457968" y="492117"/>
                </a:cubicBezTo>
                <a:cubicBezTo>
                  <a:pt x="1463683" y="489739"/>
                  <a:pt x="1469755" y="488669"/>
                  <a:pt x="1475768" y="488758"/>
                </a:cubicBezTo>
                <a:close/>
                <a:moveTo>
                  <a:pt x="2030557" y="479549"/>
                </a:moveTo>
                <a:cubicBezTo>
                  <a:pt x="2049519" y="480439"/>
                  <a:pt x="2067405" y="492550"/>
                  <a:pt x="2074559" y="511073"/>
                </a:cubicBezTo>
                <a:cubicBezTo>
                  <a:pt x="2076467" y="516773"/>
                  <a:pt x="2076467" y="522472"/>
                  <a:pt x="2076467" y="528172"/>
                </a:cubicBezTo>
                <a:cubicBezTo>
                  <a:pt x="2076467" y="547170"/>
                  <a:pt x="2065020" y="566167"/>
                  <a:pt x="2045938" y="571867"/>
                </a:cubicBezTo>
                <a:cubicBezTo>
                  <a:pt x="2045938" y="571867"/>
                  <a:pt x="2045938" y="571867"/>
                  <a:pt x="1702543" y="695353"/>
                </a:cubicBezTo>
                <a:cubicBezTo>
                  <a:pt x="1677743" y="704852"/>
                  <a:pt x="1651034" y="691554"/>
                  <a:pt x="1641495" y="666857"/>
                </a:cubicBezTo>
                <a:cubicBezTo>
                  <a:pt x="1631957" y="642159"/>
                  <a:pt x="1645311" y="615562"/>
                  <a:pt x="1670112" y="606063"/>
                </a:cubicBezTo>
                <a:cubicBezTo>
                  <a:pt x="1670112" y="606063"/>
                  <a:pt x="1670112" y="606063"/>
                  <a:pt x="2011599" y="482577"/>
                </a:cubicBezTo>
                <a:cubicBezTo>
                  <a:pt x="2017799" y="480202"/>
                  <a:pt x="2024238" y="479252"/>
                  <a:pt x="2030557" y="479549"/>
                </a:cubicBezTo>
                <a:close/>
                <a:moveTo>
                  <a:pt x="3723552" y="470397"/>
                </a:moveTo>
                <a:cubicBezTo>
                  <a:pt x="3743256" y="471917"/>
                  <a:pt x="3760808" y="485509"/>
                  <a:pt x="3766538" y="505539"/>
                </a:cubicBezTo>
                <a:cubicBezTo>
                  <a:pt x="3768448" y="511262"/>
                  <a:pt x="3770360" y="515077"/>
                  <a:pt x="3770360" y="520800"/>
                </a:cubicBezTo>
                <a:cubicBezTo>
                  <a:pt x="3770360" y="541785"/>
                  <a:pt x="3756988" y="560861"/>
                  <a:pt x="3734060" y="568492"/>
                </a:cubicBezTo>
                <a:cubicBezTo>
                  <a:pt x="3734060" y="568492"/>
                  <a:pt x="3734060" y="568492"/>
                  <a:pt x="3392112" y="681044"/>
                </a:cubicBezTo>
                <a:cubicBezTo>
                  <a:pt x="3365365" y="690583"/>
                  <a:pt x="3336709" y="675321"/>
                  <a:pt x="3329066" y="648614"/>
                </a:cubicBezTo>
                <a:cubicBezTo>
                  <a:pt x="3319515" y="621907"/>
                  <a:pt x="3334799" y="595199"/>
                  <a:pt x="3359633" y="585661"/>
                </a:cubicBezTo>
                <a:cubicBezTo>
                  <a:pt x="3359633" y="585661"/>
                  <a:pt x="3359633" y="585661"/>
                  <a:pt x="3703492" y="473109"/>
                </a:cubicBezTo>
                <a:cubicBezTo>
                  <a:pt x="3710178" y="470724"/>
                  <a:pt x="3716984" y="469890"/>
                  <a:pt x="3723552" y="470397"/>
                </a:cubicBezTo>
                <a:close/>
                <a:moveTo>
                  <a:pt x="2590051" y="470376"/>
                </a:moveTo>
                <a:cubicBezTo>
                  <a:pt x="2609752" y="471896"/>
                  <a:pt x="2627304" y="485489"/>
                  <a:pt x="2633035" y="505519"/>
                </a:cubicBezTo>
                <a:cubicBezTo>
                  <a:pt x="2634946" y="511242"/>
                  <a:pt x="2636856" y="515058"/>
                  <a:pt x="2636856" y="520780"/>
                </a:cubicBezTo>
                <a:cubicBezTo>
                  <a:pt x="2636856" y="541765"/>
                  <a:pt x="2623484" y="560842"/>
                  <a:pt x="2600558" y="568472"/>
                </a:cubicBezTo>
                <a:cubicBezTo>
                  <a:pt x="2600558" y="568472"/>
                  <a:pt x="2600558" y="568472"/>
                  <a:pt x="2258596" y="681025"/>
                </a:cubicBezTo>
                <a:cubicBezTo>
                  <a:pt x="2231850" y="690563"/>
                  <a:pt x="2203194" y="675302"/>
                  <a:pt x="2195553" y="648594"/>
                </a:cubicBezTo>
                <a:cubicBezTo>
                  <a:pt x="2186001" y="621887"/>
                  <a:pt x="2201284" y="595180"/>
                  <a:pt x="2226119" y="585641"/>
                </a:cubicBezTo>
                <a:cubicBezTo>
                  <a:pt x="2226119" y="585641"/>
                  <a:pt x="2226119" y="585641"/>
                  <a:pt x="2569992" y="473089"/>
                </a:cubicBezTo>
                <a:cubicBezTo>
                  <a:pt x="2576678" y="470704"/>
                  <a:pt x="2583484" y="469870"/>
                  <a:pt x="2590051" y="470376"/>
                </a:cubicBezTo>
                <a:close/>
                <a:moveTo>
                  <a:pt x="3153226" y="461684"/>
                </a:moveTo>
                <a:cubicBezTo>
                  <a:pt x="3173703" y="464098"/>
                  <a:pt x="3191231" y="478049"/>
                  <a:pt x="3196954" y="499511"/>
                </a:cubicBezTo>
                <a:cubicBezTo>
                  <a:pt x="3198860" y="503327"/>
                  <a:pt x="3198860" y="509050"/>
                  <a:pt x="3198860" y="512866"/>
                </a:cubicBezTo>
                <a:cubicBezTo>
                  <a:pt x="3198860" y="535759"/>
                  <a:pt x="3185507" y="556745"/>
                  <a:pt x="3162616" y="564376"/>
                </a:cubicBezTo>
                <a:cubicBezTo>
                  <a:pt x="3162616" y="564376"/>
                  <a:pt x="3162616" y="564376"/>
                  <a:pt x="2819228" y="665488"/>
                </a:cubicBezTo>
                <a:cubicBezTo>
                  <a:pt x="2790614" y="673120"/>
                  <a:pt x="2761996" y="657857"/>
                  <a:pt x="2754367" y="629241"/>
                </a:cubicBezTo>
                <a:cubicBezTo>
                  <a:pt x="2744828" y="602531"/>
                  <a:pt x="2761996" y="572007"/>
                  <a:pt x="2788705" y="564376"/>
                </a:cubicBezTo>
                <a:cubicBezTo>
                  <a:pt x="2788705" y="564376"/>
                  <a:pt x="2788705" y="564376"/>
                  <a:pt x="3132091" y="463264"/>
                </a:cubicBezTo>
                <a:cubicBezTo>
                  <a:pt x="3139247" y="461356"/>
                  <a:pt x="3146400" y="460879"/>
                  <a:pt x="3153226" y="461684"/>
                </a:cubicBezTo>
                <a:close/>
                <a:moveTo>
                  <a:pt x="4011840" y="256161"/>
                </a:moveTo>
                <a:lnTo>
                  <a:pt x="4011840" y="354991"/>
                </a:lnTo>
                <a:lnTo>
                  <a:pt x="3956616" y="376246"/>
                </a:lnTo>
                <a:cubicBezTo>
                  <a:pt x="3933692" y="385784"/>
                  <a:pt x="3906944" y="374339"/>
                  <a:pt x="3897392" y="349541"/>
                </a:cubicBezTo>
                <a:cubicBezTo>
                  <a:pt x="3887836" y="326650"/>
                  <a:pt x="3899300" y="299944"/>
                  <a:pt x="3924140" y="290406"/>
                </a:cubicBezTo>
                <a:cubicBezTo>
                  <a:pt x="3924140" y="290406"/>
                  <a:pt x="3924140" y="290406"/>
                  <a:pt x="4007626" y="257806"/>
                </a:cubicBezTo>
                <a:close/>
                <a:moveTo>
                  <a:pt x="398308" y="186349"/>
                </a:moveTo>
                <a:cubicBezTo>
                  <a:pt x="408309" y="190145"/>
                  <a:pt x="416882" y="197736"/>
                  <a:pt x="421644" y="208174"/>
                </a:cubicBezTo>
                <a:cubicBezTo>
                  <a:pt x="423549" y="213868"/>
                  <a:pt x="425454" y="219561"/>
                  <a:pt x="425454" y="225255"/>
                </a:cubicBezTo>
                <a:cubicBezTo>
                  <a:pt x="425454" y="240437"/>
                  <a:pt x="415929" y="255620"/>
                  <a:pt x="400689" y="263212"/>
                </a:cubicBezTo>
                <a:cubicBezTo>
                  <a:pt x="400689" y="263212"/>
                  <a:pt x="400689" y="263212"/>
                  <a:pt x="61595" y="420733"/>
                </a:cubicBezTo>
                <a:cubicBezTo>
                  <a:pt x="42545" y="430222"/>
                  <a:pt x="17780" y="422630"/>
                  <a:pt x="6349" y="401754"/>
                </a:cubicBezTo>
                <a:cubicBezTo>
                  <a:pt x="-3176" y="380878"/>
                  <a:pt x="6349" y="356206"/>
                  <a:pt x="27305" y="346717"/>
                </a:cubicBezTo>
                <a:cubicBezTo>
                  <a:pt x="27305" y="346717"/>
                  <a:pt x="27305" y="346717"/>
                  <a:pt x="366399" y="187298"/>
                </a:cubicBezTo>
                <a:cubicBezTo>
                  <a:pt x="376876" y="182554"/>
                  <a:pt x="388306" y="182554"/>
                  <a:pt x="398308" y="186349"/>
                </a:cubicBezTo>
                <a:close/>
                <a:moveTo>
                  <a:pt x="942624" y="176854"/>
                </a:moveTo>
                <a:cubicBezTo>
                  <a:pt x="952848" y="180664"/>
                  <a:pt x="961408" y="188284"/>
                  <a:pt x="966164" y="198761"/>
                </a:cubicBezTo>
                <a:cubicBezTo>
                  <a:pt x="968066" y="204476"/>
                  <a:pt x="969968" y="212096"/>
                  <a:pt x="969968" y="217811"/>
                </a:cubicBezTo>
                <a:cubicBezTo>
                  <a:pt x="969968" y="233051"/>
                  <a:pt x="960457" y="250196"/>
                  <a:pt x="945239" y="255911"/>
                </a:cubicBezTo>
                <a:cubicBezTo>
                  <a:pt x="945239" y="255911"/>
                  <a:pt x="945239" y="255911"/>
                  <a:pt x="604741" y="406406"/>
                </a:cubicBezTo>
                <a:cubicBezTo>
                  <a:pt x="583816" y="415931"/>
                  <a:pt x="557185" y="406406"/>
                  <a:pt x="547674" y="385451"/>
                </a:cubicBezTo>
                <a:cubicBezTo>
                  <a:pt x="538163" y="362591"/>
                  <a:pt x="547674" y="337826"/>
                  <a:pt x="570501" y="328301"/>
                </a:cubicBezTo>
                <a:cubicBezTo>
                  <a:pt x="570501" y="328301"/>
                  <a:pt x="570501" y="328301"/>
                  <a:pt x="909097" y="177807"/>
                </a:cubicBezTo>
                <a:cubicBezTo>
                  <a:pt x="920510" y="173044"/>
                  <a:pt x="932399" y="173044"/>
                  <a:pt x="942624" y="176854"/>
                </a:cubicBezTo>
                <a:close/>
                <a:moveTo>
                  <a:pt x="1492476" y="167542"/>
                </a:moveTo>
                <a:cubicBezTo>
                  <a:pt x="1503199" y="171579"/>
                  <a:pt x="1512255" y="179654"/>
                  <a:pt x="1517021" y="191054"/>
                </a:cubicBezTo>
                <a:cubicBezTo>
                  <a:pt x="1518927" y="196754"/>
                  <a:pt x="1520833" y="202454"/>
                  <a:pt x="1520833" y="208154"/>
                </a:cubicBezTo>
                <a:cubicBezTo>
                  <a:pt x="1520833" y="227154"/>
                  <a:pt x="1509395" y="242354"/>
                  <a:pt x="1492238" y="249954"/>
                </a:cubicBezTo>
                <a:cubicBezTo>
                  <a:pt x="1492238" y="249954"/>
                  <a:pt x="1492238" y="249954"/>
                  <a:pt x="1150990" y="390554"/>
                </a:cubicBezTo>
                <a:cubicBezTo>
                  <a:pt x="1128114" y="400054"/>
                  <a:pt x="1103330" y="390554"/>
                  <a:pt x="1093798" y="367754"/>
                </a:cubicBezTo>
                <a:cubicBezTo>
                  <a:pt x="1084266" y="343054"/>
                  <a:pt x="1093798" y="318354"/>
                  <a:pt x="1116675" y="308854"/>
                </a:cubicBezTo>
                <a:cubicBezTo>
                  <a:pt x="1116675" y="308854"/>
                  <a:pt x="1116675" y="308854"/>
                  <a:pt x="1457922" y="168254"/>
                </a:cubicBezTo>
                <a:cubicBezTo>
                  <a:pt x="1469361" y="163504"/>
                  <a:pt x="1481752" y="163504"/>
                  <a:pt x="1492476" y="167542"/>
                </a:cubicBezTo>
                <a:close/>
                <a:moveTo>
                  <a:pt x="2010467" y="156857"/>
                </a:moveTo>
                <a:cubicBezTo>
                  <a:pt x="2035214" y="149227"/>
                  <a:pt x="2061870" y="160672"/>
                  <a:pt x="2071388" y="183563"/>
                </a:cubicBezTo>
                <a:cubicBezTo>
                  <a:pt x="2073292" y="189286"/>
                  <a:pt x="2073292" y="195008"/>
                  <a:pt x="2073292" y="200731"/>
                </a:cubicBezTo>
                <a:cubicBezTo>
                  <a:pt x="2073292" y="219807"/>
                  <a:pt x="2061870" y="236975"/>
                  <a:pt x="2044733" y="244605"/>
                </a:cubicBezTo>
                <a:cubicBezTo>
                  <a:pt x="2044733" y="244605"/>
                  <a:pt x="2044733" y="244605"/>
                  <a:pt x="1703979" y="376227"/>
                </a:cubicBezTo>
                <a:cubicBezTo>
                  <a:pt x="1679231" y="385765"/>
                  <a:pt x="1652580" y="374320"/>
                  <a:pt x="1643062" y="349521"/>
                </a:cubicBezTo>
                <a:cubicBezTo>
                  <a:pt x="1633544" y="326630"/>
                  <a:pt x="1644966" y="299925"/>
                  <a:pt x="1669713" y="290387"/>
                </a:cubicBezTo>
                <a:cubicBezTo>
                  <a:pt x="1669713" y="290387"/>
                  <a:pt x="1669713" y="290387"/>
                  <a:pt x="2010467" y="156857"/>
                </a:cubicBezTo>
                <a:close/>
                <a:moveTo>
                  <a:pt x="3720656" y="144606"/>
                </a:moveTo>
                <a:cubicBezTo>
                  <a:pt x="3739812" y="145497"/>
                  <a:pt x="3756568" y="157608"/>
                  <a:pt x="3763698" y="176130"/>
                </a:cubicBezTo>
                <a:cubicBezTo>
                  <a:pt x="3765600" y="181830"/>
                  <a:pt x="3765600" y="187529"/>
                  <a:pt x="3765600" y="193228"/>
                </a:cubicBezTo>
                <a:cubicBezTo>
                  <a:pt x="3765600" y="212226"/>
                  <a:pt x="3754192" y="231224"/>
                  <a:pt x="3735180" y="238823"/>
                </a:cubicBezTo>
                <a:cubicBezTo>
                  <a:pt x="3735180" y="238823"/>
                  <a:pt x="3735180" y="238823"/>
                  <a:pt x="3393028" y="360410"/>
                </a:cubicBezTo>
                <a:cubicBezTo>
                  <a:pt x="3368312" y="369909"/>
                  <a:pt x="3341701" y="356611"/>
                  <a:pt x="3332195" y="331913"/>
                </a:cubicBezTo>
                <a:cubicBezTo>
                  <a:pt x="3322691" y="307216"/>
                  <a:pt x="3335998" y="278719"/>
                  <a:pt x="3360708" y="271120"/>
                </a:cubicBezTo>
                <a:cubicBezTo>
                  <a:pt x="3360708" y="271120"/>
                  <a:pt x="3360708" y="271120"/>
                  <a:pt x="3700964" y="147634"/>
                </a:cubicBezTo>
                <a:cubicBezTo>
                  <a:pt x="3707616" y="145259"/>
                  <a:pt x="3714268" y="144309"/>
                  <a:pt x="3720656" y="144606"/>
                </a:cubicBezTo>
                <a:close/>
                <a:moveTo>
                  <a:pt x="2586993" y="144584"/>
                </a:moveTo>
                <a:cubicBezTo>
                  <a:pt x="2606219" y="145475"/>
                  <a:pt x="2623032" y="157586"/>
                  <a:pt x="2630185" y="176109"/>
                </a:cubicBezTo>
                <a:cubicBezTo>
                  <a:pt x="2632093" y="181808"/>
                  <a:pt x="2632093" y="187507"/>
                  <a:pt x="2632093" y="193207"/>
                </a:cubicBezTo>
                <a:cubicBezTo>
                  <a:pt x="2632093" y="212205"/>
                  <a:pt x="2620647" y="231203"/>
                  <a:pt x="2601569" y="238802"/>
                </a:cubicBezTo>
                <a:cubicBezTo>
                  <a:pt x="2601569" y="238802"/>
                  <a:pt x="2601569" y="238802"/>
                  <a:pt x="2258175" y="360389"/>
                </a:cubicBezTo>
                <a:cubicBezTo>
                  <a:pt x="2233374" y="369888"/>
                  <a:pt x="2206666" y="356589"/>
                  <a:pt x="2197127" y="331892"/>
                </a:cubicBezTo>
                <a:cubicBezTo>
                  <a:pt x="2187588" y="307194"/>
                  <a:pt x="2200942" y="278697"/>
                  <a:pt x="2225743" y="271098"/>
                </a:cubicBezTo>
                <a:cubicBezTo>
                  <a:pt x="2225743" y="271098"/>
                  <a:pt x="2225743" y="271098"/>
                  <a:pt x="2567230" y="147612"/>
                </a:cubicBezTo>
                <a:cubicBezTo>
                  <a:pt x="2573907" y="145237"/>
                  <a:pt x="2580584" y="144287"/>
                  <a:pt x="2586993" y="144584"/>
                </a:cubicBezTo>
                <a:close/>
                <a:moveTo>
                  <a:pt x="3149047" y="135359"/>
                </a:moveTo>
                <a:cubicBezTo>
                  <a:pt x="3168678" y="136779"/>
                  <a:pt x="3186167" y="149921"/>
                  <a:pt x="3191878" y="168391"/>
                </a:cubicBezTo>
                <a:cubicBezTo>
                  <a:pt x="3193782" y="174073"/>
                  <a:pt x="3195685" y="179756"/>
                  <a:pt x="3195685" y="185439"/>
                </a:cubicBezTo>
                <a:cubicBezTo>
                  <a:pt x="3195685" y="206277"/>
                  <a:pt x="3182361" y="225220"/>
                  <a:pt x="3161420" y="232797"/>
                </a:cubicBezTo>
                <a:cubicBezTo>
                  <a:pt x="3161420" y="232797"/>
                  <a:pt x="3161420" y="232797"/>
                  <a:pt x="2818756" y="344562"/>
                </a:cubicBezTo>
                <a:cubicBezTo>
                  <a:pt x="2794009" y="354034"/>
                  <a:pt x="2765451" y="338879"/>
                  <a:pt x="2755934" y="314253"/>
                </a:cubicBezTo>
                <a:cubicBezTo>
                  <a:pt x="2746414" y="287733"/>
                  <a:pt x="2761644" y="259318"/>
                  <a:pt x="2788299" y="249846"/>
                </a:cubicBezTo>
                <a:cubicBezTo>
                  <a:pt x="2788299" y="249846"/>
                  <a:pt x="2788299" y="249846"/>
                  <a:pt x="3129056" y="138082"/>
                </a:cubicBezTo>
                <a:cubicBezTo>
                  <a:pt x="3135720" y="135714"/>
                  <a:pt x="3142503" y="134885"/>
                  <a:pt x="3149047" y="135359"/>
                </a:cubicBezTo>
                <a:close/>
                <a:moveTo>
                  <a:pt x="3898002" y="24"/>
                </a:moveTo>
                <a:cubicBezTo>
                  <a:pt x="3898002" y="24"/>
                  <a:pt x="3898002" y="24"/>
                  <a:pt x="3980112" y="24"/>
                </a:cubicBezTo>
                <a:lnTo>
                  <a:pt x="4011840" y="24"/>
                </a:lnTo>
                <a:lnTo>
                  <a:pt x="4011840" y="33605"/>
                </a:lnTo>
                <a:lnTo>
                  <a:pt x="3959064" y="55540"/>
                </a:lnTo>
                <a:cubicBezTo>
                  <a:pt x="3936168" y="65112"/>
                  <a:pt x="3909452" y="53625"/>
                  <a:pt x="3899912" y="30653"/>
                </a:cubicBezTo>
                <a:cubicBezTo>
                  <a:pt x="3896096" y="21082"/>
                  <a:pt x="3894188" y="9595"/>
                  <a:pt x="3898002" y="24"/>
                </a:cubicBezTo>
                <a:close/>
                <a:moveTo>
                  <a:pt x="3332212" y="24"/>
                </a:moveTo>
                <a:cubicBezTo>
                  <a:pt x="3332212" y="24"/>
                  <a:pt x="3332212" y="24"/>
                  <a:pt x="3497315" y="24"/>
                </a:cubicBezTo>
                <a:cubicBezTo>
                  <a:pt x="3497315" y="24"/>
                  <a:pt x="3497315" y="24"/>
                  <a:pt x="3394843" y="41665"/>
                </a:cubicBezTo>
                <a:cubicBezTo>
                  <a:pt x="3370170" y="49236"/>
                  <a:pt x="3343601" y="37880"/>
                  <a:pt x="3334111" y="15166"/>
                </a:cubicBezTo>
                <a:cubicBezTo>
                  <a:pt x="3332212" y="9488"/>
                  <a:pt x="3332212" y="5702"/>
                  <a:pt x="3332212" y="24"/>
                </a:cubicBezTo>
                <a:close/>
                <a:moveTo>
                  <a:pt x="2760703" y="23"/>
                </a:moveTo>
                <a:cubicBezTo>
                  <a:pt x="2760703" y="23"/>
                  <a:pt x="2760703" y="23"/>
                  <a:pt x="2890880" y="23"/>
                </a:cubicBezTo>
                <a:cubicBezTo>
                  <a:pt x="2890880" y="23"/>
                  <a:pt x="2890880" y="23"/>
                  <a:pt x="2821076" y="27187"/>
                </a:cubicBezTo>
                <a:cubicBezTo>
                  <a:pt x="2796551" y="34949"/>
                  <a:pt x="2772024" y="23307"/>
                  <a:pt x="2760703" y="23"/>
                </a:cubicBezTo>
                <a:close/>
                <a:moveTo>
                  <a:pt x="76928" y="9"/>
                </a:moveTo>
                <a:cubicBezTo>
                  <a:pt x="76928" y="9"/>
                  <a:pt x="76928" y="9"/>
                  <a:pt x="271465" y="9"/>
                </a:cubicBezTo>
                <a:cubicBezTo>
                  <a:pt x="271465" y="9"/>
                  <a:pt x="271465" y="9"/>
                  <a:pt x="63577" y="99939"/>
                </a:cubicBezTo>
                <a:cubicBezTo>
                  <a:pt x="42598" y="109547"/>
                  <a:pt x="17804" y="101861"/>
                  <a:pt x="8268" y="80722"/>
                </a:cubicBezTo>
                <a:cubicBezTo>
                  <a:pt x="-3175" y="59583"/>
                  <a:pt x="6361" y="34600"/>
                  <a:pt x="27340" y="24992"/>
                </a:cubicBezTo>
                <a:cubicBezTo>
                  <a:pt x="27340" y="24992"/>
                  <a:pt x="27340" y="24992"/>
                  <a:pt x="76928" y="9"/>
                </a:cubicBezTo>
                <a:close/>
                <a:moveTo>
                  <a:pt x="583733" y="7"/>
                </a:moveTo>
                <a:cubicBezTo>
                  <a:pt x="583733" y="7"/>
                  <a:pt x="583733" y="7"/>
                  <a:pt x="792167" y="7"/>
                </a:cubicBezTo>
                <a:cubicBezTo>
                  <a:pt x="792167" y="7"/>
                  <a:pt x="792167" y="7"/>
                  <a:pt x="604767" y="83827"/>
                </a:cubicBezTo>
                <a:cubicBezTo>
                  <a:pt x="583733" y="95257"/>
                  <a:pt x="558874" y="85732"/>
                  <a:pt x="549312" y="62872"/>
                </a:cubicBezTo>
                <a:cubicBezTo>
                  <a:pt x="539751" y="41917"/>
                  <a:pt x="549312" y="17152"/>
                  <a:pt x="570347" y="7627"/>
                </a:cubicBezTo>
                <a:cubicBezTo>
                  <a:pt x="570347" y="7627"/>
                  <a:pt x="570347" y="7627"/>
                  <a:pt x="583733" y="7"/>
                </a:cubicBezTo>
                <a:close/>
                <a:moveTo>
                  <a:pt x="1102307" y="5"/>
                </a:moveTo>
                <a:cubicBezTo>
                  <a:pt x="1102307" y="5"/>
                  <a:pt x="1102307" y="5"/>
                  <a:pt x="1312869" y="5"/>
                </a:cubicBezTo>
                <a:cubicBezTo>
                  <a:pt x="1312869" y="5"/>
                  <a:pt x="1312869" y="5"/>
                  <a:pt x="1153525" y="71329"/>
                </a:cubicBezTo>
                <a:cubicBezTo>
                  <a:pt x="1130761" y="80968"/>
                  <a:pt x="1104204" y="69401"/>
                  <a:pt x="1094719" y="48197"/>
                </a:cubicBezTo>
                <a:cubicBezTo>
                  <a:pt x="1089028" y="30848"/>
                  <a:pt x="1090925" y="13498"/>
                  <a:pt x="1102307" y="5"/>
                </a:cubicBezTo>
                <a:close/>
                <a:moveTo>
                  <a:pt x="1643393" y="2"/>
                </a:moveTo>
                <a:cubicBezTo>
                  <a:pt x="1643393" y="2"/>
                  <a:pt x="1643393" y="2"/>
                  <a:pt x="1838335" y="2"/>
                </a:cubicBezTo>
                <a:cubicBezTo>
                  <a:pt x="1838335" y="2"/>
                  <a:pt x="1838335" y="2"/>
                  <a:pt x="1704551" y="55519"/>
                </a:cubicBezTo>
                <a:cubicBezTo>
                  <a:pt x="1681617" y="65090"/>
                  <a:pt x="1654860" y="53604"/>
                  <a:pt x="1645304" y="30632"/>
                </a:cubicBezTo>
                <a:cubicBezTo>
                  <a:pt x="1641482" y="21060"/>
                  <a:pt x="1641482" y="9574"/>
                  <a:pt x="1643393" y="2"/>
                </a:cubicBezTo>
                <a:close/>
                <a:moveTo>
                  <a:pt x="2197113" y="0"/>
                </a:moveTo>
                <a:cubicBezTo>
                  <a:pt x="2197113" y="0"/>
                  <a:pt x="2197113" y="0"/>
                  <a:pt x="2363803" y="0"/>
                </a:cubicBezTo>
                <a:cubicBezTo>
                  <a:pt x="2363803" y="0"/>
                  <a:pt x="2363803" y="0"/>
                  <a:pt x="2260341" y="41642"/>
                </a:cubicBezTo>
                <a:cubicBezTo>
                  <a:pt x="2235433" y="49213"/>
                  <a:pt x="2208609" y="37856"/>
                  <a:pt x="2199030" y="15142"/>
                </a:cubicBezTo>
                <a:cubicBezTo>
                  <a:pt x="2197113" y="9464"/>
                  <a:pt x="2197113" y="5678"/>
                  <a:pt x="2197113" y="0"/>
                </a:cubicBezTo>
                <a:close/>
              </a:path>
            </a:pathLst>
          </a:custGeom>
          <a:solidFill>
            <a:srgbClr val="55BA4A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1793" y="0"/>
            <a:ext cx="8127034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cs typeface="Arial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849537"/>
            <a:ext cx="3513152" cy="1926795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199"/>
              </a:lnSpc>
              <a:spcBef>
                <a:spcPts val="0"/>
              </a:spcBef>
              <a:buFont typeface="Arial" panose="020B0604020202020204" pitchFamily="34" charset="0"/>
              <a:buNone/>
              <a:defRPr sz="4666" b="1" strike="noStrike" spc="-151" baseline="0">
                <a:solidFill>
                  <a:schemeClr val="bg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Photo Plus</a:t>
            </a:r>
            <a:br>
              <a:rPr lang="en-US"/>
            </a:br>
            <a:r>
              <a:rPr lang="en-US"/>
              <a:t>Statement</a:t>
            </a:r>
            <a:br>
              <a:rPr lang="en-US"/>
            </a:br>
            <a:r>
              <a:rPr lang="en-US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643" y="2943647"/>
            <a:ext cx="3513150" cy="16416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9"/>
              </a:lnSpc>
              <a:spcBef>
                <a:spcPts val="0"/>
              </a:spcBef>
              <a:buNone/>
              <a:defRPr sz="2399" baseline="0">
                <a:solidFill>
                  <a:schemeClr val="bg1"/>
                </a:solidFill>
              </a:defRPr>
            </a:lvl1pPr>
            <a:lvl2pPr marL="609321" indent="0">
              <a:buNone/>
              <a:defRPr/>
            </a:lvl2pPr>
            <a:lvl3pPr marL="1218641" indent="0">
              <a:buNone/>
              <a:defRPr/>
            </a:lvl3pPr>
            <a:lvl4pPr marL="1827963" indent="0">
              <a:buNone/>
              <a:defRPr/>
            </a:lvl4pPr>
            <a:lvl5pPr marL="2437284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749386012"/>
      </p:ext>
    </p:extLst>
  </p:cSld>
  <p:clrMapOvr>
    <a:masterClrMapping/>
  </p:clrMapOvr>
  <p:transition spd="med"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rgbClr val="488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/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49951" y="-3179"/>
            <a:ext cx="12139750" cy="6858291"/>
          </a:xfrm>
          <a:custGeom>
            <a:avLst/>
            <a:gdLst>
              <a:gd name="connsiteX0" fmla="*/ 9863865 w 12139750"/>
              <a:gd name="connsiteY0" fmla="*/ 6730848 h 6858290"/>
              <a:gd name="connsiteX1" fmla="*/ 9906123 w 12139750"/>
              <a:gd name="connsiteY1" fmla="*/ 6760852 h 6858290"/>
              <a:gd name="connsiteX2" fmla="*/ 9879496 w 12139750"/>
              <a:gd name="connsiteY2" fmla="*/ 6819907 h 6858290"/>
              <a:gd name="connsiteX3" fmla="*/ 9782500 w 12139750"/>
              <a:gd name="connsiteY3" fmla="*/ 6858007 h 6858290"/>
              <a:gd name="connsiteX4" fmla="*/ 9531452 w 12139750"/>
              <a:gd name="connsiteY4" fmla="*/ 6858007 h 6858290"/>
              <a:gd name="connsiteX5" fmla="*/ 9845262 w 12139750"/>
              <a:gd name="connsiteY5" fmla="*/ 6734182 h 6858290"/>
              <a:gd name="connsiteX6" fmla="*/ 9863865 w 12139750"/>
              <a:gd name="connsiteY6" fmla="*/ 6730848 h 6858290"/>
              <a:gd name="connsiteX7" fmla="*/ 10445577 w 12139750"/>
              <a:gd name="connsiteY7" fmla="*/ 6718092 h 6858290"/>
              <a:gd name="connsiteX8" fmla="*/ 10487132 w 12139750"/>
              <a:gd name="connsiteY8" fmla="*/ 6746099 h 6858290"/>
              <a:gd name="connsiteX9" fmla="*/ 10462348 w 12139750"/>
              <a:gd name="connsiteY9" fmla="*/ 6804898 h 6858290"/>
              <a:gd name="connsiteX10" fmla="*/ 10328892 w 12139750"/>
              <a:gd name="connsiteY10" fmla="*/ 6858007 h 6858290"/>
              <a:gd name="connsiteX11" fmla="*/ 10088672 w 12139750"/>
              <a:gd name="connsiteY11" fmla="*/ 6858007 h 6858290"/>
              <a:gd name="connsiteX12" fmla="*/ 10428031 w 12139750"/>
              <a:gd name="connsiteY12" fmla="*/ 6721441 h 6858290"/>
              <a:gd name="connsiteX13" fmla="*/ 10445577 w 12139750"/>
              <a:gd name="connsiteY13" fmla="*/ 6718092 h 6858290"/>
              <a:gd name="connsiteX14" fmla="*/ 9285099 w 12139750"/>
              <a:gd name="connsiteY14" fmla="*/ 6718092 h 6858290"/>
              <a:gd name="connsiteX15" fmla="*/ 9326654 w 12139750"/>
              <a:gd name="connsiteY15" fmla="*/ 6746099 h 6858290"/>
              <a:gd name="connsiteX16" fmla="*/ 9301870 w 12139750"/>
              <a:gd name="connsiteY16" fmla="*/ 6804898 h 6858290"/>
              <a:gd name="connsiteX17" fmla="*/ 9168414 w 12139750"/>
              <a:gd name="connsiteY17" fmla="*/ 6858007 h 6858290"/>
              <a:gd name="connsiteX18" fmla="*/ 8928194 w 12139750"/>
              <a:gd name="connsiteY18" fmla="*/ 6858007 h 6858290"/>
              <a:gd name="connsiteX19" fmla="*/ 9267553 w 12139750"/>
              <a:gd name="connsiteY19" fmla="*/ 6721441 h 6858290"/>
              <a:gd name="connsiteX20" fmla="*/ 9285099 w 12139750"/>
              <a:gd name="connsiteY20" fmla="*/ 6718092 h 6858290"/>
              <a:gd name="connsiteX21" fmla="*/ 11021925 w 12139750"/>
              <a:gd name="connsiteY21" fmla="*/ 6702243 h 6858290"/>
              <a:gd name="connsiteX22" fmla="*/ 11063417 w 12139750"/>
              <a:gd name="connsiteY22" fmla="*/ 6730372 h 6858290"/>
              <a:gd name="connsiteX23" fmla="*/ 11038670 w 12139750"/>
              <a:gd name="connsiteY23" fmla="*/ 6789427 h 6858290"/>
              <a:gd name="connsiteX24" fmla="*/ 10873058 w 12139750"/>
              <a:gd name="connsiteY24" fmla="*/ 6858007 h 6858290"/>
              <a:gd name="connsiteX25" fmla="*/ 10652242 w 12139750"/>
              <a:gd name="connsiteY25" fmla="*/ 6858007 h 6858290"/>
              <a:gd name="connsiteX26" fmla="*/ 10665567 w 12139750"/>
              <a:gd name="connsiteY26" fmla="*/ 6850387 h 6858290"/>
              <a:gd name="connsiteX27" fmla="*/ 11004406 w 12139750"/>
              <a:gd name="connsiteY27" fmla="*/ 6705607 h 6858290"/>
              <a:gd name="connsiteX28" fmla="*/ 11021925 w 12139750"/>
              <a:gd name="connsiteY28" fmla="*/ 6702243 h 6858290"/>
              <a:gd name="connsiteX29" fmla="*/ 8712081 w 12139750"/>
              <a:gd name="connsiteY29" fmla="*/ 6702243 h 6858290"/>
              <a:gd name="connsiteX30" fmla="*/ 8753573 w 12139750"/>
              <a:gd name="connsiteY30" fmla="*/ 6730372 h 6858290"/>
              <a:gd name="connsiteX31" fmla="*/ 8730730 w 12139750"/>
              <a:gd name="connsiteY31" fmla="*/ 6789427 h 6858290"/>
              <a:gd name="connsiteX32" fmla="*/ 8565118 w 12139750"/>
              <a:gd name="connsiteY32" fmla="*/ 6858007 h 6858290"/>
              <a:gd name="connsiteX33" fmla="*/ 8342398 w 12139750"/>
              <a:gd name="connsiteY33" fmla="*/ 6858007 h 6858290"/>
              <a:gd name="connsiteX34" fmla="*/ 8355723 w 12139750"/>
              <a:gd name="connsiteY34" fmla="*/ 6850387 h 6858290"/>
              <a:gd name="connsiteX35" fmla="*/ 8694562 w 12139750"/>
              <a:gd name="connsiteY35" fmla="*/ 6705607 h 6858290"/>
              <a:gd name="connsiteX36" fmla="*/ 8712081 w 12139750"/>
              <a:gd name="connsiteY36" fmla="*/ 6702243 h 6858290"/>
              <a:gd name="connsiteX37" fmla="*/ 11608144 w 12139750"/>
              <a:gd name="connsiteY37" fmla="*/ 6692160 h 6858290"/>
              <a:gd name="connsiteX38" fmla="*/ 11631736 w 12139750"/>
              <a:gd name="connsiteY38" fmla="*/ 6715650 h 6858290"/>
              <a:gd name="connsiteX39" fmla="*/ 11608858 w 12139750"/>
              <a:gd name="connsiteY39" fmla="*/ 6772593 h 6858290"/>
              <a:gd name="connsiteX40" fmla="*/ 11412495 w 12139750"/>
              <a:gd name="connsiteY40" fmla="*/ 6858007 h 6858290"/>
              <a:gd name="connsiteX41" fmla="*/ 11214225 w 12139750"/>
              <a:gd name="connsiteY41" fmla="*/ 6858007 h 6858290"/>
              <a:gd name="connsiteX42" fmla="*/ 11235196 w 12139750"/>
              <a:gd name="connsiteY42" fmla="*/ 6840924 h 6858290"/>
              <a:gd name="connsiteX43" fmla="*/ 11574543 w 12139750"/>
              <a:gd name="connsiteY43" fmla="*/ 6692872 h 6858290"/>
              <a:gd name="connsiteX44" fmla="*/ 11608144 w 12139750"/>
              <a:gd name="connsiteY44" fmla="*/ 6692160 h 6858290"/>
              <a:gd name="connsiteX45" fmla="*/ 8162632 w 12139750"/>
              <a:gd name="connsiteY45" fmla="*/ 6692160 h 6858290"/>
              <a:gd name="connsiteX46" fmla="*/ 8186849 w 12139750"/>
              <a:gd name="connsiteY46" fmla="*/ 6715650 h 6858290"/>
              <a:gd name="connsiteX47" fmla="*/ 8164057 w 12139750"/>
              <a:gd name="connsiteY47" fmla="*/ 6772593 h 6858290"/>
              <a:gd name="connsiteX48" fmla="*/ 7966524 w 12139750"/>
              <a:gd name="connsiteY48" fmla="*/ 6858007 h 6858290"/>
              <a:gd name="connsiteX49" fmla="*/ 7770890 w 12139750"/>
              <a:gd name="connsiteY49" fmla="*/ 6858007 h 6858290"/>
              <a:gd name="connsiteX50" fmla="*/ 7789883 w 12139750"/>
              <a:gd name="connsiteY50" fmla="*/ 6840924 h 6858290"/>
              <a:gd name="connsiteX51" fmla="*/ 8129868 w 12139750"/>
              <a:gd name="connsiteY51" fmla="*/ 6692872 h 6858290"/>
              <a:gd name="connsiteX52" fmla="*/ 8162632 w 12139750"/>
              <a:gd name="connsiteY52" fmla="*/ 6692160 h 6858290"/>
              <a:gd name="connsiteX53" fmla="*/ 7602161 w 12139750"/>
              <a:gd name="connsiteY53" fmla="*/ 6677681 h 6858290"/>
              <a:gd name="connsiteX54" fmla="*/ 7626432 w 12139750"/>
              <a:gd name="connsiteY54" fmla="*/ 6699625 h 6858290"/>
              <a:gd name="connsiteX55" fmla="*/ 7605492 w 12139750"/>
              <a:gd name="connsiteY55" fmla="*/ 6756872 h 6858290"/>
              <a:gd name="connsiteX56" fmla="*/ 7378961 w 12139750"/>
              <a:gd name="connsiteY56" fmla="*/ 6858007 h 6858290"/>
              <a:gd name="connsiteX57" fmla="*/ 7205732 w 12139750"/>
              <a:gd name="connsiteY57" fmla="*/ 6858007 h 6858290"/>
              <a:gd name="connsiteX58" fmla="*/ 7230479 w 12139750"/>
              <a:gd name="connsiteY58" fmla="*/ 6831292 h 6858290"/>
              <a:gd name="connsiteX59" fmla="*/ 7569323 w 12139750"/>
              <a:gd name="connsiteY59" fmla="*/ 6678635 h 6858290"/>
              <a:gd name="connsiteX60" fmla="*/ 7602161 w 12139750"/>
              <a:gd name="connsiteY60" fmla="*/ 6677681 h 6858290"/>
              <a:gd name="connsiteX61" fmla="*/ 12139750 w 12139750"/>
              <a:gd name="connsiteY61" fmla="*/ 6677032 h 6858290"/>
              <a:gd name="connsiteX62" fmla="*/ 12139750 w 12139750"/>
              <a:gd name="connsiteY62" fmla="*/ 6770377 h 6858290"/>
              <a:gd name="connsiteX63" fmla="*/ 12139750 w 12139750"/>
              <a:gd name="connsiteY63" fmla="*/ 6858007 h 6858290"/>
              <a:gd name="connsiteX64" fmla="*/ 11945775 w 12139750"/>
              <a:gd name="connsiteY64" fmla="*/ 6858007 h 6858290"/>
              <a:gd name="connsiteX65" fmla="*/ 11774620 w 12139750"/>
              <a:gd name="connsiteY65" fmla="*/ 6858007 h 6858290"/>
              <a:gd name="connsiteX66" fmla="*/ 11797441 w 12139750"/>
              <a:gd name="connsiteY66" fmla="*/ 6831337 h 6858290"/>
              <a:gd name="connsiteX67" fmla="*/ 12137848 w 12139750"/>
              <a:gd name="connsiteY67" fmla="*/ 6678937 h 6858290"/>
              <a:gd name="connsiteX68" fmla="*/ 12139750 w 12139750"/>
              <a:gd name="connsiteY68" fmla="*/ 6677032 h 6858290"/>
              <a:gd name="connsiteX69" fmla="*/ 7049044 w 12139750"/>
              <a:gd name="connsiteY69" fmla="*/ 6663353 h 6858290"/>
              <a:gd name="connsiteX70" fmla="*/ 7072381 w 12139750"/>
              <a:gd name="connsiteY70" fmla="*/ 6685192 h 6858290"/>
              <a:gd name="connsiteX71" fmla="*/ 7051425 w 12139750"/>
              <a:gd name="connsiteY71" fmla="*/ 6742164 h 6858290"/>
              <a:gd name="connsiteX72" fmla="*/ 6798057 w 12139750"/>
              <a:gd name="connsiteY72" fmla="*/ 6858007 h 6858290"/>
              <a:gd name="connsiteX73" fmla="*/ 6653275 w 12139750"/>
              <a:gd name="connsiteY73" fmla="*/ 6858007 h 6858290"/>
              <a:gd name="connsiteX74" fmla="*/ 6678040 w 12139750"/>
              <a:gd name="connsiteY74" fmla="*/ 6821925 h 6858290"/>
              <a:gd name="connsiteX75" fmla="*/ 7017135 w 12139750"/>
              <a:gd name="connsiteY75" fmla="*/ 6664302 h 6858290"/>
              <a:gd name="connsiteX76" fmla="*/ 7049044 w 12139750"/>
              <a:gd name="connsiteY76" fmla="*/ 6663353 h 6858290"/>
              <a:gd name="connsiteX77" fmla="*/ 6502912 w 12139750"/>
              <a:gd name="connsiteY77" fmla="*/ 6648865 h 6858290"/>
              <a:gd name="connsiteX78" fmla="*/ 6526266 w 12139750"/>
              <a:gd name="connsiteY78" fmla="*/ 6669136 h 6858290"/>
              <a:gd name="connsiteX79" fmla="*/ 6507201 w 12139750"/>
              <a:gd name="connsiteY79" fmla="*/ 6724462 h 6858290"/>
              <a:gd name="connsiteX80" fmla="*/ 6226954 w 12139750"/>
              <a:gd name="connsiteY80" fmla="*/ 6858007 h 6858290"/>
              <a:gd name="connsiteX81" fmla="*/ 6108755 w 12139750"/>
              <a:gd name="connsiteY81" fmla="*/ 6858007 h 6858290"/>
              <a:gd name="connsiteX82" fmla="*/ 6108755 w 12139750"/>
              <a:gd name="connsiteY82" fmla="*/ 6850376 h 6858290"/>
              <a:gd name="connsiteX83" fmla="*/ 6131632 w 12139750"/>
              <a:gd name="connsiteY83" fmla="*/ 6812220 h 6858290"/>
              <a:gd name="connsiteX84" fmla="*/ 6470979 w 12139750"/>
              <a:gd name="connsiteY84" fmla="*/ 6650058 h 6858290"/>
              <a:gd name="connsiteX85" fmla="*/ 6502912 w 12139750"/>
              <a:gd name="connsiteY85" fmla="*/ 6648865 h 6858290"/>
              <a:gd name="connsiteX86" fmla="*/ 5955433 w 12139750"/>
              <a:gd name="connsiteY86" fmla="*/ 6635428 h 6858290"/>
              <a:gd name="connsiteX87" fmla="*/ 5978564 w 12139750"/>
              <a:gd name="connsiteY87" fmla="*/ 6656354 h 6858290"/>
              <a:gd name="connsiteX88" fmla="*/ 5961395 w 12139750"/>
              <a:gd name="connsiteY88" fmla="*/ 6709621 h 6858290"/>
              <a:gd name="connsiteX89" fmla="*/ 5656142 w 12139750"/>
              <a:gd name="connsiteY89" fmla="*/ 6858007 h 6858290"/>
              <a:gd name="connsiteX90" fmla="*/ 5568382 w 12139750"/>
              <a:gd name="connsiteY90" fmla="*/ 6858007 h 6858290"/>
              <a:gd name="connsiteX91" fmla="*/ 5566474 w 12139750"/>
              <a:gd name="connsiteY91" fmla="*/ 6858007 h 6858290"/>
              <a:gd name="connsiteX92" fmla="*/ 5562658 w 12139750"/>
              <a:gd name="connsiteY92" fmla="*/ 6838983 h 6858290"/>
              <a:gd name="connsiteX93" fmla="*/ 5585552 w 12139750"/>
              <a:gd name="connsiteY93" fmla="*/ 6802838 h 6858290"/>
              <a:gd name="connsiteX94" fmla="*/ 5925146 w 12139750"/>
              <a:gd name="connsiteY94" fmla="*/ 6637331 h 6858290"/>
              <a:gd name="connsiteX95" fmla="*/ 5955433 w 12139750"/>
              <a:gd name="connsiteY95" fmla="*/ 6635428 h 6858290"/>
              <a:gd name="connsiteX96" fmla="*/ 396081 w 12139750"/>
              <a:gd name="connsiteY96" fmla="*/ 6635428 h 6858290"/>
              <a:gd name="connsiteX97" fmla="*/ 419128 w 12139750"/>
              <a:gd name="connsiteY97" fmla="*/ 6656354 h 6858290"/>
              <a:gd name="connsiteX98" fmla="*/ 400120 w 12139750"/>
              <a:gd name="connsiteY98" fmla="*/ 6709621 h 6858290"/>
              <a:gd name="connsiteX99" fmla="*/ 97901 w 12139750"/>
              <a:gd name="connsiteY99" fmla="*/ 6858007 h 6858290"/>
              <a:gd name="connsiteX100" fmla="*/ 10466 w 12139750"/>
              <a:gd name="connsiteY100" fmla="*/ 6858007 h 6858290"/>
              <a:gd name="connsiteX101" fmla="*/ 8566 w 12139750"/>
              <a:gd name="connsiteY101" fmla="*/ 6858007 h 6858290"/>
              <a:gd name="connsiteX102" fmla="*/ 4764 w 12139750"/>
              <a:gd name="connsiteY102" fmla="*/ 6838983 h 6858290"/>
              <a:gd name="connsiteX103" fmla="*/ 27573 w 12139750"/>
              <a:gd name="connsiteY103" fmla="*/ 6802838 h 6858290"/>
              <a:gd name="connsiteX104" fmla="*/ 365906 w 12139750"/>
              <a:gd name="connsiteY104" fmla="*/ 6637331 h 6858290"/>
              <a:gd name="connsiteX105" fmla="*/ 396081 w 12139750"/>
              <a:gd name="connsiteY105" fmla="*/ 6635428 h 6858290"/>
              <a:gd name="connsiteX106" fmla="*/ 5405387 w 12139750"/>
              <a:gd name="connsiteY106" fmla="*/ 6619812 h 6858290"/>
              <a:gd name="connsiteX107" fmla="*/ 5427736 w 12139750"/>
              <a:gd name="connsiteY107" fmla="*/ 6640556 h 6858290"/>
              <a:gd name="connsiteX108" fmla="*/ 5410617 w 12139750"/>
              <a:gd name="connsiteY108" fmla="*/ 6693965 h 6858290"/>
              <a:gd name="connsiteX109" fmla="*/ 5083442 w 12139750"/>
              <a:gd name="connsiteY109" fmla="*/ 6858007 h 6858290"/>
              <a:gd name="connsiteX110" fmla="*/ 5028286 w 12139750"/>
              <a:gd name="connsiteY110" fmla="*/ 6858007 h 6858290"/>
              <a:gd name="connsiteX111" fmla="*/ 5020677 w 12139750"/>
              <a:gd name="connsiteY111" fmla="*/ 6846562 h 6858290"/>
              <a:gd name="connsiteX112" fmla="*/ 5014971 w 12139750"/>
              <a:gd name="connsiteY112" fmla="*/ 6829395 h 6858290"/>
              <a:gd name="connsiteX113" fmla="*/ 5037795 w 12139750"/>
              <a:gd name="connsiteY113" fmla="*/ 6793153 h 6858290"/>
              <a:gd name="connsiteX114" fmla="*/ 5374477 w 12139750"/>
              <a:gd name="connsiteY114" fmla="*/ 6623389 h 6858290"/>
              <a:gd name="connsiteX115" fmla="*/ 5405387 w 12139750"/>
              <a:gd name="connsiteY115" fmla="*/ 6619812 h 6858290"/>
              <a:gd name="connsiteX116" fmla="*/ 939733 w 12139750"/>
              <a:gd name="connsiteY116" fmla="*/ 6619812 h 6858290"/>
              <a:gd name="connsiteX117" fmla="*/ 963599 w 12139750"/>
              <a:gd name="connsiteY117" fmla="*/ 6640556 h 6858290"/>
              <a:gd name="connsiteX118" fmla="*/ 944506 w 12139750"/>
              <a:gd name="connsiteY118" fmla="*/ 6693965 h 6858290"/>
              <a:gd name="connsiteX119" fmla="*/ 618014 w 12139750"/>
              <a:gd name="connsiteY119" fmla="*/ 6858007 h 6858290"/>
              <a:gd name="connsiteX120" fmla="*/ 562644 w 12139750"/>
              <a:gd name="connsiteY120" fmla="*/ 6858007 h 6858290"/>
              <a:gd name="connsiteX121" fmla="*/ 553097 w 12139750"/>
              <a:gd name="connsiteY121" fmla="*/ 6846562 h 6858290"/>
              <a:gd name="connsiteX122" fmla="*/ 549279 w 12139750"/>
              <a:gd name="connsiteY122" fmla="*/ 6829395 h 6858290"/>
              <a:gd name="connsiteX123" fmla="*/ 570281 w 12139750"/>
              <a:gd name="connsiteY123" fmla="*/ 6793153 h 6858290"/>
              <a:gd name="connsiteX124" fmla="*/ 910138 w 12139750"/>
              <a:gd name="connsiteY124" fmla="*/ 6623389 h 6858290"/>
              <a:gd name="connsiteX125" fmla="*/ 939733 w 12139750"/>
              <a:gd name="connsiteY125" fmla="*/ 6619812 h 6858290"/>
              <a:gd name="connsiteX126" fmla="*/ 4850594 w 12139750"/>
              <a:gd name="connsiteY126" fmla="*/ 6606634 h 6858290"/>
              <a:gd name="connsiteX127" fmla="*/ 4873677 w 12139750"/>
              <a:gd name="connsiteY127" fmla="*/ 6625946 h 6858290"/>
              <a:gd name="connsiteX128" fmla="*/ 4856543 w 12139750"/>
              <a:gd name="connsiteY128" fmla="*/ 6677443 h 6858290"/>
              <a:gd name="connsiteX129" fmla="*/ 4519613 w 12139750"/>
              <a:gd name="connsiteY129" fmla="*/ 6852914 h 6858290"/>
              <a:gd name="connsiteX130" fmla="*/ 4466313 w 12139750"/>
              <a:gd name="connsiteY130" fmla="*/ 6837655 h 6858290"/>
              <a:gd name="connsiteX131" fmla="*/ 4462507 w 12139750"/>
              <a:gd name="connsiteY131" fmla="*/ 6818582 h 6858290"/>
              <a:gd name="connsiteX132" fmla="*/ 4483447 w 12139750"/>
              <a:gd name="connsiteY132" fmla="*/ 6784251 h 6858290"/>
              <a:gd name="connsiteX133" fmla="*/ 4820372 w 12139750"/>
              <a:gd name="connsiteY133" fmla="*/ 6608780 h 6858290"/>
              <a:gd name="connsiteX134" fmla="*/ 4850594 w 12139750"/>
              <a:gd name="connsiteY134" fmla="*/ 6606634 h 6858290"/>
              <a:gd name="connsiteX135" fmla="*/ 1485698 w 12139750"/>
              <a:gd name="connsiteY135" fmla="*/ 6606634 h 6858290"/>
              <a:gd name="connsiteX136" fmla="*/ 1507827 w 12139750"/>
              <a:gd name="connsiteY136" fmla="*/ 6625946 h 6858290"/>
              <a:gd name="connsiteX137" fmla="*/ 1492599 w 12139750"/>
              <a:gd name="connsiteY137" fmla="*/ 6677443 h 6858290"/>
              <a:gd name="connsiteX138" fmla="*/ 1153761 w 12139750"/>
              <a:gd name="connsiteY138" fmla="*/ 6852914 h 6858290"/>
              <a:gd name="connsiteX139" fmla="*/ 1102364 w 12139750"/>
              <a:gd name="connsiteY139" fmla="*/ 6837655 h 6858290"/>
              <a:gd name="connsiteX140" fmla="*/ 1098557 w 12139750"/>
              <a:gd name="connsiteY140" fmla="*/ 6818582 h 6858290"/>
              <a:gd name="connsiteX141" fmla="*/ 1119496 w 12139750"/>
              <a:gd name="connsiteY141" fmla="*/ 6784251 h 6858290"/>
              <a:gd name="connsiteX142" fmla="*/ 1456431 w 12139750"/>
              <a:gd name="connsiteY142" fmla="*/ 6608780 h 6858290"/>
              <a:gd name="connsiteX143" fmla="*/ 1485698 w 12139750"/>
              <a:gd name="connsiteY143" fmla="*/ 6606634 h 6858290"/>
              <a:gd name="connsiteX144" fmla="*/ 4291129 w 12139750"/>
              <a:gd name="connsiteY144" fmla="*/ 6592973 h 6858290"/>
              <a:gd name="connsiteX145" fmla="*/ 4313276 w 12139750"/>
              <a:gd name="connsiteY145" fmla="*/ 6611309 h 6858290"/>
              <a:gd name="connsiteX146" fmla="*/ 4298035 w 12139750"/>
              <a:gd name="connsiteY146" fmla="*/ 6662744 h 6858290"/>
              <a:gd name="connsiteX147" fmla="*/ 3960866 w 12139750"/>
              <a:gd name="connsiteY147" fmla="*/ 6841814 h 6858290"/>
              <a:gd name="connsiteX148" fmla="*/ 3909430 w 12139750"/>
              <a:gd name="connsiteY148" fmla="*/ 6826574 h 6858290"/>
              <a:gd name="connsiteX149" fmla="*/ 3903713 w 12139750"/>
              <a:gd name="connsiteY149" fmla="*/ 6809429 h 6858290"/>
              <a:gd name="connsiteX150" fmla="*/ 3924671 w 12139750"/>
              <a:gd name="connsiteY150" fmla="*/ 6775139 h 6858290"/>
              <a:gd name="connsiteX151" fmla="*/ 4261838 w 12139750"/>
              <a:gd name="connsiteY151" fmla="*/ 6596069 h 6858290"/>
              <a:gd name="connsiteX152" fmla="*/ 4291129 w 12139750"/>
              <a:gd name="connsiteY152" fmla="*/ 6592973 h 6858290"/>
              <a:gd name="connsiteX153" fmla="*/ 2037015 w 12139750"/>
              <a:gd name="connsiteY153" fmla="*/ 6592973 h 6858290"/>
              <a:gd name="connsiteX154" fmla="*/ 2060595 w 12139750"/>
              <a:gd name="connsiteY154" fmla="*/ 6611309 h 6858290"/>
              <a:gd name="connsiteX155" fmla="*/ 2043444 w 12139750"/>
              <a:gd name="connsiteY155" fmla="*/ 6662744 h 6858290"/>
              <a:gd name="connsiteX156" fmla="*/ 1706255 w 12139750"/>
              <a:gd name="connsiteY156" fmla="*/ 6841814 h 6858290"/>
              <a:gd name="connsiteX157" fmla="*/ 1654819 w 12139750"/>
              <a:gd name="connsiteY157" fmla="*/ 6826574 h 6858290"/>
              <a:gd name="connsiteX158" fmla="*/ 1651009 w 12139750"/>
              <a:gd name="connsiteY158" fmla="*/ 6809429 h 6858290"/>
              <a:gd name="connsiteX159" fmla="*/ 1670059 w 12139750"/>
              <a:gd name="connsiteY159" fmla="*/ 6775139 h 6858290"/>
              <a:gd name="connsiteX160" fmla="*/ 2009154 w 12139750"/>
              <a:gd name="connsiteY160" fmla="*/ 6596069 h 6858290"/>
              <a:gd name="connsiteX161" fmla="*/ 2037015 w 12139750"/>
              <a:gd name="connsiteY161" fmla="*/ 6592973 h 6858290"/>
              <a:gd name="connsiteX162" fmla="*/ 3727789 w 12139750"/>
              <a:gd name="connsiteY162" fmla="*/ 6578033 h 6858290"/>
              <a:gd name="connsiteX163" fmla="*/ 3749716 w 12139750"/>
              <a:gd name="connsiteY163" fmla="*/ 6595376 h 6858290"/>
              <a:gd name="connsiteX164" fmla="*/ 3734462 w 12139750"/>
              <a:gd name="connsiteY164" fmla="*/ 6646690 h 6858290"/>
              <a:gd name="connsiteX165" fmla="*/ 3397032 w 12139750"/>
              <a:gd name="connsiteY165" fmla="*/ 6831042 h 6858290"/>
              <a:gd name="connsiteX166" fmla="*/ 3347462 w 12139750"/>
              <a:gd name="connsiteY166" fmla="*/ 6815837 h 6858290"/>
              <a:gd name="connsiteX167" fmla="*/ 3341741 w 12139750"/>
              <a:gd name="connsiteY167" fmla="*/ 6798733 h 6858290"/>
              <a:gd name="connsiteX168" fmla="*/ 3362712 w 12139750"/>
              <a:gd name="connsiteY168" fmla="*/ 6764523 h 6858290"/>
              <a:gd name="connsiteX169" fmla="*/ 3700143 w 12139750"/>
              <a:gd name="connsiteY169" fmla="*/ 6582072 h 6858290"/>
              <a:gd name="connsiteX170" fmla="*/ 3727789 w 12139750"/>
              <a:gd name="connsiteY170" fmla="*/ 6578033 h 6858290"/>
              <a:gd name="connsiteX171" fmla="*/ 2592701 w 12139750"/>
              <a:gd name="connsiteY171" fmla="*/ 6578033 h 6858290"/>
              <a:gd name="connsiteX172" fmla="*/ 2614625 w 12139750"/>
              <a:gd name="connsiteY172" fmla="*/ 6595376 h 6858290"/>
              <a:gd name="connsiteX173" fmla="*/ 2599374 w 12139750"/>
              <a:gd name="connsiteY173" fmla="*/ 6646690 h 6858290"/>
              <a:gd name="connsiteX174" fmla="*/ 2261929 w 12139750"/>
              <a:gd name="connsiteY174" fmla="*/ 6831042 h 6858290"/>
              <a:gd name="connsiteX175" fmla="*/ 2212361 w 12139750"/>
              <a:gd name="connsiteY175" fmla="*/ 6815837 h 6858290"/>
              <a:gd name="connsiteX176" fmla="*/ 2206641 w 12139750"/>
              <a:gd name="connsiteY176" fmla="*/ 6798733 h 6858290"/>
              <a:gd name="connsiteX177" fmla="*/ 2225706 w 12139750"/>
              <a:gd name="connsiteY177" fmla="*/ 6764523 h 6858290"/>
              <a:gd name="connsiteX178" fmla="*/ 2565057 w 12139750"/>
              <a:gd name="connsiteY178" fmla="*/ 6582072 h 6858290"/>
              <a:gd name="connsiteX179" fmla="*/ 2592701 w 12139750"/>
              <a:gd name="connsiteY179" fmla="*/ 6578033 h 6858290"/>
              <a:gd name="connsiteX180" fmla="*/ 3153211 w 12139750"/>
              <a:gd name="connsiteY180" fmla="*/ 6564138 h 6858290"/>
              <a:gd name="connsiteX181" fmla="*/ 3175070 w 12139750"/>
              <a:gd name="connsiteY181" fmla="*/ 6580749 h 6858290"/>
              <a:gd name="connsiteX182" fmla="*/ 3161766 w 12139750"/>
              <a:gd name="connsiteY182" fmla="*/ 6630106 h 6858290"/>
              <a:gd name="connsiteX183" fmla="*/ 2825350 w 12139750"/>
              <a:gd name="connsiteY183" fmla="*/ 6819941 h 6858290"/>
              <a:gd name="connsiteX184" fmla="*/ 2775931 w 12139750"/>
              <a:gd name="connsiteY184" fmla="*/ 6804754 h 6858290"/>
              <a:gd name="connsiteX185" fmla="*/ 2770229 w 12139750"/>
              <a:gd name="connsiteY185" fmla="*/ 6787669 h 6858290"/>
              <a:gd name="connsiteX186" fmla="*/ 2789236 w 12139750"/>
              <a:gd name="connsiteY186" fmla="*/ 6757295 h 6858290"/>
              <a:gd name="connsiteX187" fmla="*/ 3125653 w 12139750"/>
              <a:gd name="connsiteY187" fmla="*/ 6567460 h 6858290"/>
              <a:gd name="connsiteX188" fmla="*/ 3153211 w 12139750"/>
              <a:gd name="connsiteY188" fmla="*/ 6564138 h 6858290"/>
              <a:gd name="connsiteX189" fmla="*/ 9862101 w 12139750"/>
              <a:gd name="connsiteY189" fmla="*/ 6403755 h 6858290"/>
              <a:gd name="connsiteX190" fmla="*/ 9902911 w 12139750"/>
              <a:gd name="connsiteY190" fmla="*/ 6429975 h 6858290"/>
              <a:gd name="connsiteX191" fmla="*/ 9880000 w 12139750"/>
              <a:gd name="connsiteY191" fmla="*/ 6487052 h 6858290"/>
              <a:gd name="connsiteX192" fmla="*/ 9540159 w 12139750"/>
              <a:gd name="connsiteY192" fmla="*/ 6637356 h 6858290"/>
              <a:gd name="connsiteX193" fmla="*/ 9482882 w 12139750"/>
              <a:gd name="connsiteY193" fmla="*/ 6614525 h 6858290"/>
              <a:gd name="connsiteX194" fmla="*/ 9479064 w 12139750"/>
              <a:gd name="connsiteY194" fmla="*/ 6597402 h 6858290"/>
              <a:gd name="connsiteX195" fmla="*/ 9505793 w 12139750"/>
              <a:gd name="connsiteY195" fmla="*/ 6557447 h 6858290"/>
              <a:gd name="connsiteX196" fmla="*/ 9845634 w 12139750"/>
              <a:gd name="connsiteY196" fmla="*/ 6407144 h 6858290"/>
              <a:gd name="connsiteX197" fmla="*/ 9862101 w 12139750"/>
              <a:gd name="connsiteY197" fmla="*/ 6403755 h 6858290"/>
              <a:gd name="connsiteX198" fmla="*/ 10444609 w 12139750"/>
              <a:gd name="connsiteY198" fmla="*/ 6390314 h 6858290"/>
              <a:gd name="connsiteX199" fmla="*/ 10483665 w 12139750"/>
              <a:gd name="connsiteY199" fmla="*/ 6415894 h 6858290"/>
              <a:gd name="connsiteX200" fmla="*/ 10462740 w 12139750"/>
              <a:gd name="connsiteY200" fmla="*/ 6473334 h 6858290"/>
              <a:gd name="connsiteX201" fmla="*/ 10124143 w 12139750"/>
              <a:gd name="connsiteY201" fmla="*/ 6624595 h 6858290"/>
              <a:gd name="connsiteX202" fmla="*/ 10067076 w 12139750"/>
              <a:gd name="connsiteY202" fmla="*/ 6603534 h 6858290"/>
              <a:gd name="connsiteX203" fmla="*/ 10063272 w 12139750"/>
              <a:gd name="connsiteY203" fmla="*/ 6586301 h 6858290"/>
              <a:gd name="connsiteX204" fmla="*/ 10088001 w 12139750"/>
              <a:gd name="connsiteY204" fmla="*/ 6546093 h 6858290"/>
              <a:gd name="connsiteX205" fmla="*/ 10428500 w 12139750"/>
              <a:gd name="connsiteY205" fmla="*/ 6394832 h 6858290"/>
              <a:gd name="connsiteX206" fmla="*/ 10444609 w 12139750"/>
              <a:gd name="connsiteY206" fmla="*/ 6390314 h 6858290"/>
              <a:gd name="connsiteX207" fmla="*/ 9283606 w 12139750"/>
              <a:gd name="connsiteY207" fmla="*/ 6390314 h 6858290"/>
              <a:gd name="connsiteX208" fmla="*/ 9323493 w 12139750"/>
              <a:gd name="connsiteY208" fmla="*/ 6415894 h 6858290"/>
              <a:gd name="connsiteX209" fmla="*/ 9302553 w 12139750"/>
              <a:gd name="connsiteY209" fmla="*/ 6473334 h 6858290"/>
              <a:gd name="connsiteX210" fmla="*/ 8961805 w 12139750"/>
              <a:gd name="connsiteY210" fmla="*/ 6624595 h 6858290"/>
              <a:gd name="connsiteX211" fmla="*/ 8906600 w 12139750"/>
              <a:gd name="connsiteY211" fmla="*/ 6603534 h 6858290"/>
              <a:gd name="connsiteX212" fmla="*/ 8902793 w 12139750"/>
              <a:gd name="connsiteY212" fmla="*/ 6586301 h 6858290"/>
              <a:gd name="connsiteX213" fmla="*/ 8927540 w 12139750"/>
              <a:gd name="connsiteY213" fmla="*/ 6546093 h 6858290"/>
              <a:gd name="connsiteX214" fmla="*/ 9266384 w 12139750"/>
              <a:gd name="connsiteY214" fmla="*/ 6394832 h 6858290"/>
              <a:gd name="connsiteX215" fmla="*/ 9283606 w 12139750"/>
              <a:gd name="connsiteY215" fmla="*/ 6390314 h 6858290"/>
              <a:gd name="connsiteX216" fmla="*/ 11020686 w 12139750"/>
              <a:gd name="connsiteY216" fmla="*/ 6377294 h 6858290"/>
              <a:gd name="connsiteX217" fmla="*/ 11061795 w 12139750"/>
              <a:gd name="connsiteY217" fmla="*/ 6402947 h 6858290"/>
              <a:gd name="connsiteX218" fmla="*/ 11038867 w 12139750"/>
              <a:gd name="connsiteY218" fmla="*/ 6458052 h 6858290"/>
              <a:gd name="connsiteX219" fmla="*/ 10698772 w 12139750"/>
              <a:gd name="connsiteY219" fmla="*/ 6611968 h 6858290"/>
              <a:gd name="connsiteX220" fmla="*/ 10643363 w 12139750"/>
              <a:gd name="connsiteY220" fmla="*/ 6591066 h 6858290"/>
              <a:gd name="connsiteX221" fmla="*/ 10639542 w 12139750"/>
              <a:gd name="connsiteY221" fmla="*/ 6573964 h 6858290"/>
              <a:gd name="connsiteX222" fmla="*/ 10664380 w 12139750"/>
              <a:gd name="connsiteY222" fmla="*/ 6534060 h 6858290"/>
              <a:gd name="connsiteX223" fmla="*/ 11004475 w 12139750"/>
              <a:gd name="connsiteY223" fmla="*/ 6382045 h 6858290"/>
              <a:gd name="connsiteX224" fmla="*/ 11020686 w 12139750"/>
              <a:gd name="connsiteY224" fmla="*/ 6377294 h 6858290"/>
              <a:gd name="connsiteX225" fmla="*/ 8711110 w 12139750"/>
              <a:gd name="connsiteY225" fmla="*/ 6377294 h 6858290"/>
              <a:gd name="connsiteX226" fmla="*/ 8751951 w 12139750"/>
              <a:gd name="connsiteY226" fmla="*/ 6402947 h 6858290"/>
              <a:gd name="connsiteX227" fmla="*/ 8730934 w 12139750"/>
              <a:gd name="connsiteY227" fmla="*/ 6458052 h 6858290"/>
              <a:gd name="connsiteX228" fmla="*/ 8388928 w 12139750"/>
              <a:gd name="connsiteY228" fmla="*/ 6611968 h 6858290"/>
              <a:gd name="connsiteX229" fmla="*/ 8333519 w 12139750"/>
              <a:gd name="connsiteY229" fmla="*/ 6591066 h 6858290"/>
              <a:gd name="connsiteX230" fmla="*/ 8329698 w 12139750"/>
              <a:gd name="connsiteY230" fmla="*/ 6573964 h 6858290"/>
              <a:gd name="connsiteX231" fmla="*/ 8354536 w 12139750"/>
              <a:gd name="connsiteY231" fmla="*/ 6534060 h 6858290"/>
              <a:gd name="connsiteX232" fmla="*/ 8694631 w 12139750"/>
              <a:gd name="connsiteY232" fmla="*/ 6382045 h 6858290"/>
              <a:gd name="connsiteX233" fmla="*/ 8711110 w 12139750"/>
              <a:gd name="connsiteY233" fmla="*/ 6377294 h 6858290"/>
              <a:gd name="connsiteX234" fmla="*/ 8145353 w 12139750"/>
              <a:gd name="connsiteY234" fmla="*/ 6364557 h 6858290"/>
              <a:gd name="connsiteX235" fmla="*/ 8185240 w 12139750"/>
              <a:gd name="connsiteY235" fmla="*/ 6388309 h 6858290"/>
              <a:gd name="connsiteX236" fmla="*/ 8164300 w 12139750"/>
              <a:gd name="connsiteY236" fmla="*/ 6445244 h 6858290"/>
              <a:gd name="connsiteX237" fmla="*/ 7825456 w 12139750"/>
              <a:gd name="connsiteY237" fmla="*/ 6600868 h 6858290"/>
              <a:gd name="connsiteX238" fmla="*/ 7768347 w 12139750"/>
              <a:gd name="connsiteY238" fmla="*/ 6579991 h 6858290"/>
              <a:gd name="connsiteX239" fmla="*/ 7764540 w 12139750"/>
              <a:gd name="connsiteY239" fmla="*/ 6562911 h 6858290"/>
              <a:gd name="connsiteX240" fmla="*/ 7789287 w 12139750"/>
              <a:gd name="connsiteY240" fmla="*/ 6523056 h 6858290"/>
              <a:gd name="connsiteX241" fmla="*/ 8128131 w 12139750"/>
              <a:gd name="connsiteY241" fmla="*/ 6369331 h 6858290"/>
              <a:gd name="connsiteX242" fmla="*/ 8145353 w 12139750"/>
              <a:gd name="connsiteY242" fmla="*/ 6364557 h 6858290"/>
              <a:gd name="connsiteX243" fmla="*/ 11589455 w 12139750"/>
              <a:gd name="connsiteY243" fmla="*/ 6364556 h 6858290"/>
              <a:gd name="connsiteX244" fmla="*/ 11628568 w 12139750"/>
              <a:gd name="connsiteY244" fmla="*/ 6388309 h 6858290"/>
              <a:gd name="connsiteX245" fmla="*/ 11607613 w 12139750"/>
              <a:gd name="connsiteY245" fmla="*/ 6445244 h 6858290"/>
              <a:gd name="connsiteX246" fmla="*/ 11268518 w 12139750"/>
              <a:gd name="connsiteY246" fmla="*/ 6600868 h 6858290"/>
              <a:gd name="connsiteX247" fmla="*/ 11213272 w 12139750"/>
              <a:gd name="connsiteY247" fmla="*/ 6579991 h 6858290"/>
              <a:gd name="connsiteX248" fmla="*/ 11209462 w 12139750"/>
              <a:gd name="connsiteY248" fmla="*/ 6562911 h 6858290"/>
              <a:gd name="connsiteX249" fmla="*/ 11234227 w 12139750"/>
              <a:gd name="connsiteY249" fmla="*/ 6523056 h 6858290"/>
              <a:gd name="connsiteX250" fmla="*/ 11573322 w 12139750"/>
              <a:gd name="connsiteY250" fmla="*/ 6369331 h 6858290"/>
              <a:gd name="connsiteX251" fmla="*/ 11589455 w 12139750"/>
              <a:gd name="connsiteY251" fmla="*/ 6364556 h 6858290"/>
              <a:gd name="connsiteX252" fmla="*/ 12139750 w 12139750"/>
              <a:gd name="connsiteY252" fmla="*/ 6353181 h 6858290"/>
              <a:gd name="connsiteX253" fmla="*/ 12139750 w 12139750"/>
              <a:gd name="connsiteY253" fmla="*/ 6444739 h 6858290"/>
              <a:gd name="connsiteX254" fmla="*/ 11833573 w 12139750"/>
              <a:gd name="connsiteY254" fmla="*/ 6587799 h 6858290"/>
              <a:gd name="connsiteX255" fmla="*/ 11778423 w 12139750"/>
              <a:gd name="connsiteY255" fmla="*/ 6568724 h 6858290"/>
              <a:gd name="connsiteX256" fmla="*/ 11774620 w 12139750"/>
              <a:gd name="connsiteY256" fmla="*/ 6551557 h 6858290"/>
              <a:gd name="connsiteX257" fmla="*/ 11797441 w 12139750"/>
              <a:gd name="connsiteY257" fmla="*/ 6513408 h 6858290"/>
              <a:gd name="connsiteX258" fmla="*/ 12135947 w 12139750"/>
              <a:gd name="connsiteY258" fmla="*/ 6355088 h 6858290"/>
              <a:gd name="connsiteX259" fmla="*/ 12139750 w 12139750"/>
              <a:gd name="connsiteY259" fmla="*/ 6353181 h 6858290"/>
              <a:gd name="connsiteX260" fmla="*/ 7585725 w 12139750"/>
              <a:gd name="connsiteY260" fmla="*/ 6350302 h 6858290"/>
              <a:gd name="connsiteX261" fmla="*/ 7624838 w 12139750"/>
              <a:gd name="connsiteY261" fmla="*/ 6374174 h 6858290"/>
              <a:gd name="connsiteX262" fmla="*/ 7605787 w 12139750"/>
              <a:gd name="connsiteY262" fmla="*/ 6429488 h 6858290"/>
              <a:gd name="connsiteX263" fmla="*/ 7264788 w 12139750"/>
              <a:gd name="connsiteY263" fmla="*/ 6587800 h 6858290"/>
              <a:gd name="connsiteX264" fmla="*/ 7209542 w 12139750"/>
              <a:gd name="connsiteY264" fmla="*/ 6568726 h 6858290"/>
              <a:gd name="connsiteX265" fmla="*/ 7205732 w 12139750"/>
              <a:gd name="connsiteY265" fmla="*/ 6551559 h 6858290"/>
              <a:gd name="connsiteX266" fmla="*/ 7230497 w 12139750"/>
              <a:gd name="connsiteY266" fmla="*/ 6513412 h 6858290"/>
              <a:gd name="connsiteX267" fmla="*/ 7569592 w 12139750"/>
              <a:gd name="connsiteY267" fmla="*/ 6355100 h 6858290"/>
              <a:gd name="connsiteX268" fmla="*/ 7585725 w 12139750"/>
              <a:gd name="connsiteY268" fmla="*/ 6350302 h 6858290"/>
              <a:gd name="connsiteX269" fmla="*/ 7049044 w 12139750"/>
              <a:gd name="connsiteY269" fmla="*/ 6340183 h 6858290"/>
              <a:gd name="connsiteX270" fmla="*/ 7072381 w 12139750"/>
              <a:gd name="connsiteY270" fmla="*/ 6361190 h 6858290"/>
              <a:gd name="connsiteX271" fmla="*/ 7051425 w 12139750"/>
              <a:gd name="connsiteY271" fmla="*/ 6416574 h 6858290"/>
              <a:gd name="connsiteX272" fmla="*/ 6714236 w 12139750"/>
              <a:gd name="connsiteY272" fmla="*/ 6576995 h 6858290"/>
              <a:gd name="connsiteX273" fmla="*/ 6658990 w 12139750"/>
              <a:gd name="connsiteY273" fmla="*/ 6557897 h 6858290"/>
              <a:gd name="connsiteX274" fmla="*/ 6653275 w 12139750"/>
              <a:gd name="connsiteY274" fmla="*/ 6540709 h 6858290"/>
              <a:gd name="connsiteX275" fmla="*/ 6678040 w 12139750"/>
              <a:gd name="connsiteY275" fmla="*/ 6502514 h 6858290"/>
              <a:gd name="connsiteX276" fmla="*/ 7017135 w 12139750"/>
              <a:gd name="connsiteY276" fmla="*/ 6342093 h 6858290"/>
              <a:gd name="connsiteX277" fmla="*/ 7049044 w 12139750"/>
              <a:gd name="connsiteY277" fmla="*/ 6340183 h 6858290"/>
              <a:gd name="connsiteX278" fmla="*/ 6502912 w 12139750"/>
              <a:gd name="connsiteY278" fmla="*/ 6327426 h 6858290"/>
              <a:gd name="connsiteX279" fmla="*/ 6526266 w 12139750"/>
              <a:gd name="connsiteY279" fmla="*/ 6348277 h 6858290"/>
              <a:gd name="connsiteX280" fmla="*/ 6507201 w 12139750"/>
              <a:gd name="connsiteY280" fmla="*/ 6401351 h 6858290"/>
              <a:gd name="connsiteX281" fmla="*/ 6167854 w 12139750"/>
              <a:gd name="connsiteY281" fmla="*/ 6564366 h 6858290"/>
              <a:gd name="connsiteX282" fmla="*/ 6112568 w 12139750"/>
              <a:gd name="connsiteY282" fmla="*/ 6545411 h 6858290"/>
              <a:gd name="connsiteX283" fmla="*/ 6108755 w 12139750"/>
              <a:gd name="connsiteY283" fmla="*/ 6528351 h 6858290"/>
              <a:gd name="connsiteX284" fmla="*/ 6131632 w 12139750"/>
              <a:gd name="connsiteY284" fmla="*/ 6490441 h 6858290"/>
              <a:gd name="connsiteX285" fmla="*/ 6470979 w 12139750"/>
              <a:gd name="connsiteY285" fmla="*/ 6329321 h 6858290"/>
              <a:gd name="connsiteX286" fmla="*/ 6502912 w 12139750"/>
              <a:gd name="connsiteY286" fmla="*/ 6327426 h 6858290"/>
              <a:gd name="connsiteX287" fmla="*/ 5955853 w 12139750"/>
              <a:gd name="connsiteY287" fmla="*/ 6313176 h 6858290"/>
              <a:gd name="connsiteX288" fmla="*/ 5978253 w 12139750"/>
              <a:gd name="connsiteY288" fmla="*/ 6334131 h 6858290"/>
              <a:gd name="connsiteX289" fmla="*/ 5961095 w 12139750"/>
              <a:gd name="connsiteY289" fmla="*/ 6387471 h 6858290"/>
              <a:gd name="connsiteX290" fmla="*/ 5621756 w 12139750"/>
              <a:gd name="connsiteY290" fmla="*/ 6553206 h 6858290"/>
              <a:gd name="connsiteX291" fmla="*/ 5566471 w 12139750"/>
              <a:gd name="connsiteY291" fmla="*/ 6534156 h 6858290"/>
              <a:gd name="connsiteX292" fmla="*/ 5562658 w 12139750"/>
              <a:gd name="connsiteY292" fmla="*/ 6517011 h 6858290"/>
              <a:gd name="connsiteX293" fmla="*/ 5585535 w 12139750"/>
              <a:gd name="connsiteY293" fmla="*/ 6478911 h 6858290"/>
              <a:gd name="connsiteX294" fmla="*/ 5924874 w 12139750"/>
              <a:gd name="connsiteY294" fmla="*/ 6315081 h 6858290"/>
              <a:gd name="connsiteX295" fmla="*/ 5955853 w 12139750"/>
              <a:gd name="connsiteY295" fmla="*/ 6313176 h 6858290"/>
              <a:gd name="connsiteX296" fmla="*/ 396081 w 12139750"/>
              <a:gd name="connsiteY296" fmla="*/ 6313176 h 6858290"/>
              <a:gd name="connsiteX297" fmla="*/ 419127 w 12139750"/>
              <a:gd name="connsiteY297" fmla="*/ 6334131 h 6858290"/>
              <a:gd name="connsiteX298" fmla="*/ 400120 w 12139750"/>
              <a:gd name="connsiteY298" fmla="*/ 6387471 h 6858290"/>
              <a:gd name="connsiteX299" fmla="*/ 63687 w 12139750"/>
              <a:gd name="connsiteY299" fmla="*/ 6553206 h 6858290"/>
              <a:gd name="connsiteX300" fmla="*/ 8565 w 12139750"/>
              <a:gd name="connsiteY300" fmla="*/ 6534156 h 6858290"/>
              <a:gd name="connsiteX301" fmla="*/ 4764 w 12139750"/>
              <a:gd name="connsiteY301" fmla="*/ 6517011 h 6858290"/>
              <a:gd name="connsiteX302" fmla="*/ 27573 w 12139750"/>
              <a:gd name="connsiteY302" fmla="*/ 6478911 h 6858290"/>
              <a:gd name="connsiteX303" fmla="*/ 365906 w 12139750"/>
              <a:gd name="connsiteY303" fmla="*/ 6315081 h 6858290"/>
              <a:gd name="connsiteX304" fmla="*/ 396081 w 12139750"/>
              <a:gd name="connsiteY304" fmla="*/ 6313176 h 6858290"/>
              <a:gd name="connsiteX305" fmla="*/ 5405334 w 12139750"/>
              <a:gd name="connsiteY305" fmla="*/ 6300229 h 6858290"/>
              <a:gd name="connsiteX306" fmla="*/ 5429330 w 12139750"/>
              <a:gd name="connsiteY306" fmla="*/ 6319493 h 6858290"/>
              <a:gd name="connsiteX307" fmla="*/ 5410323 w 12139750"/>
              <a:gd name="connsiteY307" fmla="*/ 6372768 h 6858290"/>
              <a:gd name="connsiteX308" fmla="*/ 5071988 w 12139750"/>
              <a:gd name="connsiteY308" fmla="*/ 6540203 h 6858290"/>
              <a:gd name="connsiteX309" fmla="*/ 5018774 w 12139750"/>
              <a:gd name="connsiteY309" fmla="*/ 6523079 h 6858290"/>
              <a:gd name="connsiteX310" fmla="*/ 5014971 w 12139750"/>
              <a:gd name="connsiteY310" fmla="*/ 6505955 h 6858290"/>
              <a:gd name="connsiteX311" fmla="*/ 5037777 w 12139750"/>
              <a:gd name="connsiteY311" fmla="*/ 6469804 h 6858290"/>
              <a:gd name="connsiteX312" fmla="*/ 5374210 w 12139750"/>
              <a:gd name="connsiteY312" fmla="*/ 6302369 h 6858290"/>
              <a:gd name="connsiteX313" fmla="*/ 5405334 w 12139750"/>
              <a:gd name="connsiteY313" fmla="*/ 6300229 h 6858290"/>
              <a:gd name="connsiteX314" fmla="*/ 940474 w 12139750"/>
              <a:gd name="connsiteY314" fmla="*/ 6300229 h 6858290"/>
              <a:gd name="connsiteX315" fmla="*/ 963607 w 12139750"/>
              <a:gd name="connsiteY315" fmla="*/ 6319493 h 6858290"/>
              <a:gd name="connsiteX316" fmla="*/ 944529 w 12139750"/>
              <a:gd name="connsiteY316" fmla="*/ 6372768 h 6858290"/>
              <a:gd name="connsiteX317" fmla="*/ 606835 w 12139750"/>
              <a:gd name="connsiteY317" fmla="*/ 6540203 h 6858290"/>
              <a:gd name="connsiteX318" fmla="*/ 551507 w 12139750"/>
              <a:gd name="connsiteY318" fmla="*/ 6523079 h 6858290"/>
              <a:gd name="connsiteX319" fmla="*/ 547691 w 12139750"/>
              <a:gd name="connsiteY319" fmla="*/ 6505955 h 6858290"/>
              <a:gd name="connsiteX320" fmla="*/ 570586 w 12139750"/>
              <a:gd name="connsiteY320" fmla="*/ 6469804 h 6858290"/>
              <a:gd name="connsiteX321" fmla="*/ 910187 w 12139750"/>
              <a:gd name="connsiteY321" fmla="*/ 6302369 h 6858290"/>
              <a:gd name="connsiteX322" fmla="*/ 940474 w 12139750"/>
              <a:gd name="connsiteY322" fmla="*/ 6300229 h 6858290"/>
              <a:gd name="connsiteX323" fmla="*/ 4851394 w 12139750"/>
              <a:gd name="connsiteY323" fmla="*/ 6285987 h 6858290"/>
              <a:gd name="connsiteX324" fmla="*/ 4875244 w 12139750"/>
              <a:gd name="connsiteY324" fmla="*/ 6305369 h 6858290"/>
              <a:gd name="connsiteX325" fmla="*/ 4856163 w 12139750"/>
              <a:gd name="connsiteY325" fmla="*/ 6358971 h 6858290"/>
              <a:gd name="connsiteX326" fmla="*/ 4518476 w 12139750"/>
              <a:gd name="connsiteY326" fmla="*/ 6529347 h 6858290"/>
              <a:gd name="connsiteX327" fmla="*/ 4465055 w 12139750"/>
              <a:gd name="connsiteY327" fmla="*/ 6512118 h 6858290"/>
              <a:gd name="connsiteX328" fmla="*/ 4459332 w 12139750"/>
              <a:gd name="connsiteY328" fmla="*/ 6494889 h 6858290"/>
              <a:gd name="connsiteX329" fmla="*/ 4482226 w 12139750"/>
              <a:gd name="connsiteY329" fmla="*/ 6458517 h 6858290"/>
              <a:gd name="connsiteX330" fmla="*/ 4821817 w 12139750"/>
              <a:gd name="connsiteY330" fmla="*/ 6288140 h 6858290"/>
              <a:gd name="connsiteX331" fmla="*/ 4851394 w 12139750"/>
              <a:gd name="connsiteY331" fmla="*/ 6285987 h 6858290"/>
              <a:gd name="connsiteX332" fmla="*/ 1486674 w 12139750"/>
              <a:gd name="connsiteY332" fmla="*/ 6285987 h 6858290"/>
              <a:gd name="connsiteX333" fmla="*/ 1509738 w 12139750"/>
              <a:gd name="connsiteY333" fmla="*/ 6305369 h 6858290"/>
              <a:gd name="connsiteX334" fmla="*/ 1492618 w 12139750"/>
              <a:gd name="connsiteY334" fmla="*/ 6358971 h 6858290"/>
              <a:gd name="connsiteX335" fmla="*/ 1154033 w 12139750"/>
              <a:gd name="connsiteY335" fmla="*/ 6529347 h 6858290"/>
              <a:gd name="connsiteX336" fmla="*/ 1100773 w 12139750"/>
              <a:gd name="connsiteY336" fmla="*/ 6512118 h 6858290"/>
              <a:gd name="connsiteX337" fmla="*/ 1096968 w 12139750"/>
              <a:gd name="connsiteY337" fmla="*/ 6494889 h 6858290"/>
              <a:gd name="connsiteX338" fmla="*/ 1117892 w 12139750"/>
              <a:gd name="connsiteY338" fmla="*/ 6458517 h 6858290"/>
              <a:gd name="connsiteX339" fmla="*/ 1456477 w 12139750"/>
              <a:gd name="connsiteY339" fmla="*/ 6288140 h 6858290"/>
              <a:gd name="connsiteX340" fmla="*/ 1486674 w 12139750"/>
              <a:gd name="connsiteY340" fmla="*/ 6285987 h 6858290"/>
              <a:gd name="connsiteX341" fmla="*/ 4292528 w 12139750"/>
              <a:gd name="connsiteY341" fmla="*/ 6273233 h 6858290"/>
              <a:gd name="connsiteX342" fmla="*/ 4314879 w 12139750"/>
              <a:gd name="connsiteY342" fmla="*/ 6292474 h 6858290"/>
              <a:gd name="connsiteX343" fmla="*/ 4297758 w 12139750"/>
              <a:gd name="connsiteY343" fmla="*/ 6345684 h 6858290"/>
              <a:gd name="connsiteX344" fmla="*/ 3961098 w 12139750"/>
              <a:gd name="connsiteY344" fmla="*/ 6516717 h 6858290"/>
              <a:gd name="connsiteX345" fmla="*/ 3907833 w 12139750"/>
              <a:gd name="connsiteY345" fmla="*/ 6499614 h 6858290"/>
              <a:gd name="connsiteX346" fmla="*/ 3902127 w 12139750"/>
              <a:gd name="connsiteY346" fmla="*/ 6482510 h 6858290"/>
              <a:gd name="connsiteX347" fmla="*/ 3924953 w 12139750"/>
              <a:gd name="connsiteY347" fmla="*/ 6446403 h 6858290"/>
              <a:gd name="connsiteX348" fmla="*/ 4261616 w 12139750"/>
              <a:gd name="connsiteY348" fmla="*/ 6275371 h 6858290"/>
              <a:gd name="connsiteX349" fmla="*/ 4292528 w 12139750"/>
              <a:gd name="connsiteY349" fmla="*/ 6273233 h 6858290"/>
              <a:gd name="connsiteX350" fmla="*/ 2038415 w 12139750"/>
              <a:gd name="connsiteY350" fmla="*/ 6273233 h 6858290"/>
              <a:gd name="connsiteX351" fmla="*/ 2062198 w 12139750"/>
              <a:gd name="connsiteY351" fmla="*/ 6292474 h 6858290"/>
              <a:gd name="connsiteX352" fmla="*/ 2045072 w 12139750"/>
              <a:gd name="connsiteY352" fmla="*/ 6345684 h 6858290"/>
              <a:gd name="connsiteX353" fmla="*/ 1706487 w 12139750"/>
              <a:gd name="connsiteY353" fmla="*/ 6516717 h 6858290"/>
              <a:gd name="connsiteX354" fmla="*/ 1653226 w 12139750"/>
              <a:gd name="connsiteY354" fmla="*/ 6499614 h 6858290"/>
              <a:gd name="connsiteX355" fmla="*/ 1649422 w 12139750"/>
              <a:gd name="connsiteY355" fmla="*/ 6482510 h 6858290"/>
              <a:gd name="connsiteX356" fmla="*/ 1670346 w 12139750"/>
              <a:gd name="connsiteY356" fmla="*/ 6446403 h 6858290"/>
              <a:gd name="connsiteX357" fmla="*/ 2008931 w 12139750"/>
              <a:gd name="connsiteY357" fmla="*/ 6275371 h 6858290"/>
              <a:gd name="connsiteX358" fmla="*/ 2038415 w 12139750"/>
              <a:gd name="connsiteY358" fmla="*/ 6273233 h 6858290"/>
              <a:gd name="connsiteX359" fmla="*/ 3729186 w 12139750"/>
              <a:gd name="connsiteY359" fmla="*/ 6260524 h 6858290"/>
              <a:gd name="connsiteX360" fmla="*/ 3751317 w 12139750"/>
              <a:gd name="connsiteY360" fmla="*/ 6279742 h 6858290"/>
              <a:gd name="connsiteX361" fmla="*/ 3736088 w 12139750"/>
              <a:gd name="connsiteY361" fmla="*/ 6330991 h 6858290"/>
              <a:gd name="connsiteX362" fmla="*/ 3397264 w 12139750"/>
              <a:gd name="connsiteY362" fmla="*/ 6505616 h 6858290"/>
              <a:gd name="connsiteX363" fmla="*/ 3345866 w 12139750"/>
              <a:gd name="connsiteY363" fmla="*/ 6488533 h 6858290"/>
              <a:gd name="connsiteX364" fmla="*/ 3340155 w 12139750"/>
              <a:gd name="connsiteY364" fmla="*/ 6469552 h 6858290"/>
              <a:gd name="connsiteX365" fmla="*/ 3361094 w 12139750"/>
              <a:gd name="connsiteY365" fmla="*/ 6435386 h 6858290"/>
              <a:gd name="connsiteX366" fmla="*/ 3699919 w 12139750"/>
              <a:gd name="connsiteY366" fmla="*/ 6262659 h 6858290"/>
              <a:gd name="connsiteX367" fmla="*/ 3729186 w 12139750"/>
              <a:gd name="connsiteY367" fmla="*/ 6260524 h 6858290"/>
              <a:gd name="connsiteX368" fmla="*/ 2595567 w 12139750"/>
              <a:gd name="connsiteY368" fmla="*/ 6260524 h 6858290"/>
              <a:gd name="connsiteX369" fmla="*/ 2617780 w 12139750"/>
              <a:gd name="connsiteY369" fmla="*/ 6279742 h 6858290"/>
              <a:gd name="connsiteX370" fmla="*/ 2600583 w 12139750"/>
              <a:gd name="connsiteY370" fmla="*/ 6330991 h 6858290"/>
              <a:gd name="connsiteX371" fmla="*/ 2262377 w 12139750"/>
              <a:gd name="connsiteY371" fmla="*/ 6505616 h 6858290"/>
              <a:gd name="connsiteX372" fmla="*/ 2210786 w 12139750"/>
              <a:gd name="connsiteY372" fmla="*/ 6488533 h 6858290"/>
              <a:gd name="connsiteX373" fmla="*/ 2205054 w 12139750"/>
              <a:gd name="connsiteY373" fmla="*/ 6469552 h 6858290"/>
              <a:gd name="connsiteX374" fmla="*/ 2226073 w 12139750"/>
              <a:gd name="connsiteY374" fmla="*/ 6435386 h 6858290"/>
              <a:gd name="connsiteX375" fmla="*/ 2566189 w 12139750"/>
              <a:gd name="connsiteY375" fmla="*/ 6262659 h 6858290"/>
              <a:gd name="connsiteX376" fmla="*/ 2595567 w 12139750"/>
              <a:gd name="connsiteY376" fmla="*/ 6260524 h 6858290"/>
              <a:gd name="connsiteX377" fmla="*/ 3155659 w 12139750"/>
              <a:gd name="connsiteY377" fmla="*/ 6245326 h 6858290"/>
              <a:gd name="connsiteX378" fmla="*/ 3177874 w 12139750"/>
              <a:gd name="connsiteY378" fmla="*/ 6263706 h 6858290"/>
              <a:gd name="connsiteX379" fmla="*/ 3162585 w 12139750"/>
              <a:gd name="connsiteY379" fmla="*/ 6317174 h 6858290"/>
              <a:gd name="connsiteX380" fmla="*/ 2822468 w 12139750"/>
              <a:gd name="connsiteY380" fmla="*/ 6492858 h 6858290"/>
              <a:gd name="connsiteX381" fmla="*/ 2770875 w 12139750"/>
              <a:gd name="connsiteY381" fmla="*/ 6477581 h 6858290"/>
              <a:gd name="connsiteX382" fmla="*/ 2767055 w 12139750"/>
              <a:gd name="connsiteY382" fmla="*/ 6458485 h 6858290"/>
              <a:gd name="connsiteX383" fmla="*/ 2788072 w 12139750"/>
              <a:gd name="connsiteY383" fmla="*/ 6426022 h 6858290"/>
              <a:gd name="connsiteX384" fmla="*/ 3126282 w 12139750"/>
              <a:gd name="connsiteY384" fmla="*/ 6248429 h 6858290"/>
              <a:gd name="connsiteX385" fmla="*/ 3155659 w 12139750"/>
              <a:gd name="connsiteY385" fmla="*/ 6245326 h 6858290"/>
              <a:gd name="connsiteX386" fmla="*/ 9874931 w 12139750"/>
              <a:gd name="connsiteY386" fmla="*/ 6079814 h 6858290"/>
              <a:gd name="connsiteX387" fmla="*/ 9898198 w 12139750"/>
              <a:gd name="connsiteY387" fmla="*/ 6100769 h 6858290"/>
              <a:gd name="connsiteX388" fmla="*/ 9879205 w 12139750"/>
              <a:gd name="connsiteY388" fmla="*/ 6154109 h 6858290"/>
              <a:gd name="connsiteX389" fmla="*/ 9541119 w 12139750"/>
              <a:gd name="connsiteY389" fmla="*/ 6319844 h 6858290"/>
              <a:gd name="connsiteX390" fmla="*/ 9487937 w 12139750"/>
              <a:gd name="connsiteY390" fmla="*/ 6300794 h 6858290"/>
              <a:gd name="connsiteX391" fmla="*/ 9482239 w 12139750"/>
              <a:gd name="connsiteY391" fmla="*/ 6281744 h 6858290"/>
              <a:gd name="connsiteX392" fmla="*/ 9506931 w 12139750"/>
              <a:gd name="connsiteY392" fmla="*/ 6245549 h 6858290"/>
              <a:gd name="connsiteX393" fmla="*/ 9843117 w 12139750"/>
              <a:gd name="connsiteY393" fmla="*/ 6081719 h 6858290"/>
              <a:gd name="connsiteX394" fmla="*/ 9874931 w 12139750"/>
              <a:gd name="connsiteY394" fmla="*/ 6079814 h 6858290"/>
              <a:gd name="connsiteX395" fmla="*/ 10459016 w 12139750"/>
              <a:gd name="connsiteY395" fmla="*/ 6066240 h 6858290"/>
              <a:gd name="connsiteX396" fmla="*/ 10482370 w 12139750"/>
              <a:gd name="connsiteY396" fmla="*/ 6086481 h 6858290"/>
              <a:gd name="connsiteX397" fmla="*/ 10463305 w 12139750"/>
              <a:gd name="connsiteY397" fmla="*/ 6141726 h 6858290"/>
              <a:gd name="connsiteX398" fmla="*/ 10123959 w 12139750"/>
              <a:gd name="connsiteY398" fmla="*/ 6305556 h 6858290"/>
              <a:gd name="connsiteX399" fmla="*/ 10068672 w 12139750"/>
              <a:gd name="connsiteY399" fmla="*/ 6286506 h 6858290"/>
              <a:gd name="connsiteX400" fmla="*/ 10064859 w 12139750"/>
              <a:gd name="connsiteY400" fmla="*/ 6269361 h 6858290"/>
              <a:gd name="connsiteX401" fmla="*/ 10087736 w 12139750"/>
              <a:gd name="connsiteY401" fmla="*/ 6231261 h 6858290"/>
              <a:gd name="connsiteX402" fmla="*/ 10427083 w 12139750"/>
              <a:gd name="connsiteY402" fmla="*/ 6067431 h 6858290"/>
              <a:gd name="connsiteX403" fmla="*/ 10459016 w 12139750"/>
              <a:gd name="connsiteY403" fmla="*/ 6066240 h 6858290"/>
              <a:gd name="connsiteX404" fmla="*/ 9297823 w 12139750"/>
              <a:gd name="connsiteY404" fmla="*/ 6066240 h 6858290"/>
              <a:gd name="connsiteX405" fmla="*/ 9321892 w 12139750"/>
              <a:gd name="connsiteY405" fmla="*/ 6086481 h 6858290"/>
              <a:gd name="connsiteX406" fmla="*/ 9302827 w 12139750"/>
              <a:gd name="connsiteY406" fmla="*/ 6141726 h 6858290"/>
              <a:gd name="connsiteX407" fmla="*/ 8963481 w 12139750"/>
              <a:gd name="connsiteY407" fmla="*/ 6305556 h 6858290"/>
              <a:gd name="connsiteX408" fmla="*/ 8908194 w 12139750"/>
              <a:gd name="connsiteY408" fmla="*/ 6286506 h 6858290"/>
              <a:gd name="connsiteX409" fmla="*/ 8904381 w 12139750"/>
              <a:gd name="connsiteY409" fmla="*/ 6269361 h 6858290"/>
              <a:gd name="connsiteX410" fmla="*/ 8927258 w 12139750"/>
              <a:gd name="connsiteY410" fmla="*/ 6231261 h 6858290"/>
              <a:gd name="connsiteX411" fmla="*/ 9266605 w 12139750"/>
              <a:gd name="connsiteY411" fmla="*/ 6067431 h 6858290"/>
              <a:gd name="connsiteX412" fmla="*/ 9297823 w 12139750"/>
              <a:gd name="connsiteY412" fmla="*/ 6066240 h 6858290"/>
              <a:gd name="connsiteX413" fmla="*/ 11018858 w 12139750"/>
              <a:gd name="connsiteY413" fmla="*/ 6051844 h 6858290"/>
              <a:gd name="connsiteX414" fmla="*/ 11057081 w 12139750"/>
              <a:gd name="connsiteY414" fmla="*/ 6075686 h 6858290"/>
              <a:gd name="connsiteX415" fmla="*/ 11038074 w 12139750"/>
              <a:gd name="connsiteY415" fmla="*/ 6129026 h 6858290"/>
              <a:gd name="connsiteX416" fmla="*/ 10699740 w 12139750"/>
              <a:gd name="connsiteY416" fmla="*/ 6292856 h 6858290"/>
              <a:gd name="connsiteX417" fmla="*/ 10646519 w 12139750"/>
              <a:gd name="connsiteY417" fmla="*/ 6273806 h 6858290"/>
              <a:gd name="connsiteX418" fmla="*/ 10642717 w 12139750"/>
              <a:gd name="connsiteY418" fmla="*/ 6256661 h 6858290"/>
              <a:gd name="connsiteX419" fmla="*/ 10665526 w 12139750"/>
              <a:gd name="connsiteY419" fmla="*/ 6220466 h 6858290"/>
              <a:gd name="connsiteX420" fmla="*/ 11003860 w 12139750"/>
              <a:gd name="connsiteY420" fmla="*/ 6056636 h 6858290"/>
              <a:gd name="connsiteX421" fmla="*/ 11018858 w 12139750"/>
              <a:gd name="connsiteY421" fmla="*/ 6051844 h 6858290"/>
              <a:gd name="connsiteX422" fmla="*/ 8710944 w 12139750"/>
              <a:gd name="connsiteY422" fmla="*/ 6051843 h 6858290"/>
              <a:gd name="connsiteX423" fmla="*/ 8748477 w 12139750"/>
              <a:gd name="connsiteY423" fmla="*/ 6075686 h 6858290"/>
              <a:gd name="connsiteX424" fmla="*/ 8731319 w 12139750"/>
              <a:gd name="connsiteY424" fmla="*/ 6129026 h 6858290"/>
              <a:gd name="connsiteX425" fmla="*/ 8391973 w 12139750"/>
              <a:gd name="connsiteY425" fmla="*/ 6292856 h 6858290"/>
              <a:gd name="connsiteX426" fmla="*/ 8336686 w 12139750"/>
              <a:gd name="connsiteY426" fmla="*/ 6273806 h 6858290"/>
              <a:gd name="connsiteX427" fmla="*/ 8332873 w 12139750"/>
              <a:gd name="connsiteY427" fmla="*/ 6256661 h 6858290"/>
              <a:gd name="connsiteX428" fmla="*/ 8355750 w 12139750"/>
              <a:gd name="connsiteY428" fmla="*/ 6220466 h 6858290"/>
              <a:gd name="connsiteX429" fmla="*/ 8695097 w 12139750"/>
              <a:gd name="connsiteY429" fmla="*/ 6056636 h 6858290"/>
              <a:gd name="connsiteX430" fmla="*/ 8710944 w 12139750"/>
              <a:gd name="connsiteY430" fmla="*/ 6051843 h 6858290"/>
              <a:gd name="connsiteX431" fmla="*/ 11603954 w 12139750"/>
              <a:gd name="connsiteY431" fmla="*/ 6041714 h 6858290"/>
              <a:gd name="connsiteX432" fmla="*/ 11627001 w 12139750"/>
              <a:gd name="connsiteY432" fmla="*/ 6062669 h 6858290"/>
              <a:gd name="connsiteX433" fmla="*/ 11607994 w 12139750"/>
              <a:gd name="connsiteY433" fmla="*/ 6117914 h 6858290"/>
              <a:gd name="connsiteX434" fmla="*/ 11271560 w 12139750"/>
              <a:gd name="connsiteY434" fmla="*/ 6281744 h 6858290"/>
              <a:gd name="connsiteX435" fmla="*/ 11216439 w 12139750"/>
              <a:gd name="connsiteY435" fmla="*/ 6262694 h 6858290"/>
              <a:gd name="connsiteX436" fmla="*/ 11212637 w 12139750"/>
              <a:gd name="connsiteY436" fmla="*/ 6243644 h 6858290"/>
              <a:gd name="connsiteX437" fmla="*/ 11235446 w 12139750"/>
              <a:gd name="connsiteY437" fmla="*/ 6207449 h 6858290"/>
              <a:gd name="connsiteX438" fmla="*/ 11573780 w 12139750"/>
              <a:gd name="connsiteY438" fmla="*/ 6043619 h 6858290"/>
              <a:gd name="connsiteX439" fmla="*/ 11603954 w 12139750"/>
              <a:gd name="connsiteY439" fmla="*/ 6041714 h 6858290"/>
              <a:gd name="connsiteX440" fmla="*/ 8160285 w 12139750"/>
              <a:gd name="connsiteY440" fmla="*/ 6041714 h 6858290"/>
              <a:gd name="connsiteX441" fmla="*/ 8183639 w 12139750"/>
              <a:gd name="connsiteY441" fmla="*/ 6062669 h 6858290"/>
              <a:gd name="connsiteX442" fmla="*/ 8164574 w 12139750"/>
              <a:gd name="connsiteY442" fmla="*/ 6117914 h 6858290"/>
              <a:gd name="connsiteX443" fmla="*/ 7825227 w 12139750"/>
              <a:gd name="connsiteY443" fmla="*/ 6281744 h 6858290"/>
              <a:gd name="connsiteX444" fmla="*/ 7769941 w 12139750"/>
              <a:gd name="connsiteY444" fmla="*/ 6262694 h 6858290"/>
              <a:gd name="connsiteX445" fmla="*/ 7766128 w 12139750"/>
              <a:gd name="connsiteY445" fmla="*/ 6243644 h 6858290"/>
              <a:gd name="connsiteX446" fmla="*/ 7789005 w 12139750"/>
              <a:gd name="connsiteY446" fmla="*/ 6207449 h 6858290"/>
              <a:gd name="connsiteX447" fmla="*/ 8128352 w 12139750"/>
              <a:gd name="connsiteY447" fmla="*/ 6043619 h 6858290"/>
              <a:gd name="connsiteX448" fmla="*/ 8160285 w 12139750"/>
              <a:gd name="connsiteY448" fmla="*/ 6041714 h 6858290"/>
              <a:gd name="connsiteX449" fmla="*/ 12135947 w 12139750"/>
              <a:gd name="connsiteY449" fmla="*/ 6029331 h 6858290"/>
              <a:gd name="connsiteX450" fmla="*/ 12139750 w 12139750"/>
              <a:gd name="connsiteY450" fmla="*/ 6029331 h 6858290"/>
              <a:gd name="connsiteX451" fmla="*/ 12139750 w 12139750"/>
              <a:gd name="connsiteY451" fmla="*/ 6118866 h 6858290"/>
              <a:gd name="connsiteX452" fmla="*/ 11833573 w 12139750"/>
              <a:gd name="connsiteY452" fmla="*/ 6267456 h 6858290"/>
              <a:gd name="connsiteX453" fmla="*/ 11780325 w 12139750"/>
              <a:gd name="connsiteY453" fmla="*/ 6248406 h 6858290"/>
              <a:gd name="connsiteX454" fmla="*/ 11774620 w 12139750"/>
              <a:gd name="connsiteY454" fmla="*/ 6231261 h 6858290"/>
              <a:gd name="connsiteX455" fmla="*/ 11797441 w 12139750"/>
              <a:gd name="connsiteY455" fmla="*/ 6195066 h 6858290"/>
              <a:gd name="connsiteX456" fmla="*/ 7599808 w 12139750"/>
              <a:gd name="connsiteY456" fmla="*/ 6028140 h 6858290"/>
              <a:gd name="connsiteX457" fmla="*/ 7622924 w 12139750"/>
              <a:gd name="connsiteY457" fmla="*/ 6048381 h 6858290"/>
              <a:gd name="connsiteX458" fmla="*/ 7603860 w 12139750"/>
              <a:gd name="connsiteY458" fmla="*/ 6103626 h 6858290"/>
              <a:gd name="connsiteX459" fmla="*/ 7266419 w 12139750"/>
              <a:gd name="connsiteY459" fmla="*/ 6267456 h 6858290"/>
              <a:gd name="connsiteX460" fmla="*/ 7211133 w 12139750"/>
              <a:gd name="connsiteY460" fmla="*/ 6248406 h 6858290"/>
              <a:gd name="connsiteX461" fmla="*/ 7207320 w 12139750"/>
              <a:gd name="connsiteY461" fmla="*/ 6231261 h 6858290"/>
              <a:gd name="connsiteX462" fmla="*/ 7230197 w 12139750"/>
              <a:gd name="connsiteY462" fmla="*/ 6195066 h 6858290"/>
              <a:gd name="connsiteX463" fmla="*/ 7569544 w 12139750"/>
              <a:gd name="connsiteY463" fmla="*/ 6029331 h 6858290"/>
              <a:gd name="connsiteX464" fmla="*/ 7599808 w 12139750"/>
              <a:gd name="connsiteY464" fmla="*/ 6028140 h 6858290"/>
              <a:gd name="connsiteX465" fmla="*/ 7047350 w 12139750"/>
              <a:gd name="connsiteY465" fmla="*/ 6016314 h 6858290"/>
              <a:gd name="connsiteX466" fmla="*/ 7070466 w 12139750"/>
              <a:gd name="connsiteY466" fmla="*/ 6037269 h 6858290"/>
              <a:gd name="connsiteX467" fmla="*/ 7051402 w 12139750"/>
              <a:gd name="connsiteY467" fmla="*/ 6090609 h 6858290"/>
              <a:gd name="connsiteX468" fmla="*/ 6713961 w 12139750"/>
              <a:gd name="connsiteY468" fmla="*/ 6254439 h 6858290"/>
              <a:gd name="connsiteX469" fmla="*/ 6658675 w 12139750"/>
              <a:gd name="connsiteY469" fmla="*/ 6235389 h 6858290"/>
              <a:gd name="connsiteX470" fmla="*/ 6654862 w 12139750"/>
              <a:gd name="connsiteY470" fmla="*/ 6218244 h 6858290"/>
              <a:gd name="connsiteX471" fmla="*/ 6677739 w 12139750"/>
              <a:gd name="connsiteY471" fmla="*/ 6182049 h 6858290"/>
              <a:gd name="connsiteX472" fmla="*/ 7017086 w 12139750"/>
              <a:gd name="connsiteY472" fmla="*/ 6018219 h 6858290"/>
              <a:gd name="connsiteX473" fmla="*/ 7047350 w 12139750"/>
              <a:gd name="connsiteY473" fmla="*/ 6016314 h 6858290"/>
              <a:gd name="connsiteX474" fmla="*/ 6502912 w 12139750"/>
              <a:gd name="connsiteY474" fmla="*/ 6003613 h 6858290"/>
              <a:gd name="connsiteX475" fmla="*/ 6526266 w 12139750"/>
              <a:gd name="connsiteY475" fmla="*/ 6024568 h 6858290"/>
              <a:gd name="connsiteX476" fmla="*/ 6507201 w 12139750"/>
              <a:gd name="connsiteY476" fmla="*/ 6079813 h 6858290"/>
              <a:gd name="connsiteX477" fmla="*/ 6167854 w 12139750"/>
              <a:gd name="connsiteY477" fmla="*/ 6243643 h 6858290"/>
              <a:gd name="connsiteX478" fmla="*/ 6112568 w 12139750"/>
              <a:gd name="connsiteY478" fmla="*/ 6224593 h 6858290"/>
              <a:gd name="connsiteX479" fmla="*/ 6108755 w 12139750"/>
              <a:gd name="connsiteY479" fmla="*/ 6207448 h 6858290"/>
              <a:gd name="connsiteX480" fmla="*/ 6131632 w 12139750"/>
              <a:gd name="connsiteY480" fmla="*/ 6169348 h 6858290"/>
              <a:gd name="connsiteX481" fmla="*/ 6470979 w 12139750"/>
              <a:gd name="connsiteY481" fmla="*/ 6005518 h 6858290"/>
              <a:gd name="connsiteX482" fmla="*/ 6502912 w 12139750"/>
              <a:gd name="connsiteY482" fmla="*/ 6003613 h 6858290"/>
              <a:gd name="connsiteX483" fmla="*/ 5940751 w 12139750"/>
              <a:gd name="connsiteY483" fmla="*/ 5988314 h 6858290"/>
              <a:gd name="connsiteX484" fmla="*/ 5980159 w 12139750"/>
              <a:gd name="connsiteY484" fmla="*/ 6010281 h 6858290"/>
              <a:gd name="connsiteX485" fmla="*/ 5961095 w 12139750"/>
              <a:gd name="connsiteY485" fmla="*/ 6065526 h 6858290"/>
              <a:gd name="connsiteX486" fmla="*/ 5621756 w 12139750"/>
              <a:gd name="connsiteY486" fmla="*/ 6229356 h 6858290"/>
              <a:gd name="connsiteX487" fmla="*/ 5566471 w 12139750"/>
              <a:gd name="connsiteY487" fmla="*/ 6210306 h 6858290"/>
              <a:gd name="connsiteX488" fmla="*/ 5562658 w 12139750"/>
              <a:gd name="connsiteY488" fmla="*/ 6193161 h 6858290"/>
              <a:gd name="connsiteX489" fmla="*/ 5585535 w 12139750"/>
              <a:gd name="connsiteY489" fmla="*/ 6156966 h 6858290"/>
              <a:gd name="connsiteX490" fmla="*/ 5924874 w 12139750"/>
              <a:gd name="connsiteY490" fmla="*/ 5993136 h 6858290"/>
              <a:gd name="connsiteX491" fmla="*/ 5940751 w 12139750"/>
              <a:gd name="connsiteY491" fmla="*/ 5988314 h 6858290"/>
              <a:gd name="connsiteX492" fmla="*/ 380904 w 12139750"/>
              <a:gd name="connsiteY492" fmla="*/ 5988314 h 6858290"/>
              <a:gd name="connsiteX493" fmla="*/ 419127 w 12139750"/>
              <a:gd name="connsiteY493" fmla="*/ 6010281 h 6858290"/>
              <a:gd name="connsiteX494" fmla="*/ 400120 w 12139750"/>
              <a:gd name="connsiteY494" fmla="*/ 6065526 h 6858290"/>
              <a:gd name="connsiteX495" fmla="*/ 63687 w 12139750"/>
              <a:gd name="connsiteY495" fmla="*/ 6229356 h 6858290"/>
              <a:gd name="connsiteX496" fmla="*/ 8565 w 12139750"/>
              <a:gd name="connsiteY496" fmla="*/ 6210306 h 6858290"/>
              <a:gd name="connsiteX497" fmla="*/ 4764 w 12139750"/>
              <a:gd name="connsiteY497" fmla="*/ 6193161 h 6858290"/>
              <a:gd name="connsiteX498" fmla="*/ 27573 w 12139750"/>
              <a:gd name="connsiteY498" fmla="*/ 6156966 h 6858290"/>
              <a:gd name="connsiteX499" fmla="*/ 365906 w 12139750"/>
              <a:gd name="connsiteY499" fmla="*/ 5993136 h 6858290"/>
              <a:gd name="connsiteX500" fmla="*/ 380904 w 12139750"/>
              <a:gd name="connsiteY500" fmla="*/ 5988314 h 6858290"/>
              <a:gd name="connsiteX501" fmla="*/ 5406285 w 12139750"/>
              <a:gd name="connsiteY501" fmla="*/ 5978213 h 6858290"/>
              <a:gd name="connsiteX502" fmla="*/ 5429330 w 12139750"/>
              <a:gd name="connsiteY502" fmla="*/ 5999168 h 6858290"/>
              <a:gd name="connsiteX503" fmla="*/ 5410323 w 12139750"/>
              <a:gd name="connsiteY503" fmla="*/ 6052508 h 6858290"/>
              <a:gd name="connsiteX504" fmla="*/ 5071988 w 12139750"/>
              <a:gd name="connsiteY504" fmla="*/ 6218243 h 6858290"/>
              <a:gd name="connsiteX505" fmla="*/ 5018774 w 12139750"/>
              <a:gd name="connsiteY505" fmla="*/ 6199193 h 6858290"/>
              <a:gd name="connsiteX506" fmla="*/ 5014971 w 12139750"/>
              <a:gd name="connsiteY506" fmla="*/ 6180143 h 6858290"/>
              <a:gd name="connsiteX507" fmla="*/ 5037777 w 12139750"/>
              <a:gd name="connsiteY507" fmla="*/ 6143948 h 6858290"/>
              <a:gd name="connsiteX508" fmla="*/ 5376110 w 12139750"/>
              <a:gd name="connsiteY508" fmla="*/ 5980118 h 6858290"/>
              <a:gd name="connsiteX509" fmla="*/ 5406285 w 12139750"/>
              <a:gd name="connsiteY509" fmla="*/ 5978213 h 6858290"/>
              <a:gd name="connsiteX510" fmla="*/ 940179 w 12139750"/>
              <a:gd name="connsiteY510" fmla="*/ 5978213 h 6858290"/>
              <a:gd name="connsiteX511" fmla="*/ 963295 w 12139750"/>
              <a:gd name="connsiteY511" fmla="*/ 5999168 h 6858290"/>
              <a:gd name="connsiteX512" fmla="*/ 944230 w 12139750"/>
              <a:gd name="connsiteY512" fmla="*/ 6052508 h 6858290"/>
              <a:gd name="connsiteX513" fmla="*/ 606791 w 12139750"/>
              <a:gd name="connsiteY513" fmla="*/ 6218243 h 6858290"/>
              <a:gd name="connsiteX514" fmla="*/ 551504 w 12139750"/>
              <a:gd name="connsiteY514" fmla="*/ 6199193 h 6858290"/>
              <a:gd name="connsiteX515" fmla="*/ 547691 w 12139750"/>
              <a:gd name="connsiteY515" fmla="*/ 6180143 h 6858290"/>
              <a:gd name="connsiteX516" fmla="*/ 570568 w 12139750"/>
              <a:gd name="connsiteY516" fmla="*/ 6143948 h 6858290"/>
              <a:gd name="connsiteX517" fmla="*/ 909915 w 12139750"/>
              <a:gd name="connsiteY517" fmla="*/ 5980118 h 6858290"/>
              <a:gd name="connsiteX518" fmla="*/ 940179 w 12139750"/>
              <a:gd name="connsiteY518" fmla="*/ 5978213 h 6858290"/>
              <a:gd name="connsiteX519" fmla="*/ 4852108 w 12139750"/>
              <a:gd name="connsiteY519" fmla="*/ 5966227 h 6858290"/>
              <a:gd name="connsiteX520" fmla="*/ 4875244 w 12139750"/>
              <a:gd name="connsiteY520" fmla="*/ 5986468 h 6858290"/>
              <a:gd name="connsiteX521" fmla="*/ 4856163 w 12139750"/>
              <a:gd name="connsiteY521" fmla="*/ 6041713 h 6858290"/>
              <a:gd name="connsiteX522" fmla="*/ 4516568 w 12139750"/>
              <a:gd name="connsiteY522" fmla="*/ 6205543 h 6858290"/>
              <a:gd name="connsiteX523" fmla="*/ 4463147 w 12139750"/>
              <a:gd name="connsiteY523" fmla="*/ 6186493 h 6858290"/>
              <a:gd name="connsiteX524" fmla="*/ 4459332 w 12139750"/>
              <a:gd name="connsiteY524" fmla="*/ 6169348 h 6858290"/>
              <a:gd name="connsiteX525" fmla="*/ 4482226 w 12139750"/>
              <a:gd name="connsiteY525" fmla="*/ 6131248 h 6858290"/>
              <a:gd name="connsiteX526" fmla="*/ 4821817 w 12139750"/>
              <a:gd name="connsiteY526" fmla="*/ 5967418 h 6858290"/>
              <a:gd name="connsiteX527" fmla="*/ 4852108 w 12139750"/>
              <a:gd name="connsiteY527" fmla="*/ 5966227 h 6858290"/>
              <a:gd name="connsiteX528" fmla="*/ 1487950 w 12139750"/>
              <a:gd name="connsiteY528" fmla="*/ 5966227 h 6858290"/>
              <a:gd name="connsiteX529" fmla="*/ 1511303 w 12139750"/>
              <a:gd name="connsiteY529" fmla="*/ 5986468 h 6858290"/>
              <a:gd name="connsiteX530" fmla="*/ 1492239 w 12139750"/>
              <a:gd name="connsiteY530" fmla="*/ 6041713 h 6858290"/>
              <a:gd name="connsiteX531" fmla="*/ 1152893 w 12139750"/>
              <a:gd name="connsiteY531" fmla="*/ 6205543 h 6858290"/>
              <a:gd name="connsiteX532" fmla="*/ 1097606 w 12139750"/>
              <a:gd name="connsiteY532" fmla="*/ 6186493 h 6858290"/>
              <a:gd name="connsiteX533" fmla="*/ 1093793 w 12139750"/>
              <a:gd name="connsiteY533" fmla="*/ 6169348 h 6858290"/>
              <a:gd name="connsiteX534" fmla="*/ 1116671 w 12139750"/>
              <a:gd name="connsiteY534" fmla="*/ 6131248 h 6858290"/>
              <a:gd name="connsiteX535" fmla="*/ 1456017 w 12139750"/>
              <a:gd name="connsiteY535" fmla="*/ 5967418 h 6858290"/>
              <a:gd name="connsiteX536" fmla="*/ 1487950 w 12139750"/>
              <a:gd name="connsiteY536" fmla="*/ 5966227 h 6858290"/>
              <a:gd name="connsiteX537" fmla="*/ 4293425 w 12139750"/>
              <a:gd name="connsiteY537" fmla="*/ 5952822 h 6858290"/>
              <a:gd name="connsiteX538" fmla="*/ 4316472 w 12139750"/>
              <a:gd name="connsiteY538" fmla="*/ 5973803 h 6858290"/>
              <a:gd name="connsiteX539" fmla="*/ 4297464 w 12139750"/>
              <a:gd name="connsiteY539" fmla="*/ 6027210 h 6858290"/>
              <a:gd name="connsiteX540" fmla="*/ 3959151 w 12139750"/>
              <a:gd name="connsiteY540" fmla="*/ 6191244 h 6858290"/>
              <a:gd name="connsiteX541" fmla="*/ 3905930 w 12139750"/>
              <a:gd name="connsiteY541" fmla="*/ 6172170 h 6858290"/>
              <a:gd name="connsiteX542" fmla="*/ 3902127 w 12139750"/>
              <a:gd name="connsiteY542" fmla="*/ 6155004 h 6858290"/>
              <a:gd name="connsiteX543" fmla="*/ 3924936 w 12139750"/>
              <a:gd name="connsiteY543" fmla="*/ 6118764 h 6858290"/>
              <a:gd name="connsiteX544" fmla="*/ 4263250 w 12139750"/>
              <a:gd name="connsiteY544" fmla="*/ 5954730 h 6858290"/>
              <a:gd name="connsiteX545" fmla="*/ 4293425 w 12139750"/>
              <a:gd name="connsiteY545" fmla="*/ 5952822 h 6858290"/>
              <a:gd name="connsiteX546" fmla="*/ 2039813 w 12139750"/>
              <a:gd name="connsiteY546" fmla="*/ 5952822 h 6858290"/>
              <a:gd name="connsiteX547" fmla="*/ 2063798 w 12139750"/>
              <a:gd name="connsiteY547" fmla="*/ 5973803 h 6858290"/>
              <a:gd name="connsiteX548" fmla="*/ 2044799 w 12139750"/>
              <a:gd name="connsiteY548" fmla="*/ 6027210 h 6858290"/>
              <a:gd name="connsiteX549" fmla="*/ 1706714 w 12139750"/>
              <a:gd name="connsiteY549" fmla="*/ 6191244 h 6858290"/>
              <a:gd name="connsiteX550" fmla="*/ 1651633 w 12139750"/>
              <a:gd name="connsiteY550" fmla="*/ 6172170 h 6858290"/>
              <a:gd name="connsiteX551" fmla="*/ 1647834 w 12139750"/>
              <a:gd name="connsiteY551" fmla="*/ 6155004 h 6858290"/>
              <a:gd name="connsiteX552" fmla="*/ 1670626 w 12139750"/>
              <a:gd name="connsiteY552" fmla="*/ 6118764 h 6858290"/>
              <a:gd name="connsiteX553" fmla="*/ 2008712 w 12139750"/>
              <a:gd name="connsiteY553" fmla="*/ 5954730 h 6858290"/>
              <a:gd name="connsiteX554" fmla="*/ 2039813 w 12139750"/>
              <a:gd name="connsiteY554" fmla="*/ 5952822 h 6858290"/>
              <a:gd name="connsiteX555" fmla="*/ 3730408 w 12139750"/>
              <a:gd name="connsiteY555" fmla="*/ 5940113 h 6858290"/>
              <a:gd name="connsiteX556" fmla="*/ 3754477 w 12139750"/>
              <a:gd name="connsiteY556" fmla="*/ 5961068 h 6858290"/>
              <a:gd name="connsiteX557" fmla="*/ 3735413 w 12139750"/>
              <a:gd name="connsiteY557" fmla="*/ 6016313 h 6858290"/>
              <a:gd name="connsiteX558" fmla="*/ 3396080 w 12139750"/>
              <a:gd name="connsiteY558" fmla="*/ 6180143 h 6858290"/>
              <a:gd name="connsiteX559" fmla="*/ 3340791 w 12139750"/>
              <a:gd name="connsiteY559" fmla="*/ 6161093 h 6858290"/>
              <a:gd name="connsiteX560" fmla="*/ 3336980 w 12139750"/>
              <a:gd name="connsiteY560" fmla="*/ 6142043 h 6858290"/>
              <a:gd name="connsiteX561" fmla="*/ 3359854 w 12139750"/>
              <a:gd name="connsiteY561" fmla="*/ 6105848 h 6858290"/>
              <a:gd name="connsiteX562" fmla="*/ 3699190 w 12139750"/>
              <a:gd name="connsiteY562" fmla="*/ 5942018 h 6858290"/>
              <a:gd name="connsiteX563" fmla="*/ 3730408 w 12139750"/>
              <a:gd name="connsiteY563" fmla="*/ 5940113 h 6858290"/>
              <a:gd name="connsiteX564" fmla="*/ 2596907 w 12139750"/>
              <a:gd name="connsiteY564" fmla="*/ 5940113 h 6858290"/>
              <a:gd name="connsiteX565" fmla="*/ 2620976 w 12139750"/>
              <a:gd name="connsiteY565" fmla="*/ 5961068 h 6858290"/>
              <a:gd name="connsiteX566" fmla="*/ 2601911 w 12139750"/>
              <a:gd name="connsiteY566" fmla="*/ 6016313 h 6858290"/>
              <a:gd name="connsiteX567" fmla="*/ 2262565 w 12139750"/>
              <a:gd name="connsiteY567" fmla="*/ 6180143 h 6858290"/>
              <a:gd name="connsiteX568" fmla="*/ 2207278 w 12139750"/>
              <a:gd name="connsiteY568" fmla="*/ 6161093 h 6858290"/>
              <a:gd name="connsiteX569" fmla="*/ 2203466 w 12139750"/>
              <a:gd name="connsiteY569" fmla="*/ 6142043 h 6858290"/>
              <a:gd name="connsiteX570" fmla="*/ 2226343 w 12139750"/>
              <a:gd name="connsiteY570" fmla="*/ 6105848 h 6858290"/>
              <a:gd name="connsiteX571" fmla="*/ 2565688 w 12139750"/>
              <a:gd name="connsiteY571" fmla="*/ 5942018 h 6858290"/>
              <a:gd name="connsiteX572" fmla="*/ 2596907 w 12139750"/>
              <a:gd name="connsiteY572" fmla="*/ 5940113 h 6858290"/>
              <a:gd name="connsiteX573" fmla="*/ 3158038 w 12139750"/>
              <a:gd name="connsiteY573" fmla="*/ 5928127 h 6858290"/>
              <a:gd name="connsiteX574" fmla="*/ 3181392 w 12139750"/>
              <a:gd name="connsiteY574" fmla="*/ 5948368 h 6858290"/>
              <a:gd name="connsiteX575" fmla="*/ 3162325 w 12139750"/>
              <a:gd name="connsiteY575" fmla="*/ 6003613 h 6858290"/>
              <a:gd name="connsiteX576" fmla="*/ 2822979 w 12139750"/>
              <a:gd name="connsiteY576" fmla="*/ 6167443 h 6858290"/>
              <a:gd name="connsiteX577" fmla="*/ 2769598 w 12139750"/>
              <a:gd name="connsiteY577" fmla="*/ 6148393 h 6858290"/>
              <a:gd name="connsiteX578" fmla="*/ 2763878 w 12139750"/>
              <a:gd name="connsiteY578" fmla="*/ 6131248 h 6858290"/>
              <a:gd name="connsiteX579" fmla="*/ 2788667 w 12139750"/>
              <a:gd name="connsiteY579" fmla="*/ 6093148 h 6858290"/>
              <a:gd name="connsiteX580" fmla="*/ 3126105 w 12139750"/>
              <a:gd name="connsiteY580" fmla="*/ 5929318 h 6858290"/>
              <a:gd name="connsiteX581" fmla="*/ 3158038 w 12139750"/>
              <a:gd name="connsiteY581" fmla="*/ 5928127 h 6858290"/>
              <a:gd name="connsiteX582" fmla="*/ 9872849 w 12139750"/>
              <a:gd name="connsiteY582" fmla="*/ 5750963 h 6858290"/>
              <a:gd name="connsiteX583" fmla="*/ 9894995 w 12139750"/>
              <a:gd name="connsiteY583" fmla="*/ 5770251 h 6858290"/>
              <a:gd name="connsiteX584" fmla="*/ 9879755 w 12139750"/>
              <a:gd name="connsiteY584" fmla="*/ 5821686 h 6858290"/>
              <a:gd name="connsiteX585" fmla="*/ 9542565 w 12139750"/>
              <a:gd name="connsiteY585" fmla="*/ 6000756 h 6858290"/>
              <a:gd name="connsiteX586" fmla="*/ 9489224 w 12139750"/>
              <a:gd name="connsiteY586" fmla="*/ 5983611 h 6858290"/>
              <a:gd name="connsiteX587" fmla="*/ 9485414 w 12139750"/>
              <a:gd name="connsiteY587" fmla="*/ 5966466 h 6858290"/>
              <a:gd name="connsiteX588" fmla="*/ 9506369 w 12139750"/>
              <a:gd name="connsiteY588" fmla="*/ 5932176 h 6858290"/>
              <a:gd name="connsiteX589" fmla="*/ 9843559 w 12139750"/>
              <a:gd name="connsiteY589" fmla="*/ 5753106 h 6858290"/>
              <a:gd name="connsiteX590" fmla="*/ 9872849 w 12139750"/>
              <a:gd name="connsiteY590" fmla="*/ 5750963 h 6858290"/>
              <a:gd name="connsiteX591" fmla="*/ 10455469 w 12139750"/>
              <a:gd name="connsiteY591" fmla="*/ 5739858 h 6858290"/>
              <a:gd name="connsiteX592" fmla="*/ 10477615 w 12139750"/>
              <a:gd name="connsiteY592" fmla="*/ 5759170 h 6858290"/>
              <a:gd name="connsiteX593" fmla="*/ 10462375 w 12139750"/>
              <a:gd name="connsiteY593" fmla="*/ 5810667 h 6858290"/>
              <a:gd name="connsiteX594" fmla="*/ 10123280 w 12139750"/>
              <a:gd name="connsiteY594" fmla="*/ 5988044 h 6858290"/>
              <a:gd name="connsiteX595" fmla="*/ 10071844 w 12139750"/>
              <a:gd name="connsiteY595" fmla="*/ 5970879 h 6858290"/>
              <a:gd name="connsiteX596" fmla="*/ 10068034 w 12139750"/>
              <a:gd name="connsiteY596" fmla="*/ 5953713 h 6858290"/>
              <a:gd name="connsiteX597" fmla="*/ 10088989 w 12139750"/>
              <a:gd name="connsiteY597" fmla="*/ 5919382 h 6858290"/>
              <a:gd name="connsiteX598" fmla="*/ 10426179 w 12139750"/>
              <a:gd name="connsiteY598" fmla="*/ 5742004 h 6858290"/>
              <a:gd name="connsiteX599" fmla="*/ 10455469 w 12139750"/>
              <a:gd name="connsiteY599" fmla="*/ 5739858 h 6858290"/>
              <a:gd name="connsiteX600" fmla="*/ 9295014 w 12139750"/>
              <a:gd name="connsiteY600" fmla="*/ 5739858 h 6858290"/>
              <a:gd name="connsiteX601" fmla="*/ 9317143 w 12139750"/>
              <a:gd name="connsiteY601" fmla="*/ 5759170 h 6858290"/>
              <a:gd name="connsiteX602" fmla="*/ 9300011 w 12139750"/>
              <a:gd name="connsiteY602" fmla="*/ 5810667 h 6858290"/>
              <a:gd name="connsiteX603" fmla="*/ 8963076 w 12139750"/>
              <a:gd name="connsiteY603" fmla="*/ 5988044 h 6858290"/>
              <a:gd name="connsiteX604" fmla="*/ 8911679 w 12139750"/>
              <a:gd name="connsiteY604" fmla="*/ 5970879 h 6858290"/>
              <a:gd name="connsiteX605" fmla="*/ 8905968 w 12139750"/>
              <a:gd name="connsiteY605" fmla="*/ 5953713 h 6858290"/>
              <a:gd name="connsiteX606" fmla="*/ 8926907 w 12139750"/>
              <a:gd name="connsiteY606" fmla="*/ 5919382 h 6858290"/>
              <a:gd name="connsiteX607" fmla="*/ 9265746 w 12139750"/>
              <a:gd name="connsiteY607" fmla="*/ 5742004 h 6858290"/>
              <a:gd name="connsiteX608" fmla="*/ 9295014 w 12139750"/>
              <a:gd name="connsiteY608" fmla="*/ 5739858 h 6858290"/>
              <a:gd name="connsiteX609" fmla="*/ 11032399 w 12139750"/>
              <a:gd name="connsiteY609" fmla="*/ 5727762 h 6858290"/>
              <a:gd name="connsiteX610" fmla="*/ 11055480 w 12139750"/>
              <a:gd name="connsiteY610" fmla="*/ 5746031 h 6858290"/>
              <a:gd name="connsiteX611" fmla="*/ 11038348 w 12139750"/>
              <a:gd name="connsiteY611" fmla="*/ 5799178 h 6858290"/>
              <a:gd name="connsiteX612" fmla="*/ 10701413 w 12139750"/>
              <a:gd name="connsiteY612" fmla="*/ 5973803 h 6858290"/>
              <a:gd name="connsiteX613" fmla="*/ 10648112 w 12139750"/>
              <a:gd name="connsiteY613" fmla="*/ 5956720 h 6858290"/>
              <a:gd name="connsiteX614" fmla="*/ 10644305 w 12139750"/>
              <a:gd name="connsiteY614" fmla="*/ 5937739 h 6858290"/>
              <a:gd name="connsiteX615" fmla="*/ 10665244 w 12139750"/>
              <a:gd name="connsiteY615" fmla="*/ 5903573 h 6858290"/>
              <a:gd name="connsiteX616" fmla="*/ 11002180 w 12139750"/>
              <a:gd name="connsiteY616" fmla="*/ 5730846 h 6858290"/>
              <a:gd name="connsiteX617" fmla="*/ 11032399 w 12139750"/>
              <a:gd name="connsiteY617" fmla="*/ 5727762 h 6858290"/>
              <a:gd name="connsiteX618" fmla="*/ 8723506 w 12139750"/>
              <a:gd name="connsiteY618" fmla="*/ 5727762 h 6858290"/>
              <a:gd name="connsiteX619" fmla="*/ 8745635 w 12139750"/>
              <a:gd name="connsiteY619" fmla="*/ 5746031 h 6858290"/>
              <a:gd name="connsiteX620" fmla="*/ 8728503 w 12139750"/>
              <a:gd name="connsiteY620" fmla="*/ 5799178 h 6858290"/>
              <a:gd name="connsiteX621" fmla="*/ 8391568 w 12139750"/>
              <a:gd name="connsiteY621" fmla="*/ 5973803 h 6858290"/>
              <a:gd name="connsiteX622" fmla="*/ 8338267 w 12139750"/>
              <a:gd name="connsiteY622" fmla="*/ 5956720 h 6858290"/>
              <a:gd name="connsiteX623" fmla="*/ 8334460 w 12139750"/>
              <a:gd name="connsiteY623" fmla="*/ 5937739 h 6858290"/>
              <a:gd name="connsiteX624" fmla="*/ 8355399 w 12139750"/>
              <a:gd name="connsiteY624" fmla="*/ 5903573 h 6858290"/>
              <a:gd name="connsiteX625" fmla="*/ 8694238 w 12139750"/>
              <a:gd name="connsiteY625" fmla="*/ 5730846 h 6858290"/>
              <a:gd name="connsiteX626" fmla="*/ 8723506 w 12139750"/>
              <a:gd name="connsiteY626" fmla="*/ 5727762 h 6858290"/>
              <a:gd name="connsiteX627" fmla="*/ 11603271 w 12139750"/>
              <a:gd name="connsiteY627" fmla="*/ 5714468 h 6858290"/>
              <a:gd name="connsiteX628" fmla="*/ 11625400 w 12139750"/>
              <a:gd name="connsiteY628" fmla="*/ 5733802 h 6858290"/>
              <a:gd name="connsiteX629" fmla="*/ 11608268 w 12139750"/>
              <a:gd name="connsiteY629" fmla="*/ 5787271 h 6858290"/>
              <a:gd name="connsiteX630" fmla="*/ 11271333 w 12139750"/>
              <a:gd name="connsiteY630" fmla="*/ 5961045 h 6858290"/>
              <a:gd name="connsiteX631" fmla="*/ 11218032 w 12139750"/>
              <a:gd name="connsiteY631" fmla="*/ 5941949 h 6858290"/>
              <a:gd name="connsiteX632" fmla="*/ 11214225 w 12139750"/>
              <a:gd name="connsiteY632" fmla="*/ 5924762 h 6858290"/>
              <a:gd name="connsiteX633" fmla="*/ 11235164 w 12139750"/>
              <a:gd name="connsiteY633" fmla="*/ 5890389 h 6858290"/>
              <a:gd name="connsiteX634" fmla="*/ 11574003 w 12139750"/>
              <a:gd name="connsiteY634" fmla="*/ 5716616 h 6858290"/>
              <a:gd name="connsiteX635" fmla="*/ 11603271 w 12139750"/>
              <a:gd name="connsiteY635" fmla="*/ 5714468 h 6858290"/>
              <a:gd name="connsiteX636" fmla="*/ 8158886 w 12139750"/>
              <a:gd name="connsiteY636" fmla="*/ 5714468 h 6858290"/>
              <a:gd name="connsiteX637" fmla="*/ 8182036 w 12139750"/>
              <a:gd name="connsiteY637" fmla="*/ 5733802 h 6858290"/>
              <a:gd name="connsiteX638" fmla="*/ 8164852 w 12139750"/>
              <a:gd name="connsiteY638" fmla="*/ 5787271 h 6858290"/>
              <a:gd name="connsiteX639" fmla="*/ 7824994 w 12139750"/>
              <a:gd name="connsiteY639" fmla="*/ 5961045 h 6858290"/>
              <a:gd name="connsiteX640" fmla="*/ 7771533 w 12139750"/>
              <a:gd name="connsiteY640" fmla="*/ 5941949 h 6858290"/>
              <a:gd name="connsiteX641" fmla="*/ 7767715 w 12139750"/>
              <a:gd name="connsiteY641" fmla="*/ 5924762 h 6858290"/>
              <a:gd name="connsiteX642" fmla="*/ 7788717 w 12139750"/>
              <a:gd name="connsiteY642" fmla="*/ 5890389 h 6858290"/>
              <a:gd name="connsiteX643" fmla="*/ 8128575 w 12139750"/>
              <a:gd name="connsiteY643" fmla="*/ 5716616 h 6858290"/>
              <a:gd name="connsiteX644" fmla="*/ 8158886 w 12139750"/>
              <a:gd name="connsiteY644" fmla="*/ 5714468 h 6858290"/>
              <a:gd name="connsiteX645" fmla="*/ 12139750 w 12139750"/>
              <a:gd name="connsiteY645" fmla="*/ 5703893 h 6858290"/>
              <a:gd name="connsiteX646" fmla="*/ 12139750 w 12139750"/>
              <a:gd name="connsiteY646" fmla="*/ 5793652 h 6858290"/>
              <a:gd name="connsiteX647" fmla="*/ 11833309 w 12139750"/>
              <a:gd name="connsiteY647" fmla="*/ 5948344 h 6858290"/>
              <a:gd name="connsiteX648" fmla="*/ 11780015 w 12139750"/>
              <a:gd name="connsiteY648" fmla="*/ 5929246 h 6858290"/>
              <a:gd name="connsiteX649" fmla="*/ 11776208 w 12139750"/>
              <a:gd name="connsiteY649" fmla="*/ 5912058 h 6858290"/>
              <a:gd name="connsiteX650" fmla="*/ 11799048 w 12139750"/>
              <a:gd name="connsiteY650" fmla="*/ 5875772 h 6858290"/>
              <a:gd name="connsiteX651" fmla="*/ 12135943 w 12139750"/>
              <a:gd name="connsiteY651" fmla="*/ 5705803 h 6858290"/>
              <a:gd name="connsiteX652" fmla="*/ 12139750 w 12139750"/>
              <a:gd name="connsiteY652" fmla="*/ 5703893 h 6858290"/>
              <a:gd name="connsiteX653" fmla="*/ 7600201 w 12139750"/>
              <a:gd name="connsiteY653" fmla="*/ 5703365 h 6858290"/>
              <a:gd name="connsiteX654" fmla="*/ 7623265 w 12139750"/>
              <a:gd name="connsiteY654" fmla="*/ 5722723 h 6858290"/>
              <a:gd name="connsiteX655" fmla="*/ 7604243 w 12139750"/>
              <a:gd name="connsiteY655" fmla="*/ 5776258 h 6858290"/>
              <a:gd name="connsiteX656" fmla="*/ 7267560 w 12139750"/>
              <a:gd name="connsiteY656" fmla="*/ 5948334 h 6858290"/>
              <a:gd name="connsiteX657" fmla="*/ 7214299 w 12139750"/>
              <a:gd name="connsiteY657" fmla="*/ 5929214 h 6858290"/>
              <a:gd name="connsiteX658" fmla="*/ 7210495 w 12139750"/>
              <a:gd name="connsiteY658" fmla="*/ 5912007 h 6858290"/>
              <a:gd name="connsiteX659" fmla="*/ 7231419 w 12139750"/>
              <a:gd name="connsiteY659" fmla="*/ 5875680 h 6858290"/>
              <a:gd name="connsiteX660" fmla="*/ 7570004 w 12139750"/>
              <a:gd name="connsiteY660" fmla="*/ 5705516 h 6858290"/>
              <a:gd name="connsiteX661" fmla="*/ 7600201 w 12139750"/>
              <a:gd name="connsiteY661" fmla="*/ 5703365 h 6858290"/>
              <a:gd name="connsiteX662" fmla="*/ 7047645 w 12139750"/>
              <a:gd name="connsiteY662" fmla="*/ 5692216 h 6858290"/>
              <a:gd name="connsiteX663" fmla="*/ 7070778 w 12139750"/>
              <a:gd name="connsiteY663" fmla="*/ 5711480 h 6858290"/>
              <a:gd name="connsiteX664" fmla="*/ 7051700 w 12139750"/>
              <a:gd name="connsiteY664" fmla="*/ 5766658 h 6858290"/>
              <a:gd name="connsiteX665" fmla="*/ 6714006 w 12139750"/>
              <a:gd name="connsiteY665" fmla="*/ 5934092 h 6858290"/>
              <a:gd name="connsiteX666" fmla="*/ 6658677 w 12139750"/>
              <a:gd name="connsiteY666" fmla="*/ 5915066 h 6858290"/>
              <a:gd name="connsiteX667" fmla="*/ 6654862 w 12139750"/>
              <a:gd name="connsiteY667" fmla="*/ 5897942 h 6858290"/>
              <a:gd name="connsiteX668" fmla="*/ 6677756 w 12139750"/>
              <a:gd name="connsiteY668" fmla="*/ 5861791 h 6858290"/>
              <a:gd name="connsiteX669" fmla="*/ 7017358 w 12139750"/>
              <a:gd name="connsiteY669" fmla="*/ 5694356 h 6858290"/>
              <a:gd name="connsiteX670" fmla="*/ 7047645 w 12139750"/>
              <a:gd name="connsiteY670" fmla="*/ 5692216 h 6858290"/>
              <a:gd name="connsiteX671" fmla="*/ 6486856 w 12139750"/>
              <a:gd name="connsiteY671" fmla="*/ 5678743 h 6858290"/>
              <a:gd name="connsiteX672" fmla="*/ 6526266 w 12139750"/>
              <a:gd name="connsiteY672" fmla="*/ 5700683 h 6858290"/>
              <a:gd name="connsiteX673" fmla="*/ 6507201 w 12139750"/>
              <a:gd name="connsiteY673" fmla="*/ 5755860 h 6858290"/>
              <a:gd name="connsiteX674" fmla="*/ 6167854 w 12139750"/>
              <a:gd name="connsiteY674" fmla="*/ 5921392 h 6858290"/>
              <a:gd name="connsiteX675" fmla="*/ 6114474 w 12139750"/>
              <a:gd name="connsiteY675" fmla="*/ 5902366 h 6858290"/>
              <a:gd name="connsiteX676" fmla="*/ 6108755 w 12139750"/>
              <a:gd name="connsiteY676" fmla="*/ 5883339 h 6858290"/>
              <a:gd name="connsiteX677" fmla="*/ 6131632 w 12139750"/>
              <a:gd name="connsiteY677" fmla="*/ 5847188 h 6858290"/>
              <a:gd name="connsiteX678" fmla="*/ 6470979 w 12139750"/>
              <a:gd name="connsiteY678" fmla="*/ 5683559 h 6858290"/>
              <a:gd name="connsiteX679" fmla="*/ 6486856 w 12139750"/>
              <a:gd name="connsiteY679" fmla="*/ 5678743 h 6858290"/>
              <a:gd name="connsiteX680" fmla="*/ 5956806 w 12139750"/>
              <a:gd name="connsiteY680" fmla="*/ 5667777 h 6858290"/>
              <a:gd name="connsiteX681" fmla="*/ 5980159 w 12139750"/>
              <a:gd name="connsiteY681" fmla="*/ 5688018 h 6858290"/>
              <a:gd name="connsiteX682" fmla="*/ 5961095 w 12139750"/>
              <a:gd name="connsiteY682" fmla="*/ 5743263 h 6858290"/>
              <a:gd name="connsiteX683" fmla="*/ 5621756 w 12139750"/>
              <a:gd name="connsiteY683" fmla="*/ 5907093 h 6858290"/>
              <a:gd name="connsiteX684" fmla="*/ 5566471 w 12139750"/>
              <a:gd name="connsiteY684" fmla="*/ 5888043 h 6858290"/>
              <a:gd name="connsiteX685" fmla="*/ 5562658 w 12139750"/>
              <a:gd name="connsiteY685" fmla="*/ 5868993 h 6858290"/>
              <a:gd name="connsiteX686" fmla="*/ 5585535 w 12139750"/>
              <a:gd name="connsiteY686" fmla="*/ 5832798 h 6858290"/>
              <a:gd name="connsiteX687" fmla="*/ 5924874 w 12139750"/>
              <a:gd name="connsiteY687" fmla="*/ 5668968 h 6858290"/>
              <a:gd name="connsiteX688" fmla="*/ 5956806 w 12139750"/>
              <a:gd name="connsiteY688" fmla="*/ 5667777 h 6858290"/>
              <a:gd name="connsiteX689" fmla="*/ 397251 w 12139750"/>
              <a:gd name="connsiteY689" fmla="*/ 5667777 h 6858290"/>
              <a:gd name="connsiteX690" fmla="*/ 420367 w 12139750"/>
              <a:gd name="connsiteY690" fmla="*/ 5688018 h 6858290"/>
              <a:gd name="connsiteX691" fmla="*/ 401303 w 12139750"/>
              <a:gd name="connsiteY691" fmla="*/ 5743263 h 6858290"/>
              <a:gd name="connsiteX692" fmla="*/ 63863 w 12139750"/>
              <a:gd name="connsiteY692" fmla="*/ 5907093 h 6858290"/>
              <a:gd name="connsiteX693" fmla="*/ 8576 w 12139750"/>
              <a:gd name="connsiteY693" fmla="*/ 5888043 h 6858290"/>
              <a:gd name="connsiteX694" fmla="*/ 4764 w 12139750"/>
              <a:gd name="connsiteY694" fmla="*/ 5868993 h 6858290"/>
              <a:gd name="connsiteX695" fmla="*/ 27641 w 12139750"/>
              <a:gd name="connsiteY695" fmla="*/ 5832798 h 6858290"/>
              <a:gd name="connsiteX696" fmla="*/ 366987 w 12139750"/>
              <a:gd name="connsiteY696" fmla="*/ 5668968 h 6858290"/>
              <a:gd name="connsiteX697" fmla="*/ 397251 w 12139750"/>
              <a:gd name="connsiteY697" fmla="*/ 5667777 h 6858290"/>
              <a:gd name="connsiteX698" fmla="*/ 5407592 w 12139750"/>
              <a:gd name="connsiteY698" fmla="*/ 5656676 h 6858290"/>
              <a:gd name="connsiteX699" fmla="*/ 5432449 w 12139750"/>
              <a:gd name="connsiteY699" fmla="*/ 5676941 h 6858290"/>
              <a:gd name="connsiteX700" fmla="*/ 5411416 w 12139750"/>
              <a:gd name="connsiteY700" fmla="*/ 5732255 h 6858290"/>
              <a:gd name="connsiteX701" fmla="*/ 5071064 w 12139750"/>
              <a:gd name="connsiteY701" fmla="*/ 5894382 h 6858290"/>
              <a:gd name="connsiteX702" fmla="*/ 5015621 w 12139750"/>
              <a:gd name="connsiteY702" fmla="*/ 5873401 h 6858290"/>
              <a:gd name="connsiteX703" fmla="*/ 5011797 w 12139750"/>
              <a:gd name="connsiteY703" fmla="*/ 5856234 h 6858290"/>
              <a:gd name="connsiteX704" fmla="*/ 5036651 w 12139750"/>
              <a:gd name="connsiteY704" fmla="*/ 5818087 h 6858290"/>
              <a:gd name="connsiteX705" fmla="*/ 5377000 w 12139750"/>
              <a:gd name="connsiteY705" fmla="*/ 5657868 h 6858290"/>
              <a:gd name="connsiteX706" fmla="*/ 5407592 w 12139750"/>
              <a:gd name="connsiteY706" fmla="*/ 5656676 h 6858290"/>
              <a:gd name="connsiteX707" fmla="*/ 941847 w 12139750"/>
              <a:gd name="connsiteY707" fmla="*/ 5656676 h 6858290"/>
              <a:gd name="connsiteX708" fmla="*/ 965201 w 12139750"/>
              <a:gd name="connsiteY708" fmla="*/ 5676941 h 6858290"/>
              <a:gd name="connsiteX709" fmla="*/ 946137 w 12139750"/>
              <a:gd name="connsiteY709" fmla="*/ 5732255 h 6858290"/>
              <a:gd name="connsiteX710" fmla="*/ 606791 w 12139750"/>
              <a:gd name="connsiteY710" fmla="*/ 5894382 h 6858290"/>
              <a:gd name="connsiteX711" fmla="*/ 551504 w 12139750"/>
              <a:gd name="connsiteY711" fmla="*/ 5873401 h 6858290"/>
              <a:gd name="connsiteX712" fmla="*/ 547691 w 12139750"/>
              <a:gd name="connsiteY712" fmla="*/ 5856234 h 6858290"/>
              <a:gd name="connsiteX713" fmla="*/ 570568 w 12139750"/>
              <a:gd name="connsiteY713" fmla="*/ 5818087 h 6858290"/>
              <a:gd name="connsiteX714" fmla="*/ 909914 w 12139750"/>
              <a:gd name="connsiteY714" fmla="*/ 5657868 h 6858290"/>
              <a:gd name="connsiteX715" fmla="*/ 941847 w 12139750"/>
              <a:gd name="connsiteY715" fmla="*/ 5656676 h 6858290"/>
              <a:gd name="connsiteX716" fmla="*/ 4853506 w 12139750"/>
              <a:gd name="connsiteY716" fmla="*/ 5644857 h 6858290"/>
              <a:gd name="connsiteX717" fmla="*/ 4876848 w 12139750"/>
              <a:gd name="connsiteY717" fmla="*/ 5665864 h 6858290"/>
              <a:gd name="connsiteX718" fmla="*/ 4855887 w 12139750"/>
              <a:gd name="connsiteY718" fmla="*/ 5723158 h 6858290"/>
              <a:gd name="connsiteX719" fmla="*/ 4516801 w 12139750"/>
              <a:gd name="connsiteY719" fmla="*/ 5881669 h 6858290"/>
              <a:gd name="connsiteX720" fmla="*/ 4461553 w 12139750"/>
              <a:gd name="connsiteY720" fmla="*/ 5860661 h 6858290"/>
              <a:gd name="connsiteX721" fmla="*/ 4457744 w 12139750"/>
              <a:gd name="connsiteY721" fmla="*/ 5843473 h 6858290"/>
              <a:gd name="connsiteX722" fmla="*/ 4482509 w 12139750"/>
              <a:gd name="connsiteY722" fmla="*/ 5805278 h 6858290"/>
              <a:gd name="connsiteX723" fmla="*/ 4821592 w 12139750"/>
              <a:gd name="connsiteY723" fmla="*/ 5646767 h 6858290"/>
              <a:gd name="connsiteX724" fmla="*/ 4853506 w 12139750"/>
              <a:gd name="connsiteY724" fmla="*/ 5644857 h 6858290"/>
              <a:gd name="connsiteX725" fmla="*/ 1487895 w 12139750"/>
              <a:gd name="connsiteY725" fmla="*/ 5644857 h 6858290"/>
              <a:gd name="connsiteX726" fmla="*/ 1512898 w 12139750"/>
              <a:gd name="connsiteY726" fmla="*/ 5665864 h 6858290"/>
              <a:gd name="connsiteX727" fmla="*/ 1491943 w 12139750"/>
              <a:gd name="connsiteY727" fmla="*/ 5723158 h 6858290"/>
              <a:gd name="connsiteX728" fmla="*/ 1152849 w 12139750"/>
              <a:gd name="connsiteY728" fmla="*/ 5881669 h 6858290"/>
              <a:gd name="connsiteX729" fmla="*/ 1097603 w 12139750"/>
              <a:gd name="connsiteY729" fmla="*/ 5860661 h 6858290"/>
              <a:gd name="connsiteX730" fmla="*/ 1093793 w 12139750"/>
              <a:gd name="connsiteY730" fmla="*/ 5843473 h 6858290"/>
              <a:gd name="connsiteX731" fmla="*/ 1116653 w 12139750"/>
              <a:gd name="connsiteY731" fmla="*/ 5805278 h 6858290"/>
              <a:gd name="connsiteX732" fmla="*/ 1455747 w 12139750"/>
              <a:gd name="connsiteY732" fmla="*/ 5646767 h 6858290"/>
              <a:gd name="connsiteX733" fmla="*/ 1487895 w 12139750"/>
              <a:gd name="connsiteY733" fmla="*/ 5644857 h 6858290"/>
              <a:gd name="connsiteX734" fmla="*/ 4280333 w 12139750"/>
              <a:gd name="connsiteY734" fmla="*/ 5631131 h 6858290"/>
              <a:gd name="connsiteX735" fmla="*/ 4319591 w 12139750"/>
              <a:gd name="connsiteY735" fmla="*/ 5654883 h 6858290"/>
              <a:gd name="connsiteX736" fmla="*/ 4298557 w 12139750"/>
              <a:gd name="connsiteY736" fmla="*/ 5711818 h 6858290"/>
              <a:gd name="connsiteX737" fmla="*/ 3958229 w 12139750"/>
              <a:gd name="connsiteY737" fmla="*/ 5867442 h 6858290"/>
              <a:gd name="connsiteX738" fmla="*/ 3902776 w 12139750"/>
              <a:gd name="connsiteY738" fmla="*/ 5846565 h 6858290"/>
              <a:gd name="connsiteX739" fmla="*/ 3898954 w 12139750"/>
              <a:gd name="connsiteY739" fmla="*/ 5829485 h 6858290"/>
              <a:gd name="connsiteX740" fmla="*/ 3923810 w 12139750"/>
              <a:gd name="connsiteY740" fmla="*/ 5789630 h 6858290"/>
              <a:gd name="connsiteX741" fmla="*/ 4264139 w 12139750"/>
              <a:gd name="connsiteY741" fmla="*/ 5635905 h 6858290"/>
              <a:gd name="connsiteX742" fmla="*/ 4280333 w 12139750"/>
              <a:gd name="connsiteY742" fmla="*/ 5631131 h 6858290"/>
              <a:gd name="connsiteX743" fmla="*/ 2025802 w 12139750"/>
              <a:gd name="connsiteY743" fmla="*/ 5631130 h 6858290"/>
              <a:gd name="connsiteX744" fmla="*/ 2066916 w 12139750"/>
              <a:gd name="connsiteY744" fmla="*/ 5654883 h 6858290"/>
              <a:gd name="connsiteX745" fmla="*/ 2045894 w 12139750"/>
              <a:gd name="connsiteY745" fmla="*/ 5711818 h 6858290"/>
              <a:gd name="connsiteX746" fmla="*/ 1705799 w 12139750"/>
              <a:gd name="connsiteY746" fmla="*/ 5867442 h 6858290"/>
              <a:gd name="connsiteX747" fmla="*/ 1648480 w 12139750"/>
              <a:gd name="connsiteY747" fmla="*/ 5846565 h 6858290"/>
              <a:gd name="connsiteX748" fmla="*/ 1644659 w 12139750"/>
              <a:gd name="connsiteY748" fmla="*/ 5829485 h 6858290"/>
              <a:gd name="connsiteX749" fmla="*/ 1669497 w 12139750"/>
              <a:gd name="connsiteY749" fmla="*/ 5789630 h 6858290"/>
              <a:gd name="connsiteX750" fmla="*/ 2009592 w 12139750"/>
              <a:gd name="connsiteY750" fmla="*/ 5635905 h 6858290"/>
              <a:gd name="connsiteX751" fmla="*/ 2025802 w 12139750"/>
              <a:gd name="connsiteY751" fmla="*/ 5631130 h 6858290"/>
              <a:gd name="connsiteX752" fmla="*/ 3732521 w 12139750"/>
              <a:gd name="connsiteY752" fmla="*/ 5620423 h 6858290"/>
              <a:gd name="connsiteX753" fmla="*/ 3756078 w 12139750"/>
              <a:gd name="connsiteY753" fmla="*/ 5642413 h 6858290"/>
              <a:gd name="connsiteX754" fmla="*/ 3735138 w 12139750"/>
              <a:gd name="connsiteY754" fmla="*/ 5699780 h 6858290"/>
              <a:gd name="connsiteX755" fmla="*/ 3396308 w 12139750"/>
              <a:gd name="connsiteY755" fmla="*/ 5854670 h 6858290"/>
              <a:gd name="connsiteX756" fmla="*/ 3339199 w 12139750"/>
              <a:gd name="connsiteY756" fmla="*/ 5833635 h 6858290"/>
              <a:gd name="connsiteX757" fmla="*/ 3335390 w 12139750"/>
              <a:gd name="connsiteY757" fmla="*/ 5814513 h 6858290"/>
              <a:gd name="connsiteX758" fmla="*/ 3360135 w 12139750"/>
              <a:gd name="connsiteY758" fmla="*/ 5776269 h 6858290"/>
              <a:gd name="connsiteX759" fmla="*/ 3698967 w 12139750"/>
              <a:gd name="connsiteY759" fmla="*/ 5621379 h 6858290"/>
              <a:gd name="connsiteX760" fmla="*/ 3732521 w 12139750"/>
              <a:gd name="connsiteY760" fmla="*/ 5620423 h 6858290"/>
              <a:gd name="connsiteX761" fmla="*/ 2598306 w 12139750"/>
              <a:gd name="connsiteY761" fmla="*/ 5620423 h 6858290"/>
              <a:gd name="connsiteX762" fmla="*/ 2622577 w 12139750"/>
              <a:gd name="connsiteY762" fmla="*/ 5642413 h 6858290"/>
              <a:gd name="connsiteX763" fmla="*/ 2601638 w 12139750"/>
              <a:gd name="connsiteY763" fmla="*/ 5699780 h 6858290"/>
              <a:gd name="connsiteX764" fmla="*/ 2262794 w 12139750"/>
              <a:gd name="connsiteY764" fmla="*/ 5854670 h 6858290"/>
              <a:gd name="connsiteX765" fmla="*/ 2205686 w 12139750"/>
              <a:gd name="connsiteY765" fmla="*/ 5833635 h 6858290"/>
              <a:gd name="connsiteX766" fmla="*/ 2201879 w 12139750"/>
              <a:gd name="connsiteY766" fmla="*/ 5814513 h 6858290"/>
              <a:gd name="connsiteX767" fmla="*/ 2226626 w 12139750"/>
              <a:gd name="connsiteY767" fmla="*/ 5776269 h 6858290"/>
              <a:gd name="connsiteX768" fmla="*/ 2565468 w 12139750"/>
              <a:gd name="connsiteY768" fmla="*/ 5621379 h 6858290"/>
              <a:gd name="connsiteX769" fmla="*/ 2598306 w 12139750"/>
              <a:gd name="connsiteY769" fmla="*/ 5620423 h 6858290"/>
              <a:gd name="connsiteX770" fmla="*/ 3160334 w 12139750"/>
              <a:gd name="connsiteY770" fmla="*/ 5609267 h 6858290"/>
              <a:gd name="connsiteX771" fmla="*/ 3184589 w 12139750"/>
              <a:gd name="connsiteY771" fmla="*/ 5631147 h 6858290"/>
              <a:gd name="connsiteX772" fmla="*/ 3161758 w 12139750"/>
              <a:gd name="connsiteY772" fmla="*/ 5688224 h 6858290"/>
              <a:gd name="connsiteX773" fmla="*/ 2823162 w 12139750"/>
              <a:gd name="connsiteY773" fmla="*/ 5840431 h 6858290"/>
              <a:gd name="connsiteX774" fmla="*/ 2766094 w 12139750"/>
              <a:gd name="connsiteY774" fmla="*/ 5817600 h 6858290"/>
              <a:gd name="connsiteX775" fmla="*/ 2762292 w 12139750"/>
              <a:gd name="connsiteY775" fmla="*/ 5800477 h 6858290"/>
              <a:gd name="connsiteX776" fmla="*/ 2787018 w 12139750"/>
              <a:gd name="connsiteY776" fmla="*/ 5760522 h 6858290"/>
              <a:gd name="connsiteX777" fmla="*/ 3127521 w 12139750"/>
              <a:gd name="connsiteY777" fmla="*/ 5610219 h 6858290"/>
              <a:gd name="connsiteX778" fmla="*/ 3160334 w 12139750"/>
              <a:gd name="connsiteY778" fmla="*/ 5609267 h 6858290"/>
              <a:gd name="connsiteX779" fmla="*/ 9870771 w 12139750"/>
              <a:gd name="connsiteY779" fmla="*/ 5423698 h 6858290"/>
              <a:gd name="connsiteX780" fmla="*/ 9891790 w 12139750"/>
              <a:gd name="connsiteY780" fmla="*/ 5439415 h 6858290"/>
              <a:gd name="connsiteX781" fmla="*/ 9878414 w 12139750"/>
              <a:gd name="connsiteY781" fmla="*/ 5488945 h 6858290"/>
              <a:gd name="connsiteX782" fmla="*/ 9542094 w 12139750"/>
              <a:gd name="connsiteY782" fmla="*/ 5683255 h 6858290"/>
              <a:gd name="connsiteX783" fmla="*/ 9492411 w 12139750"/>
              <a:gd name="connsiteY783" fmla="*/ 5669920 h 6858290"/>
              <a:gd name="connsiteX784" fmla="*/ 9488589 w 12139750"/>
              <a:gd name="connsiteY784" fmla="*/ 5650870 h 6858290"/>
              <a:gd name="connsiteX785" fmla="*/ 9505787 w 12139750"/>
              <a:gd name="connsiteY785" fmla="*/ 5620390 h 6858290"/>
              <a:gd name="connsiteX786" fmla="*/ 9844018 w 12139750"/>
              <a:gd name="connsiteY786" fmla="*/ 5427985 h 6858290"/>
              <a:gd name="connsiteX787" fmla="*/ 9870771 w 12139750"/>
              <a:gd name="connsiteY787" fmla="*/ 5423698 h 6858290"/>
              <a:gd name="connsiteX788" fmla="*/ 10454072 w 12139750"/>
              <a:gd name="connsiteY788" fmla="*/ 5413206 h 6858290"/>
              <a:gd name="connsiteX789" fmla="*/ 10476013 w 12139750"/>
              <a:gd name="connsiteY789" fmla="*/ 5429836 h 6858290"/>
              <a:gd name="connsiteX790" fmla="*/ 10460750 w 12139750"/>
              <a:gd name="connsiteY790" fmla="*/ 5479250 h 6858290"/>
              <a:gd name="connsiteX791" fmla="*/ 10123044 w 12139750"/>
              <a:gd name="connsiteY791" fmla="*/ 5667402 h 6858290"/>
              <a:gd name="connsiteX792" fmla="*/ 10075346 w 12139750"/>
              <a:gd name="connsiteY792" fmla="*/ 5654098 h 6858290"/>
              <a:gd name="connsiteX793" fmla="*/ 10069622 w 12139750"/>
              <a:gd name="connsiteY793" fmla="*/ 5636994 h 6858290"/>
              <a:gd name="connsiteX794" fmla="*/ 10088701 w 12139750"/>
              <a:gd name="connsiteY794" fmla="*/ 5604685 h 6858290"/>
              <a:gd name="connsiteX795" fmla="*/ 10426407 w 12139750"/>
              <a:gd name="connsiteY795" fmla="*/ 5416532 h 6858290"/>
              <a:gd name="connsiteX796" fmla="*/ 10454072 w 12139750"/>
              <a:gd name="connsiteY796" fmla="*/ 5413206 h 6858290"/>
              <a:gd name="connsiteX797" fmla="*/ 9292639 w 12139750"/>
              <a:gd name="connsiteY797" fmla="*/ 5413206 h 6858290"/>
              <a:gd name="connsiteX798" fmla="*/ 9313626 w 12139750"/>
              <a:gd name="connsiteY798" fmla="*/ 5429836 h 6858290"/>
              <a:gd name="connsiteX799" fmla="*/ 9300271 w 12139750"/>
              <a:gd name="connsiteY799" fmla="*/ 5479250 h 6858290"/>
              <a:gd name="connsiteX800" fmla="*/ 8962565 w 12139750"/>
              <a:gd name="connsiteY800" fmla="*/ 5667402 h 6858290"/>
              <a:gd name="connsiteX801" fmla="*/ 8912959 w 12139750"/>
              <a:gd name="connsiteY801" fmla="*/ 5654098 h 6858290"/>
              <a:gd name="connsiteX802" fmla="*/ 8909143 w 12139750"/>
              <a:gd name="connsiteY802" fmla="*/ 5636994 h 6858290"/>
              <a:gd name="connsiteX803" fmla="*/ 8928222 w 12139750"/>
              <a:gd name="connsiteY803" fmla="*/ 5604685 h 6858290"/>
              <a:gd name="connsiteX804" fmla="*/ 9265928 w 12139750"/>
              <a:gd name="connsiteY804" fmla="*/ 5416532 h 6858290"/>
              <a:gd name="connsiteX805" fmla="*/ 9292639 w 12139750"/>
              <a:gd name="connsiteY805" fmla="*/ 5413206 h 6858290"/>
              <a:gd name="connsiteX806" fmla="*/ 11031715 w 12139750"/>
              <a:gd name="connsiteY806" fmla="*/ 5402102 h 6858290"/>
              <a:gd name="connsiteX807" fmla="*/ 11053878 w 12139750"/>
              <a:gd name="connsiteY807" fmla="*/ 5418751 h 6858290"/>
              <a:gd name="connsiteX808" fmla="*/ 11038626 w 12139750"/>
              <a:gd name="connsiteY808" fmla="*/ 5470125 h 6858290"/>
              <a:gd name="connsiteX809" fmla="*/ 10701180 w 12139750"/>
              <a:gd name="connsiteY809" fmla="*/ 5654692 h 6858290"/>
              <a:gd name="connsiteX810" fmla="*/ 10649705 w 12139750"/>
              <a:gd name="connsiteY810" fmla="*/ 5639470 h 6858290"/>
              <a:gd name="connsiteX811" fmla="*/ 10645892 w 12139750"/>
              <a:gd name="connsiteY811" fmla="*/ 5622345 h 6858290"/>
              <a:gd name="connsiteX812" fmla="*/ 10664957 w 12139750"/>
              <a:gd name="connsiteY812" fmla="*/ 5589998 h 6858290"/>
              <a:gd name="connsiteX813" fmla="*/ 11002403 w 12139750"/>
              <a:gd name="connsiteY813" fmla="*/ 5405432 h 6858290"/>
              <a:gd name="connsiteX814" fmla="*/ 11031715 w 12139750"/>
              <a:gd name="connsiteY814" fmla="*/ 5402102 h 6858290"/>
              <a:gd name="connsiteX815" fmla="*/ 8722109 w 12139750"/>
              <a:gd name="connsiteY815" fmla="*/ 5402102 h 6858290"/>
              <a:gd name="connsiteX816" fmla="*/ 8744034 w 12139750"/>
              <a:gd name="connsiteY816" fmla="*/ 5418751 h 6858290"/>
              <a:gd name="connsiteX817" fmla="*/ 8728782 w 12139750"/>
              <a:gd name="connsiteY817" fmla="*/ 5470125 h 6858290"/>
              <a:gd name="connsiteX818" fmla="*/ 8391336 w 12139750"/>
              <a:gd name="connsiteY818" fmla="*/ 5654692 h 6858290"/>
              <a:gd name="connsiteX819" fmla="*/ 8341767 w 12139750"/>
              <a:gd name="connsiteY819" fmla="*/ 5639470 h 6858290"/>
              <a:gd name="connsiteX820" fmla="*/ 8336048 w 12139750"/>
              <a:gd name="connsiteY820" fmla="*/ 5622345 h 6858290"/>
              <a:gd name="connsiteX821" fmla="*/ 8355113 w 12139750"/>
              <a:gd name="connsiteY821" fmla="*/ 5589998 h 6858290"/>
              <a:gd name="connsiteX822" fmla="*/ 8694465 w 12139750"/>
              <a:gd name="connsiteY822" fmla="*/ 5405432 h 6858290"/>
              <a:gd name="connsiteX823" fmla="*/ 8722109 w 12139750"/>
              <a:gd name="connsiteY823" fmla="*/ 5402102 h 6858290"/>
              <a:gd name="connsiteX824" fmla="*/ 11601635 w 12139750"/>
              <a:gd name="connsiteY824" fmla="*/ 5389647 h 6858290"/>
              <a:gd name="connsiteX825" fmla="*/ 11623798 w 12139750"/>
              <a:gd name="connsiteY825" fmla="*/ 5407983 h 6858290"/>
              <a:gd name="connsiteX826" fmla="*/ 11608546 w 12139750"/>
              <a:gd name="connsiteY826" fmla="*/ 5459418 h 6858290"/>
              <a:gd name="connsiteX827" fmla="*/ 11271100 w 12139750"/>
              <a:gd name="connsiteY827" fmla="*/ 5638488 h 6858290"/>
              <a:gd name="connsiteX828" fmla="*/ 11219625 w 12139750"/>
              <a:gd name="connsiteY828" fmla="*/ 5623248 h 6858290"/>
              <a:gd name="connsiteX829" fmla="*/ 11215812 w 12139750"/>
              <a:gd name="connsiteY829" fmla="*/ 5606103 h 6858290"/>
              <a:gd name="connsiteX830" fmla="*/ 11234877 w 12139750"/>
              <a:gd name="connsiteY830" fmla="*/ 5571813 h 6858290"/>
              <a:gd name="connsiteX831" fmla="*/ 11572323 w 12139750"/>
              <a:gd name="connsiteY831" fmla="*/ 5392743 h 6858290"/>
              <a:gd name="connsiteX832" fmla="*/ 11601635 w 12139750"/>
              <a:gd name="connsiteY832" fmla="*/ 5389647 h 6858290"/>
              <a:gd name="connsiteX833" fmla="*/ 8158325 w 12139750"/>
              <a:gd name="connsiteY833" fmla="*/ 5389647 h 6858290"/>
              <a:gd name="connsiteX834" fmla="*/ 8180471 w 12139750"/>
              <a:gd name="connsiteY834" fmla="*/ 5407983 h 6858290"/>
              <a:gd name="connsiteX835" fmla="*/ 8165230 w 12139750"/>
              <a:gd name="connsiteY835" fmla="*/ 5459418 h 6858290"/>
              <a:gd name="connsiteX836" fmla="*/ 7826136 w 12139750"/>
              <a:gd name="connsiteY836" fmla="*/ 5638488 h 6858290"/>
              <a:gd name="connsiteX837" fmla="*/ 7774700 w 12139750"/>
              <a:gd name="connsiteY837" fmla="*/ 5623248 h 6858290"/>
              <a:gd name="connsiteX838" fmla="*/ 7770890 w 12139750"/>
              <a:gd name="connsiteY838" fmla="*/ 5606103 h 6858290"/>
              <a:gd name="connsiteX839" fmla="*/ 7791845 w 12139750"/>
              <a:gd name="connsiteY839" fmla="*/ 5571813 h 6858290"/>
              <a:gd name="connsiteX840" fmla="*/ 8129035 w 12139750"/>
              <a:gd name="connsiteY840" fmla="*/ 5392743 h 6858290"/>
              <a:gd name="connsiteX841" fmla="*/ 8158325 w 12139750"/>
              <a:gd name="connsiteY841" fmla="*/ 5389647 h 6858290"/>
              <a:gd name="connsiteX842" fmla="*/ 12139750 w 12139750"/>
              <a:gd name="connsiteY842" fmla="*/ 5380043 h 6858290"/>
              <a:gd name="connsiteX843" fmla="*/ 12139750 w 12139750"/>
              <a:gd name="connsiteY843" fmla="*/ 5467782 h 6858290"/>
              <a:gd name="connsiteX844" fmla="*/ 11833041 w 12139750"/>
              <a:gd name="connsiteY844" fmla="*/ 5626094 h 6858290"/>
              <a:gd name="connsiteX845" fmla="*/ 11781605 w 12139750"/>
              <a:gd name="connsiteY845" fmla="*/ 5608928 h 6858290"/>
              <a:gd name="connsiteX846" fmla="*/ 11777795 w 12139750"/>
              <a:gd name="connsiteY846" fmla="*/ 5591761 h 6858290"/>
              <a:gd name="connsiteX847" fmla="*/ 11798750 w 12139750"/>
              <a:gd name="connsiteY847" fmla="*/ 5557428 h 6858290"/>
              <a:gd name="connsiteX848" fmla="*/ 12135940 w 12139750"/>
              <a:gd name="connsiteY848" fmla="*/ 5381950 h 6858290"/>
              <a:gd name="connsiteX849" fmla="*/ 12139750 w 12139750"/>
              <a:gd name="connsiteY849" fmla="*/ 5380043 h 6858290"/>
              <a:gd name="connsiteX850" fmla="*/ 7599540 w 12139750"/>
              <a:gd name="connsiteY850" fmla="*/ 5379505 h 6858290"/>
              <a:gd name="connsiteX851" fmla="*/ 7621670 w 12139750"/>
              <a:gd name="connsiteY851" fmla="*/ 5398839 h 6858290"/>
              <a:gd name="connsiteX852" fmla="*/ 7604538 w 12139750"/>
              <a:gd name="connsiteY852" fmla="*/ 5450398 h 6858290"/>
              <a:gd name="connsiteX853" fmla="*/ 7267602 w 12139750"/>
              <a:gd name="connsiteY853" fmla="*/ 5626082 h 6858290"/>
              <a:gd name="connsiteX854" fmla="*/ 7214302 w 12139750"/>
              <a:gd name="connsiteY854" fmla="*/ 5608895 h 6858290"/>
              <a:gd name="connsiteX855" fmla="*/ 7210495 w 12139750"/>
              <a:gd name="connsiteY855" fmla="*/ 5591709 h 6858290"/>
              <a:gd name="connsiteX856" fmla="*/ 7231434 w 12139750"/>
              <a:gd name="connsiteY856" fmla="*/ 5557336 h 6858290"/>
              <a:gd name="connsiteX857" fmla="*/ 7570273 w 12139750"/>
              <a:gd name="connsiteY857" fmla="*/ 5381653 h 6858290"/>
              <a:gd name="connsiteX858" fmla="*/ 7599540 w 12139750"/>
              <a:gd name="connsiteY858" fmla="*/ 5379505 h 6858290"/>
              <a:gd name="connsiteX859" fmla="*/ 7046905 w 12139750"/>
              <a:gd name="connsiteY859" fmla="*/ 5368357 h 6858290"/>
              <a:gd name="connsiteX860" fmla="*/ 7070771 w 12139750"/>
              <a:gd name="connsiteY860" fmla="*/ 5387598 h 6858290"/>
              <a:gd name="connsiteX861" fmla="*/ 7051678 w 12139750"/>
              <a:gd name="connsiteY861" fmla="*/ 5440808 h 6858290"/>
              <a:gd name="connsiteX862" fmla="*/ 6713729 w 12139750"/>
              <a:gd name="connsiteY862" fmla="*/ 5611841 h 6858290"/>
              <a:gd name="connsiteX863" fmla="*/ 6660268 w 12139750"/>
              <a:gd name="connsiteY863" fmla="*/ 5594738 h 6858290"/>
              <a:gd name="connsiteX864" fmla="*/ 6656450 w 12139750"/>
              <a:gd name="connsiteY864" fmla="*/ 5575734 h 6858290"/>
              <a:gd name="connsiteX865" fmla="*/ 6677452 w 12139750"/>
              <a:gd name="connsiteY865" fmla="*/ 5541527 h 6858290"/>
              <a:gd name="connsiteX866" fmla="*/ 7017310 w 12139750"/>
              <a:gd name="connsiteY866" fmla="*/ 5370495 h 6858290"/>
              <a:gd name="connsiteX867" fmla="*/ 7046905 w 12139750"/>
              <a:gd name="connsiteY867" fmla="*/ 5368357 h 6858290"/>
              <a:gd name="connsiteX868" fmla="*/ 6501958 w 12139750"/>
              <a:gd name="connsiteY868" fmla="*/ 5357490 h 6858290"/>
              <a:gd name="connsiteX869" fmla="*/ 6524359 w 12139750"/>
              <a:gd name="connsiteY869" fmla="*/ 5378420 h 6858290"/>
              <a:gd name="connsiteX870" fmla="*/ 6507201 w 12139750"/>
              <a:gd name="connsiteY870" fmla="*/ 5431695 h 6858290"/>
              <a:gd name="connsiteX871" fmla="*/ 6167854 w 12139750"/>
              <a:gd name="connsiteY871" fmla="*/ 5597227 h 6858290"/>
              <a:gd name="connsiteX872" fmla="*/ 6114474 w 12139750"/>
              <a:gd name="connsiteY872" fmla="*/ 5580103 h 6858290"/>
              <a:gd name="connsiteX873" fmla="*/ 6108755 w 12139750"/>
              <a:gd name="connsiteY873" fmla="*/ 5561076 h 6858290"/>
              <a:gd name="connsiteX874" fmla="*/ 6131632 w 12139750"/>
              <a:gd name="connsiteY874" fmla="*/ 5524925 h 6858290"/>
              <a:gd name="connsiteX875" fmla="*/ 6470979 w 12139750"/>
              <a:gd name="connsiteY875" fmla="*/ 5359393 h 6858290"/>
              <a:gd name="connsiteX876" fmla="*/ 6501958 w 12139750"/>
              <a:gd name="connsiteY876" fmla="*/ 5357490 h 6858290"/>
              <a:gd name="connsiteX877" fmla="*/ 5956806 w 12139750"/>
              <a:gd name="connsiteY877" fmla="*/ 5347061 h 6858290"/>
              <a:gd name="connsiteX878" fmla="*/ 5980159 w 12139750"/>
              <a:gd name="connsiteY878" fmla="*/ 5367201 h 6858290"/>
              <a:gd name="connsiteX879" fmla="*/ 5961095 w 12139750"/>
              <a:gd name="connsiteY879" fmla="*/ 5422171 h 6858290"/>
              <a:gd name="connsiteX880" fmla="*/ 5621756 w 12139750"/>
              <a:gd name="connsiteY880" fmla="*/ 5583290 h 6858290"/>
              <a:gd name="connsiteX881" fmla="*/ 5566471 w 12139750"/>
              <a:gd name="connsiteY881" fmla="*/ 5564335 h 6858290"/>
              <a:gd name="connsiteX882" fmla="*/ 5562658 w 12139750"/>
              <a:gd name="connsiteY882" fmla="*/ 5547275 h 6858290"/>
              <a:gd name="connsiteX883" fmla="*/ 5585535 w 12139750"/>
              <a:gd name="connsiteY883" fmla="*/ 5509365 h 6858290"/>
              <a:gd name="connsiteX884" fmla="*/ 5924874 w 12139750"/>
              <a:gd name="connsiteY884" fmla="*/ 5348245 h 6858290"/>
              <a:gd name="connsiteX885" fmla="*/ 5956806 w 12139750"/>
              <a:gd name="connsiteY885" fmla="*/ 5347061 h 6858290"/>
              <a:gd name="connsiteX886" fmla="*/ 398204 w 12139750"/>
              <a:gd name="connsiteY886" fmla="*/ 5347061 h 6858290"/>
              <a:gd name="connsiteX887" fmla="*/ 422273 w 12139750"/>
              <a:gd name="connsiteY887" fmla="*/ 5367201 h 6858290"/>
              <a:gd name="connsiteX888" fmla="*/ 401302 w 12139750"/>
              <a:gd name="connsiteY888" fmla="*/ 5422171 h 6858290"/>
              <a:gd name="connsiteX889" fmla="*/ 63863 w 12139750"/>
              <a:gd name="connsiteY889" fmla="*/ 5583290 h 6858290"/>
              <a:gd name="connsiteX890" fmla="*/ 8576 w 12139750"/>
              <a:gd name="connsiteY890" fmla="*/ 5564335 h 6858290"/>
              <a:gd name="connsiteX891" fmla="*/ 4763 w 12139750"/>
              <a:gd name="connsiteY891" fmla="*/ 5547275 h 6858290"/>
              <a:gd name="connsiteX892" fmla="*/ 27641 w 12139750"/>
              <a:gd name="connsiteY892" fmla="*/ 5509365 h 6858290"/>
              <a:gd name="connsiteX893" fmla="*/ 366986 w 12139750"/>
              <a:gd name="connsiteY893" fmla="*/ 5348245 h 6858290"/>
              <a:gd name="connsiteX894" fmla="*/ 398204 w 12139750"/>
              <a:gd name="connsiteY894" fmla="*/ 5347061 h 6858290"/>
              <a:gd name="connsiteX895" fmla="*/ 5409026 w 12139750"/>
              <a:gd name="connsiteY895" fmla="*/ 5334662 h 6858290"/>
              <a:gd name="connsiteX896" fmla="*/ 5432449 w 12139750"/>
              <a:gd name="connsiteY896" fmla="*/ 5356624 h 6858290"/>
              <a:gd name="connsiteX897" fmla="*/ 5411416 w 12139750"/>
              <a:gd name="connsiteY897" fmla="*/ 5412008 h 6858290"/>
              <a:gd name="connsiteX898" fmla="*/ 5071064 w 12139750"/>
              <a:gd name="connsiteY898" fmla="*/ 5570519 h 6858290"/>
              <a:gd name="connsiteX899" fmla="*/ 5015621 w 12139750"/>
              <a:gd name="connsiteY899" fmla="*/ 5549511 h 6858290"/>
              <a:gd name="connsiteX900" fmla="*/ 5011797 w 12139750"/>
              <a:gd name="connsiteY900" fmla="*/ 5532323 h 6858290"/>
              <a:gd name="connsiteX901" fmla="*/ 5036651 w 12139750"/>
              <a:gd name="connsiteY901" fmla="*/ 5494128 h 6858290"/>
              <a:gd name="connsiteX902" fmla="*/ 5377000 w 12139750"/>
              <a:gd name="connsiteY902" fmla="*/ 5335617 h 6858290"/>
              <a:gd name="connsiteX903" fmla="*/ 5409026 w 12139750"/>
              <a:gd name="connsiteY903" fmla="*/ 5334662 h 6858290"/>
              <a:gd name="connsiteX904" fmla="*/ 941871 w 12139750"/>
              <a:gd name="connsiteY904" fmla="*/ 5334662 h 6858290"/>
              <a:gd name="connsiteX905" fmla="*/ 965208 w 12139750"/>
              <a:gd name="connsiteY905" fmla="*/ 5356624 h 6858290"/>
              <a:gd name="connsiteX906" fmla="*/ 946158 w 12139750"/>
              <a:gd name="connsiteY906" fmla="*/ 5412008 h 6858290"/>
              <a:gd name="connsiteX907" fmla="*/ 605159 w 12139750"/>
              <a:gd name="connsiteY907" fmla="*/ 5570519 h 6858290"/>
              <a:gd name="connsiteX908" fmla="*/ 549913 w 12139750"/>
              <a:gd name="connsiteY908" fmla="*/ 5549511 h 6858290"/>
              <a:gd name="connsiteX909" fmla="*/ 546103 w 12139750"/>
              <a:gd name="connsiteY909" fmla="*/ 5532323 h 6858290"/>
              <a:gd name="connsiteX910" fmla="*/ 570868 w 12139750"/>
              <a:gd name="connsiteY910" fmla="*/ 5494128 h 6858290"/>
              <a:gd name="connsiteX911" fmla="*/ 909962 w 12139750"/>
              <a:gd name="connsiteY911" fmla="*/ 5335617 h 6858290"/>
              <a:gd name="connsiteX912" fmla="*/ 941871 w 12139750"/>
              <a:gd name="connsiteY912" fmla="*/ 5334662 h 6858290"/>
              <a:gd name="connsiteX913" fmla="*/ 4854192 w 12139750"/>
              <a:gd name="connsiteY913" fmla="*/ 5323799 h 6858290"/>
              <a:gd name="connsiteX914" fmla="*/ 4878449 w 12139750"/>
              <a:gd name="connsiteY914" fmla="*/ 5347462 h 6858290"/>
              <a:gd name="connsiteX915" fmla="*/ 4855618 w 12139750"/>
              <a:gd name="connsiteY915" fmla="*/ 5402917 h 6858290"/>
              <a:gd name="connsiteX916" fmla="*/ 4517026 w 12139750"/>
              <a:gd name="connsiteY916" fmla="*/ 5555894 h 6858290"/>
              <a:gd name="connsiteX917" fmla="*/ 4459961 w 12139750"/>
              <a:gd name="connsiteY917" fmla="*/ 5534860 h 6858290"/>
              <a:gd name="connsiteX918" fmla="*/ 4456156 w 12139750"/>
              <a:gd name="connsiteY918" fmla="*/ 5517650 h 6858290"/>
              <a:gd name="connsiteX919" fmla="*/ 4482788 w 12139750"/>
              <a:gd name="connsiteY919" fmla="*/ 5477493 h 6858290"/>
              <a:gd name="connsiteX920" fmla="*/ 4821374 w 12139750"/>
              <a:gd name="connsiteY920" fmla="*/ 5324516 h 6858290"/>
              <a:gd name="connsiteX921" fmla="*/ 4854192 w 12139750"/>
              <a:gd name="connsiteY921" fmla="*/ 5323799 h 6858290"/>
              <a:gd name="connsiteX922" fmla="*/ 1489585 w 12139750"/>
              <a:gd name="connsiteY922" fmla="*/ 5323799 h 6858290"/>
              <a:gd name="connsiteX923" fmla="*/ 1512904 w 12139750"/>
              <a:gd name="connsiteY923" fmla="*/ 5347462 h 6858290"/>
              <a:gd name="connsiteX924" fmla="*/ 1491964 w 12139750"/>
              <a:gd name="connsiteY924" fmla="*/ 5402917 h 6858290"/>
              <a:gd name="connsiteX925" fmla="*/ 1153121 w 12139750"/>
              <a:gd name="connsiteY925" fmla="*/ 5555894 h 6858290"/>
              <a:gd name="connsiteX926" fmla="*/ 1096012 w 12139750"/>
              <a:gd name="connsiteY926" fmla="*/ 5534860 h 6858290"/>
              <a:gd name="connsiteX927" fmla="*/ 1092205 w 12139750"/>
              <a:gd name="connsiteY927" fmla="*/ 5517650 h 6858290"/>
              <a:gd name="connsiteX928" fmla="*/ 1116952 w 12139750"/>
              <a:gd name="connsiteY928" fmla="*/ 5477493 h 6858290"/>
              <a:gd name="connsiteX929" fmla="*/ 1457699 w 12139750"/>
              <a:gd name="connsiteY929" fmla="*/ 5324516 h 6858290"/>
              <a:gd name="connsiteX930" fmla="*/ 1489585 w 12139750"/>
              <a:gd name="connsiteY930" fmla="*/ 5323799 h 6858290"/>
              <a:gd name="connsiteX931" fmla="*/ 4281187 w 12139750"/>
              <a:gd name="connsiteY931" fmla="*/ 5309975 h 6858290"/>
              <a:gd name="connsiteX932" fmla="*/ 4321192 w 12139750"/>
              <a:gd name="connsiteY932" fmla="*/ 5336228 h 6858290"/>
              <a:gd name="connsiteX933" fmla="*/ 4298280 w 12139750"/>
              <a:gd name="connsiteY933" fmla="*/ 5395283 h 6858290"/>
              <a:gd name="connsiteX934" fmla="*/ 3958460 w 12139750"/>
              <a:gd name="connsiteY934" fmla="*/ 5541968 h 6858290"/>
              <a:gd name="connsiteX935" fmla="*/ 3901184 w 12139750"/>
              <a:gd name="connsiteY935" fmla="*/ 5519108 h 6858290"/>
              <a:gd name="connsiteX936" fmla="*/ 3897365 w 12139750"/>
              <a:gd name="connsiteY936" fmla="*/ 5501963 h 6858290"/>
              <a:gd name="connsiteX937" fmla="*/ 3924093 w 12139750"/>
              <a:gd name="connsiteY937" fmla="*/ 5461958 h 6858290"/>
              <a:gd name="connsiteX938" fmla="*/ 4263914 w 12139750"/>
              <a:gd name="connsiteY938" fmla="*/ 5313368 h 6858290"/>
              <a:gd name="connsiteX939" fmla="*/ 4281187 w 12139750"/>
              <a:gd name="connsiteY939" fmla="*/ 5309975 h 6858290"/>
              <a:gd name="connsiteX940" fmla="*/ 2026929 w 12139750"/>
              <a:gd name="connsiteY940" fmla="*/ 5309974 h 6858290"/>
              <a:gd name="connsiteX941" fmla="*/ 2068518 w 12139750"/>
              <a:gd name="connsiteY941" fmla="*/ 5336228 h 6858290"/>
              <a:gd name="connsiteX942" fmla="*/ 2045619 w 12139750"/>
              <a:gd name="connsiteY942" fmla="*/ 5395283 h 6858290"/>
              <a:gd name="connsiteX943" fmla="*/ 1704121 w 12139750"/>
              <a:gd name="connsiteY943" fmla="*/ 5541968 h 6858290"/>
              <a:gd name="connsiteX944" fmla="*/ 1646887 w 12139750"/>
              <a:gd name="connsiteY944" fmla="*/ 5519108 h 6858290"/>
              <a:gd name="connsiteX945" fmla="*/ 1643071 w 12139750"/>
              <a:gd name="connsiteY945" fmla="*/ 5501963 h 6858290"/>
              <a:gd name="connsiteX946" fmla="*/ 1669781 w 12139750"/>
              <a:gd name="connsiteY946" fmla="*/ 5461958 h 6858290"/>
              <a:gd name="connsiteX947" fmla="*/ 2009371 w 12139750"/>
              <a:gd name="connsiteY947" fmla="*/ 5313368 h 6858290"/>
              <a:gd name="connsiteX948" fmla="*/ 2026929 w 12139750"/>
              <a:gd name="connsiteY948" fmla="*/ 5309974 h 6858290"/>
              <a:gd name="connsiteX949" fmla="*/ 3719258 w 12139750"/>
              <a:gd name="connsiteY949" fmla="*/ 5298899 h 6858290"/>
              <a:gd name="connsiteX950" fmla="*/ 3759237 w 12139750"/>
              <a:gd name="connsiteY950" fmla="*/ 5327064 h 6858290"/>
              <a:gd name="connsiteX951" fmla="*/ 3736337 w 12139750"/>
              <a:gd name="connsiteY951" fmla="*/ 5386196 h 6858290"/>
              <a:gd name="connsiteX952" fmla="*/ 3394855 w 12139750"/>
              <a:gd name="connsiteY952" fmla="*/ 5529255 h 6858290"/>
              <a:gd name="connsiteX953" fmla="*/ 3337618 w 12139750"/>
              <a:gd name="connsiteY953" fmla="*/ 5504458 h 6858290"/>
              <a:gd name="connsiteX954" fmla="*/ 3333804 w 12139750"/>
              <a:gd name="connsiteY954" fmla="*/ 5487291 h 6858290"/>
              <a:gd name="connsiteX955" fmla="*/ 3360513 w 12139750"/>
              <a:gd name="connsiteY955" fmla="*/ 5447234 h 6858290"/>
              <a:gd name="connsiteX956" fmla="*/ 3701998 w 12139750"/>
              <a:gd name="connsiteY956" fmla="*/ 5302267 h 6858290"/>
              <a:gd name="connsiteX957" fmla="*/ 3719258 w 12139750"/>
              <a:gd name="connsiteY957" fmla="*/ 5298899 h 6858290"/>
              <a:gd name="connsiteX958" fmla="*/ 2583547 w 12139750"/>
              <a:gd name="connsiteY958" fmla="*/ 5298899 h 6858290"/>
              <a:gd name="connsiteX959" fmla="*/ 2624178 w 12139750"/>
              <a:gd name="connsiteY959" fmla="*/ 5327064 h 6858290"/>
              <a:gd name="connsiteX960" fmla="*/ 2601368 w 12139750"/>
              <a:gd name="connsiteY960" fmla="*/ 5386196 h 6858290"/>
              <a:gd name="connsiteX961" fmla="*/ 2261117 w 12139750"/>
              <a:gd name="connsiteY961" fmla="*/ 5529255 h 6858290"/>
              <a:gd name="connsiteX962" fmla="*/ 2204092 w 12139750"/>
              <a:gd name="connsiteY962" fmla="*/ 5504458 h 6858290"/>
              <a:gd name="connsiteX963" fmla="*/ 2200290 w 12139750"/>
              <a:gd name="connsiteY963" fmla="*/ 5487291 h 6858290"/>
              <a:gd name="connsiteX964" fmla="*/ 2226902 w 12139750"/>
              <a:gd name="connsiteY964" fmla="*/ 5447234 h 6858290"/>
              <a:gd name="connsiteX965" fmla="*/ 2567153 w 12139750"/>
              <a:gd name="connsiteY965" fmla="*/ 5302267 h 6858290"/>
              <a:gd name="connsiteX966" fmla="*/ 2583547 w 12139750"/>
              <a:gd name="connsiteY966" fmla="*/ 5298899 h 6858290"/>
              <a:gd name="connsiteX967" fmla="*/ 3161733 w 12139750"/>
              <a:gd name="connsiteY967" fmla="*/ 5292230 h 6858290"/>
              <a:gd name="connsiteX968" fmla="*/ 3186188 w 12139750"/>
              <a:gd name="connsiteY968" fmla="*/ 5317405 h 6858290"/>
              <a:gd name="connsiteX969" fmla="*/ 3161495 w 12139750"/>
              <a:gd name="connsiteY969" fmla="*/ 5376305 h 6858290"/>
              <a:gd name="connsiteX970" fmla="*/ 2821486 w 12139750"/>
              <a:gd name="connsiteY970" fmla="*/ 5515005 h 6858290"/>
              <a:gd name="connsiteX971" fmla="*/ 2762604 w 12139750"/>
              <a:gd name="connsiteY971" fmla="*/ 5488405 h 6858290"/>
              <a:gd name="connsiteX972" fmla="*/ 2760705 w 12139750"/>
              <a:gd name="connsiteY972" fmla="*/ 5471305 h 6858290"/>
              <a:gd name="connsiteX973" fmla="*/ 2787298 w 12139750"/>
              <a:gd name="connsiteY973" fmla="*/ 5429505 h 6858290"/>
              <a:gd name="connsiteX974" fmla="*/ 3127305 w 12139750"/>
              <a:gd name="connsiteY974" fmla="*/ 5292705 h 6858290"/>
              <a:gd name="connsiteX975" fmla="*/ 3161733 w 12139750"/>
              <a:gd name="connsiteY975" fmla="*/ 5292230 h 6858290"/>
              <a:gd name="connsiteX976" fmla="*/ 9868289 w 12139750"/>
              <a:gd name="connsiteY976" fmla="*/ 5096095 h 6858290"/>
              <a:gd name="connsiteX977" fmla="*/ 9888974 w 12139750"/>
              <a:gd name="connsiteY977" fmla="*/ 5110082 h 6858290"/>
              <a:gd name="connsiteX978" fmla="*/ 9877562 w 12139750"/>
              <a:gd name="connsiteY978" fmla="*/ 5155597 h 6858290"/>
              <a:gd name="connsiteX979" fmla="*/ 9542804 w 12139750"/>
              <a:gd name="connsiteY979" fmla="*/ 5364209 h 6858290"/>
              <a:gd name="connsiteX980" fmla="*/ 9497155 w 12139750"/>
              <a:gd name="connsiteY980" fmla="*/ 5352831 h 6858290"/>
              <a:gd name="connsiteX981" fmla="*/ 9493351 w 12139750"/>
              <a:gd name="connsiteY981" fmla="*/ 5335762 h 6858290"/>
              <a:gd name="connsiteX982" fmla="*/ 9508567 w 12139750"/>
              <a:gd name="connsiteY982" fmla="*/ 5307315 h 6858290"/>
              <a:gd name="connsiteX983" fmla="*/ 9843325 w 12139750"/>
              <a:gd name="connsiteY983" fmla="*/ 5100599 h 6858290"/>
              <a:gd name="connsiteX984" fmla="*/ 9868289 w 12139750"/>
              <a:gd name="connsiteY984" fmla="*/ 5096095 h 6858290"/>
              <a:gd name="connsiteX985" fmla="*/ 10452111 w 12139750"/>
              <a:gd name="connsiteY985" fmla="*/ 5084390 h 6858290"/>
              <a:gd name="connsiteX986" fmla="*/ 10472844 w 12139750"/>
              <a:gd name="connsiteY986" fmla="*/ 5099443 h 6858290"/>
              <a:gd name="connsiteX987" fmla="*/ 10461405 w 12139750"/>
              <a:gd name="connsiteY987" fmla="*/ 5147230 h 6858290"/>
              <a:gd name="connsiteX988" fmla="*/ 10125860 w 12139750"/>
              <a:gd name="connsiteY988" fmla="*/ 5349847 h 6858290"/>
              <a:gd name="connsiteX989" fmla="*/ 10078197 w 12139750"/>
              <a:gd name="connsiteY989" fmla="*/ 5338378 h 6858290"/>
              <a:gd name="connsiteX990" fmla="*/ 10074384 w 12139750"/>
              <a:gd name="connsiteY990" fmla="*/ 5321175 h 6858290"/>
              <a:gd name="connsiteX991" fmla="*/ 10089636 w 12139750"/>
              <a:gd name="connsiteY991" fmla="*/ 5290591 h 6858290"/>
              <a:gd name="connsiteX992" fmla="*/ 10427088 w 12139750"/>
              <a:gd name="connsiteY992" fmla="*/ 5087974 h 6858290"/>
              <a:gd name="connsiteX993" fmla="*/ 10452111 w 12139750"/>
              <a:gd name="connsiteY993" fmla="*/ 5084390 h 6858290"/>
              <a:gd name="connsiteX994" fmla="*/ 9291418 w 12139750"/>
              <a:gd name="connsiteY994" fmla="*/ 5084390 h 6858290"/>
              <a:gd name="connsiteX995" fmla="*/ 9312374 w 12139750"/>
              <a:gd name="connsiteY995" fmla="*/ 5099443 h 6858290"/>
              <a:gd name="connsiteX996" fmla="*/ 9300944 w 12139750"/>
              <a:gd name="connsiteY996" fmla="*/ 5147230 h 6858290"/>
              <a:gd name="connsiteX997" fmla="*/ 8963754 w 12139750"/>
              <a:gd name="connsiteY997" fmla="*/ 5349847 h 6858290"/>
              <a:gd name="connsiteX998" fmla="*/ 8918033 w 12139750"/>
              <a:gd name="connsiteY998" fmla="*/ 5338378 h 6858290"/>
              <a:gd name="connsiteX999" fmla="*/ 8912318 w 12139750"/>
              <a:gd name="connsiteY999" fmla="*/ 5321175 h 6858290"/>
              <a:gd name="connsiteX1000" fmla="*/ 8929463 w 12139750"/>
              <a:gd name="connsiteY1000" fmla="*/ 5290591 h 6858290"/>
              <a:gd name="connsiteX1001" fmla="*/ 9264748 w 12139750"/>
              <a:gd name="connsiteY1001" fmla="*/ 5087974 h 6858290"/>
              <a:gd name="connsiteX1002" fmla="*/ 9291418 w 12139750"/>
              <a:gd name="connsiteY1002" fmla="*/ 5084390 h 6858290"/>
              <a:gd name="connsiteX1003" fmla="*/ 11029363 w 12139750"/>
              <a:gd name="connsiteY1003" fmla="*/ 5075090 h 6858290"/>
              <a:gd name="connsiteX1004" fmla="*/ 11050366 w 12139750"/>
              <a:gd name="connsiteY1004" fmla="*/ 5091778 h 6858290"/>
              <a:gd name="connsiteX1005" fmla="*/ 11038910 w 12139750"/>
              <a:gd name="connsiteY1005" fmla="*/ 5139458 h 6858290"/>
              <a:gd name="connsiteX1006" fmla="*/ 10700944 w 12139750"/>
              <a:gd name="connsiteY1006" fmla="*/ 5333994 h 6858290"/>
              <a:gd name="connsiteX1007" fmla="*/ 10653208 w 12139750"/>
              <a:gd name="connsiteY1007" fmla="*/ 5320643 h 6858290"/>
              <a:gd name="connsiteX1008" fmla="*/ 10647480 w 12139750"/>
              <a:gd name="connsiteY1008" fmla="*/ 5303478 h 6858290"/>
              <a:gd name="connsiteX1009" fmla="*/ 10664665 w 12139750"/>
              <a:gd name="connsiteY1009" fmla="*/ 5272963 h 6858290"/>
              <a:gd name="connsiteX1010" fmla="*/ 11002631 w 12139750"/>
              <a:gd name="connsiteY1010" fmla="*/ 5078428 h 6858290"/>
              <a:gd name="connsiteX1011" fmla="*/ 11029363 w 12139750"/>
              <a:gd name="connsiteY1011" fmla="*/ 5075090 h 6858290"/>
              <a:gd name="connsiteX1012" fmla="*/ 8719756 w 12139750"/>
              <a:gd name="connsiteY1012" fmla="*/ 5075090 h 6858290"/>
              <a:gd name="connsiteX1013" fmla="*/ 8742431 w 12139750"/>
              <a:gd name="connsiteY1013" fmla="*/ 5091778 h 6858290"/>
              <a:gd name="connsiteX1014" fmla="*/ 8729065 w 12139750"/>
              <a:gd name="connsiteY1014" fmla="*/ 5139458 h 6858290"/>
              <a:gd name="connsiteX1015" fmla="*/ 8391099 w 12139750"/>
              <a:gd name="connsiteY1015" fmla="*/ 5333994 h 6858290"/>
              <a:gd name="connsiteX1016" fmla="*/ 8343363 w 12139750"/>
              <a:gd name="connsiteY1016" fmla="*/ 5320643 h 6858290"/>
              <a:gd name="connsiteX1017" fmla="*/ 8337635 w 12139750"/>
              <a:gd name="connsiteY1017" fmla="*/ 5303478 h 6858290"/>
              <a:gd name="connsiteX1018" fmla="*/ 8356729 w 12139750"/>
              <a:gd name="connsiteY1018" fmla="*/ 5272963 h 6858290"/>
              <a:gd name="connsiteX1019" fmla="*/ 8692786 w 12139750"/>
              <a:gd name="connsiteY1019" fmla="*/ 5078428 h 6858290"/>
              <a:gd name="connsiteX1020" fmla="*/ 8719756 w 12139750"/>
              <a:gd name="connsiteY1020" fmla="*/ 5075090 h 6858290"/>
              <a:gd name="connsiteX1021" fmla="*/ 11600954 w 12139750"/>
              <a:gd name="connsiteY1021" fmla="*/ 5064224 h 6858290"/>
              <a:gd name="connsiteX1022" fmla="*/ 11622196 w 12139750"/>
              <a:gd name="connsiteY1022" fmla="*/ 5082602 h 6858290"/>
              <a:gd name="connsiteX1023" fmla="*/ 11608830 w 12139750"/>
              <a:gd name="connsiteY1023" fmla="*/ 5132248 h 6858290"/>
              <a:gd name="connsiteX1024" fmla="*/ 11270864 w 12139750"/>
              <a:gd name="connsiteY1024" fmla="*/ 5319373 h 6858290"/>
              <a:gd name="connsiteX1025" fmla="*/ 11221219 w 12139750"/>
              <a:gd name="connsiteY1025" fmla="*/ 5306007 h 6858290"/>
              <a:gd name="connsiteX1026" fmla="*/ 11217400 w 12139750"/>
              <a:gd name="connsiteY1026" fmla="*/ 5288822 h 6858290"/>
              <a:gd name="connsiteX1027" fmla="*/ 11234585 w 12139750"/>
              <a:gd name="connsiteY1027" fmla="*/ 5256362 h 6858290"/>
              <a:gd name="connsiteX1028" fmla="*/ 11572551 w 12139750"/>
              <a:gd name="connsiteY1028" fmla="*/ 5067327 h 6858290"/>
              <a:gd name="connsiteX1029" fmla="*/ 11600954 w 12139750"/>
              <a:gd name="connsiteY1029" fmla="*/ 5064224 h 6858290"/>
              <a:gd name="connsiteX1030" fmla="*/ 8155460 w 12139750"/>
              <a:gd name="connsiteY1030" fmla="*/ 5064224 h 6858290"/>
              <a:gd name="connsiteX1031" fmla="*/ 8177317 w 12139750"/>
              <a:gd name="connsiteY1031" fmla="*/ 5082602 h 6858290"/>
              <a:gd name="connsiteX1032" fmla="*/ 8162112 w 12139750"/>
              <a:gd name="connsiteY1032" fmla="*/ 5132248 h 6858290"/>
              <a:gd name="connsiteX1033" fmla="*/ 7825696 w 12139750"/>
              <a:gd name="connsiteY1033" fmla="*/ 5319373 h 6858290"/>
              <a:gd name="connsiteX1034" fmla="*/ 7776279 w 12139750"/>
              <a:gd name="connsiteY1034" fmla="*/ 5306007 h 6858290"/>
              <a:gd name="connsiteX1035" fmla="*/ 7772478 w 12139750"/>
              <a:gd name="connsiteY1035" fmla="*/ 5288822 h 6858290"/>
              <a:gd name="connsiteX1036" fmla="*/ 7791484 w 12139750"/>
              <a:gd name="connsiteY1036" fmla="*/ 5256362 h 6858290"/>
              <a:gd name="connsiteX1037" fmla="*/ 8127900 w 12139750"/>
              <a:gd name="connsiteY1037" fmla="*/ 5067327 h 6858290"/>
              <a:gd name="connsiteX1038" fmla="*/ 8155460 w 12139750"/>
              <a:gd name="connsiteY1038" fmla="*/ 5064224 h 6858290"/>
              <a:gd name="connsiteX1039" fmla="*/ 12139750 w 12139750"/>
              <a:gd name="connsiteY1039" fmla="*/ 5056192 h 6858290"/>
              <a:gd name="connsiteX1040" fmla="*/ 12139750 w 12139750"/>
              <a:gd name="connsiteY1040" fmla="*/ 5139909 h 6858290"/>
              <a:gd name="connsiteX1041" fmla="*/ 11834946 w 12139750"/>
              <a:gd name="connsiteY1041" fmla="*/ 5305441 h 6858290"/>
              <a:gd name="connsiteX1042" fmla="*/ 11783510 w 12139750"/>
              <a:gd name="connsiteY1042" fmla="*/ 5290220 h 6858290"/>
              <a:gd name="connsiteX1043" fmla="*/ 11777795 w 12139750"/>
              <a:gd name="connsiteY1043" fmla="*/ 5271193 h 6858290"/>
              <a:gd name="connsiteX1044" fmla="*/ 11798750 w 12139750"/>
              <a:gd name="connsiteY1044" fmla="*/ 5238848 h 6858290"/>
              <a:gd name="connsiteX1045" fmla="*/ 12135940 w 12139750"/>
              <a:gd name="connsiteY1045" fmla="*/ 5058094 h 6858290"/>
              <a:gd name="connsiteX1046" fmla="*/ 12139750 w 12139750"/>
              <a:gd name="connsiteY1046" fmla="*/ 5056192 h 6858290"/>
              <a:gd name="connsiteX1047" fmla="*/ 7597906 w 12139750"/>
              <a:gd name="connsiteY1047" fmla="*/ 5054684 h 6858290"/>
              <a:gd name="connsiteX1048" fmla="*/ 7620068 w 12139750"/>
              <a:gd name="connsiteY1048" fmla="*/ 5073020 h 6858290"/>
              <a:gd name="connsiteX1049" fmla="*/ 7604817 w 12139750"/>
              <a:gd name="connsiteY1049" fmla="*/ 5124455 h 6858290"/>
              <a:gd name="connsiteX1050" fmla="*/ 7267371 w 12139750"/>
              <a:gd name="connsiteY1050" fmla="*/ 5305430 h 6858290"/>
              <a:gd name="connsiteX1051" fmla="*/ 7215896 w 12139750"/>
              <a:gd name="connsiteY1051" fmla="*/ 5290190 h 6858290"/>
              <a:gd name="connsiteX1052" fmla="*/ 7212083 w 12139750"/>
              <a:gd name="connsiteY1052" fmla="*/ 5271140 h 6858290"/>
              <a:gd name="connsiteX1053" fmla="*/ 7231147 w 12139750"/>
              <a:gd name="connsiteY1053" fmla="*/ 5238755 h 6858290"/>
              <a:gd name="connsiteX1054" fmla="*/ 7568594 w 12139750"/>
              <a:gd name="connsiteY1054" fmla="*/ 5057780 h 6858290"/>
              <a:gd name="connsiteX1055" fmla="*/ 7597906 w 12139750"/>
              <a:gd name="connsiteY1055" fmla="*/ 5054684 h 6858290"/>
              <a:gd name="connsiteX1056" fmla="*/ 7046964 w 12139750"/>
              <a:gd name="connsiteY1056" fmla="*/ 5044542 h 6858290"/>
              <a:gd name="connsiteX1057" fmla="*/ 7069177 w 12139750"/>
              <a:gd name="connsiteY1057" fmla="*/ 5063876 h 6858290"/>
              <a:gd name="connsiteX1058" fmla="*/ 7051980 w 12139750"/>
              <a:gd name="connsiteY1058" fmla="*/ 5115435 h 6858290"/>
              <a:gd name="connsiteX1059" fmla="*/ 6713773 w 12139750"/>
              <a:gd name="connsiteY1059" fmla="*/ 5291119 h 6858290"/>
              <a:gd name="connsiteX1060" fmla="*/ 6660271 w 12139750"/>
              <a:gd name="connsiteY1060" fmla="*/ 5273932 h 6858290"/>
              <a:gd name="connsiteX1061" fmla="*/ 6656450 w 12139750"/>
              <a:gd name="connsiteY1061" fmla="*/ 5256746 h 6858290"/>
              <a:gd name="connsiteX1062" fmla="*/ 6677468 w 12139750"/>
              <a:gd name="connsiteY1062" fmla="*/ 5222373 h 6858290"/>
              <a:gd name="connsiteX1063" fmla="*/ 7017586 w 12139750"/>
              <a:gd name="connsiteY1063" fmla="*/ 5046690 h 6858290"/>
              <a:gd name="connsiteX1064" fmla="*/ 7046964 w 12139750"/>
              <a:gd name="connsiteY1064" fmla="*/ 5044542 h 6858290"/>
              <a:gd name="connsiteX1065" fmla="*/ 6485663 w 12139750"/>
              <a:gd name="connsiteY1065" fmla="*/ 5032630 h 6858290"/>
              <a:gd name="connsiteX1066" fmla="*/ 6523112 w 12139750"/>
              <a:gd name="connsiteY1066" fmla="*/ 5054570 h 6858290"/>
              <a:gd name="connsiteX1067" fmla="*/ 6505992 w 12139750"/>
              <a:gd name="connsiteY1067" fmla="*/ 5107845 h 6858290"/>
              <a:gd name="connsiteX1068" fmla="*/ 6167407 w 12139750"/>
              <a:gd name="connsiteY1068" fmla="*/ 5275279 h 6858290"/>
              <a:gd name="connsiteX1069" fmla="*/ 6114146 w 12139750"/>
              <a:gd name="connsiteY1069" fmla="*/ 5258155 h 6858290"/>
              <a:gd name="connsiteX1070" fmla="*/ 6110342 w 12139750"/>
              <a:gd name="connsiteY1070" fmla="*/ 5239129 h 6858290"/>
              <a:gd name="connsiteX1071" fmla="*/ 6131266 w 12139750"/>
              <a:gd name="connsiteY1071" fmla="*/ 5202978 h 6858290"/>
              <a:gd name="connsiteX1072" fmla="*/ 6469851 w 12139750"/>
              <a:gd name="connsiteY1072" fmla="*/ 5037446 h 6858290"/>
              <a:gd name="connsiteX1073" fmla="*/ 6485663 w 12139750"/>
              <a:gd name="connsiteY1073" fmla="*/ 5032630 h 6858290"/>
              <a:gd name="connsiteX1074" fmla="*/ 5956806 w 12139750"/>
              <a:gd name="connsiteY1074" fmla="*/ 5024850 h 6858290"/>
              <a:gd name="connsiteX1075" fmla="*/ 5980159 w 12139750"/>
              <a:gd name="connsiteY1075" fmla="*/ 5045115 h 6858290"/>
              <a:gd name="connsiteX1076" fmla="*/ 5961095 w 12139750"/>
              <a:gd name="connsiteY1076" fmla="*/ 5100429 h 6858290"/>
              <a:gd name="connsiteX1077" fmla="*/ 5621756 w 12139750"/>
              <a:gd name="connsiteY1077" fmla="*/ 5262556 h 6858290"/>
              <a:gd name="connsiteX1078" fmla="*/ 5566471 w 12139750"/>
              <a:gd name="connsiteY1078" fmla="*/ 5241575 h 6858290"/>
              <a:gd name="connsiteX1079" fmla="*/ 5562658 w 12139750"/>
              <a:gd name="connsiteY1079" fmla="*/ 5224408 h 6858290"/>
              <a:gd name="connsiteX1080" fmla="*/ 5585535 w 12139750"/>
              <a:gd name="connsiteY1080" fmla="*/ 5186261 h 6858290"/>
              <a:gd name="connsiteX1081" fmla="*/ 5924874 w 12139750"/>
              <a:gd name="connsiteY1081" fmla="*/ 5026042 h 6858290"/>
              <a:gd name="connsiteX1082" fmla="*/ 5956806 w 12139750"/>
              <a:gd name="connsiteY1082" fmla="*/ 5024850 h 6858290"/>
              <a:gd name="connsiteX1083" fmla="*/ 398945 w 12139750"/>
              <a:gd name="connsiteY1083" fmla="*/ 5024850 h 6858290"/>
              <a:gd name="connsiteX1084" fmla="*/ 422281 w 12139750"/>
              <a:gd name="connsiteY1084" fmla="*/ 5045115 h 6858290"/>
              <a:gd name="connsiteX1085" fmla="*/ 401326 w 12139750"/>
              <a:gd name="connsiteY1085" fmla="*/ 5100429 h 6858290"/>
              <a:gd name="connsiteX1086" fmla="*/ 62232 w 12139750"/>
              <a:gd name="connsiteY1086" fmla="*/ 5262556 h 6858290"/>
              <a:gd name="connsiteX1087" fmla="*/ 8891 w 12139750"/>
              <a:gd name="connsiteY1087" fmla="*/ 5241575 h 6858290"/>
              <a:gd name="connsiteX1088" fmla="*/ 3176 w 12139750"/>
              <a:gd name="connsiteY1088" fmla="*/ 5224408 h 6858290"/>
              <a:gd name="connsiteX1089" fmla="*/ 27941 w 12139750"/>
              <a:gd name="connsiteY1089" fmla="*/ 5186261 h 6858290"/>
              <a:gd name="connsiteX1090" fmla="*/ 367036 w 12139750"/>
              <a:gd name="connsiteY1090" fmla="*/ 5026042 h 6858290"/>
              <a:gd name="connsiteX1091" fmla="*/ 398945 w 12139750"/>
              <a:gd name="connsiteY1091" fmla="*/ 5024850 h 6858290"/>
              <a:gd name="connsiteX1092" fmla="*/ 5409053 w 12139750"/>
              <a:gd name="connsiteY1092" fmla="*/ 5014180 h 6858290"/>
              <a:gd name="connsiteX1093" fmla="*/ 5432458 w 12139750"/>
              <a:gd name="connsiteY1093" fmla="*/ 5037695 h 6858290"/>
              <a:gd name="connsiteX1094" fmla="*/ 5411440 w 12139750"/>
              <a:gd name="connsiteY1094" fmla="*/ 5092800 h 6858290"/>
              <a:gd name="connsiteX1095" fmla="*/ 5071343 w 12139750"/>
              <a:gd name="connsiteY1095" fmla="*/ 5246716 h 6858290"/>
              <a:gd name="connsiteX1096" fmla="*/ 5014031 w 12139750"/>
              <a:gd name="connsiteY1096" fmla="*/ 5225814 h 6858290"/>
              <a:gd name="connsiteX1097" fmla="*/ 5010210 w 12139750"/>
              <a:gd name="connsiteY1097" fmla="*/ 5208712 h 6858290"/>
              <a:gd name="connsiteX1098" fmla="*/ 5036956 w 12139750"/>
              <a:gd name="connsiteY1098" fmla="*/ 5168808 h 6858290"/>
              <a:gd name="connsiteX1099" fmla="*/ 5377049 w 12139750"/>
              <a:gd name="connsiteY1099" fmla="*/ 5014893 h 6858290"/>
              <a:gd name="connsiteX1100" fmla="*/ 5409053 w 12139750"/>
              <a:gd name="connsiteY1100" fmla="*/ 5014180 h 6858290"/>
              <a:gd name="connsiteX1101" fmla="*/ 942531 w 12139750"/>
              <a:gd name="connsiteY1101" fmla="*/ 5014180 h 6858290"/>
              <a:gd name="connsiteX1102" fmla="*/ 966802 w 12139750"/>
              <a:gd name="connsiteY1102" fmla="*/ 5037695 h 6858290"/>
              <a:gd name="connsiteX1103" fmla="*/ 945862 w 12139750"/>
              <a:gd name="connsiteY1103" fmla="*/ 5092800 h 6858290"/>
              <a:gd name="connsiteX1104" fmla="*/ 605115 w 12139750"/>
              <a:gd name="connsiteY1104" fmla="*/ 5246716 h 6858290"/>
              <a:gd name="connsiteX1105" fmla="*/ 549910 w 12139750"/>
              <a:gd name="connsiteY1105" fmla="*/ 5225814 h 6858290"/>
              <a:gd name="connsiteX1106" fmla="*/ 546103 w 12139750"/>
              <a:gd name="connsiteY1106" fmla="*/ 5208712 h 6858290"/>
              <a:gd name="connsiteX1107" fmla="*/ 570850 w 12139750"/>
              <a:gd name="connsiteY1107" fmla="*/ 5168808 h 6858290"/>
              <a:gd name="connsiteX1108" fmla="*/ 909693 w 12139750"/>
              <a:gd name="connsiteY1108" fmla="*/ 5014893 h 6858290"/>
              <a:gd name="connsiteX1109" fmla="*/ 942531 w 12139750"/>
              <a:gd name="connsiteY1109" fmla="*/ 5014180 h 6858290"/>
              <a:gd name="connsiteX1110" fmla="*/ 4856076 w 12139750"/>
              <a:gd name="connsiteY1110" fmla="*/ 5004632 h 6858290"/>
              <a:gd name="connsiteX1111" fmla="*/ 4879688 w 12139750"/>
              <a:gd name="connsiteY1111" fmla="*/ 5028084 h 6858290"/>
              <a:gd name="connsiteX1112" fmla="*/ 4856791 w 12139750"/>
              <a:gd name="connsiteY1112" fmla="*/ 5084939 h 6858290"/>
              <a:gd name="connsiteX1113" fmla="*/ 4517208 w 12139750"/>
              <a:gd name="connsiteY1113" fmla="*/ 5230866 h 6858290"/>
              <a:gd name="connsiteX1114" fmla="*/ 4459972 w 12139750"/>
              <a:gd name="connsiteY1114" fmla="*/ 5208124 h 6858290"/>
              <a:gd name="connsiteX1115" fmla="*/ 4456156 w 12139750"/>
              <a:gd name="connsiteY1115" fmla="*/ 5191068 h 6858290"/>
              <a:gd name="connsiteX1116" fmla="*/ 4482867 w 12139750"/>
              <a:gd name="connsiteY1116" fmla="*/ 5151269 h 6858290"/>
              <a:gd name="connsiteX1117" fmla="*/ 4822445 w 12139750"/>
              <a:gd name="connsiteY1117" fmla="*/ 5005343 h 6858290"/>
              <a:gd name="connsiteX1118" fmla="*/ 4856076 w 12139750"/>
              <a:gd name="connsiteY1118" fmla="*/ 5004632 h 6858290"/>
              <a:gd name="connsiteX1119" fmla="*/ 1491734 w 12139750"/>
              <a:gd name="connsiteY1119" fmla="*/ 5004632 h 6858290"/>
              <a:gd name="connsiteX1120" fmla="*/ 1516059 w 12139750"/>
              <a:gd name="connsiteY1120" fmla="*/ 5028084 h 6858290"/>
              <a:gd name="connsiteX1121" fmla="*/ 1493165 w 12139750"/>
              <a:gd name="connsiteY1121" fmla="*/ 5084939 h 6858290"/>
              <a:gd name="connsiteX1122" fmla="*/ 1153575 w 12139750"/>
              <a:gd name="connsiteY1122" fmla="*/ 5230866 h 6858290"/>
              <a:gd name="connsiteX1123" fmla="*/ 1094433 w 12139750"/>
              <a:gd name="connsiteY1123" fmla="*/ 5208124 h 6858290"/>
              <a:gd name="connsiteX1124" fmla="*/ 1090618 w 12139750"/>
              <a:gd name="connsiteY1124" fmla="*/ 5191068 h 6858290"/>
              <a:gd name="connsiteX1125" fmla="*/ 1117327 w 12139750"/>
              <a:gd name="connsiteY1125" fmla="*/ 5151269 h 6858290"/>
              <a:gd name="connsiteX1126" fmla="*/ 1458825 w 12139750"/>
              <a:gd name="connsiteY1126" fmla="*/ 5005343 h 6858290"/>
              <a:gd name="connsiteX1127" fmla="*/ 1491734 w 12139750"/>
              <a:gd name="connsiteY1127" fmla="*/ 5004632 h 6858290"/>
              <a:gd name="connsiteX1128" fmla="*/ 4281239 w 12139750"/>
              <a:gd name="connsiteY1128" fmla="*/ 4989344 h 6858290"/>
              <a:gd name="connsiteX1129" fmla="*/ 4322794 w 12139750"/>
              <a:gd name="connsiteY1129" fmla="*/ 5017546 h 6858290"/>
              <a:gd name="connsiteX1130" fmla="*/ 4298010 w 12139750"/>
              <a:gd name="connsiteY1130" fmla="*/ 5076755 h 6858290"/>
              <a:gd name="connsiteX1131" fmla="*/ 3958691 w 12139750"/>
              <a:gd name="connsiteY1131" fmla="*/ 5218092 h 6858290"/>
              <a:gd name="connsiteX1132" fmla="*/ 3899590 w 12139750"/>
              <a:gd name="connsiteY1132" fmla="*/ 5193262 h 6858290"/>
              <a:gd name="connsiteX1133" fmla="*/ 3895779 w 12139750"/>
              <a:gd name="connsiteY1133" fmla="*/ 5176073 h 6858290"/>
              <a:gd name="connsiteX1134" fmla="*/ 3924374 w 12139750"/>
              <a:gd name="connsiteY1134" fmla="*/ 5134054 h 6858290"/>
              <a:gd name="connsiteX1135" fmla="*/ 4263694 w 12139750"/>
              <a:gd name="connsiteY1135" fmla="*/ 4992717 h 6858290"/>
              <a:gd name="connsiteX1136" fmla="*/ 4281239 w 12139750"/>
              <a:gd name="connsiteY1136" fmla="*/ 4989344 h 6858290"/>
              <a:gd name="connsiteX1137" fmla="*/ 2028590 w 12139750"/>
              <a:gd name="connsiteY1137" fmla="*/ 4989344 h 6858290"/>
              <a:gd name="connsiteX1138" fmla="*/ 2070119 w 12139750"/>
              <a:gd name="connsiteY1138" fmla="*/ 5017546 h 6858290"/>
              <a:gd name="connsiteX1139" fmla="*/ 2045349 w 12139750"/>
              <a:gd name="connsiteY1139" fmla="*/ 5076755 h 6858290"/>
              <a:gd name="connsiteX1140" fmla="*/ 1704349 w 12139750"/>
              <a:gd name="connsiteY1140" fmla="*/ 5218092 h 6858290"/>
              <a:gd name="connsiteX1141" fmla="*/ 1645293 w 12139750"/>
              <a:gd name="connsiteY1141" fmla="*/ 5193262 h 6858290"/>
              <a:gd name="connsiteX1142" fmla="*/ 1641483 w 12139750"/>
              <a:gd name="connsiteY1142" fmla="*/ 5176073 h 6858290"/>
              <a:gd name="connsiteX1143" fmla="*/ 1670059 w 12139750"/>
              <a:gd name="connsiteY1143" fmla="*/ 5134054 h 6858290"/>
              <a:gd name="connsiteX1144" fmla="*/ 2011058 w 12139750"/>
              <a:gd name="connsiteY1144" fmla="*/ 4992717 h 6858290"/>
              <a:gd name="connsiteX1145" fmla="*/ 2028590 w 12139750"/>
              <a:gd name="connsiteY1145" fmla="*/ 4989344 h 6858290"/>
              <a:gd name="connsiteX1146" fmla="*/ 3720408 w 12139750"/>
              <a:gd name="connsiteY1146" fmla="*/ 4979833 h 6858290"/>
              <a:gd name="connsiteX1147" fmla="*/ 3762739 w 12139750"/>
              <a:gd name="connsiteY1147" fmla="*/ 5009837 h 6858290"/>
              <a:gd name="connsiteX1148" fmla="*/ 3736068 w 12139750"/>
              <a:gd name="connsiteY1148" fmla="*/ 5068892 h 6858290"/>
              <a:gd name="connsiteX1149" fmla="*/ 3395084 w 12139750"/>
              <a:gd name="connsiteY1149" fmla="*/ 5202242 h 6858290"/>
              <a:gd name="connsiteX1150" fmla="*/ 3334121 w 12139750"/>
              <a:gd name="connsiteY1150" fmla="*/ 5175572 h 6858290"/>
              <a:gd name="connsiteX1151" fmla="*/ 3332215 w 12139750"/>
              <a:gd name="connsiteY1151" fmla="*/ 5158427 h 6858290"/>
              <a:gd name="connsiteX1152" fmla="*/ 3360792 w 12139750"/>
              <a:gd name="connsiteY1152" fmla="*/ 5116517 h 6858290"/>
              <a:gd name="connsiteX1153" fmla="*/ 3701777 w 12139750"/>
              <a:gd name="connsiteY1153" fmla="*/ 4983167 h 6858290"/>
              <a:gd name="connsiteX1154" fmla="*/ 3720408 w 12139750"/>
              <a:gd name="connsiteY1154" fmla="*/ 4979833 h 6858290"/>
              <a:gd name="connsiteX1155" fmla="*/ 2585923 w 12139750"/>
              <a:gd name="connsiteY1155" fmla="*/ 4979833 h 6858290"/>
              <a:gd name="connsiteX1156" fmla="*/ 2629210 w 12139750"/>
              <a:gd name="connsiteY1156" fmla="*/ 5009837 h 6858290"/>
              <a:gd name="connsiteX1157" fmla="*/ 2602444 w 12139750"/>
              <a:gd name="connsiteY1157" fmla="*/ 5068892 h 6858290"/>
              <a:gd name="connsiteX1158" fmla="*/ 2260209 w 12139750"/>
              <a:gd name="connsiteY1158" fmla="*/ 5202242 h 6858290"/>
              <a:gd name="connsiteX1159" fmla="*/ 2199027 w 12139750"/>
              <a:gd name="connsiteY1159" fmla="*/ 5175572 h 6858290"/>
              <a:gd name="connsiteX1160" fmla="*/ 2197115 w 12139750"/>
              <a:gd name="connsiteY1160" fmla="*/ 5158427 h 6858290"/>
              <a:gd name="connsiteX1161" fmla="*/ 2225794 w 12139750"/>
              <a:gd name="connsiteY1161" fmla="*/ 5116517 h 6858290"/>
              <a:gd name="connsiteX1162" fmla="*/ 2568028 w 12139750"/>
              <a:gd name="connsiteY1162" fmla="*/ 4983167 h 6858290"/>
              <a:gd name="connsiteX1163" fmla="*/ 2585923 w 12139750"/>
              <a:gd name="connsiteY1163" fmla="*/ 4979833 h 6858290"/>
              <a:gd name="connsiteX1164" fmla="*/ 3148522 w 12139750"/>
              <a:gd name="connsiteY1164" fmla="*/ 4969036 h 6858290"/>
              <a:gd name="connsiteX1165" fmla="*/ 3190913 w 12139750"/>
              <a:gd name="connsiteY1165" fmla="*/ 5000733 h 6858290"/>
              <a:gd name="connsiteX1166" fmla="*/ 3162293 w 12139750"/>
              <a:gd name="connsiteY1166" fmla="*/ 5061858 h 6858290"/>
              <a:gd name="connsiteX1167" fmla="*/ 2820804 w 12139750"/>
              <a:gd name="connsiteY1167" fmla="*/ 5187929 h 6858290"/>
              <a:gd name="connsiteX1168" fmla="*/ 2759756 w 12139750"/>
              <a:gd name="connsiteY1168" fmla="*/ 5161187 h 6858290"/>
              <a:gd name="connsiteX1169" fmla="*/ 2755940 w 12139750"/>
              <a:gd name="connsiteY1169" fmla="*/ 5143995 h 6858290"/>
              <a:gd name="connsiteX1170" fmla="*/ 2788374 w 12139750"/>
              <a:gd name="connsiteY1170" fmla="*/ 5098151 h 6858290"/>
              <a:gd name="connsiteX1171" fmla="*/ 3129862 w 12139750"/>
              <a:gd name="connsiteY1171" fmla="*/ 4972081 h 6858290"/>
              <a:gd name="connsiteX1172" fmla="*/ 3148522 w 12139750"/>
              <a:gd name="connsiteY1172" fmla="*/ 4969036 h 6858290"/>
              <a:gd name="connsiteX1173" fmla="*/ 9865943 w 12139750"/>
              <a:gd name="connsiteY1173" fmla="*/ 4767278 h 6858290"/>
              <a:gd name="connsiteX1174" fmla="*/ 9885469 w 12139750"/>
              <a:gd name="connsiteY1174" fmla="*/ 4779687 h 6858290"/>
              <a:gd name="connsiteX1175" fmla="*/ 9875944 w 12139750"/>
              <a:gd name="connsiteY1175" fmla="*/ 4821688 h 6858290"/>
              <a:gd name="connsiteX1176" fmla="*/ 9542565 w 12139750"/>
              <a:gd name="connsiteY1176" fmla="*/ 5046968 h 6858290"/>
              <a:gd name="connsiteX1177" fmla="*/ 9500654 w 12139750"/>
              <a:gd name="connsiteY1177" fmla="*/ 5037422 h 6858290"/>
              <a:gd name="connsiteX1178" fmla="*/ 9494939 w 12139750"/>
              <a:gd name="connsiteY1178" fmla="*/ 5022149 h 6858290"/>
              <a:gd name="connsiteX1179" fmla="*/ 9508274 w 12139750"/>
              <a:gd name="connsiteY1179" fmla="*/ 4997330 h 6858290"/>
              <a:gd name="connsiteX1180" fmla="*/ 9843558 w 12139750"/>
              <a:gd name="connsiteY1180" fmla="*/ 4772051 h 6858290"/>
              <a:gd name="connsiteX1181" fmla="*/ 9865943 w 12139750"/>
              <a:gd name="connsiteY1181" fmla="*/ 4767278 h 6858290"/>
              <a:gd name="connsiteX1182" fmla="*/ 10450715 w 12139750"/>
              <a:gd name="connsiteY1182" fmla="*/ 4757980 h 6858290"/>
              <a:gd name="connsiteX1183" fmla="*/ 10471242 w 12139750"/>
              <a:gd name="connsiteY1183" fmla="*/ 4772030 h 6858290"/>
              <a:gd name="connsiteX1184" fmla="*/ 10461695 w 12139750"/>
              <a:gd name="connsiteY1184" fmla="*/ 4815845 h 6858290"/>
              <a:gd name="connsiteX1185" fmla="*/ 10125619 w 12139750"/>
              <a:gd name="connsiteY1185" fmla="*/ 5029205 h 6858290"/>
              <a:gd name="connsiteX1186" fmla="*/ 10081701 w 12139750"/>
              <a:gd name="connsiteY1186" fmla="*/ 5019680 h 6858290"/>
              <a:gd name="connsiteX1187" fmla="*/ 10075972 w 12139750"/>
              <a:gd name="connsiteY1187" fmla="*/ 5004440 h 6858290"/>
              <a:gd name="connsiteX1188" fmla="*/ 10091248 w 12139750"/>
              <a:gd name="connsiteY1188" fmla="*/ 4977770 h 6858290"/>
              <a:gd name="connsiteX1189" fmla="*/ 10427323 w 12139750"/>
              <a:gd name="connsiteY1189" fmla="*/ 4762505 h 6858290"/>
              <a:gd name="connsiteX1190" fmla="*/ 10450715 w 12139750"/>
              <a:gd name="connsiteY1190" fmla="*/ 4757980 h 6858290"/>
              <a:gd name="connsiteX1191" fmla="*/ 9287869 w 12139750"/>
              <a:gd name="connsiteY1191" fmla="*/ 4757980 h 6858290"/>
              <a:gd name="connsiteX1192" fmla="*/ 9307618 w 12139750"/>
              <a:gd name="connsiteY1192" fmla="*/ 4772030 h 6858290"/>
              <a:gd name="connsiteX1193" fmla="*/ 9298101 w 12139750"/>
              <a:gd name="connsiteY1193" fmla="*/ 4815845 h 6858290"/>
              <a:gd name="connsiteX1194" fmla="*/ 8963081 w 12139750"/>
              <a:gd name="connsiteY1194" fmla="*/ 5029205 h 6858290"/>
              <a:gd name="connsiteX1195" fmla="*/ 8919300 w 12139750"/>
              <a:gd name="connsiteY1195" fmla="*/ 5019680 h 6858290"/>
              <a:gd name="connsiteX1196" fmla="*/ 8915493 w 12139750"/>
              <a:gd name="connsiteY1196" fmla="*/ 5004440 h 6858290"/>
              <a:gd name="connsiteX1197" fmla="*/ 8928818 w 12139750"/>
              <a:gd name="connsiteY1197" fmla="*/ 4977770 h 6858290"/>
              <a:gd name="connsiteX1198" fmla="*/ 9263837 w 12139750"/>
              <a:gd name="connsiteY1198" fmla="*/ 4762505 h 6858290"/>
              <a:gd name="connsiteX1199" fmla="*/ 9287869 w 12139750"/>
              <a:gd name="connsiteY1199" fmla="*/ 4757980 h 6858290"/>
              <a:gd name="connsiteX1200" fmla="*/ 11026794 w 12139750"/>
              <a:gd name="connsiteY1200" fmla="*/ 4748711 h 6858290"/>
              <a:gd name="connsiteX1201" fmla="*/ 11047527 w 12139750"/>
              <a:gd name="connsiteY1201" fmla="*/ 4764481 h 6858290"/>
              <a:gd name="connsiteX1202" fmla="*/ 11036088 w 12139750"/>
              <a:gd name="connsiteY1202" fmla="*/ 4810357 h 6858290"/>
              <a:gd name="connsiteX1203" fmla="*/ 10700543 w 12139750"/>
              <a:gd name="connsiteY1203" fmla="*/ 5014885 h 6858290"/>
              <a:gd name="connsiteX1204" fmla="*/ 10654787 w 12139750"/>
              <a:gd name="connsiteY1204" fmla="*/ 5005328 h 6858290"/>
              <a:gd name="connsiteX1205" fmla="*/ 10649067 w 12139750"/>
              <a:gd name="connsiteY1205" fmla="*/ 4988125 h 6858290"/>
              <a:gd name="connsiteX1206" fmla="*/ 10666226 w 12139750"/>
              <a:gd name="connsiteY1206" fmla="*/ 4959452 h 6858290"/>
              <a:gd name="connsiteX1207" fmla="*/ 11001771 w 12139750"/>
              <a:gd name="connsiteY1207" fmla="*/ 4753012 h 6858290"/>
              <a:gd name="connsiteX1208" fmla="*/ 11026794 w 12139750"/>
              <a:gd name="connsiteY1208" fmla="*/ 4748711 h 6858290"/>
              <a:gd name="connsiteX1209" fmla="*/ 8717757 w 12139750"/>
              <a:gd name="connsiteY1209" fmla="*/ 4748711 h 6858290"/>
              <a:gd name="connsiteX1210" fmla="*/ 8737713 w 12139750"/>
              <a:gd name="connsiteY1210" fmla="*/ 4764481 h 6858290"/>
              <a:gd name="connsiteX1211" fmla="*/ 8728210 w 12139750"/>
              <a:gd name="connsiteY1211" fmla="*/ 4810357 h 6858290"/>
              <a:gd name="connsiteX1212" fmla="*/ 8391812 w 12139750"/>
              <a:gd name="connsiteY1212" fmla="*/ 5014885 h 6858290"/>
              <a:gd name="connsiteX1213" fmla="*/ 8346199 w 12139750"/>
              <a:gd name="connsiteY1213" fmla="*/ 5005328 h 6858290"/>
              <a:gd name="connsiteX1214" fmla="*/ 8342398 w 12139750"/>
              <a:gd name="connsiteY1214" fmla="*/ 4988125 h 6858290"/>
              <a:gd name="connsiteX1215" fmla="*/ 8357602 w 12139750"/>
              <a:gd name="connsiteY1215" fmla="*/ 4959452 h 6858290"/>
              <a:gd name="connsiteX1216" fmla="*/ 8692100 w 12139750"/>
              <a:gd name="connsiteY1216" fmla="*/ 4753012 h 6858290"/>
              <a:gd name="connsiteX1217" fmla="*/ 8717757 w 12139750"/>
              <a:gd name="connsiteY1217" fmla="*/ 4748711 h 6858290"/>
              <a:gd name="connsiteX1218" fmla="*/ 11598111 w 12139750"/>
              <a:gd name="connsiteY1218" fmla="*/ 4739890 h 6858290"/>
              <a:gd name="connsiteX1219" fmla="*/ 11619050 w 12139750"/>
              <a:gd name="connsiteY1219" fmla="*/ 4754909 h 6858290"/>
              <a:gd name="connsiteX1220" fmla="*/ 11607629 w 12139750"/>
              <a:gd name="connsiteY1220" fmla="*/ 4802589 h 6858290"/>
              <a:gd name="connsiteX1221" fmla="*/ 11270700 w 12139750"/>
              <a:gd name="connsiteY1221" fmla="*/ 4999032 h 6858290"/>
              <a:gd name="connsiteX1222" fmla="*/ 11223111 w 12139750"/>
              <a:gd name="connsiteY1222" fmla="*/ 4987588 h 6858290"/>
              <a:gd name="connsiteX1223" fmla="*/ 11217400 w 12139750"/>
              <a:gd name="connsiteY1223" fmla="*/ 4968516 h 6858290"/>
              <a:gd name="connsiteX1224" fmla="*/ 11236436 w 12139750"/>
              <a:gd name="connsiteY1224" fmla="*/ 4939908 h 6858290"/>
              <a:gd name="connsiteX1225" fmla="*/ 11571461 w 12139750"/>
              <a:gd name="connsiteY1225" fmla="*/ 4743466 h 6858290"/>
              <a:gd name="connsiteX1226" fmla="*/ 11598111 w 12139750"/>
              <a:gd name="connsiteY1226" fmla="*/ 4739890 h 6858290"/>
              <a:gd name="connsiteX1227" fmla="*/ 8154062 w 12139750"/>
              <a:gd name="connsiteY1227" fmla="*/ 4739890 h 6858290"/>
              <a:gd name="connsiteX1228" fmla="*/ 8175715 w 12139750"/>
              <a:gd name="connsiteY1228" fmla="*/ 4754909 h 6858290"/>
              <a:gd name="connsiteX1229" fmla="*/ 8162390 w 12139750"/>
              <a:gd name="connsiteY1229" fmla="*/ 4802589 h 6858290"/>
              <a:gd name="connsiteX1230" fmla="*/ 7825461 w 12139750"/>
              <a:gd name="connsiteY1230" fmla="*/ 4999032 h 6858290"/>
              <a:gd name="connsiteX1231" fmla="*/ 7777872 w 12139750"/>
              <a:gd name="connsiteY1231" fmla="*/ 4987588 h 6858290"/>
              <a:gd name="connsiteX1232" fmla="*/ 7774065 w 12139750"/>
              <a:gd name="connsiteY1232" fmla="*/ 4968516 h 6858290"/>
              <a:gd name="connsiteX1233" fmla="*/ 7791197 w 12139750"/>
              <a:gd name="connsiteY1233" fmla="*/ 4939908 h 6858290"/>
              <a:gd name="connsiteX1234" fmla="*/ 8128126 w 12139750"/>
              <a:gd name="connsiteY1234" fmla="*/ 4743466 h 6858290"/>
              <a:gd name="connsiteX1235" fmla="*/ 8154062 w 12139750"/>
              <a:gd name="connsiteY1235" fmla="*/ 4739890 h 6858290"/>
              <a:gd name="connsiteX1236" fmla="*/ 12135937 w 12139750"/>
              <a:gd name="connsiteY1236" fmla="*/ 4732342 h 6858290"/>
              <a:gd name="connsiteX1237" fmla="*/ 12139750 w 12139750"/>
              <a:gd name="connsiteY1237" fmla="*/ 4732342 h 6858290"/>
              <a:gd name="connsiteX1238" fmla="*/ 12139750 w 12139750"/>
              <a:gd name="connsiteY1238" fmla="*/ 4814057 h 6858290"/>
              <a:gd name="connsiteX1239" fmla="*/ 11834677 w 12139750"/>
              <a:gd name="connsiteY1239" fmla="*/ 4983190 h 6858290"/>
              <a:gd name="connsiteX1240" fmla="*/ 11783196 w 12139750"/>
              <a:gd name="connsiteY1240" fmla="*/ 4969887 h 6858290"/>
              <a:gd name="connsiteX1241" fmla="*/ 11779383 w 12139750"/>
              <a:gd name="connsiteY1241" fmla="*/ 4950884 h 6858290"/>
              <a:gd name="connsiteX1242" fmla="*/ 11798450 w 12139750"/>
              <a:gd name="connsiteY1242" fmla="*/ 4920478 h 6858290"/>
              <a:gd name="connsiteX1243" fmla="*/ 7597191 w 12139750"/>
              <a:gd name="connsiteY1243" fmla="*/ 4729944 h 6858290"/>
              <a:gd name="connsiteX1244" fmla="*/ 7620068 w 12139750"/>
              <a:gd name="connsiteY1244" fmla="*/ 4747524 h 6858290"/>
              <a:gd name="connsiteX1245" fmla="*/ 7604817 w 12139750"/>
              <a:gd name="connsiteY1245" fmla="*/ 4796937 h 6858290"/>
              <a:gd name="connsiteX1246" fmla="*/ 7267371 w 12139750"/>
              <a:gd name="connsiteY1246" fmla="*/ 4983189 h 6858290"/>
              <a:gd name="connsiteX1247" fmla="*/ 7217802 w 12139750"/>
              <a:gd name="connsiteY1247" fmla="*/ 4969885 h 6858290"/>
              <a:gd name="connsiteX1248" fmla="*/ 7212083 w 12139750"/>
              <a:gd name="connsiteY1248" fmla="*/ 4950880 h 6858290"/>
              <a:gd name="connsiteX1249" fmla="*/ 7231147 w 12139750"/>
              <a:gd name="connsiteY1249" fmla="*/ 4920472 h 6858290"/>
              <a:gd name="connsiteX1250" fmla="*/ 7568594 w 12139750"/>
              <a:gd name="connsiteY1250" fmla="*/ 4732319 h 6858290"/>
              <a:gd name="connsiteX1251" fmla="*/ 7597191 w 12139750"/>
              <a:gd name="connsiteY1251" fmla="*/ 4729944 h 6858290"/>
              <a:gd name="connsiteX1252" fmla="*/ 7045531 w 12139750"/>
              <a:gd name="connsiteY1252" fmla="*/ 4720682 h 6858290"/>
              <a:gd name="connsiteX1253" fmla="*/ 7069177 w 12139750"/>
              <a:gd name="connsiteY1253" fmla="*/ 4739994 h 6858290"/>
              <a:gd name="connsiteX1254" fmla="*/ 7051980 w 12139750"/>
              <a:gd name="connsiteY1254" fmla="*/ 4791491 h 6858290"/>
              <a:gd name="connsiteX1255" fmla="*/ 6713773 w 12139750"/>
              <a:gd name="connsiteY1255" fmla="*/ 4968868 h 6858290"/>
              <a:gd name="connsiteX1256" fmla="*/ 6662182 w 12139750"/>
              <a:gd name="connsiteY1256" fmla="*/ 4953610 h 6858290"/>
              <a:gd name="connsiteX1257" fmla="*/ 6656450 w 12139750"/>
              <a:gd name="connsiteY1257" fmla="*/ 4934537 h 6858290"/>
              <a:gd name="connsiteX1258" fmla="*/ 6677468 w 12139750"/>
              <a:gd name="connsiteY1258" fmla="*/ 4902113 h 6858290"/>
              <a:gd name="connsiteX1259" fmla="*/ 7017586 w 12139750"/>
              <a:gd name="connsiteY1259" fmla="*/ 4722828 h 6858290"/>
              <a:gd name="connsiteX1260" fmla="*/ 7045531 w 12139750"/>
              <a:gd name="connsiteY1260" fmla="*/ 4720682 h 6858290"/>
              <a:gd name="connsiteX1261" fmla="*/ 6500048 w 12139750"/>
              <a:gd name="connsiteY1261" fmla="*/ 4711377 h 6858290"/>
              <a:gd name="connsiteX1262" fmla="*/ 6523112 w 12139750"/>
              <a:gd name="connsiteY1262" fmla="*/ 4732307 h 6858290"/>
              <a:gd name="connsiteX1263" fmla="*/ 6505992 w 12139750"/>
              <a:gd name="connsiteY1263" fmla="*/ 4785582 h 6858290"/>
              <a:gd name="connsiteX1264" fmla="*/ 6167407 w 12139750"/>
              <a:gd name="connsiteY1264" fmla="*/ 4953016 h 6858290"/>
              <a:gd name="connsiteX1265" fmla="*/ 6114146 w 12139750"/>
              <a:gd name="connsiteY1265" fmla="*/ 4935892 h 6858290"/>
              <a:gd name="connsiteX1266" fmla="*/ 6110342 w 12139750"/>
              <a:gd name="connsiteY1266" fmla="*/ 4916866 h 6858290"/>
              <a:gd name="connsiteX1267" fmla="*/ 6131266 w 12139750"/>
              <a:gd name="connsiteY1267" fmla="*/ 4882618 h 6858290"/>
              <a:gd name="connsiteX1268" fmla="*/ 6469851 w 12139750"/>
              <a:gd name="connsiteY1268" fmla="*/ 4713280 h 6858290"/>
              <a:gd name="connsiteX1269" fmla="*/ 6500048 w 12139750"/>
              <a:gd name="connsiteY1269" fmla="*/ 4711377 h 6858290"/>
              <a:gd name="connsiteX1270" fmla="*/ 5956806 w 12139750"/>
              <a:gd name="connsiteY1270" fmla="*/ 4701881 h 6858290"/>
              <a:gd name="connsiteX1271" fmla="*/ 5980159 w 12139750"/>
              <a:gd name="connsiteY1271" fmla="*/ 4722888 h 6858290"/>
              <a:gd name="connsiteX1272" fmla="*/ 5961095 w 12139750"/>
              <a:gd name="connsiteY1272" fmla="*/ 4778272 h 6858290"/>
              <a:gd name="connsiteX1273" fmla="*/ 5621756 w 12139750"/>
              <a:gd name="connsiteY1273" fmla="*/ 4938693 h 6858290"/>
              <a:gd name="connsiteX1274" fmla="*/ 5566471 w 12139750"/>
              <a:gd name="connsiteY1274" fmla="*/ 4919595 h 6858290"/>
              <a:gd name="connsiteX1275" fmla="*/ 5562658 w 12139750"/>
              <a:gd name="connsiteY1275" fmla="*/ 4900497 h 6858290"/>
              <a:gd name="connsiteX1276" fmla="*/ 5585535 w 12139750"/>
              <a:gd name="connsiteY1276" fmla="*/ 4864212 h 6858290"/>
              <a:gd name="connsiteX1277" fmla="*/ 5924874 w 12139750"/>
              <a:gd name="connsiteY1277" fmla="*/ 4703791 h 6858290"/>
              <a:gd name="connsiteX1278" fmla="*/ 5956806 w 12139750"/>
              <a:gd name="connsiteY1278" fmla="*/ 4701881 h 6858290"/>
              <a:gd name="connsiteX1279" fmla="*/ 398944 w 12139750"/>
              <a:gd name="connsiteY1279" fmla="*/ 4701881 h 6858290"/>
              <a:gd name="connsiteX1280" fmla="*/ 422281 w 12139750"/>
              <a:gd name="connsiteY1280" fmla="*/ 4722888 h 6858290"/>
              <a:gd name="connsiteX1281" fmla="*/ 401326 w 12139750"/>
              <a:gd name="connsiteY1281" fmla="*/ 4778272 h 6858290"/>
              <a:gd name="connsiteX1282" fmla="*/ 62232 w 12139750"/>
              <a:gd name="connsiteY1282" fmla="*/ 4938693 h 6858290"/>
              <a:gd name="connsiteX1283" fmla="*/ 6986 w 12139750"/>
              <a:gd name="connsiteY1283" fmla="*/ 4919595 h 6858290"/>
              <a:gd name="connsiteX1284" fmla="*/ 3176 w 12139750"/>
              <a:gd name="connsiteY1284" fmla="*/ 4900497 h 6858290"/>
              <a:gd name="connsiteX1285" fmla="*/ 27941 w 12139750"/>
              <a:gd name="connsiteY1285" fmla="*/ 4864212 h 6858290"/>
              <a:gd name="connsiteX1286" fmla="*/ 367035 w 12139750"/>
              <a:gd name="connsiteY1286" fmla="*/ 4703791 h 6858290"/>
              <a:gd name="connsiteX1287" fmla="*/ 398944 w 12139750"/>
              <a:gd name="connsiteY1287" fmla="*/ 4701881 h 6858290"/>
              <a:gd name="connsiteX1288" fmla="*/ 5409709 w 12139750"/>
              <a:gd name="connsiteY1288" fmla="*/ 4693289 h 6858290"/>
              <a:gd name="connsiteX1289" fmla="*/ 5434051 w 12139750"/>
              <a:gd name="connsiteY1289" fmla="*/ 4715197 h 6858290"/>
              <a:gd name="connsiteX1290" fmla="*/ 5411140 w 12139750"/>
              <a:gd name="connsiteY1290" fmla="*/ 4772347 h 6858290"/>
              <a:gd name="connsiteX1291" fmla="*/ 5071297 w 12139750"/>
              <a:gd name="connsiteY1291" fmla="*/ 4922842 h 6858290"/>
              <a:gd name="connsiteX1292" fmla="*/ 5014028 w 12139750"/>
              <a:gd name="connsiteY1292" fmla="*/ 4901887 h 6858290"/>
              <a:gd name="connsiteX1293" fmla="*/ 5010210 w 12139750"/>
              <a:gd name="connsiteY1293" fmla="*/ 4882837 h 6858290"/>
              <a:gd name="connsiteX1294" fmla="*/ 5036935 w 12139750"/>
              <a:gd name="connsiteY1294" fmla="*/ 4842832 h 6858290"/>
              <a:gd name="connsiteX1295" fmla="*/ 5376776 w 12139750"/>
              <a:gd name="connsiteY1295" fmla="*/ 4694242 h 6858290"/>
              <a:gd name="connsiteX1296" fmla="*/ 5409709 w 12139750"/>
              <a:gd name="connsiteY1296" fmla="*/ 4693289 h 6858290"/>
              <a:gd name="connsiteX1297" fmla="*/ 943147 w 12139750"/>
              <a:gd name="connsiteY1297" fmla="*/ 4693289 h 6858290"/>
              <a:gd name="connsiteX1298" fmla="*/ 966774 w 12139750"/>
              <a:gd name="connsiteY1298" fmla="*/ 4715197 h 6858290"/>
              <a:gd name="connsiteX1299" fmla="*/ 945772 w 12139750"/>
              <a:gd name="connsiteY1299" fmla="*/ 4772347 h 6858290"/>
              <a:gd name="connsiteX1300" fmla="*/ 604023 w 12139750"/>
              <a:gd name="connsiteY1300" fmla="*/ 4922842 h 6858290"/>
              <a:gd name="connsiteX1301" fmla="*/ 546746 w 12139750"/>
              <a:gd name="connsiteY1301" fmla="*/ 4901887 h 6858290"/>
              <a:gd name="connsiteX1302" fmla="*/ 542928 w 12139750"/>
              <a:gd name="connsiteY1302" fmla="*/ 4882837 h 6858290"/>
              <a:gd name="connsiteX1303" fmla="*/ 569657 w 12139750"/>
              <a:gd name="connsiteY1303" fmla="*/ 4842832 h 6858290"/>
              <a:gd name="connsiteX1304" fmla="*/ 909497 w 12139750"/>
              <a:gd name="connsiteY1304" fmla="*/ 4694242 h 6858290"/>
              <a:gd name="connsiteX1305" fmla="*/ 943147 w 12139750"/>
              <a:gd name="connsiteY1305" fmla="*/ 4693289 h 6858290"/>
              <a:gd name="connsiteX1306" fmla="*/ 4840043 w 12139750"/>
              <a:gd name="connsiteY1306" fmla="*/ 4679741 h 6858290"/>
              <a:gd name="connsiteX1307" fmla="*/ 4881602 w 12139750"/>
              <a:gd name="connsiteY1307" fmla="*/ 4707760 h 6858290"/>
              <a:gd name="connsiteX1308" fmla="*/ 4856815 w 12139750"/>
              <a:gd name="connsiteY1308" fmla="*/ 4766584 h 6858290"/>
              <a:gd name="connsiteX1309" fmla="*/ 4517479 w 12139750"/>
              <a:gd name="connsiteY1309" fmla="*/ 4907004 h 6858290"/>
              <a:gd name="connsiteX1310" fmla="*/ 4458382 w 12139750"/>
              <a:gd name="connsiteY1310" fmla="*/ 4882336 h 6858290"/>
              <a:gd name="connsiteX1311" fmla="*/ 4454569 w 12139750"/>
              <a:gd name="connsiteY1311" fmla="*/ 4865258 h 6858290"/>
              <a:gd name="connsiteX1312" fmla="*/ 4483164 w 12139750"/>
              <a:gd name="connsiteY1312" fmla="*/ 4823511 h 6858290"/>
              <a:gd name="connsiteX1313" fmla="*/ 4822495 w 12139750"/>
              <a:gd name="connsiteY1313" fmla="*/ 4683092 h 6858290"/>
              <a:gd name="connsiteX1314" fmla="*/ 4840043 w 12139750"/>
              <a:gd name="connsiteY1314" fmla="*/ 4679741 h 6858290"/>
              <a:gd name="connsiteX1315" fmla="*/ 1476099 w 12139750"/>
              <a:gd name="connsiteY1315" fmla="*/ 4679741 h 6858290"/>
              <a:gd name="connsiteX1316" fmla="*/ 1517653 w 12139750"/>
              <a:gd name="connsiteY1316" fmla="*/ 4707760 h 6858290"/>
              <a:gd name="connsiteX1317" fmla="*/ 1492870 w 12139750"/>
              <a:gd name="connsiteY1317" fmla="*/ 4766584 h 6858290"/>
              <a:gd name="connsiteX1318" fmla="*/ 1151623 w 12139750"/>
              <a:gd name="connsiteY1318" fmla="*/ 4907004 h 6858290"/>
              <a:gd name="connsiteX1319" fmla="*/ 1094430 w 12139750"/>
              <a:gd name="connsiteY1319" fmla="*/ 4882336 h 6858290"/>
              <a:gd name="connsiteX1320" fmla="*/ 1090618 w 12139750"/>
              <a:gd name="connsiteY1320" fmla="*/ 4865258 h 6858290"/>
              <a:gd name="connsiteX1321" fmla="*/ 1117307 w 12139750"/>
              <a:gd name="connsiteY1321" fmla="*/ 4823511 h 6858290"/>
              <a:gd name="connsiteX1322" fmla="*/ 1458554 w 12139750"/>
              <a:gd name="connsiteY1322" fmla="*/ 4683092 h 6858290"/>
              <a:gd name="connsiteX1323" fmla="*/ 1476099 w 12139750"/>
              <a:gd name="connsiteY1323" fmla="*/ 4679741 h 6858290"/>
              <a:gd name="connsiteX1324" fmla="*/ 4282901 w 12139750"/>
              <a:gd name="connsiteY1324" fmla="*/ 4670538 h 6858290"/>
              <a:gd name="connsiteX1325" fmla="*/ 4324395 w 12139750"/>
              <a:gd name="connsiteY1325" fmla="*/ 4700274 h 6858290"/>
              <a:gd name="connsiteX1326" fmla="*/ 4297744 w 12139750"/>
              <a:gd name="connsiteY1326" fmla="*/ 4761234 h 6858290"/>
              <a:gd name="connsiteX1327" fmla="*/ 3957011 w 12139750"/>
              <a:gd name="connsiteY1327" fmla="*/ 4892679 h 6858290"/>
              <a:gd name="connsiteX1328" fmla="*/ 3897996 w 12139750"/>
              <a:gd name="connsiteY1328" fmla="*/ 4866009 h 6858290"/>
              <a:gd name="connsiteX1329" fmla="*/ 3894189 w 12139750"/>
              <a:gd name="connsiteY1329" fmla="*/ 4848864 h 6858290"/>
              <a:gd name="connsiteX1330" fmla="*/ 3924649 w 12139750"/>
              <a:gd name="connsiteY1330" fmla="*/ 4805049 h 6858290"/>
              <a:gd name="connsiteX1331" fmla="*/ 4265381 w 12139750"/>
              <a:gd name="connsiteY1331" fmla="*/ 4673604 h 6858290"/>
              <a:gd name="connsiteX1332" fmla="*/ 4282901 w 12139750"/>
              <a:gd name="connsiteY1332" fmla="*/ 4670538 h 6858290"/>
              <a:gd name="connsiteX1333" fmla="*/ 2029448 w 12139750"/>
              <a:gd name="connsiteY1333" fmla="*/ 4670538 h 6858290"/>
              <a:gd name="connsiteX1334" fmla="*/ 2071719 w 12139750"/>
              <a:gd name="connsiteY1334" fmla="*/ 4700274 h 6858290"/>
              <a:gd name="connsiteX1335" fmla="*/ 2045082 w 12139750"/>
              <a:gd name="connsiteY1335" fmla="*/ 4761234 h 6858290"/>
              <a:gd name="connsiteX1336" fmla="*/ 1704573 w 12139750"/>
              <a:gd name="connsiteY1336" fmla="*/ 4892679 h 6858290"/>
              <a:gd name="connsiteX1337" fmla="*/ 1643700 w 12139750"/>
              <a:gd name="connsiteY1337" fmla="*/ 4866009 h 6858290"/>
              <a:gd name="connsiteX1338" fmla="*/ 1639895 w 12139750"/>
              <a:gd name="connsiteY1338" fmla="*/ 4848864 h 6858290"/>
              <a:gd name="connsiteX1339" fmla="*/ 1670332 w 12139750"/>
              <a:gd name="connsiteY1339" fmla="*/ 4805049 h 6858290"/>
              <a:gd name="connsiteX1340" fmla="*/ 2010841 w 12139750"/>
              <a:gd name="connsiteY1340" fmla="*/ 4673604 h 6858290"/>
              <a:gd name="connsiteX1341" fmla="*/ 2029448 w 12139750"/>
              <a:gd name="connsiteY1341" fmla="*/ 4670538 h 6858290"/>
              <a:gd name="connsiteX1342" fmla="*/ 3720839 w 12139750"/>
              <a:gd name="connsiteY1342" fmla="*/ 4661025 h 6858290"/>
              <a:gd name="connsiteX1343" fmla="*/ 3764003 w 12139750"/>
              <a:gd name="connsiteY1343" fmla="*/ 4692550 h 6858290"/>
              <a:gd name="connsiteX1344" fmla="*/ 3735407 w 12139750"/>
              <a:gd name="connsiteY1344" fmla="*/ 4755243 h 6858290"/>
              <a:gd name="connsiteX1345" fmla="*/ 3392273 w 12139750"/>
              <a:gd name="connsiteY1345" fmla="*/ 4876830 h 6858290"/>
              <a:gd name="connsiteX1346" fmla="*/ 3331265 w 12139750"/>
              <a:gd name="connsiteY1346" fmla="*/ 4848333 h 6858290"/>
              <a:gd name="connsiteX1347" fmla="*/ 3327453 w 12139750"/>
              <a:gd name="connsiteY1347" fmla="*/ 4831235 h 6858290"/>
              <a:gd name="connsiteX1348" fmla="*/ 3359861 w 12139750"/>
              <a:gd name="connsiteY1348" fmla="*/ 4785640 h 6858290"/>
              <a:gd name="connsiteX1349" fmla="*/ 3701092 w 12139750"/>
              <a:gd name="connsiteY1349" fmla="*/ 4664053 h 6858290"/>
              <a:gd name="connsiteX1350" fmla="*/ 3720839 w 12139750"/>
              <a:gd name="connsiteY1350" fmla="*/ 4661025 h 6858290"/>
              <a:gd name="connsiteX1351" fmla="*/ 2587339 w 12139750"/>
              <a:gd name="connsiteY1351" fmla="*/ 4661025 h 6858290"/>
              <a:gd name="connsiteX1352" fmla="*/ 2630501 w 12139750"/>
              <a:gd name="connsiteY1352" fmla="*/ 4692550 h 6858290"/>
              <a:gd name="connsiteX1353" fmla="*/ 2601905 w 12139750"/>
              <a:gd name="connsiteY1353" fmla="*/ 4755243 h 6858290"/>
              <a:gd name="connsiteX1354" fmla="*/ 2258757 w 12139750"/>
              <a:gd name="connsiteY1354" fmla="*/ 4876830 h 6858290"/>
              <a:gd name="connsiteX1355" fmla="*/ 2197753 w 12139750"/>
              <a:gd name="connsiteY1355" fmla="*/ 4848333 h 6858290"/>
              <a:gd name="connsiteX1356" fmla="*/ 2193940 w 12139750"/>
              <a:gd name="connsiteY1356" fmla="*/ 4831235 h 6858290"/>
              <a:gd name="connsiteX1357" fmla="*/ 2226348 w 12139750"/>
              <a:gd name="connsiteY1357" fmla="*/ 4785640 h 6858290"/>
              <a:gd name="connsiteX1358" fmla="*/ 2567590 w 12139750"/>
              <a:gd name="connsiteY1358" fmla="*/ 4664053 h 6858290"/>
              <a:gd name="connsiteX1359" fmla="*/ 2587339 w 12139750"/>
              <a:gd name="connsiteY1359" fmla="*/ 4661025 h 6858290"/>
              <a:gd name="connsiteX1360" fmla="*/ 3149675 w 12139750"/>
              <a:gd name="connsiteY1360" fmla="*/ 4651825 h 6858290"/>
              <a:gd name="connsiteX1361" fmla="*/ 3194414 w 12139750"/>
              <a:gd name="connsiteY1361" fmla="*/ 4685090 h 6858290"/>
              <a:gd name="connsiteX1362" fmla="*/ 3162027 w 12139750"/>
              <a:gd name="connsiteY1362" fmla="*/ 4748043 h 6858290"/>
              <a:gd name="connsiteX1363" fmla="*/ 2819126 w 12139750"/>
              <a:gd name="connsiteY1363" fmla="*/ 4862503 h 6858290"/>
              <a:gd name="connsiteX1364" fmla="*/ 2756258 w 12139750"/>
              <a:gd name="connsiteY1364" fmla="*/ 4830073 h 6858290"/>
              <a:gd name="connsiteX1365" fmla="*/ 2754353 w 12139750"/>
              <a:gd name="connsiteY1365" fmla="*/ 4814812 h 6858290"/>
              <a:gd name="connsiteX1366" fmla="*/ 2788646 w 12139750"/>
              <a:gd name="connsiteY1366" fmla="*/ 4767120 h 6858290"/>
              <a:gd name="connsiteX1367" fmla="*/ 3129644 w 12139750"/>
              <a:gd name="connsiteY1367" fmla="*/ 4654567 h 6858290"/>
              <a:gd name="connsiteX1368" fmla="*/ 3149675 w 12139750"/>
              <a:gd name="connsiteY1368" fmla="*/ 4651825 h 6858290"/>
              <a:gd name="connsiteX1369" fmla="*/ 9864585 w 12139750"/>
              <a:gd name="connsiteY1369" fmla="*/ 4440631 h 6858290"/>
              <a:gd name="connsiteX1370" fmla="*/ 9882263 w 12139750"/>
              <a:gd name="connsiteY1370" fmla="*/ 4452274 h 6858290"/>
              <a:gd name="connsiteX1371" fmla="*/ 9876530 w 12139750"/>
              <a:gd name="connsiteY1371" fmla="*/ 4488393 h 6858290"/>
              <a:gd name="connsiteX1372" fmla="*/ 9540160 w 12139750"/>
              <a:gd name="connsiteY1372" fmla="*/ 4727913 h 6858290"/>
              <a:gd name="connsiteX1373" fmla="*/ 9503848 w 12139750"/>
              <a:gd name="connsiteY1373" fmla="*/ 4720309 h 6858290"/>
              <a:gd name="connsiteX1374" fmla="*/ 9498114 w 12139750"/>
              <a:gd name="connsiteY1374" fmla="*/ 4705101 h 6858290"/>
              <a:gd name="connsiteX1375" fmla="*/ 9509581 w 12139750"/>
              <a:gd name="connsiteY1375" fmla="*/ 4684191 h 6858290"/>
              <a:gd name="connsiteX1376" fmla="*/ 9844039 w 12139750"/>
              <a:gd name="connsiteY1376" fmla="*/ 4444671 h 6858290"/>
              <a:gd name="connsiteX1377" fmla="*/ 9864585 w 12139750"/>
              <a:gd name="connsiteY1377" fmla="*/ 4440631 h 6858290"/>
              <a:gd name="connsiteX1378" fmla="*/ 10447906 w 12139750"/>
              <a:gd name="connsiteY1378" fmla="*/ 4432309 h 6858290"/>
              <a:gd name="connsiteX1379" fmla="*/ 10466494 w 12139750"/>
              <a:gd name="connsiteY1379" fmla="*/ 4444705 h 6858290"/>
              <a:gd name="connsiteX1380" fmla="*/ 10458868 w 12139750"/>
              <a:gd name="connsiteY1380" fmla="*/ 4484754 h 6858290"/>
              <a:gd name="connsiteX1381" fmla="*/ 10123316 w 12139750"/>
              <a:gd name="connsiteY1381" fmla="*/ 4711694 h 6858290"/>
              <a:gd name="connsiteX1382" fmla="*/ 10083279 w 12139750"/>
              <a:gd name="connsiteY1382" fmla="*/ 4704066 h 6858290"/>
              <a:gd name="connsiteX1383" fmla="*/ 10077559 w 12139750"/>
              <a:gd name="connsiteY1383" fmla="*/ 4686903 h 6858290"/>
              <a:gd name="connsiteX1384" fmla="*/ 10090905 w 12139750"/>
              <a:gd name="connsiteY1384" fmla="*/ 4664018 h 6858290"/>
              <a:gd name="connsiteX1385" fmla="*/ 10426457 w 12139750"/>
              <a:gd name="connsiteY1385" fmla="*/ 4437077 h 6858290"/>
              <a:gd name="connsiteX1386" fmla="*/ 10447906 w 12139750"/>
              <a:gd name="connsiteY1386" fmla="*/ 4432309 h 6858290"/>
              <a:gd name="connsiteX1387" fmla="*/ 9287428 w 12139750"/>
              <a:gd name="connsiteY1387" fmla="*/ 4432309 h 6858290"/>
              <a:gd name="connsiteX1388" fmla="*/ 9306016 w 12139750"/>
              <a:gd name="connsiteY1388" fmla="*/ 4444705 h 6858290"/>
              <a:gd name="connsiteX1389" fmla="*/ 9298390 w 12139750"/>
              <a:gd name="connsiteY1389" fmla="*/ 4484754 h 6858290"/>
              <a:gd name="connsiteX1390" fmla="*/ 8962838 w 12139750"/>
              <a:gd name="connsiteY1390" fmla="*/ 4711694 h 6858290"/>
              <a:gd name="connsiteX1391" fmla="*/ 8922801 w 12139750"/>
              <a:gd name="connsiteY1391" fmla="*/ 4704066 h 6858290"/>
              <a:gd name="connsiteX1392" fmla="*/ 8917081 w 12139750"/>
              <a:gd name="connsiteY1392" fmla="*/ 4686903 h 6858290"/>
              <a:gd name="connsiteX1393" fmla="*/ 8930427 w 12139750"/>
              <a:gd name="connsiteY1393" fmla="*/ 4664018 h 6858290"/>
              <a:gd name="connsiteX1394" fmla="*/ 9265979 w 12139750"/>
              <a:gd name="connsiteY1394" fmla="*/ 4437077 h 6858290"/>
              <a:gd name="connsiteX1395" fmla="*/ 9287428 w 12139750"/>
              <a:gd name="connsiteY1395" fmla="*/ 4432309 h 6858290"/>
              <a:gd name="connsiteX1396" fmla="*/ 11026206 w 12139750"/>
              <a:gd name="connsiteY1396" fmla="*/ 4423012 h 6858290"/>
              <a:gd name="connsiteX1397" fmla="*/ 11045955 w 12139750"/>
              <a:gd name="connsiteY1397" fmla="*/ 4437046 h 6858290"/>
              <a:gd name="connsiteX1398" fmla="*/ 11036438 w 12139750"/>
              <a:gd name="connsiteY1398" fmla="*/ 4478910 h 6858290"/>
              <a:gd name="connsiteX1399" fmla="*/ 10701418 w 12139750"/>
              <a:gd name="connsiteY1399" fmla="*/ 4695840 h 6858290"/>
              <a:gd name="connsiteX1400" fmla="*/ 10657637 w 12139750"/>
              <a:gd name="connsiteY1400" fmla="*/ 4686326 h 6858290"/>
              <a:gd name="connsiteX1401" fmla="*/ 10653830 w 12139750"/>
              <a:gd name="connsiteY1401" fmla="*/ 4669200 h 6858290"/>
              <a:gd name="connsiteX1402" fmla="*/ 10667155 w 12139750"/>
              <a:gd name="connsiteY1402" fmla="*/ 4642559 h 6858290"/>
              <a:gd name="connsiteX1403" fmla="*/ 11002174 w 12139750"/>
              <a:gd name="connsiteY1403" fmla="*/ 4427531 h 6858290"/>
              <a:gd name="connsiteX1404" fmla="*/ 11026206 w 12139750"/>
              <a:gd name="connsiteY1404" fmla="*/ 4423012 h 6858290"/>
              <a:gd name="connsiteX1405" fmla="*/ 8716363 w 12139750"/>
              <a:gd name="connsiteY1405" fmla="*/ 4423012 h 6858290"/>
              <a:gd name="connsiteX1406" fmla="*/ 8736111 w 12139750"/>
              <a:gd name="connsiteY1406" fmla="*/ 4437046 h 6858290"/>
              <a:gd name="connsiteX1407" fmla="*/ 8726594 w 12139750"/>
              <a:gd name="connsiteY1407" fmla="*/ 4478910 h 6858290"/>
              <a:gd name="connsiteX1408" fmla="*/ 8391574 w 12139750"/>
              <a:gd name="connsiteY1408" fmla="*/ 4695840 h 6858290"/>
              <a:gd name="connsiteX1409" fmla="*/ 8347793 w 12139750"/>
              <a:gd name="connsiteY1409" fmla="*/ 4686326 h 6858290"/>
              <a:gd name="connsiteX1410" fmla="*/ 8343986 w 12139750"/>
              <a:gd name="connsiteY1410" fmla="*/ 4669200 h 6858290"/>
              <a:gd name="connsiteX1411" fmla="*/ 8357311 w 12139750"/>
              <a:gd name="connsiteY1411" fmla="*/ 4642559 h 6858290"/>
              <a:gd name="connsiteX1412" fmla="*/ 8692330 w 12139750"/>
              <a:gd name="connsiteY1412" fmla="*/ 4427531 h 6858290"/>
              <a:gd name="connsiteX1413" fmla="*/ 8716363 w 12139750"/>
              <a:gd name="connsiteY1413" fmla="*/ 4423012 h 6858290"/>
              <a:gd name="connsiteX1414" fmla="*/ 11596714 w 12139750"/>
              <a:gd name="connsiteY1414" fmla="*/ 4414431 h 6858290"/>
              <a:gd name="connsiteX1415" fmla="*/ 11617447 w 12139750"/>
              <a:gd name="connsiteY1415" fmla="*/ 4429399 h 6858290"/>
              <a:gd name="connsiteX1416" fmla="*/ 11606008 w 12139750"/>
              <a:gd name="connsiteY1416" fmla="*/ 4475016 h 6858290"/>
              <a:gd name="connsiteX1417" fmla="*/ 11270463 w 12139750"/>
              <a:gd name="connsiteY1417" fmla="*/ 4678388 h 6858290"/>
              <a:gd name="connsiteX1418" fmla="*/ 11224707 w 12139750"/>
              <a:gd name="connsiteY1418" fmla="*/ 4666984 h 6858290"/>
              <a:gd name="connsiteX1419" fmla="*/ 11218987 w 12139750"/>
              <a:gd name="connsiteY1419" fmla="*/ 4649878 h 6858290"/>
              <a:gd name="connsiteX1420" fmla="*/ 11236146 w 12139750"/>
              <a:gd name="connsiteY1420" fmla="*/ 4621368 h 6858290"/>
              <a:gd name="connsiteX1421" fmla="*/ 11571691 w 12139750"/>
              <a:gd name="connsiteY1421" fmla="*/ 4417995 h 6858290"/>
              <a:gd name="connsiteX1422" fmla="*/ 11596714 w 12139750"/>
              <a:gd name="connsiteY1422" fmla="*/ 4414431 h 6858290"/>
              <a:gd name="connsiteX1423" fmla="*/ 8153380 w 12139750"/>
              <a:gd name="connsiteY1423" fmla="*/ 4414431 h 6858290"/>
              <a:gd name="connsiteX1424" fmla="*/ 8174113 w 12139750"/>
              <a:gd name="connsiteY1424" fmla="*/ 4429399 h 6858290"/>
              <a:gd name="connsiteX1425" fmla="*/ 8162674 w 12139750"/>
              <a:gd name="connsiteY1425" fmla="*/ 4475016 h 6858290"/>
              <a:gd name="connsiteX1426" fmla="*/ 7825222 w 12139750"/>
              <a:gd name="connsiteY1426" fmla="*/ 4678388 h 6858290"/>
              <a:gd name="connsiteX1427" fmla="*/ 7779466 w 12139750"/>
              <a:gd name="connsiteY1427" fmla="*/ 4666984 h 6858290"/>
              <a:gd name="connsiteX1428" fmla="*/ 7775653 w 12139750"/>
              <a:gd name="connsiteY1428" fmla="*/ 4649878 h 6858290"/>
              <a:gd name="connsiteX1429" fmla="*/ 7790905 w 12139750"/>
              <a:gd name="connsiteY1429" fmla="*/ 4621368 h 6858290"/>
              <a:gd name="connsiteX1430" fmla="*/ 8128357 w 12139750"/>
              <a:gd name="connsiteY1430" fmla="*/ 4417995 h 6858290"/>
              <a:gd name="connsiteX1431" fmla="*/ 8153380 w 12139750"/>
              <a:gd name="connsiteY1431" fmla="*/ 4414431 h 6858290"/>
              <a:gd name="connsiteX1432" fmla="*/ 12139750 w 12139750"/>
              <a:gd name="connsiteY1432" fmla="*/ 4406904 h 6858290"/>
              <a:gd name="connsiteX1433" fmla="*/ 12139750 w 12139750"/>
              <a:gd name="connsiteY1433" fmla="*/ 4488819 h 6858290"/>
              <a:gd name="connsiteX1434" fmla="*/ 11834405 w 12139750"/>
              <a:gd name="connsiteY1434" fmla="*/ 4664079 h 6858290"/>
              <a:gd name="connsiteX1435" fmla="*/ 11784787 w 12139750"/>
              <a:gd name="connsiteY1435" fmla="*/ 4650744 h 6858290"/>
              <a:gd name="connsiteX1436" fmla="*/ 11780970 w 12139750"/>
              <a:gd name="connsiteY1436" fmla="*/ 4633599 h 6858290"/>
              <a:gd name="connsiteX1437" fmla="*/ 11798146 w 12139750"/>
              <a:gd name="connsiteY1437" fmla="*/ 4601214 h 6858290"/>
              <a:gd name="connsiteX1438" fmla="*/ 12135933 w 12139750"/>
              <a:gd name="connsiteY1438" fmla="*/ 4408809 h 6858290"/>
              <a:gd name="connsiteX1439" fmla="*/ 12139750 w 12139750"/>
              <a:gd name="connsiteY1439" fmla="*/ 4406904 h 6858290"/>
              <a:gd name="connsiteX1440" fmla="*/ 7595041 w 12139750"/>
              <a:gd name="connsiteY1440" fmla="*/ 4405165 h 6858290"/>
              <a:gd name="connsiteX1441" fmla="*/ 7616915 w 12139750"/>
              <a:gd name="connsiteY1441" fmla="*/ 4421853 h 6858290"/>
              <a:gd name="connsiteX1442" fmla="*/ 7603601 w 12139750"/>
              <a:gd name="connsiteY1442" fmla="*/ 4471441 h 6858290"/>
              <a:gd name="connsiteX1443" fmla="*/ 7266929 w 12139750"/>
              <a:gd name="connsiteY1443" fmla="*/ 4664069 h 6858290"/>
              <a:gd name="connsiteX1444" fmla="*/ 7219376 w 12139750"/>
              <a:gd name="connsiteY1444" fmla="*/ 4650718 h 6858290"/>
              <a:gd name="connsiteX1445" fmla="*/ 7213670 w 12139750"/>
              <a:gd name="connsiteY1445" fmla="*/ 4633553 h 6858290"/>
              <a:gd name="connsiteX1446" fmla="*/ 7230789 w 12139750"/>
              <a:gd name="connsiteY1446" fmla="*/ 4601131 h 6858290"/>
              <a:gd name="connsiteX1447" fmla="*/ 7567461 w 12139750"/>
              <a:gd name="connsiteY1447" fmla="*/ 4408503 h 6858290"/>
              <a:gd name="connsiteX1448" fmla="*/ 7595041 w 12139750"/>
              <a:gd name="connsiteY1448" fmla="*/ 4405165 h 6858290"/>
              <a:gd name="connsiteX1449" fmla="*/ 7045447 w 12139750"/>
              <a:gd name="connsiteY1449" fmla="*/ 4396577 h 6858290"/>
              <a:gd name="connsiteX1450" fmla="*/ 7067610 w 12139750"/>
              <a:gd name="connsiteY1450" fmla="*/ 4414178 h 6858290"/>
              <a:gd name="connsiteX1451" fmla="*/ 7052359 w 12139750"/>
              <a:gd name="connsiteY1451" fmla="*/ 4465552 h 6858290"/>
              <a:gd name="connsiteX1452" fmla="*/ 6714913 w 12139750"/>
              <a:gd name="connsiteY1452" fmla="*/ 4646313 h 6858290"/>
              <a:gd name="connsiteX1453" fmla="*/ 6663438 w 12139750"/>
              <a:gd name="connsiteY1453" fmla="*/ 4631091 h 6858290"/>
              <a:gd name="connsiteX1454" fmla="*/ 6659625 w 12139750"/>
              <a:gd name="connsiteY1454" fmla="*/ 4613966 h 6858290"/>
              <a:gd name="connsiteX1455" fmla="*/ 6678689 w 12139750"/>
              <a:gd name="connsiteY1455" fmla="*/ 4581620 h 6858290"/>
              <a:gd name="connsiteX1456" fmla="*/ 7016136 w 12139750"/>
              <a:gd name="connsiteY1456" fmla="*/ 4398956 h 6858290"/>
              <a:gd name="connsiteX1457" fmla="*/ 7045447 w 12139750"/>
              <a:gd name="connsiteY1457" fmla="*/ 4396577 h 6858290"/>
              <a:gd name="connsiteX1458" fmla="*/ 6484860 w 12139750"/>
              <a:gd name="connsiteY1458" fmla="*/ 4386509 h 6858290"/>
              <a:gd name="connsiteX1459" fmla="*/ 6523112 w 12139750"/>
              <a:gd name="connsiteY1459" fmla="*/ 4408422 h 6858290"/>
              <a:gd name="connsiteX1460" fmla="*/ 6505992 w 12139750"/>
              <a:gd name="connsiteY1460" fmla="*/ 4461632 h 6858290"/>
              <a:gd name="connsiteX1461" fmla="*/ 6167407 w 12139750"/>
              <a:gd name="connsiteY1461" fmla="*/ 4630765 h 6858290"/>
              <a:gd name="connsiteX1462" fmla="*/ 6114146 w 12139750"/>
              <a:gd name="connsiteY1462" fmla="*/ 4613662 h 6858290"/>
              <a:gd name="connsiteX1463" fmla="*/ 6110342 w 12139750"/>
              <a:gd name="connsiteY1463" fmla="*/ 4594658 h 6858290"/>
              <a:gd name="connsiteX1464" fmla="*/ 6131266 w 12139750"/>
              <a:gd name="connsiteY1464" fmla="*/ 4560451 h 6858290"/>
              <a:gd name="connsiteX1465" fmla="*/ 6469851 w 12139750"/>
              <a:gd name="connsiteY1465" fmla="*/ 4391319 h 6858290"/>
              <a:gd name="connsiteX1466" fmla="*/ 6484860 w 12139750"/>
              <a:gd name="connsiteY1466" fmla="*/ 4386509 h 6858290"/>
              <a:gd name="connsiteX1467" fmla="*/ 5956833 w 12139750"/>
              <a:gd name="connsiteY1467" fmla="*/ 4379618 h 6858290"/>
              <a:gd name="connsiteX1468" fmla="*/ 5980168 w 12139750"/>
              <a:gd name="connsiteY1468" fmla="*/ 4400625 h 6858290"/>
              <a:gd name="connsiteX1469" fmla="*/ 5961117 w 12139750"/>
              <a:gd name="connsiteY1469" fmla="*/ 4456009 h 6858290"/>
              <a:gd name="connsiteX1470" fmla="*/ 5622030 w 12139750"/>
              <a:gd name="connsiteY1470" fmla="*/ 4616430 h 6858290"/>
              <a:gd name="connsiteX1471" fmla="*/ 5564881 w 12139750"/>
              <a:gd name="connsiteY1471" fmla="*/ 4595422 h 6858290"/>
              <a:gd name="connsiteX1472" fmla="*/ 5561071 w 12139750"/>
              <a:gd name="connsiteY1472" fmla="*/ 4578234 h 6858290"/>
              <a:gd name="connsiteX1473" fmla="*/ 5585836 w 12139750"/>
              <a:gd name="connsiteY1473" fmla="*/ 4540039 h 6858290"/>
              <a:gd name="connsiteX1474" fmla="*/ 5924922 w 12139750"/>
              <a:gd name="connsiteY1474" fmla="*/ 4381528 h 6858290"/>
              <a:gd name="connsiteX1475" fmla="*/ 5956833 w 12139750"/>
              <a:gd name="connsiteY1475" fmla="*/ 4379618 h 6858290"/>
              <a:gd name="connsiteX1476" fmla="*/ 398944 w 12139750"/>
              <a:gd name="connsiteY1476" fmla="*/ 4379618 h 6858290"/>
              <a:gd name="connsiteX1477" fmla="*/ 422281 w 12139750"/>
              <a:gd name="connsiteY1477" fmla="*/ 4400625 h 6858290"/>
              <a:gd name="connsiteX1478" fmla="*/ 401326 w 12139750"/>
              <a:gd name="connsiteY1478" fmla="*/ 4456009 h 6858290"/>
              <a:gd name="connsiteX1479" fmla="*/ 62232 w 12139750"/>
              <a:gd name="connsiteY1479" fmla="*/ 4616430 h 6858290"/>
              <a:gd name="connsiteX1480" fmla="*/ 6986 w 12139750"/>
              <a:gd name="connsiteY1480" fmla="*/ 4595422 h 6858290"/>
              <a:gd name="connsiteX1481" fmla="*/ 3176 w 12139750"/>
              <a:gd name="connsiteY1481" fmla="*/ 4578234 h 6858290"/>
              <a:gd name="connsiteX1482" fmla="*/ 27941 w 12139750"/>
              <a:gd name="connsiteY1482" fmla="*/ 4540039 h 6858290"/>
              <a:gd name="connsiteX1483" fmla="*/ 367035 w 12139750"/>
              <a:gd name="connsiteY1483" fmla="*/ 4381528 h 6858290"/>
              <a:gd name="connsiteX1484" fmla="*/ 398944 w 12139750"/>
              <a:gd name="connsiteY1484" fmla="*/ 4379618 h 6858290"/>
              <a:gd name="connsiteX1485" fmla="*/ 5410426 w 12139750"/>
              <a:gd name="connsiteY1485" fmla="*/ 4371276 h 6858290"/>
              <a:gd name="connsiteX1486" fmla="*/ 5434051 w 12139750"/>
              <a:gd name="connsiteY1486" fmla="*/ 4394881 h 6858290"/>
              <a:gd name="connsiteX1487" fmla="*/ 5411140 w 12139750"/>
              <a:gd name="connsiteY1487" fmla="*/ 4452105 h 6858290"/>
              <a:gd name="connsiteX1488" fmla="*/ 5071297 w 12139750"/>
              <a:gd name="connsiteY1488" fmla="*/ 4598979 h 6858290"/>
              <a:gd name="connsiteX1489" fmla="*/ 5014028 w 12139750"/>
              <a:gd name="connsiteY1489" fmla="*/ 4576090 h 6858290"/>
              <a:gd name="connsiteX1490" fmla="*/ 5010210 w 12139750"/>
              <a:gd name="connsiteY1490" fmla="*/ 4558923 h 6858290"/>
              <a:gd name="connsiteX1491" fmla="*/ 5036935 w 12139750"/>
              <a:gd name="connsiteY1491" fmla="*/ 4518866 h 6858290"/>
              <a:gd name="connsiteX1492" fmla="*/ 5376776 w 12139750"/>
              <a:gd name="connsiteY1492" fmla="*/ 4371991 h 6858290"/>
              <a:gd name="connsiteX1493" fmla="*/ 5410426 w 12139750"/>
              <a:gd name="connsiteY1493" fmla="*/ 4371276 h 6858290"/>
              <a:gd name="connsiteX1494" fmla="*/ 943805 w 12139750"/>
              <a:gd name="connsiteY1494" fmla="*/ 4371276 h 6858290"/>
              <a:gd name="connsiteX1495" fmla="*/ 968368 w 12139750"/>
              <a:gd name="connsiteY1495" fmla="*/ 4394881 h 6858290"/>
              <a:gd name="connsiteX1496" fmla="*/ 945475 w 12139750"/>
              <a:gd name="connsiteY1496" fmla="*/ 4452105 h 6858290"/>
              <a:gd name="connsiteX1497" fmla="*/ 603977 w 12139750"/>
              <a:gd name="connsiteY1497" fmla="*/ 4598979 h 6858290"/>
              <a:gd name="connsiteX1498" fmla="*/ 546743 w 12139750"/>
              <a:gd name="connsiteY1498" fmla="*/ 4576090 h 6858290"/>
              <a:gd name="connsiteX1499" fmla="*/ 542927 w 12139750"/>
              <a:gd name="connsiteY1499" fmla="*/ 4558923 h 6858290"/>
              <a:gd name="connsiteX1500" fmla="*/ 569637 w 12139750"/>
              <a:gd name="connsiteY1500" fmla="*/ 4518866 h 6858290"/>
              <a:gd name="connsiteX1501" fmla="*/ 909226 w 12139750"/>
              <a:gd name="connsiteY1501" fmla="*/ 4371991 h 6858290"/>
              <a:gd name="connsiteX1502" fmla="*/ 943805 w 12139750"/>
              <a:gd name="connsiteY1502" fmla="*/ 4371276 h 6858290"/>
              <a:gd name="connsiteX1503" fmla="*/ 4841668 w 12139750"/>
              <a:gd name="connsiteY1503" fmla="*/ 4359082 h 6858290"/>
              <a:gd name="connsiteX1504" fmla="*/ 4883197 w 12139750"/>
              <a:gd name="connsiteY1504" fmla="*/ 4387173 h 6858290"/>
              <a:gd name="connsiteX1505" fmla="*/ 4856524 w 12139750"/>
              <a:gd name="connsiteY1505" fmla="*/ 4448053 h 6858290"/>
              <a:gd name="connsiteX1506" fmla="*/ 4517434 w 12139750"/>
              <a:gd name="connsiteY1506" fmla="*/ 4583129 h 6858290"/>
              <a:gd name="connsiteX1507" fmla="*/ 4456473 w 12139750"/>
              <a:gd name="connsiteY1507" fmla="*/ 4556495 h 6858290"/>
              <a:gd name="connsiteX1508" fmla="*/ 4454569 w 12139750"/>
              <a:gd name="connsiteY1508" fmla="*/ 4539372 h 6858290"/>
              <a:gd name="connsiteX1509" fmla="*/ 4483145 w 12139750"/>
              <a:gd name="connsiteY1509" fmla="*/ 4497518 h 6858290"/>
              <a:gd name="connsiteX1510" fmla="*/ 4824132 w 12139750"/>
              <a:gd name="connsiteY1510" fmla="*/ 4362441 h 6858290"/>
              <a:gd name="connsiteX1511" fmla="*/ 4841668 w 12139750"/>
              <a:gd name="connsiteY1511" fmla="*/ 4359082 h 6858290"/>
              <a:gd name="connsiteX1512" fmla="*/ 1477208 w 12139750"/>
              <a:gd name="connsiteY1512" fmla="*/ 4359082 h 6858290"/>
              <a:gd name="connsiteX1513" fmla="*/ 1517660 w 12139750"/>
              <a:gd name="connsiteY1513" fmla="*/ 4387173 h 6858290"/>
              <a:gd name="connsiteX1514" fmla="*/ 1492894 w 12139750"/>
              <a:gd name="connsiteY1514" fmla="*/ 4448053 h 6858290"/>
              <a:gd name="connsiteX1515" fmla="*/ 1151895 w 12139750"/>
              <a:gd name="connsiteY1515" fmla="*/ 4583129 h 6858290"/>
              <a:gd name="connsiteX1516" fmla="*/ 1092840 w 12139750"/>
              <a:gd name="connsiteY1516" fmla="*/ 4556495 h 6858290"/>
              <a:gd name="connsiteX1517" fmla="*/ 1089029 w 12139750"/>
              <a:gd name="connsiteY1517" fmla="*/ 4539372 h 6858290"/>
              <a:gd name="connsiteX1518" fmla="*/ 1117605 w 12139750"/>
              <a:gd name="connsiteY1518" fmla="*/ 4497518 h 6858290"/>
              <a:gd name="connsiteX1519" fmla="*/ 1458604 w 12139750"/>
              <a:gd name="connsiteY1519" fmla="*/ 4362441 h 6858290"/>
              <a:gd name="connsiteX1520" fmla="*/ 1477208 w 12139750"/>
              <a:gd name="connsiteY1520" fmla="*/ 4359082 h 6858290"/>
              <a:gd name="connsiteX1521" fmla="*/ 4284027 w 12139750"/>
              <a:gd name="connsiteY1521" fmla="*/ 4349919 h 6858290"/>
              <a:gd name="connsiteX1522" fmla="*/ 4325998 w 12139750"/>
              <a:gd name="connsiteY1522" fmla="*/ 4381660 h 6858290"/>
              <a:gd name="connsiteX1523" fmla="*/ 4297483 w 12139750"/>
              <a:gd name="connsiteY1523" fmla="*/ 4442870 h 6858290"/>
              <a:gd name="connsiteX1524" fmla="*/ 3957235 w 12139750"/>
              <a:gd name="connsiteY1524" fmla="*/ 4569116 h 6858290"/>
              <a:gd name="connsiteX1525" fmla="*/ 3896403 w 12139750"/>
              <a:gd name="connsiteY1525" fmla="*/ 4538511 h 6858290"/>
              <a:gd name="connsiteX1526" fmla="*/ 3892602 w 12139750"/>
              <a:gd name="connsiteY1526" fmla="*/ 4523208 h 6858290"/>
              <a:gd name="connsiteX1527" fmla="*/ 3924918 w 12139750"/>
              <a:gd name="connsiteY1527" fmla="*/ 4477301 h 6858290"/>
              <a:gd name="connsiteX1528" fmla="*/ 4265165 w 12139750"/>
              <a:gd name="connsiteY1528" fmla="*/ 4352968 h 6858290"/>
              <a:gd name="connsiteX1529" fmla="*/ 4284027 w 12139750"/>
              <a:gd name="connsiteY1529" fmla="*/ 4349919 h 6858290"/>
              <a:gd name="connsiteX1530" fmla="*/ 2029782 w 12139750"/>
              <a:gd name="connsiteY1530" fmla="*/ 4349919 h 6858290"/>
              <a:gd name="connsiteX1531" fmla="*/ 2073629 w 12139750"/>
              <a:gd name="connsiteY1531" fmla="*/ 4381660 h 6858290"/>
              <a:gd name="connsiteX1532" fmla="*/ 2045109 w 12139750"/>
              <a:gd name="connsiteY1532" fmla="*/ 4442870 h 6858290"/>
              <a:gd name="connsiteX1533" fmla="*/ 1702940 w 12139750"/>
              <a:gd name="connsiteY1533" fmla="*/ 4569116 h 6858290"/>
              <a:gd name="connsiteX1534" fmla="*/ 1642110 w 12139750"/>
              <a:gd name="connsiteY1534" fmla="*/ 4538511 h 6858290"/>
              <a:gd name="connsiteX1535" fmla="*/ 1638308 w 12139750"/>
              <a:gd name="connsiteY1535" fmla="*/ 4523208 h 6858290"/>
              <a:gd name="connsiteX1536" fmla="*/ 1670624 w 12139750"/>
              <a:gd name="connsiteY1536" fmla="*/ 4477301 h 6858290"/>
              <a:gd name="connsiteX1537" fmla="*/ 2010892 w 12139750"/>
              <a:gd name="connsiteY1537" fmla="*/ 4352968 h 6858290"/>
              <a:gd name="connsiteX1538" fmla="*/ 2029782 w 12139750"/>
              <a:gd name="connsiteY1538" fmla="*/ 4349919 h 6858290"/>
              <a:gd name="connsiteX1539" fmla="*/ 3722769 w 12139750"/>
              <a:gd name="connsiteY1539" fmla="*/ 4341198 h 6858290"/>
              <a:gd name="connsiteX1540" fmla="*/ 3765602 w 12139750"/>
              <a:gd name="connsiteY1540" fmla="*/ 4375585 h 6858290"/>
              <a:gd name="connsiteX1541" fmla="*/ 3733240 w 12139750"/>
              <a:gd name="connsiteY1541" fmla="*/ 4438627 h 6858290"/>
              <a:gd name="connsiteX1542" fmla="*/ 3392498 w 12139750"/>
              <a:gd name="connsiteY1542" fmla="*/ 4551340 h 6858290"/>
              <a:gd name="connsiteX1543" fmla="*/ 3329674 w 12139750"/>
              <a:gd name="connsiteY1543" fmla="*/ 4518863 h 6858290"/>
              <a:gd name="connsiteX1544" fmla="*/ 3325864 w 12139750"/>
              <a:gd name="connsiteY1544" fmla="*/ 4503580 h 6858290"/>
              <a:gd name="connsiteX1545" fmla="*/ 3360130 w 12139750"/>
              <a:gd name="connsiteY1545" fmla="*/ 4455821 h 6858290"/>
              <a:gd name="connsiteX1546" fmla="*/ 3702782 w 12139750"/>
              <a:gd name="connsiteY1546" fmla="*/ 4343108 h 6858290"/>
              <a:gd name="connsiteX1547" fmla="*/ 3722769 w 12139750"/>
              <a:gd name="connsiteY1547" fmla="*/ 4341198 h 6858290"/>
              <a:gd name="connsiteX1548" fmla="*/ 2589270 w 12139750"/>
              <a:gd name="connsiteY1548" fmla="*/ 4341198 h 6858290"/>
              <a:gd name="connsiteX1549" fmla="*/ 2632103 w 12139750"/>
              <a:gd name="connsiteY1549" fmla="*/ 4375585 h 6858290"/>
              <a:gd name="connsiteX1550" fmla="*/ 2599739 w 12139750"/>
              <a:gd name="connsiteY1550" fmla="*/ 4438627 h 6858290"/>
              <a:gd name="connsiteX1551" fmla="*/ 2258981 w 12139750"/>
              <a:gd name="connsiteY1551" fmla="*/ 4551340 h 6858290"/>
              <a:gd name="connsiteX1552" fmla="*/ 2196160 w 12139750"/>
              <a:gd name="connsiteY1552" fmla="*/ 4518863 h 6858290"/>
              <a:gd name="connsiteX1553" fmla="*/ 2192353 w 12139750"/>
              <a:gd name="connsiteY1553" fmla="*/ 4503580 h 6858290"/>
              <a:gd name="connsiteX1554" fmla="*/ 2226618 w 12139750"/>
              <a:gd name="connsiteY1554" fmla="*/ 4455821 h 6858290"/>
              <a:gd name="connsiteX1555" fmla="*/ 2569281 w 12139750"/>
              <a:gd name="connsiteY1555" fmla="*/ 4343108 h 6858290"/>
              <a:gd name="connsiteX1556" fmla="*/ 2589270 w 12139750"/>
              <a:gd name="connsiteY1556" fmla="*/ 4341198 h 6858290"/>
              <a:gd name="connsiteX1557" fmla="*/ 3152169 w 12139750"/>
              <a:gd name="connsiteY1557" fmla="*/ 4331993 h 6858290"/>
              <a:gd name="connsiteX1558" fmla="*/ 3195709 w 12139750"/>
              <a:gd name="connsiteY1558" fmla="*/ 4369821 h 6858290"/>
              <a:gd name="connsiteX1559" fmla="*/ 3161515 w 12139750"/>
              <a:gd name="connsiteY1559" fmla="*/ 4434686 h 6858290"/>
              <a:gd name="connsiteX1560" fmla="*/ 2819566 w 12139750"/>
              <a:gd name="connsiteY1560" fmla="*/ 4535799 h 6858290"/>
              <a:gd name="connsiteX1561" fmla="*/ 2753078 w 12139750"/>
              <a:gd name="connsiteY1561" fmla="*/ 4499551 h 6858290"/>
              <a:gd name="connsiteX1562" fmla="*/ 2751179 w 12139750"/>
              <a:gd name="connsiteY1562" fmla="*/ 4486196 h 6858290"/>
              <a:gd name="connsiteX1563" fmla="*/ 2789170 w 12139750"/>
              <a:gd name="connsiteY1563" fmla="*/ 4434686 h 6858290"/>
              <a:gd name="connsiteX1564" fmla="*/ 3131122 w 12139750"/>
              <a:gd name="connsiteY1564" fmla="*/ 4333573 h 6858290"/>
              <a:gd name="connsiteX1565" fmla="*/ 3152169 w 12139750"/>
              <a:gd name="connsiteY1565" fmla="*/ 4331993 h 6858290"/>
              <a:gd name="connsiteX1566" fmla="*/ 9861856 w 12139750"/>
              <a:gd name="connsiteY1566" fmla="*/ 4113368 h 6858290"/>
              <a:gd name="connsiteX1567" fmla="*/ 9877547 w 12139750"/>
              <a:gd name="connsiteY1567" fmla="*/ 4123348 h 6858290"/>
              <a:gd name="connsiteX1568" fmla="*/ 9873743 w 12139750"/>
              <a:gd name="connsiteY1568" fmla="*/ 4157568 h 6858290"/>
              <a:gd name="connsiteX1569" fmla="*/ 9540914 w 12139750"/>
              <a:gd name="connsiteY1569" fmla="*/ 4410411 h 6858290"/>
              <a:gd name="connsiteX1570" fmla="*/ 9506680 w 12139750"/>
              <a:gd name="connsiteY1570" fmla="*/ 4404708 h 6858290"/>
              <a:gd name="connsiteX1571" fmla="*/ 9502876 w 12139750"/>
              <a:gd name="connsiteY1571" fmla="*/ 4391401 h 6858290"/>
              <a:gd name="connsiteX1572" fmla="*/ 9512385 w 12139750"/>
              <a:gd name="connsiteY1572" fmla="*/ 4370489 h 6858290"/>
              <a:gd name="connsiteX1573" fmla="*/ 9843313 w 12139750"/>
              <a:gd name="connsiteY1573" fmla="*/ 4117645 h 6858290"/>
              <a:gd name="connsiteX1574" fmla="*/ 9861856 w 12139750"/>
              <a:gd name="connsiteY1574" fmla="*/ 4113368 h 6858290"/>
              <a:gd name="connsiteX1575" fmla="*/ 10446896 w 12139750"/>
              <a:gd name="connsiteY1575" fmla="*/ 4105427 h 6858290"/>
              <a:gd name="connsiteX1576" fmla="*/ 10465232 w 12139750"/>
              <a:gd name="connsiteY1576" fmla="*/ 4115397 h 6858290"/>
              <a:gd name="connsiteX1577" fmla="*/ 10459517 w 12139750"/>
              <a:gd name="connsiteY1577" fmla="*/ 4153376 h 6858290"/>
              <a:gd name="connsiteX1578" fmla="*/ 10124233 w 12139750"/>
              <a:gd name="connsiteY1578" fmla="*/ 4392647 h 6858290"/>
              <a:gd name="connsiteX1579" fmla="*/ 10088037 w 12139750"/>
              <a:gd name="connsiteY1579" fmla="*/ 4386950 h 6858290"/>
              <a:gd name="connsiteX1580" fmla="*/ 10082322 w 12139750"/>
              <a:gd name="connsiteY1580" fmla="*/ 4369859 h 6858290"/>
              <a:gd name="connsiteX1581" fmla="*/ 10093752 w 12139750"/>
              <a:gd name="connsiteY1581" fmla="*/ 4348970 h 6858290"/>
              <a:gd name="connsiteX1582" fmla="*/ 10427131 w 12139750"/>
              <a:gd name="connsiteY1582" fmla="*/ 4109700 h 6858290"/>
              <a:gd name="connsiteX1583" fmla="*/ 10446896 w 12139750"/>
              <a:gd name="connsiteY1583" fmla="*/ 4105427 h 6858290"/>
              <a:gd name="connsiteX1584" fmla="*/ 9286179 w 12139750"/>
              <a:gd name="connsiteY1584" fmla="*/ 4105427 h 6858290"/>
              <a:gd name="connsiteX1585" fmla="*/ 9302848 w 12139750"/>
              <a:gd name="connsiteY1585" fmla="*/ 4115397 h 6858290"/>
              <a:gd name="connsiteX1586" fmla="*/ 9297133 w 12139750"/>
              <a:gd name="connsiteY1586" fmla="*/ 4153376 h 6858290"/>
              <a:gd name="connsiteX1587" fmla="*/ 8963754 w 12139750"/>
              <a:gd name="connsiteY1587" fmla="*/ 4392647 h 6858290"/>
              <a:gd name="connsiteX1588" fmla="*/ 8925653 w 12139750"/>
              <a:gd name="connsiteY1588" fmla="*/ 4386950 h 6858290"/>
              <a:gd name="connsiteX1589" fmla="*/ 8921843 w 12139750"/>
              <a:gd name="connsiteY1589" fmla="*/ 4369859 h 6858290"/>
              <a:gd name="connsiteX1590" fmla="*/ 8931368 w 12139750"/>
              <a:gd name="connsiteY1590" fmla="*/ 4348970 h 6858290"/>
              <a:gd name="connsiteX1591" fmla="*/ 9266652 w 12139750"/>
              <a:gd name="connsiteY1591" fmla="*/ 4109700 h 6858290"/>
              <a:gd name="connsiteX1592" fmla="*/ 9286179 w 12139750"/>
              <a:gd name="connsiteY1592" fmla="*/ 4105427 h 6858290"/>
              <a:gd name="connsiteX1593" fmla="*/ 11024810 w 12139750"/>
              <a:gd name="connsiteY1593" fmla="*/ 4097347 h 6858290"/>
              <a:gd name="connsiteX1594" fmla="*/ 11044352 w 12139750"/>
              <a:gd name="connsiteY1594" fmla="*/ 4109742 h 6858290"/>
              <a:gd name="connsiteX1595" fmla="*/ 11036726 w 12139750"/>
              <a:gd name="connsiteY1595" fmla="*/ 4149791 h 6858290"/>
              <a:gd name="connsiteX1596" fmla="*/ 10701174 w 12139750"/>
              <a:gd name="connsiteY1596" fmla="*/ 4376731 h 6858290"/>
              <a:gd name="connsiteX1597" fmla="*/ 10659230 w 12139750"/>
              <a:gd name="connsiteY1597" fmla="*/ 4369103 h 6858290"/>
              <a:gd name="connsiteX1598" fmla="*/ 10655417 w 12139750"/>
              <a:gd name="connsiteY1598" fmla="*/ 4351940 h 6858290"/>
              <a:gd name="connsiteX1599" fmla="*/ 10668763 w 12139750"/>
              <a:gd name="connsiteY1599" fmla="*/ 4327148 h 6858290"/>
              <a:gd name="connsiteX1600" fmla="*/ 11002408 w 12139750"/>
              <a:gd name="connsiteY1600" fmla="*/ 4102114 h 6858290"/>
              <a:gd name="connsiteX1601" fmla="*/ 11024810 w 12139750"/>
              <a:gd name="connsiteY1601" fmla="*/ 4097347 h 6858290"/>
              <a:gd name="connsiteX1602" fmla="*/ 8715681 w 12139750"/>
              <a:gd name="connsiteY1602" fmla="*/ 4097347 h 6858290"/>
              <a:gd name="connsiteX1603" fmla="*/ 8734508 w 12139750"/>
              <a:gd name="connsiteY1603" fmla="*/ 4109742 h 6858290"/>
              <a:gd name="connsiteX1604" fmla="*/ 8726882 w 12139750"/>
              <a:gd name="connsiteY1604" fmla="*/ 4149791 h 6858290"/>
              <a:gd name="connsiteX1605" fmla="*/ 8391330 w 12139750"/>
              <a:gd name="connsiteY1605" fmla="*/ 4376731 h 6858290"/>
              <a:gd name="connsiteX1606" fmla="*/ 8351293 w 12139750"/>
              <a:gd name="connsiteY1606" fmla="*/ 4369103 h 6858290"/>
              <a:gd name="connsiteX1607" fmla="*/ 8345573 w 12139750"/>
              <a:gd name="connsiteY1607" fmla="*/ 4351940 h 6858290"/>
              <a:gd name="connsiteX1608" fmla="*/ 8358919 w 12139750"/>
              <a:gd name="connsiteY1608" fmla="*/ 4327148 h 6858290"/>
              <a:gd name="connsiteX1609" fmla="*/ 8692564 w 12139750"/>
              <a:gd name="connsiteY1609" fmla="*/ 4102114 h 6858290"/>
              <a:gd name="connsiteX1610" fmla="*/ 8715681 w 12139750"/>
              <a:gd name="connsiteY1610" fmla="*/ 4097347 h 6858290"/>
              <a:gd name="connsiteX1611" fmla="*/ 11596149 w 12139750"/>
              <a:gd name="connsiteY1611" fmla="*/ 4089007 h 6858290"/>
              <a:gd name="connsiteX1612" fmla="*/ 11615883 w 12139750"/>
              <a:gd name="connsiteY1612" fmla="*/ 4104009 h 6858290"/>
              <a:gd name="connsiteX1613" fmla="*/ 11606373 w 12139750"/>
              <a:gd name="connsiteY1613" fmla="*/ 4147824 h 6858290"/>
              <a:gd name="connsiteX1614" fmla="*/ 11271615 w 12139750"/>
              <a:gd name="connsiteY1614" fmla="*/ 4359279 h 6858290"/>
              <a:gd name="connsiteX1615" fmla="*/ 11227868 w 12139750"/>
              <a:gd name="connsiteY1615" fmla="*/ 4349754 h 6858290"/>
              <a:gd name="connsiteX1616" fmla="*/ 11222162 w 12139750"/>
              <a:gd name="connsiteY1616" fmla="*/ 4332609 h 6858290"/>
              <a:gd name="connsiteX1617" fmla="*/ 11237378 w 12139750"/>
              <a:gd name="connsiteY1617" fmla="*/ 4305939 h 6858290"/>
              <a:gd name="connsiteX1618" fmla="*/ 11572136 w 12139750"/>
              <a:gd name="connsiteY1618" fmla="*/ 4092579 h 6858290"/>
              <a:gd name="connsiteX1619" fmla="*/ 11596149 w 12139750"/>
              <a:gd name="connsiteY1619" fmla="*/ 4089007 h 6858290"/>
              <a:gd name="connsiteX1620" fmla="*/ 8152699 w 12139750"/>
              <a:gd name="connsiteY1620" fmla="*/ 4089007 h 6858290"/>
              <a:gd name="connsiteX1621" fmla="*/ 8172510 w 12139750"/>
              <a:gd name="connsiteY1621" fmla="*/ 4104009 h 6858290"/>
              <a:gd name="connsiteX1622" fmla="*/ 8162963 w 12139750"/>
              <a:gd name="connsiteY1622" fmla="*/ 4147824 h 6858290"/>
              <a:gd name="connsiteX1623" fmla="*/ 7824978 w 12139750"/>
              <a:gd name="connsiteY1623" fmla="*/ 4359279 h 6858290"/>
              <a:gd name="connsiteX1624" fmla="*/ 7781059 w 12139750"/>
              <a:gd name="connsiteY1624" fmla="*/ 4349754 h 6858290"/>
              <a:gd name="connsiteX1625" fmla="*/ 7777240 w 12139750"/>
              <a:gd name="connsiteY1625" fmla="*/ 4332609 h 6858290"/>
              <a:gd name="connsiteX1626" fmla="*/ 7792516 w 12139750"/>
              <a:gd name="connsiteY1626" fmla="*/ 4305939 h 6858290"/>
              <a:gd name="connsiteX1627" fmla="*/ 8128591 w 12139750"/>
              <a:gd name="connsiteY1627" fmla="*/ 4092579 h 6858290"/>
              <a:gd name="connsiteX1628" fmla="*/ 8152699 w 12139750"/>
              <a:gd name="connsiteY1628" fmla="*/ 4089007 h 6858290"/>
              <a:gd name="connsiteX1629" fmla="*/ 12139750 w 12139750"/>
              <a:gd name="connsiteY1629" fmla="*/ 4083054 h 6858290"/>
              <a:gd name="connsiteX1630" fmla="*/ 12139750 w 12139750"/>
              <a:gd name="connsiteY1630" fmla="*/ 4162969 h 6858290"/>
              <a:gd name="connsiteX1631" fmla="*/ 11834405 w 12139750"/>
              <a:gd name="connsiteY1631" fmla="*/ 4341828 h 6858290"/>
              <a:gd name="connsiteX1632" fmla="*/ 11786695 w 12139750"/>
              <a:gd name="connsiteY1632" fmla="*/ 4330411 h 6858290"/>
              <a:gd name="connsiteX1633" fmla="*/ 11780970 w 12139750"/>
              <a:gd name="connsiteY1633" fmla="*/ 4313287 h 6858290"/>
              <a:gd name="connsiteX1634" fmla="*/ 11798146 w 12139750"/>
              <a:gd name="connsiteY1634" fmla="*/ 4282843 h 6858290"/>
              <a:gd name="connsiteX1635" fmla="*/ 12135933 w 12139750"/>
              <a:gd name="connsiteY1635" fmla="*/ 4084957 h 6858290"/>
              <a:gd name="connsiteX1636" fmla="*/ 12139750 w 12139750"/>
              <a:gd name="connsiteY1636" fmla="*/ 4083054 h 6858290"/>
              <a:gd name="connsiteX1637" fmla="*/ 7594358 w 12139750"/>
              <a:gd name="connsiteY1637" fmla="*/ 4081069 h 6858290"/>
              <a:gd name="connsiteX1638" fmla="*/ 7615314 w 12139750"/>
              <a:gd name="connsiteY1638" fmla="*/ 4096071 h 6858290"/>
              <a:gd name="connsiteX1639" fmla="*/ 7603883 w 12139750"/>
              <a:gd name="connsiteY1639" fmla="*/ 4143696 h 6858290"/>
              <a:gd name="connsiteX1640" fmla="*/ 7266694 w 12139750"/>
              <a:gd name="connsiteY1640" fmla="*/ 4341816 h 6858290"/>
              <a:gd name="connsiteX1641" fmla="*/ 7219068 w 12139750"/>
              <a:gd name="connsiteY1641" fmla="*/ 4330386 h 6858290"/>
              <a:gd name="connsiteX1642" fmla="*/ 7215258 w 12139750"/>
              <a:gd name="connsiteY1642" fmla="*/ 4313241 h 6858290"/>
              <a:gd name="connsiteX1643" fmla="*/ 7232403 w 12139750"/>
              <a:gd name="connsiteY1643" fmla="*/ 4282761 h 6858290"/>
              <a:gd name="connsiteX1644" fmla="*/ 7567688 w 12139750"/>
              <a:gd name="connsiteY1644" fmla="*/ 4084641 h 6858290"/>
              <a:gd name="connsiteX1645" fmla="*/ 7594358 w 12139750"/>
              <a:gd name="connsiteY1645" fmla="*/ 4081069 h 6858290"/>
              <a:gd name="connsiteX1646" fmla="*/ 7045448 w 12139750"/>
              <a:gd name="connsiteY1646" fmla="*/ 4072718 h 6858290"/>
              <a:gd name="connsiteX1647" fmla="*/ 7067610 w 12139750"/>
              <a:gd name="connsiteY1647" fmla="*/ 4090298 h 6858290"/>
              <a:gd name="connsiteX1648" fmla="*/ 7052359 w 12139750"/>
              <a:gd name="connsiteY1648" fmla="*/ 4141612 h 6858290"/>
              <a:gd name="connsiteX1649" fmla="*/ 6714913 w 12139750"/>
              <a:gd name="connsiteY1649" fmla="*/ 4325963 h 6858290"/>
              <a:gd name="connsiteX1650" fmla="*/ 6665344 w 12139750"/>
              <a:gd name="connsiteY1650" fmla="*/ 4310759 h 6858290"/>
              <a:gd name="connsiteX1651" fmla="*/ 6659625 w 12139750"/>
              <a:gd name="connsiteY1651" fmla="*/ 4293654 h 6858290"/>
              <a:gd name="connsiteX1652" fmla="*/ 6678689 w 12139750"/>
              <a:gd name="connsiteY1652" fmla="*/ 4259445 h 6858290"/>
              <a:gd name="connsiteX1653" fmla="*/ 7016136 w 12139750"/>
              <a:gd name="connsiteY1653" fmla="*/ 4075094 h 6858290"/>
              <a:gd name="connsiteX1654" fmla="*/ 7045448 w 12139750"/>
              <a:gd name="connsiteY1654" fmla="*/ 4072718 h 6858290"/>
              <a:gd name="connsiteX1655" fmla="*/ 6500048 w 12139750"/>
              <a:gd name="connsiteY1655" fmla="*/ 4065063 h 6858290"/>
              <a:gd name="connsiteX1656" fmla="*/ 6523112 w 12139750"/>
              <a:gd name="connsiteY1656" fmla="*/ 4084421 h 6858290"/>
              <a:gd name="connsiteX1657" fmla="*/ 6505992 w 12139750"/>
              <a:gd name="connsiteY1657" fmla="*/ 4137956 h 6858290"/>
              <a:gd name="connsiteX1658" fmla="*/ 6167407 w 12139750"/>
              <a:gd name="connsiteY1658" fmla="*/ 4310032 h 6858290"/>
              <a:gd name="connsiteX1659" fmla="*/ 6114146 w 12139750"/>
              <a:gd name="connsiteY1659" fmla="*/ 4292824 h 6858290"/>
              <a:gd name="connsiteX1660" fmla="*/ 6110342 w 12139750"/>
              <a:gd name="connsiteY1660" fmla="*/ 4273705 h 6858290"/>
              <a:gd name="connsiteX1661" fmla="*/ 6131266 w 12139750"/>
              <a:gd name="connsiteY1661" fmla="*/ 4239290 h 6858290"/>
              <a:gd name="connsiteX1662" fmla="*/ 6469851 w 12139750"/>
              <a:gd name="connsiteY1662" fmla="*/ 4067214 h 6858290"/>
              <a:gd name="connsiteX1663" fmla="*/ 6500048 w 12139750"/>
              <a:gd name="connsiteY1663" fmla="*/ 4065063 h 6858290"/>
              <a:gd name="connsiteX1664" fmla="*/ 5941056 w 12139750"/>
              <a:gd name="connsiteY1664" fmla="*/ 4054783 h 6858290"/>
              <a:gd name="connsiteX1665" fmla="*/ 5980168 w 12139750"/>
              <a:gd name="connsiteY1665" fmla="*/ 4078685 h 6858290"/>
              <a:gd name="connsiteX1666" fmla="*/ 5961117 w 12139750"/>
              <a:gd name="connsiteY1666" fmla="*/ 4135978 h 6858290"/>
              <a:gd name="connsiteX1667" fmla="*/ 5622030 w 12139750"/>
              <a:gd name="connsiteY1667" fmla="*/ 4292580 h 6858290"/>
              <a:gd name="connsiteX1668" fmla="*/ 5564881 w 12139750"/>
              <a:gd name="connsiteY1668" fmla="*/ 4271572 h 6858290"/>
              <a:gd name="connsiteX1669" fmla="*/ 5561071 w 12139750"/>
              <a:gd name="connsiteY1669" fmla="*/ 4254384 h 6858290"/>
              <a:gd name="connsiteX1670" fmla="*/ 5585836 w 12139750"/>
              <a:gd name="connsiteY1670" fmla="*/ 4216189 h 6858290"/>
              <a:gd name="connsiteX1671" fmla="*/ 5924922 w 12139750"/>
              <a:gd name="connsiteY1671" fmla="*/ 4059588 h 6858290"/>
              <a:gd name="connsiteX1672" fmla="*/ 5941056 w 12139750"/>
              <a:gd name="connsiteY1672" fmla="*/ 4054783 h 6858290"/>
              <a:gd name="connsiteX1673" fmla="*/ 383168 w 12139750"/>
              <a:gd name="connsiteY1673" fmla="*/ 4054783 h 6858290"/>
              <a:gd name="connsiteX1674" fmla="*/ 422281 w 12139750"/>
              <a:gd name="connsiteY1674" fmla="*/ 4078685 h 6858290"/>
              <a:gd name="connsiteX1675" fmla="*/ 401325 w 12139750"/>
              <a:gd name="connsiteY1675" fmla="*/ 4135978 h 6858290"/>
              <a:gd name="connsiteX1676" fmla="*/ 62231 w 12139750"/>
              <a:gd name="connsiteY1676" fmla="*/ 4292580 h 6858290"/>
              <a:gd name="connsiteX1677" fmla="*/ 6986 w 12139750"/>
              <a:gd name="connsiteY1677" fmla="*/ 4271572 h 6858290"/>
              <a:gd name="connsiteX1678" fmla="*/ 3176 w 12139750"/>
              <a:gd name="connsiteY1678" fmla="*/ 4254384 h 6858290"/>
              <a:gd name="connsiteX1679" fmla="*/ 27941 w 12139750"/>
              <a:gd name="connsiteY1679" fmla="*/ 4216189 h 6858290"/>
              <a:gd name="connsiteX1680" fmla="*/ 367035 w 12139750"/>
              <a:gd name="connsiteY1680" fmla="*/ 4059588 h 6858290"/>
              <a:gd name="connsiteX1681" fmla="*/ 383168 w 12139750"/>
              <a:gd name="connsiteY1681" fmla="*/ 4054783 h 6858290"/>
              <a:gd name="connsiteX1682" fmla="*/ 5394099 w 12139750"/>
              <a:gd name="connsiteY1682" fmla="*/ 4046339 h 6858290"/>
              <a:gd name="connsiteX1683" fmla="*/ 5435652 w 12139750"/>
              <a:gd name="connsiteY1683" fmla="*/ 4072660 h 6858290"/>
              <a:gd name="connsiteX1684" fmla="*/ 5410870 w 12139750"/>
              <a:gd name="connsiteY1684" fmla="*/ 4131869 h 6858290"/>
              <a:gd name="connsiteX1685" fmla="*/ 5071527 w 12139750"/>
              <a:gd name="connsiteY1685" fmla="*/ 4275116 h 6858290"/>
              <a:gd name="connsiteX1686" fmla="*/ 5012435 w 12139750"/>
              <a:gd name="connsiteY1686" fmla="*/ 4252196 h 6858290"/>
              <a:gd name="connsiteX1687" fmla="*/ 5008623 w 12139750"/>
              <a:gd name="connsiteY1687" fmla="*/ 4235007 h 6858290"/>
              <a:gd name="connsiteX1688" fmla="*/ 5037215 w 12139750"/>
              <a:gd name="connsiteY1688" fmla="*/ 4192988 h 6858290"/>
              <a:gd name="connsiteX1689" fmla="*/ 5376554 w 12139750"/>
              <a:gd name="connsiteY1689" fmla="*/ 4049741 h 6858290"/>
              <a:gd name="connsiteX1690" fmla="*/ 5394099 w 12139750"/>
              <a:gd name="connsiteY1690" fmla="*/ 4046339 h 6858290"/>
              <a:gd name="connsiteX1691" fmla="*/ 926784 w 12139750"/>
              <a:gd name="connsiteY1691" fmla="*/ 4046338 h 6858290"/>
              <a:gd name="connsiteX1692" fmla="*/ 968368 w 12139750"/>
              <a:gd name="connsiteY1692" fmla="*/ 4072660 h 6858290"/>
              <a:gd name="connsiteX1693" fmla="*/ 945475 w 12139750"/>
              <a:gd name="connsiteY1693" fmla="*/ 4131869 h 6858290"/>
              <a:gd name="connsiteX1694" fmla="*/ 603977 w 12139750"/>
              <a:gd name="connsiteY1694" fmla="*/ 4275116 h 6858290"/>
              <a:gd name="connsiteX1695" fmla="*/ 544835 w 12139750"/>
              <a:gd name="connsiteY1695" fmla="*/ 4252196 h 6858290"/>
              <a:gd name="connsiteX1696" fmla="*/ 542927 w 12139750"/>
              <a:gd name="connsiteY1696" fmla="*/ 4235007 h 6858290"/>
              <a:gd name="connsiteX1697" fmla="*/ 569637 w 12139750"/>
              <a:gd name="connsiteY1697" fmla="*/ 4192988 h 6858290"/>
              <a:gd name="connsiteX1698" fmla="*/ 909226 w 12139750"/>
              <a:gd name="connsiteY1698" fmla="*/ 4049741 h 6858290"/>
              <a:gd name="connsiteX1699" fmla="*/ 926784 w 12139750"/>
              <a:gd name="connsiteY1699" fmla="*/ 4046338 h 6858290"/>
              <a:gd name="connsiteX1700" fmla="*/ 4823918 w 12139750"/>
              <a:gd name="connsiteY1700" fmla="*/ 4041420 h 6858290"/>
              <a:gd name="connsiteX1701" fmla="*/ 4884801 w 12139750"/>
              <a:gd name="connsiteY1701" fmla="*/ 4069841 h 6858290"/>
              <a:gd name="connsiteX1702" fmla="*/ 4856260 w 12139750"/>
              <a:gd name="connsiteY1702" fmla="*/ 4130474 h 6858290"/>
              <a:gd name="connsiteX1703" fmla="*/ 4515756 w 12139750"/>
              <a:gd name="connsiteY1703" fmla="*/ 4259317 h 6858290"/>
              <a:gd name="connsiteX1704" fmla="*/ 4454884 w 12139750"/>
              <a:gd name="connsiteY1704" fmla="*/ 4230896 h 6858290"/>
              <a:gd name="connsiteX1705" fmla="*/ 4452982 w 12139750"/>
              <a:gd name="connsiteY1705" fmla="*/ 4215738 h 6858290"/>
              <a:gd name="connsiteX1706" fmla="*/ 4483418 w 12139750"/>
              <a:gd name="connsiteY1706" fmla="*/ 4170263 h 6858290"/>
              <a:gd name="connsiteX1707" fmla="*/ 4823918 w 12139750"/>
              <a:gd name="connsiteY1707" fmla="*/ 4041420 h 6858290"/>
              <a:gd name="connsiteX1708" fmla="*/ 1458388 w 12139750"/>
              <a:gd name="connsiteY1708" fmla="*/ 4041420 h 6858290"/>
              <a:gd name="connsiteX1709" fmla="*/ 1519261 w 12139750"/>
              <a:gd name="connsiteY1709" fmla="*/ 4069841 h 6858290"/>
              <a:gd name="connsiteX1710" fmla="*/ 1492629 w 12139750"/>
              <a:gd name="connsiteY1710" fmla="*/ 4130474 h 6858290"/>
              <a:gd name="connsiteX1711" fmla="*/ 1152120 w 12139750"/>
              <a:gd name="connsiteY1711" fmla="*/ 4259317 h 6858290"/>
              <a:gd name="connsiteX1712" fmla="*/ 1091247 w 12139750"/>
              <a:gd name="connsiteY1712" fmla="*/ 4230896 h 6858290"/>
              <a:gd name="connsiteX1713" fmla="*/ 1087442 w 12139750"/>
              <a:gd name="connsiteY1713" fmla="*/ 4215738 h 6858290"/>
              <a:gd name="connsiteX1714" fmla="*/ 1117879 w 12139750"/>
              <a:gd name="connsiteY1714" fmla="*/ 4170263 h 6858290"/>
              <a:gd name="connsiteX1715" fmla="*/ 1458388 w 12139750"/>
              <a:gd name="connsiteY1715" fmla="*/ 4041420 h 6858290"/>
              <a:gd name="connsiteX1716" fmla="*/ 4286101 w 12139750"/>
              <a:gd name="connsiteY1716" fmla="*/ 4031102 h 6858290"/>
              <a:gd name="connsiteX1717" fmla="*/ 4329117 w 12139750"/>
              <a:gd name="connsiteY1717" fmla="*/ 4064321 h 6858290"/>
              <a:gd name="connsiteX1718" fmla="*/ 4298528 w 12139750"/>
              <a:gd name="connsiteY1718" fmla="*/ 4127186 h 6858290"/>
              <a:gd name="connsiteX1719" fmla="*/ 3956340 w 12139750"/>
              <a:gd name="connsiteY1719" fmla="*/ 4243391 h 6858290"/>
              <a:gd name="connsiteX1720" fmla="*/ 3893251 w 12139750"/>
              <a:gd name="connsiteY1720" fmla="*/ 4212911 h 6858290"/>
              <a:gd name="connsiteX1721" fmla="*/ 3889424 w 12139750"/>
              <a:gd name="connsiteY1721" fmla="*/ 4195766 h 6858290"/>
              <a:gd name="connsiteX1722" fmla="*/ 3923839 w 12139750"/>
              <a:gd name="connsiteY1722" fmla="*/ 4150046 h 6858290"/>
              <a:gd name="connsiteX1723" fmla="*/ 4266028 w 12139750"/>
              <a:gd name="connsiteY1723" fmla="*/ 4033841 h 6858290"/>
              <a:gd name="connsiteX1724" fmla="*/ 4286101 w 12139750"/>
              <a:gd name="connsiteY1724" fmla="*/ 4031102 h 6858290"/>
              <a:gd name="connsiteX1725" fmla="*/ 2031406 w 12139750"/>
              <a:gd name="connsiteY1725" fmla="*/ 4031102 h 6858290"/>
              <a:gd name="connsiteX1726" fmla="*/ 2075219 w 12139750"/>
              <a:gd name="connsiteY1726" fmla="*/ 4064321 h 6858290"/>
              <a:gd name="connsiteX1727" fmla="*/ 2042922 w 12139750"/>
              <a:gd name="connsiteY1727" fmla="*/ 4127186 h 6858290"/>
              <a:gd name="connsiteX1728" fmla="*/ 1702894 w 12139750"/>
              <a:gd name="connsiteY1728" fmla="*/ 4243391 h 6858290"/>
              <a:gd name="connsiteX1729" fmla="*/ 1640208 w 12139750"/>
              <a:gd name="connsiteY1729" fmla="*/ 4212911 h 6858290"/>
              <a:gd name="connsiteX1730" fmla="*/ 1638308 w 12139750"/>
              <a:gd name="connsiteY1730" fmla="*/ 4195766 h 6858290"/>
              <a:gd name="connsiteX1731" fmla="*/ 1670601 w 12139750"/>
              <a:gd name="connsiteY1731" fmla="*/ 4150046 h 6858290"/>
              <a:gd name="connsiteX1732" fmla="*/ 2012528 w 12139750"/>
              <a:gd name="connsiteY1732" fmla="*/ 4033841 h 6858290"/>
              <a:gd name="connsiteX1733" fmla="*/ 2031406 w 12139750"/>
              <a:gd name="connsiteY1733" fmla="*/ 4031102 h 6858290"/>
              <a:gd name="connsiteX1734" fmla="*/ 3725864 w 12139750"/>
              <a:gd name="connsiteY1734" fmla="*/ 4022421 h 6858290"/>
              <a:gd name="connsiteX1735" fmla="*/ 3770669 w 12139750"/>
              <a:gd name="connsiteY1735" fmla="*/ 4060194 h 6858290"/>
              <a:gd name="connsiteX1736" fmla="*/ 3734420 w 12139750"/>
              <a:gd name="connsiteY1736" fmla="*/ 4124964 h 6858290"/>
              <a:gd name="connsiteX1737" fmla="*/ 3391048 w 12139750"/>
              <a:gd name="connsiteY1737" fmla="*/ 4225929 h 6858290"/>
              <a:gd name="connsiteX1738" fmla="*/ 3326184 w 12139750"/>
              <a:gd name="connsiteY1738" fmla="*/ 4191639 h 6858290"/>
              <a:gd name="connsiteX1739" fmla="*/ 3324277 w 12139750"/>
              <a:gd name="connsiteY1739" fmla="*/ 4176399 h 6858290"/>
              <a:gd name="connsiteX1740" fmla="*/ 3362432 w 12139750"/>
              <a:gd name="connsiteY1740" fmla="*/ 4126869 h 6858290"/>
              <a:gd name="connsiteX1741" fmla="*/ 3705804 w 12139750"/>
              <a:gd name="connsiteY1741" fmla="*/ 4023999 h 6858290"/>
              <a:gd name="connsiteX1742" fmla="*/ 3725864 w 12139750"/>
              <a:gd name="connsiteY1742" fmla="*/ 4022421 h 6858290"/>
              <a:gd name="connsiteX1743" fmla="*/ 2590959 w 12139750"/>
              <a:gd name="connsiteY1743" fmla="*/ 4022421 h 6858290"/>
              <a:gd name="connsiteX1744" fmla="*/ 2635603 w 12139750"/>
              <a:gd name="connsiteY1744" fmla="*/ 4060194 h 6858290"/>
              <a:gd name="connsiteX1745" fmla="*/ 2599484 w 12139750"/>
              <a:gd name="connsiteY1745" fmla="*/ 4124964 h 6858290"/>
              <a:gd name="connsiteX1746" fmla="*/ 2257300 w 12139750"/>
              <a:gd name="connsiteY1746" fmla="*/ 4225929 h 6858290"/>
              <a:gd name="connsiteX1747" fmla="*/ 2192666 w 12139750"/>
              <a:gd name="connsiteY1747" fmla="*/ 4191639 h 6858290"/>
              <a:gd name="connsiteX1748" fmla="*/ 2190765 w 12139750"/>
              <a:gd name="connsiteY1748" fmla="*/ 4176399 h 6858290"/>
              <a:gd name="connsiteX1749" fmla="*/ 2228785 w 12139750"/>
              <a:gd name="connsiteY1749" fmla="*/ 4126869 h 6858290"/>
              <a:gd name="connsiteX1750" fmla="*/ 2570968 w 12139750"/>
              <a:gd name="connsiteY1750" fmla="*/ 4023999 h 6858290"/>
              <a:gd name="connsiteX1751" fmla="*/ 2590959 w 12139750"/>
              <a:gd name="connsiteY1751" fmla="*/ 4022421 h 6858290"/>
              <a:gd name="connsiteX1752" fmla="*/ 3155344 w 12139750"/>
              <a:gd name="connsiteY1752" fmla="*/ 4014781 h 6858290"/>
              <a:gd name="connsiteX1753" fmla="*/ 3200742 w 12139750"/>
              <a:gd name="connsiteY1753" fmla="*/ 4054161 h 6858290"/>
              <a:gd name="connsiteX1754" fmla="*/ 3160626 w 12139750"/>
              <a:gd name="connsiteY1754" fmla="*/ 4120836 h 6858290"/>
              <a:gd name="connsiteX1755" fmla="*/ 2816772 w 12139750"/>
              <a:gd name="connsiteY1755" fmla="*/ 4210371 h 6858290"/>
              <a:gd name="connsiteX1756" fmla="*/ 2749914 w 12139750"/>
              <a:gd name="connsiteY1756" fmla="*/ 4170366 h 6858290"/>
              <a:gd name="connsiteX1757" fmla="*/ 2748002 w 12139750"/>
              <a:gd name="connsiteY1757" fmla="*/ 4157031 h 6858290"/>
              <a:gd name="connsiteX1758" fmla="*/ 2788116 w 12139750"/>
              <a:gd name="connsiteY1758" fmla="*/ 4103691 h 6858290"/>
              <a:gd name="connsiteX1759" fmla="*/ 3133885 w 12139750"/>
              <a:gd name="connsiteY1759" fmla="*/ 4016061 h 6858290"/>
              <a:gd name="connsiteX1760" fmla="*/ 3155344 w 12139750"/>
              <a:gd name="connsiteY1760" fmla="*/ 4014781 h 6858290"/>
              <a:gd name="connsiteX1761" fmla="*/ 9861718 w 12139750"/>
              <a:gd name="connsiteY1761" fmla="*/ 3784929 h 6858290"/>
              <a:gd name="connsiteX1762" fmla="*/ 9876256 w 12139750"/>
              <a:gd name="connsiteY1762" fmla="*/ 3792579 h 6858290"/>
              <a:gd name="connsiteX1763" fmla="*/ 9872442 w 12139750"/>
              <a:gd name="connsiteY1763" fmla="*/ 3823182 h 6858290"/>
              <a:gd name="connsiteX1764" fmla="*/ 9540690 w 12139750"/>
              <a:gd name="connsiteY1764" fmla="*/ 4092865 h 6858290"/>
              <a:gd name="connsiteX1765" fmla="*/ 9510184 w 12139750"/>
              <a:gd name="connsiteY1765" fmla="*/ 4089040 h 6858290"/>
              <a:gd name="connsiteX1766" fmla="*/ 9504464 w 12139750"/>
              <a:gd name="connsiteY1766" fmla="*/ 4075651 h 6858290"/>
              <a:gd name="connsiteX1767" fmla="*/ 9513997 w 12139750"/>
              <a:gd name="connsiteY1767" fmla="*/ 4058438 h 6858290"/>
              <a:gd name="connsiteX1768" fmla="*/ 9845750 w 12139750"/>
              <a:gd name="connsiteY1768" fmla="*/ 3788754 h 6858290"/>
              <a:gd name="connsiteX1769" fmla="*/ 9861718 w 12139750"/>
              <a:gd name="connsiteY1769" fmla="*/ 3784929 h 6858290"/>
              <a:gd name="connsiteX1770" fmla="*/ 10445981 w 12139750"/>
              <a:gd name="connsiteY1770" fmla="*/ 3777074 h 6858290"/>
              <a:gd name="connsiteX1771" fmla="*/ 10461723 w 12139750"/>
              <a:gd name="connsiteY1771" fmla="*/ 3786867 h 6858290"/>
              <a:gd name="connsiteX1772" fmla="*/ 10457907 w 12139750"/>
              <a:gd name="connsiteY1772" fmla="*/ 3821263 h 6858290"/>
              <a:gd name="connsiteX1773" fmla="*/ 10123980 w 12139750"/>
              <a:gd name="connsiteY1773" fmla="*/ 4075410 h 6858290"/>
              <a:gd name="connsiteX1774" fmla="*/ 10089633 w 12139750"/>
              <a:gd name="connsiteY1774" fmla="*/ 4069678 h 6858290"/>
              <a:gd name="connsiteX1775" fmla="*/ 10083909 w 12139750"/>
              <a:gd name="connsiteY1775" fmla="*/ 4054391 h 6858290"/>
              <a:gd name="connsiteX1776" fmla="*/ 10093450 w 12139750"/>
              <a:gd name="connsiteY1776" fmla="*/ 4035282 h 6858290"/>
              <a:gd name="connsiteX1777" fmla="*/ 10427376 w 12139750"/>
              <a:gd name="connsiteY1777" fmla="*/ 3783045 h 6858290"/>
              <a:gd name="connsiteX1778" fmla="*/ 10445981 w 12139750"/>
              <a:gd name="connsiteY1778" fmla="*/ 3777074 h 6858290"/>
              <a:gd name="connsiteX1779" fmla="*/ 9284313 w 12139750"/>
              <a:gd name="connsiteY1779" fmla="*/ 3777074 h 6858290"/>
              <a:gd name="connsiteX1780" fmla="*/ 9300003 w 12139750"/>
              <a:gd name="connsiteY1780" fmla="*/ 3786867 h 6858290"/>
              <a:gd name="connsiteX1781" fmla="*/ 9296200 w 12139750"/>
              <a:gd name="connsiteY1781" fmla="*/ 3821263 h 6858290"/>
              <a:gd name="connsiteX1782" fmla="*/ 8963371 w 12139750"/>
              <a:gd name="connsiteY1782" fmla="*/ 4075410 h 6858290"/>
              <a:gd name="connsiteX1783" fmla="*/ 8929137 w 12139750"/>
              <a:gd name="connsiteY1783" fmla="*/ 4069678 h 6858290"/>
              <a:gd name="connsiteX1784" fmla="*/ 8923431 w 12139750"/>
              <a:gd name="connsiteY1784" fmla="*/ 4054391 h 6858290"/>
              <a:gd name="connsiteX1785" fmla="*/ 8932940 w 12139750"/>
              <a:gd name="connsiteY1785" fmla="*/ 4035282 h 6858290"/>
              <a:gd name="connsiteX1786" fmla="*/ 9265770 w 12139750"/>
              <a:gd name="connsiteY1786" fmla="*/ 3783045 h 6858290"/>
              <a:gd name="connsiteX1787" fmla="*/ 9284313 w 12139750"/>
              <a:gd name="connsiteY1787" fmla="*/ 3777074 h 6858290"/>
              <a:gd name="connsiteX1788" fmla="*/ 8714826 w 12139750"/>
              <a:gd name="connsiteY1788" fmla="*/ 3771656 h 6858290"/>
              <a:gd name="connsiteX1789" fmla="*/ 8733221 w 12139750"/>
              <a:gd name="connsiteY1789" fmla="*/ 3782349 h 6858290"/>
              <a:gd name="connsiteX1790" fmla="*/ 8725576 w 12139750"/>
              <a:gd name="connsiteY1790" fmla="*/ 3820368 h 6858290"/>
              <a:gd name="connsiteX1791" fmla="*/ 8391118 w 12139750"/>
              <a:gd name="connsiteY1791" fmla="*/ 4056086 h 6858290"/>
              <a:gd name="connsiteX1792" fmla="*/ 8352895 w 12139750"/>
              <a:gd name="connsiteY1792" fmla="*/ 4050383 h 6858290"/>
              <a:gd name="connsiteX1793" fmla="*/ 8347161 w 12139750"/>
              <a:gd name="connsiteY1793" fmla="*/ 4035176 h 6858290"/>
              <a:gd name="connsiteX1794" fmla="*/ 8358628 w 12139750"/>
              <a:gd name="connsiteY1794" fmla="*/ 4012364 h 6858290"/>
              <a:gd name="connsiteX1795" fmla="*/ 8694997 w 12139750"/>
              <a:gd name="connsiteY1795" fmla="*/ 3776646 h 6858290"/>
              <a:gd name="connsiteX1796" fmla="*/ 8714826 w 12139750"/>
              <a:gd name="connsiteY1796" fmla="*/ 3771656 h 6858290"/>
              <a:gd name="connsiteX1797" fmla="*/ 11022950 w 12139750"/>
              <a:gd name="connsiteY1797" fmla="*/ 3771656 h 6858290"/>
              <a:gd name="connsiteX1798" fmla="*/ 11041509 w 12139750"/>
              <a:gd name="connsiteY1798" fmla="*/ 3782349 h 6858290"/>
              <a:gd name="connsiteX1799" fmla="*/ 11033895 w 12139750"/>
              <a:gd name="connsiteY1799" fmla="*/ 3820368 h 6858290"/>
              <a:gd name="connsiteX1800" fmla="*/ 10700785 w 12139750"/>
              <a:gd name="connsiteY1800" fmla="*/ 4056086 h 6858290"/>
              <a:gd name="connsiteX1801" fmla="*/ 10662715 w 12139750"/>
              <a:gd name="connsiteY1801" fmla="*/ 4050383 h 6858290"/>
              <a:gd name="connsiteX1802" fmla="*/ 10657005 w 12139750"/>
              <a:gd name="connsiteY1802" fmla="*/ 4035176 h 6858290"/>
              <a:gd name="connsiteX1803" fmla="*/ 10668426 w 12139750"/>
              <a:gd name="connsiteY1803" fmla="*/ 4012364 h 6858290"/>
              <a:gd name="connsiteX1804" fmla="*/ 11001536 w 12139750"/>
              <a:gd name="connsiteY1804" fmla="*/ 3776646 h 6858290"/>
              <a:gd name="connsiteX1805" fmla="*/ 11022950 w 12139750"/>
              <a:gd name="connsiteY1805" fmla="*/ 3771656 h 6858290"/>
              <a:gd name="connsiteX1806" fmla="*/ 8151418 w 12139750"/>
              <a:gd name="connsiteY1806" fmla="*/ 3763955 h 6858290"/>
              <a:gd name="connsiteX1807" fmla="*/ 8170945 w 12139750"/>
              <a:gd name="connsiteY1807" fmla="*/ 3776310 h 6858290"/>
              <a:gd name="connsiteX1808" fmla="*/ 8161420 w 12139750"/>
              <a:gd name="connsiteY1808" fmla="*/ 3820029 h 6858290"/>
              <a:gd name="connsiteX1809" fmla="*/ 7826135 w 12139750"/>
              <a:gd name="connsiteY1809" fmla="*/ 4038624 h 6858290"/>
              <a:gd name="connsiteX1810" fmla="*/ 7784225 w 12139750"/>
              <a:gd name="connsiteY1810" fmla="*/ 4031020 h 6858290"/>
              <a:gd name="connsiteX1811" fmla="*/ 7780415 w 12139750"/>
              <a:gd name="connsiteY1811" fmla="*/ 4013913 h 6858290"/>
              <a:gd name="connsiteX1812" fmla="*/ 7793750 w 12139750"/>
              <a:gd name="connsiteY1812" fmla="*/ 3987302 h 6858290"/>
              <a:gd name="connsiteX1813" fmla="*/ 8129034 w 12139750"/>
              <a:gd name="connsiteY1813" fmla="*/ 3768707 h 6858290"/>
              <a:gd name="connsiteX1814" fmla="*/ 8151418 w 12139750"/>
              <a:gd name="connsiteY1814" fmla="*/ 3763955 h 6858290"/>
              <a:gd name="connsiteX1815" fmla="*/ 11596182 w 12139750"/>
              <a:gd name="connsiteY1815" fmla="*/ 3763955 h 6858290"/>
              <a:gd name="connsiteX1816" fmla="*/ 11614280 w 12139750"/>
              <a:gd name="connsiteY1816" fmla="*/ 3776310 h 6858290"/>
              <a:gd name="connsiteX1817" fmla="*/ 11606660 w 12139750"/>
              <a:gd name="connsiteY1817" fmla="*/ 3820029 h 6858290"/>
              <a:gd name="connsiteX1818" fmla="*/ 11271376 w 12139750"/>
              <a:gd name="connsiteY1818" fmla="*/ 4038624 h 6858290"/>
              <a:gd name="connsiteX1819" fmla="*/ 11229465 w 12139750"/>
              <a:gd name="connsiteY1819" fmla="*/ 4031020 h 6858290"/>
              <a:gd name="connsiteX1820" fmla="*/ 11223750 w 12139750"/>
              <a:gd name="connsiteY1820" fmla="*/ 4013913 h 6858290"/>
              <a:gd name="connsiteX1821" fmla="*/ 11237085 w 12139750"/>
              <a:gd name="connsiteY1821" fmla="*/ 3987302 h 6858290"/>
              <a:gd name="connsiteX1822" fmla="*/ 11572369 w 12139750"/>
              <a:gd name="connsiteY1822" fmla="*/ 3768707 h 6858290"/>
              <a:gd name="connsiteX1823" fmla="*/ 11596182 w 12139750"/>
              <a:gd name="connsiteY1823" fmla="*/ 3763955 h 6858290"/>
              <a:gd name="connsiteX1824" fmla="*/ 12139750 w 12139750"/>
              <a:gd name="connsiteY1824" fmla="*/ 3759203 h 6858290"/>
              <a:gd name="connsiteX1825" fmla="*/ 12139750 w 12139750"/>
              <a:gd name="connsiteY1825" fmla="*/ 3835137 h 6858290"/>
              <a:gd name="connsiteX1826" fmla="*/ 11835489 w 12139750"/>
              <a:gd name="connsiteY1826" fmla="*/ 4021174 h 6858290"/>
              <a:gd name="connsiteX1827" fmla="*/ 11789850 w 12139750"/>
              <a:gd name="connsiteY1827" fmla="*/ 4009784 h 6858290"/>
              <a:gd name="connsiteX1828" fmla="*/ 11784145 w 12139750"/>
              <a:gd name="connsiteY1828" fmla="*/ 3992699 h 6858290"/>
              <a:gd name="connsiteX1829" fmla="*/ 11799358 w 12139750"/>
              <a:gd name="connsiteY1829" fmla="*/ 3964224 h 6858290"/>
              <a:gd name="connsiteX1830" fmla="*/ 12135947 w 12139750"/>
              <a:gd name="connsiteY1830" fmla="*/ 3761101 h 6858290"/>
              <a:gd name="connsiteX1831" fmla="*/ 12139750 w 12139750"/>
              <a:gd name="connsiteY1831" fmla="*/ 3759203 h 6858290"/>
              <a:gd name="connsiteX1832" fmla="*/ 7593700 w 12139750"/>
              <a:gd name="connsiteY1832" fmla="*/ 3756493 h 6858290"/>
              <a:gd name="connsiteX1833" fmla="*/ 7613718 w 12139750"/>
              <a:gd name="connsiteY1833" fmla="*/ 3772173 h 6858290"/>
              <a:gd name="connsiteX1834" fmla="*/ 7604186 w 12139750"/>
              <a:gd name="connsiteY1834" fmla="*/ 3817790 h 6858290"/>
              <a:gd name="connsiteX1835" fmla="*/ 7266734 w 12139750"/>
              <a:gd name="connsiteY1835" fmla="*/ 4021162 h 6858290"/>
              <a:gd name="connsiteX1836" fmla="*/ 7220977 w 12139750"/>
              <a:gd name="connsiteY1836" fmla="*/ 4009758 h 6858290"/>
              <a:gd name="connsiteX1837" fmla="*/ 7215258 w 12139750"/>
              <a:gd name="connsiteY1837" fmla="*/ 3992652 h 6858290"/>
              <a:gd name="connsiteX1838" fmla="*/ 7232416 w 12139750"/>
              <a:gd name="connsiteY1838" fmla="*/ 3964142 h 6858290"/>
              <a:gd name="connsiteX1839" fmla="*/ 7567962 w 12139750"/>
              <a:gd name="connsiteY1839" fmla="*/ 3760769 h 6858290"/>
              <a:gd name="connsiteX1840" fmla="*/ 7593700 w 12139750"/>
              <a:gd name="connsiteY1840" fmla="*/ 3756493 h 6858290"/>
              <a:gd name="connsiteX1841" fmla="*/ 7044469 w 12139750"/>
              <a:gd name="connsiteY1841" fmla="*/ 3749140 h 6858290"/>
              <a:gd name="connsiteX1842" fmla="*/ 7065695 w 12139750"/>
              <a:gd name="connsiteY1842" fmla="*/ 3766564 h 6858290"/>
              <a:gd name="connsiteX1843" fmla="*/ 7052340 w 12139750"/>
              <a:gd name="connsiteY1843" fmla="*/ 3816209 h 6858290"/>
              <a:gd name="connsiteX1844" fmla="*/ 6714634 w 12139750"/>
              <a:gd name="connsiteY1844" fmla="*/ 4005244 h 6858290"/>
              <a:gd name="connsiteX1845" fmla="*/ 6665028 w 12139750"/>
              <a:gd name="connsiteY1845" fmla="*/ 3989968 h 6858290"/>
              <a:gd name="connsiteX1846" fmla="*/ 6661212 w 12139750"/>
              <a:gd name="connsiteY1846" fmla="*/ 3972783 h 6858290"/>
              <a:gd name="connsiteX1847" fmla="*/ 6678383 w 12139750"/>
              <a:gd name="connsiteY1847" fmla="*/ 3940323 h 6858290"/>
              <a:gd name="connsiteX1848" fmla="*/ 7016089 w 12139750"/>
              <a:gd name="connsiteY1848" fmla="*/ 3753198 h 6858290"/>
              <a:gd name="connsiteX1849" fmla="*/ 7044469 w 12139750"/>
              <a:gd name="connsiteY1849" fmla="*/ 3749140 h 6858290"/>
              <a:gd name="connsiteX1850" fmla="*/ 6500048 w 12139750"/>
              <a:gd name="connsiteY1850" fmla="*/ 3741441 h 6858290"/>
              <a:gd name="connsiteX1851" fmla="*/ 6523112 w 12139750"/>
              <a:gd name="connsiteY1851" fmla="*/ 3762447 h 6858290"/>
              <a:gd name="connsiteX1852" fmla="*/ 6505992 w 12139750"/>
              <a:gd name="connsiteY1852" fmla="*/ 3814006 h 6858290"/>
              <a:gd name="connsiteX1853" fmla="*/ 6167407 w 12139750"/>
              <a:gd name="connsiteY1853" fmla="*/ 3987780 h 6858290"/>
              <a:gd name="connsiteX1854" fmla="*/ 6114146 w 12139750"/>
              <a:gd name="connsiteY1854" fmla="*/ 3970593 h 6858290"/>
              <a:gd name="connsiteX1855" fmla="*/ 6110342 w 12139750"/>
              <a:gd name="connsiteY1855" fmla="*/ 3951497 h 6858290"/>
              <a:gd name="connsiteX1856" fmla="*/ 6131266 w 12139750"/>
              <a:gd name="connsiteY1856" fmla="*/ 3917125 h 6858290"/>
              <a:gd name="connsiteX1857" fmla="*/ 6469851 w 12139750"/>
              <a:gd name="connsiteY1857" fmla="*/ 3743351 h 6858290"/>
              <a:gd name="connsiteX1858" fmla="*/ 6500048 w 12139750"/>
              <a:gd name="connsiteY1858" fmla="*/ 3741441 h 6858290"/>
              <a:gd name="connsiteX1859" fmla="*/ 5958237 w 12139750"/>
              <a:gd name="connsiteY1859" fmla="*/ 3734460 h 6858290"/>
              <a:gd name="connsiteX1860" fmla="*/ 5983314 w 12139750"/>
              <a:gd name="connsiteY1860" fmla="*/ 3756422 h 6858290"/>
              <a:gd name="connsiteX1861" fmla="*/ 5962297 w 12139750"/>
              <a:gd name="connsiteY1861" fmla="*/ 3813715 h 6858290"/>
              <a:gd name="connsiteX1862" fmla="*/ 5622211 w 12139750"/>
              <a:gd name="connsiteY1862" fmla="*/ 3970317 h 6858290"/>
              <a:gd name="connsiteX1863" fmla="*/ 5564892 w 12139750"/>
              <a:gd name="connsiteY1863" fmla="*/ 3949309 h 6858290"/>
              <a:gd name="connsiteX1864" fmla="*/ 5561071 w 12139750"/>
              <a:gd name="connsiteY1864" fmla="*/ 3930212 h 6858290"/>
              <a:gd name="connsiteX1865" fmla="*/ 5585909 w 12139750"/>
              <a:gd name="connsiteY1865" fmla="*/ 3892016 h 6858290"/>
              <a:gd name="connsiteX1866" fmla="*/ 5925996 w 12139750"/>
              <a:gd name="connsiteY1866" fmla="*/ 3735415 h 6858290"/>
              <a:gd name="connsiteX1867" fmla="*/ 5958237 w 12139750"/>
              <a:gd name="connsiteY1867" fmla="*/ 3734460 h 6858290"/>
              <a:gd name="connsiteX1868" fmla="*/ 398944 w 12139750"/>
              <a:gd name="connsiteY1868" fmla="*/ 3734460 h 6858290"/>
              <a:gd name="connsiteX1869" fmla="*/ 422280 w 12139750"/>
              <a:gd name="connsiteY1869" fmla="*/ 3756422 h 6858290"/>
              <a:gd name="connsiteX1870" fmla="*/ 401325 w 12139750"/>
              <a:gd name="connsiteY1870" fmla="*/ 3813715 h 6858290"/>
              <a:gd name="connsiteX1871" fmla="*/ 62231 w 12139750"/>
              <a:gd name="connsiteY1871" fmla="*/ 3970317 h 6858290"/>
              <a:gd name="connsiteX1872" fmla="*/ 6985 w 12139750"/>
              <a:gd name="connsiteY1872" fmla="*/ 3949309 h 6858290"/>
              <a:gd name="connsiteX1873" fmla="*/ 3175 w 12139750"/>
              <a:gd name="connsiteY1873" fmla="*/ 3930212 h 6858290"/>
              <a:gd name="connsiteX1874" fmla="*/ 27941 w 12139750"/>
              <a:gd name="connsiteY1874" fmla="*/ 3892016 h 6858290"/>
              <a:gd name="connsiteX1875" fmla="*/ 367035 w 12139750"/>
              <a:gd name="connsiteY1875" fmla="*/ 3735415 h 6858290"/>
              <a:gd name="connsiteX1876" fmla="*/ 398944 w 12139750"/>
              <a:gd name="connsiteY1876" fmla="*/ 3734460 h 6858290"/>
              <a:gd name="connsiteX1877" fmla="*/ 5394099 w 12139750"/>
              <a:gd name="connsiteY1877" fmla="*/ 3725661 h 6858290"/>
              <a:gd name="connsiteX1878" fmla="*/ 5435652 w 12139750"/>
              <a:gd name="connsiteY1878" fmla="*/ 3753716 h 6858290"/>
              <a:gd name="connsiteX1879" fmla="*/ 5410870 w 12139750"/>
              <a:gd name="connsiteY1879" fmla="*/ 3812616 h 6858290"/>
              <a:gd name="connsiteX1880" fmla="*/ 5071527 w 12139750"/>
              <a:gd name="connsiteY1880" fmla="*/ 3951316 h 6858290"/>
              <a:gd name="connsiteX1881" fmla="*/ 5012435 w 12139750"/>
              <a:gd name="connsiteY1881" fmla="*/ 3928516 h 6858290"/>
              <a:gd name="connsiteX1882" fmla="*/ 5008623 w 12139750"/>
              <a:gd name="connsiteY1882" fmla="*/ 3911416 h 6858290"/>
              <a:gd name="connsiteX1883" fmla="*/ 5037215 w 12139750"/>
              <a:gd name="connsiteY1883" fmla="*/ 3869616 h 6858290"/>
              <a:gd name="connsiteX1884" fmla="*/ 5376554 w 12139750"/>
              <a:gd name="connsiteY1884" fmla="*/ 3729016 h 6858290"/>
              <a:gd name="connsiteX1885" fmla="*/ 5394099 w 12139750"/>
              <a:gd name="connsiteY1885" fmla="*/ 3725661 h 6858290"/>
              <a:gd name="connsiteX1886" fmla="*/ 927625 w 12139750"/>
              <a:gd name="connsiteY1886" fmla="*/ 3725661 h 6858290"/>
              <a:gd name="connsiteX1887" fmla="*/ 968374 w 12139750"/>
              <a:gd name="connsiteY1887" fmla="*/ 3753716 h 6858290"/>
              <a:gd name="connsiteX1888" fmla="*/ 945497 w 12139750"/>
              <a:gd name="connsiteY1888" fmla="*/ 3812616 h 6858290"/>
              <a:gd name="connsiteX1889" fmla="*/ 604250 w 12139750"/>
              <a:gd name="connsiteY1889" fmla="*/ 3951316 h 6858290"/>
              <a:gd name="connsiteX1890" fmla="*/ 545152 w 12139750"/>
              <a:gd name="connsiteY1890" fmla="*/ 3928516 h 6858290"/>
              <a:gd name="connsiteX1891" fmla="*/ 541339 w 12139750"/>
              <a:gd name="connsiteY1891" fmla="*/ 3911416 h 6858290"/>
              <a:gd name="connsiteX1892" fmla="*/ 569935 w 12139750"/>
              <a:gd name="connsiteY1892" fmla="*/ 3869616 h 6858290"/>
              <a:gd name="connsiteX1893" fmla="*/ 909276 w 12139750"/>
              <a:gd name="connsiteY1893" fmla="*/ 3729016 h 6858290"/>
              <a:gd name="connsiteX1894" fmla="*/ 927625 w 12139750"/>
              <a:gd name="connsiteY1894" fmla="*/ 3725661 h 6858290"/>
              <a:gd name="connsiteX1895" fmla="*/ 4842646 w 12139750"/>
              <a:gd name="connsiteY1895" fmla="*/ 3718049 h 6858290"/>
              <a:gd name="connsiteX1896" fmla="*/ 4884773 w 12139750"/>
              <a:gd name="connsiteY1896" fmla="*/ 3749574 h 6858290"/>
              <a:gd name="connsiteX1897" fmla="*/ 4856151 w 12139750"/>
              <a:gd name="connsiteY1897" fmla="*/ 3810367 h 6858290"/>
              <a:gd name="connsiteX1898" fmla="*/ 4514670 w 12139750"/>
              <a:gd name="connsiteY1898" fmla="*/ 3933854 h 6858290"/>
              <a:gd name="connsiteX1899" fmla="*/ 4453622 w 12139750"/>
              <a:gd name="connsiteY1899" fmla="*/ 3905357 h 6858290"/>
              <a:gd name="connsiteX1900" fmla="*/ 4449806 w 12139750"/>
              <a:gd name="connsiteY1900" fmla="*/ 3890159 h 6858290"/>
              <a:gd name="connsiteX1901" fmla="*/ 4482239 w 12139750"/>
              <a:gd name="connsiteY1901" fmla="*/ 3844564 h 6858290"/>
              <a:gd name="connsiteX1902" fmla="*/ 4823715 w 12139750"/>
              <a:gd name="connsiteY1902" fmla="*/ 3721077 h 6858290"/>
              <a:gd name="connsiteX1903" fmla="*/ 4842646 w 12139750"/>
              <a:gd name="connsiteY1903" fmla="*/ 3718049 h 6858290"/>
              <a:gd name="connsiteX1904" fmla="*/ 1478619 w 12139750"/>
              <a:gd name="connsiteY1904" fmla="*/ 3718049 h 6858290"/>
              <a:gd name="connsiteX1905" fmla="*/ 1520856 w 12139750"/>
              <a:gd name="connsiteY1905" fmla="*/ 3749574 h 6858290"/>
              <a:gd name="connsiteX1906" fmla="*/ 1492342 w 12139750"/>
              <a:gd name="connsiteY1906" fmla="*/ 3810367 h 6858290"/>
              <a:gd name="connsiteX1907" fmla="*/ 1152074 w 12139750"/>
              <a:gd name="connsiteY1907" fmla="*/ 3933854 h 6858290"/>
              <a:gd name="connsiteX1908" fmla="*/ 1089343 w 12139750"/>
              <a:gd name="connsiteY1908" fmla="*/ 3905357 h 6858290"/>
              <a:gd name="connsiteX1909" fmla="*/ 1087442 w 12139750"/>
              <a:gd name="connsiteY1909" fmla="*/ 3890159 h 6858290"/>
              <a:gd name="connsiteX1910" fmla="*/ 1117857 w 12139750"/>
              <a:gd name="connsiteY1910" fmla="*/ 3844564 h 6858290"/>
              <a:gd name="connsiteX1911" fmla="*/ 1460026 w 12139750"/>
              <a:gd name="connsiteY1911" fmla="*/ 3721077 h 6858290"/>
              <a:gd name="connsiteX1912" fmla="*/ 1478619 w 12139750"/>
              <a:gd name="connsiteY1912" fmla="*/ 3718049 h 6858290"/>
              <a:gd name="connsiteX1913" fmla="*/ 2033482 w 12139750"/>
              <a:gd name="connsiteY1913" fmla="*/ 3710438 h 6858290"/>
              <a:gd name="connsiteX1914" fmla="*/ 2078351 w 12139750"/>
              <a:gd name="connsiteY1914" fmla="*/ 3745431 h 6858290"/>
              <a:gd name="connsiteX1915" fmla="*/ 2043960 w 12139750"/>
              <a:gd name="connsiteY1915" fmla="*/ 3810017 h 6858290"/>
              <a:gd name="connsiteX1916" fmla="*/ 1701997 w 12139750"/>
              <a:gd name="connsiteY1916" fmla="*/ 3916393 h 6858290"/>
              <a:gd name="connsiteX1917" fmla="*/ 1637043 w 12139750"/>
              <a:gd name="connsiteY1917" fmla="*/ 3884100 h 6858290"/>
              <a:gd name="connsiteX1918" fmla="*/ 1635133 w 12139750"/>
              <a:gd name="connsiteY1918" fmla="*/ 3868904 h 6858290"/>
              <a:gd name="connsiteX1919" fmla="*/ 1669520 w 12139750"/>
              <a:gd name="connsiteY1919" fmla="*/ 3819515 h 6858290"/>
              <a:gd name="connsiteX1920" fmla="*/ 2013393 w 12139750"/>
              <a:gd name="connsiteY1920" fmla="*/ 3713139 h 6858290"/>
              <a:gd name="connsiteX1921" fmla="*/ 2033482 w 12139750"/>
              <a:gd name="connsiteY1921" fmla="*/ 3710438 h 6858290"/>
              <a:gd name="connsiteX1922" fmla="*/ 4287765 w 12139750"/>
              <a:gd name="connsiteY1922" fmla="*/ 3710438 h 6858290"/>
              <a:gd name="connsiteX1923" fmla="*/ 4330719 w 12139750"/>
              <a:gd name="connsiteY1923" fmla="*/ 3745431 h 6858290"/>
              <a:gd name="connsiteX1924" fmla="*/ 4298265 w 12139750"/>
              <a:gd name="connsiteY1924" fmla="*/ 3810017 h 6858290"/>
              <a:gd name="connsiteX1925" fmla="*/ 3954657 w 12139750"/>
              <a:gd name="connsiteY1925" fmla="*/ 3916393 h 6858290"/>
              <a:gd name="connsiteX1926" fmla="*/ 3891656 w 12139750"/>
              <a:gd name="connsiteY1926" fmla="*/ 3884100 h 6858290"/>
              <a:gd name="connsiteX1927" fmla="*/ 3887840 w 12139750"/>
              <a:gd name="connsiteY1927" fmla="*/ 3868904 h 6858290"/>
              <a:gd name="connsiteX1928" fmla="*/ 3924112 w 12139750"/>
              <a:gd name="connsiteY1928" fmla="*/ 3819515 h 6858290"/>
              <a:gd name="connsiteX1929" fmla="*/ 4267719 w 12139750"/>
              <a:gd name="connsiteY1929" fmla="*/ 3713139 h 6858290"/>
              <a:gd name="connsiteX1930" fmla="*/ 4287765 w 12139750"/>
              <a:gd name="connsiteY1930" fmla="*/ 3710438 h 6858290"/>
              <a:gd name="connsiteX1931" fmla="*/ 3726989 w 12139750"/>
              <a:gd name="connsiteY1931" fmla="*/ 3702866 h 6858290"/>
              <a:gd name="connsiteX1932" fmla="*/ 3772266 w 12139750"/>
              <a:gd name="connsiteY1932" fmla="*/ 3743256 h 6858290"/>
              <a:gd name="connsiteX1933" fmla="*/ 3734163 w 12139750"/>
              <a:gd name="connsiteY1933" fmla="*/ 3807929 h 6858290"/>
              <a:gd name="connsiteX1934" fmla="*/ 3391274 w 12139750"/>
              <a:gd name="connsiteY1934" fmla="*/ 3899232 h 6858290"/>
              <a:gd name="connsiteX1935" fmla="*/ 3324595 w 12139750"/>
              <a:gd name="connsiteY1935" fmla="*/ 3861189 h 6858290"/>
              <a:gd name="connsiteX1936" fmla="*/ 3322691 w 12139750"/>
              <a:gd name="connsiteY1936" fmla="*/ 3847874 h 6858290"/>
              <a:gd name="connsiteX1937" fmla="*/ 3362695 w 12139750"/>
              <a:gd name="connsiteY1937" fmla="*/ 3796517 h 6858290"/>
              <a:gd name="connsiteX1938" fmla="*/ 3705588 w 12139750"/>
              <a:gd name="connsiteY1938" fmla="*/ 3705214 h 6858290"/>
              <a:gd name="connsiteX1939" fmla="*/ 3726989 w 12139750"/>
              <a:gd name="connsiteY1939" fmla="*/ 3702866 h 6858290"/>
              <a:gd name="connsiteX1940" fmla="*/ 2593304 w 12139750"/>
              <a:gd name="connsiteY1940" fmla="*/ 3702866 h 6858290"/>
              <a:gd name="connsiteX1941" fmla="*/ 2638736 w 12139750"/>
              <a:gd name="connsiteY1941" fmla="*/ 3743256 h 6858290"/>
              <a:gd name="connsiteX1942" fmla="*/ 2600503 w 12139750"/>
              <a:gd name="connsiteY1942" fmla="*/ 3807929 h 6858290"/>
              <a:gd name="connsiteX1943" fmla="*/ 2256408 w 12139750"/>
              <a:gd name="connsiteY1943" fmla="*/ 3899232 h 6858290"/>
              <a:gd name="connsiteX1944" fmla="*/ 2189501 w 12139750"/>
              <a:gd name="connsiteY1944" fmla="*/ 3861189 h 6858290"/>
              <a:gd name="connsiteX1945" fmla="*/ 2187590 w 12139750"/>
              <a:gd name="connsiteY1945" fmla="*/ 3847874 h 6858290"/>
              <a:gd name="connsiteX1946" fmla="*/ 2227734 w 12139750"/>
              <a:gd name="connsiteY1946" fmla="*/ 3796517 h 6858290"/>
              <a:gd name="connsiteX1947" fmla="*/ 2571828 w 12139750"/>
              <a:gd name="connsiteY1947" fmla="*/ 3705214 h 6858290"/>
              <a:gd name="connsiteX1948" fmla="*/ 2593304 w 12139750"/>
              <a:gd name="connsiteY1948" fmla="*/ 3702866 h 6858290"/>
              <a:gd name="connsiteX1949" fmla="*/ 3135575 w 12139750"/>
              <a:gd name="connsiteY1949" fmla="*/ 3696656 h 6858290"/>
              <a:gd name="connsiteX1950" fmla="*/ 3202342 w 12139750"/>
              <a:gd name="connsiteY1950" fmla="*/ 3740471 h 6858290"/>
              <a:gd name="connsiteX1951" fmla="*/ 3160373 w 12139750"/>
              <a:gd name="connsiteY1951" fmla="*/ 3809051 h 6858290"/>
              <a:gd name="connsiteX1952" fmla="*/ 2815092 w 12139750"/>
              <a:gd name="connsiteY1952" fmla="*/ 3883346 h 6858290"/>
              <a:gd name="connsiteX1953" fmla="*/ 2746418 w 12139750"/>
              <a:gd name="connsiteY1953" fmla="*/ 3841436 h 6858290"/>
              <a:gd name="connsiteX1954" fmla="*/ 2746418 w 12139750"/>
              <a:gd name="connsiteY1954" fmla="*/ 3828101 h 6858290"/>
              <a:gd name="connsiteX1955" fmla="*/ 2790295 w 12139750"/>
              <a:gd name="connsiteY1955" fmla="*/ 3772856 h 6858290"/>
              <a:gd name="connsiteX1956" fmla="*/ 3135575 w 12139750"/>
              <a:gd name="connsiteY1956" fmla="*/ 3696656 h 6858290"/>
              <a:gd name="connsiteX1957" fmla="*/ 9858878 w 12139750"/>
              <a:gd name="connsiteY1957" fmla="*/ 3457894 h 6858290"/>
              <a:gd name="connsiteX1958" fmla="*/ 9871499 w 12139750"/>
              <a:gd name="connsiteY1958" fmla="*/ 3465507 h 6858290"/>
              <a:gd name="connsiteX1959" fmla="*/ 9869594 w 12139750"/>
              <a:gd name="connsiteY1959" fmla="*/ 3492151 h 6858290"/>
              <a:gd name="connsiteX1960" fmla="*/ 9538119 w 12139750"/>
              <a:gd name="connsiteY1960" fmla="*/ 3773816 h 6858290"/>
              <a:gd name="connsiteX1961" fmla="*/ 9511449 w 12139750"/>
              <a:gd name="connsiteY1961" fmla="*/ 3771913 h 6858290"/>
              <a:gd name="connsiteX1962" fmla="*/ 9507639 w 12139750"/>
              <a:gd name="connsiteY1962" fmla="*/ 3760494 h 6858290"/>
              <a:gd name="connsiteX1963" fmla="*/ 9513354 w 12139750"/>
              <a:gd name="connsiteY1963" fmla="*/ 3745269 h 6858290"/>
              <a:gd name="connsiteX1964" fmla="*/ 9844829 w 12139750"/>
              <a:gd name="connsiteY1964" fmla="*/ 3461700 h 6858290"/>
              <a:gd name="connsiteX1965" fmla="*/ 9858878 w 12139750"/>
              <a:gd name="connsiteY1965" fmla="*/ 3457894 h 6858290"/>
              <a:gd name="connsiteX1966" fmla="*/ 10444338 w 12139750"/>
              <a:gd name="connsiteY1966" fmla="*/ 3451145 h 6858290"/>
              <a:gd name="connsiteX1967" fmla="*/ 10458876 w 12139750"/>
              <a:gd name="connsiteY1967" fmla="*/ 3459471 h 6858290"/>
              <a:gd name="connsiteX1968" fmla="*/ 10455062 w 12139750"/>
              <a:gd name="connsiteY1968" fmla="*/ 3489921 h 6858290"/>
              <a:gd name="connsiteX1969" fmla="*/ 10123310 w 12139750"/>
              <a:gd name="connsiteY1969" fmla="*/ 3756353 h 6858290"/>
              <a:gd name="connsiteX1970" fmla="*/ 10090897 w 12139750"/>
              <a:gd name="connsiteY1970" fmla="*/ 3752547 h 6858290"/>
              <a:gd name="connsiteX1971" fmla="*/ 10087084 w 12139750"/>
              <a:gd name="connsiteY1971" fmla="*/ 3737323 h 6858290"/>
              <a:gd name="connsiteX1972" fmla="*/ 10094710 w 12139750"/>
              <a:gd name="connsiteY1972" fmla="*/ 3720195 h 6858290"/>
              <a:gd name="connsiteX1973" fmla="*/ 10428370 w 12139750"/>
              <a:gd name="connsiteY1973" fmla="*/ 3455665 h 6858290"/>
              <a:gd name="connsiteX1974" fmla="*/ 10444338 w 12139750"/>
              <a:gd name="connsiteY1974" fmla="*/ 3451145 h 6858290"/>
              <a:gd name="connsiteX1975" fmla="*/ 9282925 w 12139750"/>
              <a:gd name="connsiteY1975" fmla="*/ 3451145 h 6858290"/>
              <a:gd name="connsiteX1976" fmla="*/ 9298403 w 12139750"/>
              <a:gd name="connsiteY1976" fmla="*/ 3459471 h 6858290"/>
              <a:gd name="connsiteX1977" fmla="*/ 9294593 w 12139750"/>
              <a:gd name="connsiteY1977" fmla="*/ 3489921 h 6858290"/>
              <a:gd name="connsiteX1978" fmla="*/ 8961213 w 12139750"/>
              <a:gd name="connsiteY1978" fmla="*/ 3756353 h 6858290"/>
              <a:gd name="connsiteX1979" fmla="*/ 8930733 w 12139750"/>
              <a:gd name="connsiteY1979" fmla="*/ 3752547 h 6858290"/>
              <a:gd name="connsiteX1980" fmla="*/ 8925018 w 12139750"/>
              <a:gd name="connsiteY1980" fmla="*/ 3737323 h 6858290"/>
              <a:gd name="connsiteX1981" fmla="*/ 8934543 w 12139750"/>
              <a:gd name="connsiteY1981" fmla="*/ 3720195 h 6858290"/>
              <a:gd name="connsiteX1982" fmla="*/ 9266017 w 12139750"/>
              <a:gd name="connsiteY1982" fmla="*/ 3455665 h 6858290"/>
              <a:gd name="connsiteX1983" fmla="*/ 9282925 w 12139750"/>
              <a:gd name="connsiteY1983" fmla="*/ 3451145 h 6858290"/>
              <a:gd name="connsiteX1984" fmla="*/ 8712667 w 12139750"/>
              <a:gd name="connsiteY1984" fmla="*/ 3443688 h 6858290"/>
              <a:gd name="connsiteX1985" fmla="*/ 8730065 w 12139750"/>
              <a:gd name="connsiteY1985" fmla="*/ 3453451 h 6858290"/>
              <a:gd name="connsiteX1986" fmla="*/ 8724345 w 12139750"/>
              <a:gd name="connsiteY1986" fmla="*/ 3489646 h 6858290"/>
              <a:gd name="connsiteX1987" fmla="*/ 8390693 w 12139750"/>
              <a:gd name="connsiteY1987" fmla="*/ 3737296 h 6858290"/>
              <a:gd name="connsiteX1988" fmla="*/ 8354468 w 12139750"/>
              <a:gd name="connsiteY1988" fmla="*/ 3731581 h 6858290"/>
              <a:gd name="connsiteX1989" fmla="*/ 8348748 w 12139750"/>
              <a:gd name="connsiteY1989" fmla="*/ 3716341 h 6858290"/>
              <a:gd name="connsiteX1990" fmla="*/ 8360188 w 12139750"/>
              <a:gd name="connsiteY1990" fmla="*/ 3695386 h 6858290"/>
              <a:gd name="connsiteX1991" fmla="*/ 8693840 w 12139750"/>
              <a:gd name="connsiteY1991" fmla="*/ 3449641 h 6858290"/>
              <a:gd name="connsiteX1992" fmla="*/ 8712667 w 12139750"/>
              <a:gd name="connsiteY1992" fmla="*/ 3443688 h 6858290"/>
              <a:gd name="connsiteX1993" fmla="*/ 11022273 w 12139750"/>
              <a:gd name="connsiteY1993" fmla="*/ 3443688 h 6858290"/>
              <a:gd name="connsiteX1994" fmla="*/ 11038002 w 12139750"/>
              <a:gd name="connsiteY1994" fmla="*/ 3453451 h 6858290"/>
              <a:gd name="connsiteX1995" fmla="*/ 11034189 w 12139750"/>
              <a:gd name="connsiteY1995" fmla="*/ 3489646 h 6858290"/>
              <a:gd name="connsiteX1996" fmla="*/ 10700537 w 12139750"/>
              <a:gd name="connsiteY1996" fmla="*/ 3737296 h 6858290"/>
              <a:gd name="connsiteX1997" fmla="*/ 10664312 w 12139750"/>
              <a:gd name="connsiteY1997" fmla="*/ 3731581 h 6858290"/>
              <a:gd name="connsiteX1998" fmla="*/ 10658592 w 12139750"/>
              <a:gd name="connsiteY1998" fmla="*/ 3716341 h 6858290"/>
              <a:gd name="connsiteX1999" fmla="*/ 10670032 w 12139750"/>
              <a:gd name="connsiteY1999" fmla="*/ 3695386 h 6858290"/>
              <a:gd name="connsiteX2000" fmla="*/ 11003684 w 12139750"/>
              <a:gd name="connsiteY2000" fmla="*/ 3449641 h 6858290"/>
              <a:gd name="connsiteX2001" fmla="*/ 11022273 w 12139750"/>
              <a:gd name="connsiteY2001" fmla="*/ 3443688 h 6858290"/>
              <a:gd name="connsiteX2002" fmla="*/ 11595028 w 12139750"/>
              <a:gd name="connsiteY2002" fmla="*/ 3438528 h 6858290"/>
              <a:gd name="connsiteX2003" fmla="*/ 11614586 w 12139750"/>
              <a:gd name="connsiteY2003" fmla="*/ 3450911 h 6858290"/>
              <a:gd name="connsiteX2004" fmla="*/ 11606953 w 12139750"/>
              <a:gd name="connsiteY2004" fmla="*/ 3490916 h 6858290"/>
              <a:gd name="connsiteX2005" fmla="*/ 11271132 w 12139750"/>
              <a:gd name="connsiteY2005" fmla="*/ 3719516 h 6858290"/>
              <a:gd name="connsiteX2006" fmla="*/ 11231062 w 12139750"/>
              <a:gd name="connsiteY2006" fmla="*/ 3711896 h 6858290"/>
              <a:gd name="connsiteX2007" fmla="*/ 11225338 w 12139750"/>
              <a:gd name="connsiteY2007" fmla="*/ 3696656 h 6858290"/>
              <a:gd name="connsiteX2008" fmla="*/ 11238695 w 12139750"/>
              <a:gd name="connsiteY2008" fmla="*/ 3671891 h 6858290"/>
              <a:gd name="connsiteX2009" fmla="*/ 11572608 w 12139750"/>
              <a:gd name="connsiteY2009" fmla="*/ 3443291 h 6858290"/>
              <a:gd name="connsiteX2010" fmla="*/ 11595028 w 12139750"/>
              <a:gd name="connsiteY2010" fmla="*/ 3438528 h 6858290"/>
              <a:gd name="connsiteX2011" fmla="*/ 8149264 w 12139750"/>
              <a:gd name="connsiteY2011" fmla="*/ 3438528 h 6858290"/>
              <a:gd name="connsiteX2012" fmla="*/ 8167794 w 12139750"/>
              <a:gd name="connsiteY2012" fmla="*/ 3450911 h 6858290"/>
              <a:gd name="connsiteX2013" fmla="*/ 8160192 w 12139750"/>
              <a:gd name="connsiteY2013" fmla="*/ 3490916 h 6858290"/>
              <a:gd name="connsiteX2014" fmla="*/ 7825713 w 12139750"/>
              <a:gd name="connsiteY2014" fmla="*/ 3719516 h 6858290"/>
              <a:gd name="connsiteX2015" fmla="*/ 7785804 w 12139750"/>
              <a:gd name="connsiteY2015" fmla="*/ 3711896 h 6858290"/>
              <a:gd name="connsiteX2016" fmla="*/ 7782003 w 12139750"/>
              <a:gd name="connsiteY2016" fmla="*/ 3696656 h 6858290"/>
              <a:gd name="connsiteX2017" fmla="*/ 7793405 w 12139750"/>
              <a:gd name="connsiteY2017" fmla="*/ 3671891 h 6858290"/>
              <a:gd name="connsiteX2018" fmla="*/ 8127884 w 12139750"/>
              <a:gd name="connsiteY2018" fmla="*/ 3443291 h 6858290"/>
              <a:gd name="connsiteX2019" fmla="*/ 8149264 w 12139750"/>
              <a:gd name="connsiteY2019" fmla="*/ 3438528 h 6858290"/>
              <a:gd name="connsiteX2020" fmla="*/ 12139750 w 12139750"/>
              <a:gd name="connsiteY2020" fmla="*/ 3433766 h 6858290"/>
              <a:gd name="connsiteX2021" fmla="*/ 12139750 w 12139750"/>
              <a:gd name="connsiteY2021" fmla="*/ 3509879 h 6858290"/>
              <a:gd name="connsiteX2022" fmla="*/ 11835219 w 12139750"/>
              <a:gd name="connsiteY2022" fmla="*/ 3702065 h 6858290"/>
              <a:gd name="connsiteX2023" fmla="*/ 11789540 w 12139750"/>
              <a:gd name="connsiteY2023" fmla="*/ 3690648 h 6858290"/>
              <a:gd name="connsiteX2024" fmla="*/ 11785733 w 12139750"/>
              <a:gd name="connsiteY2024" fmla="*/ 3673522 h 6858290"/>
              <a:gd name="connsiteX2025" fmla="*/ 11800960 w 12139750"/>
              <a:gd name="connsiteY2025" fmla="*/ 3646883 h 6858290"/>
              <a:gd name="connsiteX2026" fmla="*/ 12135943 w 12139750"/>
              <a:gd name="connsiteY2026" fmla="*/ 3435669 h 6858290"/>
              <a:gd name="connsiteX2027" fmla="*/ 12139750 w 12139750"/>
              <a:gd name="connsiteY2027" fmla="*/ 3433766 h 6858290"/>
              <a:gd name="connsiteX2028" fmla="*/ 7592961 w 12139750"/>
              <a:gd name="connsiteY2028" fmla="*/ 3431781 h 6858290"/>
              <a:gd name="connsiteX2029" fmla="*/ 7613711 w 12139750"/>
              <a:gd name="connsiteY2029" fmla="*/ 3446783 h 6858290"/>
              <a:gd name="connsiteX2030" fmla="*/ 7602263 w 12139750"/>
              <a:gd name="connsiteY2030" fmla="*/ 3490598 h 6858290"/>
              <a:gd name="connsiteX2031" fmla="*/ 7266453 w 12139750"/>
              <a:gd name="connsiteY2031" fmla="*/ 3702053 h 6858290"/>
              <a:gd name="connsiteX2032" fmla="*/ 7222569 w 12139750"/>
              <a:gd name="connsiteY2032" fmla="*/ 3690623 h 6858290"/>
              <a:gd name="connsiteX2033" fmla="*/ 7216845 w 12139750"/>
              <a:gd name="connsiteY2033" fmla="*/ 3673478 h 6858290"/>
              <a:gd name="connsiteX2034" fmla="*/ 7232109 w 12139750"/>
              <a:gd name="connsiteY2034" fmla="*/ 3646808 h 6858290"/>
              <a:gd name="connsiteX2035" fmla="*/ 7567918 w 12139750"/>
              <a:gd name="connsiteY2035" fmla="*/ 3435353 h 6858290"/>
              <a:gd name="connsiteX2036" fmla="*/ 7592961 w 12139750"/>
              <a:gd name="connsiteY2036" fmla="*/ 3431781 h 6858290"/>
              <a:gd name="connsiteX2037" fmla="*/ 7042583 w 12139750"/>
              <a:gd name="connsiteY2037" fmla="*/ 3425684 h 6858290"/>
              <a:gd name="connsiteX2038" fmla="*/ 7064457 w 12139750"/>
              <a:gd name="connsiteY2038" fmla="*/ 3442391 h 6858290"/>
              <a:gd name="connsiteX2039" fmla="*/ 7051143 w 12139750"/>
              <a:gd name="connsiteY2039" fmla="*/ 3490127 h 6858290"/>
              <a:gd name="connsiteX2040" fmla="*/ 6714471 w 12139750"/>
              <a:gd name="connsiteY2040" fmla="*/ 3682981 h 6858290"/>
              <a:gd name="connsiteX2041" fmla="*/ 6665016 w 12139750"/>
              <a:gd name="connsiteY2041" fmla="*/ 3669615 h 6858290"/>
              <a:gd name="connsiteX2042" fmla="*/ 6661212 w 12139750"/>
              <a:gd name="connsiteY2042" fmla="*/ 3652430 h 6858290"/>
              <a:gd name="connsiteX2043" fmla="*/ 6678331 w 12139750"/>
              <a:gd name="connsiteY2043" fmla="*/ 3619969 h 6858290"/>
              <a:gd name="connsiteX2044" fmla="*/ 7015003 w 12139750"/>
              <a:gd name="connsiteY2044" fmla="*/ 3429025 h 6858290"/>
              <a:gd name="connsiteX2045" fmla="*/ 7042583 w 12139750"/>
              <a:gd name="connsiteY2045" fmla="*/ 3425684 h 6858290"/>
              <a:gd name="connsiteX2046" fmla="*/ 6499335 w 12139750"/>
              <a:gd name="connsiteY2046" fmla="*/ 3418940 h 6858290"/>
              <a:gd name="connsiteX2047" fmla="*/ 6523112 w 12139750"/>
              <a:gd name="connsiteY2047" fmla="*/ 3438274 h 6858290"/>
              <a:gd name="connsiteX2048" fmla="*/ 6505992 w 12139750"/>
              <a:gd name="connsiteY2048" fmla="*/ 3491743 h 6858290"/>
              <a:gd name="connsiteX2049" fmla="*/ 6167407 w 12139750"/>
              <a:gd name="connsiteY2049" fmla="*/ 3663607 h 6858290"/>
              <a:gd name="connsiteX2050" fmla="*/ 6116048 w 12139750"/>
              <a:gd name="connsiteY2050" fmla="*/ 3648330 h 6858290"/>
              <a:gd name="connsiteX2051" fmla="*/ 6110342 w 12139750"/>
              <a:gd name="connsiteY2051" fmla="*/ 3629234 h 6858290"/>
              <a:gd name="connsiteX2052" fmla="*/ 6131266 w 12139750"/>
              <a:gd name="connsiteY2052" fmla="*/ 3594862 h 6858290"/>
              <a:gd name="connsiteX2053" fmla="*/ 6469851 w 12139750"/>
              <a:gd name="connsiteY2053" fmla="*/ 3421090 h 6858290"/>
              <a:gd name="connsiteX2054" fmla="*/ 6499335 w 12139750"/>
              <a:gd name="connsiteY2054" fmla="*/ 3418940 h 6858290"/>
              <a:gd name="connsiteX2055" fmla="*/ 5958954 w 12139750"/>
              <a:gd name="connsiteY2055" fmla="*/ 3413743 h 6858290"/>
              <a:gd name="connsiteX2056" fmla="*/ 5983314 w 12139750"/>
              <a:gd name="connsiteY2056" fmla="*/ 3435593 h 6858290"/>
              <a:gd name="connsiteX2057" fmla="*/ 5962297 w 12139750"/>
              <a:gd name="connsiteY2057" fmla="*/ 3492599 h 6858290"/>
              <a:gd name="connsiteX2058" fmla="*/ 5622211 w 12139750"/>
              <a:gd name="connsiteY2058" fmla="*/ 3646514 h 6858290"/>
              <a:gd name="connsiteX2059" fmla="*/ 5564892 w 12139750"/>
              <a:gd name="connsiteY2059" fmla="*/ 3625612 h 6858290"/>
              <a:gd name="connsiteX2060" fmla="*/ 5561071 w 12139750"/>
              <a:gd name="connsiteY2060" fmla="*/ 3608510 h 6858290"/>
              <a:gd name="connsiteX2061" fmla="*/ 5585909 w 12139750"/>
              <a:gd name="connsiteY2061" fmla="*/ 3568606 h 6858290"/>
              <a:gd name="connsiteX2062" fmla="*/ 5925996 w 12139750"/>
              <a:gd name="connsiteY2062" fmla="*/ 3414692 h 6858290"/>
              <a:gd name="connsiteX2063" fmla="*/ 5958954 w 12139750"/>
              <a:gd name="connsiteY2063" fmla="*/ 3413743 h 6858290"/>
              <a:gd name="connsiteX2064" fmla="*/ 398651 w 12139750"/>
              <a:gd name="connsiteY2064" fmla="*/ 3413741 h 6858290"/>
              <a:gd name="connsiteX2065" fmla="*/ 421971 w 12139750"/>
              <a:gd name="connsiteY2065" fmla="*/ 3435593 h 6858290"/>
              <a:gd name="connsiteX2066" fmla="*/ 401031 w 12139750"/>
              <a:gd name="connsiteY2066" fmla="*/ 3492599 h 6858290"/>
              <a:gd name="connsiteX2067" fmla="*/ 62187 w 12139750"/>
              <a:gd name="connsiteY2067" fmla="*/ 3646514 h 6858290"/>
              <a:gd name="connsiteX2068" fmla="*/ 6983 w 12139750"/>
              <a:gd name="connsiteY2068" fmla="*/ 3625612 h 6858290"/>
              <a:gd name="connsiteX2069" fmla="*/ 3175 w 12139750"/>
              <a:gd name="connsiteY2069" fmla="*/ 3608510 h 6858290"/>
              <a:gd name="connsiteX2070" fmla="*/ 27922 w 12139750"/>
              <a:gd name="connsiteY2070" fmla="*/ 3568606 h 6858290"/>
              <a:gd name="connsiteX2071" fmla="*/ 366766 w 12139750"/>
              <a:gd name="connsiteY2071" fmla="*/ 3414692 h 6858290"/>
              <a:gd name="connsiteX2072" fmla="*/ 398651 w 12139750"/>
              <a:gd name="connsiteY2072" fmla="*/ 3413741 h 6858290"/>
              <a:gd name="connsiteX2073" fmla="*/ 5394959 w 12139750"/>
              <a:gd name="connsiteY2073" fmla="*/ 3403430 h 6858290"/>
              <a:gd name="connsiteX2074" fmla="*/ 5437255 w 12139750"/>
              <a:gd name="connsiteY2074" fmla="*/ 3433353 h 6858290"/>
              <a:gd name="connsiteX2075" fmla="*/ 5410604 w 12139750"/>
              <a:gd name="connsiteY2075" fmla="*/ 3492253 h 6858290"/>
              <a:gd name="connsiteX2076" fmla="*/ 5069849 w 12139750"/>
              <a:gd name="connsiteY2076" fmla="*/ 3629053 h 6858290"/>
              <a:gd name="connsiteX2077" fmla="*/ 5010842 w 12139750"/>
              <a:gd name="connsiteY2077" fmla="*/ 3602453 h 6858290"/>
              <a:gd name="connsiteX2078" fmla="*/ 5007035 w 12139750"/>
              <a:gd name="connsiteY2078" fmla="*/ 3585353 h 6858290"/>
              <a:gd name="connsiteX2079" fmla="*/ 5037491 w 12139750"/>
              <a:gd name="connsiteY2079" fmla="*/ 3543553 h 6858290"/>
              <a:gd name="connsiteX2080" fmla="*/ 5376340 w 12139750"/>
              <a:gd name="connsiteY2080" fmla="*/ 3406755 h 6858290"/>
              <a:gd name="connsiteX2081" fmla="*/ 5394959 w 12139750"/>
              <a:gd name="connsiteY2081" fmla="*/ 3403430 h 6858290"/>
              <a:gd name="connsiteX2082" fmla="*/ 928445 w 12139750"/>
              <a:gd name="connsiteY2082" fmla="*/ 3403428 h 6858290"/>
              <a:gd name="connsiteX2083" fmla="*/ 969969 w 12139750"/>
              <a:gd name="connsiteY2083" fmla="*/ 3433353 h 6858290"/>
              <a:gd name="connsiteX2084" fmla="*/ 945204 w 12139750"/>
              <a:gd name="connsiteY2084" fmla="*/ 3492253 h 6858290"/>
              <a:gd name="connsiteX2085" fmla="*/ 604205 w 12139750"/>
              <a:gd name="connsiteY2085" fmla="*/ 3629053 h 6858290"/>
              <a:gd name="connsiteX2086" fmla="*/ 543244 w 12139750"/>
              <a:gd name="connsiteY2086" fmla="*/ 3602453 h 6858290"/>
              <a:gd name="connsiteX2087" fmla="*/ 541339 w 12139750"/>
              <a:gd name="connsiteY2087" fmla="*/ 3585353 h 6858290"/>
              <a:gd name="connsiteX2088" fmla="*/ 569914 w 12139750"/>
              <a:gd name="connsiteY2088" fmla="*/ 3543553 h 6858290"/>
              <a:gd name="connsiteX2089" fmla="*/ 910913 w 12139750"/>
              <a:gd name="connsiteY2089" fmla="*/ 3406753 h 6858290"/>
              <a:gd name="connsiteX2090" fmla="*/ 928445 w 12139750"/>
              <a:gd name="connsiteY2090" fmla="*/ 3403428 h 6858290"/>
              <a:gd name="connsiteX2091" fmla="*/ 4843466 w 12139750"/>
              <a:gd name="connsiteY2091" fmla="*/ 3396591 h 6858290"/>
              <a:gd name="connsiteX2092" fmla="*/ 4886368 w 12139750"/>
              <a:gd name="connsiteY2092" fmla="*/ 3429004 h 6858290"/>
              <a:gd name="connsiteX2093" fmla="*/ 4855860 w 12139750"/>
              <a:gd name="connsiteY2093" fmla="*/ 3491868 h 6858290"/>
              <a:gd name="connsiteX2094" fmla="*/ 4514625 w 12139750"/>
              <a:gd name="connsiteY2094" fmla="*/ 3609978 h 6858290"/>
              <a:gd name="connsiteX2095" fmla="*/ 4451713 w 12139750"/>
              <a:gd name="connsiteY2095" fmla="*/ 3579498 h 6858290"/>
              <a:gd name="connsiteX2096" fmla="*/ 4449806 w 12139750"/>
              <a:gd name="connsiteY2096" fmla="*/ 3564258 h 6858290"/>
              <a:gd name="connsiteX2097" fmla="*/ 4482216 w 12139750"/>
              <a:gd name="connsiteY2097" fmla="*/ 3518538 h 6858290"/>
              <a:gd name="connsiteX2098" fmla="*/ 4823448 w 12139750"/>
              <a:gd name="connsiteY2098" fmla="*/ 3398526 h 6858290"/>
              <a:gd name="connsiteX2099" fmla="*/ 4843466 w 12139750"/>
              <a:gd name="connsiteY2099" fmla="*/ 3396591 h 6858290"/>
              <a:gd name="connsiteX2100" fmla="*/ 1478769 w 12139750"/>
              <a:gd name="connsiteY2100" fmla="*/ 3396589 h 6858290"/>
              <a:gd name="connsiteX2101" fmla="*/ 1522735 w 12139750"/>
              <a:gd name="connsiteY2101" fmla="*/ 3429004 h 6858290"/>
              <a:gd name="connsiteX2102" fmla="*/ 1492233 w 12139750"/>
              <a:gd name="connsiteY2102" fmla="*/ 3491868 h 6858290"/>
              <a:gd name="connsiteX2103" fmla="*/ 1149084 w 12139750"/>
              <a:gd name="connsiteY2103" fmla="*/ 3609978 h 6858290"/>
              <a:gd name="connsiteX2104" fmla="*/ 1088080 w 12139750"/>
              <a:gd name="connsiteY2104" fmla="*/ 3579498 h 6858290"/>
              <a:gd name="connsiteX2105" fmla="*/ 1084267 w 12139750"/>
              <a:gd name="connsiteY2105" fmla="*/ 3564258 h 6858290"/>
              <a:gd name="connsiteX2106" fmla="*/ 1116676 w 12139750"/>
              <a:gd name="connsiteY2106" fmla="*/ 3518538 h 6858290"/>
              <a:gd name="connsiteX2107" fmla="*/ 1459824 w 12139750"/>
              <a:gd name="connsiteY2107" fmla="*/ 3398524 h 6858290"/>
              <a:gd name="connsiteX2108" fmla="*/ 1478769 w 12139750"/>
              <a:gd name="connsiteY2108" fmla="*/ 3396589 h 6858290"/>
              <a:gd name="connsiteX2109" fmla="*/ 4288621 w 12139750"/>
              <a:gd name="connsiteY2109" fmla="*/ 3390094 h 6858290"/>
              <a:gd name="connsiteX2110" fmla="*/ 4332319 w 12139750"/>
              <a:gd name="connsiteY2110" fmla="*/ 3426845 h 6858290"/>
              <a:gd name="connsiteX2111" fmla="*/ 4298005 w 12139750"/>
              <a:gd name="connsiteY2111" fmla="*/ 3491709 h 6858290"/>
              <a:gd name="connsiteX2112" fmla="*/ 3954880 w 12139750"/>
              <a:gd name="connsiteY2112" fmla="*/ 3592822 h 6858290"/>
              <a:gd name="connsiteX2113" fmla="*/ 3888158 w 12139750"/>
              <a:gd name="connsiteY2113" fmla="*/ 3556574 h 6858290"/>
              <a:gd name="connsiteX2114" fmla="*/ 3886250 w 12139750"/>
              <a:gd name="connsiteY2114" fmla="*/ 3541311 h 6858290"/>
              <a:gd name="connsiteX2115" fmla="*/ 3924377 w 12139750"/>
              <a:gd name="connsiteY2115" fmla="*/ 3491709 h 6858290"/>
              <a:gd name="connsiteX2116" fmla="*/ 4267501 w 12139750"/>
              <a:gd name="connsiteY2116" fmla="*/ 3392508 h 6858290"/>
              <a:gd name="connsiteX2117" fmla="*/ 4288621 w 12139750"/>
              <a:gd name="connsiteY2117" fmla="*/ 3390094 h 6858290"/>
              <a:gd name="connsiteX2118" fmla="*/ 2035412 w 12139750"/>
              <a:gd name="connsiteY2118" fmla="*/ 3390091 h 6858290"/>
              <a:gd name="connsiteX2119" fmla="*/ 2079949 w 12139750"/>
              <a:gd name="connsiteY2119" fmla="*/ 3426845 h 6858290"/>
              <a:gd name="connsiteX2120" fmla="*/ 2043698 w 12139750"/>
              <a:gd name="connsiteY2120" fmla="*/ 3491709 h 6858290"/>
              <a:gd name="connsiteX2121" fmla="*/ 1700314 w 12139750"/>
              <a:gd name="connsiteY2121" fmla="*/ 3592822 h 6858290"/>
              <a:gd name="connsiteX2122" fmla="*/ 1635452 w 12139750"/>
              <a:gd name="connsiteY2122" fmla="*/ 3556574 h 6858290"/>
              <a:gd name="connsiteX2123" fmla="*/ 1633545 w 12139750"/>
              <a:gd name="connsiteY2123" fmla="*/ 3541311 h 6858290"/>
              <a:gd name="connsiteX2124" fmla="*/ 1671698 w 12139750"/>
              <a:gd name="connsiteY2124" fmla="*/ 3491709 h 6858290"/>
              <a:gd name="connsiteX2125" fmla="*/ 2015083 w 12139750"/>
              <a:gd name="connsiteY2125" fmla="*/ 3392506 h 6858290"/>
              <a:gd name="connsiteX2126" fmla="*/ 2035412 w 12139750"/>
              <a:gd name="connsiteY2126" fmla="*/ 3390091 h 6858290"/>
              <a:gd name="connsiteX2127" fmla="*/ 3729541 w 12139750"/>
              <a:gd name="connsiteY2127" fmla="*/ 3384855 h 6858290"/>
              <a:gd name="connsiteX2128" fmla="*/ 3773836 w 12139750"/>
              <a:gd name="connsiteY2128" fmla="*/ 3427580 h 6858290"/>
              <a:gd name="connsiteX2129" fmla="*/ 3733748 w 12139750"/>
              <a:gd name="connsiteY2129" fmla="*/ 3494046 h 6858290"/>
              <a:gd name="connsiteX2130" fmla="*/ 3388242 w 12139750"/>
              <a:gd name="connsiteY2130" fmla="*/ 3575706 h 6858290"/>
              <a:gd name="connsiteX2131" fmla="*/ 3321424 w 12139750"/>
              <a:gd name="connsiteY2131" fmla="*/ 3533926 h 6858290"/>
              <a:gd name="connsiteX2132" fmla="*/ 3319515 w 12139750"/>
              <a:gd name="connsiteY2132" fmla="*/ 3520633 h 6858290"/>
              <a:gd name="connsiteX2133" fmla="*/ 3361512 w 12139750"/>
              <a:gd name="connsiteY2133" fmla="*/ 3465560 h 6858290"/>
              <a:gd name="connsiteX2134" fmla="*/ 3707021 w 12139750"/>
              <a:gd name="connsiteY2134" fmla="*/ 3385804 h 6858290"/>
              <a:gd name="connsiteX2135" fmla="*/ 3729541 w 12139750"/>
              <a:gd name="connsiteY2135" fmla="*/ 3384855 h 6858290"/>
              <a:gd name="connsiteX2136" fmla="*/ 2596040 w 12139750"/>
              <a:gd name="connsiteY2136" fmla="*/ 3384850 h 6858290"/>
              <a:gd name="connsiteX2137" fmla="*/ 2640334 w 12139750"/>
              <a:gd name="connsiteY2137" fmla="*/ 3427579 h 6858290"/>
              <a:gd name="connsiteX2138" fmla="*/ 2598338 w 12139750"/>
              <a:gd name="connsiteY2138" fmla="*/ 3494046 h 6858290"/>
              <a:gd name="connsiteX2139" fmla="*/ 2254725 w 12139750"/>
              <a:gd name="connsiteY2139" fmla="*/ 3575706 h 6858290"/>
              <a:gd name="connsiteX2140" fmla="*/ 2187911 w 12139750"/>
              <a:gd name="connsiteY2140" fmla="*/ 3533926 h 6858290"/>
              <a:gd name="connsiteX2141" fmla="*/ 2186002 w 12139750"/>
              <a:gd name="connsiteY2141" fmla="*/ 3520633 h 6858290"/>
              <a:gd name="connsiteX2142" fmla="*/ 2227999 w 12139750"/>
              <a:gd name="connsiteY2142" fmla="*/ 3465560 h 6858290"/>
              <a:gd name="connsiteX2143" fmla="*/ 2573520 w 12139750"/>
              <a:gd name="connsiteY2143" fmla="*/ 3385799 h 6858290"/>
              <a:gd name="connsiteX2144" fmla="*/ 2596040 w 12139750"/>
              <a:gd name="connsiteY2144" fmla="*/ 3384850 h 6858290"/>
              <a:gd name="connsiteX2145" fmla="*/ 3137316 w 12139750"/>
              <a:gd name="connsiteY2145" fmla="*/ 3377575 h 6858290"/>
              <a:gd name="connsiteX2146" fmla="*/ 3205849 w 12139750"/>
              <a:gd name="connsiteY2146" fmla="*/ 3425194 h 6858290"/>
              <a:gd name="connsiteX2147" fmla="*/ 3158257 w 12139750"/>
              <a:gd name="connsiteY2147" fmla="*/ 3493773 h 6858290"/>
              <a:gd name="connsiteX2148" fmla="*/ 2813680 w 12139750"/>
              <a:gd name="connsiteY2148" fmla="*/ 3556638 h 6858290"/>
              <a:gd name="connsiteX2149" fmla="*/ 2745145 w 12139750"/>
              <a:gd name="connsiteY2149" fmla="*/ 3509013 h 6858290"/>
              <a:gd name="connsiteX2150" fmla="*/ 2743240 w 12139750"/>
              <a:gd name="connsiteY2150" fmla="*/ 3497583 h 6858290"/>
              <a:gd name="connsiteX2151" fmla="*/ 2792741 w 12139750"/>
              <a:gd name="connsiteY2151" fmla="*/ 3440433 h 6858290"/>
              <a:gd name="connsiteX2152" fmla="*/ 3137316 w 12139750"/>
              <a:gd name="connsiteY2152" fmla="*/ 3377575 h 6858290"/>
              <a:gd name="connsiteX2153" fmla="*/ 9858814 w 12139750"/>
              <a:gd name="connsiteY2153" fmla="*/ 3131368 h 6858290"/>
              <a:gd name="connsiteX2154" fmla="*/ 9870234 w 12139750"/>
              <a:gd name="connsiteY2154" fmla="*/ 3136605 h 6858290"/>
              <a:gd name="connsiteX2155" fmla="*/ 9868331 w 12139750"/>
              <a:gd name="connsiteY2155" fmla="*/ 3159443 h 6858290"/>
              <a:gd name="connsiteX2156" fmla="*/ 9539049 w 12139750"/>
              <a:gd name="connsiteY2156" fmla="*/ 3458218 h 6858290"/>
              <a:gd name="connsiteX2157" fmla="*/ 9516209 w 12139750"/>
              <a:gd name="connsiteY2157" fmla="*/ 3456315 h 6858290"/>
              <a:gd name="connsiteX2158" fmla="*/ 9512402 w 12139750"/>
              <a:gd name="connsiteY2158" fmla="*/ 3444896 h 6858290"/>
              <a:gd name="connsiteX2159" fmla="*/ 9516209 w 12139750"/>
              <a:gd name="connsiteY2159" fmla="*/ 3433477 h 6858290"/>
              <a:gd name="connsiteX2160" fmla="*/ 9847394 w 12139750"/>
              <a:gd name="connsiteY2160" fmla="*/ 3134702 h 6858290"/>
              <a:gd name="connsiteX2161" fmla="*/ 9858814 w 12139750"/>
              <a:gd name="connsiteY2161" fmla="*/ 3131368 h 6858290"/>
              <a:gd name="connsiteX2162" fmla="*/ 9282539 w 12139750"/>
              <a:gd name="connsiteY2162" fmla="*/ 3124787 h 6858290"/>
              <a:gd name="connsiteX2163" fmla="*/ 9295203 w 12139750"/>
              <a:gd name="connsiteY2163" fmla="*/ 3132178 h 6858290"/>
              <a:gd name="connsiteX2164" fmla="*/ 9293291 w 12139750"/>
              <a:gd name="connsiteY2164" fmla="*/ 3160778 h 6858290"/>
              <a:gd name="connsiteX2165" fmla="*/ 8960690 w 12139750"/>
              <a:gd name="connsiteY2165" fmla="*/ 3437250 h 6858290"/>
              <a:gd name="connsiteX2166" fmla="*/ 8932017 w 12139750"/>
              <a:gd name="connsiteY2166" fmla="*/ 3435343 h 6858290"/>
              <a:gd name="connsiteX2167" fmla="*/ 8928194 w 12139750"/>
              <a:gd name="connsiteY2167" fmla="*/ 3421997 h 6858290"/>
              <a:gd name="connsiteX2168" fmla="*/ 8935840 w 12139750"/>
              <a:gd name="connsiteY2168" fmla="*/ 3406743 h 6858290"/>
              <a:gd name="connsiteX2169" fmla="*/ 9268442 w 12139750"/>
              <a:gd name="connsiteY2169" fmla="*/ 3130267 h 6858290"/>
              <a:gd name="connsiteX2170" fmla="*/ 9282539 w 12139750"/>
              <a:gd name="connsiteY2170" fmla="*/ 3124787 h 6858290"/>
              <a:gd name="connsiteX2171" fmla="*/ 10443256 w 12139750"/>
              <a:gd name="connsiteY2171" fmla="*/ 3124763 h 6858290"/>
              <a:gd name="connsiteX2172" fmla="*/ 10457592 w 12139750"/>
              <a:gd name="connsiteY2172" fmla="*/ 3132152 h 6858290"/>
              <a:gd name="connsiteX2173" fmla="*/ 10453769 w 12139750"/>
              <a:gd name="connsiteY2173" fmla="*/ 3160755 h 6858290"/>
              <a:gd name="connsiteX2174" fmla="*/ 10121168 w 12139750"/>
              <a:gd name="connsiteY2174" fmla="*/ 3437250 h 6858290"/>
              <a:gd name="connsiteX2175" fmla="*/ 10094407 w 12139750"/>
              <a:gd name="connsiteY2175" fmla="*/ 3435343 h 6858290"/>
              <a:gd name="connsiteX2176" fmla="*/ 10088672 w 12139750"/>
              <a:gd name="connsiteY2176" fmla="*/ 3421995 h 6858290"/>
              <a:gd name="connsiteX2177" fmla="*/ 10096318 w 12139750"/>
              <a:gd name="connsiteY2177" fmla="*/ 3406741 h 6858290"/>
              <a:gd name="connsiteX2178" fmla="*/ 10428920 w 12139750"/>
              <a:gd name="connsiteY2178" fmla="*/ 3130246 h 6858290"/>
              <a:gd name="connsiteX2179" fmla="*/ 10443256 w 12139750"/>
              <a:gd name="connsiteY2179" fmla="*/ 3124763 h 6858290"/>
              <a:gd name="connsiteX2180" fmla="*/ 8711378 w 12139750"/>
              <a:gd name="connsiteY2180" fmla="*/ 3118284 h 6858290"/>
              <a:gd name="connsiteX2181" fmla="*/ 8728495 w 12139750"/>
              <a:gd name="connsiteY2181" fmla="*/ 3128067 h 6858290"/>
              <a:gd name="connsiteX2182" fmla="*/ 8722790 w 12139750"/>
              <a:gd name="connsiteY2182" fmla="*/ 3160517 h 6858290"/>
              <a:gd name="connsiteX2183" fmla="*/ 8391863 w 12139750"/>
              <a:gd name="connsiteY2183" fmla="*/ 3418193 h 6858290"/>
              <a:gd name="connsiteX2184" fmla="*/ 8357629 w 12139750"/>
              <a:gd name="connsiteY2184" fmla="*/ 3414376 h 6858290"/>
              <a:gd name="connsiteX2185" fmla="*/ 8351923 w 12139750"/>
              <a:gd name="connsiteY2185" fmla="*/ 3399106 h 6858290"/>
              <a:gd name="connsiteX2186" fmla="*/ 8361432 w 12139750"/>
              <a:gd name="connsiteY2186" fmla="*/ 3380018 h 6858290"/>
              <a:gd name="connsiteX2187" fmla="*/ 8694262 w 12139750"/>
              <a:gd name="connsiteY2187" fmla="*/ 3124249 h 6858290"/>
              <a:gd name="connsiteX2188" fmla="*/ 8711378 w 12139750"/>
              <a:gd name="connsiteY2188" fmla="*/ 3118284 h 6858290"/>
              <a:gd name="connsiteX2189" fmla="*/ 11020985 w 12139750"/>
              <a:gd name="connsiteY2189" fmla="*/ 3118259 h 6858290"/>
              <a:gd name="connsiteX2190" fmla="*/ 11036438 w 12139750"/>
              <a:gd name="connsiteY2190" fmla="*/ 3128041 h 6858290"/>
              <a:gd name="connsiteX2191" fmla="*/ 11032634 w 12139750"/>
              <a:gd name="connsiteY2191" fmla="*/ 3160492 h 6858290"/>
              <a:gd name="connsiteX2192" fmla="*/ 10699805 w 12139750"/>
              <a:gd name="connsiteY2192" fmla="*/ 3418193 h 6858290"/>
              <a:gd name="connsiteX2193" fmla="*/ 10667473 w 12139750"/>
              <a:gd name="connsiteY2193" fmla="*/ 3414376 h 6858290"/>
              <a:gd name="connsiteX2194" fmla="*/ 10661767 w 12139750"/>
              <a:gd name="connsiteY2194" fmla="*/ 3399103 h 6858290"/>
              <a:gd name="connsiteX2195" fmla="*/ 10671276 w 12139750"/>
              <a:gd name="connsiteY2195" fmla="*/ 3380016 h 6858290"/>
              <a:gd name="connsiteX2196" fmla="*/ 11004106 w 12139750"/>
              <a:gd name="connsiteY2196" fmla="*/ 3124224 h 6858290"/>
              <a:gd name="connsiteX2197" fmla="*/ 11020985 w 12139750"/>
              <a:gd name="connsiteY2197" fmla="*/ 3118259 h 6858290"/>
              <a:gd name="connsiteX2198" fmla="*/ 8147892 w 12139750"/>
              <a:gd name="connsiteY2198" fmla="*/ 3113506 h 6858290"/>
              <a:gd name="connsiteX2199" fmla="*/ 8166198 w 12139750"/>
              <a:gd name="connsiteY2199" fmla="*/ 3125150 h 6858290"/>
              <a:gd name="connsiteX2200" fmla="*/ 8160492 w 12139750"/>
              <a:gd name="connsiteY2200" fmla="*/ 3163167 h 6858290"/>
              <a:gd name="connsiteX2201" fmla="*/ 7825748 w 12139750"/>
              <a:gd name="connsiteY2201" fmla="*/ 3398864 h 6858290"/>
              <a:gd name="connsiteX2202" fmla="*/ 7787709 w 12139750"/>
              <a:gd name="connsiteY2202" fmla="*/ 3393162 h 6858290"/>
              <a:gd name="connsiteX2203" fmla="*/ 7782003 w 12139750"/>
              <a:gd name="connsiteY2203" fmla="*/ 3376054 h 6858290"/>
              <a:gd name="connsiteX2204" fmla="*/ 7795316 w 12139750"/>
              <a:gd name="connsiteY2204" fmla="*/ 3353251 h 6858290"/>
              <a:gd name="connsiteX2205" fmla="*/ 8128159 w 12139750"/>
              <a:gd name="connsiteY2205" fmla="*/ 3117545 h 6858290"/>
              <a:gd name="connsiteX2206" fmla="*/ 8147892 w 12139750"/>
              <a:gd name="connsiteY2206" fmla="*/ 3113506 h 6858290"/>
              <a:gd name="connsiteX2207" fmla="*/ 11592870 w 12139750"/>
              <a:gd name="connsiteY2207" fmla="*/ 3113497 h 6858290"/>
              <a:gd name="connsiteX2208" fmla="*/ 11611429 w 12139750"/>
              <a:gd name="connsiteY2208" fmla="*/ 3125143 h 6858290"/>
              <a:gd name="connsiteX2209" fmla="*/ 11603815 w 12139750"/>
              <a:gd name="connsiteY2209" fmla="*/ 3163160 h 6858290"/>
              <a:gd name="connsiteX2210" fmla="*/ 11270705 w 12139750"/>
              <a:gd name="connsiteY2210" fmla="*/ 3398861 h 6858290"/>
              <a:gd name="connsiteX2211" fmla="*/ 11232635 w 12139750"/>
              <a:gd name="connsiteY2211" fmla="*/ 3393157 h 6858290"/>
              <a:gd name="connsiteX2212" fmla="*/ 11226925 w 12139750"/>
              <a:gd name="connsiteY2212" fmla="*/ 3376052 h 6858290"/>
              <a:gd name="connsiteX2213" fmla="*/ 11238346 w 12139750"/>
              <a:gd name="connsiteY2213" fmla="*/ 3353249 h 6858290"/>
              <a:gd name="connsiteX2214" fmla="*/ 11571456 w 12139750"/>
              <a:gd name="connsiteY2214" fmla="*/ 3117537 h 6858290"/>
              <a:gd name="connsiteX2215" fmla="*/ 11592870 w 12139750"/>
              <a:gd name="connsiteY2215" fmla="*/ 3113497 h 6858290"/>
              <a:gd name="connsiteX2216" fmla="*/ 12139750 w 12139750"/>
              <a:gd name="connsiteY2216" fmla="*/ 3109931 h 6858290"/>
              <a:gd name="connsiteX2217" fmla="*/ 12139750 w 12139750"/>
              <a:gd name="connsiteY2217" fmla="*/ 3184058 h 6858290"/>
              <a:gd name="connsiteX2218" fmla="*/ 11835219 w 12139750"/>
              <a:gd name="connsiteY2218" fmla="*/ 3379813 h 6858290"/>
              <a:gd name="connsiteX2219" fmla="*/ 11791443 w 12139750"/>
              <a:gd name="connsiteY2219" fmla="*/ 3370310 h 6858290"/>
              <a:gd name="connsiteX2220" fmla="*/ 11785733 w 12139750"/>
              <a:gd name="connsiteY2220" fmla="*/ 3353211 h 6858290"/>
              <a:gd name="connsiteX2221" fmla="*/ 11800960 w 12139750"/>
              <a:gd name="connsiteY2221" fmla="*/ 3326605 h 6858290"/>
              <a:gd name="connsiteX2222" fmla="*/ 12135943 w 12139750"/>
              <a:gd name="connsiteY2222" fmla="*/ 3111832 h 6858290"/>
              <a:gd name="connsiteX2223" fmla="*/ 12139750 w 12139750"/>
              <a:gd name="connsiteY2223" fmla="*/ 3109931 h 6858290"/>
              <a:gd name="connsiteX2224" fmla="*/ 7592396 w 12139750"/>
              <a:gd name="connsiteY2224" fmla="*/ 3107000 h 6858290"/>
              <a:gd name="connsiteX2225" fmla="*/ 7612145 w 12139750"/>
              <a:gd name="connsiteY2225" fmla="*/ 3121034 h 6858290"/>
              <a:gd name="connsiteX2226" fmla="*/ 7602628 w 12139750"/>
              <a:gd name="connsiteY2226" fmla="*/ 3164800 h 6858290"/>
              <a:gd name="connsiteX2227" fmla="*/ 7267608 w 12139750"/>
              <a:gd name="connsiteY2227" fmla="*/ 3379811 h 6858290"/>
              <a:gd name="connsiteX2228" fmla="*/ 7223827 w 12139750"/>
              <a:gd name="connsiteY2228" fmla="*/ 3370294 h 6858290"/>
              <a:gd name="connsiteX2229" fmla="*/ 7220020 w 12139750"/>
              <a:gd name="connsiteY2229" fmla="*/ 3353176 h 6858290"/>
              <a:gd name="connsiteX2230" fmla="*/ 7233344 w 12139750"/>
              <a:gd name="connsiteY2230" fmla="*/ 3326538 h 6858290"/>
              <a:gd name="connsiteX2231" fmla="*/ 7568364 w 12139750"/>
              <a:gd name="connsiteY2231" fmla="*/ 3111519 h 6858290"/>
              <a:gd name="connsiteX2232" fmla="*/ 7592396 w 12139750"/>
              <a:gd name="connsiteY2232" fmla="*/ 3107000 h 6858290"/>
              <a:gd name="connsiteX2233" fmla="*/ 7041870 w 12139750"/>
              <a:gd name="connsiteY2233" fmla="*/ 3101853 h 6858290"/>
              <a:gd name="connsiteX2234" fmla="*/ 7064457 w 12139750"/>
              <a:gd name="connsiteY2234" fmla="*/ 3118540 h 6858290"/>
              <a:gd name="connsiteX2235" fmla="*/ 7051143 w 12139750"/>
              <a:gd name="connsiteY2235" fmla="*/ 3166221 h 6858290"/>
              <a:gd name="connsiteX2236" fmla="*/ 6714471 w 12139750"/>
              <a:gd name="connsiteY2236" fmla="*/ 3360742 h 6858290"/>
              <a:gd name="connsiteX2237" fmla="*/ 6666918 w 12139750"/>
              <a:gd name="connsiteY2237" fmla="*/ 3347395 h 6858290"/>
              <a:gd name="connsiteX2238" fmla="*/ 6661212 w 12139750"/>
              <a:gd name="connsiteY2238" fmla="*/ 3330234 h 6858290"/>
              <a:gd name="connsiteX2239" fmla="*/ 6680233 w 12139750"/>
              <a:gd name="connsiteY2239" fmla="*/ 3299719 h 6858290"/>
              <a:gd name="connsiteX2240" fmla="*/ 7015003 w 12139750"/>
              <a:gd name="connsiteY2240" fmla="*/ 3105192 h 6858290"/>
              <a:gd name="connsiteX2241" fmla="*/ 7041870 w 12139750"/>
              <a:gd name="connsiteY2241" fmla="*/ 3101853 h 6858290"/>
              <a:gd name="connsiteX2242" fmla="*/ 6499097 w 12139750"/>
              <a:gd name="connsiteY2242" fmla="*/ 3095115 h 6858290"/>
              <a:gd name="connsiteX2243" fmla="*/ 6521210 w 12139750"/>
              <a:gd name="connsiteY2243" fmla="*/ 3114451 h 6858290"/>
              <a:gd name="connsiteX2244" fmla="*/ 6505992 w 12139750"/>
              <a:gd name="connsiteY2244" fmla="*/ 3167917 h 6858290"/>
              <a:gd name="connsiteX2245" fmla="*/ 6167407 w 12139750"/>
              <a:gd name="connsiteY2245" fmla="*/ 3341686 h 6858290"/>
              <a:gd name="connsiteX2246" fmla="*/ 6116048 w 12139750"/>
              <a:gd name="connsiteY2246" fmla="*/ 3326407 h 6858290"/>
              <a:gd name="connsiteX2247" fmla="*/ 6110342 w 12139750"/>
              <a:gd name="connsiteY2247" fmla="*/ 3307313 h 6858290"/>
              <a:gd name="connsiteX2248" fmla="*/ 6131266 w 12139750"/>
              <a:gd name="connsiteY2248" fmla="*/ 3272944 h 6858290"/>
              <a:gd name="connsiteX2249" fmla="*/ 6469851 w 12139750"/>
              <a:gd name="connsiteY2249" fmla="*/ 3097266 h 6858290"/>
              <a:gd name="connsiteX2250" fmla="*/ 6499097 w 12139750"/>
              <a:gd name="connsiteY2250" fmla="*/ 3095115 h 6858290"/>
              <a:gd name="connsiteX2251" fmla="*/ 5958954 w 12139750"/>
              <a:gd name="connsiteY2251" fmla="*/ 3091506 h 6858290"/>
              <a:gd name="connsiteX2252" fmla="*/ 5983314 w 12139750"/>
              <a:gd name="connsiteY2252" fmla="*/ 3113357 h 6858290"/>
              <a:gd name="connsiteX2253" fmla="*/ 5962297 w 12139750"/>
              <a:gd name="connsiteY2253" fmla="*/ 3170362 h 6858290"/>
              <a:gd name="connsiteX2254" fmla="*/ 5620299 w 12139750"/>
              <a:gd name="connsiteY2254" fmla="*/ 3324270 h 6858290"/>
              <a:gd name="connsiteX2255" fmla="*/ 5564892 w 12139750"/>
              <a:gd name="connsiteY2255" fmla="*/ 3301471 h 6858290"/>
              <a:gd name="connsiteX2256" fmla="*/ 5561071 w 12139750"/>
              <a:gd name="connsiteY2256" fmla="*/ 3284371 h 6858290"/>
              <a:gd name="connsiteX2257" fmla="*/ 5585909 w 12139750"/>
              <a:gd name="connsiteY2257" fmla="*/ 3246366 h 6858290"/>
              <a:gd name="connsiteX2258" fmla="*/ 5925996 w 12139750"/>
              <a:gd name="connsiteY2258" fmla="*/ 3092457 h 6858290"/>
              <a:gd name="connsiteX2259" fmla="*/ 5958954 w 12139750"/>
              <a:gd name="connsiteY2259" fmla="*/ 3091506 h 6858290"/>
              <a:gd name="connsiteX2260" fmla="*/ 399603 w 12139750"/>
              <a:gd name="connsiteY2260" fmla="*/ 3091494 h 6858290"/>
              <a:gd name="connsiteX2261" fmla="*/ 423874 w 12139750"/>
              <a:gd name="connsiteY2261" fmla="*/ 3113346 h 6858290"/>
              <a:gd name="connsiteX2262" fmla="*/ 401031 w 12139750"/>
              <a:gd name="connsiteY2262" fmla="*/ 3170351 h 6858290"/>
              <a:gd name="connsiteX2263" fmla="*/ 62187 w 12139750"/>
              <a:gd name="connsiteY2263" fmla="*/ 3324262 h 6858290"/>
              <a:gd name="connsiteX2264" fmla="*/ 6982 w 12139750"/>
              <a:gd name="connsiteY2264" fmla="*/ 3301463 h 6858290"/>
              <a:gd name="connsiteX2265" fmla="*/ 3175 w 12139750"/>
              <a:gd name="connsiteY2265" fmla="*/ 3284360 h 6858290"/>
              <a:gd name="connsiteX2266" fmla="*/ 27922 w 12139750"/>
              <a:gd name="connsiteY2266" fmla="*/ 3246356 h 6858290"/>
              <a:gd name="connsiteX2267" fmla="*/ 366766 w 12139750"/>
              <a:gd name="connsiteY2267" fmla="*/ 3092445 h 6858290"/>
              <a:gd name="connsiteX2268" fmla="*/ 399603 w 12139750"/>
              <a:gd name="connsiteY2268" fmla="*/ 3091494 h 6858290"/>
              <a:gd name="connsiteX2269" fmla="*/ 5376340 w 12139750"/>
              <a:gd name="connsiteY2269" fmla="*/ 3084226 h 6858290"/>
              <a:gd name="connsiteX2270" fmla="*/ 5437255 w 12139750"/>
              <a:gd name="connsiteY2270" fmla="*/ 3110894 h 6858290"/>
              <a:gd name="connsiteX2271" fmla="*/ 5410604 w 12139750"/>
              <a:gd name="connsiteY2271" fmla="*/ 3171854 h 6858290"/>
              <a:gd name="connsiteX2272" fmla="*/ 5069849 w 12139750"/>
              <a:gd name="connsiteY2272" fmla="*/ 3305199 h 6858290"/>
              <a:gd name="connsiteX2273" fmla="*/ 5010842 w 12139750"/>
              <a:gd name="connsiteY2273" fmla="*/ 3278532 h 6858290"/>
              <a:gd name="connsiteX2274" fmla="*/ 5007035 w 12139750"/>
              <a:gd name="connsiteY2274" fmla="*/ 3261388 h 6858290"/>
              <a:gd name="connsiteX2275" fmla="*/ 5037491 w 12139750"/>
              <a:gd name="connsiteY2275" fmla="*/ 3217574 h 6858290"/>
              <a:gd name="connsiteX2276" fmla="*/ 5376340 w 12139750"/>
              <a:gd name="connsiteY2276" fmla="*/ 3084226 h 6858290"/>
              <a:gd name="connsiteX2277" fmla="*/ 910964 w 12139750"/>
              <a:gd name="connsiteY2277" fmla="*/ 3084210 h 6858290"/>
              <a:gd name="connsiteX2278" fmla="*/ 969977 w 12139750"/>
              <a:gd name="connsiteY2278" fmla="*/ 3110879 h 6858290"/>
              <a:gd name="connsiteX2279" fmla="*/ 945229 w 12139750"/>
              <a:gd name="connsiteY2279" fmla="*/ 3171840 h 6858290"/>
              <a:gd name="connsiteX2280" fmla="*/ 604476 w 12139750"/>
              <a:gd name="connsiteY2280" fmla="*/ 3305187 h 6858290"/>
              <a:gd name="connsiteX2281" fmla="*/ 543559 w 12139750"/>
              <a:gd name="connsiteY2281" fmla="*/ 3278518 h 6858290"/>
              <a:gd name="connsiteX2282" fmla="*/ 539752 w 12139750"/>
              <a:gd name="connsiteY2282" fmla="*/ 3261374 h 6858290"/>
              <a:gd name="connsiteX2283" fmla="*/ 570210 w 12139750"/>
              <a:gd name="connsiteY2283" fmla="*/ 3217559 h 6858290"/>
              <a:gd name="connsiteX2284" fmla="*/ 910964 w 12139750"/>
              <a:gd name="connsiteY2284" fmla="*/ 3084210 h 6858290"/>
              <a:gd name="connsiteX2285" fmla="*/ 4845142 w 12139750"/>
              <a:gd name="connsiteY2285" fmla="*/ 3075495 h 6858290"/>
              <a:gd name="connsiteX2286" fmla="*/ 4888280 w 12139750"/>
              <a:gd name="connsiteY2286" fmla="*/ 3110635 h 6858290"/>
              <a:gd name="connsiteX2287" fmla="*/ 4855887 w 12139750"/>
              <a:gd name="connsiteY2287" fmla="*/ 3173587 h 6858290"/>
              <a:gd name="connsiteX2288" fmla="*/ 4514895 w 12139750"/>
              <a:gd name="connsiteY2288" fmla="*/ 3286137 h 6858290"/>
              <a:gd name="connsiteX2289" fmla="*/ 4450123 w 12139750"/>
              <a:gd name="connsiteY2289" fmla="*/ 3253707 h 6858290"/>
              <a:gd name="connsiteX2290" fmla="*/ 4448218 w 12139750"/>
              <a:gd name="connsiteY2290" fmla="*/ 3238443 h 6858290"/>
              <a:gd name="connsiteX2291" fmla="*/ 4482509 w 12139750"/>
              <a:gd name="connsiteY2291" fmla="*/ 3190757 h 6858290"/>
              <a:gd name="connsiteX2292" fmla="*/ 4825402 w 12139750"/>
              <a:gd name="connsiteY2292" fmla="*/ 3078206 h 6858290"/>
              <a:gd name="connsiteX2293" fmla="*/ 4845142 w 12139750"/>
              <a:gd name="connsiteY2293" fmla="*/ 3075495 h 6858290"/>
              <a:gd name="connsiteX2294" fmla="*/ 1479596 w 12139750"/>
              <a:gd name="connsiteY2294" fmla="*/ 3075477 h 6858290"/>
              <a:gd name="connsiteX2295" fmla="*/ 1522429 w 12139750"/>
              <a:gd name="connsiteY2295" fmla="*/ 3110619 h 6858290"/>
              <a:gd name="connsiteX2296" fmla="*/ 1491970 w 12139750"/>
              <a:gd name="connsiteY2296" fmla="*/ 3173573 h 6858290"/>
              <a:gd name="connsiteX2297" fmla="*/ 1149308 w 12139750"/>
              <a:gd name="connsiteY2297" fmla="*/ 3286122 h 6858290"/>
              <a:gd name="connsiteX2298" fmla="*/ 1086486 w 12139750"/>
              <a:gd name="connsiteY2298" fmla="*/ 3253693 h 6858290"/>
              <a:gd name="connsiteX2299" fmla="*/ 1082679 w 12139750"/>
              <a:gd name="connsiteY2299" fmla="*/ 3238431 h 6858290"/>
              <a:gd name="connsiteX2300" fmla="*/ 1118849 w 12139750"/>
              <a:gd name="connsiteY2300" fmla="*/ 3190741 h 6858290"/>
              <a:gd name="connsiteX2301" fmla="*/ 1459607 w 12139750"/>
              <a:gd name="connsiteY2301" fmla="*/ 3078189 h 6858290"/>
              <a:gd name="connsiteX2302" fmla="*/ 1479596 w 12139750"/>
              <a:gd name="connsiteY2302" fmla="*/ 3075477 h 6858290"/>
              <a:gd name="connsiteX2303" fmla="*/ 4290284 w 12139750"/>
              <a:gd name="connsiteY2303" fmla="*/ 3070235 h 6858290"/>
              <a:gd name="connsiteX2304" fmla="*/ 4333922 w 12139750"/>
              <a:gd name="connsiteY2304" fmla="*/ 3109556 h 6858290"/>
              <a:gd name="connsiteX2305" fmla="*/ 4295845 w 12139750"/>
              <a:gd name="connsiteY2305" fmla="*/ 3176127 h 6858290"/>
              <a:gd name="connsiteX2306" fmla="*/ 3953197 w 12139750"/>
              <a:gd name="connsiteY2306" fmla="*/ 3267431 h 6858290"/>
              <a:gd name="connsiteX2307" fmla="*/ 3886567 w 12139750"/>
              <a:gd name="connsiteY2307" fmla="*/ 3229387 h 6858290"/>
              <a:gd name="connsiteX2308" fmla="*/ 3884664 w 12139750"/>
              <a:gd name="connsiteY2308" fmla="*/ 3216076 h 6858290"/>
              <a:gd name="connsiteX2309" fmla="*/ 3924642 w 12139750"/>
              <a:gd name="connsiteY2309" fmla="*/ 3164719 h 6858290"/>
              <a:gd name="connsiteX2310" fmla="*/ 4269194 w 12139750"/>
              <a:gd name="connsiteY2310" fmla="*/ 3071515 h 6858290"/>
              <a:gd name="connsiteX2311" fmla="*/ 4290284 w 12139750"/>
              <a:gd name="connsiteY2311" fmla="*/ 3070235 h 6858290"/>
              <a:gd name="connsiteX2312" fmla="*/ 2036269 w 12139750"/>
              <a:gd name="connsiteY2312" fmla="*/ 3070217 h 6858290"/>
              <a:gd name="connsiteX2313" fmla="*/ 2081548 w 12139750"/>
              <a:gd name="connsiteY2313" fmla="*/ 3109537 h 6858290"/>
              <a:gd name="connsiteX2314" fmla="*/ 2043443 w 12139750"/>
              <a:gd name="connsiteY2314" fmla="*/ 3176111 h 6858290"/>
              <a:gd name="connsiteX2315" fmla="*/ 1700538 w 12139750"/>
              <a:gd name="connsiteY2315" fmla="*/ 3267414 h 6858290"/>
              <a:gd name="connsiteX2316" fmla="*/ 1633862 w 12139750"/>
              <a:gd name="connsiteY2316" fmla="*/ 3229371 h 6858290"/>
              <a:gd name="connsiteX2317" fmla="*/ 1631957 w 12139750"/>
              <a:gd name="connsiteY2317" fmla="*/ 3216056 h 6858290"/>
              <a:gd name="connsiteX2318" fmla="*/ 1671963 w 12139750"/>
              <a:gd name="connsiteY2318" fmla="*/ 3164700 h 6858290"/>
              <a:gd name="connsiteX2319" fmla="*/ 2014867 w 12139750"/>
              <a:gd name="connsiteY2319" fmla="*/ 3071495 h 6858290"/>
              <a:gd name="connsiteX2320" fmla="*/ 2036269 w 12139750"/>
              <a:gd name="connsiteY2320" fmla="*/ 3070217 h 6858290"/>
              <a:gd name="connsiteX2321" fmla="*/ 3731231 w 12139750"/>
              <a:gd name="connsiteY2321" fmla="*/ 3064531 h 6858290"/>
              <a:gd name="connsiteX2322" fmla="*/ 3777343 w 12139750"/>
              <a:gd name="connsiteY2322" fmla="*/ 3109072 h 6858290"/>
              <a:gd name="connsiteX2323" fmla="*/ 3731589 w 12139750"/>
              <a:gd name="connsiteY2323" fmla="*/ 3177762 h 6858290"/>
              <a:gd name="connsiteX2324" fmla="*/ 3386557 w 12139750"/>
              <a:gd name="connsiteY2324" fmla="*/ 3250263 h 6858290"/>
              <a:gd name="connsiteX2325" fmla="*/ 3317928 w 12139750"/>
              <a:gd name="connsiteY2325" fmla="*/ 3204472 h 6858290"/>
              <a:gd name="connsiteX2326" fmla="*/ 3317928 w 12139750"/>
              <a:gd name="connsiteY2326" fmla="*/ 3193023 h 6858290"/>
              <a:gd name="connsiteX2327" fmla="*/ 3363681 w 12139750"/>
              <a:gd name="connsiteY2327" fmla="*/ 3135786 h 6858290"/>
              <a:gd name="connsiteX2328" fmla="*/ 3708711 w 12139750"/>
              <a:gd name="connsiteY2328" fmla="*/ 3065187 h 6858290"/>
              <a:gd name="connsiteX2329" fmla="*/ 3731231 w 12139750"/>
              <a:gd name="connsiteY2329" fmla="*/ 3064531 h 6858290"/>
              <a:gd name="connsiteX2330" fmla="*/ 2597728 w 12139750"/>
              <a:gd name="connsiteY2330" fmla="*/ 3064510 h 6858290"/>
              <a:gd name="connsiteX2331" fmla="*/ 2643838 w 12139750"/>
              <a:gd name="connsiteY2331" fmla="*/ 3109051 h 6858290"/>
              <a:gd name="connsiteX2332" fmla="*/ 2598086 w 12139750"/>
              <a:gd name="connsiteY2332" fmla="*/ 3177742 h 6858290"/>
              <a:gd name="connsiteX2333" fmla="*/ 2253042 w 12139750"/>
              <a:gd name="connsiteY2333" fmla="*/ 3250246 h 6858290"/>
              <a:gd name="connsiteX2334" fmla="*/ 2184414 w 12139750"/>
              <a:gd name="connsiteY2334" fmla="*/ 3204454 h 6858290"/>
              <a:gd name="connsiteX2335" fmla="*/ 2184414 w 12139750"/>
              <a:gd name="connsiteY2335" fmla="*/ 3193005 h 6858290"/>
              <a:gd name="connsiteX2336" fmla="*/ 2230166 w 12139750"/>
              <a:gd name="connsiteY2336" fmla="*/ 3135765 h 6858290"/>
              <a:gd name="connsiteX2337" fmla="*/ 2575210 w 12139750"/>
              <a:gd name="connsiteY2337" fmla="*/ 3065166 h 6858290"/>
              <a:gd name="connsiteX2338" fmla="*/ 2597728 w 12139750"/>
              <a:gd name="connsiteY2338" fmla="*/ 3064510 h 6858290"/>
              <a:gd name="connsiteX2339" fmla="*/ 3139002 w 12139750"/>
              <a:gd name="connsiteY2339" fmla="*/ 3058190 h 6858290"/>
              <a:gd name="connsiteX2340" fmla="*/ 3209344 w 12139750"/>
              <a:gd name="connsiteY2340" fmla="*/ 3111529 h 6858290"/>
              <a:gd name="connsiteX2341" fmla="*/ 3156112 w 12139750"/>
              <a:gd name="connsiteY2341" fmla="*/ 3180110 h 6858290"/>
              <a:gd name="connsiteX2342" fmla="*/ 2811996 w 12139750"/>
              <a:gd name="connsiteY2342" fmla="*/ 3231537 h 6858290"/>
              <a:gd name="connsiteX2343" fmla="*/ 2741653 w 12139750"/>
              <a:gd name="connsiteY2343" fmla="*/ 3180110 h 6858290"/>
              <a:gd name="connsiteX2344" fmla="*/ 2741653 w 12139750"/>
              <a:gd name="connsiteY2344" fmla="*/ 3170583 h 6858290"/>
              <a:gd name="connsiteX2345" fmla="*/ 2792985 w 12139750"/>
              <a:gd name="connsiteY2345" fmla="*/ 3109626 h 6858290"/>
              <a:gd name="connsiteX2346" fmla="*/ 3139002 w 12139750"/>
              <a:gd name="connsiteY2346" fmla="*/ 3058190 h 6858290"/>
              <a:gd name="connsiteX2347" fmla="*/ 9858217 w 12139750"/>
              <a:gd name="connsiteY2347" fmla="*/ 2803158 h 6858290"/>
              <a:gd name="connsiteX2348" fmla="*/ 9867044 w 12139750"/>
              <a:gd name="connsiteY2348" fmla="*/ 2807683 h 6858290"/>
              <a:gd name="connsiteX2349" fmla="*/ 9867044 w 12139750"/>
              <a:gd name="connsiteY2349" fmla="*/ 2826731 h 6858290"/>
              <a:gd name="connsiteX2350" fmla="*/ 9536890 w 12139750"/>
              <a:gd name="connsiteY2350" fmla="*/ 3139152 h 6858290"/>
              <a:gd name="connsiteX2351" fmla="*/ 9517806 w 12139750"/>
              <a:gd name="connsiteY2351" fmla="*/ 3139152 h 6858290"/>
              <a:gd name="connsiteX2352" fmla="*/ 9513989 w 12139750"/>
              <a:gd name="connsiteY2352" fmla="*/ 3129628 h 6858290"/>
              <a:gd name="connsiteX2353" fmla="*/ 9519714 w 12139750"/>
              <a:gd name="connsiteY2353" fmla="*/ 3120101 h 6858290"/>
              <a:gd name="connsiteX2354" fmla="*/ 9847960 w 12139750"/>
              <a:gd name="connsiteY2354" fmla="*/ 2805777 h 6858290"/>
              <a:gd name="connsiteX2355" fmla="*/ 9858217 w 12139750"/>
              <a:gd name="connsiteY2355" fmla="*/ 2803158 h 6858290"/>
              <a:gd name="connsiteX2356" fmla="*/ 9280452 w 12139750"/>
              <a:gd name="connsiteY2356" fmla="*/ 2798866 h 6858290"/>
              <a:gd name="connsiteX2357" fmla="*/ 9292080 w 12139750"/>
              <a:gd name="connsiteY2357" fmla="*/ 2804804 h 6858290"/>
              <a:gd name="connsiteX2358" fmla="*/ 9290182 w 12139750"/>
              <a:gd name="connsiteY2358" fmla="*/ 2829495 h 6858290"/>
              <a:gd name="connsiteX2359" fmla="*/ 8961745 w 12139750"/>
              <a:gd name="connsiteY2359" fmla="*/ 3118217 h 6858290"/>
              <a:gd name="connsiteX2360" fmla="*/ 8937064 w 12139750"/>
              <a:gd name="connsiteY2360" fmla="*/ 3116319 h 6858290"/>
              <a:gd name="connsiteX2361" fmla="*/ 8931369 w 12139750"/>
              <a:gd name="connsiteY2361" fmla="*/ 3104922 h 6858290"/>
              <a:gd name="connsiteX2362" fmla="*/ 8937064 w 12139750"/>
              <a:gd name="connsiteY2362" fmla="*/ 3091625 h 6858290"/>
              <a:gd name="connsiteX2363" fmla="*/ 9267400 w 12139750"/>
              <a:gd name="connsiteY2363" fmla="*/ 2802904 h 6858290"/>
              <a:gd name="connsiteX2364" fmla="*/ 9280452 w 12139750"/>
              <a:gd name="connsiteY2364" fmla="*/ 2798866 h 6858290"/>
              <a:gd name="connsiteX2365" fmla="*/ 10442418 w 12139750"/>
              <a:gd name="connsiteY2365" fmla="*/ 2798842 h 6858290"/>
              <a:gd name="connsiteX2366" fmla="*/ 10454106 w 12139750"/>
              <a:gd name="connsiteY2366" fmla="*/ 2804777 h 6858290"/>
              <a:gd name="connsiteX2367" fmla="*/ 10454106 w 12139750"/>
              <a:gd name="connsiteY2367" fmla="*/ 2829471 h 6858290"/>
              <a:gd name="connsiteX2368" fmla="*/ 10122059 w 12139750"/>
              <a:gd name="connsiteY2368" fmla="*/ 3118194 h 6858290"/>
              <a:gd name="connsiteX2369" fmla="*/ 10097251 w 12139750"/>
              <a:gd name="connsiteY2369" fmla="*/ 3116295 h 6858290"/>
              <a:gd name="connsiteX2370" fmla="*/ 10093434 w 12139750"/>
              <a:gd name="connsiteY2370" fmla="*/ 3104898 h 6858290"/>
              <a:gd name="connsiteX2371" fmla="*/ 10099159 w 12139750"/>
              <a:gd name="connsiteY2371" fmla="*/ 3091603 h 6858290"/>
              <a:gd name="connsiteX2372" fmla="*/ 10429298 w 12139750"/>
              <a:gd name="connsiteY2372" fmla="*/ 2802878 h 6858290"/>
              <a:gd name="connsiteX2373" fmla="*/ 10442418 w 12139750"/>
              <a:gd name="connsiteY2373" fmla="*/ 2798842 h 6858290"/>
              <a:gd name="connsiteX2374" fmla="*/ 8710745 w 12139750"/>
              <a:gd name="connsiteY2374" fmla="*/ 2792356 h 6858290"/>
              <a:gd name="connsiteX2375" fmla="*/ 8725295 w 12139750"/>
              <a:gd name="connsiteY2375" fmla="*/ 2800675 h 6858290"/>
              <a:gd name="connsiteX2376" fmla="*/ 8723387 w 12139750"/>
              <a:gd name="connsiteY2376" fmla="*/ 2831093 h 6858290"/>
              <a:gd name="connsiteX2377" fmla="*/ 8389446 w 12139750"/>
              <a:gd name="connsiteY2377" fmla="*/ 3099164 h 6858290"/>
              <a:gd name="connsiteX2378" fmla="*/ 8358914 w 12139750"/>
              <a:gd name="connsiteY2378" fmla="*/ 3095358 h 6858290"/>
              <a:gd name="connsiteX2379" fmla="*/ 8355098 w 12139750"/>
              <a:gd name="connsiteY2379" fmla="*/ 3082053 h 6858290"/>
              <a:gd name="connsiteX2380" fmla="*/ 8362731 w 12139750"/>
              <a:gd name="connsiteY2380" fmla="*/ 3064941 h 6858290"/>
              <a:gd name="connsiteX2381" fmla="*/ 8694763 w 12139750"/>
              <a:gd name="connsiteY2381" fmla="*/ 2796872 h 6858290"/>
              <a:gd name="connsiteX2382" fmla="*/ 8710745 w 12139750"/>
              <a:gd name="connsiteY2382" fmla="*/ 2792356 h 6858290"/>
              <a:gd name="connsiteX2383" fmla="*/ 11020609 w 12139750"/>
              <a:gd name="connsiteY2383" fmla="*/ 2792330 h 6858290"/>
              <a:gd name="connsiteX2384" fmla="*/ 11035146 w 12139750"/>
              <a:gd name="connsiteY2384" fmla="*/ 2800648 h 6858290"/>
              <a:gd name="connsiteX2385" fmla="*/ 11031333 w 12139750"/>
              <a:gd name="connsiteY2385" fmla="*/ 2831067 h 6858290"/>
              <a:gd name="connsiteX2386" fmla="*/ 10699581 w 12139750"/>
              <a:gd name="connsiteY2386" fmla="*/ 3099136 h 6858290"/>
              <a:gd name="connsiteX2387" fmla="*/ 10669075 w 12139750"/>
              <a:gd name="connsiteY2387" fmla="*/ 3095334 h 6858290"/>
              <a:gd name="connsiteX2388" fmla="*/ 10663355 w 12139750"/>
              <a:gd name="connsiteY2388" fmla="*/ 3082025 h 6858290"/>
              <a:gd name="connsiteX2389" fmla="*/ 10672888 w 12139750"/>
              <a:gd name="connsiteY2389" fmla="*/ 3064914 h 6858290"/>
              <a:gd name="connsiteX2390" fmla="*/ 11004641 w 12139750"/>
              <a:gd name="connsiteY2390" fmla="*/ 2796846 h 6858290"/>
              <a:gd name="connsiteX2391" fmla="*/ 11020609 w 12139750"/>
              <a:gd name="connsiteY2391" fmla="*/ 2792330 h 6858290"/>
              <a:gd name="connsiteX2392" fmla="*/ 8147926 w 12139750"/>
              <a:gd name="connsiteY2392" fmla="*/ 2787441 h 6858290"/>
              <a:gd name="connsiteX2393" fmla="*/ 8164595 w 12139750"/>
              <a:gd name="connsiteY2393" fmla="*/ 2798157 h 6858290"/>
              <a:gd name="connsiteX2394" fmla="*/ 8158880 w 12139750"/>
              <a:gd name="connsiteY2394" fmla="*/ 2834352 h 6858290"/>
              <a:gd name="connsiteX2395" fmla="*/ 7825500 w 12139750"/>
              <a:gd name="connsiteY2395" fmla="*/ 3078192 h 6858290"/>
              <a:gd name="connsiteX2396" fmla="*/ 7789305 w 12139750"/>
              <a:gd name="connsiteY2396" fmla="*/ 3072478 h 6858290"/>
              <a:gd name="connsiteX2397" fmla="*/ 7783590 w 12139750"/>
              <a:gd name="connsiteY2397" fmla="*/ 3057236 h 6858290"/>
              <a:gd name="connsiteX2398" fmla="*/ 7795020 w 12139750"/>
              <a:gd name="connsiteY2398" fmla="*/ 3036282 h 6858290"/>
              <a:gd name="connsiteX2399" fmla="*/ 8128399 w 12139750"/>
              <a:gd name="connsiteY2399" fmla="*/ 2792440 h 6858290"/>
              <a:gd name="connsiteX2400" fmla="*/ 8147926 w 12139750"/>
              <a:gd name="connsiteY2400" fmla="*/ 2787441 h 6858290"/>
              <a:gd name="connsiteX2401" fmla="*/ 11592432 w 12139750"/>
              <a:gd name="connsiteY2401" fmla="*/ 2787434 h 6858290"/>
              <a:gd name="connsiteX2402" fmla="*/ 11609830 w 12139750"/>
              <a:gd name="connsiteY2402" fmla="*/ 2798149 h 6858290"/>
              <a:gd name="connsiteX2403" fmla="*/ 11604110 w 12139750"/>
              <a:gd name="connsiteY2403" fmla="*/ 2834343 h 6858290"/>
              <a:gd name="connsiteX2404" fmla="*/ 11270458 w 12139750"/>
              <a:gd name="connsiteY2404" fmla="*/ 3078185 h 6858290"/>
              <a:gd name="connsiteX2405" fmla="*/ 11234233 w 12139750"/>
              <a:gd name="connsiteY2405" fmla="*/ 3072469 h 6858290"/>
              <a:gd name="connsiteX2406" fmla="*/ 11228513 w 12139750"/>
              <a:gd name="connsiteY2406" fmla="*/ 3057229 h 6858290"/>
              <a:gd name="connsiteX2407" fmla="*/ 11238046 w 12139750"/>
              <a:gd name="connsiteY2407" fmla="*/ 3036275 h 6858290"/>
              <a:gd name="connsiteX2408" fmla="*/ 11573605 w 12139750"/>
              <a:gd name="connsiteY2408" fmla="*/ 2792433 h 6858290"/>
              <a:gd name="connsiteX2409" fmla="*/ 11592432 w 12139750"/>
              <a:gd name="connsiteY2409" fmla="*/ 2787434 h 6858290"/>
              <a:gd name="connsiteX2410" fmla="*/ 12139750 w 12139750"/>
              <a:gd name="connsiteY2410" fmla="*/ 2786083 h 6858290"/>
              <a:gd name="connsiteX2411" fmla="*/ 12139750 w 12139750"/>
              <a:gd name="connsiteY2411" fmla="*/ 2858148 h 6858290"/>
              <a:gd name="connsiteX2412" fmla="*/ 11834946 w 12139750"/>
              <a:gd name="connsiteY2412" fmla="*/ 3059175 h 6858290"/>
              <a:gd name="connsiteX2413" fmla="*/ 11793035 w 12139750"/>
              <a:gd name="connsiteY2413" fmla="*/ 3049691 h 6858290"/>
              <a:gd name="connsiteX2414" fmla="*/ 11787320 w 12139750"/>
              <a:gd name="connsiteY2414" fmla="*/ 3032623 h 6858290"/>
              <a:gd name="connsiteX2415" fmla="*/ 11800655 w 12139750"/>
              <a:gd name="connsiteY2415" fmla="*/ 3007970 h 6858290"/>
              <a:gd name="connsiteX2416" fmla="*/ 12135940 w 12139750"/>
              <a:gd name="connsiteY2416" fmla="*/ 2787978 h 6858290"/>
              <a:gd name="connsiteX2417" fmla="*/ 12139750 w 12139750"/>
              <a:gd name="connsiteY2417" fmla="*/ 2786083 h 6858290"/>
              <a:gd name="connsiteX2418" fmla="*/ 7592452 w 12139750"/>
              <a:gd name="connsiteY2418" fmla="*/ 2782900 h 6858290"/>
              <a:gd name="connsiteX2419" fmla="*/ 7610550 w 12139750"/>
              <a:gd name="connsiteY2419" fmla="*/ 2795241 h 6858290"/>
              <a:gd name="connsiteX2420" fmla="*/ 7602930 w 12139750"/>
              <a:gd name="connsiteY2420" fmla="*/ 2837016 h 6858290"/>
              <a:gd name="connsiteX2421" fmla="*/ 7267645 w 12139750"/>
              <a:gd name="connsiteY2421" fmla="*/ 3059173 h 6858290"/>
              <a:gd name="connsiteX2422" fmla="*/ 7225735 w 12139750"/>
              <a:gd name="connsiteY2422" fmla="*/ 3049680 h 6858290"/>
              <a:gd name="connsiteX2423" fmla="*/ 7220020 w 12139750"/>
              <a:gd name="connsiteY2423" fmla="*/ 3032591 h 6858290"/>
              <a:gd name="connsiteX2424" fmla="*/ 7233355 w 12139750"/>
              <a:gd name="connsiteY2424" fmla="*/ 3007907 h 6858290"/>
              <a:gd name="connsiteX2425" fmla="*/ 7568639 w 12139750"/>
              <a:gd name="connsiteY2425" fmla="*/ 2787648 h 6858290"/>
              <a:gd name="connsiteX2426" fmla="*/ 7592452 w 12139750"/>
              <a:gd name="connsiteY2426" fmla="*/ 2782900 h 6858290"/>
              <a:gd name="connsiteX2427" fmla="*/ 7041900 w 12139750"/>
              <a:gd name="connsiteY2427" fmla="*/ 2777758 h 6858290"/>
              <a:gd name="connsiteX2428" fmla="*/ 7062856 w 12139750"/>
              <a:gd name="connsiteY2428" fmla="*/ 2792757 h 6858290"/>
              <a:gd name="connsiteX2429" fmla="*/ 7051425 w 12139750"/>
              <a:gd name="connsiteY2429" fmla="*/ 2840384 h 6858290"/>
              <a:gd name="connsiteX2430" fmla="*/ 6714236 w 12139750"/>
              <a:gd name="connsiteY2430" fmla="*/ 3038503 h 6858290"/>
              <a:gd name="connsiteX2431" fmla="*/ 6666610 w 12139750"/>
              <a:gd name="connsiteY2431" fmla="*/ 3027077 h 6858290"/>
              <a:gd name="connsiteX2432" fmla="*/ 6662800 w 12139750"/>
              <a:gd name="connsiteY2432" fmla="*/ 3009931 h 6858290"/>
              <a:gd name="connsiteX2433" fmla="*/ 6679945 w 12139750"/>
              <a:gd name="connsiteY2433" fmla="*/ 2979450 h 6858290"/>
              <a:gd name="connsiteX2434" fmla="*/ 7015230 w 12139750"/>
              <a:gd name="connsiteY2434" fmla="*/ 2781330 h 6858290"/>
              <a:gd name="connsiteX2435" fmla="*/ 7041900 w 12139750"/>
              <a:gd name="connsiteY2435" fmla="*/ 2777758 h 6858290"/>
              <a:gd name="connsiteX2436" fmla="*/ 6499388 w 12139750"/>
              <a:gd name="connsiteY2436" fmla="*/ 2774400 h 6858290"/>
              <a:gd name="connsiteX2437" fmla="*/ 6521517 w 12139750"/>
              <a:gd name="connsiteY2437" fmla="*/ 2793615 h 6858290"/>
              <a:gd name="connsiteX2438" fmla="*/ 6506288 w 12139750"/>
              <a:gd name="connsiteY2438" fmla="*/ 2844865 h 6858290"/>
              <a:gd name="connsiteX2439" fmla="*/ 6167449 w 12139750"/>
              <a:gd name="connsiteY2439" fmla="*/ 3019490 h 6858290"/>
              <a:gd name="connsiteX2440" fmla="*/ 6116053 w 12139750"/>
              <a:gd name="connsiteY2440" fmla="*/ 3002408 h 6858290"/>
              <a:gd name="connsiteX2441" fmla="*/ 6110342 w 12139750"/>
              <a:gd name="connsiteY2441" fmla="*/ 2985324 h 6858290"/>
              <a:gd name="connsiteX2442" fmla="*/ 6131281 w 12139750"/>
              <a:gd name="connsiteY2442" fmla="*/ 2951160 h 6858290"/>
              <a:gd name="connsiteX2443" fmla="*/ 6470120 w 12139750"/>
              <a:gd name="connsiteY2443" fmla="*/ 2776533 h 6858290"/>
              <a:gd name="connsiteX2444" fmla="*/ 6499388 w 12139750"/>
              <a:gd name="connsiteY2444" fmla="*/ 2774400 h 6858290"/>
              <a:gd name="connsiteX2445" fmla="*/ 5959672 w 12139750"/>
              <a:gd name="connsiteY2445" fmla="*/ 2769256 h 6858290"/>
              <a:gd name="connsiteX2446" fmla="*/ 5983314 w 12139750"/>
              <a:gd name="connsiteY2446" fmla="*/ 2791133 h 6858290"/>
              <a:gd name="connsiteX2447" fmla="*/ 5962297 w 12139750"/>
              <a:gd name="connsiteY2447" fmla="*/ 2848210 h 6858290"/>
              <a:gd name="connsiteX2448" fmla="*/ 5620299 w 12139750"/>
              <a:gd name="connsiteY2448" fmla="*/ 3000418 h 6858290"/>
              <a:gd name="connsiteX2449" fmla="*/ 5564892 w 12139750"/>
              <a:gd name="connsiteY2449" fmla="*/ 2979489 h 6858290"/>
              <a:gd name="connsiteX2450" fmla="*/ 5561071 w 12139750"/>
              <a:gd name="connsiteY2450" fmla="*/ 2960466 h 6858290"/>
              <a:gd name="connsiteX2451" fmla="*/ 5585909 w 12139750"/>
              <a:gd name="connsiteY2451" fmla="*/ 2922412 h 6858290"/>
              <a:gd name="connsiteX2452" fmla="*/ 5925996 w 12139750"/>
              <a:gd name="connsiteY2452" fmla="*/ 2770208 h 6858290"/>
              <a:gd name="connsiteX2453" fmla="*/ 5959672 w 12139750"/>
              <a:gd name="connsiteY2453" fmla="*/ 2769256 h 6858290"/>
              <a:gd name="connsiteX2454" fmla="*/ 399603 w 12139750"/>
              <a:gd name="connsiteY2454" fmla="*/ 2769241 h 6858290"/>
              <a:gd name="connsiteX2455" fmla="*/ 423874 w 12139750"/>
              <a:gd name="connsiteY2455" fmla="*/ 2791121 h 6858290"/>
              <a:gd name="connsiteX2456" fmla="*/ 401030 w 12139750"/>
              <a:gd name="connsiteY2456" fmla="*/ 2848199 h 6858290"/>
              <a:gd name="connsiteX2457" fmla="*/ 62187 w 12139750"/>
              <a:gd name="connsiteY2457" fmla="*/ 3000404 h 6858290"/>
              <a:gd name="connsiteX2458" fmla="*/ 6982 w 12139750"/>
              <a:gd name="connsiteY2458" fmla="*/ 2979476 h 6858290"/>
              <a:gd name="connsiteX2459" fmla="*/ 3175 w 12139750"/>
              <a:gd name="connsiteY2459" fmla="*/ 2960451 h 6858290"/>
              <a:gd name="connsiteX2460" fmla="*/ 27922 w 12139750"/>
              <a:gd name="connsiteY2460" fmla="*/ 2922399 h 6858290"/>
              <a:gd name="connsiteX2461" fmla="*/ 366765 w 12139750"/>
              <a:gd name="connsiteY2461" fmla="*/ 2770194 h 6858290"/>
              <a:gd name="connsiteX2462" fmla="*/ 399603 w 12139750"/>
              <a:gd name="connsiteY2462" fmla="*/ 2769241 h 6858290"/>
              <a:gd name="connsiteX2463" fmla="*/ 5396029 w 12139750"/>
              <a:gd name="connsiteY2463" fmla="*/ 2760546 h 6858290"/>
              <a:gd name="connsiteX2464" fmla="*/ 5437255 w 12139750"/>
              <a:gd name="connsiteY2464" fmla="*/ 2790586 h 6858290"/>
              <a:gd name="connsiteX2465" fmla="*/ 5410604 w 12139750"/>
              <a:gd name="connsiteY2465" fmla="*/ 2851628 h 6858290"/>
              <a:gd name="connsiteX2466" fmla="*/ 5069849 w 12139750"/>
              <a:gd name="connsiteY2466" fmla="*/ 2981344 h 6858290"/>
              <a:gd name="connsiteX2467" fmla="*/ 5008938 w 12139750"/>
              <a:gd name="connsiteY2467" fmla="*/ 2954638 h 6858290"/>
              <a:gd name="connsiteX2468" fmla="*/ 5007035 w 12139750"/>
              <a:gd name="connsiteY2468" fmla="*/ 2937469 h 6858290"/>
              <a:gd name="connsiteX2469" fmla="*/ 5037491 w 12139750"/>
              <a:gd name="connsiteY2469" fmla="*/ 2893596 h 6858290"/>
              <a:gd name="connsiteX2470" fmla="*/ 5378242 w 12139750"/>
              <a:gd name="connsiteY2470" fmla="*/ 2763882 h 6858290"/>
              <a:gd name="connsiteX2471" fmla="*/ 5396029 w 12139750"/>
              <a:gd name="connsiteY2471" fmla="*/ 2760546 h 6858290"/>
              <a:gd name="connsiteX2472" fmla="*/ 930705 w 12139750"/>
              <a:gd name="connsiteY2472" fmla="*/ 2760528 h 6858290"/>
              <a:gd name="connsiteX2473" fmla="*/ 973124 w 12139750"/>
              <a:gd name="connsiteY2473" fmla="*/ 2790570 h 6858290"/>
              <a:gd name="connsiteX2474" fmla="*/ 946396 w 12139750"/>
              <a:gd name="connsiteY2474" fmla="*/ 2851614 h 6858290"/>
              <a:gd name="connsiteX2475" fmla="*/ 604662 w 12139750"/>
              <a:gd name="connsiteY2475" fmla="*/ 2981328 h 6858290"/>
              <a:gd name="connsiteX2476" fmla="*/ 543570 w 12139750"/>
              <a:gd name="connsiteY2476" fmla="*/ 2954621 h 6858290"/>
              <a:gd name="connsiteX2477" fmla="*/ 539752 w 12139750"/>
              <a:gd name="connsiteY2477" fmla="*/ 2937453 h 6858290"/>
              <a:gd name="connsiteX2478" fmla="*/ 570298 w 12139750"/>
              <a:gd name="connsiteY2478" fmla="*/ 2893580 h 6858290"/>
              <a:gd name="connsiteX2479" fmla="*/ 912032 w 12139750"/>
              <a:gd name="connsiteY2479" fmla="*/ 2763867 h 6858290"/>
              <a:gd name="connsiteX2480" fmla="*/ 930705 w 12139750"/>
              <a:gd name="connsiteY2480" fmla="*/ 2760528 h 6858290"/>
              <a:gd name="connsiteX2481" fmla="*/ 4845195 w 12139750"/>
              <a:gd name="connsiteY2481" fmla="*/ 2755586 h 6858290"/>
              <a:gd name="connsiteX2482" fmla="*/ 4889878 w 12139750"/>
              <a:gd name="connsiteY2482" fmla="*/ 2791428 h 6858290"/>
              <a:gd name="connsiteX2483" fmla="*/ 4855629 w 12139750"/>
              <a:gd name="connsiteY2483" fmla="*/ 2856106 h 6858290"/>
              <a:gd name="connsiteX2484" fmla="*/ 4513213 w 12139750"/>
              <a:gd name="connsiteY2484" fmla="*/ 2962635 h 6858290"/>
              <a:gd name="connsiteX2485" fmla="*/ 4448534 w 12139750"/>
              <a:gd name="connsiteY2485" fmla="*/ 2928394 h 6858290"/>
              <a:gd name="connsiteX2486" fmla="*/ 4446631 w 12139750"/>
              <a:gd name="connsiteY2486" fmla="*/ 2913176 h 6858290"/>
              <a:gd name="connsiteX2487" fmla="*/ 4482778 w 12139750"/>
              <a:gd name="connsiteY2487" fmla="*/ 2863715 h 6858290"/>
              <a:gd name="connsiteX2488" fmla="*/ 4825187 w 12139750"/>
              <a:gd name="connsiteY2488" fmla="*/ 2757192 h 6858290"/>
              <a:gd name="connsiteX2489" fmla="*/ 4845195 w 12139750"/>
              <a:gd name="connsiteY2489" fmla="*/ 2755586 h 6858290"/>
              <a:gd name="connsiteX2490" fmla="*/ 1482623 w 12139750"/>
              <a:gd name="connsiteY2490" fmla="*/ 2755567 h 6858290"/>
              <a:gd name="connsiteX2491" fmla="*/ 1525577 w 12139750"/>
              <a:gd name="connsiteY2491" fmla="*/ 2791412 h 6858290"/>
              <a:gd name="connsiteX2492" fmla="*/ 1493123 w 12139750"/>
              <a:gd name="connsiteY2492" fmla="*/ 2856090 h 6858290"/>
              <a:gd name="connsiteX2493" fmla="*/ 1149495 w 12139750"/>
              <a:gd name="connsiteY2493" fmla="*/ 2962617 h 6858290"/>
              <a:gd name="connsiteX2494" fmla="*/ 1084588 w 12139750"/>
              <a:gd name="connsiteY2494" fmla="*/ 2928375 h 6858290"/>
              <a:gd name="connsiteX2495" fmla="*/ 1082679 w 12139750"/>
              <a:gd name="connsiteY2495" fmla="*/ 2913158 h 6858290"/>
              <a:gd name="connsiteX2496" fmla="*/ 1118950 w 12139750"/>
              <a:gd name="connsiteY2496" fmla="*/ 2863698 h 6858290"/>
              <a:gd name="connsiteX2497" fmla="*/ 1462578 w 12139750"/>
              <a:gd name="connsiteY2497" fmla="*/ 2757173 h 6858290"/>
              <a:gd name="connsiteX2498" fmla="*/ 1482623 w 12139750"/>
              <a:gd name="connsiteY2498" fmla="*/ 2755567 h 6858290"/>
              <a:gd name="connsiteX2499" fmla="*/ 4291652 w 12139750"/>
              <a:gd name="connsiteY2499" fmla="*/ 2750401 h 6858290"/>
              <a:gd name="connsiteX2500" fmla="*/ 4335825 w 12139750"/>
              <a:gd name="connsiteY2500" fmla="*/ 2792587 h 6858290"/>
              <a:gd name="connsiteX2501" fmla="*/ 4295845 w 12139750"/>
              <a:gd name="connsiteY2501" fmla="*/ 2859470 h 6858290"/>
              <a:gd name="connsiteX2502" fmla="*/ 3953197 w 12139750"/>
              <a:gd name="connsiteY2502" fmla="*/ 2943550 h 6858290"/>
              <a:gd name="connsiteX2503" fmla="*/ 3884664 w 12139750"/>
              <a:gd name="connsiteY2503" fmla="*/ 2901512 h 6858290"/>
              <a:gd name="connsiteX2504" fmla="*/ 3884664 w 12139750"/>
              <a:gd name="connsiteY2504" fmla="*/ 2888136 h 6858290"/>
              <a:gd name="connsiteX2505" fmla="*/ 3926546 w 12139750"/>
              <a:gd name="connsiteY2505" fmla="*/ 2834629 h 6858290"/>
              <a:gd name="connsiteX2506" fmla="*/ 4269194 w 12139750"/>
              <a:gd name="connsiteY2506" fmla="*/ 2750551 h 6858290"/>
              <a:gd name="connsiteX2507" fmla="*/ 4291652 w 12139750"/>
              <a:gd name="connsiteY2507" fmla="*/ 2750401 h 6858290"/>
              <a:gd name="connsiteX2508" fmla="*/ 2037929 w 12139750"/>
              <a:gd name="connsiteY2508" fmla="*/ 2750381 h 6858290"/>
              <a:gd name="connsiteX2509" fmla="*/ 2083145 w 12139750"/>
              <a:gd name="connsiteY2509" fmla="*/ 2792570 h 6858290"/>
              <a:gd name="connsiteX2510" fmla="*/ 2043190 w 12139750"/>
              <a:gd name="connsiteY2510" fmla="*/ 2859451 h 6858290"/>
              <a:gd name="connsiteX2511" fmla="*/ 1698856 w 12139750"/>
              <a:gd name="connsiteY2511" fmla="*/ 2943529 h 6858290"/>
              <a:gd name="connsiteX2512" fmla="*/ 1632272 w 12139750"/>
              <a:gd name="connsiteY2512" fmla="*/ 2901491 h 6858290"/>
              <a:gd name="connsiteX2513" fmla="*/ 1630369 w 12139750"/>
              <a:gd name="connsiteY2513" fmla="*/ 2888114 h 6858290"/>
              <a:gd name="connsiteX2514" fmla="*/ 1672222 w 12139750"/>
              <a:gd name="connsiteY2514" fmla="*/ 2834609 h 6858290"/>
              <a:gd name="connsiteX2515" fmla="*/ 2016556 w 12139750"/>
              <a:gd name="connsiteY2515" fmla="*/ 2750531 h 6858290"/>
              <a:gd name="connsiteX2516" fmla="*/ 2037929 w 12139750"/>
              <a:gd name="connsiteY2516" fmla="*/ 2750381 h 6858290"/>
              <a:gd name="connsiteX2517" fmla="*/ 3710449 w 12139750"/>
              <a:gd name="connsiteY2517" fmla="*/ 2745770 h 6858290"/>
              <a:gd name="connsiteX2518" fmla="*/ 3778943 w 12139750"/>
              <a:gd name="connsiteY2518" fmla="*/ 2795297 h 6858290"/>
              <a:gd name="connsiteX2519" fmla="*/ 3731376 w 12139750"/>
              <a:gd name="connsiteY2519" fmla="*/ 2863880 h 6858290"/>
              <a:gd name="connsiteX2520" fmla="*/ 3385145 w 12139750"/>
              <a:gd name="connsiteY2520" fmla="*/ 2924842 h 6858290"/>
              <a:gd name="connsiteX2521" fmla="*/ 3316655 w 12139750"/>
              <a:gd name="connsiteY2521" fmla="*/ 2875310 h 6858290"/>
              <a:gd name="connsiteX2522" fmla="*/ 3314753 w 12139750"/>
              <a:gd name="connsiteY2522" fmla="*/ 2865784 h 6858290"/>
              <a:gd name="connsiteX2523" fmla="*/ 3364218 w 12139750"/>
              <a:gd name="connsiteY2523" fmla="*/ 2806729 h 6858290"/>
              <a:gd name="connsiteX2524" fmla="*/ 3710449 w 12139750"/>
              <a:gd name="connsiteY2524" fmla="*/ 2745770 h 6858290"/>
              <a:gd name="connsiteX2525" fmla="*/ 2576948 w 12139750"/>
              <a:gd name="connsiteY2525" fmla="*/ 2745748 h 6858290"/>
              <a:gd name="connsiteX2526" fmla="*/ 2645436 w 12139750"/>
              <a:gd name="connsiteY2526" fmla="*/ 2795278 h 6858290"/>
              <a:gd name="connsiteX2527" fmla="*/ 2595973 w 12139750"/>
              <a:gd name="connsiteY2527" fmla="*/ 2863857 h 6858290"/>
              <a:gd name="connsiteX2528" fmla="*/ 2251629 w 12139750"/>
              <a:gd name="connsiteY2528" fmla="*/ 2924818 h 6858290"/>
              <a:gd name="connsiteX2529" fmla="*/ 2183141 w 12139750"/>
              <a:gd name="connsiteY2529" fmla="*/ 2875287 h 6858290"/>
              <a:gd name="connsiteX2530" fmla="*/ 2181238 w 12139750"/>
              <a:gd name="connsiteY2530" fmla="*/ 2865763 h 6858290"/>
              <a:gd name="connsiteX2531" fmla="*/ 2230702 w 12139750"/>
              <a:gd name="connsiteY2531" fmla="*/ 2806708 h 6858290"/>
              <a:gd name="connsiteX2532" fmla="*/ 2576948 w 12139750"/>
              <a:gd name="connsiteY2532" fmla="*/ 2745748 h 6858290"/>
              <a:gd name="connsiteX2533" fmla="*/ 3140488 w 12139750"/>
              <a:gd name="connsiteY2533" fmla="*/ 2739132 h 6858290"/>
              <a:gd name="connsiteX2534" fmla="*/ 3210926 w 12139750"/>
              <a:gd name="connsiteY2534" fmla="*/ 2796698 h 6858290"/>
              <a:gd name="connsiteX2535" fmla="*/ 3153818 w 12139750"/>
              <a:gd name="connsiteY2535" fmla="*/ 2867700 h 6858290"/>
              <a:gd name="connsiteX2536" fmla="*/ 2807329 w 12139750"/>
              <a:gd name="connsiteY2536" fmla="*/ 2906081 h 6858290"/>
              <a:gd name="connsiteX2537" fmla="*/ 2736893 w 12139750"/>
              <a:gd name="connsiteY2537" fmla="*/ 2848510 h 6858290"/>
              <a:gd name="connsiteX2538" fmla="*/ 2736893 w 12139750"/>
              <a:gd name="connsiteY2538" fmla="*/ 2840833 h 6858290"/>
              <a:gd name="connsiteX2539" fmla="*/ 2794003 w 12139750"/>
              <a:gd name="connsiteY2539" fmla="*/ 2777510 h 6858290"/>
              <a:gd name="connsiteX2540" fmla="*/ 3140488 w 12139750"/>
              <a:gd name="connsiteY2540" fmla="*/ 2739132 h 6858290"/>
              <a:gd name="connsiteX2541" fmla="*/ 9848938 w 12139750"/>
              <a:gd name="connsiteY2541" fmla="*/ 2478758 h 6858290"/>
              <a:gd name="connsiteX2542" fmla="*/ 9864192 w 12139750"/>
              <a:gd name="connsiteY2542" fmla="*/ 2478758 h 6858290"/>
              <a:gd name="connsiteX2543" fmla="*/ 9864192 w 12139750"/>
              <a:gd name="connsiteY2543" fmla="*/ 2494003 h 6858290"/>
              <a:gd name="connsiteX2544" fmla="*/ 9536232 w 12139750"/>
              <a:gd name="connsiteY2544" fmla="*/ 2823558 h 6858290"/>
              <a:gd name="connsiteX2545" fmla="*/ 9520978 w 12139750"/>
              <a:gd name="connsiteY2545" fmla="*/ 2823558 h 6858290"/>
              <a:gd name="connsiteX2546" fmla="*/ 9517164 w 12139750"/>
              <a:gd name="connsiteY2546" fmla="*/ 2815937 h 6858290"/>
              <a:gd name="connsiteX2547" fmla="*/ 9520978 w 12139750"/>
              <a:gd name="connsiteY2547" fmla="*/ 2808317 h 6858290"/>
              <a:gd name="connsiteX2548" fmla="*/ 9848938 w 12139750"/>
              <a:gd name="connsiteY2548" fmla="*/ 2478758 h 6858290"/>
              <a:gd name="connsiteX2549" fmla="*/ 9280068 w 12139750"/>
              <a:gd name="connsiteY2549" fmla="*/ 2470987 h 6858290"/>
              <a:gd name="connsiteX2550" fmla="*/ 9290784 w 12139750"/>
              <a:gd name="connsiteY2550" fmla="*/ 2476239 h 6858290"/>
              <a:gd name="connsiteX2551" fmla="*/ 9288879 w 12139750"/>
              <a:gd name="connsiteY2551" fmla="*/ 2497260 h 6858290"/>
              <a:gd name="connsiteX2552" fmla="*/ 8959309 w 12139750"/>
              <a:gd name="connsiteY2552" fmla="*/ 2800997 h 6858290"/>
              <a:gd name="connsiteX2553" fmla="*/ 8938354 w 12139750"/>
              <a:gd name="connsiteY2553" fmla="*/ 2800997 h 6858290"/>
              <a:gd name="connsiteX2554" fmla="*/ 8934544 w 12139750"/>
              <a:gd name="connsiteY2554" fmla="*/ 2789535 h 6858290"/>
              <a:gd name="connsiteX2555" fmla="*/ 8938354 w 12139750"/>
              <a:gd name="connsiteY2555" fmla="*/ 2778073 h 6858290"/>
              <a:gd name="connsiteX2556" fmla="*/ 9267924 w 12139750"/>
              <a:gd name="connsiteY2556" fmla="*/ 2474329 h 6858290"/>
              <a:gd name="connsiteX2557" fmla="*/ 9280068 w 12139750"/>
              <a:gd name="connsiteY2557" fmla="*/ 2470987 h 6858290"/>
              <a:gd name="connsiteX2558" fmla="*/ 10440785 w 12139750"/>
              <a:gd name="connsiteY2558" fmla="*/ 2470956 h 6858290"/>
              <a:gd name="connsiteX2559" fmla="*/ 10451262 w 12139750"/>
              <a:gd name="connsiteY2559" fmla="*/ 2476209 h 6858290"/>
              <a:gd name="connsiteX2560" fmla="*/ 10451262 w 12139750"/>
              <a:gd name="connsiteY2560" fmla="*/ 2497223 h 6858290"/>
              <a:gd name="connsiteX2561" fmla="*/ 10121692 w 12139750"/>
              <a:gd name="connsiteY2561" fmla="*/ 2800974 h 6858290"/>
              <a:gd name="connsiteX2562" fmla="*/ 10098832 w 12139750"/>
              <a:gd name="connsiteY2562" fmla="*/ 2800974 h 6858290"/>
              <a:gd name="connsiteX2563" fmla="*/ 10095022 w 12139750"/>
              <a:gd name="connsiteY2563" fmla="*/ 2789511 h 6858290"/>
              <a:gd name="connsiteX2564" fmla="*/ 10100737 w 12139750"/>
              <a:gd name="connsiteY2564" fmla="*/ 2778049 h 6858290"/>
              <a:gd name="connsiteX2565" fmla="*/ 10430307 w 12139750"/>
              <a:gd name="connsiteY2565" fmla="*/ 2474298 h 6858290"/>
              <a:gd name="connsiteX2566" fmla="*/ 10440785 w 12139750"/>
              <a:gd name="connsiteY2566" fmla="*/ 2470956 h 6858290"/>
              <a:gd name="connsiteX2567" fmla="*/ 8710792 w 12139750"/>
              <a:gd name="connsiteY2567" fmla="*/ 2467329 h 6858290"/>
              <a:gd name="connsiteX2568" fmla="*/ 8723695 w 12139750"/>
              <a:gd name="connsiteY2568" fmla="*/ 2474959 h 6858290"/>
              <a:gd name="connsiteX2569" fmla="*/ 8721783 w 12139750"/>
              <a:gd name="connsiteY2569" fmla="*/ 2501658 h 6858290"/>
              <a:gd name="connsiteX2570" fmla="*/ 8389182 w 12139750"/>
              <a:gd name="connsiteY2570" fmla="*/ 2780051 h 6858290"/>
              <a:gd name="connsiteX2571" fmla="*/ 8360509 w 12139750"/>
              <a:gd name="connsiteY2571" fmla="*/ 2778145 h 6858290"/>
              <a:gd name="connsiteX2572" fmla="*/ 8356686 w 12139750"/>
              <a:gd name="connsiteY2572" fmla="*/ 2764800 h 6858290"/>
              <a:gd name="connsiteX2573" fmla="*/ 8364332 w 12139750"/>
              <a:gd name="connsiteY2573" fmla="*/ 2749541 h 6858290"/>
              <a:gd name="connsiteX2574" fmla="*/ 8695022 w 12139750"/>
              <a:gd name="connsiteY2574" fmla="*/ 2471144 h 6858290"/>
              <a:gd name="connsiteX2575" fmla="*/ 8710792 w 12139750"/>
              <a:gd name="connsiteY2575" fmla="*/ 2467329 h 6858290"/>
              <a:gd name="connsiteX2576" fmla="*/ 11018422 w 12139750"/>
              <a:gd name="connsiteY2576" fmla="*/ 2467296 h 6858290"/>
              <a:gd name="connsiteX2577" fmla="*/ 11031984 w 12139750"/>
              <a:gd name="connsiteY2577" fmla="*/ 2474925 h 6858290"/>
              <a:gd name="connsiteX2578" fmla="*/ 11030081 w 12139750"/>
              <a:gd name="connsiteY2578" fmla="*/ 2501621 h 6858290"/>
              <a:gd name="connsiteX2579" fmla="*/ 10698888 w 12139750"/>
              <a:gd name="connsiteY2579" fmla="*/ 2780026 h 6858290"/>
              <a:gd name="connsiteX2580" fmla="*/ 10670337 w 12139750"/>
              <a:gd name="connsiteY2580" fmla="*/ 2778118 h 6858290"/>
              <a:gd name="connsiteX2581" fmla="*/ 10666530 w 12139750"/>
              <a:gd name="connsiteY2581" fmla="*/ 2764770 h 6858290"/>
              <a:gd name="connsiteX2582" fmla="*/ 10672240 w 12139750"/>
              <a:gd name="connsiteY2582" fmla="*/ 2749515 h 6858290"/>
              <a:gd name="connsiteX2583" fmla="*/ 11003433 w 12139750"/>
              <a:gd name="connsiteY2583" fmla="*/ 2471111 h 6858290"/>
              <a:gd name="connsiteX2584" fmla="*/ 11018422 w 12139750"/>
              <a:gd name="connsiteY2584" fmla="*/ 2467296 h 6858290"/>
              <a:gd name="connsiteX2585" fmla="*/ 8147250 w 12139750"/>
              <a:gd name="connsiteY2585" fmla="*/ 2462181 h 6858290"/>
              <a:gd name="connsiteX2586" fmla="*/ 8162992 w 12139750"/>
              <a:gd name="connsiteY2586" fmla="*/ 2470551 h 6858290"/>
              <a:gd name="connsiteX2587" fmla="*/ 8159176 w 12139750"/>
              <a:gd name="connsiteY2587" fmla="*/ 2506900 h 6858290"/>
              <a:gd name="connsiteX2588" fmla="*/ 7825249 w 12139750"/>
              <a:gd name="connsiteY2588" fmla="*/ 2759395 h 6858290"/>
              <a:gd name="connsiteX2589" fmla="*/ 7790902 w 12139750"/>
              <a:gd name="connsiteY2589" fmla="*/ 2755567 h 6858290"/>
              <a:gd name="connsiteX2590" fmla="*/ 7785178 w 12139750"/>
              <a:gd name="connsiteY2590" fmla="*/ 2740262 h 6858290"/>
              <a:gd name="connsiteX2591" fmla="*/ 7794719 w 12139750"/>
              <a:gd name="connsiteY2591" fmla="*/ 2719221 h 6858290"/>
              <a:gd name="connsiteX2592" fmla="*/ 8128645 w 12139750"/>
              <a:gd name="connsiteY2592" fmla="*/ 2466726 h 6858290"/>
              <a:gd name="connsiteX2593" fmla="*/ 8147250 w 12139750"/>
              <a:gd name="connsiteY2593" fmla="*/ 2462181 h 6858290"/>
              <a:gd name="connsiteX2594" fmla="*/ 11591857 w 12139750"/>
              <a:gd name="connsiteY2594" fmla="*/ 2462171 h 6858290"/>
              <a:gd name="connsiteX2595" fmla="*/ 11608260 w 12139750"/>
              <a:gd name="connsiteY2595" fmla="*/ 2470542 h 6858290"/>
              <a:gd name="connsiteX2596" fmla="*/ 11602555 w 12139750"/>
              <a:gd name="connsiteY2596" fmla="*/ 2506889 h 6858290"/>
              <a:gd name="connsiteX2597" fmla="*/ 11271628 w 12139750"/>
              <a:gd name="connsiteY2597" fmla="*/ 2759383 h 6858290"/>
              <a:gd name="connsiteX2598" fmla="*/ 11235492 w 12139750"/>
              <a:gd name="connsiteY2598" fmla="*/ 2755558 h 6858290"/>
              <a:gd name="connsiteX2599" fmla="*/ 11231688 w 12139750"/>
              <a:gd name="connsiteY2599" fmla="*/ 2740254 h 6858290"/>
              <a:gd name="connsiteX2600" fmla="*/ 11241197 w 12139750"/>
              <a:gd name="connsiteY2600" fmla="*/ 2719210 h 6858290"/>
              <a:gd name="connsiteX2601" fmla="*/ 11574027 w 12139750"/>
              <a:gd name="connsiteY2601" fmla="*/ 2466717 h 6858290"/>
              <a:gd name="connsiteX2602" fmla="*/ 11591857 w 12139750"/>
              <a:gd name="connsiteY2602" fmla="*/ 2462171 h 6858290"/>
              <a:gd name="connsiteX2603" fmla="*/ 7591001 w 12139750"/>
              <a:gd name="connsiteY2603" fmla="*/ 2459079 h 6858290"/>
              <a:gd name="connsiteX2604" fmla="*/ 7610543 w 12139750"/>
              <a:gd name="connsiteY2604" fmla="*/ 2471476 h 6858290"/>
              <a:gd name="connsiteX2605" fmla="*/ 7602917 w 12139750"/>
              <a:gd name="connsiteY2605" fmla="*/ 2511529 h 6858290"/>
              <a:gd name="connsiteX2606" fmla="*/ 7267365 w 12139750"/>
              <a:gd name="connsiteY2606" fmla="*/ 2738458 h 6858290"/>
              <a:gd name="connsiteX2607" fmla="*/ 7227327 w 12139750"/>
              <a:gd name="connsiteY2607" fmla="*/ 2730832 h 6858290"/>
              <a:gd name="connsiteX2608" fmla="*/ 7221608 w 12139750"/>
              <a:gd name="connsiteY2608" fmla="*/ 2715570 h 6858290"/>
              <a:gd name="connsiteX2609" fmla="*/ 7234954 w 12139750"/>
              <a:gd name="connsiteY2609" fmla="*/ 2690775 h 6858290"/>
              <a:gd name="connsiteX2610" fmla="*/ 7568599 w 12139750"/>
              <a:gd name="connsiteY2610" fmla="*/ 2463845 h 6858290"/>
              <a:gd name="connsiteX2611" fmla="*/ 7591001 w 12139750"/>
              <a:gd name="connsiteY2611" fmla="*/ 2459079 h 6858290"/>
              <a:gd name="connsiteX2612" fmla="*/ 12139750 w 12139750"/>
              <a:gd name="connsiteY2612" fmla="*/ 2459059 h 6858290"/>
              <a:gd name="connsiteX2613" fmla="*/ 12139750 w 12139750"/>
              <a:gd name="connsiteY2613" fmla="*/ 2529860 h 6858290"/>
              <a:gd name="connsiteX2614" fmla="*/ 11834670 w 12139750"/>
              <a:gd name="connsiteY2614" fmla="*/ 2738414 h 6858290"/>
              <a:gd name="connsiteX2615" fmla="*/ 11792722 w 12139750"/>
              <a:gd name="connsiteY2615" fmla="*/ 2730760 h 6858290"/>
              <a:gd name="connsiteX2616" fmla="*/ 11788908 w 12139750"/>
              <a:gd name="connsiteY2616" fmla="*/ 2715453 h 6858290"/>
              <a:gd name="connsiteX2617" fmla="*/ 11800348 w 12139750"/>
              <a:gd name="connsiteY2617" fmla="*/ 2690576 h 6858290"/>
              <a:gd name="connsiteX2618" fmla="*/ 12135936 w 12139750"/>
              <a:gd name="connsiteY2618" fmla="*/ 2462887 h 6858290"/>
              <a:gd name="connsiteX2619" fmla="*/ 12139750 w 12139750"/>
              <a:gd name="connsiteY2619" fmla="*/ 2459059 h 6858290"/>
              <a:gd name="connsiteX2620" fmla="*/ 7041900 w 12139750"/>
              <a:gd name="connsiteY2620" fmla="*/ 2453933 h 6858290"/>
              <a:gd name="connsiteX2621" fmla="*/ 7062856 w 12139750"/>
              <a:gd name="connsiteY2621" fmla="*/ 2468988 h 6858290"/>
              <a:gd name="connsiteX2622" fmla="*/ 7051425 w 12139750"/>
              <a:gd name="connsiteY2622" fmla="*/ 2516781 h 6858290"/>
              <a:gd name="connsiteX2623" fmla="*/ 6714236 w 12139750"/>
              <a:gd name="connsiteY2623" fmla="*/ 2719384 h 6858290"/>
              <a:gd name="connsiteX2624" fmla="*/ 6668515 w 12139750"/>
              <a:gd name="connsiteY2624" fmla="*/ 2706003 h 6858290"/>
              <a:gd name="connsiteX2625" fmla="*/ 6662800 w 12139750"/>
              <a:gd name="connsiteY2625" fmla="*/ 2688796 h 6858290"/>
              <a:gd name="connsiteX2626" fmla="*/ 6679945 w 12139750"/>
              <a:gd name="connsiteY2626" fmla="*/ 2660125 h 6858290"/>
              <a:gd name="connsiteX2627" fmla="*/ 7015230 w 12139750"/>
              <a:gd name="connsiteY2627" fmla="*/ 2457516 h 6858290"/>
              <a:gd name="connsiteX2628" fmla="*/ 7041900 w 12139750"/>
              <a:gd name="connsiteY2628" fmla="*/ 2453933 h 6858290"/>
              <a:gd name="connsiteX2629" fmla="*/ 6499365 w 12139750"/>
              <a:gd name="connsiteY2629" fmla="*/ 2450542 h 6858290"/>
              <a:gd name="connsiteX2630" fmla="*/ 6521511 w 12139750"/>
              <a:gd name="connsiteY2630" fmla="*/ 2469741 h 6858290"/>
              <a:gd name="connsiteX2631" fmla="*/ 6506270 w 12139750"/>
              <a:gd name="connsiteY2631" fmla="*/ 2520932 h 6858290"/>
              <a:gd name="connsiteX2632" fmla="*/ 6167176 w 12139750"/>
              <a:gd name="connsiteY2632" fmla="*/ 2697234 h 6858290"/>
              <a:gd name="connsiteX2633" fmla="*/ 6115740 w 12139750"/>
              <a:gd name="connsiteY2633" fmla="*/ 2680171 h 6858290"/>
              <a:gd name="connsiteX2634" fmla="*/ 6111930 w 12139750"/>
              <a:gd name="connsiteY2634" fmla="*/ 2663105 h 6858290"/>
              <a:gd name="connsiteX2635" fmla="*/ 6130980 w 12139750"/>
              <a:gd name="connsiteY2635" fmla="*/ 2628984 h 6858290"/>
              <a:gd name="connsiteX2636" fmla="*/ 6470075 w 12139750"/>
              <a:gd name="connsiteY2636" fmla="*/ 2452675 h 6858290"/>
              <a:gd name="connsiteX2637" fmla="*/ 6499365 w 12139750"/>
              <a:gd name="connsiteY2637" fmla="*/ 2450542 h 6858290"/>
              <a:gd name="connsiteX2638" fmla="*/ 5959672 w 12139750"/>
              <a:gd name="connsiteY2638" fmla="*/ 2446994 h 6858290"/>
              <a:gd name="connsiteX2639" fmla="*/ 5983314 w 12139750"/>
              <a:gd name="connsiteY2639" fmla="*/ 2468881 h 6858290"/>
              <a:gd name="connsiteX2640" fmla="*/ 5962297 w 12139750"/>
              <a:gd name="connsiteY2640" fmla="*/ 2525960 h 6858290"/>
              <a:gd name="connsiteX2641" fmla="*/ 5620299 w 12139750"/>
              <a:gd name="connsiteY2641" fmla="*/ 2676247 h 6858290"/>
              <a:gd name="connsiteX2642" fmla="*/ 5564892 w 12139750"/>
              <a:gd name="connsiteY2642" fmla="*/ 2655321 h 6858290"/>
              <a:gd name="connsiteX2643" fmla="*/ 5561071 w 12139750"/>
              <a:gd name="connsiteY2643" fmla="*/ 2638199 h 6858290"/>
              <a:gd name="connsiteX2644" fmla="*/ 5585909 w 12139750"/>
              <a:gd name="connsiteY2644" fmla="*/ 2598249 h 6858290"/>
              <a:gd name="connsiteX2645" fmla="*/ 5925996 w 12139750"/>
              <a:gd name="connsiteY2645" fmla="*/ 2447945 h 6858290"/>
              <a:gd name="connsiteX2646" fmla="*/ 5959672 w 12139750"/>
              <a:gd name="connsiteY2646" fmla="*/ 2446994 h 6858290"/>
              <a:gd name="connsiteX2647" fmla="*/ 399503 w 12139750"/>
              <a:gd name="connsiteY2647" fmla="*/ 2446979 h 6858290"/>
              <a:gd name="connsiteX2648" fmla="*/ 423846 w 12139750"/>
              <a:gd name="connsiteY2648" fmla="*/ 2468864 h 6858290"/>
              <a:gd name="connsiteX2649" fmla="*/ 400935 w 12139750"/>
              <a:gd name="connsiteY2649" fmla="*/ 2525942 h 6858290"/>
              <a:gd name="connsiteX2650" fmla="*/ 61095 w 12139750"/>
              <a:gd name="connsiteY2650" fmla="*/ 2676238 h 6858290"/>
              <a:gd name="connsiteX2651" fmla="*/ 3818 w 12139750"/>
              <a:gd name="connsiteY2651" fmla="*/ 2655311 h 6858290"/>
              <a:gd name="connsiteX2652" fmla="*/ 0 w 12139750"/>
              <a:gd name="connsiteY2652" fmla="*/ 2638187 h 6858290"/>
              <a:gd name="connsiteX2653" fmla="*/ 26729 w 12139750"/>
              <a:gd name="connsiteY2653" fmla="*/ 2598233 h 6858290"/>
              <a:gd name="connsiteX2654" fmla="*/ 366569 w 12139750"/>
              <a:gd name="connsiteY2654" fmla="*/ 2447930 h 6858290"/>
              <a:gd name="connsiteX2655" fmla="*/ 399503 w 12139750"/>
              <a:gd name="connsiteY2655" fmla="*/ 2446979 h 6858290"/>
              <a:gd name="connsiteX2656" fmla="*/ 5396620 w 12139750"/>
              <a:gd name="connsiteY2656" fmla="*/ 2440131 h 6858290"/>
              <a:gd name="connsiteX2657" fmla="*/ 5438856 w 12139750"/>
              <a:gd name="connsiteY2657" fmla="*/ 2471621 h 6858290"/>
              <a:gd name="connsiteX2658" fmla="*/ 5410341 w 12139750"/>
              <a:gd name="connsiteY2658" fmla="*/ 2532340 h 6858290"/>
              <a:gd name="connsiteX2659" fmla="*/ 5070072 w 12139750"/>
              <a:gd name="connsiteY2659" fmla="*/ 2657538 h 6858290"/>
              <a:gd name="connsiteX2660" fmla="*/ 5009250 w 12139750"/>
              <a:gd name="connsiteY2660" fmla="*/ 2629084 h 6858290"/>
              <a:gd name="connsiteX2661" fmla="*/ 5005447 w 12139750"/>
              <a:gd name="connsiteY2661" fmla="*/ 2613907 h 6858290"/>
              <a:gd name="connsiteX2662" fmla="*/ 5037760 w 12139750"/>
              <a:gd name="connsiteY2662" fmla="*/ 2568382 h 6858290"/>
              <a:gd name="connsiteX2663" fmla="*/ 5378027 w 12139750"/>
              <a:gd name="connsiteY2663" fmla="*/ 2443156 h 6858290"/>
              <a:gd name="connsiteX2664" fmla="*/ 5396620 w 12139750"/>
              <a:gd name="connsiteY2664" fmla="*/ 2440131 h 6858290"/>
              <a:gd name="connsiteX2665" fmla="*/ 930705 w 12139750"/>
              <a:gd name="connsiteY2665" fmla="*/ 2440114 h 6858290"/>
              <a:gd name="connsiteX2666" fmla="*/ 973124 w 12139750"/>
              <a:gd name="connsiteY2666" fmla="*/ 2471600 h 6858290"/>
              <a:gd name="connsiteX2667" fmla="*/ 944487 w 12139750"/>
              <a:gd name="connsiteY2667" fmla="*/ 2532315 h 6858290"/>
              <a:gd name="connsiteX2668" fmla="*/ 602753 w 12139750"/>
              <a:gd name="connsiteY2668" fmla="*/ 2657525 h 6858290"/>
              <a:gd name="connsiteX2669" fmla="*/ 541661 w 12139750"/>
              <a:gd name="connsiteY2669" fmla="*/ 2629070 h 6858290"/>
              <a:gd name="connsiteX2670" fmla="*/ 539751 w 12139750"/>
              <a:gd name="connsiteY2670" fmla="*/ 2613892 h 6858290"/>
              <a:gd name="connsiteX2671" fmla="*/ 570297 w 12139750"/>
              <a:gd name="connsiteY2671" fmla="*/ 2568362 h 6858290"/>
              <a:gd name="connsiteX2672" fmla="*/ 912032 w 12139750"/>
              <a:gd name="connsiteY2672" fmla="*/ 2443139 h 6858290"/>
              <a:gd name="connsiteX2673" fmla="*/ 930705 w 12139750"/>
              <a:gd name="connsiteY2673" fmla="*/ 2440114 h 6858290"/>
              <a:gd name="connsiteX2674" fmla="*/ 4847390 w 12139750"/>
              <a:gd name="connsiteY2674" fmla="*/ 2434959 h 6858290"/>
              <a:gd name="connsiteX2675" fmla="*/ 4891123 w 12139750"/>
              <a:gd name="connsiteY2675" fmla="*/ 2472791 h 6858290"/>
              <a:gd name="connsiteX2676" fmla="*/ 4856779 w 12139750"/>
              <a:gd name="connsiteY2676" fmla="*/ 2537664 h 6858290"/>
              <a:gd name="connsiteX2677" fmla="*/ 4513402 w 12139750"/>
              <a:gd name="connsiteY2677" fmla="*/ 2638759 h 6858290"/>
              <a:gd name="connsiteX2678" fmla="*/ 4448539 w 12139750"/>
              <a:gd name="connsiteY2678" fmla="*/ 2602516 h 6858290"/>
              <a:gd name="connsiteX2679" fmla="*/ 4446631 w 12139750"/>
              <a:gd name="connsiteY2679" fmla="*/ 2587256 h 6858290"/>
              <a:gd name="connsiteX2680" fmla="*/ 4482878 w 12139750"/>
              <a:gd name="connsiteY2680" fmla="*/ 2537664 h 6858290"/>
              <a:gd name="connsiteX2681" fmla="*/ 4826251 w 12139750"/>
              <a:gd name="connsiteY2681" fmla="*/ 2436537 h 6858290"/>
              <a:gd name="connsiteX2682" fmla="*/ 4847390 w 12139750"/>
              <a:gd name="connsiteY2682" fmla="*/ 2434959 h 6858290"/>
              <a:gd name="connsiteX2683" fmla="*/ 1482958 w 12139750"/>
              <a:gd name="connsiteY2683" fmla="*/ 2434939 h 6858290"/>
              <a:gd name="connsiteX2684" fmla="*/ 1527491 w 12139750"/>
              <a:gd name="connsiteY2684" fmla="*/ 2472769 h 6858290"/>
              <a:gd name="connsiteX2685" fmla="*/ 1491245 w 12139750"/>
              <a:gd name="connsiteY2685" fmla="*/ 2537636 h 6858290"/>
              <a:gd name="connsiteX2686" fmla="*/ 1147861 w 12139750"/>
              <a:gd name="connsiteY2686" fmla="*/ 2638743 h 6858290"/>
              <a:gd name="connsiteX2687" fmla="*/ 1082999 w 12139750"/>
              <a:gd name="connsiteY2687" fmla="*/ 2602496 h 6858290"/>
              <a:gd name="connsiteX2688" fmla="*/ 1081092 w 12139750"/>
              <a:gd name="connsiteY2688" fmla="*/ 2587234 h 6858290"/>
              <a:gd name="connsiteX2689" fmla="*/ 1119245 w 12139750"/>
              <a:gd name="connsiteY2689" fmla="*/ 2537636 h 6858290"/>
              <a:gd name="connsiteX2690" fmla="*/ 1462630 w 12139750"/>
              <a:gd name="connsiteY2690" fmla="*/ 2436519 h 6858290"/>
              <a:gd name="connsiteX2691" fmla="*/ 1482958 w 12139750"/>
              <a:gd name="connsiteY2691" fmla="*/ 2434939 h 6858290"/>
              <a:gd name="connsiteX2692" fmla="*/ 4270882 w 12139750"/>
              <a:gd name="connsiteY2692" fmla="*/ 2431445 h 6858290"/>
              <a:gd name="connsiteX2693" fmla="*/ 4339323 w 12139750"/>
              <a:gd name="connsiteY2693" fmla="*/ 2475264 h 6858290"/>
              <a:gd name="connsiteX2694" fmla="*/ 4295596 w 12139750"/>
              <a:gd name="connsiteY2694" fmla="*/ 2543855 h 6858290"/>
              <a:gd name="connsiteX2695" fmla="*/ 3951517 w 12139750"/>
              <a:gd name="connsiteY2695" fmla="*/ 2618134 h 6858290"/>
              <a:gd name="connsiteX2696" fmla="*/ 3883076 w 12139750"/>
              <a:gd name="connsiteY2696" fmla="*/ 2574330 h 6858290"/>
              <a:gd name="connsiteX2697" fmla="*/ 3883076 w 12139750"/>
              <a:gd name="connsiteY2697" fmla="*/ 2562902 h 6858290"/>
              <a:gd name="connsiteX2698" fmla="*/ 3926804 w 12139750"/>
              <a:gd name="connsiteY2698" fmla="*/ 2507657 h 6858290"/>
              <a:gd name="connsiteX2699" fmla="*/ 4270882 w 12139750"/>
              <a:gd name="connsiteY2699" fmla="*/ 2431445 h 6858290"/>
              <a:gd name="connsiteX2700" fmla="*/ 2016607 w 12139750"/>
              <a:gd name="connsiteY2700" fmla="*/ 2431425 h 6858290"/>
              <a:gd name="connsiteX2701" fmla="*/ 2085053 w 12139750"/>
              <a:gd name="connsiteY2701" fmla="*/ 2475241 h 6858290"/>
              <a:gd name="connsiteX2702" fmla="*/ 2041322 w 12139750"/>
              <a:gd name="connsiteY2702" fmla="*/ 2543824 h 6858290"/>
              <a:gd name="connsiteX2703" fmla="*/ 1697222 w 12139750"/>
              <a:gd name="connsiteY2703" fmla="*/ 2618115 h 6858290"/>
              <a:gd name="connsiteX2704" fmla="*/ 1630683 w 12139750"/>
              <a:gd name="connsiteY2704" fmla="*/ 2574302 h 6858290"/>
              <a:gd name="connsiteX2705" fmla="*/ 1628782 w 12139750"/>
              <a:gd name="connsiteY2705" fmla="*/ 2562874 h 6858290"/>
              <a:gd name="connsiteX2706" fmla="*/ 1674409 w 12139750"/>
              <a:gd name="connsiteY2706" fmla="*/ 2507628 h 6858290"/>
              <a:gd name="connsiteX2707" fmla="*/ 2016607 w 12139750"/>
              <a:gd name="connsiteY2707" fmla="*/ 2431425 h 6858290"/>
              <a:gd name="connsiteX2708" fmla="*/ 2799530 w 12139750"/>
              <a:gd name="connsiteY2708" fmla="*/ 2428905 h 6858290"/>
              <a:gd name="connsiteX2709" fmla="*/ 3148601 w 12139750"/>
              <a:gd name="connsiteY2709" fmla="*/ 2428905 h 6858290"/>
              <a:gd name="connsiteX2710" fmla="*/ 3221085 w 12139750"/>
              <a:gd name="connsiteY2710" fmla="*/ 2499561 h 6858290"/>
              <a:gd name="connsiteX2711" fmla="*/ 3148601 w 12139750"/>
              <a:gd name="connsiteY2711" fmla="*/ 2570203 h 6858290"/>
              <a:gd name="connsiteX2712" fmla="*/ 2799530 w 12139750"/>
              <a:gd name="connsiteY2712" fmla="*/ 2570203 h 6858290"/>
              <a:gd name="connsiteX2713" fmla="*/ 2728953 w 12139750"/>
              <a:gd name="connsiteY2713" fmla="*/ 2499561 h 6858290"/>
              <a:gd name="connsiteX2714" fmla="*/ 2799530 w 12139750"/>
              <a:gd name="connsiteY2714" fmla="*/ 2428905 h 6858290"/>
              <a:gd name="connsiteX2715" fmla="*/ 3713474 w 12139750"/>
              <a:gd name="connsiteY2715" fmla="*/ 2424778 h 6858290"/>
              <a:gd name="connsiteX2716" fmla="*/ 3782105 w 12139750"/>
              <a:gd name="connsiteY2716" fmla="*/ 2478123 h 6858290"/>
              <a:gd name="connsiteX2717" fmla="*/ 3730631 w 12139750"/>
              <a:gd name="connsiteY2717" fmla="*/ 2546711 h 6858290"/>
              <a:gd name="connsiteX2718" fmla="*/ 3383699 w 12139750"/>
              <a:gd name="connsiteY2718" fmla="*/ 2598132 h 6858290"/>
              <a:gd name="connsiteX2719" fmla="*/ 3315071 w 12139750"/>
              <a:gd name="connsiteY2719" fmla="*/ 2546711 h 6858290"/>
              <a:gd name="connsiteX2720" fmla="*/ 3313164 w 12139750"/>
              <a:gd name="connsiteY2720" fmla="*/ 2537188 h 6858290"/>
              <a:gd name="connsiteX2721" fmla="*/ 3366541 w 12139750"/>
              <a:gd name="connsiteY2721" fmla="*/ 2476218 h 6858290"/>
              <a:gd name="connsiteX2722" fmla="*/ 3713474 w 12139750"/>
              <a:gd name="connsiteY2722" fmla="*/ 2424778 h 6858290"/>
              <a:gd name="connsiteX2723" fmla="*/ 2578386 w 12139750"/>
              <a:gd name="connsiteY2723" fmla="*/ 2424755 h 6858290"/>
              <a:gd name="connsiteX2724" fmla="*/ 2647013 w 12139750"/>
              <a:gd name="connsiteY2724" fmla="*/ 2478098 h 6858290"/>
              <a:gd name="connsiteX2725" fmla="*/ 2595543 w 12139750"/>
              <a:gd name="connsiteY2725" fmla="*/ 2546678 h 6858290"/>
              <a:gd name="connsiteX2726" fmla="*/ 2248597 w 12139750"/>
              <a:gd name="connsiteY2726" fmla="*/ 2598110 h 6858290"/>
              <a:gd name="connsiteX2727" fmla="*/ 2179970 w 12139750"/>
              <a:gd name="connsiteY2727" fmla="*/ 2546678 h 6858290"/>
              <a:gd name="connsiteX2728" fmla="*/ 2178064 w 12139750"/>
              <a:gd name="connsiteY2728" fmla="*/ 2537153 h 6858290"/>
              <a:gd name="connsiteX2729" fmla="*/ 2231440 w 12139750"/>
              <a:gd name="connsiteY2729" fmla="*/ 2476192 h 6858290"/>
              <a:gd name="connsiteX2730" fmla="*/ 2578386 w 12139750"/>
              <a:gd name="connsiteY2730" fmla="*/ 2424755 h 6858290"/>
              <a:gd name="connsiteX2731" fmla="*/ 9856995 w 12139750"/>
              <a:gd name="connsiteY2731" fmla="*/ 2158848 h 6858290"/>
              <a:gd name="connsiteX2732" fmla="*/ 9865791 w 12139750"/>
              <a:gd name="connsiteY2732" fmla="*/ 2163134 h 6858290"/>
              <a:gd name="connsiteX2733" fmla="*/ 9869594 w 12139750"/>
              <a:gd name="connsiteY2733" fmla="*/ 2172659 h 6858290"/>
              <a:gd name="connsiteX2734" fmla="*/ 9865791 w 12139750"/>
              <a:gd name="connsiteY2734" fmla="*/ 2182184 h 6858290"/>
              <a:gd name="connsiteX2735" fmla="*/ 9536809 w 12139750"/>
              <a:gd name="connsiteY2735" fmla="*/ 2494604 h 6858290"/>
              <a:gd name="connsiteX2736" fmla="*/ 9517792 w 12139750"/>
              <a:gd name="connsiteY2736" fmla="*/ 2494604 h 6858290"/>
              <a:gd name="connsiteX2737" fmla="*/ 9519694 w 12139750"/>
              <a:gd name="connsiteY2737" fmla="*/ 2475555 h 6858290"/>
              <a:gd name="connsiteX2738" fmla="*/ 9846774 w 12139750"/>
              <a:gd name="connsiteY2738" fmla="*/ 2163134 h 6858290"/>
              <a:gd name="connsiteX2739" fmla="*/ 9856995 w 12139750"/>
              <a:gd name="connsiteY2739" fmla="*/ 2158848 h 6858290"/>
              <a:gd name="connsiteX2740" fmla="*/ 9280994 w 12139750"/>
              <a:gd name="connsiteY2740" fmla="*/ 2152757 h 6858290"/>
              <a:gd name="connsiteX2741" fmla="*/ 9292682 w 12139750"/>
              <a:gd name="connsiteY2741" fmla="*/ 2158723 h 6858290"/>
              <a:gd name="connsiteX2742" fmla="*/ 9296499 w 12139750"/>
              <a:gd name="connsiteY2742" fmla="*/ 2170175 h 6858290"/>
              <a:gd name="connsiteX2743" fmla="*/ 9290774 w 12139750"/>
              <a:gd name="connsiteY2743" fmla="*/ 2183535 h 6858290"/>
              <a:gd name="connsiteX2744" fmla="*/ 8960635 w 12139750"/>
              <a:gd name="connsiteY2744" fmla="*/ 2475567 h 6858290"/>
              <a:gd name="connsiteX2745" fmla="*/ 8935827 w 12139750"/>
              <a:gd name="connsiteY2745" fmla="*/ 2473653 h 6858290"/>
              <a:gd name="connsiteX2746" fmla="*/ 8935827 w 12139750"/>
              <a:gd name="connsiteY2746" fmla="*/ 2448839 h 6858290"/>
              <a:gd name="connsiteX2747" fmla="*/ 9267874 w 12139750"/>
              <a:gd name="connsiteY2747" fmla="*/ 2156814 h 6858290"/>
              <a:gd name="connsiteX2748" fmla="*/ 9280994 w 12139750"/>
              <a:gd name="connsiteY2748" fmla="*/ 2152757 h 6858290"/>
              <a:gd name="connsiteX2749" fmla="*/ 10441167 w 12139750"/>
              <a:gd name="connsiteY2749" fmla="*/ 2152737 h 6858290"/>
              <a:gd name="connsiteX2750" fmla="*/ 10452845 w 12139750"/>
              <a:gd name="connsiteY2750" fmla="*/ 2158701 h 6858290"/>
              <a:gd name="connsiteX2751" fmla="*/ 10458565 w 12139750"/>
              <a:gd name="connsiteY2751" fmla="*/ 2170154 h 6858290"/>
              <a:gd name="connsiteX2752" fmla="*/ 10452845 w 12139750"/>
              <a:gd name="connsiteY2752" fmla="*/ 2183515 h 6858290"/>
              <a:gd name="connsiteX2753" fmla="*/ 10121085 w 12139750"/>
              <a:gd name="connsiteY2753" fmla="*/ 2475541 h 6858290"/>
              <a:gd name="connsiteX2754" fmla="*/ 10096299 w 12139750"/>
              <a:gd name="connsiteY2754" fmla="*/ 2473632 h 6858290"/>
              <a:gd name="connsiteX2755" fmla="*/ 10098205 w 12139750"/>
              <a:gd name="connsiteY2755" fmla="*/ 2448819 h 6858290"/>
              <a:gd name="connsiteX2756" fmla="*/ 10428058 w 12139750"/>
              <a:gd name="connsiteY2756" fmla="*/ 2156792 h 6858290"/>
              <a:gd name="connsiteX2757" fmla="*/ 10441167 w 12139750"/>
              <a:gd name="connsiteY2757" fmla="*/ 2152737 h 6858290"/>
              <a:gd name="connsiteX2758" fmla="*/ 8711083 w 12139750"/>
              <a:gd name="connsiteY2758" fmla="*/ 2147846 h 6858290"/>
              <a:gd name="connsiteX2759" fmla="*/ 8725621 w 12139750"/>
              <a:gd name="connsiteY2759" fmla="*/ 2156214 h 6858290"/>
              <a:gd name="connsiteX2760" fmla="*/ 8731341 w 12139750"/>
              <a:gd name="connsiteY2760" fmla="*/ 2169603 h 6858290"/>
              <a:gd name="connsiteX2761" fmla="*/ 8723714 w 12139750"/>
              <a:gd name="connsiteY2761" fmla="*/ 2186815 h 6858290"/>
              <a:gd name="connsiteX2762" fmla="*/ 8390055 w 12139750"/>
              <a:gd name="connsiteY2762" fmla="*/ 2454587 h 6858290"/>
              <a:gd name="connsiteX2763" fmla="*/ 8359549 w 12139750"/>
              <a:gd name="connsiteY2763" fmla="*/ 2450760 h 6858290"/>
              <a:gd name="connsiteX2764" fmla="*/ 8363363 w 12139750"/>
              <a:gd name="connsiteY2764" fmla="*/ 2420157 h 6858290"/>
              <a:gd name="connsiteX2765" fmla="*/ 8695115 w 12139750"/>
              <a:gd name="connsiteY2765" fmla="*/ 2152388 h 6858290"/>
              <a:gd name="connsiteX2766" fmla="*/ 8711083 w 12139750"/>
              <a:gd name="connsiteY2766" fmla="*/ 2147846 h 6858290"/>
              <a:gd name="connsiteX2767" fmla="*/ 11019424 w 12139750"/>
              <a:gd name="connsiteY2767" fmla="*/ 2147822 h 6858290"/>
              <a:gd name="connsiteX2768" fmla="*/ 11033901 w 12139750"/>
              <a:gd name="connsiteY2768" fmla="*/ 2156190 h 6858290"/>
              <a:gd name="connsiteX2769" fmla="*/ 11039597 w 12139750"/>
              <a:gd name="connsiteY2769" fmla="*/ 2169578 h 6858290"/>
              <a:gd name="connsiteX2770" fmla="*/ 11030104 w 12139750"/>
              <a:gd name="connsiteY2770" fmla="*/ 2186792 h 6858290"/>
              <a:gd name="connsiteX2771" fmla="*/ 10699740 w 12139750"/>
              <a:gd name="connsiteY2771" fmla="*/ 2454563 h 6858290"/>
              <a:gd name="connsiteX2772" fmla="*/ 10669362 w 12139750"/>
              <a:gd name="connsiteY2772" fmla="*/ 2450738 h 6858290"/>
              <a:gd name="connsiteX2773" fmla="*/ 10673159 w 12139750"/>
              <a:gd name="connsiteY2773" fmla="*/ 2420136 h 6858290"/>
              <a:gd name="connsiteX2774" fmla="*/ 11003523 w 12139750"/>
              <a:gd name="connsiteY2774" fmla="*/ 2152364 h 6858290"/>
              <a:gd name="connsiteX2775" fmla="*/ 11019424 w 12139750"/>
              <a:gd name="connsiteY2775" fmla="*/ 2147822 h 6858290"/>
              <a:gd name="connsiteX2776" fmla="*/ 8148561 w 12139750"/>
              <a:gd name="connsiteY2776" fmla="*/ 2143310 h 6858290"/>
              <a:gd name="connsiteX2777" fmla="*/ 8165230 w 12139750"/>
              <a:gd name="connsiteY2777" fmla="*/ 2153323 h 6858290"/>
              <a:gd name="connsiteX2778" fmla="*/ 8170945 w 12139750"/>
              <a:gd name="connsiteY2778" fmla="*/ 2168580 h 6858290"/>
              <a:gd name="connsiteX2779" fmla="*/ 8159515 w 12139750"/>
              <a:gd name="connsiteY2779" fmla="*/ 2189556 h 6858290"/>
              <a:gd name="connsiteX2780" fmla="*/ 7826135 w 12139750"/>
              <a:gd name="connsiteY2780" fmla="*/ 2433651 h 6858290"/>
              <a:gd name="connsiteX2781" fmla="*/ 7789940 w 12139750"/>
              <a:gd name="connsiteY2781" fmla="*/ 2427930 h 6858290"/>
              <a:gd name="connsiteX2782" fmla="*/ 7795655 w 12139750"/>
              <a:gd name="connsiteY2782" fmla="*/ 2391692 h 6858290"/>
              <a:gd name="connsiteX2783" fmla="*/ 8129034 w 12139750"/>
              <a:gd name="connsiteY2783" fmla="*/ 2147602 h 6858290"/>
              <a:gd name="connsiteX2784" fmla="*/ 8148561 w 12139750"/>
              <a:gd name="connsiteY2784" fmla="*/ 2143310 h 6858290"/>
              <a:gd name="connsiteX2785" fmla="*/ 11593070 w 12139750"/>
              <a:gd name="connsiteY2785" fmla="*/ 2143308 h 6858290"/>
              <a:gd name="connsiteX2786" fmla="*/ 11610468 w 12139750"/>
              <a:gd name="connsiteY2786" fmla="*/ 2153320 h 6858290"/>
              <a:gd name="connsiteX2787" fmla="*/ 11614281 w 12139750"/>
              <a:gd name="connsiteY2787" fmla="*/ 2168577 h 6858290"/>
              <a:gd name="connsiteX2788" fmla="*/ 11604748 w 12139750"/>
              <a:gd name="connsiteY2788" fmla="*/ 2189556 h 6858290"/>
              <a:gd name="connsiteX2789" fmla="*/ 11271096 w 12139750"/>
              <a:gd name="connsiteY2789" fmla="*/ 2433649 h 6858290"/>
              <a:gd name="connsiteX2790" fmla="*/ 11232964 w 12139750"/>
              <a:gd name="connsiteY2790" fmla="*/ 2427928 h 6858290"/>
              <a:gd name="connsiteX2791" fmla="*/ 11238684 w 12139750"/>
              <a:gd name="connsiteY2791" fmla="*/ 2391689 h 6858290"/>
              <a:gd name="connsiteX2792" fmla="*/ 11574243 w 12139750"/>
              <a:gd name="connsiteY2792" fmla="*/ 2147600 h 6858290"/>
              <a:gd name="connsiteX2793" fmla="*/ 11593070 w 12139750"/>
              <a:gd name="connsiteY2793" fmla="*/ 2143308 h 6858290"/>
              <a:gd name="connsiteX2794" fmla="*/ 12139750 w 12139750"/>
              <a:gd name="connsiteY2794" fmla="*/ 2139967 h 6858290"/>
              <a:gd name="connsiteX2795" fmla="*/ 12139750 w 12139750"/>
              <a:gd name="connsiteY2795" fmla="*/ 2212438 h 6858290"/>
              <a:gd name="connsiteX2796" fmla="*/ 11835489 w 12139750"/>
              <a:gd name="connsiteY2796" fmla="*/ 2414592 h 6858290"/>
              <a:gd name="connsiteX2797" fmla="*/ 11793653 w 12139750"/>
              <a:gd name="connsiteY2797" fmla="*/ 2406965 h 6858290"/>
              <a:gd name="connsiteX2798" fmla="*/ 11801260 w 12139750"/>
              <a:gd name="connsiteY2798" fmla="*/ 2363100 h 6858290"/>
              <a:gd name="connsiteX2799" fmla="*/ 12135947 w 12139750"/>
              <a:gd name="connsiteY2799" fmla="*/ 2141874 h 6858290"/>
              <a:gd name="connsiteX2800" fmla="*/ 12139750 w 12139750"/>
              <a:gd name="connsiteY2800" fmla="*/ 2139967 h 6858290"/>
              <a:gd name="connsiteX2801" fmla="*/ 7591500 w 12139750"/>
              <a:gd name="connsiteY2801" fmla="*/ 2137042 h 6858290"/>
              <a:gd name="connsiteX2802" fmla="*/ 7609598 w 12139750"/>
              <a:gd name="connsiteY2802" fmla="*/ 2151126 h 6858290"/>
              <a:gd name="connsiteX2803" fmla="*/ 7615313 w 12139750"/>
              <a:gd name="connsiteY2803" fmla="*/ 2168310 h 6858290"/>
              <a:gd name="connsiteX2804" fmla="*/ 7601978 w 12139750"/>
              <a:gd name="connsiteY2804" fmla="*/ 2193129 h 6858290"/>
              <a:gd name="connsiteX2805" fmla="*/ 7266693 w 12139750"/>
              <a:gd name="connsiteY2805" fmla="*/ 2414586 h 6858290"/>
              <a:gd name="connsiteX2806" fmla="*/ 7224783 w 12139750"/>
              <a:gd name="connsiteY2806" fmla="*/ 2406948 h 6858290"/>
              <a:gd name="connsiteX2807" fmla="*/ 7232403 w 12139750"/>
              <a:gd name="connsiteY2807" fmla="*/ 2363036 h 6858290"/>
              <a:gd name="connsiteX2808" fmla="*/ 7567687 w 12139750"/>
              <a:gd name="connsiteY2808" fmla="*/ 2141577 h 6858290"/>
              <a:gd name="connsiteX2809" fmla="*/ 7591500 w 12139750"/>
              <a:gd name="connsiteY2809" fmla="*/ 2137042 h 6858290"/>
              <a:gd name="connsiteX2810" fmla="*/ 7042453 w 12139750"/>
              <a:gd name="connsiteY2810" fmla="*/ 2131898 h 6858290"/>
              <a:gd name="connsiteX2811" fmla="*/ 7063473 w 12139750"/>
              <a:gd name="connsiteY2811" fmla="*/ 2148647 h 6858290"/>
              <a:gd name="connsiteX2812" fmla="*/ 7069206 w 12139750"/>
              <a:gd name="connsiteY2812" fmla="*/ 2165871 h 6858290"/>
              <a:gd name="connsiteX2813" fmla="*/ 7052008 w 12139750"/>
              <a:gd name="connsiteY2813" fmla="*/ 2196489 h 6858290"/>
              <a:gd name="connsiteX2814" fmla="*/ 6713777 w 12139750"/>
              <a:gd name="connsiteY2814" fmla="*/ 2395511 h 6858290"/>
              <a:gd name="connsiteX2815" fmla="*/ 6666004 w 12139750"/>
              <a:gd name="connsiteY2815" fmla="*/ 2382111 h 6858290"/>
              <a:gd name="connsiteX2816" fmla="*/ 6679381 w 12139750"/>
              <a:gd name="connsiteY2816" fmla="*/ 2334271 h 6858290"/>
              <a:gd name="connsiteX2817" fmla="*/ 7015700 w 12139750"/>
              <a:gd name="connsiteY2817" fmla="*/ 2135246 h 6858290"/>
              <a:gd name="connsiteX2818" fmla="*/ 7042453 w 12139750"/>
              <a:gd name="connsiteY2818" fmla="*/ 2131898 h 6858290"/>
              <a:gd name="connsiteX2819" fmla="*/ 6500021 w 12139750"/>
              <a:gd name="connsiteY2819" fmla="*/ 2128305 h 6858290"/>
              <a:gd name="connsiteX2820" fmla="*/ 6522150 w 12139750"/>
              <a:gd name="connsiteY2820" fmla="*/ 2147621 h 6858290"/>
              <a:gd name="connsiteX2821" fmla="*/ 6527861 w 12139750"/>
              <a:gd name="connsiteY2821" fmla="*/ 2164788 h 6858290"/>
              <a:gd name="connsiteX2822" fmla="*/ 6506921 w 12139750"/>
              <a:gd name="connsiteY2822" fmla="*/ 2199117 h 6858290"/>
              <a:gd name="connsiteX2823" fmla="*/ 6168083 w 12139750"/>
              <a:gd name="connsiteY2823" fmla="*/ 2374582 h 6858290"/>
              <a:gd name="connsiteX2824" fmla="*/ 6116686 w 12139750"/>
              <a:gd name="connsiteY2824" fmla="*/ 2359325 h 6858290"/>
              <a:gd name="connsiteX2825" fmla="*/ 6131914 w 12139750"/>
              <a:gd name="connsiteY2825" fmla="*/ 2305910 h 6858290"/>
              <a:gd name="connsiteX2826" fmla="*/ 6470753 w 12139750"/>
              <a:gd name="connsiteY2826" fmla="*/ 2130452 h 6858290"/>
              <a:gd name="connsiteX2827" fmla="*/ 6500021 w 12139750"/>
              <a:gd name="connsiteY2827" fmla="*/ 2128305 h 6858290"/>
              <a:gd name="connsiteX2828" fmla="*/ 5959154 w 12139750"/>
              <a:gd name="connsiteY2828" fmla="*/ 2123129 h 6858290"/>
              <a:gd name="connsiteX2829" fmla="*/ 5982710 w 12139750"/>
              <a:gd name="connsiteY2829" fmla="*/ 2145011 h 6858290"/>
              <a:gd name="connsiteX2830" fmla="*/ 5986517 w 12139750"/>
              <a:gd name="connsiteY2830" fmla="*/ 2164036 h 6858290"/>
              <a:gd name="connsiteX2831" fmla="*/ 5961771 w 12139750"/>
              <a:gd name="connsiteY2831" fmla="*/ 2202088 h 6858290"/>
              <a:gd name="connsiteX2832" fmla="*/ 5621030 w 12139750"/>
              <a:gd name="connsiteY2832" fmla="*/ 2354289 h 6858290"/>
              <a:gd name="connsiteX2833" fmla="*/ 5565827 w 12139750"/>
              <a:gd name="connsiteY2833" fmla="*/ 2333361 h 6858290"/>
              <a:gd name="connsiteX2834" fmla="*/ 5586766 w 12139750"/>
              <a:gd name="connsiteY2834" fmla="*/ 2276282 h 6858290"/>
              <a:gd name="connsiteX2835" fmla="*/ 5925602 w 12139750"/>
              <a:gd name="connsiteY2835" fmla="*/ 2124078 h 6858290"/>
              <a:gd name="connsiteX2836" fmla="*/ 5959154 w 12139750"/>
              <a:gd name="connsiteY2836" fmla="*/ 2123129 h 6858290"/>
              <a:gd name="connsiteX2837" fmla="*/ 398983 w 12139750"/>
              <a:gd name="connsiteY2837" fmla="*/ 2123125 h 6858290"/>
              <a:gd name="connsiteX2838" fmla="*/ 423236 w 12139750"/>
              <a:gd name="connsiteY2838" fmla="*/ 2145008 h 6858290"/>
              <a:gd name="connsiteX2839" fmla="*/ 427040 w 12139750"/>
              <a:gd name="connsiteY2839" fmla="*/ 2164035 h 6858290"/>
              <a:gd name="connsiteX2840" fmla="*/ 402312 w 12139750"/>
              <a:gd name="connsiteY2840" fmla="*/ 2202084 h 6858290"/>
              <a:gd name="connsiteX2841" fmla="*/ 61813 w 12139750"/>
              <a:gd name="connsiteY2841" fmla="*/ 2354287 h 6858290"/>
              <a:gd name="connsiteX2842" fmla="*/ 6649 w 12139750"/>
              <a:gd name="connsiteY2842" fmla="*/ 2333359 h 6858290"/>
              <a:gd name="connsiteX2843" fmla="*/ 27573 w 12139750"/>
              <a:gd name="connsiteY2843" fmla="*/ 2276282 h 6858290"/>
              <a:gd name="connsiteX2844" fmla="*/ 366169 w 12139750"/>
              <a:gd name="connsiteY2844" fmla="*/ 2124076 h 6858290"/>
              <a:gd name="connsiteX2845" fmla="*/ 398983 w 12139750"/>
              <a:gd name="connsiteY2845" fmla="*/ 2123125 h 6858290"/>
              <a:gd name="connsiteX2846" fmla="*/ 5396847 w 12139750"/>
              <a:gd name="connsiteY2846" fmla="*/ 2116229 h 6858290"/>
              <a:gd name="connsiteX2847" fmla="*/ 5438191 w 12139750"/>
              <a:gd name="connsiteY2847" fmla="*/ 2145804 h 6858290"/>
              <a:gd name="connsiteX2848" fmla="*/ 5442009 w 12139750"/>
              <a:gd name="connsiteY2848" fmla="*/ 2162858 h 6858290"/>
              <a:gd name="connsiteX2849" fmla="*/ 5411464 w 12139750"/>
              <a:gd name="connsiteY2849" fmla="*/ 2206436 h 6858290"/>
              <a:gd name="connsiteX2850" fmla="*/ 5069727 w 12139750"/>
              <a:gd name="connsiteY2850" fmla="*/ 2335278 h 6858290"/>
              <a:gd name="connsiteX2851" fmla="*/ 5008643 w 12139750"/>
              <a:gd name="connsiteY2851" fmla="*/ 2308745 h 6858290"/>
              <a:gd name="connsiteX2852" fmla="*/ 5037276 w 12139750"/>
              <a:gd name="connsiteY2852" fmla="*/ 2248119 h 6858290"/>
              <a:gd name="connsiteX2853" fmla="*/ 5379009 w 12139750"/>
              <a:gd name="connsiteY2853" fmla="*/ 2119278 h 6858290"/>
              <a:gd name="connsiteX2854" fmla="*/ 5396847 w 12139750"/>
              <a:gd name="connsiteY2854" fmla="*/ 2116229 h 6858290"/>
              <a:gd name="connsiteX2855" fmla="*/ 930370 w 12139750"/>
              <a:gd name="connsiteY2855" fmla="*/ 2116224 h 6858290"/>
              <a:gd name="connsiteX2856" fmla="*/ 972820 w 12139750"/>
              <a:gd name="connsiteY2856" fmla="*/ 2145802 h 6858290"/>
              <a:gd name="connsiteX2857" fmla="*/ 974730 w 12139750"/>
              <a:gd name="connsiteY2857" fmla="*/ 2162856 h 6858290"/>
              <a:gd name="connsiteX2858" fmla="*/ 944162 w 12139750"/>
              <a:gd name="connsiteY2858" fmla="*/ 2206434 h 6858290"/>
              <a:gd name="connsiteX2859" fmla="*/ 602179 w 12139750"/>
              <a:gd name="connsiteY2859" fmla="*/ 2335276 h 6858290"/>
              <a:gd name="connsiteX2860" fmla="*/ 542953 w 12139750"/>
              <a:gd name="connsiteY2860" fmla="*/ 2308745 h 6858290"/>
              <a:gd name="connsiteX2861" fmla="*/ 569700 w 12139750"/>
              <a:gd name="connsiteY2861" fmla="*/ 2248116 h 6858290"/>
              <a:gd name="connsiteX2862" fmla="*/ 911683 w 12139750"/>
              <a:gd name="connsiteY2862" fmla="*/ 2119276 h 6858290"/>
              <a:gd name="connsiteX2863" fmla="*/ 930370 w 12139750"/>
              <a:gd name="connsiteY2863" fmla="*/ 2116224 h 6858290"/>
              <a:gd name="connsiteX2864" fmla="*/ 4845975 w 12139750"/>
              <a:gd name="connsiteY2864" fmla="*/ 2110281 h 6858290"/>
              <a:gd name="connsiteX2865" fmla="*/ 4890814 w 12139750"/>
              <a:gd name="connsiteY2865" fmla="*/ 2147142 h 6858290"/>
              <a:gd name="connsiteX2866" fmla="*/ 4892723 w 12139750"/>
              <a:gd name="connsiteY2866" fmla="*/ 2162340 h 6858290"/>
              <a:gd name="connsiteX2867" fmla="*/ 4856446 w 12139750"/>
              <a:gd name="connsiteY2867" fmla="*/ 2209828 h 6858290"/>
              <a:gd name="connsiteX2868" fmla="*/ 4512822 w 12139750"/>
              <a:gd name="connsiteY2868" fmla="*/ 2316199 h 6858290"/>
              <a:gd name="connsiteX2869" fmla="*/ 4449824 w 12139750"/>
              <a:gd name="connsiteY2869" fmla="*/ 2283899 h 6858290"/>
              <a:gd name="connsiteX2870" fmla="*/ 4482278 w 12139750"/>
              <a:gd name="connsiteY2870" fmla="*/ 2219324 h 6858290"/>
              <a:gd name="connsiteX2871" fmla="*/ 4825899 w 12139750"/>
              <a:gd name="connsiteY2871" fmla="*/ 2112951 h 6858290"/>
              <a:gd name="connsiteX2872" fmla="*/ 4845975 w 12139750"/>
              <a:gd name="connsiteY2872" fmla="*/ 2110281 h 6858290"/>
              <a:gd name="connsiteX2873" fmla="*/ 1482447 w 12139750"/>
              <a:gd name="connsiteY2873" fmla="*/ 2110278 h 6858290"/>
              <a:gd name="connsiteX2874" fmla="*/ 1525280 w 12139750"/>
              <a:gd name="connsiteY2874" fmla="*/ 2147139 h 6858290"/>
              <a:gd name="connsiteX2875" fmla="*/ 1527184 w 12139750"/>
              <a:gd name="connsiteY2875" fmla="*/ 2162337 h 6858290"/>
              <a:gd name="connsiteX2876" fmla="*/ 1492917 w 12139750"/>
              <a:gd name="connsiteY2876" fmla="*/ 2209825 h 6858290"/>
              <a:gd name="connsiteX2877" fmla="*/ 1150255 w 12139750"/>
              <a:gd name="connsiteY2877" fmla="*/ 2316198 h 6858290"/>
              <a:gd name="connsiteX2878" fmla="*/ 1085530 w 12139750"/>
              <a:gd name="connsiteY2878" fmla="*/ 2283899 h 6858290"/>
              <a:gd name="connsiteX2879" fmla="*/ 1119796 w 12139750"/>
              <a:gd name="connsiteY2879" fmla="*/ 2219322 h 6858290"/>
              <a:gd name="connsiteX2880" fmla="*/ 1462458 w 12139750"/>
              <a:gd name="connsiteY2880" fmla="*/ 2112949 h 6858290"/>
              <a:gd name="connsiteX2881" fmla="*/ 1482447 w 12139750"/>
              <a:gd name="connsiteY2881" fmla="*/ 2110278 h 6858290"/>
              <a:gd name="connsiteX2882" fmla="*/ 4292468 w 12139750"/>
              <a:gd name="connsiteY2882" fmla="*/ 2106615 h 6858290"/>
              <a:gd name="connsiteX2883" fmla="*/ 4338674 w 12139750"/>
              <a:gd name="connsiteY2883" fmla="*/ 2147679 h 6858290"/>
              <a:gd name="connsiteX2884" fmla="*/ 4338674 w 12139750"/>
              <a:gd name="connsiteY2884" fmla="*/ 2160953 h 6858290"/>
              <a:gd name="connsiteX2885" fmla="*/ 4296646 w 12139750"/>
              <a:gd name="connsiteY2885" fmla="*/ 2214045 h 6858290"/>
              <a:gd name="connsiteX2886" fmla="*/ 3952805 w 12139750"/>
              <a:gd name="connsiteY2886" fmla="*/ 2297470 h 6858290"/>
              <a:gd name="connsiteX2887" fmla="*/ 3884033 w 12139750"/>
              <a:gd name="connsiteY2887" fmla="*/ 2257656 h 6858290"/>
              <a:gd name="connsiteX2888" fmla="*/ 3926060 w 12139750"/>
              <a:gd name="connsiteY2888" fmla="*/ 2191291 h 6858290"/>
              <a:gd name="connsiteX2889" fmla="*/ 4269902 w 12139750"/>
              <a:gd name="connsiteY2889" fmla="*/ 2107861 h 6858290"/>
              <a:gd name="connsiteX2890" fmla="*/ 4292468 w 12139750"/>
              <a:gd name="connsiteY2890" fmla="*/ 2106615 h 6858290"/>
              <a:gd name="connsiteX2891" fmla="*/ 2038710 w 12139750"/>
              <a:gd name="connsiteY2891" fmla="*/ 2106612 h 6858290"/>
              <a:gd name="connsiteX2892" fmla="*/ 2084082 w 12139750"/>
              <a:gd name="connsiteY2892" fmla="*/ 2147677 h 6858290"/>
              <a:gd name="connsiteX2893" fmla="*/ 2085991 w 12139750"/>
              <a:gd name="connsiteY2893" fmla="*/ 2160951 h 6858290"/>
              <a:gd name="connsiteX2894" fmla="*/ 2043989 w 12139750"/>
              <a:gd name="connsiteY2894" fmla="*/ 2214042 h 6858290"/>
              <a:gd name="connsiteX2895" fmla="*/ 1698467 w 12139750"/>
              <a:gd name="connsiteY2895" fmla="*/ 2297470 h 6858290"/>
              <a:gd name="connsiteX2896" fmla="*/ 1631654 w 12139750"/>
              <a:gd name="connsiteY2896" fmla="*/ 2257654 h 6858290"/>
              <a:gd name="connsiteX2897" fmla="*/ 1671742 w 12139750"/>
              <a:gd name="connsiteY2897" fmla="*/ 2191289 h 6858290"/>
              <a:gd name="connsiteX2898" fmla="*/ 2017264 w 12139750"/>
              <a:gd name="connsiteY2898" fmla="*/ 2107857 h 6858290"/>
              <a:gd name="connsiteX2899" fmla="*/ 2038710 w 12139750"/>
              <a:gd name="connsiteY2899" fmla="*/ 2106612 h 6858290"/>
              <a:gd name="connsiteX2900" fmla="*/ 3734742 w 12139750"/>
              <a:gd name="connsiteY2900" fmla="*/ 2101215 h 6858290"/>
              <a:gd name="connsiteX2901" fmla="*/ 3779871 w 12139750"/>
              <a:gd name="connsiteY2901" fmla="*/ 2149168 h 6858290"/>
              <a:gd name="connsiteX2902" fmla="*/ 3779871 w 12139750"/>
              <a:gd name="connsiteY2902" fmla="*/ 2158693 h 6858290"/>
              <a:gd name="connsiteX2903" fmla="*/ 3732116 w 12139750"/>
              <a:gd name="connsiteY2903" fmla="*/ 2217746 h 6858290"/>
              <a:gd name="connsiteX2904" fmla="*/ 3384469 w 12139750"/>
              <a:gd name="connsiteY2904" fmla="*/ 2278704 h 6858290"/>
              <a:gd name="connsiteX2905" fmla="*/ 3315701 w 12139750"/>
              <a:gd name="connsiteY2905" fmla="*/ 2231081 h 6858290"/>
              <a:gd name="connsiteX2906" fmla="*/ 3363456 w 12139750"/>
              <a:gd name="connsiteY2906" fmla="*/ 2160598 h 6858290"/>
              <a:gd name="connsiteX2907" fmla="*/ 3711103 w 12139750"/>
              <a:gd name="connsiteY2907" fmla="*/ 2101543 h 6858290"/>
              <a:gd name="connsiteX2908" fmla="*/ 3734742 w 12139750"/>
              <a:gd name="connsiteY2908" fmla="*/ 2101215 h 6858290"/>
              <a:gd name="connsiteX2909" fmla="*/ 2601252 w 12139750"/>
              <a:gd name="connsiteY2909" fmla="*/ 2101212 h 6858290"/>
              <a:gd name="connsiteX2910" fmla="*/ 2646380 w 12139750"/>
              <a:gd name="connsiteY2910" fmla="*/ 2149163 h 6858290"/>
              <a:gd name="connsiteX2911" fmla="*/ 2646380 w 12139750"/>
              <a:gd name="connsiteY2911" fmla="*/ 2158690 h 6858290"/>
              <a:gd name="connsiteX2912" fmla="*/ 2596715 w 12139750"/>
              <a:gd name="connsiteY2912" fmla="*/ 2217744 h 6858290"/>
              <a:gd name="connsiteX2913" fmla="*/ 2250972 w 12139750"/>
              <a:gd name="connsiteY2913" fmla="*/ 2278703 h 6858290"/>
              <a:gd name="connsiteX2914" fmla="*/ 2182205 w 12139750"/>
              <a:gd name="connsiteY2914" fmla="*/ 2231079 h 6858290"/>
              <a:gd name="connsiteX2915" fmla="*/ 2229960 w 12139750"/>
              <a:gd name="connsiteY2915" fmla="*/ 2160595 h 6858290"/>
              <a:gd name="connsiteX2916" fmla="*/ 2577613 w 12139750"/>
              <a:gd name="connsiteY2916" fmla="*/ 2101540 h 6858290"/>
              <a:gd name="connsiteX2917" fmla="*/ 2601252 w 12139750"/>
              <a:gd name="connsiteY2917" fmla="*/ 2101212 h 6858290"/>
              <a:gd name="connsiteX2918" fmla="*/ 3141099 w 12139750"/>
              <a:gd name="connsiteY2918" fmla="*/ 2094548 h 6858290"/>
              <a:gd name="connsiteX2919" fmla="*/ 3211539 w 12139750"/>
              <a:gd name="connsiteY2919" fmla="*/ 2151594 h 6858290"/>
              <a:gd name="connsiteX2920" fmla="*/ 3211539 w 12139750"/>
              <a:gd name="connsiteY2920" fmla="*/ 2159200 h 6858290"/>
              <a:gd name="connsiteX2921" fmla="*/ 3156330 w 12139750"/>
              <a:gd name="connsiteY2921" fmla="*/ 2221949 h 6858290"/>
              <a:gd name="connsiteX2922" fmla="*/ 2807941 w 12139750"/>
              <a:gd name="connsiteY2922" fmla="*/ 2259980 h 6858290"/>
              <a:gd name="connsiteX2923" fmla="*/ 2737501 w 12139750"/>
              <a:gd name="connsiteY2923" fmla="*/ 2202934 h 6858290"/>
              <a:gd name="connsiteX2924" fmla="*/ 2794615 w 12139750"/>
              <a:gd name="connsiteY2924" fmla="*/ 2132575 h 6858290"/>
              <a:gd name="connsiteX2925" fmla="*/ 3141099 w 12139750"/>
              <a:gd name="connsiteY2925" fmla="*/ 2094548 h 6858290"/>
              <a:gd name="connsiteX2926" fmla="*/ 9859129 w 12139750"/>
              <a:gd name="connsiteY2926" fmla="*/ 1839997 h 6858290"/>
              <a:gd name="connsiteX2927" fmla="*/ 9870549 w 12139750"/>
              <a:gd name="connsiteY2927" fmla="*/ 1845944 h 6858290"/>
              <a:gd name="connsiteX2928" fmla="*/ 9874356 w 12139750"/>
              <a:gd name="connsiteY2928" fmla="*/ 1857363 h 6858290"/>
              <a:gd name="connsiteX2929" fmla="*/ 9868646 w 12139750"/>
              <a:gd name="connsiteY2929" fmla="*/ 1868782 h 6858290"/>
              <a:gd name="connsiteX2930" fmla="*/ 9539364 w 12139750"/>
              <a:gd name="connsiteY2930" fmla="*/ 2165681 h 6858290"/>
              <a:gd name="connsiteX2931" fmla="*/ 9516524 w 12139750"/>
              <a:gd name="connsiteY2931" fmla="*/ 2165681 h 6858290"/>
              <a:gd name="connsiteX2932" fmla="*/ 9516524 w 12139750"/>
              <a:gd name="connsiteY2932" fmla="*/ 2142843 h 6858290"/>
              <a:gd name="connsiteX2933" fmla="*/ 9847709 w 12139750"/>
              <a:gd name="connsiteY2933" fmla="*/ 1844041 h 6858290"/>
              <a:gd name="connsiteX2934" fmla="*/ 9859129 w 12139750"/>
              <a:gd name="connsiteY2934" fmla="*/ 1839997 h 6858290"/>
              <a:gd name="connsiteX2935" fmla="*/ 9281354 w 12139750"/>
              <a:gd name="connsiteY2935" fmla="*/ 1833512 h 6858290"/>
              <a:gd name="connsiteX2936" fmla="*/ 9293964 w 12139750"/>
              <a:gd name="connsiteY2936" fmla="*/ 1841846 h 6858290"/>
              <a:gd name="connsiteX2937" fmla="*/ 9299674 w 12139750"/>
              <a:gd name="connsiteY2937" fmla="*/ 1853277 h 6858290"/>
              <a:gd name="connsiteX2938" fmla="*/ 9292060 w 12139750"/>
              <a:gd name="connsiteY2938" fmla="*/ 1868517 h 6858290"/>
              <a:gd name="connsiteX2939" fmla="*/ 8960867 w 12139750"/>
              <a:gd name="connsiteY2939" fmla="*/ 2146642 h 6858290"/>
              <a:gd name="connsiteX2940" fmla="*/ 8932316 w 12139750"/>
              <a:gd name="connsiteY2940" fmla="*/ 2144739 h 6858290"/>
              <a:gd name="connsiteX2941" fmla="*/ 8936123 w 12139750"/>
              <a:gd name="connsiteY2941" fmla="*/ 2116162 h 6858290"/>
              <a:gd name="connsiteX2942" fmla="*/ 9267316 w 12139750"/>
              <a:gd name="connsiteY2942" fmla="*/ 1838036 h 6858290"/>
              <a:gd name="connsiteX2943" fmla="*/ 9281354 w 12139750"/>
              <a:gd name="connsiteY2943" fmla="*/ 1833512 h 6858290"/>
              <a:gd name="connsiteX2944" fmla="*/ 10443580 w 12139750"/>
              <a:gd name="connsiteY2944" fmla="*/ 1833487 h 6858290"/>
              <a:gd name="connsiteX2945" fmla="*/ 10457916 w 12139750"/>
              <a:gd name="connsiteY2945" fmla="*/ 1841822 h 6858290"/>
              <a:gd name="connsiteX2946" fmla="*/ 10461739 w 12139750"/>
              <a:gd name="connsiteY2946" fmla="*/ 1853252 h 6858290"/>
              <a:gd name="connsiteX2947" fmla="*/ 10454093 w 12139750"/>
              <a:gd name="connsiteY2947" fmla="*/ 1868492 h 6858290"/>
              <a:gd name="connsiteX2948" fmla="*/ 10121491 w 12139750"/>
              <a:gd name="connsiteY2948" fmla="*/ 2146621 h 6858290"/>
              <a:gd name="connsiteX2949" fmla="*/ 10094730 w 12139750"/>
              <a:gd name="connsiteY2949" fmla="*/ 2144715 h 6858290"/>
              <a:gd name="connsiteX2950" fmla="*/ 10096642 w 12139750"/>
              <a:gd name="connsiteY2950" fmla="*/ 2116141 h 6858290"/>
              <a:gd name="connsiteX2951" fmla="*/ 10429243 w 12139750"/>
              <a:gd name="connsiteY2951" fmla="*/ 1838012 h 6858290"/>
              <a:gd name="connsiteX2952" fmla="*/ 10443580 w 12139750"/>
              <a:gd name="connsiteY2952" fmla="*/ 1833487 h 6858290"/>
              <a:gd name="connsiteX2953" fmla="*/ 8711664 w 12139750"/>
              <a:gd name="connsiteY2953" fmla="*/ 1828739 h 6858290"/>
              <a:gd name="connsiteX2954" fmla="*/ 8727194 w 12139750"/>
              <a:gd name="connsiteY2954" fmla="*/ 1837048 h 6858290"/>
              <a:gd name="connsiteX2955" fmla="*/ 8732928 w 12139750"/>
              <a:gd name="connsiteY2955" fmla="*/ 1852242 h 6858290"/>
              <a:gd name="connsiteX2956" fmla="*/ 8723371 w 12139750"/>
              <a:gd name="connsiteY2956" fmla="*/ 1871234 h 6858290"/>
              <a:gd name="connsiteX2957" fmla="*/ 8390798 w 12139750"/>
              <a:gd name="connsiteY2957" fmla="*/ 2127610 h 6858290"/>
              <a:gd name="connsiteX2958" fmla="*/ 8356393 w 12139750"/>
              <a:gd name="connsiteY2958" fmla="*/ 2123813 h 6858290"/>
              <a:gd name="connsiteX2959" fmla="*/ 8360216 w 12139750"/>
              <a:gd name="connsiteY2959" fmla="*/ 2089634 h 6858290"/>
              <a:gd name="connsiteX2960" fmla="*/ 8694701 w 12139750"/>
              <a:gd name="connsiteY2960" fmla="*/ 1833250 h 6858290"/>
              <a:gd name="connsiteX2961" fmla="*/ 8711664 w 12139750"/>
              <a:gd name="connsiteY2961" fmla="*/ 1828739 h 6858290"/>
              <a:gd name="connsiteX2962" fmla="*/ 11021508 w 12139750"/>
              <a:gd name="connsiteY2962" fmla="*/ 1828712 h 6858290"/>
              <a:gd name="connsiteX2963" fmla="*/ 11037038 w 12139750"/>
              <a:gd name="connsiteY2963" fmla="*/ 1837021 h 6858290"/>
              <a:gd name="connsiteX2964" fmla="*/ 11042772 w 12139750"/>
              <a:gd name="connsiteY2964" fmla="*/ 1852214 h 6858290"/>
              <a:gd name="connsiteX2965" fmla="*/ 11033215 w 12139750"/>
              <a:gd name="connsiteY2965" fmla="*/ 1871206 h 6858290"/>
              <a:gd name="connsiteX2966" fmla="*/ 10698730 w 12139750"/>
              <a:gd name="connsiteY2966" fmla="*/ 2127592 h 6858290"/>
              <a:gd name="connsiteX2967" fmla="*/ 10666237 w 12139750"/>
              <a:gd name="connsiteY2967" fmla="*/ 2123794 h 6858290"/>
              <a:gd name="connsiteX2968" fmla="*/ 10670060 w 12139750"/>
              <a:gd name="connsiteY2968" fmla="*/ 2089609 h 6858290"/>
              <a:gd name="connsiteX2969" fmla="*/ 11004545 w 12139750"/>
              <a:gd name="connsiteY2969" fmla="*/ 1833223 h 6858290"/>
              <a:gd name="connsiteX2970" fmla="*/ 11021508 w 12139750"/>
              <a:gd name="connsiteY2970" fmla="*/ 1828712 h 6858290"/>
              <a:gd name="connsiteX2971" fmla="*/ 8148424 w 12139750"/>
              <a:gd name="connsiteY2971" fmla="*/ 1822231 h 6858290"/>
              <a:gd name="connsiteX2972" fmla="*/ 8166804 w 12139750"/>
              <a:gd name="connsiteY2972" fmla="*/ 1832924 h 6858290"/>
              <a:gd name="connsiteX2973" fmla="*/ 8172533 w 12139750"/>
              <a:gd name="connsiteY2973" fmla="*/ 1850033 h 6858290"/>
              <a:gd name="connsiteX2974" fmla="*/ 8161075 w 12139750"/>
              <a:gd name="connsiteY2974" fmla="*/ 1872844 h 6858290"/>
              <a:gd name="connsiteX2975" fmla="*/ 7824980 w 12139750"/>
              <a:gd name="connsiteY2975" fmla="*/ 2108561 h 6858290"/>
              <a:gd name="connsiteX2976" fmla="*/ 7786788 w 12139750"/>
              <a:gd name="connsiteY2976" fmla="*/ 2100956 h 6858290"/>
              <a:gd name="connsiteX2977" fmla="*/ 7792517 w 12139750"/>
              <a:gd name="connsiteY2977" fmla="*/ 2062938 h 6858290"/>
              <a:gd name="connsiteX2978" fmla="*/ 8128611 w 12139750"/>
              <a:gd name="connsiteY2978" fmla="*/ 1827221 h 6858290"/>
              <a:gd name="connsiteX2979" fmla="*/ 8148424 w 12139750"/>
              <a:gd name="connsiteY2979" fmla="*/ 1822231 h 6858290"/>
              <a:gd name="connsiteX2980" fmla="*/ 11593502 w 12139750"/>
              <a:gd name="connsiteY2980" fmla="*/ 1822227 h 6858290"/>
              <a:gd name="connsiteX2981" fmla="*/ 11612061 w 12139750"/>
              <a:gd name="connsiteY2981" fmla="*/ 1832920 h 6858290"/>
              <a:gd name="connsiteX2982" fmla="*/ 11615868 w 12139750"/>
              <a:gd name="connsiteY2982" fmla="*/ 1850029 h 6858290"/>
              <a:gd name="connsiteX2983" fmla="*/ 11604447 w 12139750"/>
              <a:gd name="connsiteY2983" fmla="*/ 1872840 h 6858290"/>
              <a:gd name="connsiteX2984" fmla="*/ 11271337 w 12139750"/>
              <a:gd name="connsiteY2984" fmla="*/ 2108557 h 6858290"/>
              <a:gd name="connsiteX2985" fmla="*/ 11233267 w 12139750"/>
              <a:gd name="connsiteY2985" fmla="*/ 2100952 h 6858290"/>
              <a:gd name="connsiteX2986" fmla="*/ 11238978 w 12139750"/>
              <a:gd name="connsiteY2986" fmla="*/ 2062934 h 6858290"/>
              <a:gd name="connsiteX2987" fmla="*/ 11572088 w 12139750"/>
              <a:gd name="connsiteY2987" fmla="*/ 1827217 h 6858290"/>
              <a:gd name="connsiteX2988" fmla="*/ 11593502 w 12139750"/>
              <a:gd name="connsiteY2988" fmla="*/ 1822227 h 6858290"/>
              <a:gd name="connsiteX2989" fmla="*/ 12139750 w 12139750"/>
              <a:gd name="connsiteY2989" fmla="*/ 1819296 h 6858290"/>
              <a:gd name="connsiteX2990" fmla="*/ 12139750 w 12139750"/>
              <a:gd name="connsiteY2990" fmla="*/ 1893845 h 6858290"/>
              <a:gd name="connsiteX2991" fmla="*/ 11834405 w 12139750"/>
              <a:gd name="connsiteY2991" fmla="*/ 2090726 h 6858290"/>
              <a:gd name="connsiteX2992" fmla="*/ 11790512 w 12139750"/>
              <a:gd name="connsiteY2992" fmla="*/ 2081169 h 6858290"/>
              <a:gd name="connsiteX2993" fmla="*/ 11800054 w 12139750"/>
              <a:gd name="connsiteY2993" fmla="*/ 2037205 h 6858290"/>
              <a:gd name="connsiteX2994" fmla="*/ 12135933 w 12139750"/>
              <a:gd name="connsiteY2994" fmla="*/ 1821208 h 6858290"/>
              <a:gd name="connsiteX2995" fmla="*/ 12139750 w 12139750"/>
              <a:gd name="connsiteY2995" fmla="*/ 1819296 h 6858290"/>
              <a:gd name="connsiteX2996" fmla="*/ 7591461 w 12139750"/>
              <a:gd name="connsiteY2996" fmla="*/ 1816389 h 6858290"/>
              <a:gd name="connsiteX2997" fmla="*/ 7611195 w 12139750"/>
              <a:gd name="connsiteY2997" fmla="*/ 1830500 h 6858290"/>
              <a:gd name="connsiteX2998" fmla="*/ 7616901 w 12139750"/>
              <a:gd name="connsiteY2998" fmla="*/ 1847721 h 6858290"/>
              <a:gd name="connsiteX2999" fmla="*/ 7601685 w 12139750"/>
              <a:gd name="connsiteY2999" fmla="*/ 1874509 h 6858290"/>
              <a:gd name="connsiteX3000" fmla="*/ 7266927 w 12139750"/>
              <a:gd name="connsiteY3000" fmla="*/ 2090722 h 6858290"/>
              <a:gd name="connsiteX3001" fmla="*/ 7223180 w 12139750"/>
              <a:gd name="connsiteY3001" fmla="*/ 2081155 h 6858290"/>
              <a:gd name="connsiteX3002" fmla="*/ 7232690 w 12139750"/>
              <a:gd name="connsiteY3002" fmla="*/ 2037147 h 6858290"/>
              <a:gd name="connsiteX3003" fmla="*/ 7567448 w 12139750"/>
              <a:gd name="connsiteY3003" fmla="*/ 1820933 h 6858290"/>
              <a:gd name="connsiteX3004" fmla="*/ 7591461 w 12139750"/>
              <a:gd name="connsiteY3004" fmla="*/ 1816389 h 6858290"/>
              <a:gd name="connsiteX3005" fmla="*/ 7042453 w 12139750"/>
              <a:gd name="connsiteY3005" fmla="*/ 1811445 h 6858290"/>
              <a:gd name="connsiteX3006" fmla="*/ 7063473 w 12139750"/>
              <a:gd name="connsiteY3006" fmla="*/ 1827876 h 6858290"/>
              <a:gd name="connsiteX3007" fmla="*/ 7069206 w 12139750"/>
              <a:gd name="connsiteY3007" fmla="*/ 1845021 h 6858290"/>
              <a:gd name="connsiteX3008" fmla="*/ 7052008 w 12139750"/>
              <a:gd name="connsiteY3008" fmla="*/ 1875501 h 6858290"/>
              <a:gd name="connsiteX3009" fmla="*/ 6713777 w 12139750"/>
              <a:gd name="connsiteY3009" fmla="*/ 2071714 h 6858290"/>
              <a:gd name="connsiteX3010" fmla="*/ 6666004 w 12139750"/>
              <a:gd name="connsiteY3010" fmla="*/ 2058379 h 6858290"/>
              <a:gd name="connsiteX3011" fmla="*/ 6679381 w 12139750"/>
              <a:gd name="connsiteY3011" fmla="*/ 2010756 h 6858290"/>
              <a:gd name="connsiteX3012" fmla="*/ 7015700 w 12139750"/>
              <a:gd name="connsiteY3012" fmla="*/ 1816445 h 6858290"/>
              <a:gd name="connsiteX3013" fmla="*/ 7042453 w 12139750"/>
              <a:gd name="connsiteY3013" fmla="*/ 1811445 h 6858290"/>
              <a:gd name="connsiteX3014" fmla="*/ 6499936 w 12139750"/>
              <a:gd name="connsiteY3014" fmla="*/ 1806065 h 6858290"/>
              <a:gd name="connsiteX3015" fmla="*/ 6522132 w 12139750"/>
              <a:gd name="connsiteY3015" fmla="*/ 1825400 h 6858290"/>
              <a:gd name="connsiteX3016" fmla="*/ 6527860 w 12139750"/>
              <a:gd name="connsiteY3016" fmla="*/ 1842587 h 6858290"/>
              <a:gd name="connsiteX3017" fmla="*/ 6506857 w 12139750"/>
              <a:gd name="connsiteY3017" fmla="*/ 1876960 h 6858290"/>
              <a:gd name="connsiteX3018" fmla="*/ 6166999 w 12139750"/>
              <a:gd name="connsiteY3018" fmla="*/ 2052641 h 6858290"/>
              <a:gd name="connsiteX3019" fmla="*/ 6115448 w 12139750"/>
              <a:gd name="connsiteY3019" fmla="*/ 2035456 h 6858290"/>
              <a:gd name="connsiteX3020" fmla="*/ 6130722 w 12139750"/>
              <a:gd name="connsiteY3020" fmla="*/ 1983897 h 6858290"/>
              <a:gd name="connsiteX3021" fmla="*/ 6470580 w 12139750"/>
              <a:gd name="connsiteY3021" fmla="*/ 1808213 h 6858290"/>
              <a:gd name="connsiteX3022" fmla="*/ 6499936 w 12139750"/>
              <a:gd name="connsiteY3022" fmla="*/ 1806065 h 6858290"/>
              <a:gd name="connsiteX3023" fmla="*/ 5958440 w 12139750"/>
              <a:gd name="connsiteY3023" fmla="*/ 1800931 h 6858290"/>
              <a:gd name="connsiteX3024" fmla="*/ 5982710 w 12139750"/>
              <a:gd name="connsiteY3024" fmla="*/ 1822950 h 6858290"/>
              <a:gd name="connsiteX3025" fmla="*/ 5986517 w 12139750"/>
              <a:gd name="connsiteY3025" fmla="*/ 1840183 h 6858290"/>
              <a:gd name="connsiteX3026" fmla="*/ 5961771 w 12139750"/>
              <a:gd name="connsiteY3026" fmla="*/ 1878478 h 6858290"/>
              <a:gd name="connsiteX3027" fmla="*/ 5622934 w 12139750"/>
              <a:gd name="connsiteY3027" fmla="*/ 2033566 h 6858290"/>
              <a:gd name="connsiteX3028" fmla="*/ 5565827 w 12139750"/>
              <a:gd name="connsiteY3028" fmla="*/ 2012506 h 6858290"/>
              <a:gd name="connsiteX3029" fmla="*/ 5586766 w 12139750"/>
              <a:gd name="connsiteY3029" fmla="*/ 1955065 h 6858290"/>
              <a:gd name="connsiteX3030" fmla="*/ 5925602 w 12139750"/>
              <a:gd name="connsiteY3030" fmla="*/ 1801889 h 6858290"/>
              <a:gd name="connsiteX3031" fmla="*/ 5958440 w 12139750"/>
              <a:gd name="connsiteY3031" fmla="*/ 1800931 h 6858290"/>
              <a:gd name="connsiteX3032" fmla="*/ 398962 w 12139750"/>
              <a:gd name="connsiteY3032" fmla="*/ 1800922 h 6858290"/>
              <a:gd name="connsiteX3033" fmla="*/ 423233 w 12139750"/>
              <a:gd name="connsiteY3033" fmla="*/ 1822941 h 6858290"/>
              <a:gd name="connsiteX3034" fmla="*/ 427041 w 12139750"/>
              <a:gd name="connsiteY3034" fmla="*/ 1840174 h 6858290"/>
              <a:gd name="connsiteX3035" fmla="*/ 400390 w 12139750"/>
              <a:gd name="connsiteY3035" fmla="*/ 1878468 h 6858290"/>
              <a:gd name="connsiteX3036" fmla="*/ 61546 w 12139750"/>
              <a:gd name="connsiteY3036" fmla="*/ 2033558 h 6858290"/>
              <a:gd name="connsiteX3037" fmla="*/ 6342 w 12139750"/>
              <a:gd name="connsiteY3037" fmla="*/ 2012496 h 6858290"/>
              <a:gd name="connsiteX3038" fmla="*/ 27281 w 12139750"/>
              <a:gd name="connsiteY3038" fmla="*/ 1955055 h 6858290"/>
              <a:gd name="connsiteX3039" fmla="*/ 366125 w 12139750"/>
              <a:gd name="connsiteY3039" fmla="*/ 1801879 h 6858290"/>
              <a:gd name="connsiteX3040" fmla="*/ 398962 w 12139750"/>
              <a:gd name="connsiteY3040" fmla="*/ 1800922 h 6858290"/>
              <a:gd name="connsiteX3041" fmla="*/ 5395741 w 12139750"/>
              <a:gd name="connsiteY3041" fmla="*/ 1792156 h 6858290"/>
              <a:gd name="connsiteX3042" fmla="*/ 5438189 w 12139750"/>
              <a:gd name="connsiteY3042" fmla="*/ 1822160 h 6858290"/>
              <a:gd name="connsiteX3043" fmla="*/ 5442010 w 12139750"/>
              <a:gd name="connsiteY3043" fmla="*/ 1839306 h 6858290"/>
              <a:gd name="connsiteX3044" fmla="*/ 5411443 w 12139750"/>
              <a:gd name="connsiteY3044" fmla="*/ 1883121 h 6858290"/>
              <a:gd name="connsiteX3045" fmla="*/ 5069457 w 12139750"/>
              <a:gd name="connsiteY3045" fmla="*/ 2014565 h 6858290"/>
              <a:gd name="connsiteX3046" fmla="*/ 5010238 w 12139750"/>
              <a:gd name="connsiteY3046" fmla="*/ 1989801 h 6858290"/>
              <a:gd name="connsiteX3047" fmla="*/ 5036983 w 12139750"/>
              <a:gd name="connsiteY3047" fmla="*/ 1928841 h 6858290"/>
              <a:gd name="connsiteX3048" fmla="*/ 5377054 w 12139750"/>
              <a:gd name="connsiteY3048" fmla="*/ 1795490 h 6858290"/>
              <a:gd name="connsiteX3049" fmla="*/ 5395741 w 12139750"/>
              <a:gd name="connsiteY3049" fmla="*/ 1792156 h 6858290"/>
              <a:gd name="connsiteX3050" fmla="*/ 929266 w 12139750"/>
              <a:gd name="connsiteY3050" fmla="*/ 1792145 h 6858290"/>
              <a:gd name="connsiteX3051" fmla="*/ 970909 w 12139750"/>
              <a:gd name="connsiteY3051" fmla="*/ 1822149 h 6858290"/>
              <a:gd name="connsiteX3052" fmla="*/ 974730 w 12139750"/>
              <a:gd name="connsiteY3052" fmla="*/ 1839294 h 6858290"/>
              <a:gd name="connsiteX3053" fmla="*/ 946072 w 12139750"/>
              <a:gd name="connsiteY3053" fmla="*/ 1883109 h 6858290"/>
              <a:gd name="connsiteX3054" fmla="*/ 604089 w 12139750"/>
              <a:gd name="connsiteY3054" fmla="*/ 2014554 h 6858290"/>
              <a:gd name="connsiteX3055" fmla="*/ 542953 w 12139750"/>
              <a:gd name="connsiteY3055" fmla="*/ 1989789 h 6858290"/>
              <a:gd name="connsiteX3056" fmla="*/ 569700 w 12139750"/>
              <a:gd name="connsiteY3056" fmla="*/ 1928829 h 6858290"/>
              <a:gd name="connsiteX3057" fmla="*/ 911683 w 12139750"/>
              <a:gd name="connsiteY3057" fmla="*/ 1795478 h 6858290"/>
              <a:gd name="connsiteX3058" fmla="*/ 929266 w 12139750"/>
              <a:gd name="connsiteY3058" fmla="*/ 1792145 h 6858290"/>
              <a:gd name="connsiteX3059" fmla="*/ 4845289 w 12139750"/>
              <a:gd name="connsiteY3059" fmla="*/ 1786421 h 6858290"/>
              <a:gd name="connsiteX3060" fmla="*/ 4889233 w 12139750"/>
              <a:gd name="connsiteY3060" fmla="*/ 1819733 h 6858290"/>
              <a:gd name="connsiteX3061" fmla="*/ 4891136 w 12139750"/>
              <a:gd name="connsiteY3061" fmla="*/ 1836927 h 6858290"/>
              <a:gd name="connsiteX3062" fmla="*/ 4856841 w 12139750"/>
              <a:gd name="connsiteY3062" fmla="*/ 1884687 h 6858290"/>
              <a:gd name="connsiteX3063" fmla="*/ 4515848 w 12139750"/>
              <a:gd name="connsiteY3063" fmla="*/ 1997399 h 6858290"/>
              <a:gd name="connsiteX3064" fmla="*/ 4451076 w 12139750"/>
              <a:gd name="connsiteY3064" fmla="*/ 1964923 h 6858290"/>
              <a:gd name="connsiteX3065" fmla="*/ 4483463 w 12139750"/>
              <a:gd name="connsiteY3065" fmla="*/ 1901881 h 6858290"/>
              <a:gd name="connsiteX3066" fmla="*/ 4826355 w 12139750"/>
              <a:gd name="connsiteY3066" fmla="*/ 1789167 h 6858290"/>
              <a:gd name="connsiteX3067" fmla="*/ 4845289 w 12139750"/>
              <a:gd name="connsiteY3067" fmla="*/ 1786421 h 6858290"/>
              <a:gd name="connsiteX3068" fmla="*/ 1480544 w 12139750"/>
              <a:gd name="connsiteY3068" fmla="*/ 1786407 h 6858290"/>
              <a:gd name="connsiteX3069" fmla="*/ 1523376 w 12139750"/>
              <a:gd name="connsiteY3069" fmla="*/ 1819719 h 6858290"/>
              <a:gd name="connsiteX3070" fmla="*/ 1527184 w 12139750"/>
              <a:gd name="connsiteY3070" fmla="*/ 1836913 h 6858290"/>
              <a:gd name="connsiteX3071" fmla="*/ 1492918 w 12139750"/>
              <a:gd name="connsiteY3071" fmla="*/ 1884672 h 6858290"/>
              <a:gd name="connsiteX3072" fmla="*/ 1150255 w 12139750"/>
              <a:gd name="connsiteY3072" fmla="*/ 1997385 h 6858290"/>
              <a:gd name="connsiteX3073" fmla="*/ 1087434 w 12139750"/>
              <a:gd name="connsiteY3073" fmla="*/ 1964908 h 6858290"/>
              <a:gd name="connsiteX3074" fmla="*/ 1119796 w 12139750"/>
              <a:gd name="connsiteY3074" fmla="*/ 1901866 h 6858290"/>
              <a:gd name="connsiteX3075" fmla="*/ 1460555 w 12139750"/>
              <a:gd name="connsiteY3075" fmla="*/ 1789153 h 6858290"/>
              <a:gd name="connsiteX3076" fmla="*/ 1480544 w 12139750"/>
              <a:gd name="connsiteY3076" fmla="*/ 1786407 h 6858290"/>
              <a:gd name="connsiteX3077" fmla="*/ 4289929 w 12139750"/>
              <a:gd name="connsiteY3077" fmla="*/ 1779643 h 6858290"/>
              <a:gd name="connsiteX3078" fmla="*/ 4333596 w 12139750"/>
              <a:gd name="connsiteY3078" fmla="*/ 1819260 h 6858290"/>
              <a:gd name="connsiteX3079" fmla="*/ 4335501 w 12139750"/>
              <a:gd name="connsiteY3079" fmla="*/ 1834591 h 6858290"/>
              <a:gd name="connsiteX3080" fmla="*/ 4295495 w 12139750"/>
              <a:gd name="connsiteY3080" fmla="*/ 1886336 h 6858290"/>
              <a:gd name="connsiteX3081" fmla="*/ 3952611 w 12139750"/>
              <a:gd name="connsiteY3081" fmla="*/ 1978325 h 6858290"/>
              <a:gd name="connsiteX3082" fmla="*/ 3885933 w 12139750"/>
              <a:gd name="connsiteY3082" fmla="*/ 1939996 h 6858290"/>
              <a:gd name="connsiteX3083" fmla="*/ 3924033 w 12139750"/>
              <a:gd name="connsiteY3083" fmla="*/ 1872921 h 6858290"/>
              <a:gd name="connsiteX3084" fmla="*/ 4268824 w 12139750"/>
              <a:gd name="connsiteY3084" fmla="*/ 1780930 h 6858290"/>
              <a:gd name="connsiteX3085" fmla="*/ 4289929 w 12139750"/>
              <a:gd name="connsiteY3085" fmla="*/ 1779643 h 6858290"/>
              <a:gd name="connsiteX3086" fmla="*/ 2035632 w 12139750"/>
              <a:gd name="connsiteY3086" fmla="*/ 1779626 h 6858290"/>
              <a:gd name="connsiteX3087" fmla="*/ 2080910 w 12139750"/>
              <a:gd name="connsiteY3087" fmla="*/ 1819243 h 6858290"/>
              <a:gd name="connsiteX3088" fmla="*/ 2082815 w 12139750"/>
              <a:gd name="connsiteY3088" fmla="*/ 1834574 h 6858290"/>
              <a:gd name="connsiteX3089" fmla="*/ 2042805 w 12139750"/>
              <a:gd name="connsiteY3089" fmla="*/ 1886319 h 6858290"/>
              <a:gd name="connsiteX3090" fmla="*/ 1699901 w 12139750"/>
              <a:gd name="connsiteY3090" fmla="*/ 1978307 h 6858290"/>
              <a:gd name="connsiteX3091" fmla="*/ 1633225 w 12139750"/>
              <a:gd name="connsiteY3091" fmla="*/ 1939979 h 6858290"/>
              <a:gd name="connsiteX3092" fmla="*/ 1671326 w 12139750"/>
              <a:gd name="connsiteY3092" fmla="*/ 1872903 h 6858290"/>
              <a:gd name="connsiteX3093" fmla="*/ 2014230 w 12139750"/>
              <a:gd name="connsiteY3093" fmla="*/ 1780914 h 6858290"/>
              <a:gd name="connsiteX3094" fmla="*/ 2035632 w 12139750"/>
              <a:gd name="connsiteY3094" fmla="*/ 1779626 h 6858290"/>
              <a:gd name="connsiteX3095" fmla="*/ 3732186 w 12139750"/>
              <a:gd name="connsiteY3095" fmla="*/ 1775478 h 6858290"/>
              <a:gd name="connsiteX3096" fmla="*/ 3778299 w 12139750"/>
              <a:gd name="connsiteY3096" fmla="*/ 1820020 h 6858290"/>
              <a:gd name="connsiteX3097" fmla="*/ 3778299 w 12139750"/>
              <a:gd name="connsiteY3097" fmla="*/ 1831468 h 6858290"/>
              <a:gd name="connsiteX3098" fmla="*/ 3732545 w 12139750"/>
              <a:gd name="connsiteY3098" fmla="*/ 1888710 h 6858290"/>
              <a:gd name="connsiteX3099" fmla="*/ 3387514 w 12139750"/>
              <a:gd name="connsiteY3099" fmla="*/ 1959308 h 6858290"/>
              <a:gd name="connsiteX3100" fmla="*/ 3318883 w 12139750"/>
              <a:gd name="connsiteY3100" fmla="*/ 1915423 h 6858290"/>
              <a:gd name="connsiteX3101" fmla="*/ 3364636 w 12139750"/>
              <a:gd name="connsiteY3101" fmla="*/ 1846733 h 6858290"/>
              <a:gd name="connsiteX3102" fmla="*/ 3709668 w 12139750"/>
              <a:gd name="connsiteY3102" fmla="*/ 1776134 h 6858290"/>
              <a:gd name="connsiteX3103" fmla="*/ 3732186 w 12139750"/>
              <a:gd name="connsiteY3103" fmla="*/ 1775478 h 6858290"/>
              <a:gd name="connsiteX3104" fmla="*/ 2597096 w 12139750"/>
              <a:gd name="connsiteY3104" fmla="*/ 1775459 h 6858290"/>
              <a:gd name="connsiteX3105" fmla="*/ 2643205 w 12139750"/>
              <a:gd name="connsiteY3105" fmla="*/ 1820000 h 6858290"/>
              <a:gd name="connsiteX3106" fmla="*/ 2643205 w 12139750"/>
              <a:gd name="connsiteY3106" fmla="*/ 1831449 h 6858290"/>
              <a:gd name="connsiteX3107" fmla="*/ 2597453 w 12139750"/>
              <a:gd name="connsiteY3107" fmla="*/ 1888690 h 6858290"/>
              <a:gd name="connsiteX3108" fmla="*/ 2252409 w 12139750"/>
              <a:gd name="connsiteY3108" fmla="*/ 1959288 h 6858290"/>
              <a:gd name="connsiteX3109" fmla="*/ 2183781 w 12139750"/>
              <a:gd name="connsiteY3109" fmla="*/ 1915403 h 6858290"/>
              <a:gd name="connsiteX3110" fmla="*/ 2229533 w 12139750"/>
              <a:gd name="connsiteY3110" fmla="*/ 1846713 h 6858290"/>
              <a:gd name="connsiteX3111" fmla="*/ 2574577 w 12139750"/>
              <a:gd name="connsiteY3111" fmla="*/ 1776115 h 6858290"/>
              <a:gd name="connsiteX3112" fmla="*/ 2597096 w 12139750"/>
              <a:gd name="connsiteY3112" fmla="*/ 1775459 h 6858290"/>
              <a:gd name="connsiteX3113" fmla="*/ 3139439 w 12139750"/>
              <a:gd name="connsiteY3113" fmla="*/ 1767857 h 6858290"/>
              <a:gd name="connsiteX3114" fmla="*/ 3209972 w 12139750"/>
              <a:gd name="connsiteY3114" fmla="*/ 1819203 h 6858290"/>
              <a:gd name="connsiteX3115" fmla="*/ 3209972 w 12139750"/>
              <a:gd name="connsiteY3115" fmla="*/ 1828711 h 6858290"/>
              <a:gd name="connsiteX3116" fmla="*/ 3156596 w 12139750"/>
              <a:gd name="connsiteY3116" fmla="*/ 1889566 h 6858290"/>
              <a:gd name="connsiteX3117" fmla="*/ 2811555 w 12139750"/>
              <a:gd name="connsiteY3117" fmla="*/ 1939010 h 6858290"/>
              <a:gd name="connsiteX3118" fmla="*/ 2741022 w 12139750"/>
              <a:gd name="connsiteY3118" fmla="*/ 1887665 h 6858290"/>
              <a:gd name="connsiteX3119" fmla="*/ 2792492 w 12139750"/>
              <a:gd name="connsiteY3119" fmla="*/ 1819203 h 6858290"/>
              <a:gd name="connsiteX3120" fmla="*/ 3139439 w 12139750"/>
              <a:gd name="connsiteY3120" fmla="*/ 1767857 h 6858290"/>
              <a:gd name="connsiteX3121" fmla="*/ 9859195 w 12139750"/>
              <a:gd name="connsiteY3121" fmla="*/ 1522734 h 6858290"/>
              <a:gd name="connsiteX3122" fmla="*/ 9871816 w 12139750"/>
              <a:gd name="connsiteY3122" fmla="*/ 1530346 h 6858290"/>
              <a:gd name="connsiteX3123" fmla="*/ 9877531 w 12139750"/>
              <a:gd name="connsiteY3123" fmla="*/ 1541765 h 6858290"/>
              <a:gd name="connsiteX3124" fmla="*/ 9869911 w 12139750"/>
              <a:gd name="connsiteY3124" fmla="*/ 1556990 h 6858290"/>
              <a:gd name="connsiteX3125" fmla="*/ 9538436 w 12139750"/>
              <a:gd name="connsiteY3125" fmla="*/ 1838657 h 6858290"/>
              <a:gd name="connsiteX3126" fmla="*/ 9511766 w 12139750"/>
              <a:gd name="connsiteY3126" fmla="*/ 1836754 h 6858290"/>
              <a:gd name="connsiteX3127" fmla="*/ 9513671 w 12139750"/>
              <a:gd name="connsiteY3127" fmla="*/ 1810110 h 6858290"/>
              <a:gd name="connsiteX3128" fmla="*/ 9845146 w 12139750"/>
              <a:gd name="connsiteY3128" fmla="*/ 1526540 h 6858290"/>
              <a:gd name="connsiteX3129" fmla="*/ 9859195 w 12139750"/>
              <a:gd name="connsiteY3129" fmla="*/ 1522734 h 6858290"/>
              <a:gd name="connsiteX3130" fmla="*/ 9283544 w 12139750"/>
              <a:gd name="connsiteY3130" fmla="*/ 1516005 h 6858290"/>
              <a:gd name="connsiteX3131" fmla="*/ 9299036 w 12139750"/>
              <a:gd name="connsiteY3131" fmla="*/ 1524331 h 6858290"/>
              <a:gd name="connsiteX3132" fmla="*/ 9302849 w 12139750"/>
              <a:gd name="connsiteY3132" fmla="*/ 1537653 h 6858290"/>
              <a:gd name="connsiteX3133" fmla="*/ 9295222 w 12139750"/>
              <a:gd name="connsiteY3133" fmla="*/ 1554780 h 6858290"/>
              <a:gd name="connsiteX3134" fmla="*/ 8961563 w 12139750"/>
              <a:gd name="connsiteY3134" fmla="*/ 1821217 h 6858290"/>
              <a:gd name="connsiteX3135" fmla="*/ 8931057 w 12139750"/>
              <a:gd name="connsiteY3135" fmla="*/ 1817411 h 6858290"/>
              <a:gd name="connsiteX3136" fmla="*/ 8934871 w 12139750"/>
              <a:gd name="connsiteY3136" fmla="*/ 1785058 h 6858290"/>
              <a:gd name="connsiteX3137" fmla="*/ 9266623 w 12139750"/>
              <a:gd name="connsiteY3137" fmla="*/ 1520524 h 6858290"/>
              <a:gd name="connsiteX3138" fmla="*/ 9283544 w 12139750"/>
              <a:gd name="connsiteY3138" fmla="*/ 1516005 h 6858290"/>
              <a:gd name="connsiteX3139" fmla="*/ 10444673 w 12139750"/>
              <a:gd name="connsiteY3139" fmla="*/ 1515983 h 6858290"/>
              <a:gd name="connsiteX3140" fmla="*/ 10459199 w 12139750"/>
              <a:gd name="connsiteY3140" fmla="*/ 1524309 h 6858290"/>
              <a:gd name="connsiteX3141" fmla="*/ 10464914 w 12139750"/>
              <a:gd name="connsiteY3141" fmla="*/ 1537630 h 6858290"/>
              <a:gd name="connsiteX3142" fmla="*/ 10455389 w 12139750"/>
              <a:gd name="connsiteY3142" fmla="*/ 1554759 h 6858290"/>
              <a:gd name="connsiteX3143" fmla="*/ 10123915 w 12139750"/>
              <a:gd name="connsiteY3143" fmla="*/ 1821192 h 6858290"/>
              <a:gd name="connsiteX3144" fmla="*/ 10091529 w 12139750"/>
              <a:gd name="connsiteY3144" fmla="*/ 1817385 h 6858290"/>
              <a:gd name="connsiteX3145" fmla="*/ 10095339 w 12139750"/>
              <a:gd name="connsiteY3145" fmla="*/ 1785033 h 6858290"/>
              <a:gd name="connsiteX3146" fmla="*/ 10428719 w 12139750"/>
              <a:gd name="connsiteY3146" fmla="*/ 1520503 h 6858290"/>
              <a:gd name="connsiteX3147" fmla="*/ 10444673 w 12139750"/>
              <a:gd name="connsiteY3147" fmla="*/ 1515983 h 6858290"/>
              <a:gd name="connsiteX3148" fmla="*/ 8713305 w 12139750"/>
              <a:gd name="connsiteY3148" fmla="*/ 1508547 h 6858290"/>
              <a:gd name="connsiteX3149" fmla="*/ 8730703 w 12139750"/>
              <a:gd name="connsiteY3149" fmla="*/ 1518310 h 6858290"/>
              <a:gd name="connsiteX3150" fmla="*/ 8734516 w 12139750"/>
              <a:gd name="connsiteY3150" fmla="*/ 1533551 h 6858290"/>
              <a:gd name="connsiteX3151" fmla="*/ 8724983 w 12139750"/>
              <a:gd name="connsiteY3151" fmla="*/ 1554506 h 6858290"/>
              <a:gd name="connsiteX3152" fmla="*/ 8391331 w 12139750"/>
              <a:gd name="connsiteY3152" fmla="*/ 1802160 h 6858290"/>
              <a:gd name="connsiteX3153" fmla="*/ 8355106 w 12139750"/>
              <a:gd name="connsiteY3153" fmla="*/ 1796444 h 6858290"/>
              <a:gd name="connsiteX3154" fmla="*/ 8360826 w 12139750"/>
              <a:gd name="connsiteY3154" fmla="*/ 1760249 h 6858290"/>
              <a:gd name="connsiteX3155" fmla="*/ 8694478 w 12139750"/>
              <a:gd name="connsiteY3155" fmla="*/ 1514500 h 6858290"/>
              <a:gd name="connsiteX3156" fmla="*/ 8713305 w 12139750"/>
              <a:gd name="connsiteY3156" fmla="*/ 1508547 h 6858290"/>
              <a:gd name="connsiteX3157" fmla="*/ 11022911 w 12139750"/>
              <a:gd name="connsiteY3157" fmla="*/ 1508523 h 6858290"/>
              <a:gd name="connsiteX3158" fmla="*/ 11038640 w 12139750"/>
              <a:gd name="connsiteY3158" fmla="*/ 1518286 h 6858290"/>
              <a:gd name="connsiteX3159" fmla="*/ 11044360 w 12139750"/>
              <a:gd name="connsiteY3159" fmla="*/ 1533526 h 6858290"/>
              <a:gd name="connsiteX3160" fmla="*/ 11034827 w 12139750"/>
              <a:gd name="connsiteY3160" fmla="*/ 1554481 h 6858290"/>
              <a:gd name="connsiteX3161" fmla="*/ 10701175 w 12139750"/>
              <a:gd name="connsiteY3161" fmla="*/ 1802131 h 6858290"/>
              <a:gd name="connsiteX3162" fmla="*/ 10664950 w 12139750"/>
              <a:gd name="connsiteY3162" fmla="*/ 1796416 h 6858290"/>
              <a:gd name="connsiteX3163" fmla="*/ 10670670 w 12139750"/>
              <a:gd name="connsiteY3163" fmla="*/ 1760221 h 6858290"/>
              <a:gd name="connsiteX3164" fmla="*/ 11004322 w 12139750"/>
              <a:gd name="connsiteY3164" fmla="*/ 1514476 h 6858290"/>
              <a:gd name="connsiteX3165" fmla="*/ 11022911 w 12139750"/>
              <a:gd name="connsiteY3165" fmla="*/ 1508523 h 6858290"/>
              <a:gd name="connsiteX3166" fmla="*/ 8149812 w 12139750"/>
              <a:gd name="connsiteY3166" fmla="*/ 1501800 h 6858290"/>
              <a:gd name="connsiteX3167" fmla="*/ 8168401 w 12139750"/>
              <a:gd name="connsiteY3167" fmla="*/ 1514182 h 6858290"/>
              <a:gd name="connsiteX3168" fmla="*/ 8174121 w 12139750"/>
              <a:gd name="connsiteY3168" fmla="*/ 1531327 h 6858290"/>
              <a:gd name="connsiteX3169" fmla="*/ 8160775 w 12139750"/>
              <a:gd name="connsiteY3169" fmla="*/ 1554187 h 6858290"/>
              <a:gd name="connsiteX3170" fmla="*/ 7825223 w 12139750"/>
              <a:gd name="connsiteY3170" fmla="*/ 1782791 h 6858290"/>
              <a:gd name="connsiteX3171" fmla="*/ 7785185 w 12139750"/>
              <a:gd name="connsiteY3171" fmla="*/ 1775171 h 6858290"/>
              <a:gd name="connsiteX3172" fmla="*/ 7792812 w 12139750"/>
              <a:gd name="connsiteY3172" fmla="*/ 1735166 h 6858290"/>
              <a:gd name="connsiteX3173" fmla="*/ 8128364 w 12139750"/>
              <a:gd name="connsiteY3173" fmla="*/ 1506563 h 6858290"/>
              <a:gd name="connsiteX3174" fmla="*/ 8149812 w 12139750"/>
              <a:gd name="connsiteY3174" fmla="*/ 1501800 h 6858290"/>
              <a:gd name="connsiteX3175" fmla="*/ 11594174 w 12139750"/>
              <a:gd name="connsiteY3175" fmla="*/ 1501795 h 6858290"/>
              <a:gd name="connsiteX3176" fmla="*/ 11613654 w 12139750"/>
              <a:gd name="connsiteY3176" fmla="*/ 1514178 h 6858290"/>
              <a:gd name="connsiteX3177" fmla="*/ 11617455 w 12139750"/>
              <a:gd name="connsiteY3177" fmla="*/ 1531323 h 6858290"/>
              <a:gd name="connsiteX3178" fmla="*/ 11606052 w 12139750"/>
              <a:gd name="connsiteY3178" fmla="*/ 1554183 h 6858290"/>
              <a:gd name="connsiteX3179" fmla="*/ 11271574 w 12139750"/>
              <a:gd name="connsiteY3179" fmla="*/ 1782786 h 6858290"/>
              <a:gd name="connsiteX3180" fmla="*/ 11231664 w 12139750"/>
              <a:gd name="connsiteY3180" fmla="*/ 1775166 h 6858290"/>
              <a:gd name="connsiteX3181" fmla="*/ 11239266 w 12139750"/>
              <a:gd name="connsiteY3181" fmla="*/ 1735161 h 6858290"/>
              <a:gd name="connsiteX3182" fmla="*/ 11571844 w 12139750"/>
              <a:gd name="connsiteY3182" fmla="*/ 1506558 h 6858290"/>
              <a:gd name="connsiteX3183" fmla="*/ 11594174 w 12139750"/>
              <a:gd name="connsiteY3183" fmla="*/ 1501795 h 6858290"/>
              <a:gd name="connsiteX3184" fmla="*/ 12139750 w 12139750"/>
              <a:gd name="connsiteY3184" fmla="*/ 1497031 h 6858290"/>
              <a:gd name="connsiteX3185" fmla="*/ 12139750 w 12139750"/>
              <a:gd name="connsiteY3185" fmla="*/ 1573231 h 6858290"/>
              <a:gd name="connsiteX3186" fmla="*/ 11834677 w 12139750"/>
              <a:gd name="connsiteY3186" fmla="*/ 1763733 h 6858290"/>
              <a:gd name="connsiteX3187" fmla="*/ 11788917 w 12139750"/>
              <a:gd name="connsiteY3187" fmla="*/ 1754208 h 6858290"/>
              <a:gd name="connsiteX3188" fmla="*/ 11800357 w 12139750"/>
              <a:gd name="connsiteY3188" fmla="*/ 1710392 h 6858290"/>
              <a:gd name="connsiteX3189" fmla="*/ 12135937 w 12139750"/>
              <a:gd name="connsiteY3189" fmla="*/ 1498936 h 6858290"/>
              <a:gd name="connsiteX3190" fmla="*/ 12139750 w 12139750"/>
              <a:gd name="connsiteY3190" fmla="*/ 1497031 h 6858290"/>
              <a:gd name="connsiteX3191" fmla="*/ 7592412 w 12139750"/>
              <a:gd name="connsiteY3191" fmla="*/ 1496614 h 6858290"/>
              <a:gd name="connsiteX3192" fmla="*/ 7613097 w 12139750"/>
              <a:gd name="connsiteY3192" fmla="*/ 1511548 h 6858290"/>
              <a:gd name="connsiteX3193" fmla="*/ 7616901 w 12139750"/>
              <a:gd name="connsiteY3193" fmla="*/ 1528616 h 6858290"/>
              <a:gd name="connsiteX3194" fmla="*/ 7601685 w 12139750"/>
              <a:gd name="connsiteY3194" fmla="*/ 1555168 h 6858290"/>
              <a:gd name="connsiteX3195" fmla="*/ 7266927 w 12139750"/>
              <a:gd name="connsiteY3195" fmla="*/ 1763784 h 6858290"/>
              <a:gd name="connsiteX3196" fmla="*/ 7223180 w 12139750"/>
              <a:gd name="connsiteY3196" fmla="*/ 1754301 h 6858290"/>
              <a:gd name="connsiteX3197" fmla="*/ 7232690 w 12139750"/>
              <a:gd name="connsiteY3197" fmla="*/ 1710681 h 6858290"/>
              <a:gd name="connsiteX3198" fmla="*/ 7567448 w 12139750"/>
              <a:gd name="connsiteY3198" fmla="*/ 1500170 h 6858290"/>
              <a:gd name="connsiteX3199" fmla="*/ 7592412 w 12139750"/>
              <a:gd name="connsiteY3199" fmla="*/ 1496614 h 6858290"/>
              <a:gd name="connsiteX3200" fmla="*/ 7043429 w 12139750"/>
              <a:gd name="connsiteY3200" fmla="*/ 1490543 h 6858290"/>
              <a:gd name="connsiteX3201" fmla="*/ 7065387 w 12139750"/>
              <a:gd name="connsiteY3201" fmla="*/ 1507250 h 6858290"/>
              <a:gd name="connsiteX3202" fmla="*/ 7069206 w 12139750"/>
              <a:gd name="connsiteY3202" fmla="*/ 1524435 h 6858290"/>
              <a:gd name="connsiteX3203" fmla="*/ 7052021 w 12139750"/>
              <a:gd name="connsiteY3203" fmla="*/ 1554987 h 6858290"/>
              <a:gd name="connsiteX3204" fmla="*/ 6714055 w 12139750"/>
              <a:gd name="connsiteY3204" fmla="*/ 1747844 h 6858290"/>
              <a:gd name="connsiteX3205" fmla="*/ 6664410 w 12139750"/>
              <a:gd name="connsiteY3205" fmla="*/ 1734477 h 6858290"/>
              <a:gd name="connsiteX3206" fmla="*/ 6677776 w 12139750"/>
              <a:gd name="connsiteY3206" fmla="*/ 1684830 h 6858290"/>
              <a:gd name="connsiteX3207" fmla="*/ 7015742 w 12139750"/>
              <a:gd name="connsiteY3207" fmla="*/ 1493885 h 6858290"/>
              <a:gd name="connsiteX3208" fmla="*/ 7043429 w 12139750"/>
              <a:gd name="connsiteY3208" fmla="*/ 1490543 h 6858290"/>
              <a:gd name="connsiteX3209" fmla="*/ 6500175 w 12139750"/>
              <a:gd name="connsiteY3209" fmla="*/ 1483801 h 6858290"/>
              <a:gd name="connsiteX3210" fmla="*/ 6524041 w 12139750"/>
              <a:gd name="connsiteY3210" fmla="*/ 1503135 h 6858290"/>
              <a:gd name="connsiteX3211" fmla="*/ 6527860 w 12139750"/>
              <a:gd name="connsiteY3211" fmla="*/ 1520321 h 6858290"/>
              <a:gd name="connsiteX3212" fmla="*/ 6506857 w 12139750"/>
              <a:gd name="connsiteY3212" fmla="*/ 1554694 h 6858290"/>
              <a:gd name="connsiteX3213" fmla="*/ 6166999 w 12139750"/>
              <a:gd name="connsiteY3213" fmla="*/ 1728470 h 6858290"/>
              <a:gd name="connsiteX3214" fmla="*/ 6113538 w 12139750"/>
              <a:gd name="connsiteY3214" fmla="*/ 1711284 h 6858290"/>
              <a:gd name="connsiteX3215" fmla="*/ 6130722 w 12139750"/>
              <a:gd name="connsiteY3215" fmla="*/ 1659723 h 6858290"/>
              <a:gd name="connsiteX3216" fmla="*/ 6470580 w 12139750"/>
              <a:gd name="connsiteY3216" fmla="*/ 1485949 h 6858290"/>
              <a:gd name="connsiteX3217" fmla="*/ 6500175 w 12139750"/>
              <a:gd name="connsiteY3217" fmla="*/ 1483801 h 6858290"/>
              <a:gd name="connsiteX3218" fmla="*/ 5958440 w 12139750"/>
              <a:gd name="connsiteY3218" fmla="*/ 1477068 h 6858290"/>
              <a:gd name="connsiteX3219" fmla="*/ 5982710 w 12139750"/>
              <a:gd name="connsiteY3219" fmla="*/ 1499058 h 6858290"/>
              <a:gd name="connsiteX3220" fmla="*/ 5986517 w 12139750"/>
              <a:gd name="connsiteY3220" fmla="*/ 1516267 h 6858290"/>
              <a:gd name="connsiteX3221" fmla="*/ 5961771 w 12139750"/>
              <a:gd name="connsiteY3221" fmla="*/ 1556424 h 6858290"/>
              <a:gd name="connsiteX3222" fmla="*/ 5622934 w 12139750"/>
              <a:gd name="connsiteY3222" fmla="*/ 1711317 h 6858290"/>
              <a:gd name="connsiteX3223" fmla="*/ 5565827 w 12139750"/>
              <a:gd name="connsiteY3223" fmla="*/ 1690282 h 6858290"/>
              <a:gd name="connsiteX3224" fmla="*/ 5586766 w 12139750"/>
              <a:gd name="connsiteY3224" fmla="*/ 1632914 h 6858290"/>
              <a:gd name="connsiteX3225" fmla="*/ 5925602 w 12139750"/>
              <a:gd name="connsiteY3225" fmla="*/ 1478023 h 6858290"/>
              <a:gd name="connsiteX3226" fmla="*/ 5958440 w 12139750"/>
              <a:gd name="connsiteY3226" fmla="*/ 1477068 h 6858290"/>
              <a:gd name="connsiteX3227" fmla="*/ 398249 w 12139750"/>
              <a:gd name="connsiteY3227" fmla="*/ 1477059 h 6858290"/>
              <a:gd name="connsiteX3228" fmla="*/ 423234 w 12139750"/>
              <a:gd name="connsiteY3228" fmla="*/ 1499048 h 6858290"/>
              <a:gd name="connsiteX3229" fmla="*/ 427041 w 12139750"/>
              <a:gd name="connsiteY3229" fmla="*/ 1516259 h 6858290"/>
              <a:gd name="connsiteX3230" fmla="*/ 402294 w 12139750"/>
              <a:gd name="connsiteY3230" fmla="*/ 1556416 h 6858290"/>
              <a:gd name="connsiteX3231" fmla="*/ 61547 w 12139750"/>
              <a:gd name="connsiteY3231" fmla="*/ 1711307 h 6858290"/>
              <a:gd name="connsiteX3232" fmla="*/ 6342 w 12139750"/>
              <a:gd name="connsiteY3232" fmla="*/ 1690272 h 6858290"/>
              <a:gd name="connsiteX3233" fmla="*/ 27282 w 12139750"/>
              <a:gd name="connsiteY3233" fmla="*/ 1632905 h 6858290"/>
              <a:gd name="connsiteX3234" fmla="*/ 366125 w 12139750"/>
              <a:gd name="connsiteY3234" fmla="*/ 1478015 h 6858290"/>
              <a:gd name="connsiteX3235" fmla="*/ 398249 w 12139750"/>
              <a:gd name="connsiteY3235" fmla="*/ 1477059 h 6858290"/>
              <a:gd name="connsiteX3236" fmla="*/ 5394603 w 12139750"/>
              <a:gd name="connsiteY3236" fmla="*/ 1468287 h 6858290"/>
              <a:gd name="connsiteX3237" fmla="*/ 5436931 w 12139750"/>
              <a:gd name="connsiteY3237" fmla="*/ 1498212 h 6858290"/>
              <a:gd name="connsiteX3238" fmla="*/ 5438835 w 12139750"/>
              <a:gd name="connsiteY3238" fmla="*/ 1515311 h 6858290"/>
              <a:gd name="connsiteX3239" fmla="*/ 5410261 w 12139750"/>
              <a:gd name="connsiteY3239" fmla="*/ 1557113 h 6858290"/>
              <a:gd name="connsiteX3240" fmla="*/ 5069259 w 12139750"/>
              <a:gd name="connsiteY3240" fmla="*/ 1693914 h 6858290"/>
              <a:gd name="connsiteX3241" fmla="*/ 5010210 w 12139750"/>
              <a:gd name="connsiteY3241" fmla="*/ 1667314 h 6858290"/>
              <a:gd name="connsiteX3242" fmla="*/ 5036878 w 12139750"/>
              <a:gd name="connsiteY3242" fmla="*/ 1608413 h 6858290"/>
              <a:gd name="connsiteX3243" fmla="*/ 5375971 w 12139750"/>
              <a:gd name="connsiteY3243" fmla="*/ 1471613 h 6858290"/>
              <a:gd name="connsiteX3244" fmla="*/ 5394603 w 12139750"/>
              <a:gd name="connsiteY3244" fmla="*/ 1468287 h 6858290"/>
              <a:gd name="connsiteX3245" fmla="*/ 929397 w 12139750"/>
              <a:gd name="connsiteY3245" fmla="*/ 1468276 h 6858290"/>
              <a:gd name="connsiteX3246" fmla="*/ 970920 w 12139750"/>
              <a:gd name="connsiteY3246" fmla="*/ 1498200 h 6858290"/>
              <a:gd name="connsiteX3247" fmla="*/ 974730 w 12139750"/>
              <a:gd name="connsiteY3247" fmla="*/ 1515301 h 6858290"/>
              <a:gd name="connsiteX3248" fmla="*/ 946155 w 12139750"/>
              <a:gd name="connsiteY3248" fmla="*/ 1557101 h 6858290"/>
              <a:gd name="connsiteX3249" fmla="*/ 605156 w 12139750"/>
              <a:gd name="connsiteY3249" fmla="*/ 1693902 h 6858290"/>
              <a:gd name="connsiteX3250" fmla="*/ 546100 w 12139750"/>
              <a:gd name="connsiteY3250" fmla="*/ 1667301 h 6858290"/>
              <a:gd name="connsiteX3251" fmla="*/ 570866 w 12139750"/>
              <a:gd name="connsiteY3251" fmla="*/ 1608401 h 6858290"/>
              <a:gd name="connsiteX3252" fmla="*/ 911865 w 12139750"/>
              <a:gd name="connsiteY3252" fmla="*/ 1471601 h 6858290"/>
              <a:gd name="connsiteX3253" fmla="*/ 929397 w 12139750"/>
              <a:gd name="connsiteY3253" fmla="*/ 1468276 h 6858290"/>
              <a:gd name="connsiteX3254" fmla="*/ 4844455 w 12139750"/>
              <a:gd name="connsiteY3254" fmla="*/ 1461448 h 6858290"/>
              <a:gd name="connsiteX3255" fmla="*/ 4887327 w 12139750"/>
              <a:gd name="connsiteY3255" fmla="*/ 1493862 h 6858290"/>
              <a:gd name="connsiteX3256" fmla="*/ 4891136 w 12139750"/>
              <a:gd name="connsiteY3256" fmla="*/ 1511006 h 6858290"/>
              <a:gd name="connsiteX3257" fmla="*/ 4856841 w 12139750"/>
              <a:gd name="connsiteY3257" fmla="*/ 1556728 h 6858290"/>
              <a:gd name="connsiteX3258" fmla="*/ 4515848 w 12139750"/>
              <a:gd name="connsiteY3258" fmla="*/ 1674839 h 6858290"/>
              <a:gd name="connsiteX3259" fmla="*/ 4452982 w 12139750"/>
              <a:gd name="connsiteY3259" fmla="*/ 1644358 h 6858290"/>
              <a:gd name="connsiteX3260" fmla="*/ 4483463 w 12139750"/>
              <a:gd name="connsiteY3260" fmla="*/ 1583397 h 6858290"/>
              <a:gd name="connsiteX3261" fmla="*/ 4824451 w 12139750"/>
              <a:gd name="connsiteY3261" fmla="*/ 1463382 h 6858290"/>
              <a:gd name="connsiteX3262" fmla="*/ 4844455 w 12139750"/>
              <a:gd name="connsiteY3262" fmla="*/ 1461448 h 6858290"/>
              <a:gd name="connsiteX3263" fmla="*/ 1479724 w 12139750"/>
              <a:gd name="connsiteY3263" fmla="*/ 1461434 h 6858290"/>
              <a:gd name="connsiteX3264" fmla="*/ 1523689 w 12139750"/>
              <a:gd name="connsiteY3264" fmla="*/ 1493848 h 6858290"/>
              <a:gd name="connsiteX3265" fmla="*/ 1525596 w 12139750"/>
              <a:gd name="connsiteY3265" fmla="*/ 1510993 h 6858290"/>
              <a:gd name="connsiteX3266" fmla="*/ 1493187 w 12139750"/>
              <a:gd name="connsiteY3266" fmla="*/ 1556713 h 6858290"/>
              <a:gd name="connsiteX3267" fmla="*/ 1150039 w 12139750"/>
              <a:gd name="connsiteY3267" fmla="*/ 1674825 h 6858290"/>
              <a:gd name="connsiteX3268" fmla="*/ 1089034 w 12139750"/>
              <a:gd name="connsiteY3268" fmla="*/ 1644344 h 6858290"/>
              <a:gd name="connsiteX3269" fmla="*/ 1117630 w 12139750"/>
              <a:gd name="connsiteY3269" fmla="*/ 1583384 h 6858290"/>
              <a:gd name="connsiteX3270" fmla="*/ 1460779 w 12139750"/>
              <a:gd name="connsiteY3270" fmla="*/ 1463368 h 6858290"/>
              <a:gd name="connsiteX3271" fmla="*/ 1479724 w 12139750"/>
              <a:gd name="connsiteY3271" fmla="*/ 1461434 h 6858290"/>
              <a:gd name="connsiteX3272" fmla="*/ 4287991 w 12139750"/>
              <a:gd name="connsiteY3272" fmla="*/ 1454950 h 6858290"/>
              <a:gd name="connsiteX3273" fmla="*/ 4331689 w 12139750"/>
              <a:gd name="connsiteY3273" fmla="*/ 1491704 h 6858290"/>
              <a:gd name="connsiteX3274" fmla="*/ 4335503 w 12139750"/>
              <a:gd name="connsiteY3274" fmla="*/ 1506966 h 6858290"/>
              <a:gd name="connsiteX3275" fmla="*/ 4297375 w 12139750"/>
              <a:gd name="connsiteY3275" fmla="*/ 1558477 h 6858290"/>
              <a:gd name="connsiteX3276" fmla="*/ 3954251 w 12139750"/>
              <a:gd name="connsiteY3276" fmla="*/ 1657683 h 6858290"/>
              <a:gd name="connsiteX3277" fmla="*/ 3887528 w 12139750"/>
              <a:gd name="connsiteY3277" fmla="*/ 1621435 h 6858290"/>
              <a:gd name="connsiteX3278" fmla="*/ 3923748 w 12139750"/>
              <a:gd name="connsiteY3278" fmla="*/ 1556569 h 6858290"/>
              <a:gd name="connsiteX3279" fmla="*/ 4266872 w 12139750"/>
              <a:gd name="connsiteY3279" fmla="*/ 1457365 h 6858290"/>
              <a:gd name="connsiteX3280" fmla="*/ 4287991 w 12139750"/>
              <a:gd name="connsiteY3280" fmla="*/ 1454950 h 6858290"/>
              <a:gd name="connsiteX3281" fmla="*/ 2034947 w 12139750"/>
              <a:gd name="connsiteY3281" fmla="*/ 1454934 h 6858290"/>
              <a:gd name="connsiteX3282" fmla="*/ 2079328 w 12139750"/>
              <a:gd name="connsiteY3282" fmla="*/ 1491688 h 6858290"/>
              <a:gd name="connsiteX3283" fmla="*/ 2081229 w 12139750"/>
              <a:gd name="connsiteY3283" fmla="*/ 1506950 h 6858290"/>
              <a:gd name="connsiteX3284" fmla="*/ 2043204 w 12139750"/>
              <a:gd name="connsiteY3284" fmla="*/ 1558461 h 6858290"/>
              <a:gd name="connsiteX3285" fmla="*/ 1701020 w 12139750"/>
              <a:gd name="connsiteY3285" fmla="*/ 1657667 h 6858290"/>
              <a:gd name="connsiteX3286" fmla="*/ 1636385 w 12139750"/>
              <a:gd name="connsiteY3286" fmla="*/ 1621418 h 6858290"/>
              <a:gd name="connsiteX3287" fmla="*/ 1672505 w 12139750"/>
              <a:gd name="connsiteY3287" fmla="*/ 1556553 h 6858290"/>
              <a:gd name="connsiteX3288" fmla="*/ 2014689 w 12139750"/>
              <a:gd name="connsiteY3288" fmla="*/ 1457348 h 6858290"/>
              <a:gd name="connsiteX3289" fmla="*/ 2034947 w 12139750"/>
              <a:gd name="connsiteY3289" fmla="*/ 1454934 h 6858290"/>
              <a:gd name="connsiteX3290" fmla="*/ 3729077 w 12139750"/>
              <a:gd name="connsiteY3290" fmla="*/ 1449679 h 6858290"/>
              <a:gd name="connsiteX3291" fmla="*/ 3773220 w 12139750"/>
              <a:gd name="connsiteY3291" fmla="*/ 1490538 h 6858290"/>
              <a:gd name="connsiteX3292" fmla="*/ 3775123 w 12139750"/>
              <a:gd name="connsiteY3292" fmla="*/ 1503831 h 6858290"/>
              <a:gd name="connsiteX3293" fmla="*/ 3733267 w 12139750"/>
              <a:gd name="connsiteY3293" fmla="*/ 1558905 h 6858290"/>
              <a:gd name="connsiteX3294" fmla="*/ 3388949 w 12139750"/>
              <a:gd name="connsiteY3294" fmla="*/ 1638666 h 6858290"/>
              <a:gd name="connsiteX3295" fmla="*/ 3322361 w 12139750"/>
              <a:gd name="connsiteY3295" fmla="*/ 1598786 h 6858290"/>
              <a:gd name="connsiteX3296" fmla="*/ 3362311 w 12139750"/>
              <a:gd name="connsiteY3296" fmla="*/ 1530418 h 6858290"/>
              <a:gd name="connsiteX3297" fmla="*/ 3706634 w 12139750"/>
              <a:gd name="connsiteY3297" fmla="*/ 1450658 h 6858290"/>
              <a:gd name="connsiteX3298" fmla="*/ 3729077 w 12139750"/>
              <a:gd name="connsiteY3298" fmla="*/ 1449679 h 6858290"/>
              <a:gd name="connsiteX3299" fmla="*/ 2595306 w 12139750"/>
              <a:gd name="connsiteY3299" fmla="*/ 1449661 h 6858290"/>
              <a:gd name="connsiteX3300" fmla="*/ 2639715 w 12139750"/>
              <a:gd name="connsiteY3300" fmla="*/ 1490520 h 6858290"/>
              <a:gd name="connsiteX3301" fmla="*/ 2641617 w 12139750"/>
              <a:gd name="connsiteY3301" fmla="*/ 1503814 h 6858290"/>
              <a:gd name="connsiteX3302" fmla="*/ 2597862 w 12139750"/>
              <a:gd name="connsiteY3302" fmla="*/ 1558887 h 6858290"/>
              <a:gd name="connsiteX3303" fmla="*/ 2255431 w 12139750"/>
              <a:gd name="connsiteY3303" fmla="*/ 1638648 h 6858290"/>
              <a:gd name="connsiteX3304" fmla="*/ 2188847 w 12139750"/>
              <a:gd name="connsiteY3304" fmla="*/ 1598767 h 6858290"/>
              <a:gd name="connsiteX3305" fmla="*/ 2228797 w 12139750"/>
              <a:gd name="connsiteY3305" fmla="*/ 1530401 h 6858290"/>
              <a:gd name="connsiteX3306" fmla="*/ 2573131 w 12139750"/>
              <a:gd name="connsiteY3306" fmla="*/ 1450640 h 6858290"/>
              <a:gd name="connsiteX3307" fmla="*/ 2595306 w 12139750"/>
              <a:gd name="connsiteY3307" fmla="*/ 1449661 h 6858290"/>
              <a:gd name="connsiteX3308" fmla="*/ 3137758 w 12139750"/>
              <a:gd name="connsiteY3308" fmla="*/ 1442427 h 6858290"/>
              <a:gd name="connsiteX3309" fmla="*/ 3206474 w 12139750"/>
              <a:gd name="connsiteY3309" fmla="*/ 1490052 h 6858290"/>
              <a:gd name="connsiteX3310" fmla="*/ 3208386 w 12139750"/>
              <a:gd name="connsiteY3310" fmla="*/ 1499576 h 6858290"/>
              <a:gd name="connsiteX3311" fmla="*/ 3158756 w 12139750"/>
              <a:gd name="connsiteY3311" fmla="*/ 1558632 h 6858290"/>
              <a:gd name="connsiteX3312" fmla="*/ 2813246 w 12139750"/>
              <a:gd name="connsiteY3312" fmla="*/ 1621498 h 6858290"/>
              <a:gd name="connsiteX3313" fmla="*/ 2744526 w 12139750"/>
              <a:gd name="connsiteY3313" fmla="*/ 1573872 h 6858290"/>
              <a:gd name="connsiteX3314" fmla="*/ 2792249 w 12139750"/>
              <a:gd name="connsiteY3314" fmla="*/ 1505291 h 6858290"/>
              <a:gd name="connsiteX3315" fmla="*/ 3137758 w 12139750"/>
              <a:gd name="connsiteY3315" fmla="*/ 1442427 h 6858290"/>
              <a:gd name="connsiteX3316" fmla="*/ 9860829 w 12139750"/>
              <a:gd name="connsiteY3316" fmla="*/ 1204612 h 6858290"/>
              <a:gd name="connsiteX3317" fmla="*/ 9875319 w 12139750"/>
              <a:gd name="connsiteY3317" fmla="*/ 1211306 h 6858290"/>
              <a:gd name="connsiteX3318" fmla="*/ 9879119 w 12139750"/>
              <a:gd name="connsiteY3318" fmla="*/ 1226607 h 6858290"/>
              <a:gd name="connsiteX3319" fmla="*/ 9871518 w 12139750"/>
              <a:gd name="connsiteY3319" fmla="*/ 1243820 h 6858290"/>
              <a:gd name="connsiteX3320" fmla="*/ 9540880 w 12139750"/>
              <a:gd name="connsiteY3320" fmla="*/ 1511592 h 6858290"/>
              <a:gd name="connsiteX3321" fmla="*/ 9510477 w 12139750"/>
              <a:gd name="connsiteY3321" fmla="*/ 1509680 h 6858290"/>
              <a:gd name="connsiteX3322" fmla="*/ 9514277 w 12139750"/>
              <a:gd name="connsiteY3322" fmla="*/ 1479077 h 6858290"/>
              <a:gd name="connsiteX3323" fmla="*/ 9844915 w 12139750"/>
              <a:gd name="connsiteY3323" fmla="*/ 1209393 h 6858290"/>
              <a:gd name="connsiteX3324" fmla="*/ 9860829 w 12139750"/>
              <a:gd name="connsiteY3324" fmla="*/ 1204612 h 6858290"/>
              <a:gd name="connsiteX3325" fmla="*/ 9284557 w 12139750"/>
              <a:gd name="connsiteY3325" fmla="*/ 1198509 h 6858290"/>
              <a:gd name="connsiteX3326" fmla="*/ 9300299 w 12139750"/>
              <a:gd name="connsiteY3326" fmla="*/ 1206835 h 6858290"/>
              <a:gd name="connsiteX3327" fmla="*/ 9306023 w 12139750"/>
              <a:gd name="connsiteY3327" fmla="*/ 1222058 h 6858290"/>
              <a:gd name="connsiteX3328" fmla="*/ 9296482 w 12139750"/>
              <a:gd name="connsiteY3328" fmla="*/ 1242988 h 6858290"/>
              <a:gd name="connsiteX3329" fmla="*/ 8962556 w 12139750"/>
              <a:gd name="connsiteY3329" fmla="*/ 1494190 h 6858290"/>
              <a:gd name="connsiteX3330" fmla="*/ 8928209 w 12139750"/>
              <a:gd name="connsiteY3330" fmla="*/ 1490384 h 6858290"/>
              <a:gd name="connsiteX3331" fmla="*/ 8932025 w 12139750"/>
              <a:gd name="connsiteY3331" fmla="*/ 1454228 h 6858290"/>
              <a:gd name="connsiteX3332" fmla="*/ 9265952 w 12139750"/>
              <a:gd name="connsiteY3332" fmla="*/ 1203029 h 6858290"/>
              <a:gd name="connsiteX3333" fmla="*/ 9284557 w 12139750"/>
              <a:gd name="connsiteY3333" fmla="*/ 1198509 h 6858290"/>
              <a:gd name="connsiteX3334" fmla="*/ 10445106 w 12139750"/>
              <a:gd name="connsiteY3334" fmla="*/ 1198483 h 6858290"/>
              <a:gd name="connsiteX3335" fmla="*/ 10460796 w 12139750"/>
              <a:gd name="connsiteY3335" fmla="*/ 1206809 h 6858290"/>
              <a:gd name="connsiteX3336" fmla="*/ 10466502 w 12139750"/>
              <a:gd name="connsiteY3336" fmla="*/ 1222033 h 6858290"/>
              <a:gd name="connsiteX3337" fmla="*/ 10456993 w 12139750"/>
              <a:gd name="connsiteY3337" fmla="*/ 1242967 h 6858290"/>
              <a:gd name="connsiteX3338" fmla="*/ 10124163 w 12139750"/>
              <a:gd name="connsiteY3338" fmla="*/ 1494166 h 6858290"/>
              <a:gd name="connsiteX3339" fmla="*/ 10089930 w 12139750"/>
              <a:gd name="connsiteY3339" fmla="*/ 1490360 h 6858290"/>
              <a:gd name="connsiteX3340" fmla="*/ 10093733 w 12139750"/>
              <a:gd name="connsiteY3340" fmla="*/ 1454203 h 6858290"/>
              <a:gd name="connsiteX3341" fmla="*/ 10426562 w 12139750"/>
              <a:gd name="connsiteY3341" fmla="*/ 1203003 h 6858290"/>
              <a:gd name="connsiteX3342" fmla="*/ 10445106 w 12139750"/>
              <a:gd name="connsiteY3342" fmla="*/ 1198483 h 6858290"/>
              <a:gd name="connsiteX3343" fmla="*/ 8713976 w 12139750"/>
              <a:gd name="connsiteY3343" fmla="*/ 1190406 h 6858290"/>
              <a:gd name="connsiteX3344" fmla="*/ 8732297 w 12139750"/>
              <a:gd name="connsiteY3344" fmla="*/ 1201099 h 6858290"/>
              <a:gd name="connsiteX3345" fmla="*/ 8736104 w 12139750"/>
              <a:gd name="connsiteY3345" fmla="*/ 1218208 h 6858290"/>
              <a:gd name="connsiteX3346" fmla="*/ 8724683 w 12139750"/>
              <a:gd name="connsiteY3346" fmla="*/ 1241015 h 6858290"/>
              <a:gd name="connsiteX3347" fmla="*/ 8391573 w 12139750"/>
              <a:gd name="connsiteY3347" fmla="*/ 1476736 h 6858290"/>
              <a:gd name="connsiteX3348" fmla="*/ 8353503 w 12139750"/>
              <a:gd name="connsiteY3348" fmla="*/ 1469132 h 6858290"/>
              <a:gd name="connsiteX3349" fmla="*/ 8359214 w 12139750"/>
              <a:gd name="connsiteY3349" fmla="*/ 1431112 h 6858290"/>
              <a:gd name="connsiteX3350" fmla="*/ 8694227 w 12139750"/>
              <a:gd name="connsiteY3350" fmla="*/ 1195396 h 6858290"/>
              <a:gd name="connsiteX3351" fmla="*/ 8713976 w 12139750"/>
              <a:gd name="connsiteY3351" fmla="*/ 1190406 h 6858290"/>
              <a:gd name="connsiteX3352" fmla="*/ 11023582 w 12139750"/>
              <a:gd name="connsiteY3352" fmla="*/ 1190378 h 6858290"/>
              <a:gd name="connsiteX3353" fmla="*/ 11042141 w 12139750"/>
              <a:gd name="connsiteY3353" fmla="*/ 1201071 h 6858290"/>
              <a:gd name="connsiteX3354" fmla="*/ 11045948 w 12139750"/>
              <a:gd name="connsiteY3354" fmla="*/ 1218180 h 6858290"/>
              <a:gd name="connsiteX3355" fmla="*/ 11034527 w 12139750"/>
              <a:gd name="connsiteY3355" fmla="*/ 1240991 h 6858290"/>
              <a:gd name="connsiteX3356" fmla="*/ 10701417 w 12139750"/>
              <a:gd name="connsiteY3356" fmla="*/ 1476710 h 6858290"/>
              <a:gd name="connsiteX3357" fmla="*/ 10663347 w 12139750"/>
              <a:gd name="connsiteY3357" fmla="*/ 1469106 h 6858290"/>
              <a:gd name="connsiteX3358" fmla="*/ 10669058 w 12139750"/>
              <a:gd name="connsiteY3358" fmla="*/ 1431087 h 6858290"/>
              <a:gd name="connsiteX3359" fmla="*/ 11002168 w 12139750"/>
              <a:gd name="connsiteY3359" fmla="*/ 1195368 h 6858290"/>
              <a:gd name="connsiteX3360" fmla="*/ 11023582 w 12139750"/>
              <a:gd name="connsiteY3360" fmla="*/ 1190378 h 6858290"/>
              <a:gd name="connsiteX3361" fmla="*/ 8150486 w 12139750"/>
              <a:gd name="connsiteY3361" fmla="*/ 1182942 h 6858290"/>
              <a:gd name="connsiteX3362" fmla="*/ 8169997 w 12139750"/>
              <a:gd name="connsiteY3362" fmla="*/ 1196960 h 6858290"/>
              <a:gd name="connsiteX3363" fmla="*/ 8175708 w 12139750"/>
              <a:gd name="connsiteY3363" fmla="*/ 1212168 h 6858290"/>
              <a:gd name="connsiteX3364" fmla="*/ 8160480 w 12139750"/>
              <a:gd name="connsiteY3364" fmla="*/ 1238776 h 6858290"/>
              <a:gd name="connsiteX3365" fmla="*/ 7825460 w 12139750"/>
              <a:gd name="connsiteY3365" fmla="*/ 1457373 h 6858290"/>
              <a:gd name="connsiteX3366" fmla="*/ 7783582 w 12139750"/>
              <a:gd name="connsiteY3366" fmla="*/ 1449769 h 6858290"/>
              <a:gd name="connsiteX3367" fmla="*/ 7793100 w 12139750"/>
              <a:gd name="connsiteY3367" fmla="*/ 1407952 h 6858290"/>
              <a:gd name="connsiteX3368" fmla="*/ 8128120 w 12139750"/>
              <a:gd name="connsiteY3368" fmla="*/ 1187458 h 6858290"/>
              <a:gd name="connsiteX3369" fmla="*/ 8150486 w 12139750"/>
              <a:gd name="connsiteY3369" fmla="*/ 1182942 h 6858290"/>
              <a:gd name="connsiteX3370" fmla="*/ 11595229 w 12139750"/>
              <a:gd name="connsiteY3370" fmla="*/ 1182937 h 6858290"/>
              <a:gd name="connsiteX3371" fmla="*/ 11613327 w 12139750"/>
              <a:gd name="connsiteY3371" fmla="*/ 1196955 h 6858290"/>
              <a:gd name="connsiteX3372" fmla="*/ 11619042 w 12139750"/>
              <a:gd name="connsiteY3372" fmla="*/ 1212161 h 6858290"/>
              <a:gd name="connsiteX3373" fmla="*/ 11605707 w 12139750"/>
              <a:gd name="connsiteY3373" fmla="*/ 1238770 h 6858290"/>
              <a:gd name="connsiteX3374" fmla="*/ 11270423 w 12139750"/>
              <a:gd name="connsiteY3374" fmla="*/ 1457367 h 6858290"/>
              <a:gd name="connsiteX3375" fmla="*/ 11228512 w 12139750"/>
              <a:gd name="connsiteY3375" fmla="*/ 1449763 h 6858290"/>
              <a:gd name="connsiteX3376" fmla="*/ 11236132 w 12139750"/>
              <a:gd name="connsiteY3376" fmla="*/ 1407946 h 6858290"/>
              <a:gd name="connsiteX3377" fmla="*/ 11571416 w 12139750"/>
              <a:gd name="connsiteY3377" fmla="*/ 1187451 h 6858290"/>
              <a:gd name="connsiteX3378" fmla="*/ 11595229 w 12139750"/>
              <a:gd name="connsiteY3378" fmla="*/ 1182937 h 6858290"/>
              <a:gd name="connsiteX3379" fmla="*/ 12139750 w 12139750"/>
              <a:gd name="connsiteY3379" fmla="*/ 1177944 h 6858290"/>
              <a:gd name="connsiteX3380" fmla="*/ 12139750 w 12139750"/>
              <a:gd name="connsiteY3380" fmla="*/ 1255774 h 6858290"/>
              <a:gd name="connsiteX3381" fmla="*/ 11834677 w 12139750"/>
              <a:gd name="connsiteY3381" fmla="*/ 1439913 h 6858290"/>
              <a:gd name="connsiteX3382" fmla="*/ 11788917 w 12139750"/>
              <a:gd name="connsiteY3382" fmla="*/ 1428524 h 6858290"/>
              <a:gd name="connsiteX3383" fmla="*/ 11798450 w 12139750"/>
              <a:gd name="connsiteY3383" fmla="*/ 1382965 h 6858290"/>
              <a:gd name="connsiteX3384" fmla="*/ 12135937 w 12139750"/>
              <a:gd name="connsiteY3384" fmla="*/ 1179842 h 6858290"/>
              <a:gd name="connsiteX3385" fmla="*/ 12139750 w 12139750"/>
              <a:gd name="connsiteY3385" fmla="*/ 1177944 h 6858290"/>
              <a:gd name="connsiteX3386" fmla="*/ 7594338 w 12139750"/>
              <a:gd name="connsiteY3386" fmla="*/ 1175955 h 6858290"/>
              <a:gd name="connsiteX3387" fmla="*/ 7614356 w 12139750"/>
              <a:gd name="connsiteY3387" fmla="*/ 1190924 h 6858290"/>
              <a:gd name="connsiteX3388" fmla="*/ 7620076 w 12139750"/>
              <a:gd name="connsiteY3388" fmla="*/ 1208030 h 6858290"/>
              <a:gd name="connsiteX3389" fmla="*/ 7604824 w 12139750"/>
              <a:gd name="connsiteY3389" fmla="*/ 1236536 h 6858290"/>
              <a:gd name="connsiteX3390" fmla="*/ 7267372 w 12139750"/>
              <a:gd name="connsiteY3390" fmla="*/ 1439910 h 6858290"/>
              <a:gd name="connsiteX3391" fmla="*/ 7221615 w 12139750"/>
              <a:gd name="connsiteY3391" fmla="*/ 1428505 h 6858290"/>
              <a:gd name="connsiteX3392" fmla="*/ 7233054 w 12139750"/>
              <a:gd name="connsiteY3392" fmla="*/ 1382889 h 6858290"/>
              <a:gd name="connsiteX3393" fmla="*/ 7568600 w 12139750"/>
              <a:gd name="connsiteY3393" fmla="*/ 1179519 h 6858290"/>
              <a:gd name="connsiteX3394" fmla="*/ 7594338 w 12139750"/>
              <a:gd name="connsiteY3394" fmla="*/ 1175955 h 6858290"/>
              <a:gd name="connsiteX3395" fmla="*/ 7043844 w 12139750"/>
              <a:gd name="connsiteY3395" fmla="*/ 1168289 h 6858290"/>
              <a:gd name="connsiteX3396" fmla="*/ 7065070 w 12139750"/>
              <a:gd name="connsiteY3396" fmla="*/ 1185018 h 6858290"/>
              <a:gd name="connsiteX3397" fmla="*/ 7070794 w 12139750"/>
              <a:gd name="connsiteY3397" fmla="*/ 1204137 h 6858290"/>
              <a:gd name="connsiteX3398" fmla="*/ 7051714 w 12139750"/>
              <a:gd name="connsiteY3398" fmla="*/ 1234720 h 6858290"/>
              <a:gd name="connsiteX3399" fmla="*/ 6714009 w 12139750"/>
              <a:gd name="connsiteY3399" fmla="*/ 1423981 h 6858290"/>
              <a:gd name="connsiteX3400" fmla="*/ 6664402 w 12139750"/>
              <a:gd name="connsiteY3400" fmla="*/ 1410601 h 6858290"/>
              <a:gd name="connsiteX3401" fmla="*/ 6677758 w 12139750"/>
              <a:gd name="connsiteY3401" fmla="*/ 1360894 h 6858290"/>
              <a:gd name="connsiteX3402" fmla="*/ 7015463 w 12139750"/>
              <a:gd name="connsiteY3402" fmla="*/ 1171635 h 6858290"/>
              <a:gd name="connsiteX3403" fmla="*/ 7043844 w 12139750"/>
              <a:gd name="connsiteY3403" fmla="*/ 1168289 h 6858290"/>
              <a:gd name="connsiteX3404" fmla="*/ 6500891 w 12139750"/>
              <a:gd name="connsiteY3404" fmla="*/ 1161548 h 6858290"/>
              <a:gd name="connsiteX3405" fmla="*/ 6524041 w 12139750"/>
              <a:gd name="connsiteY3405" fmla="*/ 1180908 h 6858290"/>
              <a:gd name="connsiteX3406" fmla="*/ 6527860 w 12139750"/>
              <a:gd name="connsiteY3406" fmla="*/ 1198115 h 6858290"/>
              <a:gd name="connsiteX3407" fmla="*/ 6506857 w 12139750"/>
              <a:gd name="connsiteY3407" fmla="*/ 1234440 h 6858290"/>
              <a:gd name="connsiteX3408" fmla="*/ 6166999 w 12139750"/>
              <a:gd name="connsiteY3408" fmla="*/ 1406519 h 6858290"/>
              <a:gd name="connsiteX3409" fmla="*/ 6113538 w 12139750"/>
              <a:gd name="connsiteY3409" fmla="*/ 1389310 h 6858290"/>
              <a:gd name="connsiteX3410" fmla="*/ 6130722 w 12139750"/>
              <a:gd name="connsiteY3410" fmla="*/ 1335774 h 6858290"/>
              <a:gd name="connsiteX3411" fmla="*/ 6470580 w 12139750"/>
              <a:gd name="connsiteY3411" fmla="*/ 1163700 h 6858290"/>
              <a:gd name="connsiteX3412" fmla="*/ 6500891 w 12139750"/>
              <a:gd name="connsiteY3412" fmla="*/ 1161548 h 6858290"/>
              <a:gd name="connsiteX3413" fmla="*/ 5957726 w 12139750"/>
              <a:gd name="connsiteY3413" fmla="*/ 1155628 h 6858290"/>
              <a:gd name="connsiteX3414" fmla="*/ 5982710 w 12139750"/>
              <a:gd name="connsiteY3414" fmla="*/ 1178193 h 6858290"/>
              <a:gd name="connsiteX3415" fmla="*/ 5986517 w 12139750"/>
              <a:gd name="connsiteY3415" fmla="*/ 1195296 h 6858290"/>
              <a:gd name="connsiteX3416" fmla="*/ 5961771 w 12139750"/>
              <a:gd name="connsiteY3416" fmla="*/ 1233296 h 6858290"/>
              <a:gd name="connsiteX3417" fmla="*/ 5622934 w 12139750"/>
              <a:gd name="connsiteY3417" fmla="*/ 1389114 h 6858290"/>
              <a:gd name="connsiteX3418" fmla="*/ 5565827 w 12139750"/>
              <a:gd name="connsiteY3418" fmla="*/ 1368212 h 6858290"/>
              <a:gd name="connsiteX3419" fmla="*/ 5586766 w 12139750"/>
              <a:gd name="connsiteY3419" fmla="*/ 1313104 h 6858290"/>
              <a:gd name="connsiteX3420" fmla="*/ 5925602 w 12139750"/>
              <a:gd name="connsiteY3420" fmla="*/ 1157291 h 6858290"/>
              <a:gd name="connsiteX3421" fmla="*/ 5957726 w 12139750"/>
              <a:gd name="connsiteY3421" fmla="*/ 1155628 h 6858290"/>
              <a:gd name="connsiteX3422" fmla="*/ 398307 w 12139750"/>
              <a:gd name="connsiteY3422" fmla="*/ 1155617 h 6858290"/>
              <a:gd name="connsiteX3423" fmla="*/ 421644 w 12139750"/>
              <a:gd name="connsiteY3423" fmla="*/ 1178183 h 6858290"/>
              <a:gd name="connsiteX3424" fmla="*/ 425454 w 12139750"/>
              <a:gd name="connsiteY3424" fmla="*/ 1195284 h 6858290"/>
              <a:gd name="connsiteX3425" fmla="*/ 402594 w 12139750"/>
              <a:gd name="connsiteY3425" fmla="*/ 1233286 h 6858290"/>
              <a:gd name="connsiteX3426" fmla="*/ 61595 w 12139750"/>
              <a:gd name="connsiteY3426" fmla="*/ 1389103 h 6858290"/>
              <a:gd name="connsiteX3427" fmla="*/ 6349 w 12139750"/>
              <a:gd name="connsiteY3427" fmla="*/ 1368201 h 6858290"/>
              <a:gd name="connsiteX3428" fmla="*/ 27304 w 12139750"/>
              <a:gd name="connsiteY3428" fmla="*/ 1313094 h 6858290"/>
              <a:gd name="connsiteX3429" fmla="*/ 366398 w 12139750"/>
              <a:gd name="connsiteY3429" fmla="*/ 1157280 h 6858290"/>
              <a:gd name="connsiteX3430" fmla="*/ 398307 w 12139750"/>
              <a:gd name="connsiteY3430" fmla="*/ 1155617 h 6858290"/>
              <a:gd name="connsiteX3431" fmla="*/ 5393468 w 12139750"/>
              <a:gd name="connsiteY3431" fmla="*/ 1144402 h 6858290"/>
              <a:gd name="connsiteX3432" fmla="*/ 5435021 w 12139750"/>
              <a:gd name="connsiteY3432" fmla="*/ 1172421 h 6858290"/>
              <a:gd name="connsiteX3433" fmla="*/ 5438834 w 12139750"/>
              <a:gd name="connsiteY3433" fmla="*/ 1189500 h 6858290"/>
              <a:gd name="connsiteX3434" fmla="*/ 5410239 w 12139750"/>
              <a:gd name="connsiteY3434" fmla="*/ 1231244 h 6858290"/>
              <a:gd name="connsiteX3435" fmla="*/ 5070896 w 12139750"/>
              <a:gd name="connsiteY3435" fmla="*/ 1371665 h 6858290"/>
              <a:gd name="connsiteX3436" fmla="*/ 5011805 w 12139750"/>
              <a:gd name="connsiteY3436" fmla="*/ 1346995 h 6858290"/>
              <a:gd name="connsiteX3437" fmla="*/ 5036585 w 12139750"/>
              <a:gd name="connsiteY3437" fmla="*/ 1288169 h 6858290"/>
              <a:gd name="connsiteX3438" fmla="*/ 5375924 w 12139750"/>
              <a:gd name="connsiteY3438" fmla="*/ 1147752 h 6858290"/>
              <a:gd name="connsiteX3439" fmla="*/ 5393468 w 12139750"/>
              <a:gd name="connsiteY3439" fmla="*/ 1144402 h 6858290"/>
              <a:gd name="connsiteX3440" fmla="*/ 929385 w 12139750"/>
              <a:gd name="connsiteY3440" fmla="*/ 1144389 h 6858290"/>
              <a:gd name="connsiteX3441" fmla="*/ 969330 w 12139750"/>
              <a:gd name="connsiteY3441" fmla="*/ 1172407 h 6858290"/>
              <a:gd name="connsiteX3442" fmla="*/ 973143 w 12139750"/>
              <a:gd name="connsiteY3442" fmla="*/ 1189486 h 6858290"/>
              <a:gd name="connsiteX3443" fmla="*/ 946453 w 12139750"/>
              <a:gd name="connsiteY3443" fmla="*/ 1231231 h 6858290"/>
              <a:gd name="connsiteX3444" fmla="*/ 605206 w 12139750"/>
              <a:gd name="connsiteY3444" fmla="*/ 1371652 h 6858290"/>
              <a:gd name="connsiteX3445" fmla="*/ 546107 w 12139750"/>
              <a:gd name="connsiteY3445" fmla="*/ 1346983 h 6858290"/>
              <a:gd name="connsiteX3446" fmla="*/ 570891 w 12139750"/>
              <a:gd name="connsiteY3446" fmla="*/ 1288158 h 6858290"/>
              <a:gd name="connsiteX3447" fmla="*/ 912138 w 12139750"/>
              <a:gd name="connsiteY3447" fmla="*/ 1147739 h 6858290"/>
              <a:gd name="connsiteX3448" fmla="*/ 929385 w 12139750"/>
              <a:gd name="connsiteY3448" fmla="*/ 1144389 h 6858290"/>
              <a:gd name="connsiteX3449" fmla="*/ 4842182 w 12139750"/>
              <a:gd name="connsiteY3449" fmla="*/ 1136797 h 6858290"/>
              <a:gd name="connsiteX3450" fmla="*/ 4884159 w 12139750"/>
              <a:gd name="connsiteY3450" fmla="*/ 1168322 h 6858290"/>
              <a:gd name="connsiteX3451" fmla="*/ 4887960 w 12139750"/>
              <a:gd name="connsiteY3451" fmla="*/ 1185422 h 6858290"/>
              <a:gd name="connsiteX3452" fmla="*/ 4855640 w 12139750"/>
              <a:gd name="connsiteY3452" fmla="*/ 1231014 h 6858290"/>
              <a:gd name="connsiteX3453" fmla="*/ 4515378 w 12139750"/>
              <a:gd name="connsiteY3453" fmla="*/ 1354501 h 6858290"/>
              <a:gd name="connsiteX3454" fmla="*/ 4454548 w 12139750"/>
              <a:gd name="connsiteY3454" fmla="*/ 1326004 h 6858290"/>
              <a:gd name="connsiteX3455" fmla="*/ 4483064 w 12139750"/>
              <a:gd name="connsiteY3455" fmla="*/ 1263308 h 6858290"/>
              <a:gd name="connsiteX3456" fmla="*/ 4823320 w 12139750"/>
              <a:gd name="connsiteY3456" fmla="*/ 1139825 h 6858290"/>
              <a:gd name="connsiteX3457" fmla="*/ 4842182 w 12139750"/>
              <a:gd name="connsiteY3457" fmla="*/ 1136797 h 6858290"/>
              <a:gd name="connsiteX3458" fmla="*/ 1478252 w 12139750"/>
              <a:gd name="connsiteY3458" fmla="*/ 1136782 h 6858290"/>
              <a:gd name="connsiteX3459" fmla="*/ 1520519 w 12139750"/>
              <a:gd name="connsiteY3459" fmla="*/ 1168307 h 6858290"/>
              <a:gd name="connsiteX3460" fmla="*/ 1522421 w 12139750"/>
              <a:gd name="connsiteY3460" fmla="*/ 1185406 h 6858290"/>
              <a:gd name="connsiteX3461" fmla="*/ 1491984 w 12139750"/>
              <a:gd name="connsiteY3461" fmla="*/ 1231000 h 6858290"/>
              <a:gd name="connsiteX3462" fmla="*/ 1151475 w 12139750"/>
              <a:gd name="connsiteY3462" fmla="*/ 1354486 h 6858290"/>
              <a:gd name="connsiteX3463" fmla="*/ 1088700 w 12139750"/>
              <a:gd name="connsiteY3463" fmla="*/ 1325989 h 6858290"/>
              <a:gd name="connsiteX3464" fmla="*/ 1117234 w 12139750"/>
              <a:gd name="connsiteY3464" fmla="*/ 1263296 h 6858290"/>
              <a:gd name="connsiteX3465" fmla="*/ 1459646 w 12139750"/>
              <a:gd name="connsiteY3465" fmla="*/ 1139810 h 6858290"/>
              <a:gd name="connsiteX3466" fmla="*/ 1478252 w 12139750"/>
              <a:gd name="connsiteY3466" fmla="*/ 1136782 h 6858290"/>
              <a:gd name="connsiteX3467" fmla="*/ 4287306 w 12139750"/>
              <a:gd name="connsiteY3467" fmla="*/ 1129713 h 6858290"/>
              <a:gd name="connsiteX3468" fmla="*/ 4330110 w 12139750"/>
              <a:gd name="connsiteY3468" fmla="*/ 1165826 h 6858290"/>
              <a:gd name="connsiteX3469" fmla="*/ 4333916 w 12139750"/>
              <a:gd name="connsiteY3469" fmla="*/ 1181045 h 6858290"/>
              <a:gd name="connsiteX3470" fmla="*/ 4297769 w 12139750"/>
              <a:gd name="connsiteY3470" fmla="*/ 1228599 h 6858290"/>
              <a:gd name="connsiteX3471" fmla="*/ 3955366 w 12139750"/>
              <a:gd name="connsiteY3471" fmla="*/ 1337029 h 6858290"/>
              <a:gd name="connsiteX3472" fmla="*/ 3890685 w 12139750"/>
              <a:gd name="connsiteY3472" fmla="*/ 1302787 h 6858290"/>
              <a:gd name="connsiteX3473" fmla="*/ 3924928 w 12139750"/>
              <a:gd name="connsiteY3473" fmla="*/ 1240012 h 6858290"/>
              <a:gd name="connsiteX3474" fmla="*/ 4267331 w 12139750"/>
              <a:gd name="connsiteY3474" fmla="*/ 1131585 h 6858290"/>
              <a:gd name="connsiteX3475" fmla="*/ 4287306 w 12139750"/>
              <a:gd name="connsiteY3475" fmla="*/ 1129713 h 6858290"/>
              <a:gd name="connsiteX3476" fmla="*/ 2033027 w 12139750"/>
              <a:gd name="connsiteY3476" fmla="*/ 1129695 h 6858290"/>
              <a:gd name="connsiteX3477" fmla="*/ 2077738 w 12139750"/>
              <a:gd name="connsiteY3477" fmla="*/ 1165808 h 6858290"/>
              <a:gd name="connsiteX3478" fmla="*/ 2079641 w 12139750"/>
              <a:gd name="connsiteY3478" fmla="*/ 1181027 h 6858290"/>
              <a:gd name="connsiteX3479" fmla="*/ 2043467 w 12139750"/>
              <a:gd name="connsiteY3479" fmla="*/ 1228582 h 6858290"/>
              <a:gd name="connsiteX3480" fmla="*/ 1702708 w 12139750"/>
              <a:gd name="connsiteY3480" fmla="*/ 1337012 h 6858290"/>
              <a:gd name="connsiteX3481" fmla="*/ 1637983 w 12139750"/>
              <a:gd name="connsiteY3481" fmla="*/ 1302771 h 6858290"/>
              <a:gd name="connsiteX3482" fmla="*/ 1670346 w 12139750"/>
              <a:gd name="connsiteY3482" fmla="*/ 1239996 h 6858290"/>
              <a:gd name="connsiteX3483" fmla="*/ 2013008 w 12139750"/>
              <a:gd name="connsiteY3483" fmla="*/ 1131568 h 6858290"/>
              <a:gd name="connsiteX3484" fmla="*/ 2033027 w 12139750"/>
              <a:gd name="connsiteY3484" fmla="*/ 1129695 h 6858290"/>
              <a:gd name="connsiteX3485" fmla="*/ 3726353 w 12139750"/>
              <a:gd name="connsiteY3485" fmla="*/ 1122417 h 6858290"/>
              <a:gd name="connsiteX3486" fmla="*/ 3771630 w 12139750"/>
              <a:gd name="connsiteY3486" fmla="*/ 1162034 h 6858290"/>
              <a:gd name="connsiteX3487" fmla="*/ 3773534 w 12139750"/>
              <a:gd name="connsiteY3487" fmla="*/ 1175449 h 6858290"/>
              <a:gd name="connsiteX3488" fmla="*/ 3733528 w 12139750"/>
              <a:gd name="connsiteY3488" fmla="*/ 1229108 h 6858290"/>
              <a:gd name="connsiteX3489" fmla="*/ 3390637 w 12139750"/>
              <a:gd name="connsiteY3489" fmla="*/ 1321097 h 6858290"/>
              <a:gd name="connsiteX3490" fmla="*/ 3323960 w 12139750"/>
              <a:gd name="connsiteY3490" fmla="*/ 1282766 h 6858290"/>
              <a:gd name="connsiteX3491" fmla="*/ 3362061 w 12139750"/>
              <a:gd name="connsiteY3491" fmla="*/ 1215695 h 6858290"/>
              <a:gd name="connsiteX3492" fmla="*/ 3704951 w 12139750"/>
              <a:gd name="connsiteY3492" fmla="*/ 1123705 h 6858290"/>
              <a:gd name="connsiteX3493" fmla="*/ 3726353 w 12139750"/>
              <a:gd name="connsiteY3493" fmla="*/ 1122417 h 6858290"/>
              <a:gd name="connsiteX3494" fmla="*/ 2592851 w 12139750"/>
              <a:gd name="connsiteY3494" fmla="*/ 1122397 h 6858290"/>
              <a:gd name="connsiteX3495" fmla="*/ 2638126 w 12139750"/>
              <a:gd name="connsiteY3495" fmla="*/ 1162013 h 6858290"/>
              <a:gd name="connsiteX3496" fmla="*/ 2640030 w 12139750"/>
              <a:gd name="connsiteY3496" fmla="*/ 1175429 h 6858290"/>
              <a:gd name="connsiteX3497" fmla="*/ 2600026 w 12139750"/>
              <a:gd name="connsiteY3497" fmla="*/ 1229089 h 6858290"/>
              <a:gd name="connsiteX3498" fmla="*/ 2257121 w 12139750"/>
              <a:gd name="connsiteY3498" fmla="*/ 1321078 h 6858290"/>
              <a:gd name="connsiteX3499" fmla="*/ 2190445 w 12139750"/>
              <a:gd name="connsiteY3499" fmla="*/ 1282749 h 6858290"/>
              <a:gd name="connsiteX3500" fmla="*/ 2228546 w 12139750"/>
              <a:gd name="connsiteY3500" fmla="*/ 1215674 h 6858290"/>
              <a:gd name="connsiteX3501" fmla="*/ 2571449 w 12139750"/>
              <a:gd name="connsiteY3501" fmla="*/ 1123685 h 6858290"/>
              <a:gd name="connsiteX3502" fmla="*/ 2592851 w 12139750"/>
              <a:gd name="connsiteY3502" fmla="*/ 1122397 h 6858290"/>
              <a:gd name="connsiteX3503" fmla="*/ 3157611 w 12139750"/>
              <a:gd name="connsiteY3503" fmla="*/ 1116357 h 6858290"/>
              <a:gd name="connsiteX3504" fmla="*/ 3201722 w 12139750"/>
              <a:gd name="connsiteY3504" fmla="*/ 1159220 h 6858290"/>
              <a:gd name="connsiteX3505" fmla="*/ 3203624 w 12139750"/>
              <a:gd name="connsiteY3505" fmla="*/ 1172555 h 6858290"/>
              <a:gd name="connsiteX3506" fmla="*/ 3159900 w 12139750"/>
              <a:gd name="connsiteY3506" fmla="*/ 1227799 h 6858290"/>
              <a:gd name="connsiteX3507" fmla="*/ 2815797 w 12139750"/>
              <a:gd name="connsiteY3507" fmla="*/ 1303997 h 6858290"/>
              <a:gd name="connsiteX3508" fmla="*/ 2747356 w 12139750"/>
              <a:gd name="connsiteY3508" fmla="*/ 1260182 h 6858290"/>
              <a:gd name="connsiteX3509" fmla="*/ 2791085 w 12139750"/>
              <a:gd name="connsiteY3509" fmla="*/ 1191605 h 6858290"/>
              <a:gd name="connsiteX3510" fmla="*/ 3135184 w 12139750"/>
              <a:gd name="connsiteY3510" fmla="*/ 1117309 h 6858290"/>
              <a:gd name="connsiteX3511" fmla="*/ 3157611 w 12139750"/>
              <a:gd name="connsiteY3511" fmla="*/ 1116357 h 6858290"/>
              <a:gd name="connsiteX3512" fmla="*/ 9862398 w 12139750"/>
              <a:gd name="connsiteY3512" fmla="*/ 887331 h 6858290"/>
              <a:gd name="connsiteX3513" fmla="*/ 9878153 w 12139750"/>
              <a:gd name="connsiteY3513" fmla="*/ 895649 h 6858290"/>
              <a:gd name="connsiteX3514" fmla="*/ 9883882 w 12139750"/>
              <a:gd name="connsiteY3514" fmla="*/ 910857 h 6858290"/>
              <a:gd name="connsiteX3515" fmla="*/ 9874333 w 12139750"/>
              <a:gd name="connsiteY3515" fmla="*/ 929868 h 6858290"/>
              <a:gd name="connsiteX3516" fmla="*/ 9540128 w 12139750"/>
              <a:gd name="connsiteY3516" fmla="*/ 1184614 h 6858290"/>
              <a:gd name="connsiteX3517" fmla="*/ 9505753 w 12139750"/>
              <a:gd name="connsiteY3517" fmla="*/ 1178911 h 6858290"/>
              <a:gd name="connsiteX3518" fmla="*/ 9511482 w 12139750"/>
              <a:gd name="connsiteY3518" fmla="*/ 1144691 h 6858290"/>
              <a:gd name="connsiteX3519" fmla="*/ 9843777 w 12139750"/>
              <a:gd name="connsiteY3519" fmla="*/ 891846 h 6858290"/>
              <a:gd name="connsiteX3520" fmla="*/ 9862398 w 12139750"/>
              <a:gd name="connsiteY3520" fmla="*/ 887331 h 6858290"/>
              <a:gd name="connsiteX3521" fmla="*/ 9285227 w 12139750"/>
              <a:gd name="connsiteY3521" fmla="*/ 879270 h 6858290"/>
              <a:gd name="connsiteX3522" fmla="*/ 9301896 w 12139750"/>
              <a:gd name="connsiteY3522" fmla="*/ 890009 h 6858290"/>
              <a:gd name="connsiteX3523" fmla="*/ 9307611 w 12139750"/>
              <a:gd name="connsiteY3523" fmla="*/ 905281 h 6858290"/>
              <a:gd name="connsiteX3524" fmla="*/ 9296181 w 12139750"/>
              <a:gd name="connsiteY3524" fmla="*/ 928189 h 6858290"/>
              <a:gd name="connsiteX3525" fmla="*/ 8962802 w 12139750"/>
              <a:gd name="connsiteY3525" fmla="*/ 1168731 h 6858290"/>
              <a:gd name="connsiteX3526" fmla="*/ 8924701 w 12139750"/>
              <a:gd name="connsiteY3526" fmla="*/ 1161095 h 6858290"/>
              <a:gd name="connsiteX3527" fmla="*/ 8930416 w 12139750"/>
              <a:gd name="connsiteY3527" fmla="*/ 1124823 h 6858290"/>
              <a:gd name="connsiteX3528" fmla="*/ 9265700 w 12139750"/>
              <a:gd name="connsiteY3528" fmla="*/ 884282 h 6858290"/>
              <a:gd name="connsiteX3529" fmla="*/ 9285227 w 12139750"/>
              <a:gd name="connsiteY3529" fmla="*/ 879270 h 6858290"/>
              <a:gd name="connsiteX3530" fmla="*/ 10445943 w 12139750"/>
              <a:gd name="connsiteY3530" fmla="*/ 879249 h 6858290"/>
              <a:gd name="connsiteX3531" fmla="*/ 10464279 w 12139750"/>
              <a:gd name="connsiteY3531" fmla="*/ 889987 h 6858290"/>
              <a:gd name="connsiteX3532" fmla="*/ 10468089 w 12139750"/>
              <a:gd name="connsiteY3532" fmla="*/ 905259 h 6858290"/>
              <a:gd name="connsiteX3533" fmla="*/ 10458564 w 12139750"/>
              <a:gd name="connsiteY3533" fmla="*/ 928168 h 6858290"/>
              <a:gd name="connsiteX3534" fmla="*/ 10123280 w 12139750"/>
              <a:gd name="connsiteY3534" fmla="*/ 1168705 h 6858290"/>
              <a:gd name="connsiteX3535" fmla="*/ 10087084 w 12139750"/>
              <a:gd name="connsiteY3535" fmla="*/ 1161069 h 6858290"/>
              <a:gd name="connsiteX3536" fmla="*/ 10092799 w 12139750"/>
              <a:gd name="connsiteY3536" fmla="*/ 1124797 h 6858290"/>
              <a:gd name="connsiteX3537" fmla="*/ 10426178 w 12139750"/>
              <a:gd name="connsiteY3537" fmla="*/ 884260 h 6858290"/>
              <a:gd name="connsiteX3538" fmla="*/ 10445943 w 12139750"/>
              <a:gd name="connsiteY3538" fmla="*/ 879249 h 6858290"/>
              <a:gd name="connsiteX3539" fmla="*/ 8716319 w 12139750"/>
              <a:gd name="connsiteY3539" fmla="*/ 870617 h 6858290"/>
              <a:gd name="connsiteX3540" fmla="*/ 8735146 w 12139750"/>
              <a:gd name="connsiteY3540" fmla="*/ 883981 h 6858290"/>
              <a:gd name="connsiteX3541" fmla="*/ 8740866 w 12139750"/>
              <a:gd name="connsiteY3541" fmla="*/ 899254 h 6858290"/>
              <a:gd name="connsiteX3542" fmla="*/ 8727520 w 12139750"/>
              <a:gd name="connsiteY3542" fmla="*/ 924073 h 6858290"/>
              <a:gd name="connsiteX3543" fmla="*/ 8391968 w 12139750"/>
              <a:gd name="connsiteY3543" fmla="*/ 1151267 h 6858290"/>
              <a:gd name="connsiteX3544" fmla="*/ 8351931 w 12139750"/>
              <a:gd name="connsiteY3544" fmla="*/ 1141721 h 6858290"/>
              <a:gd name="connsiteX3545" fmla="*/ 8359557 w 12139750"/>
              <a:gd name="connsiteY3545" fmla="*/ 1101629 h 6858290"/>
              <a:gd name="connsiteX3546" fmla="*/ 8693202 w 12139750"/>
              <a:gd name="connsiteY3546" fmla="*/ 874435 h 6858290"/>
              <a:gd name="connsiteX3547" fmla="*/ 8716319 w 12139750"/>
              <a:gd name="connsiteY3547" fmla="*/ 870617 h 6858290"/>
              <a:gd name="connsiteX3548" fmla="*/ 11024254 w 12139750"/>
              <a:gd name="connsiteY3548" fmla="*/ 870594 h 6858290"/>
              <a:gd name="connsiteX3549" fmla="*/ 11043734 w 12139750"/>
              <a:gd name="connsiteY3549" fmla="*/ 883958 h 6858290"/>
              <a:gd name="connsiteX3550" fmla="*/ 11047535 w 12139750"/>
              <a:gd name="connsiteY3550" fmla="*/ 899231 h 6858290"/>
              <a:gd name="connsiteX3551" fmla="*/ 11036132 w 12139750"/>
              <a:gd name="connsiteY3551" fmla="*/ 924050 h 6858290"/>
              <a:gd name="connsiteX3552" fmla="*/ 10701654 w 12139750"/>
              <a:gd name="connsiteY3552" fmla="*/ 1151239 h 6858290"/>
              <a:gd name="connsiteX3553" fmla="*/ 10659844 w 12139750"/>
              <a:gd name="connsiteY3553" fmla="*/ 1141693 h 6858290"/>
              <a:gd name="connsiteX3554" fmla="*/ 10669346 w 12139750"/>
              <a:gd name="connsiteY3554" fmla="*/ 1101601 h 6858290"/>
              <a:gd name="connsiteX3555" fmla="*/ 11001924 w 12139750"/>
              <a:gd name="connsiteY3555" fmla="*/ 874412 h 6858290"/>
              <a:gd name="connsiteX3556" fmla="*/ 11024254 w 12139750"/>
              <a:gd name="connsiteY3556" fmla="*/ 870594 h 6858290"/>
              <a:gd name="connsiteX3557" fmla="*/ 8152171 w 12139750"/>
              <a:gd name="connsiteY3557" fmla="*/ 862274 h 6858290"/>
              <a:gd name="connsiteX3558" fmla="*/ 8171905 w 12139750"/>
              <a:gd name="connsiteY3558" fmla="*/ 876324 h 6858290"/>
              <a:gd name="connsiteX3559" fmla="*/ 8175709 w 12139750"/>
              <a:gd name="connsiteY3559" fmla="*/ 893468 h 6858290"/>
              <a:gd name="connsiteX3560" fmla="*/ 8162395 w 12139750"/>
              <a:gd name="connsiteY3560" fmla="*/ 920138 h 6858290"/>
              <a:gd name="connsiteX3561" fmla="*/ 7825735 w 12139750"/>
              <a:gd name="connsiteY3561" fmla="*/ 1133503 h 6858290"/>
              <a:gd name="connsiteX3562" fmla="*/ 7781988 w 12139750"/>
              <a:gd name="connsiteY3562" fmla="*/ 1123978 h 6858290"/>
              <a:gd name="connsiteX3563" fmla="*/ 7791498 w 12139750"/>
              <a:gd name="connsiteY3563" fmla="*/ 1078258 h 6858290"/>
              <a:gd name="connsiteX3564" fmla="*/ 8128158 w 12139750"/>
              <a:gd name="connsiteY3564" fmla="*/ 866799 h 6858290"/>
              <a:gd name="connsiteX3565" fmla="*/ 8152171 w 12139750"/>
              <a:gd name="connsiteY3565" fmla="*/ 862274 h 6858290"/>
              <a:gd name="connsiteX3566" fmla="*/ 11596678 w 12139750"/>
              <a:gd name="connsiteY3566" fmla="*/ 862268 h 6858290"/>
              <a:gd name="connsiteX3567" fmla="*/ 11616489 w 12139750"/>
              <a:gd name="connsiteY3567" fmla="*/ 876317 h 6858290"/>
              <a:gd name="connsiteX3568" fmla="*/ 11622218 w 12139750"/>
              <a:gd name="connsiteY3568" fmla="*/ 893462 h 6858290"/>
              <a:gd name="connsiteX3569" fmla="*/ 11606942 w 12139750"/>
              <a:gd name="connsiteY3569" fmla="*/ 920132 h 6858290"/>
              <a:gd name="connsiteX3570" fmla="*/ 11270867 w 12139750"/>
              <a:gd name="connsiteY3570" fmla="*/ 1133497 h 6858290"/>
              <a:gd name="connsiteX3571" fmla="*/ 11226948 w 12139750"/>
              <a:gd name="connsiteY3571" fmla="*/ 1123971 h 6858290"/>
              <a:gd name="connsiteX3572" fmla="*/ 11236495 w 12139750"/>
              <a:gd name="connsiteY3572" fmla="*/ 1078251 h 6858290"/>
              <a:gd name="connsiteX3573" fmla="*/ 11572570 w 12139750"/>
              <a:gd name="connsiteY3573" fmla="*/ 866793 h 6858290"/>
              <a:gd name="connsiteX3574" fmla="*/ 11596678 w 12139750"/>
              <a:gd name="connsiteY3574" fmla="*/ 862268 h 6858290"/>
              <a:gd name="connsiteX3575" fmla="*/ 12139750 w 12139750"/>
              <a:gd name="connsiteY3575" fmla="*/ 857266 h 6858290"/>
              <a:gd name="connsiteX3576" fmla="*/ 12139750 w 12139750"/>
              <a:gd name="connsiteY3576" fmla="*/ 935278 h 6858290"/>
              <a:gd name="connsiteX3577" fmla="*/ 11834946 w 12139750"/>
              <a:gd name="connsiteY3577" fmla="*/ 1116043 h 6858290"/>
              <a:gd name="connsiteX3578" fmla="*/ 11787320 w 12139750"/>
              <a:gd name="connsiteY3578" fmla="*/ 1104626 h 6858290"/>
              <a:gd name="connsiteX3579" fmla="*/ 11798750 w 12139750"/>
              <a:gd name="connsiteY3579" fmla="*/ 1057058 h 6858290"/>
              <a:gd name="connsiteX3580" fmla="*/ 12135940 w 12139750"/>
              <a:gd name="connsiteY3580" fmla="*/ 859168 h 6858290"/>
              <a:gd name="connsiteX3581" fmla="*/ 12139750 w 12139750"/>
              <a:gd name="connsiteY3581" fmla="*/ 857266 h 6858290"/>
              <a:gd name="connsiteX3582" fmla="*/ 7595013 w 12139750"/>
              <a:gd name="connsiteY3582" fmla="*/ 854170 h 6858290"/>
              <a:gd name="connsiteX3583" fmla="*/ 7615952 w 12139750"/>
              <a:gd name="connsiteY3583" fmla="*/ 870582 h 6858290"/>
              <a:gd name="connsiteX3584" fmla="*/ 7621663 w 12139750"/>
              <a:gd name="connsiteY3584" fmla="*/ 887708 h 6858290"/>
              <a:gd name="connsiteX3585" fmla="*/ 7604531 w 12139750"/>
              <a:gd name="connsiteY3585" fmla="*/ 918153 h 6858290"/>
              <a:gd name="connsiteX3586" fmla="*/ 7267601 w 12139750"/>
              <a:gd name="connsiteY3586" fmla="*/ 1116053 h 6858290"/>
              <a:gd name="connsiteX3587" fmla="*/ 7220013 w 12139750"/>
              <a:gd name="connsiteY3587" fmla="*/ 1104635 h 6858290"/>
              <a:gd name="connsiteX3588" fmla="*/ 7233337 w 12139750"/>
              <a:gd name="connsiteY3588" fmla="*/ 1057064 h 6858290"/>
              <a:gd name="connsiteX3589" fmla="*/ 7568363 w 12139750"/>
              <a:gd name="connsiteY3589" fmla="*/ 859165 h 6858290"/>
              <a:gd name="connsiteX3590" fmla="*/ 7595013 w 12139750"/>
              <a:gd name="connsiteY3590" fmla="*/ 854170 h 6858290"/>
              <a:gd name="connsiteX3591" fmla="*/ 7044817 w 12139750"/>
              <a:gd name="connsiteY3591" fmla="*/ 846270 h 6858290"/>
              <a:gd name="connsiteX3592" fmla="*/ 7066980 w 12139750"/>
              <a:gd name="connsiteY3592" fmla="*/ 864693 h 6858290"/>
              <a:gd name="connsiteX3593" fmla="*/ 7070793 w 12139750"/>
              <a:gd name="connsiteY3593" fmla="*/ 881918 h 6858290"/>
              <a:gd name="connsiteX3594" fmla="*/ 7051728 w 12139750"/>
              <a:gd name="connsiteY3594" fmla="*/ 914456 h 6858290"/>
              <a:gd name="connsiteX3595" fmla="*/ 6714282 w 12139750"/>
              <a:gd name="connsiteY3595" fmla="*/ 1100119 h 6858290"/>
              <a:gd name="connsiteX3596" fmla="*/ 6664714 w 12139750"/>
              <a:gd name="connsiteY3596" fmla="*/ 1084808 h 6858290"/>
              <a:gd name="connsiteX3597" fmla="*/ 6678059 w 12139750"/>
              <a:gd name="connsiteY3597" fmla="*/ 1035038 h 6858290"/>
              <a:gd name="connsiteX3598" fmla="*/ 7015505 w 12139750"/>
              <a:gd name="connsiteY3598" fmla="*/ 849380 h 6858290"/>
              <a:gd name="connsiteX3599" fmla="*/ 7044817 w 12139750"/>
              <a:gd name="connsiteY3599" fmla="*/ 846270 h 6858290"/>
              <a:gd name="connsiteX3600" fmla="*/ 6485646 w 12139750"/>
              <a:gd name="connsiteY3600" fmla="*/ 836909 h 6858290"/>
              <a:gd name="connsiteX3601" fmla="*/ 6524041 w 12139750"/>
              <a:gd name="connsiteY3601" fmla="*/ 858929 h 6858290"/>
              <a:gd name="connsiteX3602" fmla="*/ 6527860 w 12139750"/>
              <a:gd name="connsiteY3602" fmla="*/ 876115 h 6858290"/>
              <a:gd name="connsiteX3603" fmla="*/ 6506857 w 12139750"/>
              <a:gd name="connsiteY3603" fmla="*/ 912398 h 6858290"/>
              <a:gd name="connsiteX3604" fmla="*/ 6166999 w 12139750"/>
              <a:gd name="connsiteY3604" fmla="*/ 1082357 h 6858290"/>
              <a:gd name="connsiteX3605" fmla="*/ 6113538 w 12139750"/>
              <a:gd name="connsiteY3605" fmla="*/ 1065171 h 6858290"/>
              <a:gd name="connsiteX3606" fmla="*/ 6130722 w 12139750"/>
              <a:gd name="connsiteY3606" fmla="*/ 1011697 h 6858290"/>
              <a:gd name="connsiteX3607" fmla="*/ 6470580 w 12139750"/>
              <a:gd name="connsiteY3607" fmla="*/ 841743 h 6858290"/>
              <a:gd name="connsiteX3608" fmla="*/ 6485646 w 12139750"/>
              <a:gd name="connsiteY3608" fmla="*/ 836909 h 6858290"/>
              <a:gd name="connsiteX3609" fmla="*/ 5957785 w 12139750"/>
              <a:gd name="connsiteY3609" fmla="*/ 832476 h 6858290"/>
              <a:gd name="connsiteX3610" fmla="*/ 5981121 w 12139750"/>
              <a:gd name="connsiteY3610" fmla="*/ 854301 h 6858290"/>
              <a:gd name="connsiteX3611" fmla="*/ 5984930 w 12139750"/>
              <a:gd name="connsiteY3611" fmla="*/ 871381 h 6858290"/>
              <a:gd name="connsiteX3612" fmla="*/ 5962070 w 12139750"/>
              <a:gd name="connsiteY3612" fmla="*/ 909338 h 6858290"/>
              <a:gd name="connsiteX3613" fmla="*/ 5622984 w 12139750"/>
              <a:gd name="connsiteY3613" fmla="*/ 1066863 h 6858290"/>
              <a:gd name="connsiteX3614" fmla="*/ 5565834 w 12139750"/>
              <a:gd name="connsiteY3614" fmla="*/ 1045982 h 6858290"/>
              <a:gd name="connsiteX3615" fmla="*/ 5586789 w 12139750"/>
              <a:gd name="connsiteY3615" fmla="*/ 990945 h 6858290"/>
              <a:gd name="connsiteX3616" fmla="*/ 5925876 w 12139750"/>
              <a:gd name="connsiteY3616" fmla="*/ 833424 h 6858290"/>
              <a:gd name="connsiteX3617" fmla="*/ 5957785 w 12139750"/>
              <a:gd name="connsiteY3617" fmla="*/ 832476 h 6858290"/>
              <a:gd name="connsiteX3618" fmla="*/ 398307 w 12139750"/>
              <a:gd name="connsiteY3618" fmla="*/ 832466 h 6858290"/>
              <a:gd name="connsiteX3619" fmla="*/ 421644 w 12139750"/>
              <a:gd name="connsiteY3619" fmla="*/ 854291 h 6858290"/>
              <a:gd name="connsiteX3620" fmla="*/ 425454 w 12139750"/>
              <a:gd name="connsiteY3620" fmla="*/ 871371 h 6858290"/>
              <a:gd name="connsiteX3621" fmla="*/ 400689 w 12139750"/>
              <a:gd name="connsiteY3621" fmla="*/ 909328 h 6858290"/>
              <a:gd name="connsiteX3622" fmla="*/ 61595 w 12139750"/>
              <a:gd name="connsiteY3622" fmla="*/ 1066852 h 6858290"/>
              <a:gd name="connsiteX3623" fmla="*/ 6349 w 12139750"/>
              <a:gd name="connsiteY3623" fmla="*/ 1045972 h 6858290"/>
              <a:gd name="connsiteX3624" fmla="*/ 27304 w 12139750"/>
              <a:gd name="connsiteY3624" fmla="*/ 990935 h 6858290"/>
              <a:gd name="connsiteX3625" fmla="*/ 366398 w 12139750"/>
              <a:gd name="connsiteY3625" fmla="*/ 833414 h 6858290"/>
              <a:gd name="connsiteX3626" fmla="*/ 398307 w 12139750"/>
              <a:gd name="connsiteY3626" fmla="*/ 832466 h 6858290"/>
              <a:gd name="connsiteX3627" fmla="*/ 5410477 w 12139750"/>
              <a:gd name="connsiteY3627" fmla="*/ 824774 h 6858290"/>
              <a:gd name="connsiteX3628" fmla="*/ 5435021 w 12139750"/>
              <a:gd name="connsiteY3628" fmla="*/ 848257 h 6858290"/>
              <a:gd name="connsiteX3629" fmla="*/ 5438834 w 12139750"/>
              <a:gd name="connsiteY3629" fmla="*/ 865335 h 6858290"/>
              <a:gd name="connsiteX3630" fmla="*/ 5410239 w 12139750"/>
              <a:gd name="connsiteY3630" fmla="*/ 907081 h 6858290"/>
              <a:gd name="connsiteX3631" fmla="*/ 5070896 w 12139750"/>
              <a:gd name="connsiteY3631" fmla="*/ 1049397 h 6858290"/>
              <a:gd name="connsiteX3632" fmla="*/ 5011805 w 12139750"/>
              <a:gd name="connsiteY3632" fmla="*/ 1024730 h 6858290"/>
              <a:gd name="connsiteX3633" fmla="*/ 5034679 w 12139750"/>
              <a:gd name="connsiteY3633" fmla="*/ 967803 h 6858290"/>
              <a:gd name="connsiteX3634" fmla="*/ 5375924 w 12139750"/>
              <a:gd name="connsiteY3634" fmla="*/ 825486 h 6858290"/>
              <a:gd name="connsiteX3635" fmla="*/ 5410477 w 12139750"/>
              <a:gd name="connsiteY3635" fmla="*/ 824774 h 6858290"/>
              <a:gd name="connsiteX3636" fmla="*/ 944785 w 12139750"/>
              <a:gd name="connsiteY3636" fmla="*/ 824762 h 6858290"/>
              <a:gd name="connsiteX3637" fmla="*/ 969330 w 12139750"/>
              <a:gd name="connsiteY3637" fmla="*/ 848245 h 6858290"/>
              <a:gd name="connsiteX3638" fmla="*/ 973143 w 12139750"/>
              <a:gd name="connsiteY3638" fmla="*/ 865323 h 6858290"/>
              <a:gd name="connsiteX3639" fmla="*/ 946453 w 12139750"/>
              <a:gd name="connsiteY3639" fmla="*/ 907069 h 6858290"/>
              <a:gd name="connsiteX3640" fmla="*/ 605206 w 12139750"/>
              <a:gd name="connsiteY3640" fmla="*/ 1049386 h 6858290"/>
              <a:gd name="connsiteX3641" fmla="*/ 546108 w 12139750"/>
              <a:gd name="connsiteY3641" fmla="*/ 1024718 h 6858290"/>
              <a:gd name="connsiteX3642" fmla="*/ 570891 w 12139750"/>
              <a:gd name="connsiteY3642" fmla="*/ 967791 h 6858290"/>
              <a:gd name="connsiteX3643" fmla="*/ 910231 w 12139750"/>
              <a:gd name="connsiteY3643" fmla="*/ 825474 h 6858290"/>
              <a:gd name="connsiteX3644" fmla="*/ 944785 w 12139750"/>
              <a:gd name="connsiteY3644" fmla="*/ 824762 h 6858290"/>
              <a:gd name="connsiteX3645" fmla="*/ 4842166 w 12139750"/>
              <a:gd name="connsiteY3645" fmla="*/ 812941 h 6858290"/>
              <a:gd name="connsiteX3646" fmla="*/ 4884470 w 12139750"/>
              <a:gd name="connsiteY3646" fmla="*/ 842717 h 6858290"/>
              <a:gd name="connsiteX3647" fmla="*/ 4886374 w 12139750"/>
              <a:gd name="connsiteY3647" fmla="*/ 859885 h 6858290"/>
              <a:gd name="connsiteX3648" fmla="*/ 4855910 w 12139750"/>
              <a:gd name="connsiteY3648" fmla="*/ 903759 h 6858290"/>
              <a:gd name="connsiteX3649" fmla="*/ 4515164 w 12139750"/>
              <a:gd name="connsiteY3649" fmla="*/ 1033473 h 6858290"/>
              <a:gd name="connsiteX3650" fmla="*/ 4454246 w 12139750"/>
              <a:gd name="connsiteY3650" fmla="*/ 1006767 h 6858290"/>
              <a:gd name="connsiteX3651" fmla="*/ 4482801 w 12139750"/>
              <a:gd name="connsiteY3651" fmla="*/ 945725 h 6858290"/>
              <a:gd name="connsiteX3652" fmla="*/ 4823545 w 12139750"/>
              <a:gd name="connsiteY3652" fmla="*/ 816011 h 6858290"/>
              <a:gd name="connsiteX3653" fmla="*/ 4842166 w 12139750"/>
              <a:gd name="connsiteY3653" fmla="*/ 812941 h 6858290"/>
              <a:gd name="connsiteX3654" fmla="*/ 1476350 w 12139750"/>
              <a:gd name="connsiteY3654" fmla="*/ 812927 h 6858290"/>
              <a:gd name="connsiteX3655" fmla="*/ 1518617 w 12139750"/>
              <a:gd name="connsiteY3655" fmla="*/ 842703 h 6858290"/>
              <a:gd name="connsiteX3656" fmla="*/ 1522421 w 12139750"/>
              <a:gd name="connsiteY3656" fmla="*/ 859871 h 6858290"/>
              <a:gd name="connsiteX3657" fmla="*/ 1491985 w 12139750"/>
              <a:gd name="connsiteY3657" fmla="*/ 903745 h 6858290"/>
              <a:gd name="connsiteX3658" fmla="*/ 1151476 w 12139750"/>
              <a:gd name="connsiteY3658" fmla="*/ 1033459 h 6858290"/>
              <a:gd name="connsiteX3659" fmla="*/ 1090602 w 12139750"/>
              <a:gd name="connsiteY3659" fmla="*/ 1006753 h 6858290"/>
              <a:gd name="connsiteX3660" fmla="*/ 1117234 w 12139750"/>
              <a:gd name="connsiteY3660" fmla="*/ 945711 h 6858290"/>
              <a:gd name="connsiteX3661" fmla="*/ 1457743 w 12139750"/>
              <a:gd name="connsiteY3661" fmla="*/ 815997 h 6858290"/>
              <a:gd name="connsiteX3662" fmla="*/ 1476350 w 12139750"/>
              <a:gd name="connsiteY3662" fmla="*/ 812927 h 6858290"/>
              <a:gd name="connsiteX3663" fmla="*/ 4285652 w 12139750"/>
              <a:gd name="connsiteY3663" fmla="*/ 804258 h 6858290"/>
              <a:gd name="connsiteX3664" fmla="*/ 4328516 w 12139750"/>
              <a:gd name="connsiteY3664" fmla="*/ 838596 h 6858290"/>
              <a:gd name="connsiteX3665" fmla="*/ 4332327 w 12139750"/>
              <a:gd name="connsiteY3665" fmla="*/ 853857 h 6858290"/>
              <a:gd name="connsiteX3666" fmla="*/ 4298035 w 12139750"/>
              <a:gd name="connsiteY3666" fmla="*/ 901549 h 6858290"/>
              <a:gd name="connsiteX3667" fmla="*/ 3957057 w 12139750"/>
              <a:gd name="connsiteY3667" fmla="*/ 1017917 h 6858290"/>
              <a:gd name="connsiteX3668" fmla="*/ 3894189 w 12139750"/>
              <a:gd name="connsiteY3668" fmla="*/ 985486 h 6858290"/>
              <a:gd name="connsiteX3669" fmla="*/ 3924669 w 12139750"/>
              <a:gd name="connsiteY3669" fmla="*/ 922533 h 6858290"/>
              <a:gd name="connsiteX3670" fmla="*/ 4265650 w 12139750"/>
              <a:gd name="connsiteY3670" fmla="*/ 806166 h 6858290"/>
              <a:gd name="connsiteX3671" fmla="*/ 4285652 w 12139750"/>
              <a:gd name="connsiteY3671" fmla="*/ 804258 h 6858290"/>
              <a:gd name="connsiteX3672" fmla="*/ 2032209 w 12139750"/>
              <a:gd name="connsiteY3672" fmla="*/ 804242 h 6858290"/>
              <a:gd name="connsiteX3673" fmla="*/ 2076148 w 12139750"/>
              <a:gd name="connsiteY3673" fmla="*/ 838580 h 6858290"/>
              <a:gd name="connsiteX3674" fmla="*/ 2078054 w 12139750"/>
              <a:gd name="connsiteY3674" fmla="*/ 853842 h 6858290"/>
              <a:gd name="connsiteX3675" fmla="*/ 2043759 w 12139750"/>
              <a:gd name="connsiteY3675" fmla="*/ 901533 h 6858290"/>
              <a:gd name="connsiteX3676" fmla="*/ 1702759 w 12139750"/>
              <a:gd name="connsiteY3676" fmla="*/ 1017901 h 6858290"/>
              <a:gd name="connsiteX3677" fmla="*/ 1639894 w 12139750"/>
              <a:gd name="connsiteY3677" fmla="*/ 985471 h 6858290"/>
              <a:gd name="connsiteX3678" fmla="*/ 1670374 w 12139750"/>
              <a:gd name="connsiteY3678" fmla="*/ 922518 h 6858290"/>
              <a:gd name="connsiteX3679" fmla="*/ 2013278 w 12139750"/>
              <a:gd name="connsiteY3679" fmla="*/ 806150 h 6858290"/>
              <a:gd name="connsiteX3680" fmla="*/ 2032209 w 12139750"/>
              <a:gd name="connsiteY3680" fmla="*/ 804242 h 6858290"/>
              <a:gd name="connsiteX3681" fmla="*/ 3725236 w 12139750"/>
              <a:gd name="connsiteY3681" fmla="*/ 796620 h 6858290"/>
              <a:gd name="connsiteX3682" fmla="*/ 3770039 w 12139750"/>
              <a:gd name="connsiteY3682" fmla="*/ 832569 h 6858290"/>
              <a:gd name="connsiteX3683" fmla="*/ 3771948 w 12139750"/>
              <a:gd name="connsiteY3683" fmla="*/ 847831 h 6858290"/>
              <a:gd name="connsiteX3684" fmla="*/ 3733791 w 12139750"/>
              <a:gd name="connsiteY3684" fmla="*/ 897434 h 6858290"/>
              <a:gd name="connsiteX3685" fmla="*/ 3390423 w 12139750"/>
              <a:gd name="connsiteY3685" fmla="*/ 1000454 h 6858290"/>
              <a:gd name="connsiteX3686" fmla="*/ 3325558 w 12139750"/>
              <a:gd name="connsiteY3686" fmla="*/ 964206 h 6858290"/>
              <a:gd name="connsiteX3687" fmla="*/ 3361806 w 12139750"/>
              <a:gd name="connsiteY3687" fmla="*/ 899342 h 6858290"/>
              <a:gd name="connsiteX3688" fmla="*/ 3705177 w 12139750"/>
              <a:gd name="connsiteY3688" fmla="*/ 798229 h 6858290"/>
              <a:gd name="connsiteX3689" fmla="*/ 3725236 w 12139750"/>
              <a:gd name="connsiteY3689" fmla="*/ 796620 h 6858290"/>
              <a:gd name="connsiteX3690" fmla="*/ 2591734 w 12139750"/>
              <a:gd name="connsiteY3690" fmla="*/ 796602 h 6858290"/>
              <a:gd name="connsiteX3691" fmla="*/ 2636535 w 12139750"/>
              <a:gd name="connsiteY3691" fmla="*/ 832551 h 6858290"/>
              <a:gd name="connsiteX3692" fmla="*/ 2638443 w 12139750"/>
              <a:gd name="connsiteY3692" fmla="*/ 847814 h 6858290"/>
              <a:gd name="connsiteX3693" fmla="*/ 2600289 w 12139750"/>
              <a:gd name="connsiteY3693" fmla="*/ 897416 h 6858290"/>
              <a:gd name="connsiteX3694" fmla="*/ 2256905 w 12139750"/>
              <a:gd name="connsiteY3694" fmla="*/ 1000437 h 6858290"/>
              <a:gd name="connsiteX3695" fmla="*/ 2192044 w 12139750"/>
              <a:gd name="connsiteY3695" fmla="*/ 964189 h 6858290"/>
              <a:gd name="connsiteX3696" fmla="*/ 2228290 w 12139750"/>
              <a:gd name="connsiteY3696" fmla="*/ 899324 h 6858290"/>
              <a:gd name="connsiteX3697" fmla="*/ 2571674 w 12139750"/>
              <a:gd name="connsiteY3697" fmla="*/ 798211 h 6858290"/>
              <a:gd name="connsiteX3698" fmla="*/ 2591734 w 12139750"/>
              <a:gd name="connsiteY3698" fmla="*/ 796602 h 6858290"/>
              <a:gd name="connsiteX3699" fmla="*/ 3154890 w 12139750"/>
              <a:gd name="connsiteY3699" fmla="*/ 787711 h 6858290"/>
              <a:gd name="connsiteX3700" fmla="*/ 3200131 w 12139750"/>
              <a:gd name="connsiteY3700" fmla="*/ 828698 h 6858290"/>
              <a:gd name="connsiteX3701" fmla="*/ 3202035 w 12139750"/>
              <a:gd name="connsiteY3701" fmla="*/ 842033 h 6858290"/>
              <a:gd name="connsiteX3702" fmla="*/ 3160155 w 12139750"/>
              <a:gd name="connsiteY3702" fmla="*/ 895372 h 6858290"/>
              <a:gd name="connsiteX3703" fmla="*/ 2817485 w 12139750"/>
              <a:gd name="connsiteY3703" fmla="*/ 983002 h 6858290"/>
              <a:gd name="connsiteX3704" fmla="*/ 2750856 w 12139750"/>
              <a:gd name="connsiteY3704" fmla="*/ 944903 h 6858290"/>
              <a:gd name="connsiteX3705" fmla="*/ 2788932 w 12139750"/>
              <a:gd name="connsiteY3705" fmla="*/ 878228 h 6858290"/>
              <a:gd name="connsiteX3706" fmla="*/ 3133502 w 12139750"/>
              <a:gd name="connsiteY3706" fmla="*/ 788693 h 6858290"/>
              <a:gd name="connsiteX3707" fmla="*/ 3154890 w 12139750"/>
              <a:gd name="connsiteY3707" fmla="*/ 787711 h 6858290"/>
              <a:gd name="connsiteX3708" fmla="*/ 9863739 w 12139750"/>
              <a:gd name="connsiteY3708" fmla="*/ 570068 h 6858290"/>
              <a:gd name="connsiteX3709" fmla="*/ 9881347 w 12139750"/>
              <a:gd name="connsiteY3709" fmla="*/ 580048 h 6858290"/>
              <a:gd name="connsiteX3710" fmla="*/ 9887057 w 12139750"/>
              <a:gd name="connsiteY3710" fmla="*/ 597157 h 6858290"/>
              <a:gd name="connsiteX3711" fmla="*/ 9875636 w 12139750"/>
              <a:gd name="connsiteY3711" fmla="*/ 618067 h 6858290"/>
              <a:gd name="connsiteX3712" fmla="*/ 9540623 w 12139750"/>
              <a:gd name="connsiteY3712" fmla="*/ 857587 h 6858290"/>
              <a:gd name="connsiteX3713" fmla="*/ 9504456 w 12139750"/>
              <a:gd name="connsiteY3713" fmla="*/ 849984 h 6858290"/>
              <a:gd name="connsiteX3714" fmla="*/ 9510167 w 12139750"/>
              <a:gd name="connsiteY3714" fmla="*/ 811965 h 6858290"/>
              <a:gd name="connsiteX3715" fmla="*/ 9843277 w 12139750"/>
              <a:gd name="connsiteY3715" fmla="*/ 574345 h 6858290"/>
              <a:gd name="connsiteX3716" fmla="*/ 9863739 w 12139750"/>
              <a:gd name="connsiteY3716" fmla="*/ 570068 h 6858290"/>
              <a:gd name="connsiteX3717" fmla="*/ 9288066 w 12139750"/>
              <a:gd name="connsiteY3717" fmla="*/ 561743 h 6858290"/>
              <a:gd name="connsiteX3718" fmla="*/ 9306654 w 12139750"/>
              <a:gd name="connsiteY3718" fmla="*/ 574308 h 6858290"/>
              <a:gd name="connsiteX3719" fmla="*/ 9312374 w 12139750"/>
              <a:gd name="connsiteY3719" fmla="*/ 589483 h 6858290"/>
              <a:gd name="connsiteX3720" fmla="*/ 9299028 w 12139750"/>
              <a:gd name="connsiteY3720" fmla="*/ 614140 h 6858290"/>
              <a:gd name="connsiteX3721" fmla="*/ 8963476 w 12139750"/>
              <a:gd name="connsiteY3721" fmla="*/ 839853 h 6858290"/>
              <a:gd name="connsiteX3722" fmla="*/ 8923439 w 12139750"/>
              <a:gd name="connsiteY3722" fmla="*/ 832266 h 6858290"/>
              <a:gd name="connsiteX3723" fmla="*/ 8931065 w 12139750"/>
              <a:gd name="connsiteY3723" fmla="*/ 792434 h 6858290"/>
              <a:gd name="connsiteX3724" fmla="*/ 9266617 w 12139750"/>
              <a:gd name="connsiteY3724" fmla="*/ 564825 h 6858290"/>
              <a:gd name="connsiteX3725" fmla="*/ 9288066 w 12139750"/>
              <a:gd name="connsiteY3725" fmla="*/ 561743 h 6858290"/>
              <a:gd name="connsiteX3726" fmla="*/ 10448544 w 12139750"/>
              <a:gd name="connsiteY3726" fmla="*/ 561719 h 6858290"/>
              <a:gd name="connsiteX3727" fmla="*/ 10467132 w 12139750"/>
              <a:gd name="connsiteY3727" fmla="*/ 574285 h 6858290"/>
              <a:gd name="connsiteX3728" fmla="*/ 10472852 w 12139750"/>
              <a:gd name="connsiteY3728" fmla="*/ 589459 h 6858290"/>
              <a:gd name="connsiteX3729" fmla="*/ 10459506 w 12139750"/>
              <a:gd name="connsiteY3729" fmla="*/ 614117 h 6858290"/>
              <a:gd name="connsiteX3730" fmla="*/ 10123954 w 12139750"/>
              <a:gd name="connsiteY3730" fmla="*/ 839831 h 6858290"/>
              <a:gd name="connsiteX3731" fmla="*/ 10083917 w 12139750"/>
              <a:gd name="connsiteY3731" fmla="*/ 832244 h 6858290"/>
              <a:gd name="connsiteX3732" fmla="*/ 10091543 w 12139750"/>
              <a:gd name="connsiteY3732" fmla="*/ 792412 h 6858290"/>
              <a:gd name="connsiteX3733" fmla="*/ 10427095 w 12139750"/>
              <a:gd name="connsiteY3733" fmla="*/ 564801 h 6858290"/>
              <a:gd name="connsiteX3734" fmla="*/ 10448544 w 12139750"/>
              <a:gd name="connsiteY3734" fmla="*/ 561719 h 6858290"/>
              <a:gd name="connsiteX3735" fmla="*/ 8716914 w 12139750"/>
              <a:gd name="connsiteY3735" fmla="*/ 552708 h 6858290"/>
              <a:gd name="connsiteX3736" fmla="*/ 8736725 w 12139750"/>
              <a:gd name="connsiteY3736" fmla="*/ 566742 h 6858290"/>
              <a:gd name="connsiteX3737" fmla="*/ 8742454 w 12139750"/>
              <a:gd name="connsiteY3737" fmla="*/ 583868 h 6858290"/>
              <a:gd name="connsiteX3738" fmla="*/ 8727178 w 12139750"/>
              <a:gd name="connsiteY3738" fmla="*/ 608605 h 6858290"/>
              <a:gd name="connsiteX3739" fmla="*/ 8391103 w 12139750"/>
              <a:gd name="connsiteY3739" fmla="*/ 825535 h 6858290"/>
              <a:gd name="connsiteX3740" fmla="*/ 8347184 w 12139750"/>
              <a:gd name="connsiteY3740" fmla="*/ 816021 h 6858290"/>
              <a:gd name="connsiteX3741" fmla="*/ 8356731 w 12139750"/>
              <a:gd name="connsiteY3741" fmla="*/ 772254 h 6858290"/>
              <a:gd name="connsiteX3742" fmla="*/ 8692806 w 12139750"/>
              <a:gd name="connsiteY3742" fmla="*/ 557227 h 6858290"/>
              <a:gd name="connsiteX3743" fmla="*/ 8716914 w 12139750"/>
              <a:gd name="connsiteY3743" fmla="*/ 552708 h 6858290"/>
              <a:gd name="connsiteX3744" fmla="*/ 11026758 w 12139750"/>
              <a:gd name="connsiteY3744" fmla="*/ 552682 h 6858290"/>
              <a:gd name="connsiteX3745" fmla="*/ 11046569 w 12139750"/>
              <a:gd name="connsiteY3745" fmla="*/ 566716 h 6858290"/>
              <a:gd name="connsiteX3746" fmla="*/ 11052298 w 12139750"/>
              <a:gd name="connsiteY3746" fmla="*/ 583843 h 6858290"/>
              <a:gd name="connsiteX3747" fmla="*/ 11037022 w 12139750"/>
              <a:gd name="connsiteY3747" fmla="*/ 608580 h 6858290"/>
              <a:gd name="connsiteX3748" fmla="*/ 10700947 w 12139750"/>
              <a:gd name="connsiteY3748" fmla="*/ 825511 h 6858290"/>
              <a:gd name="connsiteX3749" fmla="*/ 10657028 w 12139750"/>
              <a:gd name="connsiteY3749" fmla="*/ 815996 h 6858290"/>
              <a:gd name="connsiteX3750" fmla="*/ 10666575 w 12139750"/>
              <a:gd name="connsiteY3750" fmla="*/ 772230 h 6858290"/>
              <a:gd name="connsiteX3751" fmla="*/ 11002650 w 12139750"/>
              <a:gd name="connsiteY3751" fmla="*/ 557202 h 6858290"/>
              <a:gd name="connsiteX3752" fmla="*/ 11026758 w 12139750"/>
              <a:gd name="connsiteY3752" fmla="*/ 552682 h 6858290"/>
              <a:gd name="connsiteX3753" fmla="*/ 8152845 w 12139750"/>
              <a:gd name="connsiteY3753" fmla="*/ 544127 h 6858290"/>
              <a:gd name="connsiteX3754" fmla="*/ 8173498 w 12139750"/>
              <a:gd name="connsiteY3754" fmla="*/ 559095 h 6858290"/>
              <a:gd name="connsiteX3755" fmla="*/ 8177296 w 12139750"/>
              <a:gd name="connsiteY3755" fmla="*/ 576201 h 6858290"/>
              <a:gd name="connsiteX3756" fmla="*/ 8162103 w 12139750"/>
              <a:gd name="connsiteY3756" fmla="*/ 604711 h 6858290"/>
              <a:gd name="connsiteX3757" fmla="*/ 7825963 w 12139750"/>
              <a:gd name="connsiteY3757" fmla="*/ 808083 h 6858290"/>
              <a:gd name="connsiteX3758" fmla="*/ 7780385 w 12139750"/>
              <a:gd name="connsiteY3758" fmla="*/ 796679 h 6858290"/>
              <a:gd name="connsiteX3759" fmla="*/ 7791780 w 12139750"/>
              <a:gd name="connsiteY3759" fmla="*/ 751063 h 6858290"/>
              <a:gd name="connsiteX3760" fmla="*/ 8127919 w 12139750"/>
              <a:gd name="connsiteY3760" fmla="*/ 547691 h 6858290"/>
              <a:gd name="connsiteX3761" fmla="*/ 8152845 w 12139750"/>
              <a:gd name="connsiteY3761" fmla="*/ 544127 h 6858290"/>
              <a:gd name="connsiteX3762" fmla="*/ 11598067 w 12139750"/>
              <a:gd name="connsiteY3762" fmla="*/ 544120 h 6858290"/>
              <a:gd name="connsiteX3763" fmla="*/ 11618085 w 12139750"/>
              <a:gd name="connsiteY3763" fmla="*/ 559088 h 6858290"/>
              <a:gd name="connsiteX3764" fmla="*/ 11623805 w 12139750"/>
              <a:gd name="connsiteY3764" fmla="*/ 576194 h 6858290"/>
              <a:gd name="connsiteX3765" fmla="*/ 11606646 w 12139750"/>
              <a:gd name="connsiteY3765" fmla="*/ 604704 h 6858290"/>
              <a:gd name="connsiteX3766" fmla="*/ 11271101 w 12139750"/>
              <a:gd name="connsiteY3766" fmla="*/ 808077 h 6858290"/>
              <a:gd name="connsiteX3767" fmla="*/ 11225345 w 12139750"/>
              <a:gd name="connsiteY3767" fmla="*/ 796673 h 6858290"/>
              <a:gd name="connsiteX3768" fmla="*/ 11236784 w 12139750"/>
              <a:gd name="connsiteY3768" fmla="*/ 751056 h 6858290"/>
              <a:gd name="connsiteX3769" fmla="*/ 11572329 w 12139750"/>
              <a:gd name="connsiteY3769" fmla="*/ 547684 h 6858290"/>
              <a:gd name="connsiteX3770" fmla="*/ 11598067 w 12139750"/>
              <a:gd name="connsiteY3770" fmla="*/ 544120 h 6858290"/>
              <a:gd name="connsiteX3771" fmla="*/ 12139750 w 12139750"/>
              <a:gd name="connsiteY3771" fmla="*/ 535003 h 6858290"/>
              <a:gd name="connsiteX3772" fmla="*/ 12139750 w 12139750"/>
              <a:gd name="connsiteY3772" fmla="*/ 616918 h 6858290"/>
              <a:gd name="connsiteX3773" fmla="*/ 11835212 w 12139750"/>
              <a:gd name="connsiteY3773" fmla="*/ 792178 h 6858290"/>
              <a:gd name="connsiteX3774" fmla="*/ 11785725 w 12139750"/>
              <a:gd name="connsiteY3774" fmla="*/ 778843 h 6858290"/>
              <a:gd name="connsiteX3775" fmla="*/ 11799048 w 12139750"/>
              <a:gd name="connsiteY3775" fmla="*/ 729313 h 6858290"/>
              <a:gd name="connsiteX3776" fmla="*/ 12135943 w 12139750"/>
              <a:gd name="connsiteY3776" fmla="*/ 536908 h 6858290"/>
              <a:gd name="connsiteX3777" fmla="*/ 12139750 w 12139750"/>
              <a:gd name="connsiteY3777" fmla="*/ 535003 h 6858290"/>
              <a:gd name="connsiteX3778" fmla="*/ 7595886 w 12139750"/>
              <a:gd name="connsiteY3778" fmla="*/ 534825 h 6858290"/>
              <a:gd name="connsiteX3779" fmla="*/ 7617844 w 12139750"/>
              <a:gd name="connsiteY3779" fmla="*/ 551417 h 6858290"/>
              <a:gd name="connsiteX3780" fmla="*/ 7621663 w 12139750"/>
              <a:gd name="connsiteY3780" fmla="*/ 568482 h 6858290"/>
              <a:gd name="connsiteX3781" fmla="*/ 7604478 w 12139750"/>
              <a:gd name="connsiteY3781" fmla="*/ 600717 h 6858290"/>
              <a:gd name="connsiteX3782" fmla="*/ 7266512 w 12139750"/>
              <a:gd name="connsiteY3782" fmla="*/ 792231 h 6858290"/>
              <a:gd name="connsiteX3783" fmla="*/ 7218776 w 12139750"/>
              <a:gd name="connsiteY3783" fmla="*/ 778957 h 6858290"/>
              <a:gd name="connsiteX3784" fmla="*/ 7230233 w 12139750"/>
              <a:gd name="connsiteY3784" fmla="*/ 729657 h 6858290"/>
              <a:gd name="connsiteX3785" fmla="*/ 7568199 w 12139750"/>
              <a:gd name="connsiteY3785" fmla="*/ 538144 h 6858290"/>
              <a:gd name="connsiteX3786" fmla="*/ 7595886 w 12139750"/>
              <a:gd name="connsiteY3786" fmla="*/ 534825 h 6858290"/>
              <a:gd name="connsiteX3787" fmla="*/ 7044520 w 12139750"/>
              <a:gd name="connsiteY3787" fmla="*/ 526281 h 6858290"/>
              <a:gd name="connsiteX3788" fmla="*/ 7066666 w 12139750"/>
              <a:gd name="connsiteY3788" fmla="*/ 543903 h 6858290"/>
              <a:gd name="connsiteX3789" fmla="*/ 7072381 w 12139750"/>
              <a:gd name="connsiteY3789" fmla="*/ 562953 h 6858290"/>
              <a:gd name="connsiteX3790" fmla="*/ 7051425 w 12139750"/>
              <a:gd name="connsiteY3790" fmla="*/ 595337 h 6858290"/>
              <a:gd name="connsiteX3791" fmla="*/ 6714236 w 12139750"/>
              <a:gd name="connsiteY3791" fmla="*/ 776312 h 6858290"/>
              <a:gd name="connsiteX3792" fmla="*/ 6662800 w 12139750"/>
              <a:gd name="connsiteY3792" fmla="*/ 761072 h 6858290"/>
              <a:gd name="connsiteX3793" fmla="*/ 6678040 w 12139750"/>
              <a:gd name="connsiteY3793" fmla="*/ 709637 h 6858290"/>
              <a:gd name="connsiteX3794" fmla="*/ 7015230 w 12139750"/>
              <a:gd name="connsiteY3794" fmla="*/ 528663 h 6858290"/>
              <a:gd name="connsiteX3795" fmla="*/ 7044520 w 12139750"/>
              <a:gd name="connsiteY3795" fmla="*/ 526281 h 6858290"/>
              <a:gd name="connsiteX3796" fmla="*/ 6500891 w 12139750"/>
              <a:gd name="connsiteY3796" fmla="*/ 517214 h 6858290"/>
              <a:gd name="connsiteX3797" fmla="*/ 6524041 w 12139750"/>
              <a:gd name="connsiteY3797" fmla="*/ 538118 h 6858290"/>
              <a:gd name="connsiteX3798" fmla="*/ 6527860 w 12139750"/>
              <a:gd name="connsiteY3798" fmla="*/ 555221 h 6858290"/>
              <a:gd name="connsiteX3799" fmla="*/ 6506857 w 12139750"/>
              <a:gd name="connsiteY3799" fmla="*/ 591328 h 6858290"/>
              <a:gd name="connsiteX3800" fmla="*/ 6166999 w 12139750"/>
              <a:gd name="connsiteY3800" fmla="*/ 760460 h 6858290"/>
              <a:gd name="connsiteX3801" fmla="*/ 6113538 w 12139750"/>
              <a:gd name="connsiteY3801" fmla="*/ 743357 h 6858290"/>
              <a:gd name="connsiteX3802" fmla="*/ 6130722 w 12139750"/>
              <a:gd name="connsiteY3802" fmla="*/ 690147 h 6858290"/>
              <a:gd name="connsiteX3803" fmla="*/ 6470580 w 12139750"/>
              <a:gd name="connsiteY3803" fmla="*/ 519114 h 6858290"/>
              <a:gd name="connsiteX3804" fmla="*/ 6500891 w 12139750"/>
              <a:gd name="connsiteY3804" fmla="*/ 517214 h 6858290"/>
              <a:gd name="connsiteX3805" fmla="*/ 5942009 w 12139750"/>
              <a:gd name="connsiteY3805" fmla="*/ 506693 h 6858290"/>
              <a:gd name="connsiteX3806" fmla="*/ 5981121 w 12139750"/>
              <a:gd name="connsiteY3806" fmla="*/ 530416 h 6858290"/>
              <a:gd name="connsiteX3807" fmla="*/ 5984930 w 12139750"/>
              <a:gd name="connsiteY3807" fmla="*/ 547475 h 6858290"/>
              <a:gd name="connsiteX3808" fmla="*/ 5962070 w 12139750"/>
              <a:gd name="connsiteY3808" fmla="*/ 585386 h 6858290"/>
              <a:gd name="connsiteX3809" fmla="*/ 5622984 w 12139750"/>
              <a:gd name="connsiteY3809" fmla="*/ 744609 h 6858290"/>
              <a:gd name="connsiteX3810" fmla="*/ 5565834 w 12139750"/>
              <a:gd name="connsiteY3810" fmla="*/ 723759 h 6858290"/>
              <a:gd name="connsiteX3811" fmla="*/ 5586789 w 12139750"/>
              <a:gd name="connsiteY3811" fmla="*/ 668789 h 6858290"/>
              <a:gd name="connsiteX3812" fmla="*/ 5925876 w 12139750"/>
              <a:gd name="connsiteY3812" fmla="*/ 511460 h 6858290"/>
              <a:gd name="connsiteX3813" fmla="*/ 5942009 w 12139750"/>
              <a:gd name="connsiteY3813" fmla="*/ 506693 h 6858290"/>
              <a:gd name="connsiteX3814" fmla="*/ 382532 w 12139750"/>
              <a:gd name="connsiteY3814" fmla="*/ 506681 h 6858290"/>
              <a:gd name="connsiteX3815" fmla="*/ 421644 w 12139750"/>
              <a:gd name="connsiteY3815" fmla="*/ 530405 h 6858290"/>
              <a:gd name="connsiteX3816" fmla="*/ 425454 w 12139750"/>
              <a:gd name="connsiteY3816" fmla="*/ 547464 h 6858290"/>
              <a:gd name="connsiteX3817" fmla="*/ 400689 w 12139750"/>
              <a:gd name="connsiteY3817" fmla="*/ 585374 h 6858290"/>
              <a:gd name="connsiteX3818" fmla="*/ 61595 w 12139750"/>
              <a:gd name="connsiteY3818" fmla="*/ 744598 h 6858290"/>
              <a:gd name="connsiteX3819" fmla="*/ 6349 w 12139750"/>
              <a:gd name="connsiteY3819" fmla="*/ 723747 h 6858290"/>
              <a:gd name="connsiteX3820" fmla="*/ 27304 w 12139750"/>
              <a:gd name="connsiteY3820" fmla="*/ 668777 h 6858290"/>
              <a:gd name="connsiteX3821" fmla="*/ 366399 w 12139750"/>
              <a:gd name="connsiteY3821" fmla="*/ 511449 h 6858290"/>
              <a:gd name="connsiteX3822" fmla="*/ 382532 w 12139750"/>
              <a:gd name="connsiteY3822" fmla="*/ 506681 h 6858290"/>
              <a:gd name="connsiteX3823" fmla="*/ 5409823 w 12139750"/>
              <a:gd name="connsiteY3823" fmla="*/ 500973 h 6858290"/>
              <a:gd name="connsiteX3824" fmla="*/ 5433432 w 12139750"/>
              <a:gd name="connsiteY3824" fmla="*/ 524577 h 6858290"/>
              <a:gd name="connsiteX3825" fmla="*/ 5437247 w 12139750"/>
              <a:gd name="connsiteY3825" fmla="*/ 541744 h 6858290"/>
              <a:gd name="connsiteX3826" fmla="*/ 5410538 w 12139750"/>
              <a:gd name="connsiteY3826" fmla="*/ 581801 h 6858290"/>
              <a:gd name="connsiteX3827" fmla="*/ 5070947 w 12139750"/>
              <a:gd name="connsiteY3827" fmla="*/ 728676 h 6858290"/>
              <a:gd name="connsiteX3828" fmla="*/ 5011811 w 12139750"/>
              <a:gd name="connsiteY3828" fmla="*/ 705786 h 6858290"/>
              <a:gd name="connsiteX3829" fmla="*/ 5034702 w 12139750"/>
              <a:gd name="connsiteY3829" fmla="*/ 648562 h 6858290"/>
              <a:gd name="connsiteX3830" fmla="*/ 5376198 w 12139750"/>
              <a:gd name="connsiteY3830" fmla="*/ 501688 h 6858290"/>
              <a:gd name="connsiteX3831" fmla="*/ 5409823 w 12139750"/>
              <a:gd name="connsiteY3831" fmla="*/ 500973 h 6858290"/>
              <a:gd name="connsiteX3832" fmla="*/ 943575 w 12139750"/>
              <a:gd name="connsiteY3832" fmla="*/ 500959 h 6858290"/>
              <a:gd name="connsiteX3833" fmla="*/ 968066 w 12139750"/>
              <a:gd name="connsiteY3833" fmla="*/ 524564 h 6858290"/>
              <a:gd name="connsiteX3834" fmla="*/ 969968 w 12139750"/>
              <a:gd name="connsiteY3834" fmla="*/ 541731 h 6858290"/>
              <a:gd name="connsiteX3835" fmla="*/ 945239 w 12139750"/>
              <a:gd name="connsiteY3835" fmla="*/ 581788 h 6858290"/>
              <a:gd name="connsiteX3836" fmla="*/ 604741 w 12139750"/>
              <a:gd name="connsiteY3836" fmla="*/ 728662 h 6858290"/>
              <a:gd name="connsiteX3837" fmla="*/ 547674 w 12139750"/>
              <a:gd name="connsiteY3837" fmla="*/ 705773 h 6858290"/>
              <a:gd name="connsiteX3838" fmla="*/ 570501 w 12139750"/>
              <a:gd name="connsiteY3838" fmla="*/ 648549 h 6858290"/>
              <a:gd name="connsiteX3839" fmla="*/ 909097 w 12139750"/>
              <a:gd name="connsiteY3839" fmla="*/ 501674 h 6858290"/>
              <a:gd name="connsiteX3840" fmla="*/ 943575 w 12139750"/>
              <a:gd name="connsiteY3840" fmla="*/ 500959 h 6858290"/>
              <a:gd name="connsiteX3841" fmla="*/ 4841065 w 12139750"/>
              <a:gd name="connsiteY3841" fmla="*/ 488779 h 6858290"/>
              <a:gd name="connsiteX3842" fmla="*/ 4882567 w 12139750"/>
              <a:gd name="connsiteY3842" fmla="*/ 516870 h 6858290"/>
              <a:gd name="connsiteX3843" fmla="*/ 4886374 w 12139750"/>
              <a:gd name="connsiteY3843" fmla="*/ 533993 h 6858290"/>
              <a:gd name="connsiteX3844" fmla="*/ 4855910 w 12139750"/>
              <a:gd name="connsiteY3844" fmla="*/ 577749 h 6858290"/>
              <a:gd name="connsiteX3845" fmla="*/ 4517066 w 12139750"/>
              <a:gd name="connsiteY3845" fmla="*/ 712825 h 6858290"/>
              <a:gd name="connsiteX3846" fmla="*/ 4456150 w 12139750"/>
              <a:gd name="connsiteY3846" fmla="*/ 686191 h 6858290"/>
              <a:gd name="connsiteX3847" fmla="*/ 4482801 w 12139750"/>
              <a:gd name="connsiteY3847" fmla="*/ 627214 h 6858290"/>
              <a:gd name="connsiteX3848" fmla="*/ 4823545 w 12139750"/>
              <a:gd name="connsiteY3848" fmla="*/ 492138 h 6858290"/>
              <a:gd name="connsiteX3849" fmla="*/ 4841065 w 12139750"/>
              <a:gd name="connsiteY3849" fmla="*/ 488779 h 6858290"/>
              <a:gd name="connsiteX3850" fmla="*/ 1475768 w 12139750"/>
              <a:gd name="connsiteY3850" fmla="*/ 488763 h 6858290"/>
              <a:gd name="connsiteX3851" fmla="*/ 1517023 w 12139750"/>
              <a:gd name="connsiteY3851" fmla="*/ 516854 h 6858290"/>
              <a:gd name="connsiteX3852" fmla="*/ 1520833 w 12139750"/>
              <a:gd name="connsiteY3852" fmla="*/ 533977 h 6858290"/>
              <a:gd name="connsiteX3853" fmla="*/ 1492258 w 12139750"/>
              <a:gd name="connsiteY3853" fmla="*/ 577734 h 6858290"/>
              <a:gd name="connsiteX3854" fmla="*/ 1151259 w 12139750"/>
              <a:gd name="connsiteY3854" fmla="*/ 712810 h 6858290"/>
              <a:gd name="connsiteX3855" fmla="*/ 1092203 w 12139750"/>
              <a:gd name="connsiteY3855" fmla="*/ 686175 h 6858290"/>
              <a:gd name="connsiteX3856" fmla="*/ 1116969 w 12139750"/>
              <a:gd name="connsiteY3856" fmla="*/ 627198 h 6858290"/>
              <a:gd name="connsiteX3857" fmla="*/ 1457968 w 12139750"/>
              <a:gd name="connsiteY3857" fmla="*/ 492122 h 6858290"/>
              <a:gd name="connsiteX3858" fmla="*/ 1475768 w 12139750"/>
              <a:gd name="connsiteY3858" fmla="*/ 488763 h 6858290"/>
              <a:gd name="connsiteX3859" fmla="*/ 4284536 w 12139750"/>
              <a:gd name="connsiteY3859" fmla="*/ 479572 h 6858290"/>
              <a:gd name="connsiteX3860" fmla="*/ 4326924 w 12139750"/>
              <a:gd name="connsiteY3860" fmla="*/ 511096 h 6858290"/>
              <a:gd name="connsiteX3861" fmla="*/ 4330740 w 12139750"/>
              <a:gd name="connsiteY3861" fmla="*/ 528194 h 6858290"/>
              <a:gd name="connsiteX3862" fmla="*/ 4298306 w 12139750"/>
              <a:gd name="connsiteY3862" fmla="*/ 571889 h 6858290"/>
              <a:gd name="connsiteX3863" fmla="*/ 3956840 w 12139750"/>
              <a:gd name="connsiteY3863" fmla="*/ 695376 h 6858290"/>
              <a:gd name="connsiteX3864" fmla="*/ 3895789 w 12139750"/>
              <a:gd name="connsiteY3864" fmla="*/ 666879 h 6858290"/>
              <a:gd name="connsiteX3865" fmla="*/ 3924406 w 12139750"/>
              <a:gd name="connsiteY3865" fmla="*/ 606085 h 6858290"/>
              <a:gd name="connsiteX3866" fmla="*/ 4265875 w 12139750"/>
              <a:gd name="connsiteY3866" fmla="*/ 482599 h 6858290"/>
              <a:gd name="connsiteX3867" fmla="*/ 4284536 w 12139750"/>
              <a:gd name="connsiteY3867" fmla="*/ 479572 h 6858290"/>
              <a:gd name="connsiteX3868" fmla="*/ 2030557 w 12139750"/>
              <a:gd name="connsiteY3868" fmla="*/ 479554 h 6858290"/>
              <a:gd name="connsiteX3869" fmla="*/ 2074559 w 12139750"/>
              <a:gd name="connsiteY3869" fmla="*/ 511078 h 6858290"/>
              <a:gd name="connsiteX3870" fmla="*/ 2076467 w 12139750"/>
              <a:gd name="connsiteY3870" fmla="*/ 528177 h 6858290"/>
              <a:gd name="connsiteX3871" fmla="*/ 2045938 w 12139750"/>
              <a:gd name="connsiteY3871" fmla="*/ 571872 h 6858290"/>
              <a:gd name="connsiteX3872" fmla="*/ 1702543 w 12139750"/>
              <a:gd name="connsiteY3872" fmla="*/ 695358 h 6858290"/>
              <a:gd name="connsiteX3873" fmla="*/ 1641495 w 12139750"/>
              <a:gd name="connsiteY3873" fmla="*/ 666862 h 6858290"/>
              <a:gd name="connsiteX3874" fmla="*/ 1670112 w 12139750"/>
              <a:gd name="connsiteY3874" fmla="*/ 606068 h 6858290"/>
              <a:gd name="connsiteX3875" fmla="*/ 2011599 w 12139750"/>
              <a:gd name="connsiteY3875" fmla="*/ 482582 h 6858290"/>
              <a:gd name="connsiteX3876" fmla="*/ 2030557 w 12139750"/>
              <a:gd name="connsiteY3876" fmla="*/ 479554 h 6858290"/>
              <a:gd name="connsiteX3877" fmla="*/ 3723552 w 12139750"/>
              <a:gd name="connsiteY3877" fmla="*/ 470402 h 6858290"/>
              <a:gd name="connsiteX3878" fmla="*/ 3766538 w 12139750"/>
              <a:gd name="connsiteY3878" fmla="*/ 505544 h 6858290"/>
              <a:gd name="connsiteX3879" fmla="*/ 3770360 w 12139750"/>
              <a:gd name="connsiteY3879" fmla="*/ 520805 h 6858290"/>
              <a:gd name="connsiteX3880" fmla="*/ 3734060 w 12139750"/>
              <a:gd name="connsiteY3880" fmla="*/ 568497 h 6858290"/>
              <a:gd name="connsiteX3881" fmla="*/ 3392112 w 12139750"/>
              <a:gd name="connsiteY3881" fmla="*/ 681049 h 6858290"/>
              <a:gd name="connsiteX3882" fmla="*/ 3329066 w 12139750"/>
              <a:gd name="connsiteY3882" fmla="*/ 648619 h 6858290"/>
              <a:gd name="connsiteX3883" fmla="*/ 3359633 w 12139750"/>
              <a:gd name="connsiteY3883" fmla="*/ 585666 h 6858290"/>
              <a:gd name="connsiteX3884" fmla="*/ 3703492 w 12139750"/>
              <a:gd name="connsiteY3884" fmla="*/ 473114 h 6858290"/>
              <a:gd name="connsiteX3885" fmla="*/ 3723552 w 12139750"/>
              <a:gd name="connsiteY3885" fmla="*/ 470402 h 6858290"/>
              <a:gd name="connsiteX3886" fmla="*/ 2590051 w 12139750"/>
              <a:gd name="connsiteY3886" fmla="*/ 470381 h 6858290"/>
              <a:gd name="connsiteX3887" fmla="*/ 2633035 w 12139750"/>
              <a:gd name="connsiteY3887" fmla="*/ 505524 h 6858290"/>
              <a:gd name="connsiteX3888" fmla="*/ 2636856 w 12139750"/>
              <a:gd name="connsiteY3888" fmla="*/ 520785 h 6858290"/>
              <a:gd name="connsiteX3889" fmla="*/ 2600558 w 12139750"/>
              <a:gd name="connsiteY3889" fmla="*/ 568477 h 6858290"/>
              <a:gd name="connsiteX3890" fmla="*/ 2258596 w 12139750"/>
              <a:gd name="connsiteY3890" fmla="*/ 681030 h 6858290"/>
              <a:gd name="connsiteX3891" fmla="*/ 2195553 w 12139750"/>
              <a:gd name="connsiteY3891" fmla="*/ 648599 h 6858290"/>
              <a:gd name="connsiteX3892" fmla="*/ 2226119 w 12139750"/>
              <a:gd name="connsiteY3892" fmla="*/ 585646 h 6858290"/>
              <a:gd name="connsiteX3893" fmla="*/ 2569992 w 12139750"/>
              <a:gd name="connsiteY3893" fmla="*/ 473094 h 6858290"/>
              <a:gd name="connsiteX3894" fmla="*/ 2590051 w 12139750"/>
              <a:gd name="connsiteY3894" fmla="*/ 470381 h 6858290"/>
              <a:gd name="connsiteX3895" fmla="*/ 3153226 w 12139750"/>
              <a:gd name="connsiteY3895" fmla="*/ 461689 h 6858290"/>
              <a:gd name="connsiteX3896" fmla="*/ 3196954 w 12139750"/>
              <a:gd name="connsiteY3896" fmla="*/ 499516 h 6858290"/>
              <a:gd name="connsiteX3897" fmla="*/ 3198860 w 12139750"/>
              <a:gd name="connsiteY3897" fmla="*/ 512871 h 6858290"/>
              <a:gd name="connsiteX3898" fmla="*/ 3162616 w 12139750"/>
              <a:gd name="connsiteY3898" fmla="*/ 564381 h 6858290"/>
              <a:gd name="connsiteX3899" fmla="*/ 2819228 w 12139750"/>
              <a:gd name="connsiteY3899" fmla="*/ 665493 h 6858290"/>
              <a:gd name="connsiteX3900" fmla="*/ 2754367 w 12139750"/>
              <a:gd name="connsiteY3900" fmla="*/ 629246 h 6858290"/>
              <a:gd name="connsiteX3901" fmla="*/ 2788705 w 12139750"/>
              <a:gd name="connsiteY3901" fmla="*/ 564381 h 6858290"/>
              <a:gd name="connsiteX3902" fmla="*/ 3132091 w 12139750"/>
              <a:gd name="connsiteY3902" fmla="*/ 463269 h 6858290"/>
              <a:gd name="connsiteX3903" fmla="*/ 3153226 w 12139750"/>
              <a:gd name="connsiteY3903" fmla="*/ 461689 h 6858290"/>
              <a:gd name="connsiteX3904" fmla="*/ 9865382 w 12139750"/>
              <a:gd name="connsiteY3904" fmla="*/ 251073 h 6858290"/>
              <a:gd name="connsiteX3905" fmla="*/ 9884846 w 12139750"/>
              <a:gd name="connsiteY3905" fmla="*/ 265137 h 6858290"/>
              <a:gd name="connsiteX3906" fmla="*/ 9888644 w 12139750"/>
              <a:gd name="connsiteY3906" fmla="*/ 280394 h 6858290"/>
              <a:gd name="connsiteX3907" fmla="*/ 9875351 w 12139750"/>
              <a:gd name="connsiteY3907" fmla="*/ 305186 h 6858290"/>
              <a:gd name="connsiteX3908" fmla="*/ 9543036 w 12139750"/>
              <a:gd name="connsiteY3908" fmla="*/ 530219 h 6858290"/>
              <a:gd name="connsiteX3909" fmla="*/ 9501259 w 12139750"/>
              <a:gd name="connsiteY3909" fmla="*/ 520684 h 6858290"/>
              <a:gd name="connsiteX3910" fmla="*/ 9508855 w 12139750"/>
              <a:gd name="connsiteY3910" fmla="*/ 480636 h 6858290"/>
              <a:gd name="connsiteX3911" fmla="*/ 9843069 w 12139750"/>
              <a:gd name="connsiteY3911" fmla="*/ 255602 h 6858290"/>
              <a:gd name="connsiteX3912" fmla="*/ 9865382 w 12139750"/>
              <a:gd name="connsiteY3912" fmla="*/ 251073 h 6858290"/>
              <a:gd name="connsiteX3913" fmla="*/ 9288660 w 12139750"/>
              <a:gd name="connsiteY3913" fmla="*/ 242274 h 6858290"/>
              <a:gd name="connsiteX3914" fmla="*/ 9308232 w 12139750"/>
              <a:gd name="connsiteY3914" fmla="*/ 255594 h 6858290"/>
              <a:gd name="connsiteX3915" fmla="*/ 9313961 w 12139750"/>
              <a:gd name="connsiteY3915" fmla="*/ 272720 h 6858290"/>
              <a:gd name="connsiteX3916" fmla="*/ 9298685 w 12139750"/>
              <a:gd name="connsiteY3916" fmla="*/ 299361 h 6858290"/>
              <a:gd name="connsiteX3917" fmla="*/ 8962610 w 12139750"/>
              <a:gd name="connsiteY3917" fmla="*/ 514388 h 6858290"/>
              <a:gd name="connsiteX3918" fmla="*/ 8918691 w 12139750"/>
              <a:gd name="connsiteY3918" fmla="*/ 504873 h 6858290"/>
              <a:gd name="connsiteX3919" fmla="*/ 8928238 w 12139750"/>
              <a:gd name="connsiteY3919" fmla="*/ 461107 h 6858290"/>
              <a:gd name="connsiteX3920" fmla="*/ 9266223 w 12139750"/>
              <a:gd name="connsiteY3920" fmla="*/ 246080 h 6858290"/>
              <a:gd name="connsiteX3921" fmla="*/ 9288660 w 12139750"/>
              <a:gd name="connsiteY3921" fmla="*/ 242274 h 6858290"/>
              <a:gd name="connsiteX3922" fmla="*/ 10450170 w 12139750"/>
              <a:gd name="connsiteY3922" fmla="*/ 242248 h 6858290"/>
              <a:gd name="connsiteX3923" fmla="*/ 10470633 w 12139750"/>
              <a:gd name="connsiteY3923" fmla="*/ 255569 h 6858290"/>
              <a:gd name="connsiteX3924" fmla="*/ 10474440 w 12139750"/>
              <a:gd name="connsiteY3924" fmla="*/ 272695 h 6858290"/>
              <a:gd name="connsiteX3925" fmla="*/ 10461115 w 12139750"/>
              <a:gd name="connsiteY3925" fmla="*/ 299335 h 6858290"/>
              <a:gd name="connsiteX3926" fmla="*/ 10124192 w 12139750"/>
              <a:gd name="connsiteY3926" fmla="*/ 514363 h 6858290"/>
              <a:gd name="connsiteX3927" fmla="*/ 10082315 w 12139750"/>
              <a:gd name="connsiteY3927" fmla="*/ 504848 h 6858290"/>
              <a:gd name="connsiteX3928" fmla="*/ 10091832 w 12139750"/>
              <a:gd name="connsiteY3928" fmla="*/ 461082 h 6858290"/>
              <a:gd name="connsiteX3929" fmla="*/ 10426852 w 12139750"/>
              <a:gd name="connsiteY3929" fmla="*/ 246054 h 6858290"/>
              <a:gd name="connsiteX3930" fmla="*/ 10450170 w 12139750"/>
              <a:gd name="connsiteY3930" fmla="*/ 242248 h 6858290"/>
              <a:gd name="connsiteX3931" fmla="*/ 8718303 w 12139750"/>
              <a:gd name="connsiteY3931" fmla="*/ 233007 h 6858290"/>
              <a:gd name="connsiteX3932" fmla="*/ 8738321 w 12139750"/>
              <a:gd name="connsiteY3932" fmla="*/ 248042 h 6858290"/>
              <a:gd name="connsiteX3933" fmla="*/ 8744041 w 12139750"/>
              <a:gd name="connsiteY3933" fmla="*/ 265226 h 6858290"/>
              <a:gd name="connsiteX3934" fmla="*/ 8728789 w 12139750"/>
              <a:gd name="connsiteY3934" fmla="*/ 293865 h 6858290"/>
              <a:gd name="connsiteX3935" fmla="*/ 8391337 w 12139750"/>
              <a:gd name="connsiteY3935" fmla="*/ 500068 h 6858290"/>
              <a:gd name="connsiteX3936" fmla="*/ 8345581 w 12139750"/>
              <a:gd name="connsiteY3936" fmla="*/ 488612 h 6858290"/>
              <a:gd name="connsiteX3937" fmla="*/ 8357020 w 12139750"/>
              <a:gd name="connsiteY3937" fmla="*/ 442790 h 6858290"/>
              <a:gd name="connsiteX3938" fmla="*/ 8692565 w 12139750"/>
              <a:gd name="connsiteY3938" fmla="*/ 236587 h 6858290"/>
              <a:gd name="connsiteX3939" fmla="*/ 8718303 w 12139750"/>
              <a:gd name="connsiteY3939" fmla="*/ 233007 h 6858290"/>
              <a:gd name="connsiteX3940" fmla="*/ 11027432 w 12139750"/>
              <a:gd name="connsiteY3940" fmla="*/ 232979 h 6858290"/>
              <a:gd name="connsiteX3941" fmla="*/ 11048165 w 12139750"/>
              <a:gd name="connsiteY3941" fmla="*/ 248015 h 6858290"/>
              <a:gd name="connsiteX3942" fmla="*/ 11053885 w 12139750"/>
              <a:gd name="connsiteY3942" fmla="*/ 265198 h 6858290"/>
              <a:gd name="connsiteX3943" fmla="*/ 11036726 w 12139750"/>
              <a:gd name="connsiteY3943" fmla="*/ 293838 h 6858290"/>
              <a:gd name="connsiteX3944" fmla="*/ 10701181 w 12139750"/>
              <a:gd name="connsiteY3944" fmla="*/ 500041 h 6858290"/>
              <a:gd name="connsiteX3945" fmla="*/ 10655425 w 12139750"/>
              <a:gd name="connsiteY3945" fmla="*/ 488585 h 6858290"/>
              <a:gd name="connsiteX3946" fmla="*/ 10666864 w 12139750"/>
              <a:gd name="connsiteY3946" fmla="*/ 442762 h 6858290"/>
              <a:gd name="connsiteX3947" fmla="*/ 11002409 w 12139750"/>
              <a:gd name="connsiteY3947" fmla="*/ 236559 h 6858290"/>
              <a:gd name="connsiteX3948" fmla="*/ 11027432 w 12139750"/>
              <a:gd name="connsiteY3948" fmla="*/ 232979 h 6858290"/>
              <a:gd name="connsiteX3949" fmla="*/ 8154912 w 12139750"/>
              <a:gd name="connsiteY3949" fmla="*/ 223468 h 6858290"/>
              <a:gd name="connsiteX3950" fmla="*/ 8176649 w 12139750"/>
              <a:gd name="connsiteY3950" fmla="*/ 238470 h 6858290"/>
              <a:gd name="connsiteX3951" fmla="*/ 8180471 w 12139750"/>
              <a:gd name="connsiteY3951" fmla="*/ 257520 h 6858290"/>
              <a:gd name="connsiteX3952" fmla="*/ 8163273 w 12139750"/>
              <a:gd name="connsiteY3952" fmla="*/ 288000 h 6858290"/>
              <a:gd name="connsiteX3953" fmla="*/ 7825042 w 12139750"/>
              <a:gd name="connsiteY3953" fmla="*/ 484214 h 6858290"/>
              <a:gd name="connsiteX3954" fmla="*/ 7777269 w 12139750"/>
              <a:gd name="connsiteY3954" fmla="*/ 470879 h 6858290"/>
              <a:gd name="connsiteX3955" fmla="*/ 7790646 w 12139750"/>
              <a:gd name="connsiteY3955" fmla="*/ 423255 h 6858290"/>
              <a:gd name="connsiteX3956" fmla="*/ 8128876 w 12139750"/>
              <a:gd name="connsiteY3956" fmla="*/ 227040 h 6858290"/>
              <a:gd name="connsiteX3957" fmla="*/ 8154912 w 12139750"/>
              <a:gd name="connsiteY3957" fmla="*/ 223468 h 6858290"/>
              <a:gd name="connsiteX3958" fmla="*/ 11598743 w 12139750"/>
              <a:gd name="connsiteY3958" fmla="*/ 223460 h 6858290"/>
              <a:gd name="connsiteX3959" fmla="*/ 11619682 w 12139750"/>
              <a:gd name="connsiteY3959" fmla="*/ 238461 h 6858290"/>
              <a:gd name="connsiteX3960" fmla="*/ 11625393 w 12139750"/>
              <a:gd name="connsiteY3960" fmla="*/ 257511 h 6858290"/>
              <a:gd name="connsiteX3961" fmla="*/ 11608261 w 12139750"/>
              <a:gd name="connsiteY3961" fmla="*/ 287991 h 6858290"/>
              <a:gd name="connsiteX3962" fmla="*/ 11271332 w 12139750"/>
              <a:gd name="connsiteY3962" fmla="*/ 484206 h 6858290"/>
              <a:gd name="connsiteX3963" fmla="*/ 11223743 w 12139750"/>
              <a:gd name="connsiteY3963" fmla="*/ 470871 h 6858290"/>
              <a:gd name="connsiteX3964" fmla="*/ 11237068 w 12139750"/>
              <a:gd name="connsiteY3964" fmla="*/ 423246 h 6858290"/>
              <a:gd name="connsiteX3965" fmla="*/ 11572093 w 12139750"/>
              <a:gd name="connsiteY3965" fmla="*/ 227031 h 6858290"/>
              <a:gd name="connsiteX3966" fmla="*/ 11598743 w 12139750"/>
              <a:gd name="connsiteY3966" fmla="*/ 223460 h 6858290"/>
              <a:gd name="connsiteX3967" fmla="*/ 12139750 w 12139750"/>
              <a:gd name="connsiteY3967" fmla="*/ 215916 h 6858290"/>
              <a:gd name="connsiteX3968" fmla="*/ 12139750 w 12139750"/>
              <a:gd name="connsiteY3968" fmla="*/ 297535 h 6858290"/>
              <a:gd name="connsiteX3969" fmla="*/ 11835475 w 12139750"/>
              <a:gd name="connsiteY3969" fmla="*/ 466465 h 6858290"/>
              <a:gd name="connsiteX3970" fmla="*/ 11784129 w 12139750"/>
              <a:gd name="connsiteY3970" fmla="*/ 453179 h 6858290"/>
              <a:gd name="connsiteX3971" fmla="*/ 11799342 w 12139750"/>
              <a:gd name="connsiteY3971" fmla="*/ 403828 h 6858290"/>
              <a:gd name="connsiteX3972" fmla="*/ 12135947 w 12139750"/>
              <a:gd name="connsiteY3972" fmla="*/ 217814 h 6858290"/>
              <a:gd name="connsiteX3973" fmla="*/ 12139750 w 12139750"/>
              <a:gd name="connsiteY3973" fmla="*/ 215916 h 6858290"/>
              <a:gd name="connsiteX3974" fmla="*/ 7596540 w 12139750"/>
              <a:gd name="connsiteY3974" fmla="*/ 214167 h 6858290"/>
              <a:gd name="connsiteX3975" fmla="*/ 7619435 w 12139750"/>
              <a:gd name="connsiteY3975" fmla="*/ 230796 h 6858290"/>
              <a:gd name="connsiteX3976" fmla="*/ 7623251 w 12139750"/>
              <a:gd name="connsiteY3976" fmla="*/ 247901 h 6858290"/>
              <a:gd name="connsiteX3977" fmla="*/ 7604171 w 12139750"/>
              <a:gd name="connsiteY3977" fmla="*/ 280210 h 6858290"/>
              <a:gd name="connsiteX3978" fmla="*/ 7266466 w 12139750"/>
              <a:gd name="connsiteY3978" fmla="*/ 466461 h 6858290"/>
              <a:gd name="connsiteX3979" fmla="*/ 7216859 w 12139750"/>
              <a:gd name="connsiteY3979" fmla="*/ 453158 h 6858290"/>
              <a:gd name="connsiteX3980" fmla="*/ 7230215 w 12139750"/>
              <a:gd name="connsiteY3980" fmla="*/ 403744 h 6858290"/>
              <a:gd name="connsiteX3981" fmla="*/ 7567920 w 12139750"/>
              <a:gd name="connsiteY3981" fmla="*/ 217493 h 6858290"/>
              <a:gd name="connsiteX3982" fmla="*/ 7596540 w 12139750"/>
              <a:gd name="connsiteY3982" fmla="*/ 214167 h 6858290"/>
              <a:gd name="connsiteX3983" fmla="*/ 7044758 w 12139750"/>
              <a:gd name="connsiteY3983" fmla="*/ 204259 h 6858290"/>
              <a:gd name="connsiteX3984" fmla="*/ 7068571 w 12139750"/>
              <a:gd name="connsiteY3984" fmla="*/ 223547 h 6858290"/>
              <a:gd name="connsiteX3985" fmla="*/ 7072381 w 12139750"/>
              <a:gd name="connsiteY3985" fmla="*/ 240692 h 6858290"/>
              <a:gd name="connsiteX3986" fmla="*/ 7051425 w 12139750"/>
              <a:gd name="connsiteY3986" fmla="*/ 274982 h 6858290"/>
              <a:gd name="connsiteX3987" fmla="*/ 6714236 w 12139750"/>
              <a:gd name="connsiteY3987" fmla="*/ 452146 h 6858290"/>
              <a:gd name="connsiteX3988" fmla="*/ 6662800 w 12139750"/>
              <a:gd name="connsiteY3988" fmla="*/ 436906 h 6858290"/>
              <a:gd name="connsiteX3989" fmla="*/ 6678040 w 12139750"/>
              <a:gd name="connsiteY3989" fmla="*/ 385472 h 6858290"/>
              <a:gd name="connsiteX3990" fmla="*/ 7015230 w 12139750"/>
              <a:gd name="connsiteY3990" fmla="*/ 206402 h 6858290"/>
              <a:gd name="connsiteX3991" fmla="*/ 7044758 w 12139750"/>
              <a:gd name="connsiteY3991" fmla="*/ 204259 h 6858290"/>
              <a:gd name="connsiteX3992" fmla="*/ 6500891 w 12139750"/>
              <a:gd name="connsiteY3992" fmla="*/ 194963 h 6858290"/>
              <a:gd name="connsiteX3993" fmla="*/ 6524041 w 12139750"/>
              <a:gd name="connsiteY3993" fmla="*/ 215892 h 6858290"/>
              <a:gd name="connsiteX3994" fmla="*/ 6527860 w 12139750"/>
              <a:gd name="connsiteY3994" fmla="*/ 233016 h 6858290"/>
              <a:gd name="connsiteX3995" fmla="*/ 6506857 w 12139750"/>
              <a:gd name="connsiteY3995" fmla="*/ 269166 h 6858290"/>
              <a:gd name="connsiteX3996" fmla="*/ 6166999 w 12139750"/>
              <a:gd name="connsiteY3996" fmla="*/ 436601 h 6858290"/>
              <a:gd name="connsiteX3997" fmla="*/ 6113538 w 12139750"/>
              <a:gd name="connsiteY3997" fmla="*/ 419477 h 6858290"/>
              <a:gd name="connsiteX3998" fmla="*/ 6130722 w 12139750"/>
              <a:gd name="connsiteY3998" fmla="*/ 366202 h 6858290"/>
              <a:gd name="connsiteX3999" fmla="*/ 6470580 w 12139750"/>
              <a:gd name="connsiteY3999" fmla="*/ 196865 h 6858290"/>
              <a:gd name="connsiteX4000" fmla="*/ 6500891 w 12139750"/>
              <a:gd name="connsiteY4000" fmla="*/ 194963 h 6858290"/>
              <a:gd name="connsiteX4001" fmla="*/ 5957785 w 12139750"/>
              <a:gd name="connsiteY4001" fmla="*/ 186367 h 6858290"/>
              <a:gd name="connsiteX4002" fmla="*/ 5981121 w 12139750"/>
              <a:gd name="connsiteY4002" fmla="*/ 208192 h 6858290"/>
              <a:gd name="connsiteX4003" fmla="*/ 5984930 w 12139750"/>
              <a:gd name="connsiteY4003" fmla="*/ 225273 h 6858290"/>
              <a:gd name="connsiteX4004" fmla="*/ 5962070 w 12139750"/>
              <a:gd name="connsiteY4004" fmla="*/ 263230 h 6858290"/>
              <a:gd name="connsiteX4005" fmla="*/ 5622984 w 12139750"/>
              <a:gd name="connsiteY4005" fmla="*/ 420750 h 6858290"/>
              <a:gd name="connsiteX4006" fmla="*/ 5567739 w 12139750"/>
              <a:gd name="connsiteY4006" fmla="*/ 401772 h 6858290"/>
              <a:gd name="connsiteX4007" fmla="*/ 5586789 w 12139750"/>
              <a:gd name="connsiteY4007" fmla="*/ 346734 h 6858290"/>
              <a:gd name="connsiteX4008" fmla="*/ 5925876 w 12139750"/>
              <a:gd name="connsiteY4008" fmla="*/ 187316 h 6858290"/>
              <a:gd name="connsiteX4009" fmla="*/ 5957785 w 12139750"/>
              <a:gd name="connsiteY4009" fmla="*/ 186367 h 6858290"/>
              <a:gd name="connsiteX4010" fmla="*/ 398308 w 12139750"/>
              <a:gd name="connsiteY4010" fmla="*/ 186354 h 6858290"/>
              <a:gd name="connsiteX4011" fmla="*/ 421644 w 12139750"/>
              <a:gd name="connsiteY4011" fmla="*/ 208179 h 6858290"/>
              <a:gd name="connsiteX4012" fmla="*/ 425454 w 12139750"/>
              <a:gd name="connsiteY4012" fmla="*/ 225260 h 6858290"/>
              <a:gd name="connsiteX4013" fmla="*/ 400689 w 12139750"/>
              <a:gd name="connsiteY4013" fmla="*/ 263217 h 6858290"/>
              <a:gd name="connsiteX4014" fmla="*/ 61595 w 12139750"/>
              <a:gd name="connsiteY4014" fmla="*/ 420738 h 6858290"/>
              <a:gd name="connsiteX4015" fmla="*/ 6349 w 12139750"/>
              <a:gd name="connsiteY4015" fmla="*/ 401759 h 6858290"/>
              <a:gd name="connsiteX4016" fmla="*/ 27305 w 12139750"/>
              <a:gd name="connsiteY4016" fmla="*/ 346722 h 6858290"/>
              <a:gd name="connsiteX4017" fmla="*/ 366399 w 12139750"/>
              <a:gd name="connsiteY4017" fmla="*/ 187303 h 6858290"/>
              <a:gd name="connsiteX4018" fmla="*/ 398308 w 12139750"/>
              <a:gd name="connsiteY4018" fmla="*/ 186354 h 6858290"/>
              <a:gd name="connsiteX4019" fmla="*/ 5409190 w 12139750"/>
              <a:gd name="connsiteY4019" fmla="*/ 176874 h 6858290"/>
              <a:gd name="connsiteX4020" fmla="*/ 5433443 w 12139750"/>
              <a:gd name="connsiteY4020" fmla="*/ 198782 h 6858290"/>
              <a:gd name="connsiteX4021" fmla="*/ 5437247 w 12139750"/>
              <a:gd name="connsiteY4021" fmla="*/ 217832 h 6858290"/>
              <a:gd name="connsiteX4022" fmla="*/ 5410617 w 12139750"/>
              <a:gd name="connsiteY4022" fmla="*/ 255932 h 6858290"/>
              <a:gd name="connsiteX4023" fmla="*/ 5072018 w 12139750"/>
              <a:gd name="connsiteY4023" fmla="*/ 406426 h 6858290"/>
              <a:gd name="connsiteX4024" fmla="*/ 5014959 w 12139750"/>
              <a:gd name="connsiteY4024" fmla="*/ 385471 h 6858290"/>
              <a:gd name="connsiteX4025" fmla="*/ 5035880 w 12139750"/>
              <a:gd name="connsiteY4025" fmla="*/ 328321 h 6858290"/>
              <a:gd name="connsiteX4026" fmla="*/ 5376377 w 12139750"/>
              <a:gd name="connsiteY4026" fmla="*/ 177827 h 6858290"/>
              <a:gd name="connsiteX4027" fmla="*/ 5409190 w 12139750"/>
              <a:gd name="connsiteY4027" fmla="*/ 176874 h 6858290"/>
              <a:gd name="connsiteX4028" fmla="*/ 942624 w 12139750"/>
              <a:gd name="connsiteY4028" fmla="*/ 176859 h 6858290"/>
              <a:gd name="connsiteX4029" fmla="*/ 966164 w 12139750"/>
              <a:gd name="connsiteY4029" fmla="*/ 198766 h 6858290"/>
              <a:gd name="connsiteX4030" fmla="*/ 969968 w 12139750"/>
              <a:gd name="connsiteY4030" fmla="*/ 217816 h 6858290"/>
              <a:gd name="connsiteX4031" fmla="*/ 945239 w 12139750"/>
              <a:gd name="connsiteY4031" fmla="*/ 255916 h 6858290"/>
              <a:gd name="connsiteX4032" fmla="*/ 604741 w 12139750"/>
              <a:gd name="connsiteY4032" fmla="*/ 406411 h 6858290"/>
              <a:gd name="connsiteX4033" fmla="*/ 547674 w 12139750"/>
              <a:gd name="connsiteY4033" fmla="*/ 385456 h 6858290"/>
              <a:gd name="connsiteX4034" fmla="*/ 570501 w 12139750"/>
              <a:gd name="connsiteY4034" fmla="*/ 328306 h 6858290"/>
              <a:gd name="connsiteX4035" fmla="*/ 909097 w 12139750"/>
              <a:gd name="connsiteY4035" fmla="*/ 177812 h 6858290"/>
              <a:gd name="connsiteX4036" fmla="*/ 942624 w 12139750"/>
              <a:gd name="connsiteY4036" fmla="*/ 176859 h 6858290"/>
              <a:gd name="connsiteX4037" fmla="*/ 4856424 w 12139750"/>
              <a:gd name="connsiteY4037" fmla="*/ 167564 h 6858290"/>
              <a:gd name="connsiteX4038" fmla="*/ 4880972 w 12139750"/>
              <a:gd name="connsiteY4038" fmla="*/ 191077 h 6858290"/>
              <a:gd name="connsiteX4039" fmla="*/ 4884784 w 12139750"/>
              <a:gd name="connsiteY4039" fmla="*/ 208176 h 6858290"/>
              <a:gd name="connsiteX4040" fmla="*/ 4856185 w 12139750"/>
              <a:gd name="connsiteY4040" fmla="*/ 249976 h 6858290"/>
              <a:gd name="connsiteX4041" fmla="*/ 4516850 w 12139750"/>
              <a:gd name="connsiteY4041" fmla="*/ 390576 h 6858290"/>
              <a:gd name="connsiteX4042" fmla="*/ 4457750 w 12139750"/>
              <a:gd name="connsiteY4042" fmla="*/ 367776 h 6858290"/>
              <a:gd name="connsiteX4043" fmla="*/ 4482534 w 12139750"/>
              <a:gd name="connsiteY4043" fmla="*/ 308876 h 6858290"/>
              <a:gd name="connsiteX4044" fmla="*/ 4821864 w 12139750"/>
              <a:gd name="connsiteY4044" fmla="*/ 168277 h 6858290"/>
              <a:gd name="connsiteX4045" fmla="*/ 4856424 w 12139750"/>
              <a:gd name="connsiteY4045" fmla="*/ 167564 h 6858290"/>
              <a:gd name="connsiteX4046" fmla="*/ 1492476 w 12139750"/>
              <a:gd name="connsiteY4046" fmla="*/ 167547 h 6858290"/>
              <a:gd name="connsiteX4047" fmla="*/ 1517021 w 12139750"/>
              <a:gd name="connsiteY4047" fmla="*/ 191059 h 6858290"/>
              <a:gd name="connsiteX4048" fmla="*/ 1520833 w 12139750"/>
              <a:gd name="connsiteY4048" fmla="*/ 208159 h 6858290"/>
              <a:gd name="connsiteX4049" fmla="*/ 1492238 w 12139750"/>
              <a:gd name="connsiteY4049" fmla="*/ 249959 h 6858290"/>
              <a:gd name="connsiteX4050" fmla="*/ 1150990 w 12139750"/>
              <a:gd name="connsiteY4050" fmla="*/ 390559 h 6858290"/>
              <a:gd name="connsiteX4051" fmla="*/ 1093798 w 12139750"/>
              <a:gd name="connsiteY4051" fmla="*/ 367759 h 6858290"/>
              <a:gd name="connsiteX4052" fmla="*/ 1116675 w 12139750"/>
              <a:gd name="connsiteY4052" fmla="*/ 308859 h 6858290"/>
              <a:gd name="connsiteX4053" fmla="*/ 1457922 w 12139750"/>
              <a:gd name="connsiteY4053" fmla="*/ 168259 h 6858290"/>
              <a:gd name="connsiteX4054" fmla="*/ 1492476 w 12139750"/>
              <a:gd name="connsiteY4054" fmla="*/ 167547 h 6858290"/>
              <a:gd name="connsiteX4055" fmla="*/ 4266102 w 12139750"/>
              <a:gd name="connsiteY4055" fmla="*/ 156882 h 6858290"/>
              <a:gd name="connsiteX4056" fmla="*/ 4325330 w 12139750"/>
              <a:gd name="connsiteY4056" fmla="*/ 183588 h 6858290"/>
              <a:gd name="connsiteX4057" fmla="*/ 4329151 w 12139750"/>
              <a:gd name="connsiteY4057" fmla="*/ 200756 h 6858290"/>
              <a:gd name="connsiteX4058" fmla="*/ 4298582 w 12139750"/>
              <a:gd name="connsiteY4058" fmla="*/ 244630 h 6858290"/>
              <a:gd name="connsiteX4059" fmla="*/ 3956617 w 12139750"/>
              <a:gd name="connsiteY4059" fmla="*/ 376251 h 6858290"/>
              <a:gd name="connsiteX4060" fmla="*/ 3897391 w 12139750"/>
              <a:gd name="connsiteY4060" fmla="*/ 349546 h 6858290"/>
              <a:gd name="connsiteX4061" fmla="*/ 3924139 w 12139750"/>
              <a:gd name="connsiteY4061" fmla="*/ 290411 h 6858290"/>
              <a:gd name="connsiteX4062" fmla="*/ 4266102 w 12139750"/>
              <a:gd name="connsiteY4062" fmla="*/ 156882 h 6858290"/>
              <a:gd name="connsiteX4063" fmla="*/ 2010467 w 12139750"/>
              <a:gd name="connsiteY4063" fmla="*/ 156862 h 6858290"/>
              <a:gd name="connsiteX4064" fmla="*/ 2071388 w 12139750"/>
              <a:gd name="connsiteY4064" fmla="*/ 183568 h 6858290"/>
              <a:gd name="connsiteX4065" fmla="*/ 2073292 w 12139750"/>
              <a:gd name="connsiteY4065" fmla="*/ 200736 h 6858290"/>
              <a:gd name="connsiteX4066" fmla="*/ 2044733 w 12139750"/>
              <a:gd name="connsiteY4066" fmla="*/ 244610 h 6858290"/>
              <a:gd name="connsiteX4067" fmla="*/ 1703979 w 12139750"/>
              <a:gd name="connsiteY4067" fmla="*/ 376232 h 6858290"/>
              <a:gd name="connsiteX4068" fmla="*/ 1643062 w 12139750"/>
              <a:gd name="connsiteY4068" fmla="*/ 349526 h 6858290"/>
              <a:gd name="connsiteX4069" fmla="*/ 1669713 w 12139750"/>
              <a:gd name="connsiteY4069" fmla="*/ 290392 h 6858290"/>
              <a:gd name="connsiteX4070" fmla="*/ 2010467 w 12139750"/>
              <a:gd name="connsiteY4070" fmla="*/ 156862 h 6858290"/>
              <a:gd name="connsiteX4071" fmla="*/ 3720656 w 12139750"/>
              <a:gd name="connsiteY4071" fmla="*/ 144611 h 6858290"/>
              <a:gd name="connsiteX4072" fmla="*/ 3763698 w 12139750"/>
              <a:gd name="connsiteY4072" fmla="*/ 176135 h 6858290"/>
              <a:gd name="connsiteX4073" fmla="*/ 3765599 w 12139750"/>
              <a:gd name="connsiteY4073" fmla="*/ 193233 h 6858290"/>
              <a:gd name="connsiteX4074" fmla="*/ 3735180 w 12139750"/>
              <a:gd name="connsiteY4074" fmla="*/ 238828 h 6858290"/>
              <a:gd name="connsiteX4075" fmla="*/ 3393028 w 12139750"/>
              <a:gd name="connsiteY4075" fmla="*/ 360415 h 6858290"/>
              <a:gd name="connsiteX4076" fmla="*/ 3332195 w 12139750"/>
              <a:gd name="connsiteY4076" fmla="*/ 331918 h 6858290"/>
              <a:gd name="connsiteX4077" fmla="*/ 3360708 w 12139750"/>
              <a:gd name="connsiteY4077" fmla="*/ 271125 h 6858290"/>
              <a:gd name="connsiteX4078" fmla="*/ 3700964 w 12139750"/>
              <a:gd name="connsiteY4078" fmla="*/ 147639 h 6858290"/>
              <a:gd name="connsiteX4079" fmla="*/ 3720656 w 12139750"/>
              <a:gd name="connsiteY4079" fmla="*/ 144611 h 6858290"/>
              <a:gd name="connsiteX4080" fmla="*/ 2586993 w 12139750"/>
              <a:gd name="connsiteY4080" fmla="*/ 144589 h 6858290"/>
              <a:gd name="connsiteX4081" fmla="*/ 2630185 w 12139750"/>
              <a:gd name="connsiteY4081" fmla="*/ 176114 h 6858290"/>
              <a:gd name="connsiteX4082" fmla="*/ 2632093 w 12139750"/>
              <a:gd name="connsiteY4082" fmla="*/ 193212 h 6858290"/>
              <a:gd name="connsiteX4083" fmla="*/ 2601569 w 12139750"/>
              <a:gd name="connsiteY4083" fmla="*/ 238807 h 6858290"/>
              <a:gd name="connsiteX4084" fmla="*/ 2258175 w 12139750"/>
              <a:gd name="connsiteY4084" fmla="*/ 360394 h 6858290"/>
              <a:gd name="connsiteX4085" fmla="*/ 2197127 w 12139750"/>
              <a:gd name="connsiteY4085" fmla="*/ 331897 h 6858290"/>
              <a:gd name="connsiteX4086" fmla="*/ 2225743 w 12139750"/>
              <a:gd name="connsiteY4086" fmla="*/ 271103 h 6858290"/>
              <a:gd name="connsiteX4087" fmla="*/ 2567230 w 12139750"/>
              <a:gd name="connsiteY4087" fmla="*/ 147617 h 6858290"/>
              <a:gd name="connsiteX4088" fmla="*/ 2586993 w 12139750"/>
              <a:gd name="connsiteY4088" fmla="*/ 144589 h 6858290"/>
              <a:gd name="connsiteX4089" fmla="*/ 3149047 w 12139750"/>
              <a:gd name="connsiteY4089" fmla="*/ 135364 h 6858290"/>
              <a:gd name="connsiteX4090" fmla="*/ 3191878 w 12139750"/>
              <a:gd name="connsiteY4090" fmla="*/ 168396 h 6858290"/>
              <a:gd name="connsiteX4091" fmla="*/ 3195685 w 12139750"/>
              <a:gd name="connsiteY4091" fmla="*/ 185444 h 6858290"/>
              <a:gd name="connsiteX4092" fmla="*/ 3161420 w 12139750"/>
              <a:gd name="connsiteY4092" fmla="*/ 232802 h 6858290"/>
              <a:gd name="connsiteX4093" fmla="*/ 2818756 w 12139750"/>
              <a:gd name="connsiteY4093" fmla="*/ 344567 h 6858290"/>
              <a:gd name="connsiteX4094" fmla="*/ 2755934 w 12139750"/>
              <a:gd name="connsiteY4094" fmla="*/ 314258 h 6858290"/>
              <a:gd name="connsiteX4095" fmla="*/ 2788299 w 12139750"/>
              <a:gd name="connsiteY4095" fmla="*/ 249851 h 6858290"/>
              <a:gd name="connsiteX4096" fmla="*/ 3129056 w 12139750"/>
              <a:gd name="connsiteY4096" fmla="*/ 138087 h 6858290"/>
              <a:gd name="connsiteX4097" fmla="*/ 3149047 w 12139750"/>
              <a:gd name="connsiteY4097" fmla="*/ 135364 h 6858290"/>
              <a:gd name="connsiteX4098" fmla="*/ 9144187 w 12139750"/>
              <a:gd name="connsiteY4098" fmla="*/ 30 h 6858290"/>
              <a:gd name="connsiteX4099" fmla="*/ 9275861 w 12139750"/>
              <a:gd name="connsiteY4099" fmla="*/ 30 h 6858290"/>
              <a:gd name="connsiteX4100" fmla="*/ 8962897 w 12139750"/>
              <a:gd name="connsiteY4100" fmla="*/ 187323 h 6858290"/>
              <a:gd name="connsiteX4101" fmla="*/ 8917098 w 12139750"/>
              <a:gd name="connsiteY4101" fmla="*/ 175856 h 6858290"/>
              <a:gd name="connsiteX4102" fmla="*/ 8928547 w 12139750"/>
              <a:gd name="connsiteY4102" fmla="*/ 129989 h 6858290"/>
              <a:gd name="connsiteX4103" fmla="*/ 9144187 w 12139750"/>
              <a:gd name="connsiteY4103" fmla="*/ 30 h 6858290"/>
              <a:gd name="connsiteX4104" fmla="*/ 8549535 w 12139750"/>
              <a:gd name="connsiteY4104" fmla="*/ 29 h 6858290"/>
              <a:gd name="connsiteX4105" fmla="*/ 8688477 w 12139750"/>
              <a:gd name="connsiteY4105" fmla="*/ 29 h 6858290"/>
              <a:gd name="connsiteX4106" fmla="*/ 8391560 w 12139750"/>
              <a:gd name="connsiteY4106" fmla="*/ 173083 h 6858290"/>
              <a:gd name="connsiteX4107" fmla="*/ 8343977 w 12139750"/>
              <a:gd name="connsiteY4107" fmla="*/ 159771 h 6858290"/>
              <a:gd name="connsiteX4108" fmla="*/ 8357300 w 12139750"/>
              <a:gd name="connsiteY4108" fmla="*/ 112230 h 6858290"/>
              <a:gd name="connsiteX4109" fmla="*/ 8549535 w 12139750"/>
              <a:gd name="connsiteY4109" fmla="*/ 29 h 6858290"/>
              <a:gd name="connsiteX4110" fmla="*/ 7958714 w 12139750"/>
              <a:gd name="connsiteY4110" fmla="*/ 29 h 6858290"/>
              <a:gd name="connsiteX4111" fmla="*/ 8107445 w 12139750"/>
              <a:gd name="connsiteY4111" fmla="*/ 29 h 6858290"/>
              <a:gd name="connsiteX4112" fmla="*/ 7825239 w 12139750"/>
              <a:gd name="connsiteY4112" fmla="*/ 158743 h 6858290"/>
              <a:gd name="connsiteX4113" fmla="*/ 7775662 w 12139750"/>
              <a:gd name="connsiteY4113" fmla="*/ 145357 h 6858290"/>
              <a:gd name="connsiteX4114" fmla="*/ 7790916 w 12139750"/>
              <a:gd name="connsiteY4114" fmla="*/ 95640 h 6858290"/>
              <a:gd name="connsiteX4115" fmla="*/ 7958714 w 12139750"/>
              <a:gd name="connsiteY4115" fmla="*/ 29 h 6858290"/>
              <a:gd name="connsiteX4116" fmla="*/ 7373861 w 12139750"/>
              <a:gd name="connsiteY4116" fmla="*/ 29 h 6858290"/>
              <a:gd name="connsiteX4117" fmla="*/ 7534349 w 12139750"/>
              <a:gd name="connsiteY4117" fmla="*/ 29 h 6858290"/>
              <a:gd name="connsiteX4118" fmla="*/ 7266870 w 12139750"/>
              <a:gd name="connsiteY4118" fmla="*/ 142904 h 6858290"/>
              <a:gd name="connsiteX4119" fmla="*/ 7215285 w 12139750"/>
              <a:gd name="connsiteY4119" fmla="*/ 127664 h 6858290"/>
              <a:gd name="connsiteX4120" fmla="*/ 7230569 w 12139750"/>
              <a:gd name="connsiteY4120" fmla="*/ 76229 h 6858290"/>
              <a:gd name="connsiteX4121" fmla="*/ 7373861 w 12139750"/>
              <a:gd name="connsiteY4121" fmla="*/ 29 h 6858290"/>
              <a:gd name="connsiteX4122" fmla="*/ 6792947 w 12139750"/>
              <a:gd name="connsiteY4122" fmla="*/ 29 h 6858290"/>
              <a:gd name="connsiteX4123" fmla="*/ 6962841 w 12139750"/>
              <a:gd name="connsiteY4123" fmla="*/ 29 h 6858290"/>
              <a:gd name="connsiteX4124" fmla="*/ 6714681 w 12139750"/>
              <a:gd name="connsiteY4124" fmla="*/ 130160 h 6858290"/>
              <a:gd name="connsiteX4125" fmla="*/ 6661231 w 12139750"/>
              <a:gd name="connsiteY4125" fmla="*/ 112937 h 6858290"/>
              <a:gd name="connsiteX4126" fmla="*/ 6678412 w 12139750"/>
              <a:gd name="connsiteY4126" fmla="*/ 59354 h 6858290"/>
              <a:gd name="connsiteX4127" fmla="*/ 6792947 w 12139750"/>
              <a:gd name="connsiteY4127" fmla="*/ 29 h 6858290"/>
              <a:gd name="connsiteX4128" fmla="*/ 6214724 w 12139750"/>
              <a:gd name="connsiteY4128" fmla="*/ 29 h 6858290"/>
              <a:gd name="connsiteX4129" fmla="*/ 6396096 w 12139750"/>
              <a:gd name="connsiteY4129" fmla="*/ 29 h 6858290"/>
              <a:gd name="connsiteX4130" fmla="*/ 6166995 w 12139750"/>
              <a:gd name="connsiteY4130" fmla="*/ 114329 h 6858290"/>
              <a:gd name="connsiteX4131" fmla="*/ 6113538 w 12139750"/>
              <a:gd name="connsiteY4131" fmla="*/ 95279 h 6858290"/>
              <a:gd name="connsiteX4132" fmla="*/ 6130720 w 12139750"/>
              <a:gd name="connsiteY4132" fmla="*/ 41939 h 6858290"/>
              <a:gd name="connsiteX4133" fmla="*/ 6214724 w 12139750"/>
              <a:gd name="connsiteY4133" fmla="*/ 29 h 6858290"/>
              <a:gd name="connsiteX4134" fmla="*/ 5637626 w 12139750"/>
              <a:gd name="connsiteY4134" fmla="*/ 29 h 6858290"/>
              <a:gd name="connsiteX4135" fmla="*/ 5829356 w 12139750"/>
              <a:gd name="connsiteY4135" fmla="*/ 29 h 6858290"/>
              <a:gd name="connsiteX4136" fmla="*/ 5622440 w 12139750"/>
              <a:gd name="connsiteY4136" fmla="*/ 99958 h 6858290"/>
              <a:gd name="connsiteX4137" fmla="*/ 5567388 w 12139750"/>
              <a:gd name="connsiteY4137" fmla="*/ 80741 h 6858290"/>
              <a:gd name="connsiteX4138" fmla="*/ 5586371 w 12139750"/>
              <a:gd name="connsiteY4138" fmla="*/ 25011 h 6858290"/>
              <a:gd name="connsiteX4139" fmla="*/ 5637626 w 12139750"/>
              <a:gd name="connsiteY4139" fmla="*/ 29 h 6858290"/>
              <a:gd name="connsiteX4140" fmla="*/ 5050992 w 12139750"/>
              <a:gd name="connsiteY4140" fmla="*/ 29 h 6858290"/>
              <a:gd name="connsiteX4141" fmla="*/ 5257856 w 12139750"/>
              <a:gd name="connsiteY4141" fmla="*/ 29 h 6858290"/>
              <a:gd name="connsiteX4142" fmla="*/ 5071866 w 12139750"/>
              <a:gd name="connsiteY4142" fmla="*/ 83849 h 6858290"/>
              <a:gd name="connsiteX4143" fmla="*/ 5014937 w 12139750"/>
              <a:gd name="connsiteY4143" fmla="*/ 62894 h 6858290"/>
              <a:gd name="connsiteX4144" fmla="*/ 5037708 w 12139750"/>
              <a:gd name="connsiteY4144" fmla="*/ 7649 h 6858290"/>
              <a:gd name="connsiteX4145" fmla="*/ 5050992 w 12139750"/>
              <a:gd name="connsiteY4145" fmla="*/ 29 h 6858290"/>
              <a:gd name="connsiteX4146" fmla="*/ 4468136 w 12139750"/>
              <a:gd name="connsiteY4146" fmla="*/ 29 h 6858290"/>
              <a:gd name="connsiteX4147" fmla="*/ 4678410 w 12139750"/>
              <a:gd name="connsiteY4147" fmla="*/ 29 h 6858290"/>
              <a:gd name="connsiteX4148" fmla="*/ 4517392 w 12139750"/>
              <a:gd name="connsiteY4148" fmla="*/ 71353 h 6858290"/>
              <a:gd name="connsiteX4149" fmla="*/ 4460559 w 12139750"/>
              <a:gd name="connsiteY4149" fmla="*/ 48221 h 6858290"/>
              <a:gd name="connsiteX4150" fmla="*/ 4468136 w 12139750"/>
              <a:gd name="connsiteY4150" fmla="*/ 29 h 6858290"/>
              <a:gd name="connsiteX4151" fmla="*/ 3898002 w 12139750"/>
              <a:gd name="connsiteY4151" fmla="*/ 29 h 6858290"/>
              <a:gd name="connsiteX4152" fmla="*/ 4092634 w 12139750"/>
              <a:gd name="connsiteY4152" fmla="*/ 29 h 6858290"/>
              <a:gd name="connsiteX4153" fmla="*/ 3959065 w 12139750"/>
              <a:gd name="connsiteY4153" fmla="*/ 55545 h 6858290"/>
              <a:gd name="connsiteX4154" fmla="*/ 3899912 w 12139750"/>
              <a:gd name="connsiteY4154" fmla="*/ 30658 h 6858290"/>
              <a:gd name="connsiteX4155" fmla="*/ 3898002 w 12139750"/>
              <a:gd name="connsiteY4155" fmla="*/ 29 h 6858290"/>
              <a:gd name="connsiteX4156" fmla="*/ 3332212 w 12139750"/>
              <a:gd name="connsiteY4156" fmla="*/ 29 h 6858290"/>
              <a:gd name="connsiteX4157" fmla="*/ 3497315 w 12139750"/>
              <a:gd name="connsiteY4157" fmla="*/ 29 h 6858290"/>
              <a:gd name="connsiteX4158" fmla="*/ 3394843 w 12139750"/>
              <a:gd name="connsiteY4158" fmla="*/ 41670 h 6858290"/>
              <a:gd name="connsiteX4159" fmla="*/ 3334111 w 12139750"/>
              <a:gd name="connsiteY4159" fmla="*/ 15171 h 6858290"/>
              <a:gd name="connsiteX4160" fmla="*/ 3332212 w 12139750"/>
              <a:gd name="connsiteY4160" fmla="*/ 29 h 6858290"/>
              <a:gd name="connsiteX4161" fmla="*/ 2760703 w 12139750"/>
              <a:gd name="connsiteY4161" fmla="*/ 28 h 6858290"/>
              <a:gd name="connsiteX4162" fmla="*/ 2890880 w 12139750"/>
              <a:gd name="connsiteY4162" fmla="*/ 28 h 6858290"/>
              <a:gd name="connsiteX4163" fmla="*/ 2821076 w 12139750"/>
              <a:gd name="connsiteY4163" fmla="*/ 27192 h 6858290"/>
              <a:gd name="connsiteX4164" fmla="*/ 2760703 w 12139750"/>
              <a:gd name="connsiteY4164" fmla="*/ 28 h 6858290"/>
              <a:gd name="connsiteX4165" fmla="*/ 11404328 w 12139750"/>
              <a:gd name="connsiteY4165" fmla="*/ 19 h 6858290"/>
              <a:gd name="connsiteX4166" fmla="*/ 11552367 w 12139750"/>
              <a:gd name="connsiteY4166" fmla="*/ 19 h 6858290"/>
              <a:gd name="connsiteX4167" fmla="*/ 11271473 w 12139750"/>
              <a:gd name="connsiteY4167" fmla="*/ 158733 h 6858290"/>
              <a:gd name="connsiteX4168" fmla="*/ 11222127 w 12139750"/>
              <a:gd name="connsiteY4168" fmla="*/ 145347 h 6858290"/>
              <a:gd name="connsiteX4169" fmla="*/ 11235412 w 12139750"/>
              <a:gd name="connsiteY4169" fmla="*/ 95630 h 6858290"/>
              <a:gd name="connsiteX4170" fmla="*/ 11404328 w 12139750"/>
              <a:gd name="connsiteY4170" fmla="*/ 19 h 6858290"/>
              <a:gd name="connsiteX4171" fmla="*/ 11942099 w 12139750"/>
              <a:gd name="connsiteY4171" fmla="*/ 17 h 6858290"/>
              <a:gd name="connsiteX4172" fmla="*/ 12100062 w 12139750"/>
              <a:gd name="connsiteY4172" fmla="*/ 17 h 6858290"/>
              <a:gd name="connsiteX4173" fmla="*/ 11835521 w 12139750"/>
              <a:gd name="connsiteY4173" fmla="*/ 142892 h 6858290"/>
              <a:gd name="connsiteX4174" fmla="*/ 11784136 w 12139750"/>
              <a:gd name="connsiteY4174" fmla="*/ 127652 h 6858290"/>
              <a:gd name="connsiteX4175" fmla="*/ 11799361 w 12139750"/>
              <a:gd name="connsiteY4175" fmla="*/ 76217 h 6858290"/>
              <a:gd name="connsiteX4176" fmla="*/ 11942099 w 12139750"/>
              <a:gd name="connsiteY4176" fmla="*/ 17 h 6858290"/>
              <a:gd name="connsiteX4177" fmla="*/ 76928 w 12139750"/>
              <a:gd name="connsiteY4177" fmla="*/ 14 h 6858290"/>
              <a:gd name="connsiteX4178" fmla="*/ 271465 w 12139750"/>
              <a:gd name="connsiteY4178" fmla="*/ 14 h 6858290"/>
              <a:gd name="connsiteX4179" fmla="*/ 63577 w 12139750"/>
              <a:gd name="connsiteY4179" fmla="*/ 99944 h 6858290"/>
              <a:gd name="connsiteX4180" fmla="*/ 8268 w 12139750"/>
              <a:gd name="connsiteY4180" fmla="*/ 80727 h 6858290"/>
              <a:gd name="connsiteX4181" fmla="*/ 27340 w 12139750"/>
              <a:gd name="connsiteY4181" fmla="*/ 24997 h 6858290"/>
              <a:gd name="connsiteX4182" fmla="*/ 76928 w 12139750"/>
              <a:gd name="connsiteY4182" fmla="*/ 14 h 6858290"/>
              <a:gd name="connsiteX4183" fmla="*/ 583733 w 12139750"/>
              <a:gd name="connsiteY4183" fmla="*/ 12 h 6858290"/>
              <a:gd name="connsiteX4184" fmla="*/ 792167 w 12139750"/>
              <a:gd name="connsiteY4184" fmla="*/ 12 h 6858290"/>
              <a:gd name="connsiteX4185" fmla="*/ 604767 w 12139750"/>
              <a:gd name="connsiteY4185" fmla="*/ 83832 h 6858290"/>
              <a:gd name="connsiteX4186" fmla="*/ 549312 w 12139750"/>
              <a:gd name="connsiteY4186" fmla="*/ 62877 h 6858290"/>
              <a:gd name="connsiteX4187" fmla="*/ 570347 w 12139750"/>
              <a:gd name="connsiteY4187" fmla="*/ 7632 h 6858290"/>
              <a:gd name="connsiteX4188" fmla="*/ 583733 w 12139750"/>
              <a:gd name="connsiteY4188" fmla="*/ 12 h 6858290"/>
              <a:gd name="connsiteX4189" fmla="*/ 1102307 w 12139750"/>
              <a:gd name="connsiteY4189" fmla="*/ 10 h 6858290"/>
              <a:gd name="connsiteX4190" fmla="*/ 1312869 w 12139750"/>
              <a:gd name="connsiteY4190" fmla="*/ 10 h 6858290"/>
              <a:gd name="connsiteX4191" fmla="*/ 1153525 w 12139750"/>
              <a:gd name="connsiteY4191" fmla="*/ 71334 h 6858290"/>
              <a:gd name="connsiteX4192" fmla="*/ 1094719 w 12139750"/>
              <a:gd name="connsiteY4192" fmla="*/ 48202 h 6858290"/>
              <a:gd name="connsiteX4193" fmla="*/ 1102307 w 12139750"/>
              <a:gd name="connsiteY4193" fmla="*/ 10 h 6858290"/>
              <a:gd name="connsiteX4194" fmla="*/ 1643393 w 12139750"/>
              <a:gd name="connsiteY4194" fmla="*/ 7 h 6858290"/>
              <a:gd name="connsiteX4195" fmla="*/ 1838335 w 12139750"/>
              <a:gd name="connsiteY4195" fmla="*/ 7 h 6858290"/>
              <a:gd name="connsiteX4196" fmla="*/ 1704551 w 12139750"/>
              <a:gd name="connsiteY4196" fmla="*/ 55524 h 6858290"/>
              <a:gd name="connsiteX4197" fmla="*/ 1645304 w 12139750"/>
              <a:gd name="connsiteY4197" fmla="*/ 30637 h 6858290"/>
              <a:gd name="connsiteX4198" fmla="*/ 1643393 w 12139750"/>
              <a:gd name="connsiteY4198" fmla="*/ 7 h 6858290"/>
              <a:gd name="connsiteX4199" fmla="*/ 2197113 w 12139750"/>
              <a:gd name="connsiteY4199" fmla="*/ 5 h 6858290"/>
              <a:gd name="connsiteX4200" fmla="*/ 2363803 w 12139750"/>
              <a:gd name="connsiteY4200" fmla="*/ 5 h 6858290"/>
              <a:gd name="connsiteX4201" fmla="*/ 2260341 w 12139750"/>
              <a:gd name="connsiteY4201" fmla="*/ 41647 h 6858290"/>
              <a:gd name="connsiteX4202" fmla="*/ 2199030 w 12139750"/>
              <a:gd name="connsiteY4202" fmla="*/ 15147 h 6858290"/>
              <a:gd name="connsiteX4203" fmla="*/ 2197113 w 12139750"/>
              <a:gd name="connsiteY4203" fmla="*/ 5 h 6858290"/>
              <a:gd name="connsiteX4204" fmla="*/ 9742488 w 12139750"/>
              <a:gd name="connsiteY4204" fmla="*/ 4 h 6858290"/>
              <a:gd name="connsiteX4205" fmla="*/ 9866419 w 12139750"/>
              <a:gd name="connsiteY4205" fmla="*/ 4 h 6858290"/>
              <a:gd name="connsiteX4206" fmla="*/ 9542293 w 12139750"/>
              <a:gd name="connsiteY4206" fmla="*/ 201631 h 6858290"/>
              <a:gd name="connsiteX4207" fmla="*/ 9496534 w 12139750"/>
              <a:gd name="connsiteY4207" fmla="*/ 192120 h 6858290"/>
              <a:gd name="connsiteX4208" fmla="*/ 9507974 w 12139750"/>
              <a:gd name="connsiteY4208" fmla="*/ 146469 h 6858290"/>
              <a:gd name="connsiteX4209" fmla="*/ 9742488 w 12139750"/>
              <a:gd name="connsiteY4209" fmla="*/ 4 h 6858290"/>
              <a:gd name="connsiteX4210" fmla="*/ 10304665 w 12139750"/>
              <a:gd name="connsiteY4210" fmla="*/ 2 h 6858290"/>
              <a:gd name="connsiteX4211" fmla="*/ 10436339 w 12139750"/>
              <a:gd name="connsiteY4211" fmla="*/ 2 h 6858290"/>
              <a:gd name="connsiteX4212" fmla="*/ 10125283 w 12139750"/>
              <a:gd name="connsiteY4212" fmla="*/ 187296 h 6858290"/>
              <a:gd name="connsiteX4213" fmla="*/ 10077576 w 12139750"/>
              <a:gd name="connsiteY4213" fmla="*/ 175829 h 6858290"/>
              <a:gd name="connsiteX4214" fmla="*/ 10089025 w 12139750"/>
              <a:gd name="connsiteY4214" fmla="*/ 129961 h 6858290"/>
              <a:gd name="connsiteX4215" fmla="*/ 10304665 w 12139750"/>
              <a:gd name="connsiteY4215" fmla="*/ 2 h 6858290"/>
              <a:gd name="connsiteX4216" fmla="*/ 10857477 w 12139750"/>
              <a:gd name="connsiteY4216" fmla="*/ 0 h 6858290"/>
              <a:gd name="connsiteX4217" fmla="*/ 10998322 w 12139750"/>
              <a:gd name="connsiteY4217" fmla="*/ 0 h 6858290"/>
              <a:gd name="connsiteX4218" fmla="*/ 10701405 w 12139750"/>
              <a:gd name="connsiteY4218" fmla="*/ 173054 h 6858290"/>
              <a:gd name="connsiteX4219" fmla="*/ 10653822 w 12139750"/>
              <a:gd name="connsiteY4219" fmla="*/ 159742 h 6858290"/>
              <a:gd name="connsiteX4220" fmla="*/ 10665241 w 12139750"/>
              <a:gd name="connsiteY4220" fmla="*/ 112200 h 6858290"/>
              <a:gd name="connsiteX4221" fmla="*/ 10857477 w 12139750"/>
              <a:gd name="connsiteY4221" fmla="*/ 0 h 6858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</a:cxnLst>
            <a:rect l="l" t="t" r="r" b="b"/>
            <a:pathLst>
              <a:path w="12139750" h="6858290">
                <a:moveTo>
                  <a:pt x="9863865" y="6730848"/>
                </a:moveTo>
                <a:cubicBezTo>
                  <a:pt x="9882230" y="6731206"/>
                  <a:pt x="9898990" y="6742279"/>
                  <a:pt x="9906123" y="6760852"/>
                </a:cubicBezTo>
                <a:cubicBezTo>
                  <a:pt x="9915632" y="6783712"/>
                  <a:pt x="9904221" y="6810382"/>
                  <a:pt x="9879496" y="6819907"/>
                </a:cubicBezTo>
                <a:cubicBezTo>
                  <a:pt x="9879496" y="6819907"/>
                  <a:pt x="9879496" y="6819907"/>
                  <a:pt x="9782500" y="6858007"/>
                </a:cubicBezTo>
                <a:cubicBezTo>
                  <a:pt x="9782500" y="6858007"/>
                  <a:pt x="9782500" y="6858007"/>
                  <a:pt x="9531452" y="6858007"/>
                </a:cubicBezTo>
                <a:cubicBezTo>
                  <a:pt x="9531452" y="6858007"/>
                  <a:pt x="9531452" y="6858007"/>
                  <a:pt x="9845262" y="6734182"/>
                </a:cubicBezTo>
                <a:cubicBezTo>
                  <a:pt x="9851443" y="6731801"/>
                  <a:pt x="9857743" y="6730729"/>
                  <a:pt x="9863865" y="6730848"/>
                </a:cubicBezTo>
                <a:close/>
                <a:moveTo>
                  <a:pt x="10445577" y="6718092"/>
                </a:moveTo>
                <a:cubicBezTo>
                  <a:pt x="10463182" y="6718359"/>
                  <a:pt x="10479983" y="6729028"/>
                  <a:pt x="10487132" y="6746099"/>
                </a:cubicBezTo>
                <a:cubicBezTo>
                  <a:pt x="10496665" y="6768860"/>
                  <a:pt x="10485226" y="6795414"/>
                  <a:pt x="10462348" y="6804898"/>
                </a:cubicBezTo>
                <a:cubicBezTo>
                  <a:pt x="10462348" y="6804898"/>
                  <a:pt x="10462348" y="6804898"/>
                  <a:pt x="10328892" y="6858007"/>
                </a:cubicBezTo>
                <a:cubicBezTo>
                  <a:pt x="10328892" y="6858007"/>
                  <a:pt x="10328892" y="6858007"/>
                  <a:pt x="10088672" y="6858007"/>
                </a:cubicBezTo>
                <a:cubicBezTo>
                  <a:pt x="10088672" y="6858007"/>
                  <a:pt x="10088672" y="6858007"/>
                  <a:pt x="10428031" y="6721441"/>
                </a:cubicBezTo>
                <a:cubicBezTo>
                  <a:pt x="10433751" y="6719070"/>
                  <a:pt x="10439708" y="6718003"/>
                  <a:pt x="10445577" y="6718092"/>
                </a:cubicBezTo>
                <a:close/>
                <a:moveTo>
                  <a:pt x="9285099" y="6718092"/>
                </a:moveTo>
                <a:cubicBezTo>
                  <a:pt x="9302704" y="6718359"/>
                  <a:pt x="9319505" y="6729028"/>
                  <a:pt x="9326654" y="6746099"/>
                </a:cubicBezTo>
                <a:cubicBezTo>
                  <a:pt x="9336187" y="6768860"/>
                  <a:pt x="9324748" y="6795414"/>
                  <a:pt x="9301870" y="6804898"/>
                </a:cubicBezTo>
                <a:cubicBezTo>
                  <a:pt x="9301870" y="6804898"/>
                  <a:pt x="9301870" y="6804898"/>
                  <a:pt x="9168414" y="6858007"/>
                </a:cubicBezTo>
                <a:cubicBezTo>
                  <a:pt x="9168414" y="6858007"/>
                  <a:pt x="9168414" y="6858007"/>
                  <a:pt x="8928194" y="6858007"/>
                </a:cubicBezTo>
                <a:cubicBezTo>
                  <a:pt x="8928194" y="6858007"/>
                  <a:pt x="8928194" y="6858007"/>
                  <a:pt x="9267553" y="6721441"/>
                </a:cubicBezTo>
                <a:cubicBezTo>
                  <a:pt x="9273273" y="6719070"/>
                  <a:pt x="9279230" y="6718003"/>
                  <a:pt x="9285099" y="6718092"/>
                </a:cubicBezTo>
                <a:close/>
                <a:moveTo>
                  <a:pt x="11021925" y="6702243"/>
                </a:moveTo>
                <a:cubicBezTo>
                  <a:pt x="11039503" y="6702511"/>
                  <a:pt x="11056279" y="6713227"/>
                  <a:pt x="11063417" y="6730372"/>
                </a:cubicBezTo>
                <a:cubicBezTo>
                  <a:pt x="11072935" y="6753232"/>
                  <a:pt x="11061513" y="6779902"/>
                  <a:pt x="11038670" y="6789427"/>
                </a:cubicBezTo>
                <a:cubicBezTo>
                  <a:pt x="11038670" y="6789427"/>
                  <a:pt x="11038670" y="6789427"/>
                  <a:pt x="10873058" y="6858007"/>
                </a:cubicBezTo>
                <a:cubicBezTo>
                  <a:pt x="10873058" y="6858007"/>
                  <a:pt x="10873058" y="6858007"/>
                  <a:pt x="10652242" y="6858007"/>
                </a:cubicBezTo>
                <a:cubicBezTo>
                  <a:pt x="10656049" y="6854197"/>
                  <a:pt x="10659856" y="6852292"/>
                  <a:pt x="10665567" y="6850387"/>
                </a:cubicBezTo>
                <a:cubicBezTo>
                  <a:pt x="10665567" y="6850387"/>
                  <a:pt x="10665567" y="6850387"/>
                  <a:pt x="11004406" y="6705607"/>
                </a:cubicBezTo>
                <a:cubicBezTo>
                  <a:pt x="11010117" y="6703225"/>
                  <a:pt x="11016065" y="6702154"/>
                  <a:pt x="11021925" y="6702243"/>
                </a:cubicBezTo>
                <a:close/>
                <a:moveTo>
                  <a:pt x="8712081" y="6702243"/>
                </a:moveTo>
                <a:cubicBezTo>
                  <a:pt x="8729659" y="6702511"/>
                  <a:pt x="8746435" y="6713227"/>
                  <a:pt x="8753573" y="6730372"/>
                </a:cubicBezTo>
                <a:cubicBezTo>
                  <a:pt x="8763091" y="6753232"/>
                  <a:pt x="8753573" y="6779902"/>
                  <a:pt x="8730730" y="6789427"/>
                </a:cubicBezTo>
                <a:cubicBezTo>
                  <a:pt x="8730730" y="6789427"/>
                  <a:pt x="8730730" y="6789427"/>
                  <a:pt x="8565118" y="6858007"/>
                </a:cubicBezTo>
                <a:cubicBezTo>
                  <a:pt x="8565118" y="6858007"/>
                  <a:pt x="8565118" y="6858007"/>
                  <a:pt x="8342398" y="6858007"/>
                </a:cubicBezTo>
                <a:cubicBezTo>
                  <a:pt x="8346205" y="6854197"/>
                  <a:pt x="8350012" y="6852292"/>
                  <a:pt x="8355723" y="6850387"/>
                </a:cubicBezTo>
                <a:cubicBezTo>
                  <a:pt x="8355723" y="6850387"/>
                  <a:pt x="8355723" y="6850387"/>
                  <a:pt x="8694562" y="6705607"/>
                </a:cubicBezTo>
                <a:cubicBezTo>
                  <a:pt x="8700273" y="6703226"/>
                  <a:pt x="8706221" y="6702154"/>
                  <a:pt x="8712081" y="6702243"/>
                </a:cubicBezTo>
                <a:close/>
                <a:moveTo>
                  <a:pt x="11608144" y="6692160"/>
                </a:moveTo>
                <a:cubicBezTo>
                  <a:pt x="11618391" y="6696194"/>
                  <a:pt x="11626970" y="6704261"/>
                  <a:pt x="11631736" y="6715650"/>
                </a:cubicBezTo>
                <a:cubicBezTo>
                  <a:pt x="11641268" y="6738427"/>
                  <a:pt x="11631736" y="6763102"/>
                  <a:pt x="11608858" y="6772593"/>
                </a:cubicBezTo>
                <a:cubicBezTo>
                  <a:pt x="11608858" y="6772593"/>
                  <a:pt x="11608858" y="6772593"/>
                  <a:pt x="11412495" y="6858007"/>
                </a:cubicBezTo>
                <a:cubicBezTo>
                  <a:pt x="11412495" y="6858007"/>
                  <a:pt x="11412495" y="6858007"/>
                  <a:pt x="11214225" y="6858007"/>
                </a:cubicBezTo>
                <a:cubicBezTo>
                  <a:pt x="11219944" y="6850415"/>
                  <a:pt x="11225664" y="6844721"/>
                  <a:pt x="11235196" y="6840924"/>
                </a:cubicBezTo>
                <a:cubicBezTo>
                  <a:pt x="11235196" y="6840924"/>
                  <a:pt x="11235196" y="6840924"/>
                  <a:pt x="11574543" y="6692872"/>
                </a:cubicBezTo>
                <a:cubicBezTo>
                  <a:pt x="11585981" y="6688127"/>
                  <a:pt x="11597897" y="6688127"/>
                  <a:pt x="11608144" y="6692160"/>
                </a:cubicBezTo>
                <a:close/>
                <a:moveTo>
                  <a:pt x="8162632" y="6692160"/>
                </a:moveTo>
                <a:cubicBezTo>
                  <a:pt x="8173079" y="6696194"/>
                  <a:pt x="8182101" y="6704261"/>
                  <a:pt x="8186849" y="6715650"/>
                </a:cubicBezTo>
                <a:cubicBezTo>
                  <a:pt x="8196346" y="6738427"/>
                  <a:pt x="8186849" y="6763102"/>
                  <a:pt x="8164057" y="6772593"/>
                </a:cubicBezTo>
                <a:cubicBezTo>
                  <a:pt x="8164057" y="6772593"/>
                  <a:pt x="8164057" y="6772593"/>
                  <a:pt x="7966524" y="6858007"/>
                </a:cubicBezTo>
                <a:cubicBezTo>
                  <a:pt x="7966524" y="6858007"/>
                  <a:pt x="7966524" y="6858007"/>
                  <a:pt x="7770890" y="6858007"/>
                </a:cubicBezTo>
                <a:cubicBezTo>
                  <a:pt x="7774688" y="6850415"/>
                  <a:pt x="7782286" y="6844721"/>
                  <a:pt x="7789883" y="6840924"/>
                </a:cubicBezTo>
                <a:cubicBezTo>
                  <a:pt x="7789883" y="6840924"/>
                  <a:pt x="7789883" y="6840924"/>
                  <a:pt x="8129868" y="6692872"/>
                </a:cubicBezTo>
                <a:cubicBezTo>
                  <a:pt x="8140315" y="6688127"/>
                  <a:pt x="8152186" y="6688127"/>
                  <a:pt x="8162632" y="6692160"/>
                </a:cubicBezTo>
                <a:close/>
                <a:moveTo>
                  <a:pt x="7602161" y="6677681"/>
                </a:moveTo>
                <a:cubicBezTo>
                  <a:pt x="7612631" y="6681497"/>
                  <a:pt x="7621673" y="6689130"/>
                  <a:pt x="7626432" y="6699625"/>
                </a:cubicBezTo>
                <a:cubicBezTo>
                  <a:pt x="7635950" y="6720616"/>
                  <a:pt x="7626432" y="6747331"/>
                  <a:pt x="7605492" y="6756872"/>
                </a:cubicBezTo>
                <a:cubicBezTo>
                  <a:pt x="7605492" y="6756872"/>
                  <a:pt x="7605492" y="6756872"/>
                  <a:pt x="7378961" y="6858007"/>
                </a:cubicBezTo>
                <a:cubicBezTo>
                  <a:pt x="7378961" y="6858007"/>
                  <a:pt x="7378961" y="6858007"/>
                  <a:pt x="7205732" y="6858007"/>
                </a:cubicBezTo>
                <a:cubicBezTo>
                  <a:pt x="7209539" y="6846558"/>
                  <a:pt x="7219057" y="6837017"/>
                  <a:pt x="7230479" y="6831292"/>
                </a:cubicBezTo>
                <a:cubicBezTo>
                  <a:pt x="7230479" y="6831292"/>
                  <a:pt x="7230479" y="6831292"/>
                  <a:pt x="7569323" y="6678635"/>
                </a:cubicBezTo>
                <a:cubicBezTo>
                  <a:pt x="7579793" y="6673864"/>
                  <a:pt x="7591691" y="6673864"/>
                  <a:pt x="7602161" y="6677681"/>
                </a:cubicBezTo>
                <a:close/>
                <a:moveTo>
                  <a:pt x="12139750" y="6677032"/>
                </a:moveTo>
                <a:cubicBezTo>
                  <a:pt x="12139750" y="6677032"/>
                  <a:pt x="12139750" y="6677032"/>
                  <a:pt x="12139750" y="6770377"/>
                </a:cubicBezTo>
                <a:cubicBezTo>
                  <a:pt x="12139750" y="6770377"/>
                  <a:pt x="12139750" y="6770377"/>
                  <a:pt x="12139750" y="6858007"/>
                </a:cubicBezTo>
                <a:cubicBezTo>
                  <a:pt x="12139750" y="6858007"/>
                  <a:pt x="12139750" y="6858007"/>
                  <a:pt x="11945775" y="6858007"/>
                </a:cubicBezTo>
                <a:cubicBezTo>
                  <a:pt x="11945775" y="6858007"/>
                  <a:pt x="11945775" y="6858007"/>
                  <a:pt x="11774620" y="6858007"/>
                </a:cubicBezTo>
                <a:cubicBezTo>
                  <a:pt x="11778423" y="6846577"/>
                  <a:pt x="11786030" y="6837052"/>
                  <a:pt x="11797441" y="6831337"/>
                </a:cubicBezTo>
                <a:lnTo>
                  <a:pt x="12137848" y="6678937"/>
                </a:lnTo>
                <a:cubicBezTo>
                  <a:pt x="12137848" y="6678937"/>
                  <a:pt x="12139750" y="6677032"/>
                  <a:pt x="12139750" y="6677032"/>
                </a:cubicBezTo>
                <a:close/>
                <a:moveTo>
                  <a:pt x="7049044" y="6663353"/>
                </a:moveTo>
                <a:cubicBezTo>
                  <a:pt x="7059045" y="6667151"/>
                  <a:pt x="7067618" y="6674747"/>
                  <a:pt x="7072381" y="6685192"/>
                </a:cubicBezTo>
                <a:cubicBezTo>
                  <a:pt x="7081906" y="6706082"/>
                  <a:pt x="7074286" y="6730770"/>
                  <a:pt x="7051425" y="6742164"/>
                </a:cubicBezTo>
                <a:cubicBezTo>
                  <a:pt x="7051425" y="6742164"/>
                  <a:pt x="7051425" y="6742164"/>
                  <a:pt x="6798057" y="6858007"/>
                </a:cubicBezTo>
                <a:cubicBezTo>
                  <a:pt x="6798057" y="6858007"/>
                  <a:pt x="6798057" y="6858007"/>
                  <a:pt x="6653275" y="6858007"/>
                </a:cubicBezTo>
                <a:cubicBezTo>
                  <a:pt x="6653275" y="6842815"/>
                  <a:pt x="6662800" y="6829521"/>
                  <a:pt x="6678040" y="6821925"/>
                </a:cubicBezTo>
                <a:cubicBezTo>
                  <a:pt x="6678040" y="6821925"/>
                  <a:pt x="6678040" y="6821925"/>
                  <a:pt x="7017135" y="6664302"/>
                </a:cubicBezTo>
                <a:cubicBezTo>
                  <a:pt x="7027613" y="6659555"/>
                  <a:pt x="7039043" y="6659555"/>
                  <a:pt x="7049044" y="6663353"/>
                </a:cubicBezTo>
                <a:close/>
                <a:moveTo>
                  <a:pt x="6502912" y="6648865"/>
                </a:moveTo>
                <a:cubicBezTo>
                  <a:pt x="6512921" y="6652443"/>
                  <a:pt x="6521500" y="6659597"/>
                  <a:pt x="6526266" y="6669136"/>
                </a:cubicBezTo>
                <a:cubicBezTo>
                  <a:pt x="6535798" y="6690121"/>
                  <a:pt x="6528172" y="6714923"/>
                  <a:pt x="6507201" y="6724462"/>
                </a:cubicBezTo>
                <a:cubicBezTo>
                  <a:pt x="6507201" y="6724462"/>
                  <a:pt x="6507201" y="6724462"/>
                  <a:pt x="6226954" y="6858007"/>
                </a:cubicBezTo>
                <a:cubicBezTo>
                  <a:pt x="6226954" y="6858007"/>
                  <a:pt x="6226954" y="6858007"/>
                  <a:pt x="6108755" y="6858007"/>
                </a:cubicBezTo>
                <a:cubicBezTo>
                  <a:pt x="6108755" y="6856099"/>
                  <a:pt x="6108755" y="6852284"/>
                  <a:pt x="6108755" y="6850376"/>
                </a:cubicBezTo>
                <a:cubicBezTo>
                  <a:pt x="6108755" y="6835114"/>
                  <a:pt x="6118287" y="6819851"/>
                  <a:pt x="6131632" y="6812220"/>
                </a:cubicBezTo>
                <a:cubicBezTo>
                  <a:pt x="6131632" y="6812220"/>
                  <a:pt x="6131632" y="6812220"/>
                  <a:pt x="6470979" y="6650058"/>
                </a:cubicBezTo>
                <a:cubicBezTo>
                  <a:pt x="6481464" y="6645288"/>
                  <a:pt x="6492903" y="6645288"/>
                  <a:pt x="6502912" y="6648865"/>
                </a:cubicBezTo>
                <a:close/>
                <a:moveTo>
                  <a:pt x="5955433" y="6635428"/>
                </a:moveTo>
                <a:cubicBezTo>
                  <a:pt x="5965210" y="6638757"/>
                  <a:pt x="5973796" y="6645891"/>
                  <a:pt x="5978564" y="6656354"/>
                </a:cubicBezTo>
                <a:cubicBezTo>
                  <a:pt x="5988105" y="6675378"/>
                  <a:pt x="5980473" y="6700109"/>
                  <a:pt x="5961395" y="6709621"/>
                </a:cubicBezTo>
                <a:cubicBezTo>
                  <a:pt x="5961395" y="6709621"/>
                  <a:pt x="5961395" y="6709621"/>
                  <a:pt x="5656142" y="6858007"/>
                </a:cubicBezTo>
                <a:cubicBezTo>
                  <a:pt x="5656142" y="6858007"/>
                  <a:pt x="5656142" y="6858007"/>
                  <a:pt x="5568382" y="6858007"/>
                </a:cubicBezTo>
                <a:cubicBezTo>
                  <a:pt x="5568382" y="6858007"/>
                  <a:pt x="5568382" y="6858007"/>
                  <a:pt x="5566474" y="6858007"/>
                </a:cubicBezTo>
                <a:cubicBezTo>
                  <a:pt x="5564566" y="6852300"/>
                  <a:pt x="5562658" y="6844691"/>
                  <a:pt x="5562658" y="6838983"/>
                </a:cubicBezTo>
                <a:cubicBezTo>
                  <a:pt x="5562658" y="6823764"/>
                  <a:pt x="5572198" y="6810448"/>
                  <a:pt x="5585552" y="6802838"/>
                </a:cubicBezTo>
                <a:cubicBezTo>
                  <a:pt x="5585552" y="6802838"/>
                  <a:pt x="5585552" y="6802838"/>
                  <a:pt x="5925146" y="6637331"/>
                </a:cubicBezTo>
                <a:cubicBezTo>
                  <a:pt x="5934685" y="6632575"/>
                  <a:pt x="5945655" y="6632099"/>
                  <a:pt x="5955433" y="6635428"/>
                </a:cubicBezTo>
                <a:close/>
                <a:moveTo>
                  <a:pt x="396081" y="6635428"/>
                </a:moveTo>
                <a:cubicBezTo>
                  <a:pt x="405822" y="6638757"/>
                  <a:pt x="414376" y="6645891"/>
                  <a:pt x="419128" y="6656354"/>
                </a:cubicBezTo>
                <a:cubicBezTo>
                  <a:pt x="428631" y="6675378"/>
                  <a:pt x="421028" y="6700109"/>
                  <a:pt x="400120" y="6709621"/>
                </a:cubicBezTo>
                <a:cubicBezTo>
                  <a:pt x="400120" y="6709621"/>
                  <a:pt x="400120" y="6709621"/>
                  <a:pt x="97901" y="6858007"/>
                </a:cubicBezTo>
                <a:cubicBezTo>
                  <a:pt x="97901" y="6858007"/>
                  <a:pt x="97901" y="6858007"/>
                  <a:pt x="10466" y="6858007"/>
                </a:cubicBezTo>
                <a:cubicBezTo>
                  <a:pt x="10466" y="6858007"/>
                  <a:pt x="8566" y="6858007"/>
                  <a:pt x="8566" y="6858007"/>
                </a:cubicBezTo>
                <a:cubicBezTo>
                  <a:pt x="6665" y="6852300"/>
                  <a:pt x="4764" y="6844691"/>
                  <a:pt x="4764" y="6838983"/>
                </a:cubicBezTo>
                <a:cubicBezTo>
                  <a:pt x="4764" y="6823764"/>
                  <a:pt x="12367" y="6810448"/>
                  <a:pt x="27573" y="6802838"/>
                </a:cubicBezTo>
                <a:cubicBezTo>
                  <a:pt x="27573" y="6802838"/>
                  <a:pt x="27573" y="6802838"/>
                  <a:pt x="365906" y="6637331"/>
                </a:cubicBezTo>
                <a:cubicBezTo>
                  <a:pt x="375410" y="6632575"/>
                  <a:pt x="386339" y="6632099"/>
                  <a:pt x="396081" y="6635428"/>
                </a:cubicBezTo>
                <a:close/>
                <a:moveTo>
                  <a:pt x="5405387" y="6619812"/>
                </a:moveTo>
                <a:cubicBezTo>
                  <a:pt x="5414897" y="6622912"/>
                  <a:pt x="5422982" y="6630065"/>
                  <a:pt x="5427736" y="6640556"/>
                </a:cubicBezTo>
                <a:cubicBezTo>
                  <a:pt x="5437247" y="6659630"/>
                  <a:pt x="5429640" y="6682520"/>
                  <a:pt x="5410617" y="6693965"/>
                </a:cubicBezTo>
                <a:cubicBezTo>
                  <a:pt x="5410617" y="6693965"/>
                  <a:pt x="5410617" y="6693965"/>
                  <a:pt x="5083442" y="6858007"/>
                </a:cubicBezTo>
                <a:cubicBezTo>
                  <a:pt x="5083442" y="6858007"/>
                  <a:pt x="5083442" y="6858007"/>
                  <a:pt x="5028286" y="6858007"/>
                </a:cubicBezTo>
                <a:cubicBezTo>
                  <a:pt x="5024482" y="6856100"/>
                  <a:pt x="5022579" y="6852285"/>
                  <a:pt x="5020677" y="6846562"/>
                </a:cubicBezTo>
                <a:cubicBezTo>
                  <a:pt x="5016874" y="6840840"/>
                  <a:pt x="5014971" y="6835118"/>
                  <a:pt x="5014971" y="6829395"/>
                </a:cubicBezTo>
                <a:cubicBezTo>
                  <a:pt x="5014971" y="6814136"/>
                  <a:pt x="5024482" y="6800783"/>
                  <a:pt x="5037795" y="6793153"/>
                </a:cubicBezTo>
                <a:cubicBezTo>
                  <a:pt x="5037795" y="6793153"/>
                  <a:pt x="5037795" y="6793153"/>
                  <a:pt x="5374477" y="6623389"/>
                </a:cubicBezTo>
                <a:cubicBezTo>
                  <a:pt x="5384938" y="6617666"/>
                  <a:pt x="5395876" y="6616713"/>
                  <a:pt x="5405387" y="6619812"/>
                </a:cubicBezTo>
                <a:close/>
                <a:moveTo>
                  <a:pt x="939733" y="6619812"/>
                </a:moveTo>
                <a:cubicBezTo>
                  <a:pt x="949279" y="6622912"/>
                  <a:pt x="957871" y="6630065"/>
                  <a:pt x="963599" y="6640556"/>
                </a:cubicBezTo>
                <a:cubicBezTo>
                  <a:pt x="973146" y="6659630"/>
                  <a:pt x="965509" y="6682520"/>
                  <a:pt x="944506" y="6693965"/>
                </a:cubicBezTo>
                <a:cubicBezTo>
                  <a:pt x="944506" y="6693965"/>
                  <a:pt x="944506" y="6693965"/>
                  <a:pt x="618014" y="6858007"/>
                </a:cubicBezTo>
                <a:cubicBezTo>
                  <a:pt x="618014" y="6858007"/>
                  <a:pt x="618014" y="6858007"/>
                  <a:pt x="562644" y="6858007"/>
                </a:cubicBezTo>
                <a:cubicBezTo>
                  <a:pt x="558825" y="6856100"/>
                  <a:pt x="555007" y="6852285"/>
                  <a:pt x="553097" y="6846562"/>
                </a:cubicBezTo>
                <a:cubicBezTo>
                  <a:pt x="549279" y="6840840"/>
                  <a:pt x="549279" y="6835118"/>
                  <a:pt x="549279" y="6829395"/>
                </a:cubicBezTo>
                <a:cubicBezTo>
                  <a:pt x="549279" y="6814136"/>
                  <a:pt x="556916" y="6800783"/>
                  <a:pt x="570281" y="6793153"/>
                </a:cubicBezTo>
                <a:cubicBezTo>
                  <a:pt x="570281" y="6793153"/>
                  <a:pt x="570281" y="6793153"/>
                  <a:pt x="910138" y="6623389"/>
                </a:cubicBezTo>
                <a:cubicBezTo>
                  <a:pt x="919685" y="6617666"/>
                  <a:pt x="930186" y="6616712"/>
                  <a:pt x="939733" y="6619812"/>
                </a:cubicBezTo>
                <a:close/>
                <a:moveTo>
                  <a:pt x="4850594" y="6606634"/>
                </a:moveTo>
                <a:cubicBezTo>
                  <a:pt x="4860350" y="6609734"/>
                  <a:pt x="4868920" y="6616409"/>
                  <a:pt x="4873677" y="6625946"/>
                </a:cubicBezTo>
                <a:cubicBezTo>
                  <a:pt x="4883197" y="6645019"/>
                  <a:pt x="4875583" y="6667906"/>
                  <a:pt x="4856543" y="6677443"/>
                </a:cubicBezTo>
                <a:cubicBezTo>
                  <a:pt x="4856543" y="6677443"/>
                  <a:pt x="4856543" y="6677443"/>
                  <a:pt x="4519613" y="6852914"/>
                </a:cubicBezTo>
                <a:cubicBezTo>
                  <a:pt x="4500580" y="6864357"/>
                  <a:pt x="4477736" y="6856728"/>
                  <a:pt x="4466313" y="6837655"/>
                </a:cubicBezTo>
                <a:cubicBezTo>
                  <a:pt x="4464410" y="6831933"/>
                  <a:pt x="4462507" y="6824304"/>
                  <a:pt x="4462507" y="6818582"/>
                </a:cubicBezTo>
                <a:cubicBezTo>
                  <a:pt x="4462507" y="6805231"/>
                  <a:pt x="4470121" y="6791880"/>
                  <a:pt x="4483447" y="6784251"/>
                </a:cubicBezTo>
                <a:cubicBezTo>
                  <a:pt x="4483447" y="6784251"/>
                  <a:pt x="4483447" y="6784251"/>
                  <a:pt x="4820372" y="6608780"/>
                </a:cubicBezTo>
                <a:cubicBezTo>
                  <a:pt x="4829889" y="6604012"/>
                  <a:pt x="4840835" y="6603535"/>
                  <a:pt x="4850594" y="6606634"/>
                </a:cubicBezTo>
                <a:close/>
                <a:moveTo>
                  <a:pt x="1485698" y="6606634"/>
                </a:moveTo>
                <a:cubicBezTo>
                  <a:pt x="1494978" y="6609734"/>
                  <a:pt x="1503069" y="6616409"/>
                  <a:pt x="1507827" y="6625946"/>
                </a:cubicBezTo>
                <a:cubicBezTo>
                  <a:pt x="1519249" y="6645019"/>
                  <a:pt x="1511635" y="6667906"/>
                  <a:pt x="1492599" y="6677443"/>
                </a:cubicBezTo>
                <a:cubicBezTo>
                  <a:pt x="1492599" y="6677443"/>
                  <a:pt x="1492599" y="6677443"/>
                  <a:pt x="1153761" y="6852914"/>
                </a:cubicBezTo>
                <a:cubicBezTo>
                  <a:pt x="1134725" y="6864357"/>
                  <a:pt x="1111882" y="6856728"/>
                  <a:pt x="1102364" y="6837655"/>
                </a:cubicBezTo>
                <a:cubicBezTo>
                  <a:pt x="1098557" y="6831933"/>
                  <a:pt x="1098557" y="6824304"/>
                  <a:pt x="1098557" y="6818582"/>
                </a:cubicBezTo>
                <a:cubicBezTo>
                  <a:pt x="1098557" y="6805231"/>
                  <a:pt x="1106171" y="6791880"/>
                  <a:pt x="1119496" y="6784251"/>
                </a:cubicBezTo>
                <a:cubicBezTo>
                  <a:pt x="1119496" y="6784251"/>
                  <a:pt x="1119496" y="6784251"/>
                  <a:pt x="1456431" y="6608780"/>
                </a:cubicBezTo>
                <a:cubicBezTo>
                  <a:pt x="1465948" y="6604012"/>
                  <a:pt x="1476418" y="6603535"/>
                  <a:pt x="1485698" y="6606634"/>
                </a:cubicBezTo>
                <a:close/>
                <a:moveTo>
                  <a:pt x="4291129" y="6592973"/>
                </a:moveTo>
                <a:cubicBezTo>
                  <a:pt x="4300416" y="6595593"/>
                  <a:pt x="4308514" y="6601784"/>
                  <a:pt x="4313276" y="6611309"/>
                </a:cubicBezTo>
                <a:cubicBezTo>
                  <a:pt x="4322801" y="6630359"/>
                  <a:pt x="4317086" y="6653219"/>
                  <a:pt x="4298035" y="6662744"/>
                </a:cubicBezTo>
                <a:cubicBezTo>
                  <a:pt x="4298035" y="6662744"/>
                  <a:pt x="4298035" y="6662744"/>
                  <a:pt x="3960866" y="6841814"/>
                </a:cubicBezTo>
                <a:cubicBezTo>
                  <a:pt x="3941817" y="6853244"/>
                  <a:pt x="3918955" y="6845624"/>
                  <a:pt x="3909430" y="6826574"/>
                </a:cubicBezTo>
                <a:cubicBezTo>
                  <a:pt x="3905620" y="6820859"/>
                  <a:pt x="3903713" y="6815144"/>
                  <a:pt x="3903713" y="6809429"/>
                </a:cubicBezTo>
                <a:cubicBezTo>
                  <a:pt x="3903713" y="6796094"/>
                  <a:pt x="3911334" y="6782759"/>
                  <a:pt x="3924671" y="6775139"/>
                </a:cubicBezTo>
                <a:cubicBezTo>
                  <a:pt x="3924671" y="6775139"/>
                  <a:pt x="3924671" y="6775139"/>
                  <a:pt x="4261838" y="6596069"/>
                </a:cubicBezTo>
                <a:cubicBezTo>
                  <a:pt x="4271364" y="6591306"/>
                  <a:pt x="4281843" y="6590354"/>
                  <a:pt x="4291129" y="6592973"/>
                </a:cubicBezTo>
                <a:close/>
                <a:moveTo>
                  <a:pt x="2037015" y="6592973"/>
                </a:moveTo>
                <a:cubicBezTo>
                  <a:pt x="2046302" y="6595592"/>
                  <a:pt x="2054881" y="6601784"/>
                  <a:pt x="2060595" y="6611309"/>
                </a:cubicBezTo>
                <a:cubicBezTo>
                  <a:pt x="2070120" y="6630359"/>
                  <a:pt x="2062500" y="6653219"/>
                  <a:pt x="2043444" y="6662744"/>
                </a:cubicBezTo>
                <a:cubicBezTo>
                  <a:pt x="2043444" y="6662744"/>
                  <a:pt x="2043444" y="6662744"/>
                  <a:pt x="1706255" y="6841814"/>
                </a:cubicBezTo>
                <a:cubicBezTo>
                  <a:pt x="1687205" y="6853244"/>
                  <a:pt x="1664344" y="6845624"/>
                  <a:pt x="1654819" y="6826574"/>
                </a:cubicBezTo>
                <a:cubicBezTo>
                  <a:pt x="1652914" y="6820859"/>
                  <a:pt x="1651009" y="6815144"/>
                  <a:pt x="1651009" y="6809429"/>
                </a:cubicBezTo>
                <a:cubicBezTo>
                  <a:pt x="1651009" y="6796094"/>
                  <a:pt x="1658629" y="6782759"/>
                  <a:pt x="1670059" y="6775139"/>
                </a:cubicBezTo>
                <a:cubicBezTo>
                  <a:pt x="1670059" y="6775139"/>
                  <a:pt x="1670059" y="6775139"/>
                  <a:pt x="2009154" y="6596069"/>
                </a:cubicBezTo>
                <a:cubicBezTo>
                  <a:pt x="2017726" y="6591306"/>
                  <a:pt x="2027728" y="6590354"/>
                  <a:pt x="2037015" y="6592973"/>
                </a:cubicBezTo>
                <a:close/>
                <a:moveTo>
                  <a:pt x="3727789" y="6578033"/>
                </a:moveTo>
                <a:cubicBezTo>
                  <a:pt x="3736844" y="6580647"/>
                  <a:pt x="3744949" y="6586823"/>
                  <a:pt x="3749716" y="6595376"/>
                </a:cubicBezTo>
                <a:cubicBezTo>
                  <a:pt x="3759247" y="6614381"/>
                  <a:pt x="3753527" y="6635287"/>
                  <a:pt x="3734462" y="6646690"/>
                </a:cubicBezTo>
                <a:cubicBezTo>
                  <a:pt x="3734462" y="6646690"/>
                  <a:pt x="3734462" y="6646690"/>
                  <a:pt x="3397032" y="6831042"/>
                </a:cubicBezTo>
                <a:cubicBezTo>
                  <a:pt x="3379870" y="6840544"/>
                  <a:pt x="3356992" y="6832942"/>
                  <a:pt x="3347462" y="6815837"/>
                </a:cubicBezTo>
                <a:cubicBezTo>
                  <a:pt x="3343646" y="6810136"/>
                  <a:pt x="3341741" y="6804434"/>
                  <a:pt x="3341741" y="6798733"/>
                </a:cubicBezTo>
                <a:cubicBezTo>
                  <a:pt x="3341741" y="6785429"/>
                  <a:pt x="3349366" y="6772125"/>
                  <a:pt x="3362712" y="6764523"/>
                </a:cubicBezTo>
                <a:cubicBezTo>
                  <a:pt x="3362712" y="6764523"/>
                  <a:pt x="3362712" y="6764523"/>
                  <a:pt x="3700143" y="6582072"/>
                </a:cubicBezTo>
                <a:cubicBezTo>
                  <a:pt x="3708723" y="6576370"/>
                  <a:pt x="3718732" y="6575420"/>
                  <a:pt x="3727789" y="6578033"/>
                </a:cubicBezTo>
                <a:close/>
                <a:moveTo>
                  <a:pt x="2592701" y="6578033"/>
                </a:moveTo>
                <a:cubicBezTo>
                  <a:pt x="2601757" y="6580646"/>
                  <a:pt x="2609859" y="6586823"/>
                  <a:pt x="2614625" y="6595376"/>
                </a:cubicBezTo>
                <a:cubicBezTo>
                  <a:pt x="2624159" y="6614381"/>
                  <a:pt x="2618439" y="6635287"/>
                  <a:pt x="2599374" y="6646690"/>
                </a:cubicBezTo>
                <a:cubicBezTo>
                  <a:pt x="2599374" y="6646690"/>
                  <a:pt x="2599374" y="6646690"/>
                  <a:pt x="2261929" y="6831042"/>
                </a:cubicBezTo>
                <a:cubicBezTo>
                  <a:pt x="2244770" y="6840544"/>
                  <a:pt x="2221893" y="6832942"/>
                  <a:pt x="2212361" y="6815837"/>
                </a:cubicBezTo>
                <a:cubicBezTo>
                  <a:pt x="2208547" y="6810136"/>
                  <a:pt x="2206641" y="6804434"/>
                  <a:pt x="2206641" y="6798733"/>
                </a:cubicBezTo>
                <a:cubicBezTo>
                  <a:pt x="2206641" y="6785429"/>
                  <a:pt x="2214267" y="6772125"/>
                  <a:pt x="2225706" y="6764523"/>
                </a:cubicBezTo>
                <a:cubicBezTo>
                  <a:pt x="2225706" y="6764523"/>
                  <a:pt x="2225706" y="6764523"/>
                  <a:pt x="2565057" y="6582072"/>
                </a:cubicBezTo>
                <a:cubicBezTo>
                  <a:pt x="2573636" y="6576370"/>
                  <a:pt x="2583648" y="6575420"/>
                  <a:pt x="2592701" y="6578033"/>
                </a:cubicBezTo>
                <a:close/>
                <a:moveTo>
                  <a:pt x="3153211" y="6564138"/>
                </a:moveTo>
                <a:cubicBezTo>
                  <a:pt x="3162241" y="6566511"/>
                  <a:pt x="3170320" y="6572206"/>
                  <a:pt x="3175070" y="6580749"/>
                </a:cubicBezTo>
                <a:cubicBezTo>
                  <a:pt x="3184574" y="6599732"/>
                  <a:pt x="3178873" y="6620614"/>
                  <a:pt x="3161766" y="6630106"/>
                </a:cubicBezTo>
                <a:cubicBezTo>
                  <a:pt x="3161766" y="6630106"/>
                  <a:pt x="3161766" y="6630106"/>
                  <a:pt x="2825350" y="6819941"/>
                </a:cubicBezTo>
                <a:cubicBezTo>
                  <a:pt x="2808242" y="6829432"/>
                  <a:pt x="2785433" y="6823737"/>
                  <a:pt x="2775931" y="6804754"/>
                </a:cubicBezTo>
                <a:cubicBezTo>
                  <a:pt x="2772130" y="6799059"/>
                  <a:pt x="2770229" y="6793364"/>
                  <a:pt x="2770229" y="6787669"/>
                </a:cubicBezTo>
                <a:cubicBezTo>
                  <a:pt x="2770229" y="6774380"/>
                  <a:pt x="2777831" y="6762990"/>
                  <a:pt x="2789236" y="6757295"/>
                </a:cubicBezTo>
                <a:cubicBezTo>
                  <a:pt x="2789236" y="6757295"/>
                  <a:pt x="2789236" y="6757295"/>
                  <a:pt x="3125653" y="6567460"/>
                </a:cubicBezTo>
                <a:cubicBezTo>
                  <a:pt x="3134208" y="6562715"/>
                  <a:pt x="3144185" y="6561765"/>
                  <a:pt x="3153211" y="6564138"/>
                </a:cubicBezTo>
                <a:close/>
                <a:moveTo>
                  <a:pt x="9862101" y="6403755"/>
                </a:moveTo>
                <a:cubicBezTo>
                  <a:pt x="9878927" y="6403933"/>
                  <a:pt x="9895752" y="6414278"/>
                  <a:pt x="9902911" y="6429975"/>
                </a:cubicBezTo>
                <a:cubicBezTo>
                  <a:pt x="9912457" y="6452806"/>
                  <a:pt x="9902911" y="6477539"/>
                  <a:pt x="9880000" y="6487052"/>
                </a:cubicBezTo>
                <a:lnTo>
                  <a:pt x="9540159" y="6637356"/>
                </a:lnTo>
                <a:cubicBezTo>
                  <a:pt x="9517248" y="6646869"/>
                  <a:pt x="9492429" y="6635453"/>
                  <a:pt x="9482882" y="6614525"/>
                </a:cubicBezTo>
                <a:cubicBezTo>
                  <a:pt x="9479064" y="6608817"/>
                  <a:pt x="9479064" y="6603109"/>
                  <a:pt x="9479064" y="6597402"/>
                </a:cubicBezTo>
                <a:cubicBezTo>
                  <a:pt x="9479064" y="6580278"/>
                  <a:pt x="9488610" y="6565058"/>
                  <a:pt x="9505793" y="6557447"/>
                </a:cubicBezTo>
                <a:cubicBezTo>
                  <a:pt x="9505793" y="6557447"/>
                  <a:pt x="9505793" y="6557447"/>
                  <a:pt x="9845634" y="6407144"/>
                </a:cubicBezTo>
                <a:cubicBezTo>
                  <a:pt x="9850884" y="6404766"/>
                  <a:pt x="9856493" y="6403695"/>
                  <a:pt x="9862101" y="6403755"/>
                </a:cubicBezTo>
                <a:close/>
                <a:moveTo>
                  <a:pt x="10444609" y="6390314"/>
                </a:moveTo>
                <a:cubicBezTo>
                  <a:pt x="10460837" y="6389686"/>
                  <a:pt x="10476531" y="6400097"/>
                  <a:pt x="10483665" y="6415894"/>
                </a:cubicBezTo>
                <a:cubicBezTo>
                  <a:pt x="10495078" y="6436955"/>
                  <a:pt x="10483665" y="6463761"/>
                  <a:pt x="10462740" y="6473334"/>
                </a:cubicBezTo>
                <a:cubicBezTo>
                  <a:pt x="10462740" y="6473334"/>
                  <a:pt x="10462740" y="6473334"/>
                  <a:pt x="10124143" y="6624595"/>
                </a:cubicBezTo>
                <a:cubicBezTo>
                  <a:pt x="10101317" y="6634169"/>
                  <a:pt x="10076588" y="6624595"/>
                  <a:pt x="10067076" y="6603534"/>
                </a:cubicBezTo>
                <a:cubicBezTo>
                  <a:pt x="10065174" y="6597790"/>
                  <a:pt x="10063272" y="6592045"/>
                  <a:pt x="10063272" y="6586301"/>
                </a:cubicBezTo>
                <a:cubicBezTo>
                  <a:pt x="10063272" y="6569069"/>
                  <a:pt x="10072783" y="6553752"/>
                  <a:pt x="10088001" y="6546093"/>
                </a:cubicBezTo>
                <a:cubicBezTo>
                  <a:pt x="10088001" y="6546093"/>
                  <a:pt x="10088001" y="6546093"/>
                  <a:pt x="10428500" y="6394832"/>
                </a:cubicBezTo>
                <a:cubicBezTo>
                  <a:pt x="10433731" y="6391960"/>
                  <a:pt x="10439200" y="6390524"/>
                  <a:pt x="10444609" y="6390314"/>
                </a:cubicBezTo>
                <a:close/>
                <a:moveTo>
                  <a:pt x="9283606" y="6390314"/>
                </a:moveTo>
                <a:cubicBezTo>
                  <a:pt x="9300650" y="6389686"/>
                  <a:pt x="9316354" y="6400097"/>
                  <a:pt x="9323493" y="6415894"/>
                </a:cubicBezTo>
                <a:cubicBezTo>
                  <a:pt x="9333011" y="6436955"/>
                  <a:pt x="9323493" y="6463761"/>
                  <a:pt x="9302553" y="6473334"/>
                </a:cubicBezTo>
                <a:cubicBezTo>
                  <a:pt x="9302553" y="6473334"/>
                  <a:pt x="9302553" y="6473334"/>
                  <a:pt x="8961805" y="6624595"/>
                </a:cubicBezTo>
                <a:cubicBezTo>
                  <a:pt x="8940865" y="6634169"/>
                  <a:pt x="8916118" y="6624595"/>
                  <a:pt x="8906600" y="6603534"/>
                </a:cubicBezTo>
                <a:cubicBezTo>
                  <a:pt x="8902793" y="6597790"/>
                  <a:pt x="8902793" y="6592045"/>
                  <a:pt x="8902793" y="6586301"/>
                </a:cubicBezTo>
                <a:cubicBezTo>
                  <a:pt x="8902793" y="6569069"/>
                  <a:pt x="8912311" y="6553752"/>
                  <a:pt x="8927540" y="6546093"/>
                </a:cubicBezTo>
                <a:cubicBezTo>
                  <a:pt x="8927540" y="6546093"/>
                  <a:pt x="8927540" y="6546093"/>
                  <a:pt x="9266384" y="6394832"/>
                </a:cubicBezTo>
                <a:cubicBezTo>
                  <a:pt x="9272095" y="6391960"/>
                  <a:pt x="9277925" y="6390524"/>
                  <a:pt x="9283606" y="6390314"/>
                </a:cubicBezTo>
                <a:close/>
                <a:moveTo>
                  <a:pt x="11020686" y="6377294"/>
                </a:moveTo>
                <a:cubicBezTo>
                  <a:pt x="11037076" y="6376226"/>
                  <a:pt x="11053197" y="6385845"/>
                  <a:pt x="11061795" y="6402947"/>
                </a:cubicBezTo>
                <a:cubicBezTo>
                  <a:pt x="11071348" y="6423849"/>
                  <a:pt x="11061795" y="6448552"/>
                  <a:pt x="11038867" y="6458052"/>
                </a:cubicBezTo>
                <a:cubicBezTo>
                  <a:pt x="11038867" y="6458052"/>
                  <a:pt x="11038867" y="6458052"/>
                  <a:pt x="10698772" y="6611968"/>
                </a:cubicBezTo>
                <a:cubicBezTo>
                  <a:pt x="10677755" y="6621469"/>
                  <a:pt x="10652917" y="6611968"/>
                  <a:pt x="10643363" y="6591066"/>
                </a:cubicBezTo>
                <a:cubicBezTo>
                  <a:pt x="10639542" y="6585365"/>
                  <a:pt x="10639542" y="6579665"/>
                  <a:pt x="10639542" y="6573964"/>
                </a:cubicBezTo>
                <a:cubicBezTo>
                  <a:pt x="10639542" y="6556862"/>
                  <a:pt x="10647185" y="6541661"/>
                  <a:pt x="10664380" y="6534060"/>
                </a:cubicBezTo>
                <a:cubicBezTo>
                  <a:pt x="10664380" y="6534060"/>
                  <a:pt x="10664380" y="6534060"/>
                  <a:pt x="11004475" y="6382045"/>
                </a:cubicBezTo>
                <a:cubicBezTo>
                  <a:pt x="11009729" y="6379195"/>
                  <a:pt x="11015222" y="6377651"/>
                  <a:pt x="11020686" y="6377294"/>
                </a:cubicBezTo>
                <a:close/>
                <a:moveTo>
                  <a:pt x="8711110" y="6377294"/>
                </a:moveTo>
                <a:cubicBezTo>
                  <a:pt x="8727948" y="6376226"/>
                  <a:pt x="8744786" y="6385845"/>
                  <a:pt x="8751951" y="6402947"/>
                </a:cubicBezTo>
                <a:cubicBezTo>
                  <a:pt x="8761504" y="6423849"/>
                  <a:pt x="8751951" y="6448552"/>
                  <a:pt x="8730934" y="6458052"/>
                </a:cubicBezTo>
                <a:cubicBezTo>
                  <a:pt x="8730934" y="6458052"/>
                  <a:pt x="8730934" y="6458052"/>
                  <a:pt x="8388928" y="6611968"/>
                </a:cubicBezTo>
                <a:cubicBezTo>
                  <a:pt x="8367911" y="6621469"/>
                  <a:pt x="8343073" y="6611968"/>
                  <a:pt x="8333519" y="6591066"/>
                </a:cubicBezTo>
                <a:cubicBezTo>
                  <a:pt x="8329698" y="6585365"/>
                  <a:pt x="8329698" y="6579665"/>
                  <a:pt x="8329698" y="6573964"/>
                </a:cubicBezTo>
                <a:cubicBezTo>
                  <a:pt x="8329698" y="6556862"/>
                  <a:pt x="8339251" y="6541661"/>
                  <a:pt x="8354536" y="6534060"/>
                </a:cubicBezTo>
                <a:cubicBezTo>
                  <a:pt x="8354536" y="6534060"/>
                  <a:pt x="8354536" y="6534060"/>
                  <a:pt x="8694631" y="6382045"/>
                </a:cubicBezTo>
                <a:cubicBezTo>
                  <a:pt x="8699885" y="6379195"/>
                  <a:pt x="8705498" y="6377651"/>
                  <a:pt x="8711110" y="6377294"/>
                </a:cubicBezTo>
                <a:close/>
                <a:moveTo>
                  <a:pt x="8145353" y="6364557"/>
                </a:moveTo>
                <a:cubicBezTo>
                  <a:pt x="8162396" y="6363400"/>
                  <a:pt x="8178101" y="6372652"/>
                  <a:pt x="8185240" y="6388309"/>
                </a:cubicBezTo>
                <a:cubicBezTo>
                  <a:pt x="8194758" y="6411083"/>
                  <a:pt x="8185240" y="6435755"/>
                  <a:pt x="8164300" y="6445244"/>
                </a:cubicBezTo>
                <a:cubicBezTo>
                  <a:pt x="8164300" y="6445244"/>
                  <a:pt x="8164300" y="6445244"/>
                  <a:pt x="7825456" y="6600868"/>
                </a:cubicBezTo>
                <a:cubicBezTo>
                  <a:pt x="7804516" y="6610357"/>
                  <a:pt x="7779769" y="6600868"/>
                  <a:pt x="7768347" y="6579991"/>
                </a:cubicBezTo>
                <a:cubicBezTo>
                  <a:pt x="7766443" y="6574298"/>
                  <a:pt x="7764540" y="6568604"/>
                  <a:pt x="7764540" y="6562911"/>
                </a:cubicBezTo>
                <a:cubicBezTo>
                  <a:pt x="7764540" y="6545830"/>
                  <a:pt x="7774058" y="6530647"/>
                  <a:pt x="7789287" y="6523056"/>
                </a:cubicBezTo>
                <a:cubicBezTo>
                  <a:pt x="7789287" y="6523056"/>
                  <a:pt x="7789287" y="6523056"/>
                  <a:pt x="8128131" y="6369331"/>
                </a:cubicBezTo>
                <a:cubicBezTo>
                  <a:pt x="8133842" y="6366484"/>
                  <a:pt x="8139672" y="6364942"/>
                  <a:pt x="8145353" y="6364557"/>
                </a:cubicBezTo>
                <a:close/>
                <a:moveTo>
                  <a:pt x="11589455" y="6364556"/>
                </a:moveTo>
                <a:cubicBezTo>
                  <a:pt x="11605707" y="6363400"/>
                  <a:pt x="11621424" y="6372652"/>
                  <a:pt x="11628568" y="6388309"/>
                </a:cubicBezTo>
                <a:cubicBezTo>
                  <a:pt x="11638093" y="6411083"/>
                  <a:pt x="11630473" y="6435755"/>
                  <a:pt x="11607613" y="6445244"/>
                </a:cubicBezTo>
                <a:cubicBezTo>
                  <a:pt x="11607613" y="6445244"/>
                  <a:pt x="11607613" y="6445244"/>
                  <a:pt x="11268518" y="6600868"/>
                </a:cubicBezTo>
                <a:cubicBezTo>
                  <a:pt x="11247563" y="6610357"/>
                  <a:pt x="11222797" y="6600868"/>
                  <a:pt x="11213272" y="6579991"/>
                </a:cubicBezTo>
                <a:cubicBezTo>
                  <a:pt x="11211367" y="6574298"/>
                  <a:pt x="11209462" y="6568604"/>
                  <a:pt x="11209462" y="6562911"/>
                </a:cubicBezTo>
                <a:cubicBezTo>
                  <a:pt x="11209462" y="6545830"/>
                  <a:pt x="11218987" y="6530647"/>
                  <a:pt x="11234227" y="6523056"/>
                </a:cubicBezTo>
                <a:cubicBezTo>
                  <a:pt x="11234227" y="6523056"/>
                  <a:pt x="11234227" y="6523056"/>
                  <a:pt x="11573322" y="6369331"/>
                </a:cubicBezTo>
                <a:cubicBezTo>
                  <a:pt x="11578561" y="6366484"/>
                  <a:pt x="11584038" y="6364942"/>
                  <a:pt x="11589455" y="6364556"/>
                </a:cubicBezTo>
                <a:close/>
                <a:moveTo>
                  <a:pt x="12139750" y="6353181"/>
                </a:moveTo>
                <a:cubicBezTo>
                  <a:pt x="12139750" y="6353181"/>
                  <a:pt x="12139750" y="6353181"/>
                  <a:pt x="12139750" y="6444739"/>
                </a:cubicBezTo>
                <a:cubicBezTo>
                  <a:pt x="12139750" y="6444739"/>
                  <a:pt x="12139750" y="6444739"/>
                  <a:pt x="11833573" y="6587799"/>
                </a:cubicBezTo>
                <a:cubicBezTo>
                  <a:pt x="11812654" y="6599244"/>
                  <a:pt x="11787932" y="6589706"/>
                  <a:pt x="11778423" y="6568724"/>
                </a:cubicBezTo>
                <a:cubicBezTo>
                  <a:pt x="11774620" y="6563002"/>
                  <a:pt x="11774620" y="6557280"/>
                  <a:pt x="11774620" y="6551557"/>
                </a:cubicBezTo>
                <a:cubicBezTo>
                  <a:pt x="11774620" y="6534390"/>
                  <a:pt x="11782227" y="6519130"/>
                  <a:pt x="11797441" y="6513408"/>
                </a:cubicBezTo>
                <a:lnTo>
                  <a:pt x="12135947" y="6355088"/>
                </a:lnTo>
                <a:cubicBezTo>
                  <a:pt x="12137848" y="6353181"/>
                  <a:pt x="12139750" y="6353181"/>
                  <a:pt x="12139750" y="6353181"/>
                </a:cubicBezTo>
                <a:close/>
                <a:moveTo>
                  <a:pt x="7585725" y="6350302"/>
                </a:moveTo>
                <a:cubicBezTo>
                  <a:pt x="7601977" y="6349140"/>
                  <a:pt x="7617694" y="6358438"/>
                  <a:pt x="7624838" y="6374174"/>
                </a:cubicBezTo>
                <a:cubicBezTo>
                  <a:pt x="7634363" y="6395155"/>
                  <a:pt x="7624838" y="6419951"/>
                  <a:pt x="7605787" y="6429488"/>
                </a:cubicBezTo>
                <a:cubicBezTo>
                  <a:pt x="7605787" y="6429488"/>
                  <a:pt x="7605787" y="6429488"/>
                  <a:pt x="7264788" y="6587800"/>
                </a:cubicBezTo>
                <a:cubicBezTo>
                  <a:pt x="7243832" y="6599244"/>
                  <a:pt x="7219067" y="6589707"/>
                  <a:pt x="7209542" y="6568726"/>
                </a:cubicBezTo>
                <a:cubicBezTo>
                  <a:pt x="7207637" y="6563004"/>
                  <a:pt x="7205732" y="6557282"/>
                  <a:pt x="7205732" y="6551559"/>
                </a:cubicBezTo>
                <a:cubicBezTo>
                  <a:pt x="7205732" y="6534393"/>
                  <a:pt x="7215257" y="6519134"/>
                  <a:pt x="7230497" y="6513412"/>
                </a:cubicBezTo>
                <a:cubicBezTo>
                  <a:pt x="7230497" y="6513412"/>
                  <a:pt x="7230497" y="6513412"/>
                  <a:pt x="7569592" y="6355100"/>
                </a:cubicBezTo>
                <a:cubicBezTo>
                  <a:pt x="7574831" y="6352239"/>
                  <a:pt x="7580308" y="6350689"/>
                  <a:pt x="7585725" y="6350302"/>
                </a:cubicBezTo>
                <a:close/>
                <a:moveTo>
                  <a:pt x="7049044" y="6340183"/>
                </a:moveTo>
                <a:cubicBezTo>
                  <a:pt x="7059045" y="6343525"/>
                  <a:pt x="7067618" y="6350687"/>
                  <a:pt x="7072381" y="6361190"/>
                </a:cubicBezTo>
                <a:cubicBezTo>
                  <a:pt x="7081906" y="6382198"/>
                  <a:pt x="7072381" y="6407025"/>
                  <a:pt x="7051425" y="6416574"/>
                </a:cubicBezTo>
                <a:cubicBezTo>
                  <a:pt x="7051425" y="6416574"/>
                  <a:pt x="7051425" y="6416574"/>
                  <a:pt x="6714236" y="6576995"/>
                </a:cubicBezTo>
                <a:cubicBezTo>
                  <a:pt x="6693280" y="6586544"/>
                  <a:pt x="6668515" y="6578905"/>
                  <a:pt x="6658990" y="6557897"/>
                </a:cubicBezTo>
                <a:cubicBezTo>
                  <a:pt x="6655180" y="6552168"/>
                  <a:pt x="6653275" y="6546438"/>
                  <a:pt x="6653275" y="6540709"/>
                </a:cubicBezTo>
                <a:cubicBezTo>
                  <a:pt x="6653275" y="6523521"/>
                  <a:pt x="6662800" y="6510153"/>
                  <a:pt x="6678040" y="6502514"/>
                </a:cubicBezTo>
                <a:cubicBezTo>
                  <a:pt x="6678040" y="6502514"/>
                  <a:pt x="6678040" y="6502514"/>
                  <a:pt x="7017135" y="6342093"/>
                </a:cubicBezTo>
                <a:cubicBezTo>
                  <a:pt x="7027612" y="6337318"/>
                  <a:pt x="7039043" y="6336841"/>
                  <a:pt x="7049044" y="6340183"/>
                </a:cubicBezTo>
                <a:close/>
                <a:moveTo>
                  <a:pt x="6502912" y="6327426"/>
                </a:moveTo>
                <a:cubicBezTo>
                  <a:pt x="6512921" y="6330743"/>
                  <a:pt x="6521500" y="6337851"/>
                  <a:pt x="6526266" y="6348277"/>
                </a:cubicBezTo>
                <a:cubicBezTo>
                  <a:pt x="6535798" y="6367232"/>
                  <a:pt x="6528172" y="6391874"/>
                  <a:pt x="6507201" y="6401351"/>
                </a:cubicBezTo>
                <a:cubicBezTo>
                  <a:pt x="6507201" y="6401351"/>
                  <a:pt x="6507201" y="6401351"/>
                  <a:pt x="6167854" y="6564366"/>
                </a:cubicBezTo>
                <a:cubicBezTo>
                  <a:pt x="6146884" y="6573844"/>
                  <a:pt x="6122100" y="6566262"/>
                  <a:pt x="6112568" y="6545411"/>
                </a:cubicBezTo>
                <a:cubicBezTo>
                  <a:pt x="6110661" y="6539724"/>
                  <a:pt x="6108755" y="6534038"/>
                  <a:pt x="6108755" y="6528351"/>
                </a:cubicBezTo>
                <a:cubicBezTo>
                  <a:pt x="6108755" y="6513187"/>
                  <a:pt x="6118287" y="6498023"/>
                  <a:pt x="6131632" y="6490441"/>
                </a:cubicBezTo>
                <a:cubicBezTo>
                  <a:pt x="6131632" y="6490441"/>
                  <a:pt x="6131632" y="6490441"/>
                  <a:pt x="6470979" y="6329321"/>
                </a:cubicBezTo>
                <a:cubicBezTo>
                  <a:pt x="6481464" y="6324583"/>
                  <a:pt x="6492903" y="6324109"/>
                  <a:pt x="6502912" y="6327426"/>
                </a:cubicBezTo>
                <a:close/>
                <a:moveTo>
                  <a:pt x="5955853" y="6313176"/>
                </a:moveTo>
                <a:cubicBezTo>
                  <a:pt x="5965384" y="6316510"/>
                  <a:pt x="5973487" y="6323653"/>
                  <a:pt x="5978253" y="6334131"/>
                </a:cubicBezTo>
                <a:cubicBezTo>
                  <a:pt x="5989691" y="6353181"/>
                  <a:pt x="5980159" y="6377946"/>
                  <a:pt x="5961095" y="6387471"/>
                </a:cubicBezTo>
                <a:cubicBezTo>
                  <a:pt x="5961095" y="6387471"/>
                  <a:pt x="5961095" y="6387471"/>
                  <a:pt x="5621756" y="6553206"/>
                </a:cubicBezTo>
                <a:cubicBezTo>
                  <a:pt x="5600786" y="6562731"/>
                  <a:pt x="5576002" y="6553206"/>
                  <a:pt x="5566471" y="6534156"/>
                </a:cubicBezTo>
                <a:cubicBezTo>
                  <a:pt x="5564565" y="6528441"/>
                  <a:pt x="5562658" y="6522726"/>
                  <a:pt x="5562658" y="6517011"/>
                </a:cubicBezTo>
                <a:cubicBezTo>
                  <a:pt x="5562658" y="6501771"/>
                  <a:pt x="5572190" y="6486531"/>
                  <a:pt x="5585535" y="6478911"/>
                </a:cubicBezTo>
                <a:cubicBezTo>
                  <a:pt x="5585535" y="6478911"/>
                  <a:pt x="5585535" y="6478911"/>
                  <a:pt x="5924874" y="6315081"/>
                </a:cubicBezTo>
                <a:cubicBezTo>
                  <a:pt x="5935360" y="6310318"/>
                  <a:pt x="5946321" y="6309842"/>
                  <a:pt x="5955853" y="6313176"/>
                </a:cubicBezTo>
                <a:close/>
                <a:moveTo>
                  <a:pt x="396081" y="6313176"/>
                </a:moveTo>
                <a:cubicBezTo>
                  <a:pt x="405822" y="6316509"/>
                  <a:pt x="414375" y="6323653"/>
                  <a:pt x="419127" y="6334131"/>
                </a:cubicBezTo>
                <a:cubicBezTo>
                  <a:pt x="428631" y="6353181"/>
                  <a:pt x="421028" y="6377946"/>
                  <a:pt x="400120" y="6387471"/>
                </a:cubicBezTo>
                <a:cubicBezTo>
                  <a:pt x="400120" y="6387471"/>
                  <a:pt x="400120" y="6387471"/>
                  <a:pt x="63687" y="6553206"/>
                </a:cubicBezTo>
                <a:cubicBezTo>
                  <a:pt x="42779" y="6562731"/>
                  <a:pt x="18069" y="6553206"/>
                  <a:pt x="8565" y="6534156"/>
                </a:cubicBezTo>
                <a:cubicBezTo>
                  <a:pt x="6665" y="6528441"/>
                  <a:pt x="4764" y="6522726"/>
                  <a:pt x="4764" y="6517011"/>
                </a:cubicBezTo>
                <a:cubicBezTo>
                  <a:pt x="4764" y="6501771"/>
                  <a:pt x="12367" y="6486531"/>
                  <a:pt x="27573" y="6478911"/>
                </a:cubicBezTo>
                <a:cubicBezTo>
                  <a:pt x="27573" y="6478911"/>
                  <a:pt x="27573" y="6478911"/>
                  <a:pt x="365906" y="6315081"/>
                </a:cubicBezTo>
                <a:cubicBezTo>
                  <a:pt x="375410" y="6310318"/>
                  <a:pt x="386339" y="6309842"/>
                  <a:pt x="396081" y="6313176"/>
                </a:cubicBezTo>
                <a:close/>
                <a:moveTo>
                  <a:pt x="5405334" y="6300229"/>
                </a:moveTo>
                <a:cubicBezTo>
                  <a:pt x="5415075" y="6303320"/>
                  <a:pt x="5423628" y="6309980"/>
                  <a:pt x="5429330" y="6319493"/>
                </a:cubicBezTo>
                <a:cubicBezTo>
                  <a:pt x="5438834" y="6340422"/>
                  <a:pt x="5431231" y="6363255"/>
                  <a:pt x="5410323" y="6372768"/>
                </a:cubicBezTo>
                <a:cubicBezTo>
                  <a:pt x="5410323" y="6372768"/>
                  <a:pt x="5410323" y="6372768"/>
                  <a:pt x="5071988" y="6540203"/>
                </a:cubicBezTo>
                <a:cubicBezTo>
                  <a:pt x="5052982" y="6551619"/>
                  <a:pt x="5028275" y="6542105"/>
                  <a:pt x="5018774" y="6523079"/>
                </a:cubicBezTo>
                <a:cubicBezTo>
                  <a:pt x="5016874" y="6517371"/>
                  <a:pt x="5014971" y="6511663"/>
                  <a:pt x="5014971" y="6505955"/>
                </a:cubicBezTo>
                <a:cubicBezTo>
                  <a:pt x="5014971" y="6490733"/>
                  <a:pt x="5022573" y="6475512"/>
                  <a:pt x="5037777" y="6469804"/>
                </a:cubicBezTo>
                <a:cubicBezTo>
                  <a:pt x="5037777" y="6469804"/>
                  <a:pt x="5037777" y="6469804"/>
                  <a:pt x="5374210" y="6302369"/>
                </a:cubicBezTo>
                <a:cubicBezTo>
                  <a:pt x="5384664" y="6297613"/>
                  <a:pt x="5395594" y="6297137"/>
                  <a:pt x="5405334" y="6300229"/>
                </a:cubicBezTo>
                <a:close/>
                <a:moveTo>
                  <a:pt x="940474" y="6300229"/>
                </a:moveTo>
                <a:cubicBezTo>
                  <a:pt x="950252" y="6303320"/>
                  <a:pt x="958837" y="6309980"/>
                  <a:pt x="963607" y="6319493"/>
                </a:cubicBezTo>
                <a:cubicBezTo>
                  <a:pt x="973146" y="6340422"/>
                  <a:pt x="965515" y="6363255"/>
                  <a:pt x="944529" y="6372768"/>
                </a:cubicBezTo>
                <a:cubicBezTo>
                  <a:pt x="944529" y="6372768"/>
                  <a:pt x="944529" y="6372768"/>
                  <a:pt x="606835" y="6540203"/>
                </a:cubicBezTo>
                <a:cubicBezTo>
                  <a:pt x="585849" y="6551619"/>
                  <a:pt x="562954" y="6542105"/>
                  <a:pt x="551507" y="6523079"/>
                </a:cubicBezTo>
                <a:cubicBezTo>
                  <a:pt x="549599" y="6517371"/>
                  <a:pt x="547691" y="6511663"/>
                  <a:pt x="547691" y="6505955"/>
                </a:cubicBezTo>
                <a:cubicBezTo>
                  <a:pt x="547691" y="6490733"/>
                  <a:pt x="557231" y="6475512"/>
                  <a:pt x="570586" y="6469804"/>
                </a:cubicBezTo>
                <a:cubicBezTo>
                  <a:pt x="570586" y="6469804"/>
                  <a:pt x="570586" y="6469804"/>
                  <a:pt x="910187" y="6302369"/>
                </a:cubicBezTo>
                <a:cubicBezTo>
                  <a:pt x="919726" y="6297613"/>
                  <a:pt x="930696" y="6297137"/>
                  <a:pt x="940474" y="6300229"/>
                </a:cubicBezTo>
                <a:close/>
                <a:moveTo>
                  <a:pt x="4851394" y="6285987"/>
                </a:moveTo>
                <a:cubicBezTo>
                  <a:pt x="4860934" y="6289098"/>
                  <a:pt x="4869520" y="6295798"/>
                  <a:pt x="4875244" y="6305369"/>
                </a:cubicBezTo>
                <a:cubicBezTo>
                  <a:pt x="4884787" y="6324513"/>
                  <a:pt x="4877154" y="6349399"/>
                  <a:pt x="4856163" y="6358971"/>
                </a:cubicBezTo>
                <a:cubicBezTo>
                  <a:pt x="4856163" y="6358971"/>
                  <a:pt x="4856163" y="6358971"/>
                  <a:pt x="4518476" y="6529347"/>
                </a:cubicBezTo>
                <a:cubicBezTo>
                  <a:pt x="4497490" y="6538919"/>
                  <a:pt x="4474595" y="6531261"/>
                  <a:pt x="4465055" y="6512118"/>
                </a:cubicBezTo>
                <a:cubicBezTo>
                  <a:pt x="4461240" y="6506375"/>
                  <a:pt x="4459332" y="6500632"/>
                  <a:pt x="4459332" y="6494889"/>
                </a:cubicBezTo>
                <a:cubicBezTo>
                  <a:pt x="4459332" y="6479574"/>
                  <a:pt x="4468872" y="6466174"/>
                  <a:pt x="4482226" y="6458517"/>
                </a:cubicBezTo>
                <a:cubicBezTo>
                  <a:pt x="4482226" y="6458517"/>
                  <a:pt x="4482226" y="6458517"/>
                  <a:pt x="4821817" y="6288140"/>
                </a:cubicBezTo>
                <a:cubicBezTo>
                  <a:pt x="4831356" y="6283355"/>
                  <a:pt x="4841852" y="6282876"/>
                  <a:pt x="4851394" y="6285987"/>
                </a:cubicBezTo>
                <a:close/>
                <a:moveTo>
                  <a:pt x="1486674" y="6285987"/>
                </a:moveTo>
                <a:cubicBezTo>
                  <a:pt x="1496423" y="6289098"/>
                  <a:pt x="1504982" y="6295798"/>
                  <a:pt x="1509738" y="6305369"/>
                </a:cubicBezTo>
                <a:cubicBezTo>
                  <a:pt x="1519249" y="6324513"/>
                  <a:pt x="1511640" y="6349399"/>
                  <a:pt x="1492618" y="6358971"/>
                </a:cubicBezTo>
                <a:cubicBezTo>
                  <a:pt x="1492618" y="6358971"/>
                  <a:pt x="1492618" y="6358971"/>
                  <a:pt x="1154033" y="6529347"/>
                </a:cubicBezTo>
                <a:cubicBezTo>
                  <a:pt x="1135012" y="6538919"/>
                  <a:pt x="1110284" y="6531261"/>
                  <a:pt x="1100773" y="6512118"/>
                </a:cubicBezTo>
                <a:cubicBezTo>
                  <a:pt x="1098871" y="6506375"/>
                  <a:pt x="1096968" y="6500632"/>
                  <a:pt x="1096968" y="6494889"/>
                </a:cubicBezTo>
                <a:cubicBezTo>
                  <a:pt x="1096968" y="6479574"/>
                  <a:pt x="1104577" y="6466174"/>
                  <a:pt x="1117892" y="6458517"/>
                </a:cubicBezTo>
                <a:cubicBezTo>
                  <a:pt x="1117892" y="6458517"/>
                  <a:pt x="1117892" y="6458517"/>
                  <a:pt x="1456477" y="6288140"/>
                </a:cubicBezTo>
                <a:cubicBezTo>
                  <a:pt x="1465988" y="6283355"/>
                  <a:pt x="1476926" y="6282876"/>
                  <a:pt x="1486674" y="6285987"/>
                </a:cubicBezTo>
                <a:close/>
                <a:moveTo>
                  <a:pt x="4292528" y="6273233"/>
                </a:moveTo>
                <a:cubicBezTo>
                  <a:pt x="4302038" y="6276321"/>
                  <a:pt x="4310122" y="6282972"/>
                  <a:pt x="4314879" y="6292474"/>
                </a:cubicBezTo>
                <a:cubicBezTo>
                  <a:pt x="4324390" y="6311478"/>
                  <a:pt x="4316781" y="6334282"/>
                  <a:pt x="4297758" y="6345684"/>
                </a:cubicBezTo>
                <a:cubicBezTo>
                  <a:pt x="4297758" y="6345684"/>
                  <a:pt x="4297758" y="6345684"/>
                  <a:pt x="3961098" y="6516717"/>
                </a:cubicBezTo>
                <a:cubicBezTo>
                  <a:pt x="3940171" y="6526219"/>
                  <a:pt x="3917345" y="6518617"/>
                  <a:pt x="3907833" y="6499614"/>
                </a:cubicBezTo>
                <a:cubicBezTo>
                  <a:pt x="3904029" y="6493913"/>
                  <a:pt x="3902127" y="6488211"/>
                  <a:pt x="3902127" y="6482510"/>
                </a:cubicBezTo>
                <a:cubicBezTo>
                  <a:pt x="3902127" y="6467307"/>
                  <a:pt x="3911637" y="6454005"/>
                  <a:pt x="3924953" y="6446403"/>
                </a:cubicBezTo>
                <a:cubicBezTo>
                  <a:pt x="3924953" y="6446403"/>
                  <a:pt x="3924953" y="6446403"/>
                  <a:pt x="4261616" y="6275371"/>
                </a:cubicBezTo>
                <a:cubicBezTo>
                  <a:pt x="4272079" y="6270620"/>
                  <a:pt x="4283017" y="6270145"/>
                  <a:pt x="4292528" y="6273233"/>
                </a:cubicBezTo>
                <a:close/>
                <a:moveTo>
                  <a:pt x="2038415" y="6273233"/>
                </a:moveTo>
                <a:cubicBezTo>
                  <a:pt x="2047931" y="6276321"/>
                  <a:pt x="2056491" y="6282972"/>
                  <a:pt x="2062198" y="6292474"/>
                </a:cubicBezTo>
                <a:cubicBezTo>
                  <a:pt x="2071708" y="6311478"/>
                  <a:pt x="2064099" y="6334282"/>
                  <a:pt x="2045072" y="6345684"/>
                </a:cubicBezTo>
                <a:cubicBezTo>
                  <a:pt x="2045072" y="6345684"/>
                  <a:pt x="2045072" y="6345684"/>
                  <a:pt x="1706487" y="6516717"/>
                </a:cubicBezTo>
                <a:cubicBezTo>
                  <a:pt x="1687465" y="6526219"/>
                  <a:pt x="1662737" y="6518617"/>
                  <a:pt x="1653226" y="6499614"/>
                </a:cubicBezTo>
                <a:cubicBezTo>
                  <a:pt x="1651324" y="6493913"/>
                  <a:pt x="1649422" y="6488211"/>
                  <a:pt x="1649422" y="6482510"/>
                </a:cubicBezTo>
                <a:cubicBezTo>
                  <a:pt x="1649422" y="6467307"/>
                  <a:pt x="1657031" y="6454005"/>
                  <a:pt x="1670346" y="6446403"/>
                </a:cubicBezTo>
                <a:cubicBezTo>
                  <a:pt x="1670346" y="6446403"/>
                  <a:pt x="1670346" y="6446403"/>
                  <a:pt x="2008931" y="6275371"/>
                </a:cubicBezTo>
                <a:cubicBezTo>
                  <a:pt x="2018442" y="6270620"/>
                  <a:pt x="2028904" y="6270145"/>
                  <a:pt x="2038415" y="6273233"/>
                </a:cubicBezTo>
                <a:close/>
                <a:moveTo>
                  <a:pt x="3729186" y="6260524"/>
                </a:moveTo>
                <a:cubicBezTo>
                  <a:pt x="3738467" y="6263608"/>
                  <a:pt x="3746557" y="6270252"/>
                  <a:pt x="3751317" y="6279742"/>
                </a:cubicBezTo>
                <a:cubicBezTo>
                  <a:pt x="3760836" y="6298723"/>
                  <a:pt x="3755126" y="6321500"/>
                  <a:pt x="3736088" y="6330991"/>
                </a:cubicBezTo>
                <a:cubicBezTo>
                  <a:pt x="3736088" y="6330991"/>
                  <a:pt x="3736088" y="6330991"/>
                  <a:pt x="3397264" y="6505616"/>
                </a:cubicBezTo>
                <a:cubicBezTo>
                  <a:pt x="3378225" y="6515107"/>
                  <a:pt x="3355383" y="6507514"/>
                  <a:pt x="3345866" y="6488533"/>
                </a:cubicBezTo>
                <a:cubicBezTo>
                  <a:pt x="3342057" y="6482839"/>
                  <a:pt x="3340155" y="6477145"/>
                  <a:pt x="3340155" y="6469552"/>
                </a:cubicBezTo>
                <a:cubicBezTo>
                  <a:pt x="3340155" y="6456266"/>
                  <a:pt x="3347765" y="6442979"/>
                  <a:pt x="3361094" y="6435386"/>
                </a:cubicBezTo>
                <a:cubicBezTo>
                  <a:pt x="3361094" y="6435386"/>
                  <a:pt x="3361094" y="6435386"/>
                  <a:pt x="3699919" y="6262659"/>
                </a:cubicBezTo>
                <a:cubicBezTo>
                  <a:pt x="3709437" y="6257914"/>
                  <a:pt x="3719905" y="6257440"/>
                  <a:pt x="3729186" y="6260524"/>
                </a:cubicBezTo>
                <a:close/>
                <a:moveTo>
                  <a:pt x="2595567" y="6260524"/>
                </a:moveTo>
                <a:cubicBezTo>
                  <a:pt x="2604884" y="6263608"/>
                  <a:pt x="2613003" y="6270252"/>
                  <a:pt x="2617780" y="6279742"/>
                </a:cubicBezTo>
                <a:cubicBezTo>
                  <a:pt x="2627334" y="6298723"/>
                  <a:pt x="2621601" y="6321500"/>
                  <a:pt x="2600583" y="6330991"/>
                </a:cubicBezTo>
                <a:cubicBezTo>
                  <a:pt x="2600583" y="6330991"/>
                  <a:pt x="2600583" y="6330991"/>
                  <a:pt x="2262377" y="6505616"/>
                </a:cubicBezTo>
                <a:cubicBezTo>
                  <a:pt x="2243270" y="6515107"/>
                  <a:pt x="2220340" y="6507514"/>
                  <a:pt x="2210786" y="6488533"/>
                </a:cubicBezTo>
                <a:cubicBezTo>
                  <a:pt x="2206965" y="6482839"/>
                  <a:pt x="2205054" y="6477145"/>
                  <a:pt x="2205054" y="6469552"/>
                </a:cubicBezTo>
                <a:cubicBezTo>
                  <a:pt x="2205054" y="6456266"/>
                  <a:pt x="2212697" y="6442979"/>
                  <a:pt x="2226073" y="6435386"/>
                </a:cubicBezTo>
                <a:cubicBezTo>
                  <a:pt x="2226073" y="6435386"/>
                  <a:pt x="2226073" y="6435386"/>
                  <a:pt x="2566189" y="6262659"/>
                </a:cubicBezTo>
                <a:cubicBezTo>
                  <a:pt x="2575743" y="6257914"/>
                  <a:pt x="2586252" y="6257440"/>
                  <a:pt x="2595567" y="6260524"/>
                </a:cubicBezTo>
                <a:close/>
                <a:moveTo>
                  <a:pt x="3155659" y="6245326"/>
                </a:moveTo>
                <a:cubicBezTo>
                  <a:pt x="3164974" y="6247952"/>
                  <a:pt x="3173095" y="6254158"/>
                  <a:pt x="3177874" y="6263706"/>
                </a:cubicBezTo>
                <a:cubicBezTo>
                  <a:pt x="3189337" y="6282802"/>
                  <a:pt x="3181694" y="6305717"/>
                  <a:pt x="3162585" y="6317174"/>
                </a:cubicBezTo>
                <a:cubicBezTo>
                  <a:pt x="3162585" y="6317174"/>
                  <a:pt x="3162585" y="6317174"/>
                  <a:pt x="2822468" y="6492858"/>
                </a:cubicBezTo>
                <a:cubicBezTo>
                  <a:pt x="2805269" y="6502406"/>
                  <a:pt x="2780431" y="6496677"/>
                  <a:pt x="2770875" y="6477581"/>
                </a:cubicBezTo>
                <a:cubicBezTo>
                  <a:pt x="2768965" y="6471852"/>
                  <a:pt x="2767055" y="6466123"/>
                  <a:pt x="2767055" y="6458485"/>
                </a:cubicBezTo>
                <a:cubicBezTo>
                  <a:pt x="2767055" y="6445118"/>
                  <a:pt x="2774698" y="6431751"/>
                  <a:pt x="2788072" y="6426022"/>
                </a:cubicBezTo>
                <a:cubicBezTo>
                  <a:pt x="2788072" y="6426022"/>
                  <a:pt x="2788072" y="6426022"/>
                  <a:pt x="3126282" y="6248429"/>
                </a:cubicBezTo>
                <a:cubicBezTo>
                  <a:pt x="3135836" y="6243655"/>
                  <a:pt x="3146345" y="6242700"/>
                  <a:pt x="3155659" y="6245326"/>
                </a:cubicBezTo>
                <a:close/>
                <a:moveTo>
                  <a:pt x="9874931" y="6079814"/>
                </a:moveTo>
                <a:cubicBezTo>
                  <a:pt x="9884902" y="6083147"/>
                  <a:pt x="9893449" y="6090291"/>
                  <a:pt x="9898198" y="6100769"/>
                </a:cubicBezTo>
                <a:cubicBezTo>
                  <a:pt x="9907695" y="6119819"/>
                  <a:pt x="9900098" y="6144584"/>
                  <a:pt x="9879205" y="6154109"/>
                </a:cubicBezTo>
                <a:cubicBezTo>
                  <a:pt x="9879205" y="6154109"/>
                  <a:pt x="9879205" y="6154109"/>
                  <a:pt x="9541119" y="6319844"/>
                </a:cubicBezTo>
                <a:cubicBezTo>
                  <a:pt x="9522126" y="6329369"/>
                  <a:pt x="9497434" y="6319844"/>
                  <a:pt x="9487937" y="6300794"/>
                </a:cubicBezTo>
                <a:cubicBezTo>
                  <a:pt x="9484138" y="6295079"/>
                  <a:pt x="9482239" y="6287459"/>
                  <a:pt x="9482239" y="6281744"/>
                </a:cubicBezTo>
                <a:cubicBezTo>
                  <a:pt x="9482239" y="6266504"/>
                  <a:pt x="9491736" y="6253169"/>
                  <a:pt x="9506931" y="6245549"/>
                </a:cubicBezTo>
                <a:cubicBezTo>
                  <a:pt x="9506931" y="6245549"/>
                  <a:pt x="9506931" y="6245549"/>
                  <a:pt x="9843117" y="6081719"/>
                </a:cubicBezTo>
                <a:cubicBezTo>
                  <a:pt x="9853564" y="6076956"/>
                  <a:pt x="9864959" y="6076480"/>
                  <a:pt x="9874931" y="6079814"/>
                </a:cubicBezTo>
                <a:close/>
                <a:moveTo>
                  <a:pt x="10459016" y="6066240"/>
                </a:moveTo>
                <a:cubicBezTo>
                  <a:pt x="10469025" y="6069812"/>
                  <a:pt x="10477604" y="6076956"/>
                  <a:pt x="10482370" y="6086481"/>
                </a:cubicBezTo>
                <a:cubicBezTo>
                  <a:pt x="10491902" y="6107436"/>
                  <a:pt x="10484276" y="6132201"/>
                  <a:pt x="10463305" y="6141726"/>
                </a:cubicBezTo>
                <a:cubicBezTo>
                  <a:pt x="10463305" y="6141726"/>
                  <a:pt x="10463305" y="6141726"/>
                  <a:pt x="10123959" y="6305556"/>
                </a:cubicBezTo>
                <a:cubicBezTo>
                  <a:pt x="10102988" y="6315081"/>
                  <a:pt x="10080111" y="6307461"/>
                  <a:pt x="10068672" y="6286506"/>
                </a:cubicBezTo>
                <a:cubicBezTo>
                  <a:pt x="10066765" y="6280791"/>
                  <a:pt x="10064859" y="6275076"/>
                  <a:pt x="10064859" y="6269361"/>
                </a:cubicBezTo>
                <a:cubicBezTo>
                  <a:pt x="10064859" y="6254121"/>
                  <a:pt x="10074391" y="6238881"/>
                  <a:pt x="10087736" y="6231261"/>
                </a:cubicBezTo>
                <a:cubicBezTo>
                  <a:pt x="10087736" y="6231261"/>
                  <a:pt x="10087736" y="6231261"/>
                  <a:pt x="10427083" y="6067431"/>
                </a:cubicBezTo>
                <a:cubicBezTo>
                  <a:pt x="10437569" y="6062668"/>
                  <a:pt x="10449007" y="6062668"/>
                  <a:pt x="10459016" y="6066240"/>
                </a:cubicBezTo>
                <a:close/>
                <a:moveTo>
                  <a:pt x="9297823" y="6066240"/>
                </a:moveTo>
                <a:cubicBezTo>
                  <a:pt x="9307594" y="6069812"/>
                  <a:pt x="9316172" y="6076956"/>
                  <a:pt x="9321892" y="6086481"/>
                </a:cubicBezTo>
                <a:cubicBezTo>
                  <a:pt x="9331424" y="6107436"/>
                  <a:pt x="9321892" y="6132201"/>
                  <a:pt x="9302827" y="6141726"/>
                </a:cubicBezTo>
                <a:cubicBezTo>
                  <a:pt x="9302827" y="6141726"/>
                  <a:pt x="9302827" y="6141726"/>
                  <a:pt x="8963481" y="6305556"/>
                </a:cubicBezTo>
                <a:cubicBezTo>
                  <a:pt x="8942510" y="6315081"/>
                  <a:pt x="8917726" y="6307461"/>
                  <a:pt x="8908194" y="6286506"/>
                </a:cubicBezTo>
                <a:cubicBezTo>
                  <a:pt x="8906287" y="6280791"/>
                  <a:pt x="8904381" y="6275076"/>
                  <a:pt x="8904381" y="6269361"/>
                </a:cubicBezTo>
                <a:cubicBezTo>
                  <a:pt x="8904381" y="6254121"/>
                  <a:pt x="8912007" y="6238881"/>
                  <a:pt x="8927258" y="6231261"/>
                </a:cubicBezTo>
                <a:cubicBezTo>
                  <a:pt x="8927258" y="6231261"/>
                  <a:pt x="8927258" y="6231261"/>
                  <a:pt x="9266605" y="6067431"/>
                </a:cubicBezTo>
                <a:cubicBezTo>
                  <a:pt x="9277091" y="6062668"/>
                  <a:pt x="9288053" y="6062668"/>
                  <a:pt x="9297823" y="6066240"/>
                </a:cubicBezTo>
                <a:close/>
                <a:moveTo>
                  <a:pt x="11018858" y="6051844"/>
                </a:moveTo>
                <a:cubicBezTo>
                  <a:pt x="11034272" y="6050683"/>
                  <a:pt x="11049953" y="6059970"/>
                  <a:pt x="11057081" y="6075686"/>
                </a:cubicBezTo>
                <a:cubicBezTo>
                  <a:pt x="11066585" y="6094736"/>
                  <a:pt x="11058982" y="6119501"/>
                  <a:pt x="11038074" y="6129026"/>
                </a:cubicBezTo>
                <a:cubicBezTo>
                  <a:pt x="11038074" y="6129026"/>
                  <a:pt x="11038074" y="6129026"/>
                  <a:pt x="10699740" y="6292856"/>
                </a:cubicBezTo>
                <a:cubicBezTo>
                  <a:pt x="10680732" y="6302381"/>
                  <a:pt x="10656022" y="6294761"/>
                  <a:pt x="10646519" y="6273806"/>
                </a:cubicBezTo>
                <a:cubicBezTo>
                  <a:pt x="10642717" y="6268091"/>
                  <a:pt x="10642717" y="6262376"/>
                  <a:pt x="10642717" y="6256661"/>
                </a:cubicBezTo>
                <a:cubicBezTo>
                  <a:pt x="10642717" y="6241421"/>
                  <a:pt x="10650320" y="6226181"/>
                  <a:pt x="10665526" y="6220466"/>
                </a:cubicBezTo>
                <a:cubicBezTo>
                  <a:pt x="10665526" y="6220466"/>
                  <a:pt x="10665526" y="6220466"/>
                  <a:pt x="11003860" y="6056636"/>
                </a:cubicBezTo>
                <a:cubicBezTo>
                  <a:pt x="11008612" y="6053778"/>
                  <a:pt x="11013720" y="6052230"/>
                  <a:pt x="11018858" y="6051844"/>
                </a:cubicBezTo>
                <a:close/>
                <a:moveTo>
                  <a:pt x="8710944" y="6051843"/>
                </a:moveTo>
                <a:cubicBezTo>
                  <a:pt x="8726672" y="6050683"/>
                  <a:pt x="8741328" y="6059970"/>
                  <a:pt x="8748477" y="6075686"/>
                </a:cubicBezTo>
                <a:cubicBezTo>
                  <a:pt x="8759916" y="6094736"/>
                  <a:pt x="8750384" y="6119501"/>
                  <a:pt x="8731319" y="6129026"/>
                </a:cubicBezTo>
                <a:cubicBezTo>
                  <a:pt x="8731319" y="6129026"/>
                  <a:pt x="8731319" y="6129026"/>
                  <a:pt x="8391973" y="6292856"/>
                </a:cubicBezTo>
                <a:cubicBezTo>
                  <a:pt x="8371002" y="6302381"/>
                  <a:pt x="8346218" y="6294761"/>
                  <a:pt x="8336686" y="6273806"/>
                </a:cubicBezTo>
                <a:cubicBezTo>
                  <a:pt x="8334779" y="6268091"/>
                  <a:pt x="8332873" y="6262376"/>
                  <a:pt x="8332873" y="6256661"/>
                </a:cubicBezTo>
                <a:cubicBezTo>
                  <a:pt x="8332873" y="6241421"/>
                  <a:pt x="8340499" y="6226181"/>
                  <a:pt x="8355750" y="6220466"/>
                </a:cubicBezTo>
                <a:cubicBezTo>
                  <a:pt x="8355750" y="6220466"/>
                  <a:pt x="8355750" y="6220466"/>
                  <a:pt x="8695097" y="6056636"/>
                </a:cubicBezTo>
                <a:cubicBezTo>
                  <a:pt x="8700340" y="6053778"/>
                  <a:pt x="8705702" y="6052230"/>
                  <a:pt x="8710944" y="6051843"/>
                </a:cubicBezTo>
                <a:close/>
                <a:moveTo>
                  <a:pt x="11603954" y="6041714"/>
                </a:moveTo>
                <a:cubicBezTo>
                  <a:pt x="11613696" y="6045048"/>
                  <a:pt x="11622249" y="6052191"/>
                  <a:pt x="11627001" y="6062669"/>
                </a:cubicBezTo>
                <a:cubicBezTo>
                  <a:pt x="11636505" y="6083624"/>
                  <a:pt x="11628902" y="6106484"/>
                  <a:pt x="11607994" y="6117914"/>
                </a:cubicBezTo>
                <a:cubicBezTo>
                  <a:pt x="11607994" y="6117914"/>
                  <a:pt x="11607994" y="6117914"/>
                  <a:pt x="11271560" y="6281744"/>
                </a:cubicBezTo>
                <a:cubicBezTo>
                  <a:pt x="11250652" y="6291269"/>
                  <a:pt x="11225942" y="6281744"/>
                  <a:pt x="11216439" y="6262694"/>
                </a:cubicBezTo>
                <a:cubicBezTo>
                  <a:pt x="11212637" y="6256979"/>
                  <a:pt x="11212637" y="6251264"/>
                  <a:pt x="11212637" y="6243644"/>
                </a:cubicBezTo>
                <a:cubicBezTo>
                  <a:pt x="11212637" y="6228404"/>
                  <a:pt x="11220240" y="6215069"/>
                  <a:pt x="11235446" y="6207449"/>
                </a:cubicBezTo>
                <a:cubicBezTo>
                  <a:pt x="11235446" y="6207449"/>
                  <a:pt x="11235446" y="6207449"/>
                  <a:pt x="11573780" y="6043619"/>
                </a:cubicBezTo>
                <a:cubicBezTo>
                  <a:pt x="11583284" y="6038856"/>
                  <a:pt x="11594213" y="6038380"/>
                  <a:pt x="11603954" y="6041714"/>
                </a:cubicBezTo>
                <a:close/>
                <a:moveTo>
                  <a:pt x="8160285" y="6041714"/>
                </a:moveTo>
                <a:cubicBezTo>
                  <a:pt x="8170293" y="6045048"/>
                  <a:pt x="8178872" y="6052191"/>
                  <a:pt x="8183639" y="6062669"/>
                </a:cubicBezTo>
                <a:cubicBezTo>
                  <a:pt x="8193171" y="6083624"/>
                  <a:pt x="8183639" y="6106484"/>
                  <a:pt x="8164574" y="6117914"/>
                </a:cubicBezTo>
                <a:cubicBezTo>
                  <a:pt x="8164574" y="6117914"/>
                  <a:pt x="8164574" y="6117914"/>
                  <a:pt x="7825227" y="6281744"/>
                </a:cubicBezTo>
                <a:cubicBezTo>
                  <a:pt x="7804257" y="6291269"/>
                  <a:pt x="7781379" y="6281744"/>
                  <a:pt x="7769941" y="6262694"/>
                </a:cubicBezTo>
                <a:cubicBezTo>
                  <a:pt x="7768034" y="6256979"/>
                  <a:pt x="7766128" y="6251264"/>
                  <a:pt x="7766128" y="6243644"/>
                </a:cubicBezTo>
                <a:cubicBezTo>
                  <a:pt x="7766128" y="6228404"/>
                  <a:pt x="7775660" y="6215069"/>
                  <a:pt x="7789005" y="6207449"/>
                </a:cubicBezTo>
                <a:cubicBezTo>
                  <a:pt x="7789005" y="6207449"/>
                  <a:pt x="7789005" y="6207449"/>
                  <a:pt x="8128352" y="6043619"/>
                </a:cubicBezTo>
                <a:cubicBezTo>
                  <a:pt x="8138837" y="6038856"/>
                  <a:pt x="8150276" y="6038380"/>
                  <a:pt x="8160285" y="6041714"/>
                </a:cubicBezTo>
                <a:close/>
                <a:moveTo>
                  <a:pt x="12135947" y="6029331"/>
                </a:moveTo>
                <a:cubicBezTo>
                  <a:pt x="12137848" y="6029331"/>
                  <a:pt x="12139750" y="6029331"/>
                  <a:pt x="12139750" y="6029331"/>
                </a:cubicBezTo>
                <a:cubicBezTo>
                  <a:pt x="12139750" y="6029331"/>
                  <a:pt x="12139750" y="6029331"/>
                  <a:pt x="12139750" y="6118866"/>
                </a:cubicBezTo>
                <a:cubicBezTo>
                  <a:pt x="12139750" y="6118866"/>
                  <a:pt x="12139750" y="6118866"/>
                  <a:pt x="11833573" y="6267456"/>
                </a:cubicBezTo>
                <a:cubicBezTo>
                  <a:pt x="11814556" y="6276981"/>
                  <a:pt x="11789834" y="6269361"/>
                  <a:pt x="11780325" y="6248406"/>
                </a:cubicBezTo>
                <a:cubicBezTo>
                  <a:pt x="11776522" y="6242691"/>
                  <a:pt x="11774620" y="6236976"/>
                  <a:pt x="11774620" y="6231261"/>
                </a:cubicBezTo>
                <a:cubicBezTo>
                  <a:pt x="11774620" y="6216021"/>
                  <a:pt x="11784129" y="6200781"/>
                  <a:pt x="11797441" y="6195066"/>
                </a:cubicBezTo>
                <a:close/>
                <a:moveTo>
                  <a:pt x="7599808" y="6028140"/>
                </a:moveTo>
                <a:cubicBezTo>
                  <a:pt x="7609579" y="6031712"/>
                  <a:pt x="7618158" y="6038856"/>
                  <a:pt x="7622924" y="6048381"/>
                </a:cubicBezTo>
                <a:cubicBezTo>
                  <a:pt x="7634363" y="6069336"/>
                  <a:pt x="7624831" y="6094101"/>
                  <a:pt x="7603860" y="6103626"/>
                </a:cubicBezTo>
                <a:cubicBezTo>
                  <a:pt x="7603860" y="6103626"/>
                  <a:pt x="7603860" y="6103626"/>
                  <a:pt x="7266419" y="6267456"/>
                </a:cubicBezTo>
                <a:cubicBezTo>
                  <a:pt x="7245449" y="6276981"/>
                  <a:pt x="7220665" y="6269361"/>
                  <a:pt x="7211133" y="6248406"/>
                </a:cubicBezTo>
                <a:cubicBezTo>
                  <a:pt x="7209226" y="6242691"/>
                  <a:pt x="7207320" y="6236976"/>
                  <a:pt x="7207320" y="6231261"/>
                </a:cubicBezTo>
                <a:cubicBezTo>
                  <a:pt x="7207320" y="6216021"/>
                  <a:pt x="7214946" y="6200781"/>
                  <a:pt x="7230197" y="6195066"/>
                </a:cubicBezTo>
                <a:cubicBezTo>
                  <a:pt x="7230197" y="6195066"/>
                  <a:pt x="7230197" y="6195066"/>
                  <a:pt x="7569544" y="6029331"/>
                </a:cubicBezTo>
                <a:cubicBezTo>
                  <a:pt x="7579076" y="6024568"/>
                  <a:pt x="7590038" y="6024568"/>
                  <a:pt x="7599808" y="6028140"/>
                </a:cubicBezTo>
                <a:close/>
                <a:moveTo>
                  <a:pt x="7047350" y="6016314"/>
                </a:moveTo>
                <a:cubicBezTo>
                  <a:pt x="7057121" y="6019648"/>
                  <a:pt x="7065700" y="6026791"/>
                  <a:pt x="7070466" y="6037269"/>
                </a:cubicBezTo>
                <a:cubicBezTo>
                  <a:pt x="7081905" y="6056319"/>
                  <a:pt x="7072373" y="6081084"/>
                  <a:pt x="7051402" y="6090609"/>
                </a:cubicBezTo>
                <a:cubicBezTo>
                  <a:pt x="7051402" y="6090609"/>
                  <a:pt x="7051402" y="6090609"/>
                  <a:pt x="6713961" y="6254439"/>
                </a:cubicBezTo>
                <a:cubicBezTo>
                  <a:pt x="6692991" y="6265869"/>
                  <a:pt x="6668207" y="6256344"/>
                  <a:pt x="6658675" y="6235389"/>
                </a:cubicBezTo>
                <a:cubicBezTo>
                  <a:pt x="6656768" y="6229674"/>
                  <a:pt x="6654862" y="6223959"/>
                  <a:pt x="6654862" y="6218244"/>
                </a:cubicBezTo>
                <a:cubicBezTo>
                  <a:pt x="6654862" y="6203004"/>
                  <a:pt x="6662488" y="6189669"/>
                  <a:pt x="6677739" y="6182049"/>
                </a:cubicBezTo>
                <a:cubicBezTo>
                  <a:pt x="6677739" y="6182049"/>
                  <a:pt x="6677739" y="6182049"/>
                  <a:pt x="7017086" y="6018219"/>
                </a:cubicBezTo>
                <a:cubicBezTo>
                  <a:pt x="7026618" y="6013456"/>
                  <a:pt x="7037580" y="6012980"/>
                  <a:pt x="7047350" y="6016314"/>
                </a:cubicBezTo>
                <a:close/>
                <a:moveTo>
                  <a:pt x="6502912" y="6003613"/>
                </a:moveTo>
                <a:cubicBezTo>
                  <a:pt x="6512921" y="6006947"/>
                  <a:pt x="6521500" y="6014090"/>
                  <a:pt x="6526266" y="6024568"/>
                </a:cubicBezTo>
                <a:cubicBezTo>
                  <a:pt x="6535798" y="6045523"/>
                  <a:pt x="6526266" y="6070288"/>
                  <a:pt x="6507201" y="6079813"/>
                </a:cubicBezTo>
                <a:cubicBezTo>
                  <a:pt x="6507201" y="6079813"/>
                  <a:pt x="6507201" y="6079813"/>
                  <a:pt x="6167854" y="6243643"/>
                </a:cubicBezTo>
                <a:cubicBezTo>
                  <a:pt x="6146884" y="6253168"/>
                  <a:pt x="6124006" y="6243643"/>
                  <a:pt x="6112568" y="6224593"/>
                </a:cubicBezTo>
                <a:cubicBezTo>
                  <a:pt x="6110661" y="6218878"/>
                  <a:pt x="6108755" y="6213163"/>
                  <a:pt x="6108755" y="6207448"/>
                </a:cubicBezTo>
                <a:cubicBezTo>
                  <a:pt x="6108755" y="6192208"/>
                  <a:pt x="6118287" y="6176968"/>
                  <a:pt x="6131632" y="6169348"/>
                </a:cubicBezTo>
                <a:cubicBezTo>
                  <a:pt x="6131632" y="6169348"/>
                  <a:pt x="6131632" y="6169348"/>
                  <a:pt x="6470979" y="6005518"/>
                </a:cubicBezTo>
                <a:cubicBezTo>
                  <a:pt x="6481464" y="6000755"/>
                  <a:pt x="6492903" y="6000279"/>
                  <a:pt x="6502912" y="6003613"/>
                </a:cubicBezTo>
                <a:close/>
                <a:moveTo>
                  <a:pt x="5940751" y="5988314"/>
                </a:moveTo>
                <a:cubicBezTo>
                  <a:pt x="5956567" y="5987064"/>
                  <a:pt x="5971580" y="5995993"/>
                  <a:pt x="5980159" y="6010281"/>
                </a:cubicBezTo>
                <a:cubicBezTo>
                  <a:pt x="5989691" y="6031236"/>
                  <a:pt x="5980159" y="6056001"/>
                  <a:pt x="5961095" y="6065526"/>
                </a:cubicBezTo>
                <a:cubicBezTo>
                  <a:pt x="5961095" y="6065526"/>
                  <a:pt x="5961095" y="6065526"/>
                  <a:pt x="5621756" y="6229356"/>
                </a:cubicBezTo>
                <a:cubicBezTo>
                  <a:pt x="5600786" y="6238881"/>
                  <a:pt x="5576002" y="6231261"/>
                  <a:pt x="5566471" y="6210306"/>
                </a:cubicBezTo>
                <a:cubicBezTo>
                  <a:pt x="5564565" y="6204591"/>
                  <a:pt x="5562658" y="6198876"/>
                  <a:pt x="5562658" y="6193161"/>
                </a:cubicBezTo>
                <a:cubicBezTo>
                  <a:pt x="5562658" y="6177921"/>
                  <a:pt x="5570284" y="6162681"/>
                  <a:pt x="5585535" y="6156966"/>
                </a:cubicBezTo>
                <a:cubicBezTo>
                  <a:pt x="5585535" y="6156966"/>
                  <a:pt x="5585535" y="6156966"/>
                  <a:pt x="5924874" y="5993136"/>
                </a:cubicBezTo>
                <a:cubicBezTo>
                  <a:pt x="5930116" y="5990278"/>
                  <a:pt x="5935479" y="5988730"/>
                  <a:pt x="5940751" y="5988314"/>
                </a:cubicBezTo>
                <a:close/>
                <a:moveTo>
                  <a:pt x="380904" y="5988314"/>
                </a:moveTo>
                <a:cubicBezTo>
                  <a:pt x="396318" y="5987064"/>
                  <a:pt x="411999" y="5995993"/>
                  <a:pt x="419127" y="6010281"/>
                </a:cubicBezTo>
                <a:cubicBezTo>
                  <a:pt x="428631" y="6031236"/>
                  <a:pt x="421028" y="6056001"/>
                  <a:pt x="400120" y="6065526"/>
                </a:cubicBezTo>
                <a:cubicBezTo>
                  <a:pt x="400120" y="6065526"/>
                  <a:pt x="400120" y="6065526"/>
                  <a:pt x="63687" y="6229356"/>
                </a:cubicBezTo>
                <a:cubicBezTo>
                  <a:pt x="42779" y="6238881"/>
                  <a:pt x="18069" y="6231261"/>
                  <a:pt x="8565" y="6210306"/>
                </a:cubicBezTo>
                <a:cubicBezTo>
                  <a:pt x="6664" y="6204591"/>
                  <a:pt x="4764" y="6198876"/>
                  <a:pt x="4764" y="6193161"/>
                </a:cubicBezTo>
                <a:cubicBezTo>
                  <a:pt x="4764" y="6177921"/>
                  <a:pt x="12367" y="6162681"/>
                  <a:pt x="27573" y="6156966"/>
                </a:cubicBezTo>
                <a:cubicBezTo>
                  <a:pt x="27573" y="6156966"/>
                  <a:pt x="27573" y="6156966"/>
                  <a:pt x="365906" y="5993136"/>
                </a:cubicBezTo>
                <a:cubicBezTo>
                  <a:pt x="370658" y="5990278"/>
                  <a:pt x="375766" y="5988730"/>
                  <a:pt x="380904" y="5988314"/>
                </a:cubicBezTo>
                <a:close/>
                <a:moveTo>
                  <a:pt x="5406285" y="5978213"/>
                </a:moveTo>
                <a:cubicBezTo>
                  <a:pt x="5416026" y="5981547"/>
                  <a:pt x="5424579" y="5988690"/>
                  <a:pt x="5429330" y="5999168"/>
                </a:cubicBezTo>
                <a:cubicBezTo>
                  <a:pt x="5438834" y="6018218"/>
                  <a:pt x="5431231" y="6042983"/>
                  <a:pt x="5410323" y="6052508"/>
                </a:cubicBezTo>
                <a:cubicBezTo>
                  <a:pt x="5410323" y="6052508"/>
                  <a:pt x="5410323" y="6052508"/>
                  <a:pt x="5071988" y="6218243"/>
                </a:cubicBezTo>
                <a:cubicBezTo>
                  <a:pt x="5052982" y="6227768"/>
                  <a:pt x="5028275" y="6218243"/>
                  <a:pt x="5018774" y="6199193"/>
                </a:cubicBezTo>
                <a:cubicBezTo>
                  <a:pt x="5014971" y="6193478"/>
                  <a:pt x="5014971" y="6185858"/>
                  <a:pt x="5014971" y="6180143"/>
                </a:cubicBezTo>
                <a:cubicBezTo>
                  <a:pt x="5014971" y="6164903"/>
                  <a:pt x="5022573" y="6151568"/>
                  <a:pt x="5037777" y="6143948"/>
                </a:cubicBezTo>
                <a:cubicBezTo>
                  <a:pt x="5037777" y="6143948"/>
                  <a:pt x="5037777" y="6143948"/>
                  <a:pt x="5376110" y="5980118"/>
                </a:cubicBezTo>
                <a:cubicBezTo>
                  <a:pt x="5385614" y="5975355"/>
                  <a:pt x="5396543" y="5974879"/>
                  <a:pt x="5406285" y="5978213"/>
                </a:cubicBezTo>
                <a:close/>
                <a:moveTo>
                  <a:pt x="940179" y="5978213"/>
                </a:moveTo>
                <a:cubicBezTo>
                  <a:pt x="949950" y="5981546"/>
                  <a:pt x="958529" y="5988690"/>
                  <a:pt x="963295" y="5999168"/>
                </a:cubicBezTo>
                <a:cubicBezTo>
                  <a:pt x="974733" y="6018218"/>
                  <a:pt x="965201" y="6042983"/>
                  <a:pt x="944230" y="6052508"/>
                </a:cubicBezTo>
                <a:cubicBezTo>
                  <a:pt x="944230" y="6052508"/>
                  <a:pt x="944230" y="6052508"/>
                  <a:pt x="606791" y="6218243"/>
                </a:cubicBezTo>
                <a:cubicBezTo>
                  <a:pt x="585820" y="6227768"/>
                  <a:pt x="561036" y="6218243"/>
                  <a:pt x="551504" y="6199193"/>
                </a:cubicBezTo>
                <a:cubicBezTo>
                  <a:pt x="549598" y="6193478"/>
                  <a:pt x="547691" y="6185858"/>
                  <a:pt x="547691" y="6180143"/>
                </a:cubicBezTo>
                <a:cubicBezTo>
                  <a:pt x="547691" y="6164903"/>
                  <a:pt x="555317" y="6151568"/>
                  <a:pt x="570568" y="6143948"/>
                </a:cubicBezTo>
                <a:cubicBezTo>
                  <a:pt x="570568" y="6143948"/>
                  <a:pt x="570568" y="6143948"/>
                  <a:pt x="909915" y="5980118"/>
                </a:cubicBezTo>
                <a:cubicBezTo>
                  <a:pt x="919447" y="5975355"/>
                  <a:pt x="930409" y="5974879"/>
                  <a:pt x="940179" y="5978213"/>
                </a:cubicBezTo>
                <a:close/>
                <a:moveTo>
                  <a:pt x="4852108" y="5966227"/>
                </a:moveTo>
                <a:cubicBezTo>
                  <a:pt x="4861887" y="5969799"/>
                  <a:pt x="4870476" y="5976943"/>
                  <a:pt x="4875244" y="5986468"/>
                </a:cubicBezTo>
                <a:cubicBezTo>
                  <a:pt x="4884787" y="6007423"/>
                  <a:pt x="4877154" y="6032188"/>
                  <a:pt x="4856163" y="6041713"/>
                </a:cubicBezTo>
                <a:cubicBezTo>
                  <a:pt x="4856163" y="6041713"/>
                  <a:pt x="4856163" y="6041713"/>
                  <a:pt x="4516568" y="6205543"/>
                </a:cubicBezTo>
                <a:cubicBezTo>
                  <a:pt x="4497490" y="6215068"/>
                  <a:pt x="4472687" y="6207448"/>
                  <a:pt x="4463147" y="6186493"/>
                </a:cubicBezTo>
                <a:cubicBezTo>
                  <a:pt x="4459332" y="6180778"/>
                  <a:pt x="4459332" y="6175063"/>
                  <a:pt x="4459332" y="6169348"/>
                </a:cubicBezTo>
                <a:cubicBezTo>
                  <a:pt x="4459332" y="6154108"/>
                  <a:pt x="4466963" y="6138868"/>
                  <a:pt x="4482226" y="6131248"/>
                </a:cubicBezTo>
                <a:cubicBezTo>
                  <a:pt x="4482226" y="6131248"/>
                  <a:pt x="4482226" y="6131248"/>
                  <a:pt x="4821817" y="5967418"/>
                </a:cubicBezTo>
                <a:cubicBezTo>
                  <a:pt x="4831356" y="5962655"/>
                  <a:pt x="4842330" y="5962655"/>
                  <a:pt x="4852108" y="5966227"/>
                </a:cubicBezTo>
                <a:close/>
                <a:moveTo>
                  <a:pt x="1487950" y="5966227"/>
                </a:moveTo>
                <a:cubicBezTo>
                  <a:pt x="1497958" y="5969799"/>
                  <a:pt x="1506537" y="5976943"/>
                  <a:pt x="1511303" y="5986468"/>
                </a:cubicBezTo>
                <a:cubicBezTo>
                  <a:pt x="1520836" y="6007423"/>
                  <a:pt x="1513210" y="6032188"/>
                  <a:pt x="1492239" y="6041713"/>
                </a:cubicBezTo>
                <a:cubicBezTo>
                  <a:pt x="1492239" y="6041713"/>
                  <a:pt x="1492239" y="6041713"/>
                  <a:pt x="1152893" y="6205543"/>
                </a:cubicBezTo>
                <a:cubicBezTo>
                  <a:pt x="1131922" y="6215068"/>
                  <a:pt x="1109045" y="6207448"/>
                  <a:pt x="1097606" y="6186493"/>
                </a:cubicBezTo>
                <a:cubicBezTo>
                  <a:pt x="1095700" y="6180778"/>
                  <a:pt x="1093793" y="6175063"/>
                  <a:pt x="1093793" y="6169348"/>
                </a:cubicBezTo>
                <a:cubicBezTo>
                  <a:pt x="1093793" y="6154108"/>
                  <a:pt x="1103326" y="6138868"/>
                  <a:pt x="1116671" y="6131248"/>
                </a:cubicBezTo>
                <a:cubicBezTo>
                  <a:pt x="1116671" y="6131248"/>
                  <a:pt x="1116671" y="6131248"/>
                  <a:pt x="1456017" y="5967418"/>
                </a:cubicBezTo>
                <a:cubicBezTo>
                  <a:pt x="1466502" y="5962655"/>
                  <a:pt x="1477941" y="5962655"/>
                  <a:pt x="1487950" y="5966227"/>
                </a:cubicBezTo>
                <a:close/>
                <a:moveTo>
                  <a:pt x="4293425" y="5952822"/>
                </a:moveTo>
                <a:cubicBezTo>
                  <a:pt x="4303167" y="5956160"/>
                  <a:pt x="4311721" y="5963313"/>
                  <a:pt x="4316472" y="5973803"/>
                </a:cubicBezTo>
                <a:cubicBezTo>
                  <a:pt x="4325976" y="5992877"/>
                  <a:pt x="4318373" y="6017673"/>
                  <a:pt x="4297464" y="6027210"/>
                </a:cubicBezTo>
                <a:cubicBezTo>
                  <a:pt x="4297464" y="6027210"/>
                  <a:pt x="4297464" y="6027210"/>
                  <a:pt x="3959151" y="6191244"/>
                </a:cubicBezTo>
                <a:cubicBezTo>
                  <a:pt x="3940145" y="6200781"/>
                  <a:pt x="3915434" y="6193151"/>
                  <a:pt x="3905930" y="6172170"/>
                </a:cubicBezTo>
                <a:cubicBezTo>
                  <a:pt x="3902127" y="6166448"/>
                  <a:pt x="3902127" y="6160726"/>
                  <a:pt x="3902127" y="6155004"/>
                </a:cubicBezTo>
                <a:cubicBezTo>
                  <a:pt x="3902127" y="6139745"/>
                  <a:pt x="3909730" y="6124486"/>
                  <a:pt x="3924936" y="6118764"/>
                </a:cubicBezTo>
                <a:cubicBezTo>
                  <a:pt x="3924936" y="6118764"/>
                  <a:pt x="3924936" y="6118764"/>
                  <a:pt x="4263250" y="5954730"/>
                </a:cubicBezTo>
                <a:cubicBezTo>
                  <a:pt x="4272754" y="5949961"/>
                  <a:pt x="4283684" y="5949484"/>
                  <a:pt x="4293425" y="5952822"/>
                </a:cubicBezTo>
                <a:close/>
                <a:moveTo>
                  <a:pt x="2039813" y="5952822"/>
                </a:moveTo>
                <a:cubicBezTo>
                  <a:pt x="2049553" y="5956160"/>
                  <a:pt x="2058100" y="5963313"/>
                  <a:pt x="2063798" y="5973803"/>
                </a:cubicBezTo>
                <a:cubicBezTo>
                  <a:pt x="2073295" y="5992877"/>
                  <a:pt x="2063798" y="6017673"/>
                  <a:pt x="2044799" y="6027210"/>
                </a:cubicBezTo>
                <a:cubicBezTo>
                  <a:pt x="2044799" y="6027210"/>
                  <a:pt x="2044799" y="6027210"/>
                  <a:pt x="1706714" y="6191244"/>
                </a:cubicBezTo>
                <a:cubicBezTo>
                  <a:pt x="1685821" y="6200781"/>
                  <a:pt x="1661129" y="6193151"/>
                  <a:pt x="1651633" y="6172170"/>
                </a:cubicBezTo>
                <a:cubicBezTo>
                  <a:pt x="1649733" y="6166448"/>
                  <a:pt x="1647834" y="6160726"/>
                  <a:pt x="1647834" y="6155004"/>
                </a:cubicBezTo>
                <a:cubicBezTo>
                  <a:pt x="1647834" y="6139745"/>
                  <a:pt x="1655431" y="6124486"/>
                  <a:pt x="1670626" y="6118764"/>
                </a:cubicBezTo>
                <a:cubicBezTo>
                  <a:pt x="1670626" y="6118764"/>
                  <a:pt x="1670626" y="6118764"/>
                  <a:pt x="2008712" y="5954730"/>
                </a:cubicBezTo>
                <a:cubicBezTo>
                  <a:pt x="2019158" y="5949961"/>
                  <a:pt x="2030079" y="5949484"/>
                  <a:pt x="2039813" y="5952822"/>
                </a:cubicBezTo>
                <a:close/>
                <a:moveTo>
                  <a:pt x="3730408" y="5940113"/>
                </a:moveTo>
                <a:cubicBezTo>
                  <a:pt x="3740180" y="5943447"/>
                  <a:pt x="3748757" y="5950590"/>
                  <a:pt x="3754477" y="5961068"/>
                </a:cubicBezTo>
                <a:cubicBezTo>
                  <a:pt x="3764010" y="5982023"/>
                  <a:pt x="3754477" y="6004883"/>
                  <a:pt x="3735413" y="6016313"/>
                </a:cubicBezTo>
                <a:cubicBezTo>
                  <a:pt x="3735413" y="6016313"/>
                  <a:pt x="3735413" y="6016313"/>
                  <a:pt x="3396080" y="6180143"/>
                </a:cubicBezTo>
                <a:cubicBezTo>
                  <a:pt x="3375107" y="6189668"/>
                  <a:pt x="3350323" y="6180143"/>
                  <a:pt x="3340791" y="6161093"/>
                </a:cubicBezTo>
                <a:cubicBezTo>
                  <a:pt x="3338885" y="6155378"/>
                  <a:pt x="3336980" y="6149663"/>
                  <a:pt x="3336980" y="6142043"/>
                </a:cubicBezTo>
                <a:cubicBezTo>
                  <a:pt x="3336980" y="6126803"/>
                  <a:pt x="3346510" y="6113468"/>
                  <a:pt x="3359854" y="6105848"/>
                </a:cubicBezTo>
                <a:cubicBezTo>
                  <a:pt x="3359854" y="6105848"/>
                  <a:pt x="3359854" y="6105848"/>
                  <a:pt x="3699190" y="5942018"/>
                </a:cubicBezTo>
                <a:cubicBezTo>
                  <a:pt x="3709676" y="5937255"/>
                  <a:pt x="3720634" y="5936779"/>
                  <a:pt x="3730408" y="5940113"/>
                </a:cubicBezTo>
                <a:close/>
                <a:moveTo>
                  <a:pt x="2596907" y="5940113"/>
                </a:moveTo>
                <a:cubicBezTo>
                  <a:pt x="2606677" y="5943447"/>
                  <a:pt x="2615256" y="5950590"/>
                  <a:pt x="2620976" y="5961068"/>
                </a:cubicBezTo>
                <a:cubicBezTo>
                  <a:pt x="2630508" y="5982023"/>
                  <a:pt x="2620976" y="6004883"/>
                  <a:pt x="2601911" y="6016313"/>
                </a:cubicBezTo>
                <a:cubicBezTo>
                  <a:pt x="2601911" y="6016313"/>
                  <a:pt x="2601911" y="6016313"/>
                  <a:pt x="2262565" y="6180143"/>
                </a:cubicBezTo>
                <a:cubicBezTo>
                  <a:pt x="2241595" y="6189668"/>
                  <a:pt x="2216811" y="6180143"/>
                  <a:pt x="2207278" y="6161093"/>
                </a:cubicBezTo>
                <a:cubicBezTo>
                  <a:pt x="2205372" y="6155378"/>
                  <a:pt x="2203466" y="6149663"/>
                  <a:pt x="2203466" y="6142043"/>
                </a:cubicBezTo>
                <a:cubicBezTo>
                  <a:pt x="2203466" y="6126803"/>
                  <a:pt x="2211091" y="6113468"/>
                  <a:pt x="2226343" y="6105848"/>
                </a:cubicBezTo>
                <a:cubicBezTo>
                  <a:pt x="2226343" y="6105848"/>
                  <a:pt x="2226343" y="6105848"/>
                  <a:pt x="2565688" y="5942018"/>
                </a:cubicBezTo>
                <a:cubicBezTo>
                  <a:pt x="2576174" y="5937255"/>
                  <a:pt x="2587136" y="5936779"/>
                  <a:pt x="2596907" y="5940113"/>
                </a:cubicBezTo>
                <a:close/>
                <a:moveTo>
                  <a:pt x="3158038" y="5928127"/>
                </a:moveTo>
                <a:cubicBezTo>
                  <a:pt x="3168046" y="5931699"/>
                  <a:pt x="3176626" y="5938843"/>
                  <a:pt x="3181392" y="5948368"/>
                </a:cubicBezTo>
                <a:cubicBezTo>
                  <a:pt x="3190924" y="5969323"/>
                  <a:pt x="3183299" y="5994088"/>
                  <a:pt x="3162325" y="6003613"/>
                </a:cubicBezTo>
                <a:cubicBezTo>
                  <a:pt x="3162325" y="6003613"/>
                  <a:pt x="3162325" y="6003613"/>
                  <a:pt x="2822979" y="6167443"/>
                </a:cubicBezTo>
                <a:cubicBezTo>
                  <a:pt x="2803913" y="6176968"/>
                  <a:pt x="2779131" y="6169348"/>
                  <a:pt x="2769598" y="6148393"/>
                </a:cubicBezTo>
                <a:cubicBezTo>
                  <a:pt x="2765784" y="6142678"/>
                  <a:pt x="2763878" y="6136963"/>
                  <a:pt x="2763878" y="6131248"/>
                </a:cubicBezTo>
                <a:cubicBezTo>
                  <a:pt x="2763878" y="6116008"/>
                  <a:pt x="2773410" y="6100768"/>
                  <a:pt x="2788667" y="6093148"/>
                </a:cubicBezTo>
                <a:cubicBezTo>
                  <a:pt x="2788667" y="6093148"/>
                  <a:pt x="2788667" y="6093148"/>
                  <a:pt x="3126105" y="5929318"/>
                </a:cubicBezTo>
                <a:cubicBezTo>
                  <a:pt x="3136591" y="5924555"/>
                  <a:pt x="3148030" y="5924555"/>
                  <a:pt x="3158038" y="5928127"/>
                </a:cubicBezTo>
                <a:close/>
                <a:moveTo>
                  <a:pt x="9872849" y="5750963"/>
                </a:moveTo>
                <a:cubicBezTo>
                  <a:pt x="9882136" y="5754058"/>
                  <a:pt x="9890233" y="5760726"/>
                  <a:pt x="9894995" y="5770251"/>
                </a:cubicBezTo>
                <a:cubicBezTo>
                  <a:pt x="9904520" y="5787396"/>
                  <a:pt x="9898805" y="5810256"/>
                  <a:pt x="9879755" y="5821686"/>
                </a:cubicBezTo>
                <a:cubicBezTo>
                  <a:pt x="9879755" y="5821686"/>
                  <a:pt x="9879755" y="5821686"/>
                  <a:pt x="9542565" y="6000756"/>
                </a:cubicBezTo>
                <a:cubicBezTo>
                  <a:pt x="9523515" y="6010281"/>
                  <a:pt x="9500654" y="6002661"/>
                  <a:pt x="9489224" y="5983611"/>
                </a:cubicBezTo>
                <a:cubicBezTo>
                  <a:pt x="9487319" y="5977896"/>
                  <a:pt x="9485414" y="5972181"/>
                  <a:pt x="9485414" y="5966466"/>
                </a:cubicBezTo>
                <a:cubicBezTo>
                  <a:pt x="9485414" y="5953131"/>
                  <a:pt x="9493034" y="5939796"/>
                  <a:pt x="9506369" y="5932176"/>
                </a:cubicBezTo>
                <a:cubicBezTo>
                  <a:pt x="9506369" y="5932176"/>
                  <a:pt x="9506369" y="5932176"/>
                  <a:pt x="9843559" y="5753106"/>
                </a:cubicBezTo>
                <a:cubicBezTo>
                  <a:pt x="9853084" y="5748343"/>
                  <a:pt x="9863562" y="5747867"/>
                  <a:pt x="9872849" y="5750963"/>
                </a:cubicBezTo>
                <a:close/>
                <a:moveTo>
                  <a:pt x="10455469" y="5739858"/>
                </a:moveTo>
                <a:cubicBezTo>
                  <a:pt x="10464756" y="5742958"/>
                  <a:pt x="10472852" y="5749633"/>
                  <a:pt x="10477615" y="5759170"/>
                </a:cubicBezTo>
                <a:cubicBezTo>
                  <a:pt x="10487140" y="5776335"/>
                  <a:pt x="10481425" y="5801130"/>
                  <a:pt x="10462375" y="5810667"/>
                </a:cubicBezTo>
                <a:cubicBezTo>
                  <a:pt x="10462375" y="5810667"/>
                  <a:pt x="10462375" y="5810667"/>
                  <a:pt x="10123280" y="5988044"/>
                </a:cubicBezTo>
                <a:cubicBezTo>
                  <a:pt x="10104230" y="5997581"/>
                  <a:pt x="10081369" y="5989952"/>
                  <a:pt x="10071844" y="5970879"/>
                </a:cubicBezTo>
                <a:cubicBezTo>
                  <a:pt x="10068034" y="5965157"/>
                  <a:pt x="10068034" y="5959435"/>
                  <a:pt x="10068034" y="5953713"/>
                </a:cubicBezTo>
                <a:cubicBezTo>
                  <a:pt x="10068034" y="5938455"/>
                  <a:pt x="10075654" y="5925104"/>
                  <a:pt x="10088989" y="5919382"/>
                </a:cubicBezTo>
                <a:cubicBezTo>
                  <a:pt x="10088989" y="5919382"/>
                  <a:pt x="10088989" y="5919382"/>
                  <a:pt x="10426179" y="5742004"/>
                </a:cubicBezTo>
                <a:cubicBezTo>
                  <a:pt x="10435704" y="5737236"/>
                  <a:pt x="10446182" y="5736759"/>
                  <a:pt x="10455469" y="5739858"/>
                </a:cubicBezTo>
                <a:close/>
                <a:moveTo>
                  <a:pt x="9295014" y="5739858"/>
                </a:moveTo>
                <a:cubicBezTo>
                  <a:pt x="9304294" y="5742958"/>
                  <a:pt x="9312384" y="5749633"/>
                  <a:pt x="9317143" y="5759170"/>
                </a:cubicBezTo>
                <a:cubicBezTo>
                  <a:pt x="9326661" y="5776335"/>
                  <a:pt x="9319047" y="5801130"/>
                  <a:pt x="9300011" y="5810667"/>
                </a:cubicBezTo>
                <a:cubicBezTo>
                  <a:pt x="9300011" y="5810667"/>
                  <a:pt x="9300011" y="5810667"/>
                  <a:pt x="8963076" y="5988044"/>
                </a:cubicBezTo>
                <a:cubicBezTo>
                  <a:pt x="8944040" y="5997581"/>
                  <a:pt x="8921197" y="5989952"/>
                  <a:pt x="8911679" y="5970879"/>
                </a:cubicBezTo>
                <a:cubicBezTo>
                  <a:pt x="8907872" y="5965157"/>
                  <a:pt x="8905968" y="5959435"/>
                  <a:pt x="8905968" y="5953713"/>
                </a:cubicBezTo>
                <a:cubicBezTo>
                  <a:pt x="8905968" y="5938455"/>
                  <a:pt x="8913582" y="5925104"/>
                  <a:pt x="8926907" y="5919382"/>
                </a:cubicBezTo>
                <a:cubicBezTo>
                  <a:pt x="8926907" y="5919382"/>
                  <a:pt x="8926907" y="5919382"/>
                  <a:pt x="9265746" y="5742004"/>
                </a:cubicBezTo>
                <a:cubicBezTo>
                  <a:pt x="9275264" y="5737236"/>
                  <a:pt x="9285734" y="5736759"/>
                  <a:pt x="9295014" y="5739858"/>
                </a:cubicBezTo>
                <a:close/>
                <a:moveTo>
                  <a:pt x="11032399" y="5727762"/>
                </a:moveTo>
                <a:cubicBezTo>
                  <a:pt x="11042155" y="5730372"/>
                  <a:pt x="11050721" y="5736541"/>
                  <a:pt x="11055480" y="5746031"/>
                </a:cubicBezTo>
                <a:cubicBezTo>
                  <a:pt x="11064998" y="5766910"/>
                  <a:pt x="11057384" y="5789687"/>
                  <a:pt x="11038348" y="5799178"/>
                </a:cubicBezTo>
                <a:cubicBezTo>
                  <a:pt x="11038348" y="5799178"/>
                  <a:pt x="11038348" y="5799178"/>
                  <a:pt x="10701413" y="5973803"/>
                </a:cubicBezTo>
                <a:cubicBezTo>
                  <a:pt x="10682377" y="5983294"/>
                  <a:pt x="10657630" y="5975701"/>
                  <a:pt x="10648112" y="5956720"/>
                </a:cubicBezTo>
                <a:cubicBezTo>
                  <a:pt x="10646209" y="5951026"/>
                  <a:pt x="10644305" y="5945332"/>
                  <a:pt x="10644305" y="5937739"/>
                </a:cubicBezTo>
                <a:cubicBezTo>
                  <a:pt x="10644305" y="5924453"/>
                  <a:pt x="10651919" y="5911166"/>
                  <a:pt x="10665244" y="5903573"/>
                </a:cubicBezTo>
                <a:cubicBezTo>
                  <a:pt x="10665244" y="5903573"/>
                  <a:pt x="10665244" y="5903573"/>
                  <a:pt x="11002180" y="5730846"/>
                </a:cubicBezTo>
                <a:cubicBezTo>
                  <a:pt x="11011697" y="5726101"/>
                  <a:pt x="11022643" y="5725152"/>
                  <a:pt x="11032399" y="5727762"/>
                </a:cubicBezTo>
                <a:close/>
                <a:moveTo>
                  <a:pt x="8723506" y="5727762"/>
                </a:moveTo>
                <a:cubicBezTo>
                  <a:pt x="8732786" y="5730372"/>
                  <a:pt x="8740876" y="5736541"/>
                  <a:pt x="8745635" y="5746031"/>
                </a:cubicBezTo>
                <a:cubicBezTo>
                  <a:pt x="8755153" y="5766910"/>
                  <a:pt x="8747539" y="5789687"/>
                  <a:pt x="8728503" y="5799178"/>
                </a:cubicBezTo>
                <a:cubicBezTo>
                  <a:pt x="8728503" y="5799178"/>
                  <a:pt x="8728503" y="5799178"/>
                  <a:pt x="8391568" y="5973803"/>
                </a:cubicBezTo>
                <a:cubicBezTo>
                  <a:pt x="8372532" y="5983294"/>
                  <a:pt x="8349689" y="5975701"/>
                  <a:pt x="8338267" y="5956720"/>
                </a:cubicBezTo>
                <a:cubicBezTo>
                  <a:pt x="8336363" y="5951026"/>
                  <a:pt x="8334460" y="5945332"/>
                  <a:pt x="8334460" y="5937739"/>
                </a:cubicBezTo>
                <a:cubicBezTo>
                  <a:pt x="8334460" y="5924453"/>
                  <a:pt x="8342074" y="5911166"/>
                  <a:pt x="8355399" y="5903573"/>
                </a:cubicBezTo>
                <a:cubicBezTo>
                  <a:pt x="8355399" y="5903573"/>
                  <a:pt x="8355399" y="5903573"/>
                  <a:pt x="8694238" y="5730846"/>
                </a:cubicBezTo>
                <a:cubicBezTo>
                  <a:pt x="8703756" y="5726101"/>
                  <a:pt x="8714226" y="5725152"/>
                  <a:pt x="8723506" y="5727762"/>
                </a:cubicBezTo>
                <a:close/>
                <a:moveTo>
                  <a:pt x="11603271" y="5714468"/>
                </a:moveTo>
                <a:cubicBezTo>
                  <a:pt x="11612551" y="5717571"/>
                  <a:pt x="11620641" y="5724254"/>
                  <a:pt x="11625400" y="5733802"/>
                </a:cubicBezTo>
                <a:cubicBezTo>
                  <a:pt x="11634918" y="5754808"/>
                  <a:pt x="11627304" y="5777723"/>
                  <a:pt x="11608268" y="5787271"/>
                </a:cubicBezTo>
                <a:cubicBezTo>
                  <a:pt x="11608268" y="5787271"/>
                  <a:pt x="11608268" y="5787271"/>
                  <a:pt x="11271333" y="5961045"/>
                </a:cubicBezTo>
                <a:cubicBezTo>
                  <a:pt x="11252297" y="5970593"/>
                  <a:pt x="11227550" y="5962954"/>
                  <a:pt x="11218032" y="5941949"/>
                </a:cubicBezTo>
                <a:cubicBezTo>
                  <a:pt x="11214225" y="5936220"/>
                  <a:pt x="11214225" y="5930491"/>
                  <a:pt x="11214225" y="5924762"/>
                </a:cubicBezTo>
                <a:cubicBezTo>
                  <a:pt x="11214225" y="5911395"/>
                  <a:pt x="11221839" y="5896118"/>
                  <a:pt x="11235164" y="5890389"/>
                </a:cubicBezTo>
                <a:cubicBezTo>
                  <a:pt x="11235164" y="5890389"/>
                  <a:pt x="11235164" y="5890389"/>
                  <a:pt x="11574003" y="5716616"/>
                </a:cubicBezTo>
                <a:cubicBezTo>
                  <a:pt x="11583521" y="5711842"/>
                  <a:pt x="11593991" y="5711364"/>
                  <a:pt x="11603271" y="5714468"/>
                </a:cubicBezTo>
                <a:close/>
                <a:moveTo>
                  <a:pt x="8158886" y="5714468"/>
                </a:moveTo>
                <a:cubicBezTo>
                  <a:pt x="8168671" y="5717571"/>
                  <a:pt x="8177263" y="5724254"/>
                  <a:pt x="8182036" y="5733802"/>
                </a:cubicBezTo>
                <a:cubicBezTo>
                  <a:pt x="8191583" y="5754808"/>
                  <a:pt x="8183946" y="5777723"/>
                  <a:pt x="8164852" y="5787271"/>
                </a:cubicBezTo>
                <a:cubicBezTo>
                  <a:pt x="8164852" y="5787271"/>
                  <a:pt x="8164852" y="5787271"/>
                  <a:pt x="7824994" y="5961045"/>
                </a:cubicBezTo>
                <a:cubicBezTo>
                  <a:pt x="7805901" y="5970593"/>
                  <a:pt x="7782989" y="5962954"/>
                  <a:pt x="7771533" y="5941949"/>
                </a:cubicBezTo>
                <a:cubicBezTo>
                  <a:pt x="7769624" y="5936220"/>
                  <a:pt x="7767715" y="5930491"/>
                  <a:pt x="7767715" y="5924762"/>
                </a:cubicBezTo>
                <a:cubicBezTo>
                  <a:pt x="7767715" y="5911395"/>
                  <a:pt x="7775352" y="5896118"/>
                  <a:pt x="7788717" y="5890389"/>
                </a:cubicBezTo>
                <a:cubicBezTo>
                  <a:pt x="7788717" y="5890389"/>
                  <a:pt x="7788717" y="5890389"/>
                  <a:pt x="8128575" y="5716616"/>
                </a:cubicBezTo>
                <a:cubicBezTo>
                  <a:pt x="8138122" y="5711842"/>
                  <a:pt x="8149101" y="5711364"/>
                  <a:pt x="8158886" y="5714468"/>
                </a:cubicBezTo>
                <a:close/>
                <a:moveTo>
                  <a:pt x="12139750" y="5703893"/>
                </a:moveTo>
                <a:cubicBezTo>
                  <a:pt x="12139750" y="5703893"/>
                  <a:pt x="12139750" y="5703893"/>
                  <a:pt x="12139750" y="5793652"/>
                </a:cubicBezTo>
                <a:cubicBezTo>
                  <a:pt x="12139750" y="5793652"/>
                  <a:pt x="12139750" y="5793652"/>
                  <a:pt x="11833309" y="5948344"/>
                </a:cubicBezTo>
                <a:cubicBezTo>
                  <a:pt x="11814275" y="5957893"/>
                  <a:pt x="11789532" y="5950254"/>
                  <a:pt x="11780015" y="5929246"/>
                </a:cubicBezTo>
                <a:cubicBezTo>
                  <a:pt x="11778111" y="5923517"/>
                  <a:pt x="11776208" y="5917787"/>
                  <a:pt x="11776208" y="5912058"/>
                </a:cubicBezTo>
                <a:cubicBezTo>
                  <a:pt x="11776208" y="5896780"/>
                  <a:pt x="11783821" y="5883412"/>
                  <a:pt x="11799048" y="5875772"/>
                </a:cubicBezTo>
                <a:lnTo>
                  <a:pt x="12135943" y="5705803"/>
                </a:lnTo>
                <a:cubicBezTo>
                  <a:pt x="12137847" y="5705803"/>
                  <a:pt x="12139750" y="5705803"/>
                  <a:pt x="12139750" y="5703893"/>
                </a:cubicBezTo>
                <a:close/>
                <a:moveTo>
                  <a:pt x="7600201" y="5703365"/>
                </a:moveTo>
                <a:cubicBezTo>
                  <a:pt x="7609950" y="5706472"/>
                  <a:pt x="7618509" y="5713164"/>
                  <a:pt x="7623265" y="5722723"/>
                </a:cubicBezTo>
                <a:cubicBezTo>
                  <a:pt x="7632776" y="5743755"/>
                  <a:pt x="7625167" y="5766698"/>
                  <a:pt x="7604243" y="5776258"/>
                </a:cubicBezTo>
                <a:cubicBezTo>
                  <a:pt x="7604243" y="5776258"/>
                  <a:pt x="7604243" y="5776258"/>
                  <a:pt x="7267560" y="5948334"/>
                </a:cubicBezTo>
                <a:cubicBezTo>
                  <a:pt x="7246636" y="5957894"/>
                  <a:pt x="7223810" y="5950246"/>
                  <a:pt x="7214299" y="5929214"/>
                </a:cubicBezTo>
                <a:cubicBezTo>
                  <a:pt x="7210495" y="5923479"/>
                  <a:pt x="7210495" y="5917743"/>
                  <a:pt x="7210495" y="5912007"/>
                </a:cubicBezTo>
                <a:cubicBezTo>
                  <a:pt x="7210495" y="5896711"/>
                  <a:pt x="7218103" y="5883327"/>
                  <a:pt x="7231419" y="5875680"/>
                </a:cubicBezTo>
                <a:cubicBezTo>
                  <a:pt x="7231419" y="5875680"/>
                  <a:pt x="7231419" y="5875680"/>
                  <a:pt x="7570004" y="5705516"/>
                </a:cubicBezTo>
                <a:cubicBezTo>
                  <a:pt x="7579515" y="5700736"/>
                  <a:pt x="7590452" y="5700258"/>
                  <a:pt x="7600201" y="5703365"/>
                </a:cubicBezTo>
                <a:close/>
                <a:moveTo>
                  <a:pt x="7047645" y="5692216"/>
                </a:moveTo>
                <a:cubicBezTo>
                  <a:pt x="7057423" y="5695307"/>
                  <a:pt x="7066008" y="5701967"/>
                  <a:pt x="7070778" y="5711480"/>
                </a:cubicBezTo>
                <a:cubicBezTo>
                  <a:pt x="7080318" y="5732409"/>
                  <a:pt x="7072686" y="5757144"/>
                  <a:pt x="7051700" y="5766658"/>
                </a:cubicBezTo>
                <a:cubicBezTo>
                  <a:pt x="7051700" y="5766658"/>
                  <a:pt x="7051700" y="5766658"/>
                  <a:pt x="6714006" y="5934092"/>
                </a:cubicBezTo>
                <a:cubicBezTo>
                  <a:pt x="6693019" y="5943606"/>
                  <a:pt x="6670125" y="5934092"/>
                  <a:pt x="6658677" y="5915066"/>
                </a:cubicBezTo>
                <a:cubicBezTo>
                  <a:pt x="6656770" y="5909358"/>
                  <a:pt x="6654862" y="5903650"/>
                  <a:pt x="6654862" y="5897942"/>
                </a:cubicBezTo>
                <a:cubicBezTo>
                  <a:pt x="6654862" y="5882720"/>
                  <a:pt x="6664401" y="5867499"/>
                  <a:pt x="6677756" y="5861791"/>
                </a:cubicBezTo>
                <a:cubicBezTo>
                  <a:pt x="6677756" y="5861791"/>
                  <a:pt x="6677756" y="5861791"/>
                  <a:pt x="7017358" y="5694356"/>
                </a:cubicBezTo>
                <a:cubicBezTo>
                  <a:pt x="7026897" y="5689600"/>
                  <a:pt x="7037868" y="5689124"/>
                  <a:pt x="7047645" y="5692216"/>
                </a:cubicBezTo>
                <a:close/>
                <a:moveTo>
                  <a:pt x="6486856" y="5678743"/>
                </a:moveTo>
                <a:cubicBezTo>
                  <a:pt x="6502673" y="5677494"/>
                  <a:pt x="6517687" y="5686413"/>
                  <a:pt x="6526266" y="5700683"/>
                </a:cubicBezTo>
                <a:cubicBezTo>
                  <a:pt x="6535798" y="5721612"/>
                  <a:pt x="6526266" y="5746347"/>
                  <a:pt x="6507201" y="5755860"/>
                </a:cubicBezTo>
                <a:cubicBezTo>
                  <a:pt x="6507201" y="5755860"/>
                  <a:pt x="6507201" y="5755860"/>
                  <a:pt x="6167854" y="5921392"/>
                </a:cubicBezTo>
                <a:cubicBezTo>
                  <a:pt x="6146884" y="5930906"/>
                  <a:pt x="6124006" y="5921392"/>
                  <a:pt x="6114474" y="5902366"/>
                </a:cubicBezTo>
                <a:cubicBezTo>
                  <a:pt x="6110661" y="5896658"/>
                  <a:pt x="6108755" y="5890950"/>
                  <a:pt x="6108755" y="5883339"/>
                </a:cubicBezTo>
                <a:cubicBezTo>
                  <a:pt x="6108755" y="5870020"/>
                  <a:pt x="6118287" y="5854799"/>
                  <a:pt x="6131632" y="5847188"/>
                </a:cubicBezTo>
                <a:cubicBezTo>
                  <a:pt x="6131632" y="5847188"/>
                  <a:pt x="6131632" y="5847188"/>
                  <a:pt x="6470979" y="5683559"/>
                </a:cubicBezTo>
                <a:cubicBezTo>
                  <a:pt x="6476221" y="5680705"/>
                  <a:pt x="6481583" y="5679159"/>
                  <a:pt x="6486856" y="5678743"/>
                </a:cubicBezTo>
                <a:close/>
                <a:moveTo>
                  <a:pt x="5956806" y="5667777"/>
                </a:moveTo>
                <a:cubicBezTo>
                  <a:pt x="5966814" y="5671349"/>
                  <a:pt x="5975394" y="5678493"/>
                  <a:pt x="5980159" y="5688018"/>
                </a:cubicBezTo>
                <a:cubicBezTo>
                  <a:pt x="5989691" y="5708973"/>
                  <a:pt x="5980159" y="5733738"/>
                  <a:pt x="5961095" y="5743263"/>
                </a:cubicBezTo>
                <a:cubicBezTo>
                  <a:pt x="5961095" y="5743263"/>
                  <a:pt x="5961095" y="5743263"/>
                  <a:pt x="5621756" y="5907093"/>
                </a:cubicBezTo>
                <a:cubicBezTo>
                  <a:pt x="5600786" y="5916618"/>
                  <a:pt x="5576002" y="5907093"/>
                  <a:pt x="5566471" y="5888043"/>
                </a:cubicBezTo>
                <a:cubicBezTo>
                  <a:pt x="5564565" y="5882328"/>
                  <a:pt x="5562658" y="5874708"/>
                  <a:pt x="5562658" y="5868993"/>
                </a:cubicBezTo>
                <a:cubicBezTo>
                  <a:pt x="5562658" y="5853753"/>
                  <a:pt x="5570284" y="5840418"/>
                  <a:pt x="5585535" y="5832798"/>
                </a:cubicBezTo>
                <a:cubicBezTo>
                  <a:pt x="5585535" y="5832798"/>
                  <a:pt x="5585535" y="5832798"/>
                  <a:pt x="5924874" y="5668968"/>
                </a:cubicBezTo>
                <a:cubicBezTo>
                  <a:pt x="5935360" y="5664205"/>
                  <a:pt x="5946797" y="5664205"/>
                  <a:pt x="5956806" y="5667777"/>
                </a:cubicBezTo>
                <a:close/>
                <a:moveTo>
                  <a:pt x="397251" y="5667777"/>
                </a:moveTo>
                <a:cubicBezTo>
                  <a:pt x="407022" y="5671349"/>
                  <a:pt x="415601" y="5678493"/>
                  <a:pt x="420367" y="5688018"/>
                </a:cubicBezTo>
                <a:cubicBezTo>
                  <a:pt x="431806" y="5708973"/>
                  <a:pt x="422273" y="5733738"/>
                  <a:pt x="401303" y="5743263"/>
                </a:cubicBezTo>
                <a:cubicBezTo>
                  <a:pt x="401303" y="5743263"/>
                  <a:pt x="401303" y="5743263"/>
                  <a:pt x="63863" y="5907093"/>
                </a:cubicBezTo>
                <a:cubicBezTo>
                  <a:pt x="42892" y="5916618"/>
                  <a:pt x="18109" y="5907093"/>
                  <a:pt x="8576" y="5888043"/>
                </a:cubicBezTo>
                <a:cubicBezTo>
                  <a:pt x="4764" y="5882328"/>
                  <a:pt x="4764" y="5874708"/>
                  <a:pt x="4764" y="5868993"/>
                </a:cubicBezTo>
                <a:cubicBezTo>
                  <a:pt x="4764" y="5853753"/>
                  <a:pt x="12389" y="5840418"/>
                  <a:pt x="27641" y="5832798"/>
                </a:cubicBezTo>
                <a:cubicBezTo>
                  <a:pt x="27641" y="5832798"/>
                  <a:pt x="27641" y="5832798"/>
                  <a:pt x="366987" y="5668968"/>
                </a:cubicBezTo>
                <a:cubicBezTo>
                  <a:pt x="376519" y="5664205"/>
                  <a:pt x="387481" y="5664205"/>
                  <a:pt x="397251" y="5667777"/>
                </a:cubicBezTo>
                <a:close/>
                <a:moveTo>
                  <a:pt x="5407592" y="5656676"/>
                </a:moveTo>
                <a:cubicBezTo>
                  <a:pt x="5417631" y="5660252"/>
                  <a:pt x="5426713" y="5667405"/>
                  <a:pt x="5432449" y="5676941"/>
                </a:cubicBezTo>
                <a:cubicBezTo>
                  <a:pt x="5442009" y="5697922"/>
                  <a:pt x="5432449" y="5722718"/>
                  <a:pt x="5411416" y="5732255"/>
                </a:cubicBezTo>
                <a:cubicBezTo>
                  <a:pt x="5411416" y="5732255"/>
                  <a:pt x="5411416" y="5732255"/>
                  <a:pt x="5071064" y="5894382"/>
                </a:cubicBezTo>
                <a:cubicBezTo>
                  <a:pt x="5050034" y="5903919"/>
                  <a:pt x="5025180" y="5894382"/>
                  <a:pt x="5015621" y="5873401"/>
                </a:cubicBezTo>
                <a:cubicBezTo>
                  <a:pt x="5013709" y="5867679"/>
                  <a:pt x="5011797" y="5861957"/>
                  <a:pt x="5011797" y="5856234"/>
                </a:cubicBezTo>
                <a:cubicBezTo>
                  <a:pt x="5011797" y="5840975"/>
                  <a:pt x="5021356" y="5825716"/>
                  <a:pt x="5036651" y="5818087"/>
                </a:cubicBezTo>
                <a:cubicBezTo>
                  <a:pt x="5036651" y="5818087"/>
                  <a:pt x="5036651" y="5818087"/>
                  <a:pt x="5377000" y="5657868"/>
                </a:cubicBezTo>
                <a:cubicBezTo>
                  <a:pt x="5386560" y="5653099"/>
                  <a:pt x="5397554" y="5653099"/>
                  <a:pt x="5407592" y="5656676"/>
                </a:cubicBezTo>
                <a:close/>
                <a:moveTo>
                  <a:pt x="941847" y="5656676"/>
                </a:moveTo>
                <a:cubicBezTo>
                  <a:pt x="951856" y="5660252"/>
                  <a:pt x="960435" y="5667405"/>
                  <a:pt x="965201" y="5676941"/>
                </a:cubicBezTo>
                <a:cubicBezTo>
                  <a:pt x="974733" y="5697922"/>
                  <a:pt x="965201" y="5722718"/>
                  <a:pt x="946137" y="5732255"/>
                </a:cubicBezTo>
                <a:cubicBezTo>
                  <a:pt x="946137" y="5732255"/>
                  <a:pt x="946137" y="5732255"/>
                  <a:pt x="606791" y="5894382"/>
                </a:cubicBezTo>
                <a:cubicBezTo>
                  <a:pt x="585820" y="5903919"/>
                  <a:pt x="561036" y="5894382"/>
                  <a:pt x="551504" y="5873401"/>
                </a:cubicBezTo>
                <a:cubicBezTo>
                  <a:pt x="547691" y="5867679"/>
                  <a:pt x="547691" y="5861957"/>
                  <a:pt x="547691" y="5856234"/>
                </a:cubicBezTo>
                <a:cubicBezTo>
                  <a:pt x="547691" y="5840975"/>
                  <a:pt x="555317" y="5825716"/>
                  <a:pt x="570568" y="5818087"/>
                </a:cubicBezTo>
                <a:cubicBezTo>
                  <a:pt x="570568" y="5818087"/>
                  <a:pt x="570568" y="5818087"/>
                  <a:pt x="909914" y="5657868"/>
                </a:cubicBezTo>
                <a:cubicBezTo>
                  <a:pt x="920400" y="5653099"/>
                  <a:pt x="931838" y="5653099"/>
                  <a:pt x="941847" y="5656676"/>
                </a:cubicBezTo>
                <a:close/>
                <a:moveTo>
                  <a:pt x="4853506" y="5644857"/>
                </a:moveTo>
                <a:cubicBezTo>
                  <a:pt x="4863510" y="5648199"/>
                  <a:pt x="4872082" y="5655361"/>
                  <a:pt x="4876848" y="5665864"/>
                </a:cubicBezTo>
                <a:cubicBezTo>
                  <a:pt x="4886374" y="5686872"/>
                  <a:pt x="4876848" y="5711699"/>
                  <a:pt x="4855887" y="5723158"/>
                </a:cubicBezTo>
                <a:cubicBezTo>
                  <a:pt x="4855887" y="5723158"/>
                  <a:pt x="4855887" y="5723158"/>
                  <a:pt x="4516801" y="5881669"/>
                </a:cubicBezTo>
                <a:cubicBezTo>
                  <a:pt x="4495844" y="5891218"/>
                  <a:pt x="4471079" y="5881669"/>
                  <a:pt x="4461553" y="5860661"/>
                </a:cubicBezTo>
                <a:cubicBezTo>
                  <a:pt x="4459649" y="5854932"/>
                  <a:pt x="4457744" y="5849203"/>
                  <a:pt x="4457744" y="5843473"/>
                </a:cubicBezTo>
                <a:cubicBezTo>
                  <a:pt x="4457744" y="5828195"/>
                  <a:pt x="4467269" y="5812917"/>
                  <a:pt x="4482509" y="5805278"/>
                </a:cubicBezTo>
                <a:cubicBezTo>
                  <a:pt x="4482509" y="5805278"/>
                  <a:pt x="4482509" y="5805278"/>
                  <a:pt x="4821592" y="5646767"/>
                </a:cubicBezTo>
                <a:cubicBezTo>
                  <a:pt x="4832070" y="5641992"/>
                  <a:pt x="4843502" y="5641515"/>
                  <a:pt x="4853506" y="5644857"/>
                </a:cubicBezTo>
                <a:close/>
                <a:moveTo>
                  <a:pt x="1487895" y="5644857"/>
                </a:moveTo>
                <a:cubicBezTo>
                  <a:pt x="1498134" y="5648199"/>
                  <a:pt x="1507183" y="5655361"/>
                  <a:pt x="1512898" y="5665864"/>
                </a:cubicBezTo>
                <a:cubicBezTo>
                  <a:pt x="1522423" y="5686872"/>
                  <a:pt x="1512898" y="5711699"/>
                  <a:pt x="1491943" y="5723158"/>
                </a:cubicBezTo>
                <a:cubicBezTo>
                  <a:pt x="1491943" y="5723158"/>
                  <a:pt x="1491943" y="5723158"/>
                  <a:pt x="1152849" y="5881669"/>
                </a:cubicBezTo>
                <a:cubicBezTo>
                  <a:pt x="1131894" y="5891218"/>
                  <a:pt x="1107128" y="5881669"/>
                  <a:pt x="1097603" y="5860661"/>
                </a:cubicBezTo>
                <a:cubicBezTo>
                  <a:pt x="1093793" y="5854932"/>
                  <a:pt x="1093793" y="5849203"/>
                  <a:pt x="1093793" y="5843473"/>
                </a:cubicBezTo>
                <a:cubicBezTo>
                  <a:pt x="1093793" y="5828195"/>
                  <a:pt x="1101413" y="5812917"/>
                  <a:pt x="1116653" y="5805278"/>
                </a:cubicBezTo>
                <a:cubicBezTo>
                  <a:pt x="1116653" y="5805278"/>
                  <a:pt x="1116653" y="5805278"/>
                  <a:pt x="1455747" y="5646767"/>
                </a:cubicBezTo>
                <a:cubicBezTo>
                  <a:pt x="1466225" y="5641992"/>
                  <a:pt x="1477655" y="5641515"/>
                  <a:pt x="1487895" y="5644857"/>
                </a:cubicBezTo>
                <a:close/>
                <a:moveTo>
                  <a:pt x="4280333" y="5631131"/>
                </a:moveTo>
                <a:cubicBezTo>
                  <a:pt x="4296645" y="5629974"/>
                  <a:pt x="4312420" y="5639226"/>
                  <a:pt x="4319591" y="5654883"/>
                </a:cubicBezTo>
                <a:cubicBezTo>
                  <a:pt x="4329151" y="5677657"/>
                  <a:pt x="4319591" y="5702329"/>
                  <a:pt x="4298557" y="5711818"/>
                </a:cubicBezTo>
                <a:cubicBezTo>
                  <a:pt x="4298557" y="5711818"/>
                  <a:pt x="4298557" y="5711818"/>
                  <a:pt x="3958229" y="5867442"/>
                </a:cubicBezTo>
                <a:cubicBezTo>
                  <a:pt x="3937196" y="5876931"/>
                  <a:pt x="3912337" y="5867442"/>
                  <a:pt x="3902776" y="5846565"/>
                </a:cubicBezTo>
                <a:cubicBezTo>
                  <a:pt x="3898954" y="5840872"/>
                  <a:pt x="3898954" y="5835178"/>
                  <a:pt x="3898954" y="5829485"/>
                </a:cubicBezTo>
                <a:cubicBezTo>
                  <a:pt x="3898954" y="5812404"/>
                  <a:pt x="3906600" y="5797221"/>
                  <a:pt x="3923810" y="5789630"/>
                </a:cubicBezTo>
                <a:cubicBezTo>
                  <a:pt x="3923810" y="5789630"/>
                  <a:pt x="3923810" y="5789630"/>
                  <a:pt x="4264139" y="5635905"/>
                </a:cubicBezTo>
                <a:cubicBezTo>
                  <a:pt x="4269397" y="5633058"/>
                  <a:pt x="4274895" y="5631516"/>
                  <a:pt x="4280333" y="5631131"/>
                </a:cubicBezTo>
                <a:close/>
                <a:moveTo>
                  <a:pt x="2025802" y="5631130"/>
                </a:moveTo>
                <a:cubicBezTo>
                  <a:pt x="2042192" y="5629974"/>
                  <a:pt x="2058318" y="5639226"/>
                  <a:pt x="2066916" y="5654883"/>
                </a:cubicBezTo>
                <a:cubicBezTo>
                  <a:pt x="2076469" y="5677657"/>
                  <a:pt x="2066916" y="5702329"/>
                  <a:pt x="2045894" y="5711818"/>
                </a:cubicBezTo>
                <a:cubicBezTo>
                  <a:pt x="2045894" y="5711818"/>
                  <a:pt x="2045894" y="5711818"/>
                  <a:pt x="1705799" y="5867442"/>
                </a:cubicBezTo>
                <a:cubicBezTo>
                  <a:pt x="1682871" y="5876931"/>
                  <a:pt x="1658033" y="5867442"/>
                  <a:pt x="1648480" y="5846565"/>
                </a:cubicBezTo>
                <a:cubicBezTo>
                  <a:pt x="1646569" y="5840872"/>
                  <a:pt x="1644659" y="5835178"/>
                  <a:pt x="1644659" y="5829485"/>
                </a:cubicBezTo>
                <a:cubicBezTo>
                  <a:pt x="1644659" y="5812404"/>
                  <a:pt x="1654212" y="5797221"/>
                  <a:pt x="1669497" y="5789630"/>
                </a:cubicBezTo>
                <a:cubicBezTo>
                  <a:pt x="1669497" y="5789630"/>
                  <a:pt x="1669497" y="5789630"/>
                  <a:pt x="2009592" y="5635905"/>
                </a:cubicBezTo>
                <a:cubicBezTo>
                  <a:pt x="2014846" y="5633058"/>
                  <a:pt x="2020339" y="5631516"/>
                  <a:pt x="2025802" y="5631130"/>
                </a:cubicBezTo>
                <a:close/>
                <a:moveTo>
                  <a:pt x="3732521" y="5620423"/>
                </a:moveTo>
                <a:cubicBezTo>
                  <a:pt x="3742753" y="5624247"/>
                  <a:pt x="3751320" y="5631896"/>
                  <a:pt x="3756078" y="5642413"/>
                </a:cubicBezTo>
                <a:cubicBezTo>
                  <a:pt x="3765599" y="5665360"/>
                  <a:pt x="3756078" y="5690219"/>
                  <a:pt x="3735138" y="5699780"/>
                </a:cubicBezTo>
                <a:cubicBezTo>
                  <a:pt x="3735138" y="5699780"/>
                  <a:pt x="3735138" y="5699780"/>
                  <a:pt x="3396308" y="5854670"/>
                </a:cubicBezTo>
                <a:cubicBezTo>
                  <a:pt x="3373464" y="5864231"/>
                  <a:pt x="3348715" y="5854670"/>
                  <a:pt x="3339199" y="5833635"/>
                </a:cubicBezTo>
                <a:cubicBezTo>
                  <a:pt x="3337292" y="5827899"/>
                  <a:pt x="3335390" y="5820250"/>
                  <a:pt x="3335390" y="5814513"/>
                </a:cubicBezTo>
                <a:cubicBezTo>
                  <a:pt x="3335390" y="5799215"/>
                  <a:pt x="3344907" y="5783918"/>
                  <a:pt x="3360135" y="5776269"/>
                </a:cubicBezTo>
                <a:cubicBezTo>
                  <a:pt x="3360135" y="5776269"/>
                  <a:pt x="3360135" y="5776269"/>
                  <a:pt x="3698967" y="5621379"/>
                </a:cubicBezTo>
                <a:cubicBezTo>
                  <a:pt x="3710391" y="5616598"/>
                  <a:pt x="3722287" y="5616598"/>
                  <a:pt x="3732521" y="5620423"/>
                </a:cubicBezTo>
                <a:close/>
                <a:moveTo>
                  <a:pt x="2598306" y="5620423"/>
                </a:moveTo>
                <a:cubicBezTo>
                  <a:pt x="2608777" y="5624247"/>
                  <a:pt x="2617819" y="5631896"/>
                  <a:pt x="2622577" y="5642413"/>
                </a:cubicBezTo>
                <a:cubicBezTo>
                  <a:pt x="2632096" y="5665360"/>
                  <a:pt x="2622577" y="5690219"/>
                  <a:pt x="2601638" y="5699780"/>
                </a:cubicBezTo>
                <a:cubicBezTo>
                  <a:pt x="2601638" y="5699780"/>
                  <a:pt x="2601638" y="5699780"/>
                  <a:pt x="2262794" y="5854670"/>
                </a:cubicBezTo>
                <a:cubicBezTo>
                  <a:pt x="2239951" y="5864231"/>
                  <a:pt x="2215204" y="5854670"/>
                  <a:pt x="2205686" y="5833635"/>
                </a:cubicBezTo>
                <a:cubicBezTo>
                  <a:pt x="2203782" y="5827899"/>
                  <a:pt x="2201879" y="5820250"/>
                  <a:pt x="2201879" y="5814513"/>
                </a:cubicBezTo>
                <a:cubicBezTo>
                  <a:pt x="2201879" y="5799215"/>
                  <a:pt x="2211397" y="5783918"/>
                  <a:pt x="2226626" y="5776269"/>
                </a:cubicBezTo>
                <a:cubicBezTo>
                  <a:pt x="2226626" y="5776269"/>
                  <a:pt x="2226626" y="5776269"/>
                  <a:pt x="2565468" y="5621379"/>
                </a:cubicBezTo>
                <a:cubicBezTo>
                  <a:pt x="2575938" y="5616598"/>
                  <a:pt x="2587837" y="5616598"/>
                  <a:pt x="2598306" y="5620423"/>
                </a:cubicBezTo>
                <a:close/>
                <a:moveTo>
                  <a:pt x="3160334" y="5609267"/>
                </a:moveTo>
                <a:cubicBezTo>
                  <a:pt x="3170798" y="5613073"/>
                  <a:pt x="3179834" y="5620683"/>
                  <a:pt x="3184589" y="5631147"/>
                </a:cubicBezTo>
                <a:cubicBezTo>
                  <a:pt x="3194099" y="5653978"/>
                  <a:pt x="3184589" y="5678712"/>
                  <a:pt x="3161758" y="5688224"/>
                </a:cubicBezTo>
                <a:cubicBezTo>
                  <a:pt x="3161758" y="5688224"/>
                  <a:pt x="3161758" y="5688224"/>
                  <a:pt x="2823162" y="5840431"/>
                </a:cubicBezTo>
                <a:cubicBezTo>
                  <a:pt x="2800335" y="5849944"/>
                  <a:pt x="2775607" y="5840431"/>
                  <a:pt x="2766094" y="5817600"/>
                </a:cubicBezTo>
                <a:cubicBezTo>
                  <a:pt x="2764193" y="5811892"/>
                  <a:pt x="2762292" y="5806184"/>
                  <a:pt x="2762292" y="5800477"/>
                </a:cubicBezTo>
                <a:cubicBezTo>
                  <a:pt x="2762292" y="5783353"/>
                  <a:pt x="2771803" y="5768133"/>
                  <a:pt x="2787018" y="5760522"/>
                </a:cubicBezTo>
                <a:cubicBezTo>
                  <a:pt x="2787018" y="5760522"/>
                  <a:pt x="2787018" y="5760522"/>
                  <a:pt x="3127521" y="5610219"/>
                </a:cubicBezTo>
                <a:cubicBezTo>
                  <a:pt x="3137983" y="5605462"/>
                  <a:pt x="3149871" y="5605462"/>
                  <a:pt x="3160334" y="5609267"/>
                </a:cubicBezTo>
                <a:close/>
                <a:moveTo>
                  <a:pt x="9870771" y="5423698"/>
                </a:moveTo>
                <a:cubicBezTo>
                  <a:pt x="9879370" y="5426080"/>
                  <a:pt x="9887013" y="5431795"/>
                  <a:pt x="9891790" y="5439415"/>
                </a:cubicBezTo>
                <a:cubicBezTo>
                  <a:pt x="9901345" y="5456560"/>
                  <a:pt x="9895612" y="5479420"/>
                  <a:pt x="9878414" y="5488945"/>
                </a:cubicBezTo>
                <a:cubicBezTo>
                  <a:pt x="9878414" y="5488945"/>
                  <a:pt x="9878414" y="5488945"/>
                  <a:pt x="9542094" y="5683255"/>
                </a:cubicBezTo>
                <a:cubicBezTo>
                  <a:pt x="9524896" y="5692780"/>
                  <a:pt x="9501965" y="5687065"/>
                  <a:pt x="9492411" y="5669920"/>
                </a:cubicBezTo>
                <a:cubicBezTo>
                  <a:pt x="9490500" y="5664205"/>
                  <a:pt x="9488589" y="5658490"/>
                  <a:pt x="9488589" y="5650870"/>
                </a:cubicBezTo>
                <a:cubicBezTo>
                  <a:pt x="9488589" y="5639440"/>
                  <a:pt x="9494322" y="5628010"/>
                  <a:pt x="9505787" y="5620390"/>
                </a:cubicBezTo>
                <a:cubicBezTo>
                  <a:pt x="9505787" y="5620390"/>
                  <a:pt x="9505787" y="5620390"/>
                  <a:pt x="9844018" y="5427985"/>
                </a:cubicBezTo>
                <a:cubicBezTo>
                  <a:pt x="9852617" y="5422270"/>
                  <a:pt x="9862172" y="5421317"/>
                  <a:pt x="9870771" y="5423698"/>
                </a:cubicBezTo>
                <a:close/>
                <a:moveTo>
                  <a:pt x="10454072" y="5413206"/>
                </a:moveTo>
                <a:cubicBezTo>
                  <a:pt x="10463135" y="5415582"/>
                  <a:pt x="10471244" y="5421284"/>
                  <a:pt x="10476013" y="5429836"/>
                </a:cubicBezTo>
                <a:cubicBezTo>
                  <a:pt x="10485553" y="5446941"/>
                  <a:pt x="10479829" y="5469747"/>
                  <a:pt x="10460750" y="5479250"/>
                </a:cubicBezTo>
                <a:cubicBezTo>
                  <a:pt x="10460750" y="5479250"/>
                  <a:pt x="10460750" y="5479250"/>
                  <a:pt x="10123044" y="5667402"/>
                </a:cubicBezTo>
                <a:cubicBezTo>
                  <a:pt x="10105873" y="5676905"/>
                  <a:pt x="10084886" y="5671203"/>
                  <a:pt x="10075346" y="5654098"/>
                </a:cubicBezTo>
                <a:cubicBezTo>
                  <a:pt x="10071530" y="5648397"/>
                  <a:pt x="10069622" y="5642695"/>
                  <a:pt x="10069622" y="5636994"/>
                </a:cubicBezTo>
                <a:cubicBezTo>
                  <a:pt x="10069622" y="5623690"/>
                  <a:pt x="10077254" y="5610386"/>
                  <a:pt x="10088701" y="5604685"/>
                </a:cubicBezTo>
                <a:cubicBezTo>
                  <a:pt x="10088701" y="5604685"/>
                  <a:pt x="10088701" y="5604685"/>
                  <a:pt x="10426407" y="5416532"/>
                </a:cubicBezTo>
                <a:cubicBezTo>
                  <a:pt x="10434993" y="5411781"/>
                  <a:pt x="10445009" y="5410831"/>
                  <a:pt x="10454072" y="5413206"/>
                </a:cubicBezTo>
                <a:close/>
                <a:moveTo>
                  <a:pt x="9292639" y="5413206"/>
                </a:moveTo>
                <a:cubicBezTo>
                  <a:pt x="9301225" y="5415582"/>
                  <a:pt x="9308857" y="5421284"/>
                  <a:pt x="9313626" y="5429836"/>
                </a:cubicBezTo>
                <a:cubicBezTo>
                  <a:pt x="9325074" y="5446941"/>
                  <a:pt x="9317442" y="5469747"/>
                  <a:pt x="9300271" y="5479250"/>
                </a:cubicBezTo>
                <a:cubicBezTo>
                  <a:pt x="9300271" y="5479250"/>
                  <a:pt x="9300271" y="5479250"/>
                  <a:pt x="8962565" y="5667402"/>
                </a:cubicBezTo>
                <a:cubicBezTo>
                  <a:pt x="8945394" y="5676905"/>
                  <a:pt x="8922499" y="5671203"/>
                  <a:pt x="8912959" y="5654098"/>
                </a:cubicBezTo>
                <a:cubicBezTo>
                  <a:pt x="8911051" y="5648397"/>
                  <a:pt x="8909143" y="5642695"/>
                  <a:pt x="8909143" y="5636994"/>
                </a:cubicBezTo>
                <a:cubicBezTo>
                  <a:pt x="8909143" y="5623690"/>
                  <a:pt x="8914867" y="5610386"/>
                  <a:pt x="8928222" y="5604685"/>
                </a:cubicBezTo>
                <a:cubicBezTo>
                  <a:pt x="8928222" y="5604685"/>
                  <a:pt x="8928222" y="5604685"/>
                  <a:pt x="9265928" y="5416532"/>
                </a:cubicBezTo>
                <a:cubicBezTo>
                  <a:pt x="9274513" y="5411781"/>
                  <a:pt x="9284053" y="5410831"/>
                  <a:pt x="9292639" y="5413206"/>
                </a:cubicBezTo>
                <a:close/>
                <a:moveTo>
                  <a:pt x="11031715" y="5402102"/>
                </a:moveTo>
                <a:cubicBezTo>
                  <a:pt x="11041009" y="5404480"/>
                  <a:pt x="11049111" y="5410188"/>
                  <a:pt x="11053878" y="5418751"/>
                </a:cubicBezTo>
                <a:cubicBezTo>
                  <a:pt x="11063410" y="5437778"/>
                  <a:pt x="11055784" y="5460611"/>
                  <a:pt x="11038626" y="5470125"/>
                </a:cubicBezTo>
                <a:cubicBezTo>
                  <a:pt x="11038626" y="5470125"/>
                  <a:pt x="11038626" y="5470125"/>
                  <a:pt x="10701180" y="5654692"/>
                </a:cubicBezTo>
                <a:cubicBezTo>
                  <a:pt x="10682115" y="5664206"/>
                  <a:pt x="10661144" y="5658498"/>
                  <a:pt x="10649705" y="5639470"/>
                </a:cubicBezTo>
                <a:cubicBezTo>
                  <a:pt x="10647798" y="5633762"/>
                  <a:pt x="10645892" y="5628053"/>
                  <a:pt x="10645892" y="5622345"/>
                </a:cubicBezTo>
                <a:cubicBezTo>
                  <a:pt x="10645892" y="5609026"/>
                  <a:pt x="10653518" y="5595707"/>
                  <a:pt x="10664957" y="5589998"/>
                </a:cubicBezTo>
                <a:cubicBezTo>
                  <a:pt x="10664957" y="5589998"/>
                  <a:pt x="10664957" y="5589998"/>
                  <a:pt x="11002403" y="5405432"/>
                </a:cubicBezTo>
                <a:cubicBezTo>
                  <a:pt x="11011936" y="5400675"/>
                  <a:pt x="11022421" y="5399723"/>
                  <a:pt x="11031715" y="5402102"/>
                </a:cubicBezTo>
                <a:close/>
                <a:moveTo>
                  <a:pt x="8722109" y="5402102"/>
                </a:moveTo>
                <a:cubicBezTo>
                  <a:pt x="8731165" y="5404480"/>
                  <a:pt x="8739268" y="5410189"/>
                  <a:pt x="8744034" y="5418751"/>
                </a:cubicBezTo>
                <a:cubicBezTo>
                  <a:pt x="8753566" y="5437778"/>
                  <a:pt x="8747847" y="5460611"/>
                  <a:pt x="8728782" y="5470125"/>
                </a:cubicBezTo>
                <a:cubicBezTo>
                  <a:pt x="8728782" y="5470125"/>
                  <a:pt x="8728782" y="5470125"/>
                  <a:pt x="8391336" y="5654692"/>
                </a:cubicBezTo>
                <a:cubicBezTo>
                  <a:pt x="8374177" y="5664206"/>
                  <a:pt x="8351300" y="5658498"/>
                  <a:pt x="8341767" y="5639470"/>
                </a:cubicBezTo>
                <a:cubicBezTo>
                  <a:pt x="8337954" y="5633762"/>
                  <a:pt x="8336048" y="5628053"/>
                  <a:pt x="8336048" y="5622345"/>
                </a:cubicBezTo>
                <a:cubicBezTo>
                  <a:pt x="8336048" y="5609026"/>
                  <a:pt x="8343674" y="5595707"/>
                  <a:pt x="8355113" y="5589998"/>
                </a:cubicBezTo>
                <a:cubicBezTo>
                  <a:pt x="8355113" y="5589998"/>
                  <a:pt x="8355113" y="5589998"/>
                  <a:pt x="8694465" y="5405432"/>
                </a:cubicBezTo>
                <a:cubicBezTo>
                  <a:pt x="8703044" y="5400675"/>
                  <a:pt x="8713053" y="5399723"/>
                  <a:pt x="8722109" y="5402102"/>
                </a:cubicBezTo>
                <a:close/>
                <a:moveTo>
                  <a:pt x="11601635" y="5389647"/>
                </a:moveTo>
                <a:cubicBezTo>
                  <a:pt x="11610929" y="5392266"/>
                  <a:pt x="11619032" y="5398458"/>
                  <a:pt x="11623798" y="5407983"/>
                </a:cubicBezTo>
                <a:cubicBezTo>
                  <a:pt x="11633330" y="5427033"/>
                  <a:pt x="11627611" y="5449893"/>
                  <a:pt x="11608546" y="5459418"/>
                </a:cubicBezTo>
                <a:cubicBezTo>
                  <a:pt x="11608546" y="5459418"/>
                  <a:pt x="11608546" y="5459418"/>
                  <a:pt x="11271100" y="5638488"/>
                </a:cubicBezTo>
                <a:cubicBezTo>
                  <a:pt x="11252035" y="5649918"/>
                  <a:pt x="11229157" y="5642298"/>
                  <a:pt x="11219625" y="5623248"/>
                </a:cubicBezTo>
                <a:cubicBezTo>
                  <a:pt x="11215812" y="5617533"/>
                  <a:pt x="11215812" y="5611818"/>
                  <a:pt x="11215812" y="5606103"/>
                </a:cubicBezTo>
                <a:cubicBezTo>
                  <a:pt x="11215812" y="5592768"/>
                  <a:pt x="11221531" y="5579433"/>
                  <a:pt x="11234877" y="5571813"/>
                </a:cubicBezTo>
                <a:cubicBezTo>
                  <a:pt x="11234877" y="5571813"/>
                  <a:pt x="11234877" y="5571813"/>
                  <a:pt x="11572323" y="5392743"/>
                </a:cubicBezTo>
                <a:cubicBezTo>
                  <a:pt x="11581856" y="5387980"/>
                  <a:pt x="11592341" y="5387028"/>
                  <a:pt x="11601635" y="5389647"/>
                </a:cubicBezTo>
                <a:close/>
                <a:moveTo>
                  <a:pt x="8158325" y="5389647"/>
                </a:moveTo>
                <a:cubicBezTo>
                  <a:pt x="8167612" y="5392267"/>
                  <a:pt x="8175708" y="5398458"/>
                  <a:pt x="8180471" y="5407983"/>
                </a:cubicBezTo>
                <a:cubicBezTo>
                  <a:pt x="8189996" y="5427033"/>
                  <a:pt x="8182376" y="5449893"/>
                  <a:pt x="8165230" y="5459418"/>
                </a:cubicBezTo>
                <a:cubicBezTo>
                  <a:pt x="8165230" y="5459418"/>
                  <a:pt x="8165230" y="5459418"/>
                  <a:pt x="7826136" y="5638488"/>
                </a:cubicBezTo>
                <a:cubicBezTo>
                  <a:pt x="7808990" y="5649918"/>
                  <a:pt x="7786130" y="5642298"/>
                  <a:pt x="7774700" y="5623248"/>
                </a:cubicBezTo>
                <a:cubicBezTo>
                  <a:pt x="7772795" y="5617533"/>
                  <a:pt x="7770890" y="5611818"/>
                  <a:pt x="7770890" y="5606103"/>
                </a:cubicBezTo>
                <a:cubicBezTo>
                  <a:pt x="7770890" y="5592768"/>
                  <a:pt x="7778510" y="5579433"/>
                  <a:pt x="7791845" y="5571813"/>
                </a:cubicBezTo>
                <a:cubicBezTo>
                  <a:pt x="7791845" y="5571813"/>
                  <a:pt x="7791845" y="5571813"/>
                  <a:pt x="8129035" y="5392743"/>
                </a:cubicBezTo>
                <a:cubicBezTo>
                  <a:pt x="8138560" y="5387980"/>
                  <a:pt x="8149038" y="5387028"/>
                  <a:pt x="8158325" y="5389647"/>
                </a:cubicBezTo>
                <a:close/>
                <a:moveTo>
                  <a:pt x="12139750" y="5380043"/>
                </a:moveTo>
                <a:cubicBezTo>
                  <a:pt x="12139750" y="5380043"/>
                  <a:pt x="12139750" y="5380043"/>
                  <a:pt x="12139750" y="5467782"/>
                </a:cubicBezTo>
                <a:cubicBezTo>
                  <a:pt x="12139750" y="5467782"/>
                  <a:pt x="12139750" y="5467782"/>
                  <a:pt x="11833041" y="5626094"/>
                </a:cubicBezTo>
                <a:cubicBezTo>
                  <a:pt x="11813990" y="5635631"/>
                  <a:pt x="11791130" y="5628001"/>
                  <a:pt x="11781605" y="5608928"/>
                </a:cubicBezTo>
                <a:cubicBezTo>
                  <a:pt x="11777795" y="5603205"/>
                  <a:pt x="11777795" y="5597483"/>
                  <a:pt x="11777795" y="5591761"/>
                </a:cubicBezTo>
                <a:cubicBezTo>
                  <a:pt x="11777795" y="5578410"/>
                  <a:pt x="11785415" y="5565058"/>
                  <a:pt x="11798750" y="5557428"/>
                </a:cubicBezTo>
                <a:lnTo>
                  <a:pt x="12135940" y="5381950"/>
                </a:lnTo>
                <a:cubicBezTo>
                  <a:pt x="12137845" y="5381950"/>
                  <a:pt x="12139750" y="5380043"/>
                  <a:pt x="12139750" y="5380043"/>
                </a:cubicBezTo>
                <a:close/>
                <a:moveTo>
                  <a:pt x="7599540" y="5379505"/>
                </a:moveTo>
                <a:cubicBezTo>
                  <a:pt x="7608821" y="5382608"/>
                  <a:pt x="7616911" y="5389291"/>
                  <a:pt x="7621670" y="5398839"/>
                </a:cubicBezTo>
                <a:cubicBezTo>
                  <a:pt x="7631188" y="5417935"/>
                  <a:pt x="7623573" y="5440850"/>
                  <a:pt x="7604538" y="5450398"/>
                </a:cubicBezTo>
                <a:cubicBezTo>
                  <a:pt x="7604538" y="5450398"/>
                  <a:pt x="7604538" y="5450398"/>
                  <a:pt x="7267602" y="5626082"/>
                </a:cubicBezTo>
                <a:cubicBezTo>
                  <a:pt x="7248567" y="5635630"/>
                  <a:pt x="7225723" y="5627991"/>
                  <a:pt x="7214302" y="5608895"/>
                </a:cubicBezTo>
                <a:cubicBezTo>
                  <a:pt x="7212398" y="5603167"/>
                  <a:pt x="7210495" y="5597438"/>
                  <a:pt x="7210495" y="5591709"/>
                </a:cubicBezTo>
                <a:cubicBezTo>
                  <a:pt x="7210495" y="5578342"/>
                  <a:pt x="7218109" y="5564975"/>
                  <a:pt x="7231434" y="5557336"/>
                </a:cubicBezTo>
                <a:cubicBezTo>
                  <a:pt x="7231434" y="5557336"/>
                  <a:pt x="7231434" y="5557336"/>
                  <a:pt x="7570273" y="5381653"/>
                </a:cubicBezTo>
                <a:cubicBezTo>
                  <a:pt x="7579791" y="5376879"/>
                  <a:pt x="7590261" y="5376401"/>
                  <a:pt x="7599540" y="5379505"/>
                </a:cubicBezTo>
                <a:close/>
                <a:moveTo>
                  <a:pt x="7046905" y="5368357"/>
                </a:moveTo>
                <a:cubicBezTo>
                  <a:pt x="7056451" y="5371445"/>
                  <a:pt x="7065043" y="5378096"/>
                  <a:pt x="7070771" y="5387598"/>
                </a:cubicBezTo>
                <a:cubicBezTo>
                  <a:pt x="7080318" y="5406602"/>
                  <a:pt x="7072681" y="5431306"/>
                  <a:pt x="7051678" y="5440808"/>
                </a:cubicBezTo>
                <a:cubicBezTo>
                  <a:pt x="7051678" y="5440808"/>
                  <a:pt x="7051678" y="5440808"/>
                  <a:pt x="6713729" y="5611841"/>
                </a:cubicBezTo>
                <a:cubicBezTo>
                  <a:pt x="6694636" y="5621343"/>
                  <a:pt x="6669815" y="5613741"/>
                  <a:pt x="6660268" y="5594738"/>
                </a:cubicBezTo>
                <a:cubicBezTo>
                  <a:pt x="6656450" y="5589037"/>
                  <a:pt x="6656450" y="5581435"/>
                  <a:pt x="6656450" y="5575734"/>
                </a:cubicBezTo>
                <a:cubicBezTo>
                  <a:pt x="6656450" y="5562431"/>
                  <a:pt x="6664087" y="5547229"/>
                  <a:pt x="6677452" y="5541527"/>
                </a:cubicBezTo>
                <a:cubicBezTo>
                  <a:pt x="6677452" y="5541527"/>
                  <a:pt x="6677452" y="5541527"/>
                  <a:pt x="7017310" y="5370495"/>
                </a:cubicBezTo>
                <a:cubicBezTo>
                  <a:pt x="7026857" y="5365744"/>
                  <a:pt x="7037358" y="5365269"/>
                  <a:pt x="7046905" y="5368357"/>
                </a:cubicBezTo>
                <a:close/>
                <a:moveTo>
                  <a:pt x="6501958" y="5357490"/>
                </a:moveTo>
                <a:cubicBezTo>
                  <a:pt x="6511491" y="5360820"/>
                  <a:pt x="6519593" y="5367955"/>
                  <a:pt x="6524359" y="5378420"/>
                </a:cubicBezTo>
                <a:cubicBezTo>
                  <a:pt x="6535798" y="5397446"/>
                  <a:pt x="6526266" y="5422181"/>
                  <a:pt x="6507201" y="5431695"/>
                </a:cubicBezTo>
                <a:cubicBezTo>
                  <a:pt x="6507201" y="5431695"/>
                  <a:pt x="6507201" y="5431695"/>
                  <a:pt x="6167854" y="5597227"/>
                </a:cubicBezTo>
                <a:cubicBezTo>
                  <a:pt x="6148790" y="5608643"/>
                  <a:pt x="6124006" y="5599129"/>
                  <a:pt x="6114474" y="5580103"/>
                </a:cubicBezTo>
                <a:cubicBezTo>
                  <a:pt x="6110661" y="5574395"/>
                  <a:pt x="6108755" y="5568687"/>
                  <a:pt x="6108755" y="5561076"/>
                </a:cubicBezTo>
                <a:cubicBezTo>
                  <a:pt x="6108755" y="5547757"/>
                  <a:pt x="6118287" y="5532536"/>
                  <a:pt x="6131632" y="5524925"/>
                </a:cubicBezTo>
                <a:cubicBezTo>
                  <a:pt x="6131632" y="5524925"/>
                  <a:pt x="6131632" y="5524925"/>
                  <a:pt x="6470979" y="5359393"/>
                </a:cubicBezTo>
                <a:cubicBezTo>
                  <a:pt x="6481464" y="5354637"/>
                  <a:pt x="6492426" y="5354161"/>
                  <a:pt x="6501958" y="5357490"/>
                </a:cubicBezTo>
                <a:close/>
                <a:moveTo>
                  <a:pt x="5956806" y="5347061"/>
                </a:moveTo>
                <a:cubicBezTo>
                  <a:pt x="5966814" y="5350615"/>
                  <a:pt x="5975394" y="5357723"/>
                  <a:pt x="5980159" y="5367201"/>
                </a:cubicBezTo>
                <a:cubicBezTo>
                  <a:pt x="5989691" y="5388051"/>
                  <a:pt x="5980159" y="5412693"/>
                  <a:pt x="5961095" y="5422171"/>
                </a:cubicBezTo>
                <a:cubicBezTo>
                  <a:pt x="5961095" y="5422171"/>
                  <a:pt x="5961095" y="5422171"/>
                  <a:pt x="5621756" y="5583290"/>
                </a:cubicBezTo>
                <a:cubicBezTo>
                  <a:pt x="5600786" y="5592768"/>
                  <a:pt x="5576002" y="5585186"/>
                  <a:pt x="5566471" y="5564335"/>
                </a:cubicBezTo>
                <a:cubicBezTo>
                  <a:pt x="5562658" y="5558648"/>
                  <a:pt x="5562658" y="5552962"/>
                  <a:pt x="5562658" y="5547275"/>
                </a:cubicBezTo>
                <a:cubicBezTo>
                  <a:pt x="5562658" y="5532111"/>
                  <a:pt x="5570284" y="5516947"/>
                  <a:pt x="5585535" y="5509365"/>
                </a:cubicBezTo>
                <a:cubicBezTo>
                  <a:pt x="5585535" y="5509365"/>
                  <a:pt x="5585535" y="5509365"/>
                  <a:pt x="5924874" y="5348245"/>
                </a:cubicBezTo>
                <a:cubicBezTo>
                  <a:pt x="5935360" y="5343507"/>
                  <a:pt x="5946797" y="5343507"/>
                  <a:pt x="5956806" y="5347061"/>
                </a:cubicBezTo>
                <a:close/>
                <a:moveTo>
                  <a:pt x="398204" y="5347061"/>
                </a:moveTo>
                <a:cubicBezTo>
                  <a:pt x="407975" y="5350615"/>
                  <a:pt x="416554" y="5357723"/>
                  <a:pt x="422273" y="5367201"/>
                </a:cubicBezTo>
                <a:cubicBezTo>
                  <a:pt x="431805" y="5388051"/>
                  <a:pt x="422273" y="5412693"/>
                  <a:pt x="401302" y="5422171"/>
                </a:cubicBezTo>
                <a:cubicBezTo>
                  <a:pt x="401302" y="5422171"/>
                  <a:pt x="401302" y="5422171"/>
                  <a:pt x="63863" y="5583290"/>
                </a:cubicBezTo>
                <a:cubicBezTo>
                  <a:pt x="42892" y="5592768"/>
                  <a:pt x="18108" y="5585186"/>
                  <a:pt x="8576" y="5564335"/>
                </a:cubicBezTo>
                <a:cubicBezTo>
                  <a:pt x="4763" y="5558648"/>
                  <a:pt x="4763" y="5552962"/>
                  <a:pt x="4763" y="5547275"/>
                </a:cubicBezTo>
                <a:cubicBezTo>
                  <a:pt x="4763" y="5532111"/>
                  <a:pt x="12389" y="5516947"/>
                  <a:pt x="27641" y="5509365"/>
                </a:cubicBezTo>
                <a:cubicBezTo>
                  <a:pt x="27641" y="5509365"/>
                  <a:pt x="27641" y="5509365"/>
                  <a:pt x="366986" y="5348245"/>
                </a:cubicBezTo>
                <a:cubicBezTo>
                  <a:pt x="377472" y="5343507"/>
                  <a:pt x="388434" y="5343507"/>
                  <a:pt x="398204" y="5347061"/>
                </a:cubicBezTo>
                <a:close/>
                <a:moveTo>
                  <a:pt x="5409026" y="5334662"/>
                </a:moveTo>
                <a:cubicBezTo>
                  <a:pt x="5419064" y="5338481"/>
                  <a:pt x="5427669" y="5346121"/>
                  <a:pt x="5432449" y="5356624"/>
                </a:cubicBezTo>
                <a:cubicBezTo>
                  <a:pt x="5442009" y="5377632"/>
                  <a:pt x="5432449" y="5402459"/>
                  <a:pt x="5411416" y="5412008"/>
                </a:cubicBezTo>
                <a:cubicBezTo>
                  <a:pt x="5411416" y="5412008"/>
                  <a:pt x="5411416" y="5412008"/>
                  <a:pt x="5071064" y="5570519"/>
                </a:cubicBezTo>
                <a:cubicBezTo>
                  <a:pt x="5050034" y="5580068"/>
                  <a:pt x="5025180" y="5570519"/>
                  <a:pt x="5015621" y="5549511"/>
                </a:cubicBezTo>
                <a:cubicBezTo>
                  <a:pt x="5011797" y="5543782"/>
                  <a:pt x="5011797" y="5538053"/>
                  <a:pt x="5011797" y="5532323"/>
                </a:cubicBezTo>
                <a:cubicBezTo>
                  <a:pt x="5011797" y="5515135"/>
                  <a:pt x="5021356" y="5499857"/>
                  <a:pt x="5036651" y="5494128"/>
                </a:cubicBezTo>
                <a:cubicBezTo>
                  <a:pt x="5036651" y="5494128"/>
                  <a:pt x="5036651" y="5494128"/>
                  <a:pt x="5377000" y="5335617"/>
                </a:cubicBezTo>
                <a:cubicBezTo>
                  <a:pt x="5387517" y="5330842"/>
                  <a:pt x="5398989" y="5330842"/>
                  <a:pt x="5409026" y="5334662"/>
                </a:cubicBezTo>
                <a:close/>
                <a:moveTo>
                  <a:pt x="941871" y="5334662"/>
                </a:moveTo>
                <a:cubicBezTo>
                  <a:pt x="951873" y="5338481"/>
                  <a:pt x="960445" y="5346121"/>
                  <a:pt x="965208" y="5356624"/>
                </a:cubicBezTo>
                <a:cubicBezTo>
                  <a:pt x="974733" y="5377632"/>
                  <a:pt x="967113" y="5402459"/>
                  <a:pt x="946158" y="5412008"/>
                </a:cubicBezTo>
                <a:cubicBezTo>
                  <a:pt x="946158" y="5412008"/>
                  <a:pt x="946158" y="5412008"/>
                  <a:pt x="605159" y="5570519"/>
                </a:cubicBezTo>
                <a:cubicBezTo>
                  <a:pt x="584203" y="5580068"/>
                  <a:pt x="559438" y="5570519"/>
                  <a:pt x="549913" y="5549511"/>
                </a:cubicBezTo>
                <a:cubicBezTo>
                  <a:pt x="548008" y="5543782"/>
                  <a:pt x="546103" y="5538053"/>
                  <a:pt x="546103" y="5532323"/>
                </a:cubicBezTo>
                <a:cubicBezTo>
                  <a:pt x="546103" y="5515135"/>
                  <a:pt x="555628" y="5499857"/>
                  <a:pt x="570868" y="5494128"/>
                </a:cubicBezTo>
                <a:cubicBezTo>
                  <a:pt x="570868" y="5494128"/>
                  <a:pt x="570868" y="5494128"/>
                  <a:pt x="909962" y="5335617"/>
                </a:cubicBezTo>
                <a:cubicBezTo>
                  <a:pt x="920440" y="5330842"/>
                  <a:pt x="931870" y="5330842"/>
                  <a:pt x="941871" y="5334662"/>
                </a:cubicBezTo>
                <a:close/>
                <a:moveTo>
                  <a:pt x="4854192" y="5323799"/>
                </a:moveTo>
                <a:cubicBezTo>
                  <a:pt x="4864655" y="5327862"/>
                  <a:pt x="4873694" y="5335989"/>
                  <a:pt x="4878449" y="5347462"/>
                </a:cubicBezTo>
                <a:cubicBezTo>
                  <a:pt x="4887960" y="5368497"/>
                  <a:pt x="4878449" y="5393356"/>
                  <a:pt x="4855618" y="5402917"/>
                </a:cubicBezTo>
                <a:cubicBezTo>
                  <a:pt x="4855618" y="5402917"/>
                  <a:pt x="4855618" y="5402917"/>
                  <a:pt x="4517026" y="5555894"/>
                </a:cubicBezTo>
                <a:cubicBezTo>
                  <a:pt x="4496103" y="5567368"/>
                  <a:pt x="4471375" y="5557807"/>
                  <a:pt x="4459961" y="5534860"/>
                </a:cubicBezTo>
                <a:cubicBezTo>
                  <a:pt x="4458059" y="5529123"/>
                  <a:pt x="4456156" y="5523387"/>
                  <a:pt x="4456156" y="5517650"/>
                </a:cubicBezTo>
                <a:cubicBezTo>
                  <a:pt x="4456156" y="5500440"/>
                  <a:pt x="4465668" y="5485142"/>
                  <a:pt x="4482788" y="5477493"/>
                </a:cubicBezTo>
                <a:cubicBezTo>
                  <a:pt x="4482788" y="5477493"/>
                  <a:pt x="4482788" y="5477493"/>
                  <a:pt x="4821374" y="5324516"/>
                </a:cubicBezTo>
                <a:cubicBezTo>
                  <a:pt x="4831837" y="5319735"/>
                  <a:pt x="4843727" y="5319735"/>
                  <a:pt x="4854192" y="5323799"/>
                </a:cubicBezTo>
                <a:close/>
                <a:moveTo>
                  <a:pt x="1489585" y="5323799"/>
                </a:moveTo>
                <a:cubicBezTo>
                  <a:pt x="1499579" y="5327862"/>
                  <a:pt x="1508145" y="5335989"/>
                  <a:pt x="1512904" y="5347462"/>
                </a:cubicBezTo>
                <a:cubicBezTo>
                  <a:pt x="1522422" y="5368497"/>
                  <a:pt x="1512904" y="5393356"/>
                  <a:pt x="1491964" y="5402917"/>
                </a:cubicBezTo>
                <a:cubicBezTo>
                  <a:pt x="1491964" y="5402917"/>
                  <a:pt x="1491964" y="5402917"/>
                  <a:pt x="1153121" y="5555894"/>
                </a:cubicBezTo>
                <a:cubicBezTo>
                  <a:pt x="1130277" y="5567368"/>
                  <a:pt x="1105530" y="5557807"/>
                  <a:pt x="1096012" y="5534860"/>
                </a:cubicBezTo>
                <a:cubicBezTo>
                  <a:pt x="1094109" y="5529123"/>
                  <a:pt x="1092205" y="5523387"/>
                  <a:pt x="1092205" y="5517650"/>
                </a:cubicBezTo>
                <a:cubicBezTo>
                  <a:pt x="1092205" y="5500440"/>
                  <a:pt x="1101723" y="5485142"/>
                  <a:pt x="1116952" y="5477493"/>
                </a:cubicBezTo>
                <a:cubicBezTo>
                  <a:pt x="1116952" y="5477493"/>
                  <a:pt x="1116952" y="5477493"/>
                  <a:pt x="1457699" y="5324516"/>
                </a:cubicBezTo>
                <a:cubicBezTo>
                  <a:pt x="1468169" y="5319735"/>
                  <a:pt x="1479591" y="5319735"/>
                  <a:pt x="1489585" y="5323799"/>
                </a:cubicBezTo>
                <a:close/>
                <a:moveTo>
                  <a:pt x="4281187" y="5309975"/>
                </a:moveTo>
                <a:cubicBezTo>
                  <a:pt x="4298281" y="5310153"/>
                  <a:pt x="4314032" y="5320512"/>
                  <a:pt x="4321192" y="5336228"/>
                </a:cubicBezTo>
                <a:cubicBezTo>
                  <a:pt x="4330738" y="5359088"/>
                  <a:pt x="4321192" y="5383853"/>
                  <a:pt x="4298280" y="5395283"/>
                </a:cubicBezTo>
                <a:cubicBezTo>
                  <a:pt x="4298280" y="5395283"/>
                  <a:pt x="4298280" y="5395283"/>
                  <a:pt x="3958460" y="5541968"/>
                </a:cubicBezTo>
                <a:cubicBezTo>
                  <a:pt x="3935548" y="5551493"/>
                  <a:pt x="3910731" y="5541968"/>
                  <a:pt x="3901184" y="5519108"/>
                </a:cubicBezTo>
                <a:cubicBezTo>
                  <a:pt x="3897365" y="5513393"/>
                  <a:pt x="3897365" y="5507678"/>
                  <a:pt x="3897365" y="5501963"/>
                </a:cubicBezTo>
                <a:cubicBezTo>
                  <a:pt x="3897365" y="5484818"/>
                  <a:pt x="3906911" y="5469578"/>
                  <a:pt x="3924093" y="5461958"/>
                </a:cubicBezTo>
                <a:cubicBezTo>
                  <a:pt x="3924093" y="5461958"/>
                  <a:pt x="3924093" y="5461958"/>
                  <a:pt x="4263914" y="5313368"/>
                </a:cubicBezTo>
                <a:cubicBezTo>
                  <a:pt x="4269641" y="5310987"/>
                  <a:pt x="4275489" y="5309915"/>
                  <a:pt x="4281187" y="5309975"/>
                </a:cubicBezTo>
                <a:close/>
                <a:moveTo>
                  <a:pt x="2026929" y="5309974"/>
                </a:moveTo>
                <a:cubicBezTo>
                  <a:pt x="2044546" y="5310153"/>
                  <a:pt x="2061364" y="5320511"/>
                  <a:pt x="2068518" y="5336228"/>
                </a:cubicBezTo>
                <a:cubicBezTo>
                  <a:pt x="2078057" y="5359088"/>
                  <a:pt x="2066610" y="5383853"/>
                  <a:pt x="2045619" y="5395283"/>
                </a:cubicBezTo>
                <a:cubicBezTo>
                  <a:pt x="2045619" y="5395283"/>
                  <a:pt x="2045619" y="5395283"/>
                  <a:pt x="1704121" y="5541968"/>
                </a:cubicBezTo>
                <a:cubicBezTo>
                  <a:pt x="1683136" y="5551493"/>
                  <a:pt x="1656426" y="5541968"/>
                  <a:pt x="1646887" y="5519108"/>
                </a:cubicBezTo>
                <a:cubicBezTo>
                  <a:pt x="1644979" y="5513393"/>
                  <a:pt x="1643071" y="5507678"/>
                  <a:pt x="1643071" y="5501963"/>
                </a:cubicBezTo>
                <a:cubicBezTo>
                  <a:pt x="1643071" y="5484818"/>
                  <a:pt x="1652611" y="5469578"/>
                  <a:pt x="1669781" y="5461958"/>
                </a:cubicBezTo>
                <a:cubicBezTo>
                  <a:pt x="1669781" y="5461958"/>
                  <a:pt x="1669781" y="5461958"/>
                  <a:pt x="2009371" y="5313368"/>
                </a:cubicBezTo>
                <a:cubicBezTo>
                  <a:pt x="2015094" y="5310986"/>
                  <a:pt x="2021056" y="5309915"/>
                  <a:pt x="2026929" y="5309974"/>
                </a:cubicBezTo>
                <a:close/>
                <a:moveTo>
                  <a:pt x="3719258" y="5298899"/>
                </a:moveTo>
                <a:cubicBezTo>
                  <a:pt x="3736337" y="5299168"/>
                  <a:pt x="3752079" y="5309897"/>
                  <a:pt x="3759237" y="5327064"/>
                </a:cubicBezTo>
                <a:cubicBezTo>
                  <a:pt x="3768773" y="5349954"/>
                  <a:pt x="3759237" y="5376658"/>
                  <a:pt x="3736337" y="5386196"/>
                </a:cubicBezTo>
                <a:cubicBezTo>
                  <a:pt x="3736337" y="5386196"/>
                  <a:pt x="3736337" y="5386196"/>
                  <a:pt x="3394855" y="5529255"/>
                </a:cubicBezTo>
                <a:cubicBezTo>
                  <a:pt x="3371961" y="5538793"/>
                  <a:pt x="3347159" y="5527348"/>
                  <a:pt x="3337618" y="5504458"/>
                </a:cubicBezTo>
                <a:cubicBezTo>
                  <a:pt x="3333804" y="5498736"/>
                  <a:pt x="3333804" y="5493014"/>
                  <a:pt x="3333804" y="5487291"/>
                </a:cubicBezTo>
                <a:cubicBezTo>
                  <a:pt x="3333804" y="5470124"/>
                  <a:pt x="3343341" y="5454864"/>
                  <a:pt x="3360513" y="5447234"/>
                </a:cubicBezTo>
                <a:cubicBezTo>
                  <a:pt x="3360513" y="5447234"/>
                  <a:pt x="3360513" y="5447234"/>
                  <a:pt x="3701998" y="5302267"/>
                </a:cubicBezTo>
                <a:cubicBezTo>
                  <a:pt x="3707719" y="5299883"/>
                  <a:pt x="3713565" y="5298810"/>
                  <a:pt x="3719258" y="5298899"/>
                </a:cubicBezTo>
                <a:close/>
                <a:moveTo>
                  <a:pt x="2583547" y="5298899"/>
                </a:moveTo>
                <a:cubicBezTo>
                  <a:pt x="2600298" y="5299168"/>
                  <a:pt x="2617050" y="5309897"/>
                  <a:pt x="2624178" y="5327064"/>
                </a:cubicBezTo>
                <a:cubicBezTo>
                  <a:pt x="2633683" y="5349954"/>
                  <a:pt x="2624178" y="5376658"/>
                  <a:pt x="2601368" y="5386196"/>
                </a:cubicBezTo>
                <a:cubicBezTo>
                  <a:pt x="2601368" y="5386196"/>
                  <a:pt x="2601368" y="5386196"/>
                  <a:pt x="2261117" y="5529255"/>
                </a:cubicBezTo>
                <a:cubicBezTo>
                  <a:pt x="2238307" y="5538793"/>
                  <a:pt x="2213596" y="5527348"/>
                  <a:pt x="2204092" y="5504458"/>
                </a:cubicBezTo>
                <a:cubicBezTo>
                  <a:pt x="2200290" y="5498736"/>
                  <a:pt x="2200290" y="5493014"/>
                  <a:pt x="2200290" y="5487291"/>
                </a:cubicBezTo>
                <a:cubicBezTo>
                  <a:pt x="2200290" y="5470124"/>
                  <a:pt x="2209795" y="5454864"/>
                  <a:pt x="2226902" y="5447234"/>
                </a:cubicBezTo>
                <a:cubicBezTo>
                  <a:pt x="2226902" y="5447234"/>
                  <a:pt x="2226902" y="5447234"/>
                  <a:pt x="2567153" y="5302267"/>
                </a:cubicBezTo>
                <a:cubicBezTo>
                  <a:pt x="2572380" y="5299883"/>
                  <a:pt x="2577964" y="5298810"/>
                  <a:pt x="2583547" y="5298899"/>
                </a:cubicBezTo>
                <a:close/>
                <a:moveTo>
                  <a:pt x="3161733" y="5292230"/>
                </a:moveTo>
                <a:cubicBezTo>
                  <a:pt x="3172419" y="5296505"/>
                  <a:pt x="3181443" y="5305055"/>
                  <a:pt x="3186188" y="5317405"/>
                </a:cubicBezTo>
                <a:cubicBezTo>
                  <a:pt x="3195686" y="5340205"/>
                  <a:pt x="3184290" y="5366805"/>
                  <a:pt x="3161495" y="5376305"/>
                </a:cubicBezTo>
                <a:cubicBezTo>
                  <a:pt x="3161495" y="5376305"/>
                  <a:pt x="3161495" y="5376305"/>
                  <a:pt x="2821486" y="5515005"/>
                </a:cubicBezTo>
                <a:cubicBezTo>
                  <a:pt x="2798692" y="5524505"/>
                  <a:pt x="2772100" y="5513105"/>
                  <a:pt x="2762604" y="5488405"/>
                </a:cubicBezTo>
                <a:cubicBezTo>
                  <a:pt x="2760705" y="5484605"/>
                  <a:pt x="2760705" y="5477005"/>
                  <a:pt x="2760705" y="5471305"/>
                </a:cubicBezTo>
                <a:cubicBezTo>
                  <a:pt x="2760705" y="5454205"/>
                  <a:pt x="2770200" y="5437105"/>
                  <a:pt x="2787298" y="5429505"/>
                </a:cubicBezTo>
                <a:cubicBezTo>
                  <a:pt x="2787298" y="5429505"/>
                  <a:pt x="2787298" y="5429505"/>
                  <a:pt x="3127305" y="5292705"/>
                </a:cubicBezTo>
                <a:cubicBezTo>
                  <a:pt x="3138701" y="5287955"/>
                  <a:pt x="3151049" y="5287955"/>
                  <a:pt x="3161733" y="5292230"/>
                </a:cubicBezTo>
                <a:close/>
                <a:moveTo>
                  <a:pt x="9868289" y="5096095"/>
                </a:moveTo>
                <a:cubicBezTo>
                  <a:pt x="9876611" y="5097754"/>
                  <a:pt x="9884219" y="5102496"/>
                  <a:pt x="9888974" y="5110082"/>
                </a:cubicBezTo>
                <a:cubicBezTo>
                  <a:pt x="9896582" y="5125253"/>
                  <a:pt x="9892778" y="5146115"/>
                  <a:pt x="9877562" y="5155597"/>
                </a:cubicBezTo>
                <a:cubicBezTo>
                  <a:pt x="9877562" y="5155597"/>
                  <a:pt x="9877562" y="5155597"/>
                  <a:pt x="9542804" y="5364209"/>
                </a:cubicBezTo>
                <a:cubicBezTo>
                  <a:pt x="9527588" y="5373692"/>
                  <a:pt x="9506665" y="5368002"/>
                  <a:pt x="9497155" y="5352831"/>
                </a:cubicBezTo>
                <a:cubicBezTo>
                  <a:pt x="9493351" y="5347141"/>
                  <a:pt x="9493351" y="5341452"/>
                  <a:pt x="9493351" y="5335762"/>
                </a:cubicBezTo>
                <a:cubicBezTo>
                  <a:pt x="9493351" y="5324383"/>
                  <a:pt x="9497155" y="5314901"/>
                  <a:pt x="9508567" y="5307315"/>
                </a:cubicBezTo>
                <a:cubicBezTo>
                  <a:pt x="9508567" y="5307315"/>
                  <a:pt x="9508567" y="5307315"/>
                  <a:pt x="9843325" y="5100599"/>
                </a:cubicBezTo>
                <a:cubicBezTo>
                  <a:pt x="9850933" y="5095858"/>
                  <a:pt x="9859968" y="5094436"/>
                  <a:pt x="9868289" y="5096095"/>
                </a:cubicBezTo>
                <a:close/>
                <a:moveTo>
                  <a:pt x="10452111" y="5084390"/>
                </a:moveTo>
                <a:cubicBezTo>
                  <a:pt x="10460452" y="5086541"/>
                  <a:pt x="10468078" y="5091797"/>
                  <a:pt x="10472844" y="5099443"/>
                </a:cubicBezTo>
                <a:cubicBezTo>
                  <a:pt x="10482377" y="5116646"/>
                  <a:pt x="10476657" y="5137673"/>
                  <a:pt x="10461405" y="5147230"/>
                </a:cubicBezTo>
                <a:cubicBezTo>
                  <a:pt x="10461405" y="5147230"/>
                  <a:pt x="10461405" y="5147230"/>
                  <a:pt x="10125860" y="5349847"/>
                </a:cubicBezTo>
                <a:cubicBezTo>
                  <a:pt x="10108701" y="5359405"/>
                  <a:pt x="10087730" y="5353670"/>
                  <a:pt x="10078197" y="5338378"/>
                </a:cubicBezTo>
                <a:cubicBezTo>
                  <a:pt x="10074384" y="5332644"/>
                  <a:pt x="10074384" y="5326910"/>
                  <a:pt x="10074384" y="5321175"/>
                </a:cubicBezTo>
                <a:cubicBezTo>
                  <a:pt x="10074384" y="5309706"/>
                  <a:pt x="10080104" y="5298237"/>
                  <a:pt x="10089636" y="5290591"/>
                </a:cubicBezTo>
                <a:cubicBezTo>
                  <a:pt x="10089636" y="5290591"/>
                  <a:pt x="10089636" y="5290591"/>
                  <a:pt x="10427088" y="5087974"/>
                </a:cubicBezTo>
                <a:cubicBezTo>
                  <a:pt x="10434714" y="5083196"/>
                  <a:pt x="10443770" y="5082240"/>
                  <a:pt x="10452111" y="5084390"/>
                </a:cubicBezTo>
                <a:close/>
                <a:moveTo>
                  <a:pt x="9291418" y="5084390"/>
                </a:moveTo>
                <a:cubicBezTo>
                  <a:pt x="9299991" y="5086541"/>
                  <a:pt x="9307611" y="5091797"/>
                  <a:pt x="9312374" y="5099443"/>
                </a:cubicBezTo>
                <a:cubicBezTo>
                  <a:pt x="9321899" y="5116646"/>
                  <a:pt x="9316184" y="5137673"/>
                  <a:pt x="9300944" y="5147230"/>
                </a:cubicBezTo>
                <a:cubicBezTo>
                  <a:pt x="9300944" y="5147230"/>
                  <a:pt x="9300944" y="5147230"/>
                  <a:pt x="8963754" y="5349847"/>
                </a:cubicBezTo>
                <a:cubicBezTo>
                  <a:pt x="8948514" y="5359405"/>
                  <a:pt x="8927558" y="5353670"/>
                  <a:pt x="8918033" y="5338378"/>
                </a:cubicBezTo>
                <a:cubicBezTo>
                  <a:pt x="8914223" y="5332644"/>
                  <a:pt x="8912318" y="5326910"/>
                  <a:pt x="8912318" y="5321175"/>
                </a:cubicBezTo>
                <a:cubicBezTo>
                  <a:pt x="8912318" y="5309706"/>
                  <a:pt x="8918033" y="5298237"/>
                  <a:pt x="8929463" y="5290591"/>
                </a:cubicBezTo>
                <a:cubicBezTo>
                  <a:pt x="8929463" y="5290591"/>
                  <a:pt x="8929463" y="5290591"/>
                  <a:pt x="9264748" y="5087974"/>
                </a:cubicBezTo>
                <a:cubicBezTo>
                  <a:pt x="9273321" y="5083196"/>
                  <a:pt x="9282846" y="5082240"/>
                  <a:pt x="9291418" y="5084390"/>
                </a:cubicBezTo>
                <a:close/>
                <a:moveTo>
                  <a:pt x="11029363" y="5075090"/>
                </a:moveTo>
                <a:cubicBezTo>
                  <a:pt x="11037955" y="5077474"/>
                  <a:pt x="11045593" y="5083196"/>
                  <a:pt x="11050366" y="5091778"/>
                </a:cubicBezTo>
                <a:cubicBezTo>
                  <a:pt x="11061823" y="5107036"/>
                  <a:pt x="11056095" y="5129922"/>
                  <a:pt x="11038910" y="5139458"/>
                </a:cubicBezTo>
                <a:cubicBezTo>
                  <a:pt x="11038910" y="5139458"/>
                  <a:pt x="11038910" y="5139458"/>
                  <a:pt x="10700944" y="5333994"/>
                </a:cubicBezTo>
                <a:cubicBezTo>
                  <a:pt x="10683759" y="5343530"/>
                  <a:pt x="10662755" y="5337808"/>
                  <a:pt x="10653208" y="5320643"/>
                </a:cubicBezTo>
                <a:cubicBezTo>
                  <a:pt x="10649389" y="5314922"/>
                  <a:pt x="10647480" y="5309200"/>
                  <a:pt x="10647480" y="5303478"/>
                </a:cubicBezTo>
                <a:cubicBezTo>
                  <a:pt x="10647480" y="5292035"/>
                  <a:pt x="10655118" y="5280592"/>
                  <a:pt x="10664665" y="5272963"/>
                </a:cubicBezTo>
                <a:cubicBezTo>
                  <a:pt x="10664665" y="5272963"/>
                  <a:pt x="10664665" y="5272963"/>
                  <a:pt x="11002631" y="5078428"/>
                </a:cubicBezTo>
                <a:cubicBezTo>
                  <a:pt x="11011223" y="5073660"/>
                  <a:pt x="11020770" y="5072706"/>
                  <a:pt x="11029363" y="5075090"/>
                </a:cubicBezTo>
                <a:close/>
                <a:moveTo>
                  <a:pt x="8719756" y="5075090"/>
                </a:moveTo>
                <a:cubicBezTo>
                  <a:pt x="8728587" y="5077474"/>
                  <a:pt x="8736703" y="5083196"/>
                  <a:pt x="8742431" y="5091778"/>
                </a:cubicBezTo>
                <a:cubicBezTo>
                  <a:pt x="8751978" y="5107036"/>
                  <a:pt x="8746250" y="5129922"/>
                  <a:pt x="8729065" y="5139458"/>
                </a:cubicBezTo>
                <a:cubicBezTo>
                  <a:pt x="8729065" y="5139458"/>
                  <a:pt x="8729065" y="5139458"/>
                  <a:pt x="8391099" y="5333994"/>
                </a:cubicBezTo>
                <a:cubicBezTo>
                  <a:pt x="8373914" y="5343530"/>
                  <a:pt x="8352910" y="5337808"/>
                  <a:pt x="8343363" y="5320643"/>
                </a:cubicBezTo>
                <a:cubicBezTo>
                  <a:pt x="8339544" y="5314922"/>
                  <a:pt x="8337635" y="5309200"/>
                  <a:pt x="8337635" y="5303478"/>
                </a:cubicBezTo>
                <a:cubicBezTo>
                  <a:pt x="8337635" y="5292035"/>
                  <a:pt x="8345273" y="5280592"/>
                  <a:pt x="8356729" y="5272963"/>
                </a:cubicBezTo>
                <a:cubicBezTo>
                  <a:pt x="8356729" y="5272963"/>
                  <a:pt x="8356729" y="5272963"/>
                  <a:pt x="8692786" y="5078428"/>
                </a:cubicBezTo>
                <a:cubicBezTo>
                  <a:pt x="8701379" y="5073660"/>
                  <a:pt x="8710925" y="5072706"/>
                  <a:pt x="8719756" y="5075090"/>
                </a:cubicBezTo>
                <a:close/>
                <a:moveTo>
                  <a:pt x="11600954" y="5064224"/>
                </a:moveTo>
                <a:cubicBezTo>
                  <a:pt x="11609785" y="5066850"/>
                  <a:pt x="11617423" y="5073055"/>
                  <a:pt x="11622196" y="5082602"/>
                </a:cubicBezTo>
                <a:cubicBezTo>
                  <a:pt x="11631743" y="5099787"/>
                  <a:pt x="11626015" y="5120791"/>
                  <a:pt x="11608830" y="5132248"/>
                </a:cubicBezTo>
                <a:cubicBezTo>
                  <a:pt x="11608830" y="5132248"/>
                  <a:pt x="11608830" y="5132248"/>
                  <a:pt x="11270864" y="5319373"/>
                </a:cubicBezTo>
                <a:cubicBezTo>
                  <a:pt x="11253679" y="5330830"/>
                  <a:pt x="11230766" y="5323192"/>
                  <a:pt x="11221219" y="5306007"/>
                </a:cubicBezTo>
                <a:cubicBezTo>
                  <a:pt x="11217400" y="5300279"/>
                  <a:pt x="11217400" y="5294550"/>
                  <a:pt x="11217400" y="5288822"/>
                </a:cubicBezTo>
                <a:cubicBezTo>
                  <a:pt x="11217400" y="5275456"/>
                  <a:pt x="11223128" y="5262090"/>
                  <a:pt x="11234585" y="5256362"/>
                </a:cubicBezTo>
                <a:cubicBezTo>
                  <a:pt x="11234585" y="5256362"/>
                  <a:pt x="11234585" y="5256362"/>
                  <a:pt x="11572551" y="5067327"/>
                </a:cubicBezTo>
                <a:cubicBezTo>
                  <a:pt x="11582098" y="5062553"/>
                  <a:pt x="11592123" y="5061599"/>
                  <a:pt x="11600954" y="5064224"/>
                </a:cubicBezTo>
                <a:close/>
                <a:moveTo>
                  <a:pt x="8155460" y="5064224"/>
                </a:moveTo>
                <a:cubicBezTo>
                  <a:pt x="8164488" y="5066850"/>
                  <a:pt x="8172566" y="5073055"/>
                  <a:pt x="8177317" y="5082602"/>
                </a:cubicBezTo>
                <a:cubicBezTo>
                  <a:pt x="8186821" y="5099787"/>
                  <a:pt x="8181119" y="5120791"/>
                  <a:pt x="8162112" y="5132248"/>
                </a:cubicBezTo>
                <a:cubicBezTo>
                  <a:pt x="8162112" y="5132248"/>
                  <a:pt x="8162112" y="5132248"/>
                  <a:pt x="7825696" y="5319373"/>
                </a:cubicBezTo>
                <a:cubicBezTo>
                  <a:pt x="7808590" y="5330830"/>
                  <a:pt x="7787683" y="5323192"/>
                  <a:pt x="7776279" y="5306007"/>
                </a:cubicBezTo>
                <a:cubicBezTo>
                  <a:pt x="7774378" y="5300279"/>
                  <a:pt x="7772478" y="5294550"/>
                  <a:pt x="7772478" y="5288822"/>
                </a:cubicBezTo>
                <a:cubicBezTo>
                  <a:pt x="7772478" y="5275456"/>
                  <a:pt x="7780080" y="5262090"/>
                  <a:pt x="7791484" y="5256362"/>
                </a:cubicBezTo>
                <a:cubicBezTo>
                  <a:pt x="7791484" y="5256362"/>
                  <a:pt x="7791484" y="5256362"/>
                  <a:pt x="8127900" y="5067327"/>
                </a:cubicBezTo>
                <a:cubicBezTo>
                  <a:pt x="8136453" y="5062553"/>
                  <a:pt x="8146432" y="5061599"/>
                  <a:pt x="8155460" y="5064224"/>
                </a:cubicBezTo>
                <a:close/>
                <a:moveTo>
                  <a:pt x="12139750" y="5056192"/>
                </a:moveTo>
                <a:cubicBezTo>
                  <a:pt x="12139750" y="5056192"/>
                  <a:pt x="12139750" y="5056192"/>
                  <a:pt x="12139750" y="5139909"/>
                </a:cubicBezTo>
                <a:cubicBezTo>
                  <a:pt x="12139750" y="5139909"/>
                  <a:pt x="12139750" y="5139909"/>
                  <a:pt x="11834946" y="5305441"/>
                </a:cubicBezTo>
                <a:cubicBezTo>
                  <a:pt x="11815896" y="5314955"/>
                  <a:pt x="11793035" y="5307344"/>
                  <a:pt x="11783510" y="5290220"/>
                </a:cubicBezTo>
                <a:cubicBezTo>
                  <a:pt x="11779700" y="5284512"/>
                  <a:pt x="11777795" y="5276901"/>
                  <a:pt x="11777795" y="5271193"/>
                </a:cubicBezTo>
                <a:cubicBezTo>
                  <a:pt x="11777795" y="5257875"/>
                  <a:pt x="11785415" y="5244556"/>
                  <a:pt x="11798750" y="5238848"/>
                </a:cubicBezTo>
                <a:lnTo>
                  <a:pt x="12135940" y="5058094"/>
                </a:lnTo>
                <a:cubicBezTo>
                  <a:pt x="12137845" y="5056192"/>
                  <a:pt x="12137845" y="5056192"/>
                  <a:pt x="12139750" y="5056192"/>
                </a:cubicBezTo>
                <a:close/>
                <a:moveTo>
                  <a:pt x="7597906" y="5054684"/>
                </a:moveTo>
                <a:cubicBezTo>
                  <a:pt x="7607199" y="5057304"/>
                  <a:pt x="7615302" y="5063495"/>
                  <a:pt x="7620068" y="5073020"/>
                </a:cubicBezTo>
                <a:cubicBezTo>
                  <a:pt x="7629601" y="5090165"/>
                  <a:pt x="7623881" y="5113025"/>
                  <a:pt x="7604817" y="5124455"/>
                </a:cubicBezTo>
                <a:cubicBezTo>
                  <a:pt x="7604817" y="5124455"/>
                  <a:pt x="7604817" y="5124455"/>
                  <a:pt x="7267371" y="5305430"/>
                </a:cubicBezTo>
                <a:cubicBezTo>
                  <a:pt x="7248306" y="5314955"/>
                  <a:pt x="7225428" y="5307335"/>
                  <a:pt x="7215896" y="5290190"/>
                </a:cubicBezTo>
                <a:cubicBezTo>
                  <a:pt x="7213989" y="5284475"/>
                  <a:pt x="7212083" y="5276855"/>
                  <a:pt x="7212083" y="5271140"/>
                </a:cubicBezTo>
                <a:cubicBezTo>
                  <a:pt x="7212083" y="5257805"/>
                  <a:pt x="7219709" y="5244470"/>
                  <a:pt x="7231147" y="5238755"/>
                </a:cubicBezTo>
                <a:cubicBezTo>
                  <a:pt x="7231147" y="5238755"/>
                  <a:pt x="7231147" y="5238755"/>
                  <a:pt x="7568594" y="5057780"/>
                </a:cubicBezTo>
                <a:cubicBezTo>
                  <a:pt x="7578126" y="5053017"/>
                  <a:pt x="7588611" y="5052065"/>
                  <a:pt x="7597906" y="5054684"/>
                </a:cubicBezTo>
                <a:close/>
                <a:moveTo>
                  <a:pt x="7046964" y="5044542"/>
                </a:moveTo>
                <a:cubicBezTo>
                  <a:pt x="7056279" y="5047645"/>
                  <a:pt x="7064400" y="5054328"/>
                  <a:pt x="7069177" y="5063876"/>
                </a:cubicBezTo>
                <a:cubicBezTo>
                  <a:pt x="7078731" y="5082972"/>
                  <a:pt x="7071088" y="5105887"/>
                  <a:pt x="7051980" y="5115435"/>
                </a:cubicBezTo>
                <a:cubicBezTo>
                  <a:pt x="7051980" y="5115435"/>
                  <a:pt x="7051980" y="5115435"/>
                  <a:pt x="6713773" y="5291119"/>
                </a:cubicBezTo>
                <a:cubicBezTo>
                  <a:pt x="6694665" y="5300667"/>
                  <a:pt x="6669825" y="5293028"/>
                  <a:pt x="6660271" y="5273932"/>
                </a:cubicBezTo>
                <a:cubicBezTo>
                  <a:pt x="6658361" y="5268204"/>
                  <a:pt x="6656450" y="5262475"/>
                  <a:pt x="6656450" y="5256746"/>
                </a:cubicBezTo>
                <a:cubicBezTo>
                  <a:pt x="6656450" y="5241469"/>
                  <a:pt x="6664093" y="5228102"/>
                  <a:pt x="6677468" y="5222373"/>
                </a:cubicBezTo>
                <a:cubicBezTo>
                  <a:pt x="6677468" y="5222373"/>
                  <a:pt x="6677468" y="5222373"/>
                  <a:pt x="7017586" y="5046690"/>
                </a:cubicBezTo>
                <a:cubicBezTo>
                  <a:pt x="7027140" y="5041916"/>
                  <a:pt x="7037649" y="5041438"/>
                  <a:pt x="7046964" y="5044542"/>
                </a:cubicBezTo>
                <a:close/>
                <a:moveTo>
                  <a:pt x="6485663" y="5032630"/>
                </a:moveTo>
                <a:cubicBezTo>
                  <a:pt x="6501356" y="5031381"/>
                  <a:pt x="6515979" y="5040300"/>
                  <a:pt x="6523112" y="5054570"/>
                </a:cubicBezTo>
                <a:cubicBezTo>
                  <a:pt x="6532623" y="5075499"/>
                  <a:pt x="6525014" y="5098331"/>
                  <a:pt x="6505992" y="5107845"/>
                </a:cubicBezTo>
                <a:cubicBezTo>
                  <a:pt x="6505992" y="5107845"/>
                  <a:pt x="6505992" y="5107845"/>
                  <a:pt x="6167407" y="5275279"/>
                </a:cubicBezTo>
                <a:cubicBezTo>
                  <a:pt x="6148385" y="5284793"/>
                  <a:pt x="6123657" y="5277182"/>
                  <a:pt x="6114146" y="5258155"/>
                </a:cubicBezTo>
                <a:cubicBezTo>
                  <a:pt x="6110342" y="5252447"/>
                  <a:pt x="6110342" y="5246739"/>
                  <a:pt x="6110342" y="5239129"/>
                </a:cubicBezTo>
                <a:cubicBezTo>
                  <a:pt x="6110342" y="5225810"/>
                  <a:pt x="6117950" y="5210589"/>
                  <a:pt x="6131266" y="5202978"/>
                </a:cubicBezTo>
                <a:cubicBezTo>
                  <a:pt x="6131266" y="5202978"/>
                  <a:pt x="6131266" y="5202978"/>
                  <a:pt x="6469851" y="5037446"/>
                </a:cubicBezTo>
                <a:cubicBezTo>
                  <a:pt x="6475082" y="5034592"/>
                  <a:pt x="6480432" y="5033046"/>
                  <a:pt x="6485663" y="5032630"/>
                </a:cubicBezTo>
                <a:close/>
                <a:moveTo>
                  <a:pt x="5956806" y="5024850"/>
                </a:moveTo>
                <a:cubicBezTo>
                  <a:pt x="5966814" y="5028426"/>
                  <a:pt x="5975394" y="5035579"/>
                  <a:pt x="5980159" y="5045115"/>
                </a:cubicBezTo>
                <a:cubicBezTo>
                  <a:pt x="5989691" y="5066096"/>
                  <a:pt x="5980159" y="5090892"/>
                  <a:pt x="5961095" y="5100429"/>
                </a:cubicBezTo>
                <a:cubicBezTo>
                  <a:pt x="5961095" y="5100429"/>
                  <a:pt x="5961095" y="5100429"/>
                  <a:pt x="5621756" y="5262556"/>
                </a:cubicBezTo>
                <a:cubicBezTo>
                  <a:pt x="5600786" y="5272093"/>
                  <a:pt x="5576002" y="5262556"/>
                  <a:pt x="5566471" y="5241575"/>
                </a:cubicBezTo>
                <a:cubicBezTo>
                  <a:pt x="5562658" y="5235853"/>
                  <a:pt x="5562658" y="5230131"/>
                  <a:pt x="5562658" y="5224408"/>
                </a:cubicBezTo>
                <a:cubicBezTo>
                  <a:pt x="5562658" y="5209149"/>
                  <a:pt x="5570284" y="5193890"/>
                  <a:pt x="5585535" y="5186261"/>
                </a:cubicBezTo>
                <a:cubicBezTo>
                  <a:pt x="5585535" y="5186261"/>
                  <a:pt x="5585535" y="5186261"/>
                  <a:pt x="5924874" y="5026042"/>
                </a:cubicBezTo>
                <a:cubicBezTo>
                  <a:pt x="5935360" y="5021273"/>
                  <a:pt x="5946797" y="5021273"/>
                  <a:pt x="5956806" y="5024850"/>
                </a:cubicBezTo>
                <a:close/>
                <a:moveTo>
                  <a:pt x="398945" y="5024850"/>
                </a:moveTo>
                <a:cubicBezTo>
                  <a:pt x="408946" y="5028426"/>
                  <a:pt x="417519" y="5035578"/>
                  <a:pt x="422281" y="5045115"/>
                </a:cubicBezTo>
                <a:cubicBezTo>
                  <a:pt x="431806" y="5066096"/>
                  <a:pt x="422281" y="5090892"/>
                  <a:pt x="401326" y="5100429"/>
                </a:cubicBezTo>
                <a:cubicBezTo>
                  <a:pt x="401326" y="5100429"/>
                  <a:pt x="401326" y="5100429"/>
                  <a:pt x="62232" y="5262556"/>
                </a:cubicBezTo>
                <a:cubicBezTo>
                  <a:pt x="43182" y="5272093"/>
                  <a:pt x="18416" y="5262556"/>
                  <a:pt x="8891" y="5241575"/>
                </a:cubicBezTo>
                <a:cubicBezTo>
                  <a:pt x="5081" y="5235853"/>
                  <a:pt x="3176" y="5230131"/>
                  <a:pt x="3176" y="5224408"/>
                </a:cubicBezTo>
                <a:cubicBezTo>
                  <a:pt x="3176" y="5209149"/>
                  <a:pt x="12701" y="5193890"/>
                  <a:pt x="27941" y="5186261"/>
                </a:cubicBezTo>
                <a:cubicBezTo>
                  <a:pt x="27941" y="5186261"/>
                  <a:pt x="27941" y="5186261"/>
                  <a:pt x="367036" y="5026042"/>
                </a:cubicBezTo>
                <a:cubicBezTo>
                  <a:pt x="377513" y="5021273"/>
                  <a:pt x="388943" y="5021273"/>
                  <a:pt x="398945" y="5024850"/>
                </a:cubicBezTo>
                <a:close/>
                <a:moveTo>
                  <a:pt x="5409053" y="5014180"/>
                </a:moveTo>
                <a:cubicBezTo>
                  <a:pt x="5419083" y="5018218"/>
                  <a:pt x="5427680" y="5026294"/>
                  <a:pt x="5432458" y="5037695"/>
                </a:cubicBezTo>
                <a:cubicBezTo>
                  <a:pt x="5442010" y="5058597"/>
                  <a:pt x="5434368" y="5083300"/>
                  <a:pt x="5411440" y="5092800"/>
                </a:cubicBezTo>
                <a:cubicBezTo>
                  <a:pt x="5411440" y="5092800"/>
                  <a:pt x="5411440" y="5092800"/>
                  <a:pt x="5071343" y="5246716"/>
                </a:cubicBezTo>
                <a:cubicBezTo>
                  <a:pt x="5050328" y="5256217"/>
                  <a:pt x="5025493" y="5246716"/>
                  <a:pt x="5014031" y="5225814"/>
                </a:cubicBezTo>
                <a:cubicBezTo>
                  <a:pt x="5012120" y="5220113"/>
                  <a:pt x="5010210" y="5214413"/>
                  <a:pt x="5010210" y="5208712"/>
                </a:cubicBezTo>
                <a:cubicBezTo>
                  <a:pt x="5010210" y="5191610"/>
                  <a:pt x="5019762" y="5176409"/>
                  <a:pt x="5036956" y="5168808"/>
                </a:cubicBezTo>
                <a:cubicBezTo>
                  <a:pt x="5036956" y="5168808"/>
                  <a:pt x="5036956" y="5168808"/>
                  <a:pt x="5377049" y="5014893"/>
                </a:cubicBezTo>
                <a:cubicBezTo>
                  <a:pt x="5387557" y="5010142"/>
                  <a:pt x="5399022" y="5010142"/>
                  <a:pt x="5409053" y="5014180"/>
                </a:cubicBezTo>
                <a:close/>
                <a:moveTo>
                  <a:pt x="942531" y="5014180"/>
                </a:moveTo>
                <a:cubicBezTo>
                  <a:pt x="953001" y="5018218"/>
                  <a:pt x="962043" y="5026294"/>
                  <a:pt x="966802" y="5037695"/>
                </a:cubicBezTo>
                <a:cubicBezTo>
                  <a:pt x="976320" y="5058597"/>
                  <a:pt x="966802" y="5083300"/>
                  <a:pt x="945862" y="5092800"/>
                </a:cubicBezTo>
                <a:cubicBezTo>
                  <a:pt x="945862" y="5092800"/>
                  <a:pt x="945862" y="5092800"/>
                  <a:pt x="605115" y="5246716"/>
                </a:cubicBezTo>
                <a:cubicBezTo>
                  <a:pt x="584175" y="5256217"/>
                  <a:pt x="559428" y="5246716"/>
                  <a:pt x="549910" y="5225814"/>
                </a:cubicBezTo>
                <a:cubicBezTo>
                  <a:pt x="546103" y="5220113"/>
                  <a:pt x="546103" y="5214413"/>
                  <a:pt x="546103" y="5208712"/>
                </a:cubicBezTo>
                <a:cubicBezTo>
                  <a:pt x="546103" y="5191610"/>
                  <a:pt x="555621" y="5176409"/>
                  <a:pt x="570850" y="5168808"/>
                </a:cubicBezTo>
                <a:cubicBezTo>
                  <a:pt x="570850" y="5168808"/>
                  <a:pt x="570850" y="5168808"/>
                  <a:pt x="909693" y="5014893"/>
                </a:cubicBezTo>
                <a:cubicBezTo>
                  <a:pt x="920163" y="5010142"/>
                  <a:pt x="932061" y="5010142"/>
                  <a:pt x="942531" y="5014180"/>
                </a:cubicBezTo>
                <a:close/>
                <a:moveTo>
                  <a:pt x="4856076" y="5004632"/>
                </a:moveTo>
                <a:cubicBezTo>
                  <a:pt x="4866333" y="5008659"/>
                  <a:pt x="4874919" y="5016714"/>
                  <a:pt x="4879688" y="5028084"/>
                </a:cubicBezTo>
                <a:cubicBezTo>
                  <a:pt x="4891136" y="5050826"/>
                  <a:pt x="4879688" y="5075463"/>
                  <a:pt x="4856791" y="5084939"/>
                </a:cubicBezTo>
                <a:cubicBezTo>
                  <a:pt x="4856791" y="5084939"/>
                  <a:pt x="4856791" y="5084939"/>
                  <a:pt x="4517208" y="5230866"/>
                </a:cubicBezTo>
                <a:cubicBezTo>
                  <a:pt x="4494314" y="5240342"/>
                  <a:pt x="4469511" y="5230866"/>
                  <a:pt x="4459972" y="5208124"/>
                </a:cubicBezTo>
                <a:cubicBezTo>
                  <a:pt x="4456156" y="5202439"/>
                  <a:pt x="4456156" y="5196753"/>
                  <a:pt x="4456156" y="5191068"/>
                </a:cubicBezTo>
                <a:cubicBezTo>
                  <a:pt x="4456156" y="5174011"/>
                  <a:pt x="4465696" y="5158850"/>
                  <a:pt x="4482867" y="5151269"/>
                </a:cubicBezTo>
                <a:cubicBezTo>
                  <a:pt x="4482867" y="5151269"/>
                  <a:pt x="4482867" y="5151269"/>
                  <a:pt x="4822445" y="5005343"/>
                </a:cubicBezTo>
                <a:cubicBezTo>
                  <a:pt x="4833893" y="5000605"/>
                  <a:pt x="4845820" y="5000605"/>
                  <a:pt x="4856076" y="5004632"/>
                </a:cubicBezTo>
                <a:close/>
                <a:moveTo>
                  <a:pt x="1491734" y="5004632"/>
                </a:moveTo>
                <a:cubicBezTo>
                  <a:pt x="1502228" y="5008659"/>
                  <a:pt x="1511290" y="5016713"/>
                  <a:pt x="1516059" y="5028084"/>
                </a:cubicBezTo>
                <a:cubicBezTo>
                  <a:pt x="1525598" y="5050826"/>
                  <a:pt x="1516059" y="5075463"/>
                  <a:pt x="1493165" y="5084939"/>
                </a:cubicBezTo>
                <a:cubicBezTo>
                  <a:pt x="1493165" y="5084939"/>
                  <a:pt x="1493165" y="5084939"/>
                  <a:pt x="1153575" y="5230866"/>
                </a:cubicBezTo>
                <a:cubicBezTo>
                  <a:pt x="1130682" y="5240342"/>
                  <a:pt x="1103972" y="5230866"/>
                  <a:pt x="1094433" y="5208124"/>
                </a:cubicBezTo>
                <a:cubicBezTo>
                  <a:pt x="1092526" y="5202439"/>
                  <a:pt x="1090618" y="5196753"/>
                  <a:pt x="1090618" y="5191068"/>
                </a:cubicBezTo>
                <a:cubicBezTo>
                  <a:pt x="1090618" y="5174011"/>
                  <a:pt x="1102065" y="5158850"/>
                  <a:pt x="1117327" y="5151269"/>
                </a:cubicBezTo>
                <a:cubicBezTo>
                  <a:pt x="1117327" y="5151269"/>
                  <a:pt x="1117327" y="5151269"/>
                  <a:pt x="1458825" y="5005343"/>
                </a:cubicBezTo>
                <a:cubicBezTo>
                  <a:pt x="1469318" y="5000605"/>
                  <a:pt x="1481242" y="5000605"/>
                  <a:pt x="1491734" y="5004632"/>
                </a:cubicBezTo>
                <a:close/>
                <a:moveTo>
                  <a:pt x="4281239" y="4989344"/>
                </a:moveTo>
                <a:cubicBezTo>
                  <a:pt x="4298844" y="4989613"/>
                  <a:pt x="4315645" y="5000357"/>
                  <a:pt x="4322794" y="5017546"/>
                </a:cubicBezTo>
                <a:cubicBezTo>
                  <a:pt x="4332327" y="5040466"/>
                  <a:pt x="4320887" y="5067205"/>
                  <a:pt x="4298010" y="5076755"/>
                </a:cubicBezTo>
                <a:cubicBezTo>
                  <a:pt x="4298010" y="5076755"/>
                  <a:pt x="4298010" y="5076755"/>
                  <a:pt x="3958691" y="5218092"/>
                </a:cubicBezTo>
                <a:cubicBezTo>
                  <a:pt x="3933908" y="5227642"/>
                  <a:pt x="3909123" y="5216182"/>
                  <a:pt x="3899590" y="5193262"/>
                </a:cubicBezTo>
                <a:cubicBezTo>
                  <a:pt x="3895779" y="5187533"/>
                  <a:pt x="3895779" y="5181803"/>
                  <a:pt x="3895779" y="5176073"/>
                </a:cubicBezTo>
                <a:cubicBezTo>
                  <a:pt x="3895779" y="5156973"/>
                  <a:pt x="3905309" y="5141694"/>
                  <a:pt x="3924374" y="5134054"/>
                </a:cubicBezTo>
                <a:cubicBezTo>
                  <a:pt x="3924374" y="5134054"/>
                  <a:pt x="3924374" y="5134054"/>
                  <a:pt x="4263694" y="4992717"/>
                </a:cubicBezTo>
                <a:cubicBezTo>
                  <a:pt x="4269413" y="4990329"/>
                  <a:pt x="4275371" y="4989255"/>
                  <a:pt x="4281239" y="4989344"/>
                </a:cubicBezTo>
                <a:close/>
                <a:moveTo>
                  <a:pt x="2028590" y="4989344"/>
                </a:moveTo>
                <a:cubicBezTo>
                  <a:pt x="2046182" y="4989613"/>
                  <a:pt x="2062975" y="5000357"/>
                  <a:pt x="2070119" y="5017546"/>
                </a:cubicBezTo>
                <a:cubicBezTo>
                  <a:pt x="2079644" y="5040466"/>
                  <a:pt x="2068214" y="5067205"/>
                  <a:pt x="2045349" y="5076755"/>
                </a:cubicBezTo>
                <a:cubicBezTo>
                  <a:pt x="2045349" y="5076755"/>
                  <a:pt x="2045349" y="5076755"/>
                  <a:pt x="1704349" y="5218092"/>
                </a:cubicBezTo>
                <a:cubicBezTo>
                  <a:pt x="1681489" y="5227642"/>
                  <a:pt x="1654818" y="5216182"/>
                  <a:pt x="1645293" y="5193262"/>
                </a:cubicBezTo>
                <a:cubicBezTo>
                  <a:pt x="1643388" y="5187533"/>
                  <a:pt x="1641483" y="5181803"/>
                  <a:pt x="1641483" y="5176073"/>
                </a:cubicBezTo>
                <a:cubicBezTo>
                  <a:pt x="1641483" y="5156973"/>
                  <a:pt x="1652914" y="5141694"/>
                  <a:pt x="1670059" y="5134054"/>
                </a:cubicBezTo>
                <a:cubicBezTo>
                  <a:pt x="1670059" y="5134054"/>
                  <a:pt x="1670059" y="5134054"/>
                  <a:pt x="2011058" y="4992717"/>
                </a:cubicBezTo>
                <a:cubicBezTo>
                  <a:pt x="2016773" y="4990329"/>
                  <a:pt x="2022726" y="4989255"/>
                  <a:pt x="2028590" y="4989344"/>
                </a:cubicBezTo>
                <a:close/>
                <a:moveTo>
                  <a:pt x="3720408" y="4979833"/>
                </a:moveTo>
                <a:cubicBezTo>
                  <a:pt x="3738808" y="4980190"/>
                  <a:pt x="3755595" y="4991263"/>
                  <a:pt x="3762739" y="5009837"/>
                </a:cubicBezTo>
                <a:cubicBezTo>
                  <a:pt x="3770360" y="5032697"/>
                  <a:pt x="3758930" y="5059367"/>
                  <a:pt x="3736068" y="5068892"/>
                </a:cubicBezTo>
                <a:cubicBezTo>
                  <a:pt x="3736068" y="5068892"/>
                  <a:pt x="3736068" y="5068892"/>
                  <a:pt x="3395084" y="5202242"/>
                </a:cubicBezTo>
                <a:cubicBezTo>
                  <a:pt x="3370317" y="5211767"/>
                  <a:pt x="3343646" y="5200337"/>
                  <a:pt x="3334121" y="5175572"/>
                </a:cubicBezTo>
                <a:cubicBezTo>
                  <a:pt x="3332215" y="5169857"/>
                  <a:pt x="3332215" y="5164142"/>
                  <a:pt x="3332215" y="5158427"/>
                </a:cubicBezTo>
                <a:cubicBezTo>
                  <a:pt x="3332215" y="5141282"/>
                  <a:pt x="3343646" y="5122232"/>
                  <a:pt x="3360792" y="5116517"/>
                </a:cubicBezTo>
                <a:cubicBezTo>
                  <a:pt x="3360792" y="5116517"/>
                  <a:pt x="3360792" y="5116517"/>
                  <a:pt x="3701777" y="4983167"/>
                </a:cubicBezTo>
                <a:cubicBezTo>
                  <a:pt x="3707968" y="4980786"/>
                  <a:pt x="3714280" y="4979714"/>
                  <a:pt x="3720408" y="4979833"/>
                </a:cubicBezTo>
                <a:close/>
                <a:moveTo>
                  <a:pt x="2585923" y="4979833"/>
                </a:moveTo>
                <a:cubicBezTo>
                  <a:pt x="2604117" y="4980190"/>
                  <a:pt x="2622040" y="4991263"/>
                  <a:pt x="2629210" y="5009837"/>
                </a:cubicBezTo>
                <a:cubicBezTo>
                  <a:pt x="2636858" y="5032697"/>
                  <a:pt x="2625387" y="5059367"/>
                  <a:pt x="2602444" y="5068892"/>
                </a:cubicBezTo>
                <a:cubicBezTo>
                  <a:pt x="2602444" y="5068892"/>
                  <a:pt x="2602444" y="5068892"/>
                  <a:pt x="2260209" y="5202242"/>
                </a:cubicBezTo>
                <a:cubicBezTo>
                  <a:pt x="2235354" y="5211767"/>
                  <a:pt x="2208587" y="5200337"/>
                  <a:pt x="2199027" y="5175572"/>
                </a:cubicBezTo>
                <a:cubicBezTo>
                  <a:pt x="2197115" y="5169857"/>
                  <a:pt x="2197115" y="5164142"/>
                  <a:pt x="2197115" y="5158427"/>
                </a:cubicBezTo>
                <a:cubicBezTo>
                  <a:pt x="2197115" y="5141282"/>
                  <a:pt x="2206675" y="5122232"/>
                  <a:pt x="2225794" y="5116517"/>
                </a:cubicBezTo>
                <a:cubicBezTo>
                  <a:pt x="2225794" y="5116517"/>
                  <a:pt x="2225794" y="5116517"/>
                  <a:pt x="2568028" y="4983167"/>
                </a:cubicBezTo>
                <a:cubicBezTo>
                  <a:pt x="2573764" y="4980785"/>
                  <a:pt x="2579859" y="4979714"/>
                  <a:pt x="2585923" y="4979833"/>
                </a:cubicBezTo>
                <a:close/>
                <a:moveTo>
                  <a:pt x="3148522" y="4969036"/>
                </a:moveTo>
                <a:cubicBezTo>
                  <a:pt x="3166945" y="4969932"/>
                  <a:pt x="3183758" y="4982109"/>
                  <a:pt x="3190913" y="5000733"/>
                </a:cubicBezTo>
                <a:cubicBezTo>
                  <a:pt x="3200448" y="5025565"/>
                  <a:pt x="3187095" y="5052307"/>
                  <a:pt x="3162293" y="5061858"/>
                </a:cubicBezTo>
                <a:cubicBezTo>
                  <a:pt x="3162293" y="5061858"/>
                  <a:pt x="3162293" y="5061858"/>
                  <a:pt x="2820804" y="5187929"/>
                </a:cubicBezTo>
                <a:cubicBezTo>
                  <a:pt x="2796003" y="5197480"/>
                  <a:pt x="2769296" y="5184109"/>
                  <a:pt x="2759756" y="5161187"/>
                </a:cubicBezTo>
                <a:cubicBezTo>
                  <a:pt x="2757847" y="5155456"/>
                  <a:pt x="2755940" y="5149726"/>
                  <a:pt x="2755940" y="5143995"/>
                </a:cubicBezTo>
                <a:cubicBezTo>
                  <a:pt x="2755940" y="5124894"/>
                  <a:pt x="2767388" y="5105792"/>
                  <a:pt x="2788374" y="5098151"/>
                </a:cubicBezTo>
                <a:cubicBezTo>
                  <a:pt x="2788374" y="5098151"/>
                  <a:pt x="2788374" y="5098151"/>
                  <a:pt x="3129862" y="4972081"/>
                </a:cubicBezTo>
                <a:cubicBezTo>
                  <a:pt x="3136060" y="4969693"/>
                  <a:pt x="3142382" y="4968738"/>
                  <a:pt x="3148522" y="4969036"/>
                </a:cubicBezTo>
                <a:close/>
                <a:moveTo>
                  <a:pt x="9865943" y="4767278"/>
                </a:moveTo>
                <a:cubicBezTo>
                  <a:pt x="9873563" y="4768710"/>
                  <a:pt x="9880706" y="4773005"/>
                  <a:pt x="9885469" y="4779687"/>
                </a:cubicBezTo>
                <a:cubicBezTo>
                  <a:pt x="9894994" y="4794960"/>
                  <a:pt x="9891184" y="4812143"/>
                  <a:pt x="9875944" y="4821688"/>
                </a:cubicBezTo>
                <a:cubicBezTo>
                  <a:pt x="9875944" y="4821688"/>
                  <a:pt x="9875944" y="4821688"/>
                  <a:pt x="9542565" y="5046968"/>
                </a:cubicBezTo>
                <a:cubicBezTo>
                  <a:pt x="9527324" y="5054605"/>
                  <a:pt x="9510179" y="5052696"/>
                  <a:pt x="9500654" y="5037422"/>
                </a:cubicBezTo>
                <a:cubicBezTo>
                  <a:pt x="9496844" y="5033604"/>
                  <a:pt x="9494939" y="5027877"/>
                  <a:pt x="9494939" y="5022149"/>
                </a:cubicBezTo>
                <a:cubicBezTo>
                  <a:pt x="9494939" y="5012603"/>
                  <a:pt x="9500654" y="5003058"/>
                  <a:pt x="9508274" y="4997330"/>
                </a:cubicBezTo>
                <a:cubicBezTo>
                  <a:pt x="9508274" y="4997330"/>
                  <a:pt x="9508274" y="4997330"/>
                  <a:pt x="9843558" y="4772051"/>
                </a:cubicBezTo>
                <a:cubicBezTo>
                  <a:pt x="9850226" y="4767278"/>
                  <a:pt x="9858322" y="4765846"/>
                  <a:pt x="9865943" y="4767278"/>
                </a:cubicBezTo>
                <a:close/>
                <a:moveTo>
                  <a:pt x="10450715" y="4757980"/>
                </a:moveTo>
                <a:cubicBezTo>
                  <a:pt x="10458830" y="4759647"/>
                  <a:pt x="10466468" y="4764410"/>
                  <a:pt x="10471242" y="4772030"/>
                </a:cubicBezTo>
                <a:cubicBezTo>
                  <a:pt x="10480790" y="4787270"/>
                  <a:pt x="10475061" y="4806320"/>
                  <a:pt x="10461695" y="4815845"/>
                </a:cubicBezTo>
                <a:cubicBezTo>
                  <a:pt x="10461695" y="4815845"/>
                  <a:pt x="10461695" y="4815845"/>
                  <a:pt x="10125619" y="5029205"/>
                </a:cubicBezTo>
                <a:cubicBezTo>
                  <a:pt x="10110343" y="5038730"/>
                  <a:pt x="10091248" y="5034920"/>
                  <a:pt x="10081701" y="5019680"/>
                </a:cubicBezTo>
                <a:cubicBezTo>
                  <a:pt x="10077882" y="5015870"/>
                  <a:pt x="10075972" y="5010155"/>
                  <a:pt x="10075972" y="5004440"/>
                </a:cubicBezTo>
                <a:cubicBezTo>
                  <a:pt x="10075972" y="4993010"/>
                  <a:pt x="10081701" y="4983485"/>
                  <a:pt x="10091248" y="4977770"/>
                </a:cubicBezTo>
                <a:cubicBezTo>
                  <a:pt x="10091248" y="4977770"/>
                  <a:pt x="10091248" y="4977770"/>
                  <a:pt x="10427323" y="4762505"/>
                </a:cubicBezTo>
                <a:cubicBezTo>
                  <a:pt x="10434006" y="4757742"/>
                  <a:pt x="10442599" y="4756314"/>
                  <a:pt x="10450715" y="4757980"/>
                </a:cubicBezTo>
                <a:close/>
                <a:moveTo>
                  <a:pt x="9287869" y="4757980"/>
                </a:moveTo>
                <a:cubicBezTo>
                  <a:pt x="9295722" y="4759647"/>
                  <a:pt x="9302860" y="4764410"/>
                  <a:pt x="9307618" y="4772030"/>
                </a:cubicBezTo>
                <a:cubicBezTo>
                  <a:pt x="9317136" y="4787270"/>
                  <a:pt x="9313329" y="4806320"/>
                  <a:pt x="9298101" y="4815845"/>
                </a:cubicBezTo>
                <a:cubicBezTo>
                  <a:pt x="9298101" y="4815845"/>
                  <a:pt x="9298101" y="4815845"/>
                  <a:pt x="8963081" y="5029205"/>
                </a:cubicBezTo>
                <a:cubicBezTo>
                  <a:pt x="8949756" y="5038730"/>
                  <a:pt x="8928818" y="5034920"/>
                  <a:pt x="8919300" y="5019680"/>
                </a:cubicBezTo>
                <a:cubicBezTo>
                  <a:pt x="8917397" y="5015870"/>
                  <a:pt x="8915493" y="5010155"/>
                  <a:pt x="8915493" y="5004440"/>
                </a:cubicBezTo>
                <a:cubicBezTo>
                  <a:pt x="8915493" y="4993010"/>
                  <a:pt x="8919300" y="4983485"/>
                  <a:pt x="8928818" y="4977770"/>
                </a:cubicBezTo>
                <a:cubicBezTo>
                  <a:pt x="8928818" y="4977770"/>
                  <a:pt x="8928818" y="4977770"/>
                  <a:pt x="9263837" y="4762505"/>
                </a:cubicBezTo>
                <a:cubicBezTo>
                  <a:pt x="9271451" y="4757742"/>
                  <a:pt x="9280018" y="4756314"/>
                  <a:pt x="9287869" y="4757980"/>
                </a:cubicBezTo>
                <a:close/>
                <a:moveTo>
                  <a:pt x="11026794" y="4748711"/>
                </a:moveTo>
                <a:cubicBezTo>
                  <a:pt x="11035135" y="4750623"/>
                  <a:pt x="11042761" y="4755879"/>
                  <a:pt x="11047527" y="4764481"/>
                </a:cubicBezTo>
                <a:cubicBezTo>
                  <a:pt x="11057060" y="4779773"/>
                  <a:pt x="11053247" y="4800799"/>
                  <a:pt x="11036088" y="4810357"/>
                </a:cubicBezTo>
                <a:cubicBezTo>
                  <a:pt x="11036088" y="4810357"/>
                  <a:pt x="11036088" y="4810357"/>
                  <a:pt x="10700543" y="5014885"/>
                </a:cubicBezTo>
                <a:cubicBezTo>
                  <a:pt x="10685291" y="5024443"/>
                  <a:pt x="10664319" y="5020620"/>
                  <a:pt x="10654787" y="5005328"/>
                </a:cubicBezTo>
                <a:cubicBezTo>
                  <a:pt x="10650974" y="4999593"/>
                  <a:pt x="10649067" y="4993859"/>
                  <a:pt x="10649067" y="4988125"/>
                </a:cubicBezTo>
                <a:cubicBezTo>
                  <a:pt x="10649067" y="4976656"/>
                  <a:pt x="10654787" y="4965187"/>
                  <a:pt x="10666226" y="4959452"/>
                </a:cubicBezTo>
                <a:cubicBezTo>
                  <a:pt x="10666226" y="4959452"/>
                  <a:pt x="10666226" y="4959452"/>
                  <a:pt x="11001771" y="4753012"/>
                </a:cubicBezTo>
                <a:cubicBezTo>
                  <a:pt x="11009397" y="4748234"/>
                  <a:pt x="11018453" y="4746800"/>
                  <a:pt x="11026794" y="4748711"/>
                </a:cubicBezTo>
                <a:close/>
                <a:moveTo>
                  <a:pt x="8717757" y="4748711"/>
                </a:moveTo>
                <a:cubicBezTo>
                  <a:pt x="8725834" y="4750623"/>
                  <a:pt x="8732961" y="4755880"/>
                  <a:pt x="8737713" y="4764481"/>
                </a:cubicBezTo>
                <a:cubicBezTo>
                  <a:pt x="8747216" y="4779773"/>
                  <a:pt x="8743415" y="4800799"/>
                  <a:pt x="8728210" y="4810357"/>
                </a:cubicBezTo>
                <a:cubicBezTo>
                  <a:pt x="8728210" y="4810357"/>
                  <a:pt x="8728210" y="4810357"/>
                  <a:pt x="8391812" y="5014885"/>
                </a:cubicBezTo>
                <a:cubicBezTo>
                  <a:pt x="8376608" y="5024443"/>
                  <a:pt x="8355702" y="5020620"/>
                  <a:pt x="8346199" y="5005328"/>
                </a:cubicBezTo>
                <a:cubicBezTo>
                  <a:pt x="8342398" y="4999593"/>
                  <a:pt x="8342398" y="4993859"/>
                  <a:pt x="8342398" y="4988125"/>
                </a:cubicBezTo>
                <a:cubicBezTo>
                  <a:pt x="8342398" y="4976656"/>
                  <a:pt x="8348100" y="4965187"/>
                  <a:pt x="8357602" y="4959452"/>
                </a:cubicBezTo>
                <a:cubicBezTo>
                  <a:pt x="8357602" y="4959452"/>
                  <a:pt x="8357602" y="4959452"/>
                  <a:pt x="8692100" y="4753012"/>
                </a:cubicBezTo>
                <a:cubicBezTo>
                  <a:pt x="8700653" y="4748234"/>
                  <a:pt x="8709680" y="4746800"/>
                  <a:pt x="8717757" y="4748711"/>
                </a:cubicBezTo>
                <a:close/>
                <a:moveTo>
                  <a:pt x="11598111" y="4739890"/>
                </a:moveTo>
                <a:cubicBezTo>
                  <a:pt x="11606677" y="4742035"/>
                  <a:pt x="11614291" y="4747280"/>
                  <a:pt x="11619050" y="4754909"/>
                </a:cubicBezTo>
                <a:cubicBezTo>
                  <a:pt x="11628568" y="4772074"/>
                  <a:pt x="11622857" y="4793053"/>
                  <a:pt x="11607629" y="4802589"/>
                </a:cubicBezTo>
                <a:cubicBezTo>
                  <a:pt x="11607629" y="4802589"/>
                  <a:pt x="11607629" y="4802589"/>
                  <a:pt x="11270700" y="4999032"/>
                </a:cubicBezTo>
                <a:cubicBezTo>
                  <a:pt x="11253568" y="5008568"/>
                  <a:pt x="11232628" y="5002846"/>
                  <a:pt x="11223111" y="4987588"/>
                </a:cubicBezTo>
                <a:cubicBezTo>
                  <a:pt x="11219304" y="4981867"/>
                  <a:pt x="11217400" y="4976145"/>
                  <a:pt x="11217400" y="4968516"/>
                </a:cubicBezTo>
                <a:cubicBezTo>
                  <a:pt x="11217400" y="4957073"/>
                  <a:pt x="11225014" y="4945630"/>
                  <a:pt x="11236436" y="4939908"/>
                </a:cubicBezTo>
                <a:cubicBezTo>
                  <a:pt x="11236436" y="4939908"/>
                  <a:pt x="11236436" y="4939908"/>
                  <a:pt x="11571461" y="4743466"/>
                </a:cubicBezTo>
                <a:cubicBezTo>
                  <a:pt x="11580027" y="4738698"/>
                  <a:pt x="11589545" y="4737744"/>
                  <a:pt x="11598111" y="4739890"/>
                </a:cubicBezTo>
                <a:close/>
                <a:moveTo>
                  <a:pt x="8154062" y="4739890"/>
                </a:moveTo>
                <a:cubicBezTo>
                  <a:pt x="8162866" y="4742035"/>
                  <a:pt x="8170956" y="4747280"/>
                  <a:pt x="8175715" y="4754909"/>
                </a:cubicBezTo>
                <a:cubicBezTo>
                  <a:pt x="8185233" y="4772074"/>
                  <a:pt x="8179522" y="4793053"/>
                  <a:pt x="8162390" y="4802589"/>
                </a:cubicBezTo>
                <a:cubicBezTo>
                  <a:pt x="8162390" y="4802589"/>
                  <a:pt x="8162390" y="4802589"/>
                  <a:pt x="7825461" y="4999032"/>
                </a:cubicBezTo>
                <a:cubicBezTo>
                  <a:pt x="7810232" y="5008568"/>
                  <a:pt x="7787390" y="5002846"/>
                  <a:pt x="7777872" y="4987588"/>
                </a:cubicBezTo>
                <a:cubicBezTo>
                  <a:pt x="7775968" y="4981867"/>
                  <a:pt x="7774065" y="4976145"/>
                  <a:pt x="7774065" y="4968516"/>
                </a:cubicBezTo>
                <a:cubicBezTo>
                  <a:pt x="7774065" y="4957073"/>
                  <a:pt x="7779775" y="4945630"/>
                  <a:pt x="7791197" y="4939908"/>
                </a:cubicBezTo>
                <a:cubicBezTo>
                  <a:pt x="7791197" y="4939908"/>
                  <a:pt x="7791197" y="4939908"/>
                  <a:pt x="8128126" y="4743466"/>
                </a:cubicBezTo>
                <a:cubicBezTo>
                  <a:pt x="8135740" y="4738698"/>
                  <a:pt x="8145258" y="4737744"/>
                  <a:pt x="8154062" y="4739890"/>
                </a:cubicBezTo>
                <a:close/>
                <a:moveTo>
                  <a:pt x="12135937" y="4732342"/>
                </a:moveTo>
                <a:cubicBezTo>
                  <a:pt x="12137843" y="4732342"/>
                  <a:pt x="12137843" y="4732342"/>
                  <a:pt x="12139750" y="4732342"/>
                </a:cubicBezTo>
                <a:cubicBezTo>
                  <a:pt x="12139750" y="4732342"/>
                  <a:pt x="12139750" y="4732342"/>
                  <a:pt x="12139750" y="4814057"/>
                </a:cubicBezTo>
                <a:cubicBezTo>
                  <a:pt x="12139750" y="4814057"/>
                  <a:pt x="12139750" y="4814057"/>
                  <a:pt x="11834677" y="4983190"/>
                </a:cubicBezTo>
                <a:cubicBezTo>
                  <a:pt x="11815610" y="4992692"/>
                  <a:pt x="11794637" y="4986991"/>
                  <a:pt x="11783196" y="4969887"/>
                </a:cubicBezTo>
                <a:cubicBezTo>
                  <a:pt x="11781290" y="4964186"/>
                  <a:pt x="11779383" y="4958485"/>
                  <a:pt x="11779383" y="4950884"/>
                </a:cubicBezTo>
                <a:cubicBezTo>
                  <a:pt x="11779383" y="4939482"/>
                  <a:pt x="11787010" y="4926179"/>
                  <a:pt x="11798450" y="4920478"/>
                </a:cubicBezTo>
                <a:close/>
                <a:moveTo>
                  <a:pt x="7597191" y="4729944"/>
                </a:moveTo>
                <a:cubicBezTo>
                  <a:pt x="7606246" y="4732795"/>
                  <a:pt x="7614349" y="4738971"/>
                  <a:pt x="7620068" y="4747524"/>
                </a:cubicBezTo>
                <a:cubicBezTo>
                  <a:pt x="7629601" y="4764628"/>
                  <a:pt x="7621975" y="4787435"/>
                  <a:pt x="7604817" y="4796937"/>
                </a:cubicBezTo>
                <a:cubicBezTo>
                  <a:pt x="7604817" y="4796937"/>
                  <a:pt x="7604817" y="4796937"/>
                  <a:pt x="7267371" y="4983189"/>
                </a:cubicBezTo>
                <a:cubicBezTo>
                  <a:pt x="7250212" y="4992692"/>
                  <a:pt x="7227335" y="4986990"/>
                  <a:pt x="7217802" y="4969885"/>
                </a:cubicBezTo>
                <a:cubicBezTo>
                  <a:pt x="7213989" y="4964184"/>
                  <a:pt x="7212083" y="4958482"/>
                  <a:pt x="7212083" y="4950880"/>
                </a:cubicBezTo>
                <a:cubicBezTo>
                  <a:pt x="7212083" y="4939477"/>
                  <a:pt x="7219709" y="4926173"/>
                  <a:pt x="7231147" y="4920472"/>
                </a:cubicBezTo>
                <a:cubicBezTo>
                  <a:pt x="7231147" y="4920472"/>
                  <a:pt x="7231147" y="4920472"/>
                  <a:pt x="7568594" y="4732319"/>
                </a:cubicBezTo>
                <a:cubicBezTo>
                  <a:pt x="7578126" y="4727568"/>
                  <a:pt x="7588135" y="4727093"/>
                  <a:pt x="7597191" y="4729944"/>
                </a:cubicBezTo>
                <a:close/>
                <a:moveTo>
                  <a:pt x="7045531" y="4720682"/>
                </a:moveTo>
                <a:cubicBezTo>
                  <a:pt x="7054846" y="4723782"/>
                  <a:pt x="7063445" y="4730457"/>
                  <a:pt x="7069177" y="4739994"/>
                </a:cubicBezTo>
                <a:cubicBezTo>
                  <a:pt x="7078731" y="4759067"/>
                  <a:pt x="7071088" y="4781954"/>
                  <a:pt x="7051980" y="4791491"/>
                </a:cubicBezTo>
                <a:cubicBezTo>
                  <a:pt x="7051980" y="4791491"/>
                  <a:pt x="7051980" y="4791491"/>
                  <a:pt x="6713773" y="4968868"/>
                </a:cubicBezTo>
                <a:cubicBezTo>
                  <a:pt x="6694665" y="4978405"/>
                  <a:pt x="6671736" y="4972683"/>
                  <a:pt x="6662182" y="4953610"/>
                </a:cubicBezTo>
                <a:cubicBezTo>
                  <a:pt x="6658361" y="4947888"/>
                  <a:pt x="6656450" y="4942166"/>
                  <a:pt x="6656450" y="4934537"/>
                </a:cubicBezTo>
                <a:cubicBezTo>
                  <a:pt x="6656450" y="4921186"/>
                  <a:pt x="6664093" y="4907835"/>
                  <a:pt x="6677468" y="4902113"/>
                </a:cubicBezTo>
                <a:cubicBezTo>
                  <a:pt x="6677468" y="4902113"/>
                  <a:pt x="6677468" y="4902113"/>
                  <a:pt x="7017586" y="4722828"/>
                </a:cubicBezTo>
                <a:cubicBezTo>
                  <a:pt x="7026184" y="4718060"/>
                  <a:pt x="7036216" y="4717583"/>
                  <a:pt x="7045531" y="4720682"/>
                </a:cubicBezTo>
                <a:close/>
                <a:moveTo>
                  <a:pt x="6500048" y="4711377"/>
                </a:moveTo>
                <a:cubicBezTo>
                  <a:pt x="6509797" y="4714707"/>
                  <a:pt x="6518357" y="4721842"/>
                  <a:pt x="6523112" y="4732307"/>
                </a:cubicBezTo>
                <a:cubicBezTo>
                  <a:pt x="6532623" y="4751333"/>
                  <a:pt x="6525014" y="4774166"/>
                  <a:pt x="6505992" y="4785582"/>
                </a:cubicBezTo>
                <a:cubicBezTo>
                  <a:pt x="6505992" y="4785582"/>
                  <a:pt x="6505992" y="4785582"/>
                  <a:pt x="6167407" y="4953016"/>
                </a:cubicBezTo>
                <a:cubicBezTo>
                  <a:pt x="6148385" y="4962530"/>
                  <a:pt x="6123657" y="4954919"/>
                  <a:pt x="6114146" y="4935892"/>
                </a:cubicBezTo>
                <a:cubicBezTo>
                  <a:pt x="6110342" y="4930184"/>
                  <a:pt x="6110342" y="4924476"/>
                  <a:pt x="6110342" y="4916866"/>
                </a:cubicBezTo>
                <a:cubicBezTo>
                  <a:pt x="6110342" y="4903547"/>
                  <a:pt x="6117950" y="4888326"/>
                  <a:pt x="6131266" y="4882618"/>
                </a:cubicBezTo>
                <a:cubicBezTo>
                  <a:pt x="6131266" y="4882618"/>
                  <a:pt x="6131266" y="4882618"/>
                  <a:pt x="6469851" y="4713280"/>
                </a:cubicBezTo>
                <a:cubicBezTo>
                  <a:pt x="6479362" y="4708524"/>
                  <a:pt x="6490300" y="4708048"/>
                  <a:pt x="6500048" y="4711377"/>
                </a:cubicBezTo>
                <a:close/>
                <a:moveTo>
                  <a:pt x="5956806" y="4701881"/>
                </a:moveTo>
                <a:cubicBezTo>
                  <a:pt x="5966814" y="4705223"/>
                  <a:pt x="5975394" y="4712385"/>
                  <a:pt x="5980159" y="4722888"/>
                </a:cubicBezTo>
                <a:cubicBezTo>
                  <a:pt x="5989691" y="4743896"/>
                  <a:pt x="5982065" y="4768723"/>
                  <a:pt x="5961095" y="4778272"/>
                </a:cubicBezTo>
                <a:cubicBezTo>
                  <a:pt x="5961095" y="4778272"/>
                  <a:pt x="5961095" y="4778272"/>
                  <a:pt x="5621756" y="4938693"/>
                </a:cubicBezTo>
                <a:cubicBezTo>
                  <a:pt x="5600786" y="4948242"/>
                  <a:pt x="5576002" y="4940603"/>
                  <a:pt x="5566471" y="4919595"/>
                </a:cubicBezTo>
                <a:cubicBezTo>
                  <a:pt x="5562658" y="4913866"/>
                  <a:pt x="5562658" y="4906227"/>
                  <a:pt x="5562658" y="4900497"/>
                </a:cubicBezTo>
                <a:cubicBezTo>
                  <a:pt x="5562658" y="4885219"/>
                  <a:pt x="5570284" y="4869941"/>
                  <a:pt x="5585535" y="4864212"/>
                </a:cubicBezTo>
                <a:cubicBezTo>
                  <a:pt x="5585535" y="4864212"/>
                  <a:pt x="5585535" y="4864212"/>
                  <a:pt x="5924874" y="4703791"/>
                </a:cubicBezTo>
                <a:cubicBezTo>
                  <a:pt x="5935360" y="4699016"/>
                  <a:pt x="5946797" y="4698539"/>
                  <a:pt x="5956806" y="4701881"/>
                </a:cubicBezTo>
                <a:close/>
                <a:moveTo>
                  <a:pt x="398944" y="4701881"/>
                </a:moveTo>
                <a:cubicBezTo>
                  <a:pt x="408946" y="4705223"/>
                  <a:pt x="417518" y="4712385"/>
                  <a:pt x="422281" y="4722888"/>
                </a:cubicBezTo>
                <a:cubicBezTo>
                  <a:pt x="431806" y="4743896"/>
                  <a:pt x="422281" y="4768723"/>
                  <a:pt x="401326" y="4778272"/>
                </a:cubicBezTo>
                <a:cubicBezTo>
                  <a:pt x="401326" y="4778272"/>
                  <a:pt x="401326" y="4778272"/>
                  <a:pt x="62232" y="4938693"/>
                </a:cubicBezTo>
                <a:cubicBezTo>
                  <a:pt x="43181" y="4948242"/>
                  <a:pt x="16511" y="4940603"/>
                  <a:pt x="6986" y="4919595"/>
                </a:cubicBezTo>
                <a:cubicBezTo>
                  <a:pt x="5081" y="4913866"/>
                  <a:pt x="3176" y="4906227"/>
                  <a:pt x="3176" y="4900497"/>
                </a:cubicBezTo>
                <a:cubicBezTo>
                  <a:pt x="3176" y="4885219"/>
                  <a:pt x="12701" y="4869941"/>
                  <a:pt x="27941" y="4864212"/>
                </a:cubicBezTo>
                <a:cubicBezTo>
                  <a:pt x="27941" y="4864212"/>
                  <a:pt x="27941" y="4864212"/>
                  <a:pt x="367035" y="4703791"/>
                </a:cubicBezTo>
                <a:cubicBezTo>
                  <a:pt x="377513" y="4699016"/>
                  <a:pt x="388943" y="4698539"/>
                  <a:pt x="398944" y="4701881"/>
                </a:cubicBezTo>
                <a:close/>
                <a:moveTo>
                  <a:pt x="5409709" y="4693289"/>
                </a:moveTo>
                <a:cubicBezTo>
                  <a:pt x="5420209" y="4697099"/>
                  <a:pt x="5429278" y="4704719"/>
                  <a:pt x="5434051" y="4715197"/>
                </a:cubicBezTo>
                <a:cubicBezTo>
                  <a:pt x="5443597" y="4738057"/>
                  <a:pt x="5434051" y="4762822"/>
                  <a:pt x="5411140" y="4772347"/>
                </a:cubicBezTo>
                <a:cubicBezTo>
                  <a:pt x="5411140" y="4772347"/>
                  <a:pt x="5411140" y="4772347"/>
                  <a:pt x="5071297" y="4922842"/>
                </a:cubicBezTo>
                <a:cubicBezTo>
                  <a:pt x="5048391" y="4932367"/>
                  <a:pt x="5023574" y="4922842"/>
                  <a:pt x="5014028" y="4901887"/>
                </a:cubicBezTo>
                <a:cubicBezTo>
                  <a:pt x="5012119" y="4894267"/>
                  <a:pt x="5010210" y="4888552"/>
                  <a:pt x="5010210" y="4882837"/>
                </a:cubicBezTo>
                <a:cubicBezTo>
                  <a:pt x="5010210" y="4867597"/>
                  <a:pt x="5019755" y="4850452"/>
                  <a:pt x="5036935" y="4842832"/>
                </a:cubicBezTo>
                <a:cubicBezTo>
                  <a:pt x="5036935" y="4842832"/>
                  <a:pt x="5036935" y="4842832"/>
                  <a:pt x="5376776" y="4694242"/>
                </a:cubicBezTo>
                <a:cubicBezTo>
                  <a:pt x="5387276" y="4689479"/>
                  <a:pt x="5399209" y="4689479"/>
                  <a:pt x="5409709" y="4693289"/>
                </a:cubicBezTo>
                <a:close/>
                <a:moveTo>
                  <a:pt x="943147" y="4693289"/>
                </a:moveTo>
                <a:cubicBezTo>
                  <a:pt x="953409" y="4697099"/>
                  <a:pt x="962000" y="4704719"/>
                  <a:pt x="966774" y="4715197"/>
                </a:cubicBezTo>
                <a:cubicBezTo>
                  <a:pt x="976320" y="4738057"/>
                  <a:pt x="966774" y="4762822"/>
                  <a:pt x="945772" y="4772347"/>
                </a:cubicBezTo>
                <a:cubicBezTo>
                  <a:pt x="945772" y="4772347"/>
                  <a:pt x="945772" y="4772347"/>
                  <a:pt x="604023" y="4922842"/>
                </a:cubicBezTo>
                <a:cubicBezTo>
                  <a:pt x="583021" y="4932367"/>
                  <a:pt x="556292" y="4922842"/>
                  <a:pt x="546746" y="4901887"/>
                </a:cubicBezTo>
                <a:cubicBezTo>
                  <a:pt x="544837" y="4894267"/>
                  <a:pt x="542928" y="4888552"/>
                  <a:pt x="542928" y="4882837"/>
                </a:cubicBezTo>
                <a:cubicBezTo>
                  <a:pt x="542928" y="4867597"/>
                  <a:pt x="552474" y="4850452"/>
                  <a:pt x="569657" y="4842832"/>
                </a:cubicBezTo>
                <a:cubicBezTo>
                  <a:pt x="569657" y="4842832"/>
                  <a:pt x="569657" y="4842832"/>
                  <a:pt x="909497" y="4694242"/>
                </a:cubicBezTo>
                <a:cubicBezTo>
                  <a:pt x="920952" y="4689479"/>
                  <a:pt x="932885" y="4689479"/>
                  <a:pt x="943147" y="4693289"/>
                </a:cubicBezTo>
                <a:close/>
                <a:moveTo>
                  <a:pt x="4840043" y="4679741"/>
                </a:moveTo>
                <a:cubicBezTo>
                  <a:pt x="4857649" y="4680008"/>
                  <a:pt x="4874453" y="4690682"/>
                  <a:pt x="4881602" y="4707760"/>
                </a:cubicBezTo>
                <a:cubicBezTo>
                  <a:pt x="4891136" y="4730531"/>
                  <a:pt x="4879696" y="4757097"/>
                  <a:pt x="4856815" y="4766584"/>
                </a:cubicBezTo>
                <a:cubicBezTo>
                  <a:pt x="4856815" y="4766584"/>
                  <a:pt x="4856815" y="4766584"/>
                  <a:pt x="4517479" y="4907004"/>
                </a:cubicBezTo>
                <a:cubicBezTo>
                  <a:pt x="4494604" y="4916492"/>
                  <a:pt x="4467914" y="4905106"/>
                  <a:pt x="4458382" y="4882336"/>
                </a:cubicBezTo>
                <a:cubicBezTo>
                  <a:pt x="4456475" y="4876643"/>
                  <a:pt x="4454569" y="4870950"/>
                  <a:pt x="4454569" y="4865258"/>
                </a:cubicBezTo>
                <a:cubicBezTo>
                  <a:pt x="4454569" y="4848180"/>
                  <a:pt x="4466007" y="4831101"/>
                  <a:pt x="4483164" y="4823511"/>
                </a:cubicBezTo>
                <a:cubicBezTo>
                  <a:pt x="4483164" y="4823511"/>
                  <a:pt x="4483164" y="4823511"/>
                  <a:pt x="4822495" y="4683092"/>
                </a:cubicBezTo>
                <a:cubicBezTo>
                  <a:pt x="4828213" y="4680720"/>
                  <a:pt x="4834174" y="4679652"/>
                  <a:pt x="4840043" y="4679741"/>
                </a:cubicBezTo>
                <a:close/>
                <a:moveTo>
                  <a:pt x="1476099" y="4679741"/>
                </a:moveTo>
                <a:cubicBezTo>
                  <a:pt x="1493704" y="4680008"/>
                  <a:pt x="1510504" y="4690682"/>
                  <a:pt x="1517653" y="4707760"/>
                </a:cubicBezTo>
                <a:cubicBezTo>
                  <a:pt x="1527185" y="4730531"/>
                  <a:pt x="1515746" y="4757097"/>
                  <a:pt x="1492870" y="4766584"/>
                </a:cubicBezTo>
                <a:cubicBezTo>
                  <a:pt x="1492870" y="4766584"/>
                  <a:pt x="1492870" y="4766584"/>
                  <a:pt x="1151623" y="4907004"/>
                </a:cubicBezTo>
                <a:cubicBezTo>
                  <a:pt x="1128746" y="4916492"/>
                  <a:pt x="1102056" y="4905106"/>
                  <a:pt x="1094430" y="4882336"/>
                </a:cubicBezTo>
                <a:cubicBezTo>
                  <a:pt x="1090618" y="4876643"/>
                  <a:pt x="1090618" y="4870950"/>
                  <a:pt x="1090618" y="4865258"/>
                </a:cubicBezTo>
                <a:cubicBezTo>
                  <a:pt x="1090618" y="4848180"/>
                  <a:pt x="1100150" y="4831101"/>
                  <a:pt x="1117307" y="4823511"/>
                </a:cubicBezTo>
                <a:cubicBezTo>
                  <a:pt x="1117307" y="4823511"/>
                  <a:pt x="1117307" y="4823511"/>
                  <a:pt x="1458554" y="4683092"/>
                </a:cubicBezTo>
                <a:cubicBezTo>
                  <a:pt x="1464273" y="4680720"/>
                  <a:pt x="1470231" y="4679652"/>
                  <a:pt x="1476099" y="4679741"/>
                </a:cubicBezTo>
                <a:close/>
                <a:moveTo>
                  <a:pt x="4282901" y="4670538"/>
                </a:moveTo>
                <a:cubicBezTo>
                  <a:pt x="4300482" y="4671342"/>
                  <a:pt x="4317257" y="4683129"/>
                  <a:pt x="4324395" y="4700274"/>
                </a:cubicBezTo>
                <a:cubicBezTo>
                  <a:pt x="4333916" y="4725039"/>
                  <a:pt x="4322492" y="4751709"/>
                  <a:pt x="4297744" y="4761234"/>
                </a:cubicBezTo>
                <a:cubicBezTo>
                  <a:pt x="4297744" y="4761234"/>
                  <a:pt x="4297744" y="4761234"/>
                  <a:pt x="3957011" y="4892679"/>
                </a:cubicBezTo>
                <a:cubicBezTo>
                  <a:pt x="3934167" y="4902204"/>
                  <a:pt x="3907513" y="4890774"/>
                  <a:pt x="3897996" y="4866009"/>
                </a:cubicBezTo>
                <a:cubicBezTo>
                  <a:pt x="3896095" y="4860294"/>
                  <a:pt x="3894189" y="4854579"/>
                  <a:pt x="3894189" y="4848864"/>
                </a:cubicBezTo>
                <a:cubicBezTo>
                  <a:pt x="3894189" y="4829814"/>
                  <a:pt x="3905611" y="4812669"/>
                  <a:pt x="3924649" y="4805049"/>
                </a:cubicBezTo>
                <a:cubicBezTo>
                  <a:pt x="3924649" y="4805049"/>
                  <a:pt x="3924649" y="4805049"/>
                  <a:pt x="4265381" y="4673604"/>
                </a:cubicBezTo>
                <a:cubicBezTo>
                  <a:pt x="4271092" y="4671223"/>
                  <a:pt x="4277042" y="4670270"/>
                  <a:pt x="4282901" y="4670538"/>
                </a:cubicBezTo>
                <a:close/>
                <a:moveTo>
                  <a:pt x="2029448" y="4670538"/>
                </a:moveTo>
                <a:cubicBezTo>
                  <a:pt x="2047822" y="4671342"/>
                  <a:pt x="2064586" y="4683129"/>
                  <a:pt x="2071719" y="4700274"/>
                </a:cubicBezTo>
                <a:cubicBezTo>
                  <a:pt x="2081231" y="4725039"/>
                  <a:pt x="2067915" y="4751709"/>
                  <a:pt x="2045082" y="4761234"/>
                </a:cubicBezTo>
                <a:cubicBezTo>
                  <a:pt x="2045082" y="4761234"/>
                  <a:pt x="2045082" y="4761234"/>
                  <a:pt x="1704573" y="4892679"/>
                </a:cubicBezTo>
                <a:cubicBezTo>
                  <a:pt x="1679843" y="4902204"/>
                  <a:pt x="1653211" y="4890774"/>
                  <a:pt x="1643700" y="4866009"/>
                </a:cubicBezTo>
                <a:cubicBezTo>
                  <a:pt x="1641797" y="4860294"/>
                  <a:pt x="1639895" y="4854579"/>
                  <a:pt x="1639895" y="4848864"/>
                </a:cubicBezTo>
                <a:cubicBezTo>
                  <a:pt x="1639895" y="4829814"/>
                  <a:pt x="1651309" y="4812669"/>
                  <a:pt x="1670332" y="4805049"/>
                </a:cubicBezTo>
                <a:cubicBezTo>
                  <a:pt x="1670332" y="4805049"/>
                  <a:pt x="1670332" y="4805049"/>
                  <a:pt x="2010841" y="4673604"/>
                </a:cubicBezTo>
                <a:cubicBezTo>
                  <a:pt x="2017024" y="4671223"/>
                  <a:pt x="2023325" y="4670270"/>
                  <a:pt x="2029448" y="4670538"/>
                </a:cubicBezTo>
                <a:close/>
                <a:moveTo>
                  <a:pt x="3720839" y="4661025"/>
                </a:moveTo>
                <a:cubicBezTo>
                  <a:pt x="3740053" y="4661915"/>
                  <a:pt x="3756855" y="4674027"/>
                  <a:pt x="3764003" y="4692550"/>
                </a:cubicBezTo>
                <a:cubicBezTo>
                  <a:pt x="3773538" y="4717247"/>
                  <a:pt x="3760192" y="4745744"/>
                  <a:pt x="3735407" y="4755243"/>
                </a:cubicBezTo>
                <a:cubicBezTo>
                  <a:pt x="3735407" y="4755243"/>
                  <a:pt x="3735407" y="4755243"/>
                  <a:pt x="3392273" y="4876830"/>
                </a:cubicBezTo>
                <a:cubicBezTo>
                  <a:pt x="3367488" y="4886329"/>
                  <a:pt x="3340798" y="4873030"/>
                  <a:pt x="3331265" y="4848333"/>
                </a:cubicBezTo>
                <a:cubicBezTo>
                  <a:pt x="3329361" y="4842633"/>
                  <a:pt x="3327453" y="4836934"/>
                  <a:pt x="3327453" y="4831235"/>
                </a:cubicBezTo>
                <a:cubicBezTo>
                  <a:pt x="3327453" y="4812237"/>
                  <a:pt x="3340798" y="4793239"/>
                  <a:pt x="3359861" y="4785640"/>
                </a:cubicBezTo>
                <a:cubicBezTo>
                  <a:pt x="3359861" y="4785640"/>
                  <a:pt x="3359861" y="4785640"/>
                  <a:pt x="3701092" y="4664053"/>
                </a:cubicBezTo>
                <a:cubicBezTo>
                  <a:pt x="3707764" y="4661678"/>
                  <a:pt x="3714436" y="4660728"/>
                  <a:pt x="3720839" y="4661025"/>
                </a:cubicBezTo>
                <a:close/>
                <a:moveTo>
                  <a:pt x="2587339" y="4661025"/>
                </a:moveTo>
                <a:cubicBezTo>
                  <a:pt x="2606552" y="4661915"/>
                  <a:pt x="2623352" y="4674027"/>
                  <a:pt x="2630501" y="4692550"/>
                </a:cubicBezTo>
                <a:cubicBezTo>
                  <a:pt x="2640033" y="4717247"/>
                  <a:pt x="2626688" y="4745744"/>
                  <a:pt x="2601905" y="4755243"/>
                </a:cubicBezTo>
                <a:cubicBezTo>
                  <a:pt x="2601905" y="4755243"/>
                  <a:pt x="2601905" y="4755243"/>
                  <a:pt x="2258757" y="4876830"/>
                </a:cubicBezTo>
                <a:cubicBezTo>
                  <a:pt x="2233974" y="4886329"/>
                  <a:pt x="2207285" y="4873030"/>
                  <a:pt x="2197753" y="4848333"/>
                </a:cubicBezTo>
                <a:cubicBezTo>
                  <a:pt x="2195847" y="4842633"/>
                  <a:pt x="2193940" y="4836934"/>
                  <a:pt x="2193940" y="4831235"/>
                </a:cubicBezTo>
                <a:cubicBezTo>
                  <a:pt x="2193940" y="4812237"/>
                  <a:pt x="2207285" y="4793239"/>
                  <a:pt x="2226348" y="4785640"/>
                </a:cubicBezTo>
                <a:cubicBezTo>
                  <a:pt x="2226348" y="4785640"/>
                  <a:pt x="2226348" y="4785640"/>
                  <a:pt x="2567590" y="4664053"/>
                </a:cubicBezTo>
                <a:cubicBezTo>
                  <a:pt x="2574263" y="4661678"/>
                  <a:pt x="2580935" y="4660728"/>
                  <a:pt x="2587339" y="4661025"/>
                </a:cubicBezTo>
                <a:close/>
                <a:moveTo>
                  <a:pt x="3149675" y="4651825"/>
                </a:moveTo>
                <a:cubicBezTo>
                  <a:pt x="3169412" y="4653256"/>
                  <a:pt x="3187273" y="4666490"/>
                  <a:pt x="3194414" y="4685090"/>
                </a:cubicBezTo>
                <a:cubicBezTo>
                  <a:pt x="3202035" y="4711797"/>
                  <a:pt x="3188702" y="4740412"/>
                  <a:pt x="3162027" y="4748043"/>
                </a:cubicBezTo>
                <a:cubicBezTo>
                  <a:pt x="3162027" y="4748043"/>
                  <a:pt x="3162027" y="4748043"/>
                  <a:pt x="2819126" y="4862503"/>
                </a:cubicBezTo>
                <a:cubicBezTo>
                  <a:pt x="2794360" y="4872042"/>
                  <a:pt x="2765783" y="4856780"/>
                  <a:pt x="2756258" y="4830073"/>
                </a:cubicBezTo>
                <a:cubicBezTo>
                  <a:pt x="2754353" y="4826258"/>
                  <a:pt x="2754353" y="4820535"/>
                  <a:pt x="2754353" y="4814812"/>
                </a:cubicBezTo>
                <a:cubicBezTo>
                  <a:pt x="2754353" y="4793827"/>
                  <a:pt x="2767688" y="4774750"/>
                  <a:pt x="2788646" y="4767120"/>
                </a:cubicBezTo>
                <a:cubicBezTo>
                  <a:pt x="2788646" y="4767120"/>
                  <a:pt x="2788646" y="4767120"/>
                  <a:pt x="3129644" y="4654567"/>
                </a:cubicBezTo>
                <a:cubicBezTo>
                  <a:pt x="3136311" y="4652183"/>
                  <a:pt x="3143098" y="4651348"/>
                  <a:pt x="3149675" y="4651825"/>
                </a:cubicBezTo>
                <a:close/>
                <a:moveTo>
                  <a:pt x="9864585" y="4440631"/>
                </a:moveTo>
                <a:cubicBezTo>
                  <a:pt x="9871274" y="4441819"/>
                  <a:pt x="9877485" y="4445621"/>
                  <a:pt x="9882263" y="4452274"/>
                </a:cubicBezTo>
                <a:cubicBezTo>
                  <a:pt x="9891819" y="4463680"/>
                  <a:pt x="9887997" y="4480789"/>
                  <a:pt x="9876530" y="4488393"/>
                </a:cubicBezTo>
                <a:cubicBezTo>
                  <a:pt x="9876530" y="4488393"/>
                  <a:pt x="9876530" y="4488393"/>
                  <a:pt x="9540160" y="4727913"/>
                </a:cubicBezTo>
                <a:cubicBezTo>
                  <a:pt x="9528693" y="4735517"/>
                  <a:pt x="9511492" y="4733616"/>
                  <a:pt x="9503848" y="4720309"/>
                </a:cubicBezTo>
                <a:cubicBezTo>
                  <a:pt x="9500025" y="4716507"/>
                  <a:pt x="9498114" y="4710804"/>
                  <a:pt x="9498114" y="4705101"/>
                </a:cubicBezTo>
                <a:cubicBezTo>
                  <a:pt x="9498114" y="4697498"/>
                  <a:pt x="9501936" y="4687993"/>
                  <a:pt x="9509581" y="4684191"/>
                </a:cubicBezTo>
                <a:cubicBezTo>
                  <a:pt x="9509581" y="4684191"/>
                  <a:pt x="9509581" y="4684191"/>
                  <a:pt x="9844039" y="4444671"/>
                </a:cubicBezTo>
                <a:cubicBezTo>
                  <a:pt x="9850729" y="4440869"/>
                  <a:pt x="9857896" y="4439443"/>
                  <a:pt x="9864585" y="4440631"/>
                </a:cubicBezTo>
                <a:close/>
                <a:moveTo>
                  <a:pt x="10447906" y="4432309"/>
                </a:moveTo>
                <a:cubicBezTo>
                  <a:pt x="10455055" y="4433740"/>
                  <a:pt x="10461728" y="4438030"/>
                  <a:pt x="10466494" y="4444705"/>
                </a:cubicBezTo>
                <a:cubicBezTo>
                  <a:pt x="10476027" y="4458055"/>
                  <a:pt x="10472214" y="4475218"/>
                  <a:pt x="10458868" y="4484754"/>
                </a:cubicBezTo>
                <a:cubicBezTo>
                  <a:pt x="10458868" y="4484754"/>
                  <a:pt x="10458868" y="4484754"/>
                  <a:pt x="10123316" y="4711694"/>
                </a:cubicBezTo>
                <a:cubicBezTo>
                  <a:pt x="10109970" y="4721230"/>
                  <a:pt x="10092811" y="4717416"/>
                  <a:pt x="10083279" y="4704066"/>
                </a:cubicBezTo>
                <a:cubicBezTo>
                  <a:pt x="10079466" y="4698345"/>
                  <a:pt x="10077559" y="4692624"/>
                  <a:pt x="10077559" y="4686903"/>
                </a:cubicBezTo>
                <a:cubicBezTo>
                  <a:pt x="10077559" y="4679274"/>
                  <a:pt x="10083279" y="4669739"/>
                  <a:pt x="10090905" y="4664018"/>
                </a:cubicBezTo>
                <a:cubicBezTo>
                  <a:pt x="10090905" y="4664018"/>
                  <a:pt x="10090905" y="4664018"/>
                  <a:pt x="10426457" y="4437077"/>
                </a:cubicBezTo>
                <a:cubicBezTo>
                  <a:pt x="10433130" y="4432310"/>
                  <a:pt x="10440756" y="4430879"/>
                  <a:pt x="10447906" y="4432309"/>
                </a:cubicBezTo>
                <a:close/>
                <a:moveTo>
                  <a:pt x="9287428" y="4432309"/>
                </a:moveTo>
                <a:cubicBezTo>
                  <a:pt x="9294577" y="4433740"/>
                  <a:pt x="9301250" y="4438031"/>
                  <a:pt x="9306016" y="4444705"/>
                </a:cubicBezTo>
                <a:cubicBezTo>
                  <a:pt x="9315549" y="4458055"/>
                  <a:pt x="9311736" y="4475218"/>
                  <a:pt x="9298390" y="4484754"/>
                </a:cubicBezTo>
                <a:cubicBezTo>
                  <a:pt x="9298390" y="4484754"/>
                  <a:pt x="9298390" y="4484754"/>
                  <a:pt x="8962838" y="4711694"/>
                </a:cubicBezTo>
                <a:cubicBezTo>
                  <a:pt x="8949492" y="4721230"/>
                  <a:pt x="8932333" y="4717416"/>
                  <a:pt x="8922801" y="4704066"/>
                </a:cubicBezTo>
                <a:cubicBezTo>
                  <a:pt x="8918988" y="4698345"/>
                  <a:pt x="8917081" y="4692624"/>
                  <a:pt x="8917081" y="4686903"/>
                </a:cubicBezTo>
                <a:cubicBezTo>
                  <a:pt x="8917081" y="4679274"/>
                  <a:pt x="8922801" y="4669739"/>
                  <a:pt x="8930427" y="4664018"/>
                </a:cubicBezTo>
                <a:cubicBezTo>
                  <a:pt x="8930427" y="4664018"/>
                  <a:pt x="8930427" y="4664018"/>
                  <a:pt x="9265979" y="4437077"/>
                </a:cubicBezTo>
                <a:cubicBezTo>
                  <a:pt x="9272652" y="4432310"/>
                  <a:pt x="9280278" y="4430879"/>
                  <a:pt x="9287428" y="4432309"/>
                </a:cubicBezTo>
                <a:close/>
                <a:moveTo>
                  <a:pt x="11026206" y="4423012"/>
                </a:moveTo>
                <a:cubicBezTo>
                  <a:pt x="11034058" y="4424677"/>
                  <a:pt x="11041196" y="4429434"/>
                  <a:pt x="11045955" y="4437046"/>
                </a:cubicBezTo>
                <a:cubicBezTo>
                  <a:pt x="11055473" y="4450366"/>
                  <a:pt x="11051666" y="4471298"/>
                  <a:pt x="11036438" y="4478910"/>
                </a:cubicBezTo>
                <a:cubicBezTo>
                  <a:pt x="11036438" y="4478910"/>
                  <a:pt x="11036438" y="4478910"/>
                  <a:pt x="10701418" y="4695840"/>
                </a:cubicBezTo>
                <a:cubicBezTo>
                  <a:pt x="10686190" y="4705355"/>
                  <a:pt x="10667155" y="4699646"/>
                  <a:pt x="10657637" y="4686326"/>
                </a:cubicBezTo>
                <a:cubicBezTo>
                  <a:pt x="10653830" y="4680617"/>
                  <a:pt x="10653830" y="4674908"/>
                  <a:pt x="10653830" y="4669200"/>
                </a:cubicBezTo>
                <a:cubicBezTo>
                  <a:pt x="10653830" y="4657782"/>
                  <a:pt x="10657637" y="4648268"/>
                  <a:pt x="10667155" y="4642559"/>
                </a:cubicBezTo>
                <a:cubicBezTo>
                  <a:pt x="10667155" y="4642559"/>
                  <a:pt x="10667155" y="4642559"/>
                  <a:pt x="11002174" y="4427531"/>
                </a:cubicBezTo>
                <a:cubicBezTo>
                  <a:pt x="11009789" y="4422774"/>
                  <a:pt x="11018354" y="4421347"/>
                  <a:pt x="11026206" y="4423012"/>
                </a:cubicBezTo>
                <a:close/>
                <a:moveTo>
                  <a:pt x="8716363" y="4423012"/>
                </a:moveTo>
                <a:cubicBezTo>
                  <a:pt x="8724214" y="4424677"/>
                  <a:pt x="8731352" y="4429434"/>
                  <a:pt x="8736111" y="4437046"/>
                </a:cubicBezTo>
                <a:cubicBezTo>
                  <a:pt x="8745629" y="4450366"/>
                  <a:pt x="8741822" y="4471298"/>
                  <a:pt x="8726594" y="4478910"/>
                </a:cubicBezTo>
                <a:cubicBezTo>
                  <a:pt x="8726594" y="4478910"/>
                  <a:pt x="8726594" y="4478910"/>
                  <a:pt x="8391574" y="4695840"/>
                </a:cubicBezTo>
                <a:cubicBezTo>
                  <a:pt x="8378249" y="4705355"/>
                  <a:pt x="8357311" y="4699646"/>
                  <a:pt x="8347793" y="4686326"/>
                </a:cubicBezTo>
                <a:cubicBezTo>
                  <a:pt x="8345890" y="4680617"/>
                  <a:pt x="8343986" y="4674908"/>
                  <a:pt x="8343986" y="4669200"/>
                </a:cubicBezTo>
                <a:cubicBezTo>
                  <a:pt x="8343986" y="4657782"/>
                  <a:pt x="8347793" y="4648268"/>
                  <a:pt x="8357311" y="4642559"/>
                </a:cubicBezTo>
                <a:cubicBezTo>
                  <a:pt x="8357311" y="4642559"/>
                  <a:pt x="8357311" y="4642559"/>
                  <a:pt x="8692330" y="4427531"/>
                </a:cubicBezTo>
                <a:cubicBezTo>
                  <a:pt x="8699945" y="4422774"/>
                  <a:pt x="8708511" y="4421347"/>
                  <a:pt x="8716363" y="4423012"/>
                </a:cubicBezTo>
                <a:close/>
                <a:moveTo>
                  <a:pt x="11596714" y="4414431"/>
                </a:moveTo>
                <a:cubicBezTo>
                  <a:pt x="11605055" y="4416570"/>
                  <a:pt x="11612681" y="4421797"/>
                  <a:pt x="11617447" y="4429399"/>
                </a:cubicBezTo>
                <a:cubicBezTo>
                  <a:pt x="11626980" y="4444605"/>
                  <a:pt x="11623167" y="4465512"/>
                  <a:pt x="11606008" y="4475016"/>
                </a:cubicBezTo>
                <a:cubicBezTo>
                  <a:pt x="11606008" y="4475016"/>
                  <a:pt x="11606008" y="4475016"/>
                  <a:pt x="11270463" y="4678388"/>
                </a:cubicBezTo>
                <a:cubicBezTo>
                  <a:pt x="11255211" y="4687892"/>
                  <a:pt x="11234239" y="4684090"/>
                  <a:pt x="11224707" y="4666984"/>
                </a:cubicBezTo>
                <a:cubicBezTo>
                  <a:pt x="11220894" y="4663183"/>
                  <a:pt x="11218987" y="4655580"/>
                  <a:pt x="11218987" y="4649878"/>
                </a:cubicBezTo>
                <a:cubicBezTo>
                  <a:pt x="11218987" y="4638474"/>
                  <a:pt x="11224707" y="4628971"/>
                  <a:pt x="11236146" y="4621368"/>
                </a:cubicBezTo>
                <a:cubicBezTo>
                  <a:pt x="11236146" y="4621368"/>
                  <a:pt x="11236146" y="4621368"/>
                  <a:pt x="11571691" y="4417995"/>
                </a:cubicBezTo>
                <a:cubicBezTo>
                  <a:pt x="11579317" y="4413244"/>
                  <a:pt x="11588373" y="4412293"/>
                  <a:pt x="11596714" y="4414431"/>
                </a:cubicBezTo>
                <a:close/>
                <a:moveTo>
                  <a:pt x="8153380" y="4414431"/>
                </a:moveTo>
                <a:cubicBezTo>
                  <a:pt x="8161721" y="4416570"/>
                  <a:pt x="8169347" y="4421797"/>
                  <a:pt x="8174113" y="4429399"/>
                </a:cubicBezTo>
                <a:cubicBezTo>
                  <a:pt x="8183646" y="4444605"/>
                  <a:pt x="8177926" y="4465512"/>
                  <a:pt x="8162674" y="4475016"/>
                </a:cubicBezTo>
                <a:cubicBezTo>
                  <a:pt x="8162674" y="4475016"/>
                  <a:pt x="8162674" y="4475016"/>
                  <a:pt x="7825222" y="4678388"/>
                </a:cubicBezTo>
                <a:cubicBezTo>
                  <a:pt x="7809970" y="4687892"/>
                  <a:pt x="7788998" y="4684090"/>
                  <a:pt x="7779466" y="4666984"/>
                </a:cubicBezTo>
                <a:cubicBezTo>
                  <a:pt x="7777559" y="4663183"/>
                  <a:pt x="7775653" y="4655580"/>
                  <a:pt x="7775653" y="4649878"/>
                </a:cubicBezTo>
                <a:cubicBezTo>
                  <a:pt x="7775653" y="4638474"/>
                  <a:pt x="7781372" y="4628971"/>
                  <a:pt x="7790905" y="4621368"/>
                </a:cubicBezTo>
                <a:cubicBezTo>
                  <a:pt x="7790905" y="4621368"/>
                  <a:pt x="7790905" y="4621368"/>
                  <a:pt x="8128357" y="4417995"/>
                </a:cubicBezTo>
                <a:cubicBezTo>
                  <a:pt x="8135983" y="4413244"/>
                  <a:pt x="8145039" y="4412293"/>
                  <a:pt x="8153380" y="4414431"/>
                </a:cubicBezTo>
                <a:close/>
                <a:moveTo>
                  <a:pt x="12139750" y="4406904"/>
                </a:moveTo>
                <a:cubicBezTo>
                  <a:pt x="12139750" y="4406904"/>
                  <a:pt x="12139750" y="4406904"/>
                  <a:pt x="12139750" y="4488819"/>
                </a:cubicBezTo>
                <a:cubicBezTo>
                  <a:pt x="12139750" y="4488819"/>
                  <a:pt x="12139750" y="4488819"/>
                  <a:pt x="11834405" y="4664079"/>
                </a:cubicBezTo>
                <a:cubicBezTo>
                  <a:pt x="11817230" y="4673604"/>
                  <a:pt x="11794329" y="4667889"/>
                  <a:pt x="11784787" y="4650744"/>
                </a:cubicBezTo>
                <a:cubicBezTo>
                  <a:pt x="11780970" y="4645029"/>
                  <a:pt x="11780970" y="4639314"/>
                  <a:pt x="11780970" y="4633599"/>
                </a:cubicBezTo>
                <a:cubicBezTo>
                  <a:pt x="11780970" y="4620264"/>
                  <a:pt x="11786695" y="4608834"/>
                  <a:pt x="11798146" y="4601214"/>
                </a:cubicBezTo>
                <a:lnTo>
                  <a:pt x="12135933" y="4408809"/>
                </a:lnTo>
                <a:cubicBezTo>
                  <a:pt x="12137842" y="4408809"/>
                  <a:pt x="12137842" y="4408809"/>
                  <a:pt x="12139750" y="4406904"/>
                </a:cubicBezTo>
                <a:close/>
                <a:moveTo>
                  <a:pt x="7595041" y="4405165"/>
                </a:moveTo>
                <a:cubicBezTo>
                  <a:pt x="7604076" y="4407549"/>
                  <a:pt x="7612160" y="4413271"/>
                  <a:pt x="7616915" y="4421853"/>
                </a:cubicBezTo>
                <a:cubicBezTo>
                  <a:pt x="7626426" y="4439018"/>
                  <a:pt x="7620719" y="4461905"/>
                  <a:pt x="7603601" y="4471441"/>
                </a:cubicBezTo>
                <a:cubicBezTo>
                  <a:pt x="7603601" y="4471441"/>
                  <a:pt x="7603601" y="4471441"/>
                  <a:pt x="7266929" y="4664069"/>
                </a:cubicBezTo>
                <a:cubicBezTo>
                  <a:pt x="7249810" y="4673605"/>
                  <a:pt x="7228887" y="4667883"/>
                  <a:pt x="7219376" y="4650718"/>
                </a:cubicBezTo>
                <a:cubicBezTo>
                  <a:pt x="7215572" y="4644997"/>
                  <a:pt x="7213670" y="4639275"/>
                  <a:pt x="7213670" y="4633553"/>
                </a:cubicBezTo>
                <a:cubicBezTo>
                  <a:pt x="7213670" y="4620203"/>
                  <a:pt x="7219376" y="4608760"/>
                  <a:pt x="7230789" y="4601131"/>
                </a:cubicBezTo>
                <a:cubicBezTo>
                  <a:pt x="7230789" y="4601131"/>
                  <a:pt x="7230789" y="4601131"/>
                  <a:pt x="7567461" y="4408503"/>
                </a:cubicBezTo>
                <a:cubicBezTo>
                  <a:pt x="7576020" y="4403735"/>
                  <a:pt x="7586006" y="4402781"/>
                  <a:pt x="7595041" y="4405165"/>
                </a:cubicBezTo>
                <a:close/>
                <a:moveTo>
                  <a:pt x="7045447" y="4396577"/>
                </a:moveTo>
                <a:cubicBezTo>
                  <a:pt x="7054741" y="4399431"/>
                  <a:pt x="7062844" y="4405615"/>
                  <a:pt x="7067610" y="4414178"/>
                </a:cubicBezTo>
                <a:cubicBezTo>
                  <a:pt x="7077143" y="4433205"/>
                  <a:pt x="7071423" y="4456038"/>
                  <a:pt x="7052359" y="4465552"/>
                </a:cubicBezTo>
                <a:cubicBezTo>
                  <a:pt x="7052359" y="4465552"/>
                  <a:pt x="7052359" y="4465552"/>
                  <a:pt x="6714913" y="4646313"/>
                </a:cubicBezTo>
                <a:cubicBezTo>
                  <a:pt x="6695848" y="4657730"/>
                  <a:pt x="6672970" y="4650119"/>
                  <a:pt x="6663438" y="4631091"/>
                </a:cubicBezTo>
                <a:cubicBezTo>
                  <a:pt x="6661531" y="4625383"/>
                  <a:pt x="6659625" y="4619675"/>
                  <a:pt x="6659625" y="4613966"/>
                </a:cubicBezTo>
                <a:cubicBezTo>
                  <a:pt x="6659625" y="4600647"/>
                  <a:pt x="6667251" y="4587328"/>
                  <a:pt x="6678689" y="4581620"/>
                </a:cubicBezTo>
                <a:cubicBezTo>
                  <a:pt x="6678689" y="4581620"/>
                  <a:pt x="6678689" y="4581620"/>
                  <a:pt x="7016136" y="4398956"/>
                </a:cubicBezTo>
                <a:cubicBezTo>
                  <a:pt x="7025668" y="4394199"/>
                  <a:pt x="7036153" y="4393723"/>
                  <a:pt x="7045447" y="4396577"/>
                </a:cubicBezTo>
                <a:close/>
                <a:moveTo>
                  <a:pt x="6484860" y="4386509"/>
                </a:moveTo>
                <a:cubicBezTo>
                  <a:pt x="6500286" y="4385262"/>
                  <a:pt x="6515979" y="4394170"/>
                  <a:pt x="6523112" y="4408422"/>
                </a:cubicBezTo>
                <a:cubicBezTo>
                  <a:pt x="6532623" y="4427426"/>
                  <a:pt x="6525014" y="4452131"/>
                  <a:pt x="6505992" y="4461632"/>
                </a:cubicBezTo>
                <a:cubicBezTo>
                  <a:pt x="6505992" y="4461632"/>
                  <a:pt x="6505992" y="4461632"/>
                  <a:pt x="6167407" y="4630765"/>
                </a:cubicBezTo>
                <a:cubicBezTo>
                  <a:pt x="6148385" y="4640267"/>
                  <a:pt x="6123657" y="4632665"/>
                  <a:pt x="6114146" y="4613662"/>
                </a:cubicBezTo>
                <a:cubicBezTo>
                  <a:pt x="6112244" y="4607961"/>
                  <a:pt x="6110342" y="4600359"/>
                  <a:pt x="6110342" y="4594658"/>
                </a:cubicBezTo>
                <a:cubicBezTo>
                  <a:pt x="6110342" y="4581355"/>
                  <a:pt x="6117950" y="4566153"/>
                  <a:pt x="6131266" y="4560451"/>
                </a:cubicBezTo>
                <a:cubicBezTo>
                  <a:pt x="6131266" y="4560451"/>
                  <a:pt x="6131266" y="4560451"/>
                  <a:pt x="6469851" y="4391319"/>
                </a:cubicBezTo>
                <a:cubicBezTo>
                  <a:pt x="6474607" y="4388468"/>
                  <a:pt x="6479719" y="4386924"/>
                  <a:pt x="6484860" y="4386509"/>
                </a:cubicBezTo>
                <a:close/>
                <a:moveTo>
                  <a:pt x="5956833" y="4379618"/>
                </a:moveTo>
                <a:cubicBezTo>
                  <a:pt x="5966832" y="4382960"/>
                  <a:pt x="5975405" y="4390122"/>
                  <a:pt x="5980168" y="4400625"/>
                </a:cubicBezTo>
                <a:cubicBezTo>
                  <a:pt x="5989692" y="4421633"/>
                  <a:pt x="5982072" y="4446460"/>
                  <a:pt x="5961117" y="4456009"/>
                </a:cubicBezTo>
                <a:cubicBezTo>
                  <a:pt x="5961117" y="4456009"/>
                  <a:pt x="5961117" y="4456009"/>
                  <a:pt x="5622030" y="4616430"/>
                </a:cubicBezTo>
                <a:cubicBezTo>
                  <a:pt x="5601076" y="4625979"/>
                  <a:pt x="5576311" y="4616430"/>
                  <a:pt x="5564881" y="4595422"/>
                </a:cubicBezTo>
                <a:cubicBezTo>
                  <a:pt x="5562977" y="4589693"/>
                  <a:pt x="5561071" y="4583964"/>
                  <a:pt x="5561071" y="4578234"/>
                </a:cubicBezTo>
                <a:cubicBezTo>
                  <a:pt x="5561071" y="4561046"/>
                  <a:pt x="5570596" y="4547678"/>
                  <a:pt x="5585836" y="4540039"/>
                </a:cubicBezTo>
                <a:cubicBezTo>
                  <a:pt x="5585836" y="4540039"/>
                  <a:pt x="5585836" y="4540039"/>
                  <a:pt x="5924922" y="4381528"/>
                </a:cubicBezTo>
                <a:cubicBezTo>
                  <a:pt x="5935400" y="4376753"/>
                  <a:pt x="5946830" y="4376276"/>
                  <a:pt x="5956833" y="4379618"/>
                </a:cubicBezTo>
                <a:close/>
                <a:moveTo>
                  <a:pt x="398944" y="4379618"/>
                </a:moveTo>
                <a:cubicBezTo>
                  <a:pt x="408946" y="4382960"/>
                  <a:pt x="417518" y="4390121"/>
                  <a:pt x="422281" y="4400625"/>
                </a:cubicBezTo>
                <a:cubicBezTo>
                  <a:pt x="431806" y="4421633"/>
                  <a:pt x="422281" y="4446460"/>
                  <a:pt x="401326" y="4456009"/>
                </a:cubicBezTo>
                <a:cubicBezTo>
                  <a:pt x="401326" y="4456009"/>
                  <a:pt x="401326" y="4456009"/>
                  <a:pt x="62232" y="4616430"/>
                </a:cubicBezTo>
                <a:cubicBezTo>
                  <a:pt x="41276" y="4625979"/>
                  <a:pt x="16511" y="4616430"/>
                  <a:pt x="6986" y="4595422"/>
                </a:cubicBezTo>
                <a:cubicBezTo>
                  <a:pt x="5081" y="4589693"/>
                  <a:pt x="3176" y="4583964"/>
                  <a:pt x="3176" y="4578234"/>
                </a:cubicBezTo>
                <a:cubicBezTo>
                  <a:pt x="3176" y="4561046"/>
                  <a:pt x="12701" y="4547678"/>
                  <a:pt x="27941" y="4540039"/>
                </a:cubicBezTo>
                <a:cubicBezTo>
                  <a:pt x="27941" y="4540039"/>
                  <a:pt x="27941" y="4540039"/>
                  <a:pt x="367035" y="4381528"/>
                </a:cubicBezTo>
                <a:cubicBezTo>
                  <a:pt x="377513" y="4376753"/>
                  <a:pt x="388943" y="4376276"/>
                  <a:pt x="398944" y="4379618"/>
                </a:cubicBezTo>
                <a:close/>
                <a:moveTo>
                  <a:pt x="5410426" y="4371276"/>
                </a:moveTo>
                <a:cubicBezTo>
                  <a:pt x="5420686" y="4375329"/>
                  <a:pt x="5429278" y="4383436"/>
                  <a:pt x="5434051" y="4394881"/>
                </a:cubicBezTo>
                <a:cubicBezTo>
                  <a:pt x="5443597" y="4415863"/>
                  <a:pt x="5434051" y="4442567"/>
                  <a:pt x="5411140" y="4452105"/>
                </a:cubicBezTo>
                <a:cubicBezTo>
                  <a:pt x="5411140" y="4452105"/>
                  <a:pt x="5411140" y="4452105"/>
                  <a:pt x="5071297" y="4598979"/>
                </a:cubicBezTo>
                <a:cubicBezTo>
                  <a:pt x="5048391" y="4608517"/>
                  <a:pt x="5023574" y="4598979"/>
                  <a:pt x="5014028" y="4576090"/>
                </a:cubicBezTo>
                <a:cubicBezTo>
                  <a:pt x="5010210" y="4570367"/>
                  <a:pt x="5010210" y="4564645"/>
                  <a:pt x="5010210" y="4558923"/>
                </a:cubicBezTo>
                <a:cubicBezTo>
                  <a:pt x="5010210" y="4541755"/>
                  <a:pt x="5019755" y="4526496"/>
                  <a:pt x="5036935" y="4518866"/>
                </a:cubicBezTo>
                <a:cubicBezTo>
                  <a:pt x="5036935" y="4518866"/>
                  <a:pt x="5036935" y="4518866"/>
                  <a:pt x="5376776" y="4371991"/>
                </a:cubicBezTo>
                <a:cubicBezTo>
                  <a:pt x="5388231" y="4367223"/>
                  <a:pt x="5400164" y="4367223"/>
                  <a:pt x="5410426" y="4371276"/>
                </a:cubicBezTo>
                <a:close/>
                <a:moveTo>
                  <a:pt x="943805" y="4371276"/>
                </a:moveTo>
                <a:cubicBezTo>
                  <a:pt x="954537" y="4375329"/>
                  <a:pt x="963599" y="4383436"/>
                  <a:pt x="968368" y="4394881"/>
                </a:cubicBezTo>
                <a:cubicBezTo>
                  <a:pt x="977908" y="4415863"/>
                  <a:pt x="966461" y="4442567"/>
                  <a:pt x="945475" y="4452105"/>
                </a:cubicBezTo>
                <a:cubicBezTo>
                  <a:pt x="945475" y="4452105"/>
                  <a:pt x="945475" y="4452105"/>
                  <a:pt x="603977" y="4598979"/>
                </a:cubicBezTo>
                <a:cubicBezTo>
                  <a:pt x="581084" y="4608517"/>
                  <a:pt x="556282" y="4598979"/>
                  <a:pt x="546743" y="4576090"/>
                </a:cubicBezTo>
                <a:cubicBezTo>
                  <a:pt x="544835" y="4570367"/>
                  <a:pt x="542927" y="4564645"/>
                  <a:pt x="542927" y="4558923"/>
                </a:cubicBezTo>
                <a:cubicBezTo>
                  <a:pt x="542927" y="4541755"/>
                  <a:pt x="552466" y="4526496"/>
                  <a:pt x="569637" y="4518866"/>
                </a:cubicBezTo>
                <a:cubicBezTo>
                  <a:pt x="569637" y="4518866"/>
                  <a:pt x="569637" y="4518866"/>
                  <a:pt x="909226" y="4371991"/>
                </a:cubicBezTo>
                <a:cubicBezTo>
                  <a:pt x="920673" y="4367223"/>
                  <a:pt x="933074" y="4367223"/>
                  <a:pt x="943805" y="4371276"/>
                </a:cubicBezTo>
                <a:close/>
                <a:moveTo>
                  <a:pt x="4841668" y="4359082"/>
                </a:moveTo>
                <a:cubicBezTo>
                  <a:pt x="4859264" y="4359350"/>
                  <a:pt x="4876053" y="4370051"/>
                  <a:pt x="4883197" y="4387173"/>
                </a:cubicBezTo>
                <a:cubicBezTo>
                  <a:pt x="4892723" y="4411906"/>
                  <a:pt x="4881294" y="4438541"/>
                  <a:pt x="4856524" y="4448053"/>
                </a:cubicBezTo>
                <a:cubicBezTo>
                  <a:pt x="4856524" y="4448053"/>
                  <a:pt x="4856524" y="4448053"/>
                  <a:pt x="4517434" y="4583129"/>
                </a:cubicBezTo>
                <a:cubicBezTo>
                  <a:pt x="4492670" y="4592642"/>
                  <a:pt x="4465999" y="4581227"/>
                  <a:pt x="4456473" y="4556495"/>
                </a:cubicBezTo>
                <a:cubicBezTo>
                  <a:pt x="4454569" y="4550787"/>
                  <a:pt x="4454569" y="4545080"/>
                  <a:pt x="4454569" y="4539372"/>
                </a:cubicBezTo>
                <a:cubicBezTo>
                  <a:pt x="4454569" y="4522250"/>
                  <a:pt x="4464094" y="4505127"/>
                  <a:pt x="4483145" y="4497518"/>
                </a:cubicBezTo>
                <a:cubicBezTo>
                  <a:pt x="4483145" y="4497518"/>
                  <a:pt x="4483145" y="4497518"/>
                  <a:pt x="4824132" y="4362441"/>
                </a:cubicBezTo>
                <a:cubicBezTo>
                  <a:pt x="4829847" y="4360063"/>
                  <a:pt x="4835802" y="4358993"/>
                  <a:pt x="4841668" y="4359082"/>
                </a:cubicBezTo>
                <a:close/>
                <a:moveTo>
                  <a:pt x="1477208" y="4359082"/>
                </a:moveTo>
                <a:cubicBezTo>
                  <a:pt x="1495514" y="4359350"/>
                  <a:pt x="1511945" y="4370051"/>
                  <a:pt x="1517660" y="4387173"/>
                </a:cubicBezTo>
                <a:cubicBezTo>
                  <a:pt x="1527185" y="4411906"/>
                  <a:pt x="1515755" y="4438541"/>
                  <a:pt x="1492894" y="4448053"/>
                </a:cubicBezTo>
                <a:cubicBezTo>
                  <a:pt x="1492894" y="4448053"/>
                  <a:pt x="1492894" y="4448053"/>
                  <a:pt x="1151895" y="4583129"/>
                </a:cubicBezTo>
                <a:cubicBezTo>
                  <a:pt x="1129035" y="4592642"/>
                  <a:pt x="1102365" y="4581227"/>
                  <a:pt x="1092840" y="4556495"/>
                </a:cubicBezTo>
                <a:cubicBezTo>
                  <a:pt x="1090934" y="4550787"/>
                  <a:pt x="1089029" y="4545080"/>
                  <a:pt x="1089029" y="4539372"/>
                </a:cubicBezTo>
                <a:cubicBezTo>
                  <a:pt x="1089029" y="4522250"/>
                  <a:pt x="1100460" y="4505127"/>
                  <a:pt x="1117605" y="4497518"/>
                </a:cubicBezTo>
                <a:cubicBezTo>
                  <a:pt x="1117605" y="4497518"/>
                  <a:pt x="1117605" y="4497518"/>
                  <a:pt x="1458604" y="4362441"/>
                </a:cubicBezTo>
                <a:cubicBezTo>
                  <a:pt x="1464795" y="4360063"/>
                  <a:pt x="1471106" y="4358993"/>
                  <a:pt x="1477208" y="4359082"/>
                </a:cubicBezTo>
                <a:close/>
                <a:moveTo>
                  <a:pt x="4284027" y="4349919"/>
                </a:moveTo>
                <a:cubicBezTo>
                  <a:pt x="4302829" y="4350816"/>
                  <a:pt x="4320295" y="4363010"/>
                  <a:pt x="4325998" y="4381660"/>
                </a:cubicBezTo>
                <a:cubicBezTo>
                  <a:pt x="4335503" y="4406527"/>
                  <a:pt x="4322195" y="4435219"/>
                  <a:pt x="4297483" y="4442870"/>
                </a:cubicBezTo>
                <a:cubicBezTo>
                  <a:pt x="4297483" y="4442870"/>
                  <a:pt x="4297483" y="4442870"/>
                  <a:pt x="3957235" y="4569116"/>
                </a:cubicBezTo>
                <a:cubicBezTo>
                  <a:pt x="3932522" y="4576767"/>
                  <a:pt x="3904008" y="4565290"/>
                  <a:pt x="3896403" y="4538511"/>
                </a:cubicBezTo>
                <a:cubicBezTo>
                  <a:pt x="3894503" y="4534685"/>
                  <a:pt x="3892602" y="4528946"/>
                  <a:pt x="3892602" y="4523208"/>
                </a:cubicBezTo>
                <a:cubicBezTo>
                  <a:pt x="3892602" y="4502167"/>
                  <a:pt x="3904008" y="4484952"/>
                  <a:pt x="3924918" y="4477301"/>
                </a:cubicBezTo>
                <a:cubicBezTo>
                  <a:pt x="3924918" y="4477301"/>
                  <a:pt x="3924918" y="4477301"/>
                  <a:pt x="4265165" y="4352968"/>
                </a:cubicBezTo>
                <a:cubicBezTo>
                  <a:pt x="4271344" y="4350577"/>
                  <a:pt x="4277760" y="4349620"/>
                  <a:pt x="4284027" y="4349919"/>
                </a:cubicBezTo>
                <a:close/>
                <a:moveTo>
                  <a:pt x="2029782" y="4349919"/>
                </a:moveTo>
                <a:cubicBezTo>
                  <a:pt x="2048677" y="4350816"/>
                  <a:pt x="2066499" y="4363010"/>
                  <a:pt x="2073629" y="4381660"/>
                </a:cubicBezTo>
                <a:cubicBezTo>
                  <a:pt x="2081232" y="4406527"/>
                  <a:pt x="2069826" y="4435219"/>
                  <a:pt x="2045109" y="4442870"/>
                </a:cubicBezTo>
                <a:cubicBezTo>
                  <a:pt x="2045109" y="4442870"/>
                  <a:pt x="2045109" y="4442870"/>
                  <a:pt x="1702940" y="4569116"/>
                </a:cubicBezTo>
                <a:cubicBezTo>
                  <a:pt x="1678228" y="4576767"/>
                  <a:pt x="1651615" y="4565290"/>
                  <a:pt x="1642110" y="4538511"/>
                </a:cubicBezTo>
                <a:cubicBezTo>
                  <a:pt x="1640209" y="4534685"/>
                  <a:pt x="1638308" y="4528946"/>
                  <a:pt x="1638308" y="4523208"/>
                </a:cubicBezTo>
                <a:cubicBezTo>
                  <a:pt x="1638308" y="4502167"/>
                  <a:pt x="1651615" y="4484952"/>
                  <a:pt x="1670624" y="4477301"/>
                </a:cubicBezTo>
                <a:cubicBezTo>
                  <a:pt x="1670624" y="4477301"/>
                  <a:pt x="1670624" y="4477301"/>
                  <a:pt x="2010892" y="4352968"/>
                </a:cubicBezTo>
                <a:cubicBezTo>
                  <a:pt x="2017070" y="4350577"/>
                  <a:pt x="2023486" y="4349620"/>
                  <a:pt x="2029782" y="4349919"/>
                </a:cubicBezTo>
                <a:close/>
                <a:moveTo>
                  <a:pt x="3722769" y="4341198"/>
                </a:moveTo>
                <a:cubicBezTo>
                  <a:pt x="3742403" y="4342989"/>
                  <a:pt x="3759894" y="4355526"/>
                  <a:pt x="3765602" y="4375585"/>
                </a:cubicBezTo>
                <a:cubicBezTo>
                  <a:pt x="3775123" y="4402330"/>
                  <a:pt x="3759894" y="4430986"/>
                  <a:pt x="3733240" y="4438627"/>
                </a:cubicBezTo>
                <a:cubicBezTo>
                  <a:pt x="3733240" y="4438627"/>
                  <a:pt x="3733240" y="4438627"/>
                  <a:pt x="3392498" y="4551340"/>
                </a:cubicBezTo>
                <a:cubicBezTo>
                  <a:pt x="3365843" y="4560892"/>
                  <a:pt x="3337287" y="4545609"/>
                  <a:pt x="3329674" y="4518863"/>
                </a:cubicBezTo>
                <a:cubicBezTo>
                  <a:pt x="3327768" y="4515043"/>
                  <a:pt x="3325864" y="4509311"/>
                  <a:pt x="3325864" y="4503580"/>
                </a:cubicBezTo>
                <a:cubicBezTo>
                  <a:pt x="3325864" y="4482566"/>
                  <a:pt x="3339192" y="4463462"/>
                  <a:pt x="3360130" y="4455821"/>
                </a:cubicBezTo>
                <a:cubicBezTo>
                  <a:pt x="3360130" y="4455821"/>
                  <a:pt x="3360130" y="4455821"/>
                  <a:pt x="3702782" y="4343108"/>
                </a:cubicBezTo>
                <a:cubicBezTo>
                  <a:pt x="3709444" y="4341198"/>
                  <a:pt x="3716226" y="4340601"/>
                  <a:pt x="3722769" y="4341198"/>
                </a:cubicBezTo>
                <a:close/>
                <a:moveTo>
                  <a:pt x="2589270" y="4341198"/>
                </a:moveTo>
                <a:cubicBezTo>
                  <a:pt x="2608901" y="4342989"/>
                  <a:pt x="2626391" y="4355526"/>
                  <a:pt x="2632103" y="4375585"/>
                </a:cubicBezTo>
                <a:cubicBezTo>
                  <a:pt x="2641621" y="4402330"/>
                  <a:pt x="2626391" y="4430986"/>
                  <a:pt x="2599739" y="4438627"/>
                </a:cubicBezTo>
                <a:cubicBezTo>
                  <a:pt x="2599739" y="4438627"/>
                  <a:pt x="2599739" y="4438627"/>
                  <a:pt x="2258981" y="4551340"/>
                </a:cubicBezTo>
                <a:cubicBezTo>
                  <a:pt x="2232330" y="4560892"/>
                  <a:pt x="2203775" y="4545609"/>
                  <a:pt x="2196160" y="4518863"/>
                </a:cubicBezTo>
                <a:cubicBezTo>
                  <a:pt x="2194257" y="4515043"/>
                  <a:pt x="2192353" y="4509311"/>
                  <a:pt x="2192353" y="4503580"/>
                </a:cubicBezTo>
                <a:cubicBezTo>
                  <a:pt x="2192353" y="4482566"/>
                  <a:pt x="2205679" y="4463462"/>
                  <a:pt x="2226618" y="4455821"/>
                </a:cubicBezTo>
                <a:cubicBezTo>
                  <a:pt x="2226618" y="4455821"/>
                  <a:pt x="2226618" y="4455821"/>
                  <a:pt x="2569281" y="4343108"/>
                </a:cubicBezTo>
                <a:cubicBezTo>
                  <a:pt x="2575943" y="4341198"/>
                  <a:pt x="2582725" y="4340601"/>
                  <a:pt x="2589270" y="4341198"/>
                </a:cubicBezTo>
                <a:close/>
                <a:moveTo>
                  <a:pt x="3152169" y="4331993"/>
                </a:moveTo>
                <a:cubicBezTo>
                  <a:pt x="3172559" y="4334408"/>
                  <a:pt x="3190013" y="4348358"/>
                  <a:pt x="3195709" y="4369821"/>
                </a:cubicBezTo>
                <a:cubicBezTo>
                  <a:pt x="3205209" y="4396530"/>
                  <a:pt x="3188113" y="4427055"/>
                  <a:pt x="3161515" y="4434686"/>
                </a:cubicBezTo>
                <a:cubicBezTo>
                  <a:pt x="3161515" y="4434686"/>
                  <a:pt x="3161515" y="4434686"/>
                  <a:pt x="2819566" y="4535799"/>
                </a:cubicBezTo>
                <a:cubicBezTo>
                  <a:pt x="2791073" y="4543430"/>
                  <a:pt x="2762578" y="4528167"/>
                  <a:pt x="2753078" y="4499551"/>
                </a:cubicBezTo>
                <a:cubicBezTo>
                  <a:pt x="2753078" y="4495735"/>
                  <a:pt x="2751179" y="4490012"/>
                  <a:pt x="2751179" y="4486196"/>
                </a:cubicBezTo>
                <a:cubicBezTo>
                  <a:pt x="2751179" y="4463303"/>
                  <a:pt x="2766377" y="4442317"/>
                  <a:pt x="2789170" y="4434686"/>
                </a:cubicBezTo>
                <a:cubicBezTo>
                  <a:pt x="2789170" y="4434686"/>
                  <a:pt x="2789170" y="4434686"/>
                  <a:pt x="3131122" y="4333573"/>
                </a:cubicBezTo>
                <a:cubicBezTo>
                  <a:pt x="3138245" y="4331665"/>
                  <a:pt x="3145370" y="4331188"/>
                  <a:pt x="3152169" y="4331993"/>
                </a:cubicBezTo>
                <a:close/>
                <a:moveTo>
                  <a:pt x="9861856" y="4113368"/>
                </a:moveTo>
                <a:cubicBezTo>
                  <a:pt x="9868037" y="4114318"/>
                  <a:pt x="9873743" y="4117645"/>
                  <a:pt x="9877547" y="4123348"/>
                </a:cubicBezTo>
                <a:cubicBezTo>
                  <a:pt x="9887056" y="4132854"/>
                  <a:pt x="9885154" y="4149964"/>
                  <a:pt x="9873743" y="4157568"/>
                </a:cubicBezTo>
                <a:cubicBezTo>
                  <a:pt x="9873743" y="4157568"/>
                  <a:pt x="9873743" y="4157568"/>
                  <a:pt x="9540914" y="4410411"/>
                </a:cubicBezTo>
                <a:cubicBezTo>
                  <a:pt x="9531404" y="4418016"/>
                  <a:pt x="9516189" y="4416115"/>
                  <a:pt x="9506680" y="4404708"/>
                </a:cubicBezTo>
                <a:cubicBezTo>
                  <a:pt x="9502876" y="4400906"/>
                  <a:pt x="9502876" y="4395203"/>
                  <a:pt x="9502876" y="4391401"/>
                </a:cubicBezTo>
                <a:cubicBezTo>
                  <a:pt x="9502876" y="4383796"/>
                  <a:pt x="9504778" y="4376192"/>
                  <a:pt x="9512385" y="4370489"/>
                </a:cubicBezTo>
                <a:cubicBezTo>
                  <a:pt x="9512385" y="4370489"/>
                  <a:pt x="9512385" y="4370489"/>
                  <a:pt x="9843313" y="4117645"/>
                </a:cubicBezTo>
                <a:cubicBezTo>
                  <a:pt x="9849018" y="4113843"/>
                  <a:pt x="9855675" y="4112417"/>
                  <a:pt x="9861856" y="4113368"/>
                </a:cubicBezTo>
                <a:close/>
                <a:moveTo>
                  <a:pt x="10446896" y="4105427"/>
                </a:moveTo>
                <a:cubicBezTo>
                  <a:pt x="10453802" y="4106377"/>
                  <a:pt x="10460470" y="4109700"/>
                  <a:pt x="10465232" y="4115397"/>
                </a:cubicBezTo>
                <a:cubicBezTo>
                  <a:pt x="10472852" y="4128690"/>
                  <a:pt x="10470947" y="4145780"/>
                  <a:pt x="10459517" y="4153376"/>
                </a:cubicBezTo>
                <a:cubicBezTo>
                  <a:pt x="10459517" y="4153376"/>
                  <a:pt x="10459517" y="4153376"/>
                  <a:pt x="10124233" y="4392647"/>
                </a:cubicBezTo>
                <a:cubicBezTo>
                  <a:pt x="10112802" y="4402142"/>
                  <a:pt x="10095657" y="4398344"/>
                  <a:pt x="10088037" y="4386950"/>
                </a:cubicBezTo>
                <a:cubicBezTo>
                  <a:pt x="10084227" y="4381253"/>
                  <a:pt x="10082322" y="4375556"/>
                  <a:pt x="10082322" y="4369859"/>
                </a:cubicBezTo>
                <a:cubicBezTo>
                  <a:pt x="10082322" y="4362263"/>
                  <a:pt x="10086132" y="4354667"/>
                  <a:pt x="10093752" y="4348970"/>
                </a:cubicBezTo>
                <a:cubicBezTo>
                  <a:pt x="10093752" y="4348970"/>
                  <a:pt x="10093752" y="4348970"/>
                  <a:pt x="10427131" y="4109700"/>
                </a:cubicBezTo>
                <a:cubicBezTo>
                  <a:pt x="10432846" y="4105902"/>
                  <a:pt x="10439990" y="4104478"/>
                  <a:pt x="10446896" y="4105427"/>
                </a:cubicBezTo>
                <a:close/>
                <a:moveTo>
                  <a:pt x="9286179" y="4105427"/>
                </a:moveTo>
                <a:cubicBezTo>
                  <a:pt x="9292847" y="4106377"/>
                  <a:pt x="9299038" y="4109700"/>
                  <a:pt x="9302848" y="4115397"/>
                </a:cubicBezTo>
                <a:cubicBezTo>
                  <a:pt x="9312373" y="4128690"/>
                  <a:pt x="9310468" y="4145780"/>
                  <a:pt x="9297133" y="4153376"/>
                </a:cubicBezTo>
                <a:cubicBezTo>
                  <a:pt x="9297133" y="4153376"/>
                  <a:pt x="9297133" y="4153376"/>
                  <a:pt x="8963754" y="4392647"/>
                </a:cubicBezTo>
                <a:cubicBezTo>
                  <a:pt x="8952323" y="4402142"/>
                  <a:pt x="8935178" y="4398344"/>
                  <a:pt x="8925653" y="4386950"/>
                </a:cubicBezTo>
                <a:cubicBezTo>
                  <a:pt x="8921843" y="4381253"/>
                  <a:pt x="8921843" y="4375556"/>
                  <a:pt x="8921843" y="4369859"/>
                </a:cubicBezTo>
                <a:cubicBezTo>
                  <a:pt x="8921843" y="4362263"/>
                  <a:pt x="8925653" y="4354667"/>
                  <a:pt x="8931368" y="4348970"/>
                </a:cubicBezTo>
                <a:cubicBezTo>
                  <a:pt x="8931368" y="4348970"/>
                  <a:pt x="8931368" y="4348970"/>
                  <a:pt x="9266652" y="4109700"/>
                </a:cubicBezTo>
                <a:cubicBezTo>
                  <a:pt x="9272368" y="4105902"/>
                  <a:pt x="9279512" y="4104478"/>
                  <a:pt x="9286179" y="4105427"/>
                </a:cubicBezTo>
                <a:close/>
                <a:moveTo>
                  <a:pt x="11024810" y="4097347"/>
                </a:moveTo>
                <a:cubicBezTo>
                  <a:pt x="11032437" y="4098777"/>
                  <a:pt x="11039586" y="4103068"/>
                  <a:pt x="11044352" y="4109742"/>
                </a:cubicBezTo>
                <a:cubicBezTo>
                  <a:pt x="11053885" y="4123092"/>
                  <a:pt x="11050072" y="4142163"/>
                  <a:pt x="11036726" y="4149791"/>
                </a:cubicBezTo>
                <a:cubicBezTo>
                  <a:pt x="11036726" y="4149791"/>
                  <a:pt x="11036726" y="4149791"/>
                  <a:pt x="10701174" y="4376731"/>
                </a:cubicBezTo>
                <a:cubicBezTo>
                  <a:pt x="10687828" y="4386267"/>
                  <a:pt x="10668763" y="4382453"/>
                  <a:pt x="10659230" y="4369103"/>
                </a:cubicBezTo>
                <a:cubicBezTo>
                  <a:pt x="10657324" y="4363382"/>
                  <a:pt x="10655417" y="4357661"/>
                  <a:pt x="10655417" y="4351940"/>
                </a:cubicBezTo>
                <a:cubicBezTo>
                  <a:pt x="10655417" y="4342404"/>
                  <a:pt x="10659230" y="4332869"/>
                  <a:pt x="10668763" y="4327148"/>
                </a:cubicBezTo>
                <a:cubicBezTo>
                  <a:pt x="10668763" y="4327148"/>
                  <a:pt x="10668763" y="4327148"/>
                  <a:pt x="11002408" y="4102114"/>
                </a:cubicBezTo>
                <a:cubicBezTo>
                  <a:pt x="11009081" y="4097346"/>
                  <a:pt x="11017184" y="4095916"/>
                  <a:pt x="11024810" y="4097347"/>
                </a:cubicBezTo>
                <a:close/>
                <a:moveTo>
                  <a:pt x="8715681" y="4097347"/>
                </a:moveTo>
                <a:cubicBezTo>
                  <a:pt x="8723069" y="4098777"/>
                  <a:pt x="8729742" y="4103068"/>
                  <a:pt x="8734508" y="4109742"/>
                </a:cubicBezTo>
                <a:cubicBezTo>
                  <a:pt x="8744041" y="4123092"/>
                  <a:pt x="8740228" y="4142163"/>
                  <a:pt x="8726882" y="4149791"/>
                </a:cubicBezTo>
                <a:cubicBezTo>
                  <a:pt x="8726882" y="4149791"/>
                  <a:pt x="8726882" y="4149791"/>
                  <a:pt x="8391330" y="4376731"/>
                </a:cubicBezTo>
                <a:cubicBezTo>
                  <a:pt x="8377984" y="4386267"/>
                  <a:pt x="8358919" y="4382453"/>
                  <a:pt x="8351293" y="4369103"/>
                </a:cubicBezTo>
                <a:cubicBezTo>
                  <a:pt x="8347480" y="4363382"/>
                  <a:pt x="8345573" y="4357661"/>
                  <a:pt x="8345573" y="4351940"/>
                </a:cubicBezTo>
                <a:cubicBezTo>
                  <a:pt x="8345573" y="4342404"/>
                  <a:pt x="8349386" y="4332869"/>
                  <a:pt x="8358919" y="4327148"/>
                </a:cubicBezTo>
                <a:cubicBezTo>
                  <a:pt x="8358919" y="4327148"/>
                  <a:pt x="8358919" y="4327148"/>
                  <a:pt x="8692564" y="4102114"/>
                </a:cubicBezTo>
                <a:cubicBezTo>
                  <a:pt x="8700190" y="4097347"/>
                  <a:pt x="8708293" y="4095916"/>
                  <a:pt x="8715681" y="4097347"/>
                </a:cubicBezTo>
                <a:close/>
                <a:moveTo>
                  <a:pt x="11596149" y="4089007"/>
                </a:moveTo>
                <a:cubicBezTo>
                  <a:pt x="11603995" y="4091150"/>
                  <a:pt x="11611128" y="4096389"/>
                  <a:pt x="11615883" y="4104009"/>
                </a:cubicBezTo>
                <a:cubicBezTo>
                  <a:pt x="11625393" y="4117344"/>
                  <a:pt x="11621589" y="4138299"/>
                  <a:pt x="11606373" y="4147824"/>
                </a:cubicBezTo>
                <a:cubicBezTo>
                  <a:pt x="11606373" y="4147824"/>
                  <a:pt x="11606373" y="4147824"/>
                  <a:pt x="11271615" y="4359279"/>
                </a:cubicBezTo>
                <a:cubicBezTo>
                  <a:pt x="11256399" y="4368804"/>
                  <a:pt x="11237378" y="4364994"/>
                  <a:pt x="11227868" y="4349754"/>
                </a:cubicBezTo>
                <a:cubicBezTo>
                  <a:pt x="11224064" y="4344039"/>
                  <a:pt x="11222162" y="4338324"/>
                  <a:pt x="11222162" y="4332609"/>
                </a:cubicBezTo>
                <a:cubicBezTo>
                  <a:pt x="11222162" y="4321179"/>
                  <a:pt x="11227868" y="4311654"/>
                  <a:pt x="11237378" y="4305939"/>
                </a:cubicBezTo>
                <a:cubicBezTo>
                  <a:pt x="11237378" y="4305939"/>
                  <a:pt x="11237378" y="4305939"/>
                  <a:pt x="11572136" y="4092579"/>
                </a:cubicBezTo>
                <a:cubicBezTo>
                  <a:pt x="11579744" y="4087816"/>
                  <a:pt x="11588303" y="4086864"/>
                  <a:pt x="11596149" y="4089007"/>
                </a:cubicBezTo>
                <a:close/>
                <a:moveTo>
                  <a:pt x="8152699" y="4089007"/>
                </a:moveTo>
                <a:cubicBezTo>
                  <a:pt x="8160576" y="4091150"/>
                  <a:pt x="8167736" y="4096389"/>
                  <a:pt x="8172510" y="4104009"/>
                </a:cubicBezTo>
                <a:cubicBezTo>
                  <a:pt x="8182058" y="4117344"/>
                  <a:pt x="8176329" y="4138299"/>
                  <a:pt x="8162963" y="4147824"/>
                </a:cubicBezTo>
                <a:cubicBezTo>
                  <a:pt x="8162963" y="4147824"/>
                  <a:pt x="8162963" y="4147824"/>
                  <a:pt x="7824978" y="4359279"/>
                </a:cubicBezTo>
                <a:cubicBezTo>
                  <a:pt x="7811611" y="4368804"/>
                  <a:pt x="7790606" y="4364994"/>
                  <a:pt x="7781059" y="4349754"/>
                </a:cubicBezTo>
                <a:cubicBezTo>
                  <a:pt x="7779149" y="4344039"/>
                  <a:pt x="7777240" y="4338324"/>
                  <a:pt x="7777240" y="4332609"/>
                </a:cubicBezTo>
                <a:cubicBezTo>
                  <a:pt x="7777240" y="4321179"/>
                  <a:pt x="7781059" y="4311654"/>
                  <a:pt x="7792516" y="4305939"/>
                </a:cubicBezTo>
                <a:cubicBezTo>
                  <a:pt x="7792516" y="4305939"/>
                  <a:pt x="7792516" y="4305939"/>
                  <a:pt x="8128591" y="4092579"/>
                </a:cubicBezTo>
                <a:cubicBezTo>
                  <a:pt x="8136229" y="4087816"/>
                  <a:pt x="8144822" y="4086864"/>
                  <a:pt x="8152699" y="4089007"/>
                </a:cubicBezTo>
                <a:close/>
                <a:moveTo>
                  <a:pt x="12139750" y="4083054"/>
                </a:moveTo>
                <a:cubicBezTo>
                  <a:pt x="12139750" y="4083054"/>
                  <a:pt x="12139750" y="4083054"/>
                  <a:pt x="12139750" y="4162969"/>
                </a:cubicBezTo>
                <a:cubicBezTo>
                  <a:pt x="12139750" y="4162969"/>
                  <a:pt x="12139750" y="4162969"/>
                  <a:pt x="11834405" y="4341828"/>
                </a:cubicBezTo>
                <a:cubicBezTo>
                  <a:pt x="11817230" y="4351342"/>
                  <a:pt x="11796237" y="4347536"/>
                  <a:pt x="11786695" y="4330411"/>
                </a:cubicBezTo>
                <a:cubicBezTo>
                  <a:pt x="11782878" y="4324703"/>
                  <a:pt x="11780970" y="4318995"/>
                  <a:pt x="11780970" y="4313287"/>
                </a:cubicBezTo>
                <a:cubicBezTo>
                  <a:pt x="11780970" y="4301870"/>
                  <a:pt x="11788604" y="4290454"/>
                  <a:pt x="11798146" y="4282843"/>
                </a:cubicBezTo>
                <a:lnTo>
                  <a:pt x="12135933" y="4084957"/>
                </a:lnTo>
                <a:cubicBezTo>
                  <a:pt x="12137842" y="4084957"/>
                  <a:pt x="12137842" y="4083054"/>
                  <a:pt x="12139750" y="4083054"/>
                </a:cubicBezTo>
                <a:close/>
                <a:moveTo>
                  <a:pt x="7594358" y="4081069"/>
                </a:moveTo>
                <a:cubicBezTo>
                  <a:pt x="7602931" y="4083212"/>
                  <a:pt x="7610551" y="4088451"/>
                  <a:pt x="7615314" y="4096071"/>
                </a:cubicBezTo>
                <a:cubicBezTo>
                  <a:pt x="7624839" y="4113216"/>
                  <a:pt x="7619124" y="4134171"/>
                  <a:pt x="7603883" y="4143696"/>
                </a:cubicBezTo>
                <a:cubicBezTo>
                  <a:pt x="7603883" y="4143696"/>
                  <a:pt x="7603883" y="4143696"/>
                  <a:pt x="7266694" y="4341816"/>
                </a:cubicBezTo>
                <a:cubicBezTo>
                  <a:pt x="7249548" y="4351341"/>
                  <a:pt x="7228593" y="4347531"/>
                  <a:pt x="7219068" y="4330386"/>
                </a:cubicBezTo>
                <a:cubicBezTo>
                  <a:pt x="7217163" y="4324671"/>
                  <a:pt x="7215258" y="4318956"/>
                  <a:pt x="7215258" y="4313241"/>
                </a:cubicBezTo>
                <a:cubicBezTo>
                  <a:pt x="7215258" y="4301811"/>
                  <a:pt x="7220973" y="4290381"/>
                  <a:pt x="7232403" y="4282761"/>
                </a:cubicBezTo>
                <a:cubicBezTo>
                  <a:pt x="7232403" y="4282761"/>
                  <a:pt x="7232403" y="4282761"/>
                  <a:pt x="7567688" y="4084641"/>
                </a:cubicBezTo>
                <a:cubicBezTo>
                  <a:pt x="7576260" y="4079878"/>
                  <a:pt x="7585786" y="4078926"/>
                  <a:pt x="7594358" y="4081069"/>
                </a:cubicBezTo>
                <a:close/>
                <a:moveTo>
                  <a:pt x="7045448" y="4072718"/>
                </a:moveTo>
                <a:cubicBezTo>
                  <a:pt x="7054741" y="4075569"/>
                  <a:pt x="7062844" y="4081745"/>
                  <a:pt x="7067610" y="4090298"/>
                </a:cubicBezTo>
                <a:cubicBezTo>
                  <a:pt x="7077143" y="4109303"/>
                  <a:pt x="7069517" y="4130209"/>
                  <a:pt x="7052359" y="4141612"/>
                </a:cubicBezTo>
                <a:cubicBezTo>
                  <a:pt x="7052359" y="4141612"/>
                  <a:pt x="7052359" y="4141612"/>
                  <a:pt x="6714913" y="4325963"/>
                </a:cubicBezTo>
                <a:cubicBezTo>
                  <a:pt x="6697754" y="4335466"/>
                  <a:pt x="6674877" y="4327864"/>
                  <a:pt x="6665344" y="4310759"/>
                </a:cubicBezTo>
                <a:cubicBezTo>
                  <a:pt x="6661531" y="4305057"/>
                  <a:pt x="6659625" y="4299356"/>
                  <a:pt x="6659625" y="4293654"/>
                </a:cubicBezTo>
                <a:cubicBezTo>
                  <a:pt x="6659625" y="4280350"/>
                  <a:pt x="6667251" y="4267047"/>
                  <a:pt x="6678689" y="4259445"/>
                </a:cubicBezTo>
                <a:cubicBezTo>
                  <a:pt x="6678689" y="4259445"/>
                  <a:pt x="6678689" y="4259445"/>
                  <a:pt x="7016136" y="4075094"/>
                </a:cubicBezTo>
                <a:cubicBezTo>
                  <a:pt x="7025668" y="4070342"/>
                  <a:pt x="7036154" y="4069867"/>
                  <a:pt x="7045448" y="4072718"/>
                </a:cubicBezTo>
                <a:close/>
                <a:moveTo>
                  <a:pt x="6500048" y="4065063"/>
                </a:moveTo>
                <a:cubicBezTo>
                  <a:pt x="6509797" y="4068170"/>
                  <a:pt x="6518356" y="4074862"/>
                  <a:pt x="6523112" y="4084421"/>
                </a:cubicBezTo>
                <a:cubicBezTo>
                  <a:pt x="6532623" y="4103541"/>
                  <a:pt x="6525014" y="4128396"/>
                  <a:pt x="6505992" y="4137956"/>
                </a:cubicBezTo>
                <a:cubicBezTo>
                  <a:pt x="6505992" y="4137956"/>
                  <a:pt x="6505992" y="4137956"/>
                  <a:pt x="6167407" y="4310032"/>
                </a:cubicBezTo>
                <a:cubicBezTo>
                  <a:pt x="6148385" y="4319592"/>
                  <a:pt x="6123657" y="4311944"/>
                  <a:pt x="6114146" y="4292824"/>
                </a:cubicBezTo>
                <a:cubicBezTo>
                  <a:pt x="6112244" y="4287089"/>
                  <a:pt x="6110342" y="4279441"/>
                  <a:pt x="6110342" y="4273705"/>
                </a:cubicBezTo>
                <a:cubicBezTo>
                  <a:pt x="6110342" y="4260321"/>
                  <a:pt x="6117950" y="4245025"/>
                  <a:pt x="6131266" y="4239290"/>
                </a:cubicBezTo>
                <a:cubicBezTo>
                  <a:pt x="6131266" y="4239290"/>
                  <a:pt x="6131266" y="4239290"/>
                  <a:pt x="6469851" y="4067214"/>
                </a:cubicBezTo>
                <a:cubicBezTo>
                  <a:pt x="6479362" y="4062434"/>
                  <a:pt x="6490299" y="4061956"/>
                  <a:pt x="6500048" y="4065063"/>
                </a:cubicBezTo>
                <a:close/>
                <a:moveTo>
                  <a:pt x="5941056" y="4054783"/>
                </a:moveTo>
                <a:cubicBezTo>
                  <a:pt x="5957307" y="4053619"/>
                  <a:pt x="5973023" y="4062930"/>
                  <a:pt x="5980168" y="4078685"/>
                </a:cubicBezTo>
                <a:cubicBezTo>
                  <a:pt x="5989692" y="4099693"/>
                  <a:pt x="5982072" y="4124520"/>
                  <a:pt x="5961117" y="4135978"/>
                </a:cubicBezTo>
                <a:cubicBezTo>
                  <a:pt x="5961117" y="4135978"/>
                  <a:pt x="5961117" y="4135978"/>
                  <a:pt x="5622030" y="4292580"/>
                </a:cubicBezTo>
                <a:cubicBezTo>
                  <a:pt x="5601076" y="4302129"/>
                  <a:pt x="5574406" y="4292580"/>
                  <a:pt x="5564881" y="4271572"/>
                </a:cubicBezTo>
                <a:cubicBezTo>
                  <a:pt x="5562977" y="4265843"/>
                  <a:pt x="5561071" y="4260114"/>
                  <a:pt x="5561071" y="4254384"/>
                </a:cubicBezTo>
                <a:cubicBezTo>
                  <a:pt x="5561071" y="4239106"/>
                  <a:pt x="5570596" y="4223828"/>
                  <a:pt x="5585836" y="4216189"/>
                </a:cubicBezTo>
                <a:cubicBezTo>
                  <a:pt x="5585836" y="4216189"/>
                  <a:pt x="5585836" y="4216189"/>
                  <a:pt x="5924922" y="4059588"/>
                </a:cubicBezTo>
                <a:cubicBezTo>
                  <a:pt x="5930162" y="4056723"/>
                  <a:pt x="5935639" y="4055171"/>
                  <a:pt x="5941056" y="4054783"/>
                </a:cubicBezTo>
                <a:close/>
                <a:moveTo>
                  <a:pt x="383168" y="4054783"/>
                </a:moveTo>
                <a:cubicBezTo>
                  <a:pt x="399420" y="4053619"/>
                  <a:pt x="415137" y="4062930"/>
                  <a:pt x="422281" y="4078685"/>
                </a:cubicBezTo>
                <a:cubicBezTo>
                  <a:pt x="431806" y="4099693"/>
                  <a:pt x="424186" y="4124520"/>
                  <a:pt x="401325" y="4135978"/>
                </a:cubicBezTo>
                <a:cubicBezTo>
                  <a:pt x="401325" y="4135978"/>
                  <a:pt x="401325" y="4135978"/>
                  <a:pt x="62231" y="4292580"/>
                </a:cubicBezTo>
                <a:cubicBezTo>
                  <a:pt x="41276" y="4302129"/>
                  <a:pt x="16511" y="4292580"/>
                  <a:pt x="6986" y="4271572"/>
                </a:cubicBezTo>
                <a:cubicBezTo>
                  <a:pt x="5081" y="4265843"/>
                  <a:pt x="3176" y="4260114"/>
                  <a:pt x="3176" y="4254384"/>
                </a:cubicBezTo>
                <a:cubicBezTo>
                  <a:pt x="3176" y="4239106"/>
                  <a:pt x="12701" y="4223828"/>
                  <a:pt x="27941" y="4216189"/>
                </a:cubicBezTo>
                <a:cubicBezTo>
                  <a:pt x="27941" y="4216189"/>
                  <a:pt x="27941" y="4216189"/>
                  <a:pt x="367035" y="4059588"/>
                </a:cubicBezTo>
                <a:cubicBezTo>
                  <a:pt x="372274" y="4056723"/>
                  <a:pt x="377751" y="4055171"/>
                  <a:pt x="383168" y="4054783"/>
                </a:cubicBezTo>
                <a:close/>
                <a:moveTo>
                  <a:pt x="5394099" y="4046339"/>
                </a:moveTo>
                <a:cubicBezTo>
                  <a:pt x="5411704" y="4046518"/>
                  <a:pt x="5428503" y="4056903"/>
                  <a:pt x="5435652" y="4072660"/>
                </a:cubicBezTo>
                <a:cubicBezTo>
                  <a:pt x="5445184" y="4095580"/>
                  <a:pt x="5433745" y="4122319"/>
                  <a:pt x="5410870" y="4131869"/>
                </a:cubicBezTo>
                <a:cubicBezTo>
                  <a:pt x="5410870" y="4131869"/>
                  <a:pt x="5410870" y="4131869"/>
                  <a:pt x="5071527" y="4275116"/>
                </a:cubicBezTo>
                <a:cubicBezTo>
                  <a:pt x="5048652" y="4284666"/>
                  <a:pt x="5021965" y="4275116"/>
                  <a:pt x="5012435" y="4252196"/>
                </a:cubicBezTo>
                <a:cubicBezTo>
                  <a:pt x="5010529" y="4246467"/>
                  <a:pt x="5008623" y="4240737"/>
                  <a:pt x="5008623" y="4235007"/>
                </a:cubicBezTo>
                <a:cubicBezTo>
                  <a:pt x="5008623" y="4217817"/>
                  <a:pt x="5020059" y="4200627"/>
                  <a:pt x="5037215" y="4192988"/>
                </a:cubicBezTo>
                <a:cubicBezTo>
                  <a:pt x="5037215" y="4192988"/>
                  <a:pt x="5037215" y="4192988"/>
                  <a:pt x="5376554" y="4049741"/>
                </a:cubicBezTo>
                <a:cubicBezTo>
                  <a:pt x="5382274" y="4047353"/>
                  <a:pt x="5388231" y="4046279"/>
                  <a:pt x="5394099" y="4046339"/>
                </a:cubicBezTo>
                <a:close/>
                <a:moveTo>
                  <a:pt x="926784" y="4046338"/>
                </a:moveTo>
                <a:cubicBezTo>
                  <a:pt x="944402" y="4046518"/>
                  <a:pt x="961214" y="4056903"/>
                  <a:pt x="968368" y="4072660"/>
                </a:cubicBezTo>
                <a:cubicBezTo>
                  <a:pt x="977907" y="4095580"/>
                  <a:pt x="966460" y="4122319"/>
                  <a:pt x="945475" y="4131869"/>
                </a:cubicBezTo>
                <a:cubicBezTo>
                  <a:pt x="945475" y="4131869"/>
                  <a:pt x="945475" y="4131869"/>
                  <a:pt x="603977" y="4275116"/>
                </a:cubicBezTo>
                <a:cubicBezTo>
                  <a:pt x="581083" y="4284666"/>
                  <a:pt x="554374" y="4275116"/>
                  <a:pt x="544835" y="4252196"/>
                </a:cubicBezTo>
                <a:cubicBezTo>
                  <a:pt x="542927" y="4246467"/>
                  <a:pt x="542927" y="4240737"/>
                  <a:pt x="542927" y="4235007"/>
                </a:cubicBezTo>
                <a:cubicBezTo>
                  <a:pt x="542927" y="4217817"/>
                  <a:pt x="552466" y="4200627"/>
                  <a:pt x="569637" y="4192988"/>
                </a:cubicBezTo>
                <a:cubicBezTo>
                  <a:pt x="569637" y="4192988"/>
                  <a:pt x="569637" y="4192988"/>
                  <a:pt x="909226" y="4049741"/>
                </a:cubicBezTo>
                <a:cubicBezTo>
                  <a:pt x="914950" y="4047353"/>
                  <a:pt x="920912" y="4046279"/>
                  <a:pt x="926784" y="4046338"/>
                </a:cubicBezTo>
                <a:close/>
                <a:moveTo>
                  <a:pt x="4823918" y="4041420"/>
                </a:moveTo>
                <a:cubicBezTo>
                  <a:pt x="4848651" y="4033841"/>
                  <a:pt x="4875286" y="4045209"/>
                  <a:pt x="4884801" y="4069841"/>
                </a:cubicBezTo>
                <a:cubicBezTo>
                  <a:pt x="4894313" y="4092578"/>
                  <a:pt x="4880994" y="4121000"/>
                  <a:pt x="4856260" y="4130474"/>
                </a:cubicBezTo>
                <a:cubicBezTo>
                  <a:pt x="4856260" y="4130474"/>
                  <a:pt x="4856260" y="4130474"/>
                  <a:pt x="4515756" y="4259317"/>
                </a:cubicBezTo>
                <a:cubicBezTo>
                  <a:pt x="4492930" y="4268791"/>
                  <a:pt x="4464395" y="4255527"/>
                  <a:pt x="4454884" y="4230896"/>
                </a:cubicBezTo>
                <a:cubicBezTo>
                  <a:pt x="4452982" y="4225211"/>
                  <a:pt x="4452982" y="4219527"/>
                  <a:pt x="4452982" y="4215738"/>
                </a:cubicBezTo>
                <a:cubicBezTo>
                  <a:pt x="4452982" y="4196790"/>
                  <a:pt x="4464395" y="4177842"/>
                  <a:pt x="4483418" y="4170263"/>
                </a:cubicBezTo>
                <a:cubicBezTo>
                  <a:pt x="4483418" y="4170263"/>
                  <a:pt x="4483418" y="4170263"/>
                  <a:pt x="4823918" y="4041420"/>
                </a:cubicBezTo>
                <a:close/>
                <a:moveTo>
                  <a:pt x="1458388" y="4041420"/>
                </a:moveTo>
                <a:cubicBezTo>
                  <a:pt x="1483118" y="4033841"/>
                  <a:pt x="1509750" y="4045209"/>
                  <a:pt x="1519261" y="4069841"/>
                </a:cubicBezTo>
                <a:cubicBezTo>
                  <a:pt x="1528773" y="4092578"/>
                  <a:pt x="1517359" y="4121000"/>
                  <a:pt x="1492629" y="4130474"/>
                </a:cubicBezTo>
                <a:cubicBezTo>
                  <a:pt x="1492629" y="4130474"/>
                  <a:pt x="1492629" y="4130474"/>
                  <a:pt x="1152120" y="4259317"/>
                </a:cubicBezTo>
                <a:cubicBezTo>
                  <a:pt x="1127390" y="4268791"/>
                  <a:pt x="1100758" y="4255527"/>
                  <a:pt x="1091247" y="4230896"/>
                </a:cubicBezTo>
                <a:cubicBezTo>
                  <a:pt x="1089345" y="4225211"/>
                  <a:pt x="1087442" y="4219527"/>
                  <a:pt x="1087442" y="4215738"/>
                </a:cubicBezTo>
                <a:cubicBezTo>
                  <a:pt x="1087442" y="4196790"/>
                  <a:pt x="1098856" y="4177842"/>
                  <a:pt x="1117879" y="4170263"/>
                </a:cubicBezTo>
                <a:cubicBezTo>
                  <a:pt x="1117879" y="4170263"/>
                  <a:pt x="1117879" y="4170263"/>
                  <a:pt x="1458388" y="4041420"/>
                </a:cubicBezTo>
                <a:close/>
                <a:moveTo>
                  <a:pt x="4286101" y="4031102"/>
                </a:moveTo>
                <a:cubicBezTo>
                  <a:pt x="4305817" y="4032531"/>
                  <a:pt x="4323382" y="4045747"/>
                  <a:pt x="4329117" y="4064321"/>
                </a:cubicBezTo>
                <a:cubicBezTo>
                  <a:pt x="4338676" y="4090991"/>
                  <a:pt x="4325294" y="4119566"/>
                  <a:pt x="4298528" y="4127186"/>
                </a:cubicBezTo>
                <a:cubicBezTo>
                  <a:pt x="4298528" y="4127186"/>
                  <a:pt x="4298528" y="4127186"/>
                  <a:pt x="3956340" y="4243391"/>
                </a:cubicBezTo>
                <a:cubicBezTo>
                  <a:pt x="3929573" y="4252916"/>
                  <a:pt x="3900897" y="4237676"/>
                  <a:pt x="3893251" y="4212911"/>
                </a:cubicBezTo>
                <a:cubicBezTo>
                  <a:pt x="3891337" y="4207196"/>
                  <a:pt x="3889424" y="4201481"/>
                  <a:pt x="3889424" y="4195766"/>
                </a:cubicBezTo>
                <a:cubicBezTo>
                  <a:pt x="3889424" y="4174811"/>
                  <a:pt x="3902811" y="4155761"/>
                  <a:pt x="3923839" y="4150046"/>
                </a:cubicBezTo>
                <a:cubicBezTo>
                  <a:pt x="3923839" y="4150046"/>
                  <a:pt x="3923839" y="4150046"/>
                  <a:pt x="4266028" y="4033841"/>
                </a:cubicBezTo>
                <a:cubicBezTo>
                  <a:pt x="4272718" y="4031460"/>
                  <a:pt x="4279529" y="4030626"/>
                  <a:pt x="4286101" y="4031102"/>
                </a:cubicBezTo>
                <a:close/>
                <a:moveTo>
                  <a:pt x="2031406" y="4031102"/>
                </a:moveTo>
                <a:cubicBezTo>
                  <a:pt x="2050288" y="4032531"/>
                  <a:pt x="2068096" y="4045747"/>
                  <a:pt x="2075219" y="4064321"/>
                </a:cubicBezTo>
                <a:cubicBezTo>
                  <a:pt x="2082819" y="4090991"/>
                  <a:pt x="2069521" y="4119566"/>
                  <a:pt x="2042922" y="4127186"/>
                </a:cubicBezTo>
                <a:cubicBezTo>
                  <a:pt x="2042922" y="4127186"/>
                  <a:pt x="2042922" y="4127186"/>
                  <a:pt x="1702894" y="4243391"/>
                </a:cubicBezTo>
                <a:cubicBezTo>
                  <a:pt x="1676300" y="4252916"/>
                  <a:pt x="1649705" y="4237676"/>
                  <a:pt x="1640208" y="4212911"/>
                </a:cubicBezTo>
                <a:cubicBezTo>
                  <a:pt x="1638308" y="4207196"/>
                  <a:pt x="1638308" y="4201481"/>
                  <a:pt x="1638308" y="4195766"/>
                </a:cubicBezTo>
                <a:cubicBezTo>
                  <a:pt x="1638308" y="4174811"/>
                  <a:pt x="1649705" y="4155761"/>
                  <a:pt x="1670601" y="4150046"/>
                </a:cubicBezTo>
                <a:cubicBezTo>
                  <a:pt x="1670601" y="4150046"/>
                  <a:pt x="1670601" y="4150046"/>
                  <a:pt x="2012528" y="4033841"/>
                </a:cubicBezTo>
                <a:cubicBezTo>
                  <a:pt x="2018702" y="4031460"/>
                  <a:pt x="2025113" y="4030626"/>
                  <a:pt x="2031406" y="4031102"/>
                </a:cubicBezTo>
                <a:close/>
                <a:moveTo>
                  <a:pt x="3725864" y="4022421"/>
                </a:moveTo>
                <a:cubicBezTo>
                  <a:pt x="3745629" y="4024832"/>
                  <a:pt x="3763515" y="4038763"/>
                  <a:pt x="3770669" y="4060194"/>
                </a:cubicBezTo>
                <a:cubicBezTo>
                  <a:pt x="3778299" y="4086864"/>
                  <a:pt x="3763037" y="4115439"/>
                  <a:pt x="3734420" y="4124964"/>
                </a:cubicBezTo>
                <a:cubicBezTo>
                  <a:pt x="3734420" y="4124964"/>
                  <a:pt x="3734420" y="4124964"/>
                  <a:pt x="3391048" y="4225929"/>
                </a:cubicBezTo>
                <a:cubicBezTo>
                  <a:pt x="3364339" y="4235454"/>
                  <a:pt x="3335725" y="4218309"/>
                  <a:pt x="3326184" y="4191639"/>
                </a:cubicBezTo>
                <a:cubicBezTo>
                  <a:pt x="3326184" y="4185924"/>
                  <a:pt x="3324277" y="4182114"/>
                  <a:pt x="3324277" y="4176399"/>
                </a:cubicBezTo>
                <a:cubicBezTo>
                  <a:pt x="3324277" y="4153539"/>
                  <a:pt x="3339540" y="4132584"/>
                  <a:pt x="3362432" y="4126869"/>
                </a:cubicBezTo>
                <a:cubicBezTo>
                  <a:pt x="3362432" y="4126869"/>
                  <a:pt x="3362432" y="4126869"/>
                  <a:pt x="3705804" y="4023999"/>
                </a:cubicBezTo>
                <a:cubicBezTo>
                  <a:pt x="3712480" y="4022094"/>
                  <a:pt x="3719276" y="4021618"/>
                  <a:pt x="3725864" y="4022421"/>
                </a:cubicBezTo>
                <a:close/>
                <a:moveTo>
                  <a:pt x="2590959" y="4022421"/>
                </a:moveTo>
                <a:cubicBezTo>
                  <a:pt x="2610652" y="4024832"/>
                  <a:pt x="2628475" y="4038763"/>
                  <a:pt x="2635603" y="4060194"/>
                </a:cubicBezTo>
                <a:cubicBezTo>
                  <a:pt x="2643208" y="4086864"/>
                  <a:pt x="2627999" y="4115439"/>
                  <a:pt x="2599484" y="4124964"/>
                </a:cubicBezTo>
                <a:cubicBezTo>
                  <a:pt x="2599484" y="4124964"/>
                  <a:pt x="2599484" y="4124964"/>
                  <a:pt x="2257300" y="4225929"/>
                </a:cubicBezTo>
                <a:cubicBezTo>
                  <a:pt x="2230686" y="4235454"/>
                  <a:pt x="2202171" y="4218309"/>
                  <a:pt x="2192666" y="4191639"/>
                </a:cubicBezTo>
                <a:cubicBezTo>
                  <a:pt x="2190765" y="4185924"/>
                  <a:pt x="2190765" y="4182114"/>
                  <a:pt x="2190765" y="4176399"/>
                </a:cubicBezTo>
                <a:cubicBezTo>
                  <a:pt x="2190765" y="4153539"/>
                  <a:pt x="2205972" y="4132584"/>
                  <a:pt x="2228785" y="4126869"/>
                </a:cubicBezTo>
                <a:cubicBezTo>
                  <a:pt x="2228785" y="4126869"/>
                  <a:pt x="2228785" y="4126869"/>
                  <a:pt x="2570968" y="4023999"/>
                </a:cubicBezTo>
                <a:cubicBezTo>
                  <a:pt x="2577622" y="4022094"/>
                  <a:pt x="2584395" y="4021618"/>
                  <a:pt x="2590959" y="4022421"/>
                </a:cubicBezTo>
                <a:close/>
                <a:moveTo>
                  <a:pt x="3155344" y="4014781"/>
                </a:moveTo>
                <a:cubicBezTo>
                  <a:pt x="3176388" y="4017728"/>
                  <a:pt x="3195015" y="4032730"/>
                  <a:pt x="3200742" y="4054161"/>
                </a:cubicBezTo>
                <a:cubicBezTo>
                  <a:pt x="3208384" y="4084641"/>
                  <a:pt x="3189282" y="4113216"/>
                  <a:pt x="3160626" y="4120836"/>
                </a:cubicBezTo>
                <a:cubicBezTo>
                  <a:pt x="3160626" y="4120836"/>
                  <a:pt x="3160626" y="4120836"/>
                  <a:pt x="2816772" y="4210371"/>
                </a:cubicBezTo>
                <a:cubicBezTo>
                  <a:pt x="2786207" y="4217991"/>
                  <a:pt x="2757555" y="4198941"/>
                  <a:pt x="2749914" y="4170366"/>
                </a:cubicBezTo>
                <a:cubicBezTo>
                  <a:pt x="2748002" y="4166556"/>
                  <a:pt x="2748002" y="4160841"/>
                  <a:pt x="2748002" y="4157031"/>
                </a:cubicBezTo>
                <a:cubicBezTo>
                  <a:pt x="2748002" y="4132266"/>
                  <a:pt x="2765195" y="4109406"/>
                  <a:pt x="2788116" y="4103691"/>
                </a:cubicBezTo>
                <a:cubicBezTo>
                  <a:pt x="2788116" y="4103691"/>
                  <a:pt x="2788116" y="4103691"/>
                  <a:pt x="3133885" y="4016061"/>
                </a:cubicBezTo>
                <a:cubicBezTo>
                  <a:pt x="3141047" y="4014156"/>
                  <a:pt x="3148330" y="4013799"/>
                  <a:pt x="3155344" y="4014781"/>
                </a:cubicBezTo>
                <a:close/>
                <a:moveTo>
                  <a:pt x="9861718" y="3784929"/>
                </a:moveTo>
                <a:cubicBezTo>
                  <a:pt x="9867199" y="3785407"/>
                  <a:pt x="9872442" y="3787798"/>
                  <a:pt x="9876256" y="3792579"/>
                </a:cubicBezTo>
                <a:cubicBezTo>
                  <a:pt x="9883882" y="3802142"/>
                  <a:pt x="9881975" y="3815531"/>
                  <a:pt x="9872442" y="3823182"/>
                </a:cubicBezTo>
                <a:cubicBezTo>
                  <a:pt x="9872442" y="3823182"/>
                  <a:pt x="9872442" y="3823182"/>
                  <a:pt x="9540690" y="4092865"/>
                </a:cubicBezTo>
                <a:cubicBezTo>
                  <a:pt x="9531157" y="4100516"/>
                  <a:pt x="9517810" y="4098603"/>
                  <a:pt x="9510184" y="4089040"/>
                </a:cubicBezTo>
                <a:cubicBezTo>
                  <a:pt x="9506371" y="4085215"/>
                  <a:pt x="9504464" y="4081389"/>
                  <a:pt x="9504464" y="4075651"/>
                </a:cubicBezTo>
                <a:cubicBezTo>
                  <a:pt x="9504464" y="4069913"/>
                  <a:pt x="9508277" y="4064175"/>
                  <a:pt x="9513997" y="4058438"/>
                </a:cubicBezTo>
                <a:cubicBezTo>
                  <a:pt x="9513997" y="4058438"/>
                  <a:pt x="9513997" y="4058438"/>
                  <a:pt x="9845750" y="3788754"/>
                </a:cubicBezTo>
                <a:cubicBezTo>
                  <a:pt x="9850517" y="3785885"/>
                  <a:pt x="9856236" y="3784450"/>
                  <a:pt x="9861718" y="3784929"/>
                </a:cubicBezTo>
                <a:close/>
                <a:moveTo>
                  <a:pt x="10445981" y="3777074"/>
                </a:moveTo>
                <a:cubicBezTo>
                  <a:pt x="10452183" y="3777790"/>
                  <a:pt x="10457907" y="3781135"/>
                  <a:pt x="10461723" y="3786867"/>
                </a:cubicBezTo>
                <a:cubicBezTo>
                  <a:pt x="10471264" y="3798332"/>
                  <a:pt x="10469356" y="3813619"/>
                  <a:pt x="10457907" y="3821263"/>
                </a:cubicBezTo>
                <a:cubicBezTo>
                  <a:pt x="10457907" y="3821263"/>
                  <a:pt x="10457907" y="3821263"/>
                  <a:pt x="10123980" y="4075410"/>
                </a:cubicBezTo>
                <a:cubicBezTo>
                  <a:pt x="10112531" y="4083054"/>
                  <a:pt x="10097266" y="4081143"/>
                  <a:pt x="10089633" y="4069678"/>
                </a:cubicBezTo>
                <a:cubicBezTo>
                  <a:pt x="10085817" y="4065856"/>
                  <a:pt x="10083909" y="4060123"/>
                  <a:pt x="10083909" y="4054391"/>
                </a:cubicBezTo>
                <a:cubicBezTo>
                  <a:pt x="10083909" y="4048658"/>
                  <a:pt x="10087725" y="4041014"/>
                  <a:pt x="10093450" y="4035282"/>
                </a:cubicBezTo>
                <a:cubicBezTo>
                  <a:pt x="10093450" y="4035282"/>
                  <a:pt x="10093450" y="4035282"/>
                  <a:pt x="10427376" y="3783045"/>
                </a:cubicBezTo>
                <a:cubicBezTo>
                  <a:pt x="10433101" y="3778268"/>
                  <a:pt x="10439779" y="3776357"/>
                  <a:pt x="10445981" y="3777074"/>
                </a:cubicBezTo>
                <a:close/>
                <a:moveTo>
                  <a:pt x="9284313" y="3777074"/>
                </a:moveTo>
                <a:cubicBezTo>
                  <a:pt x="9290494" y="3777790"/>
                  <a:pt x="9296199" y="3781135"/>
                  <a:pt x="9300003" y="3786867"/>
                </a:cubicBezTo>
                <a:cubicBezTo>
                  <a:pt x="9307611" y="3798332"/>
                  <a:pt x="9305709" y="3813619"/>
                  <a:pt x="9296200" y="3821263"/>
                </a:cubicBezTo>
                <a:cubicBezTo>
                  <a:pt x="9296200" y="3821263"/>
                  <a:pt x="9296200" y="3821263"/>
                  <a:pt x="8963371" y="4075410"/>
                </a:cubicBezTo>
                <a:cubicBezTo>
                  <a:pt x="8951959" y="4083054"/>
                  <a:pt x="8936744" y="4081143"/>
                  <a:pt x="8929137" y="4069678"/>
                </a:cubicBezTo>
                <a:cubicBezTo>
                  <a:pt x="8925333" y="4065856"/>
                  <a:pt x="8923431" y="4060123"/>
                  <a:pt x="8923431" y="4054391"/>
                </a:cubicBezTo>
                <a:cubicBezTo>
                  <a:pt x="8923431" y="4048658"/>
                  <a:pt x="8927235" y="4041014"/>
                  <a:pt x="8932940" y="4035282"/>
                </a:cubicBezTo>
                <a:cubicBezTo>
                  <a:pt x="8932940" y="4035282"/>
                  <a:pt x="8932940" y="4035282"/>
                  <a:pt x="9265770" y="3783045"/>
                </a:cubicBezTo>
                <a:cubicBezTo>
                  <a:pt x="9271476" y="3778268"/>
                  <a:pt x="9278132" y="3776357"/>
                  <a:pt x="9284313" y="3777074"/>
                </a:cubicBezTo>
                <a:close/>
                <a:moveTo>
                  <a:pt x="8714826" y="3771656"/>
                </a:moveTo>
                <a:cubicBezTo>
                  <a:pt x="8721754" y="3772844"/>
                  <a:pt x="8728443" y="3776646"/>
                  <a:pt x="8733221" y="3782349"/>
                </a:cubicBezTo>
                <a:cubicBezTo>
                  <a:pt x="8740866" y="3795655"/>
                  <a:pt x="8738955" y="3812764"/>
                  <a:pt x="8725576" y="3820368"/>
                </a:cubicBezTo>
                <a:cubicBezTo>
                  <a:pt x="8725576" y="3820368"/>
                  <a:pt x="8725576" y="3820368"/>
                  <a:pt x="8391118" y="4056086"/>
                </a:cubicBezTo>
                <a:cubicBezTo>
                  <a:pt x="8377740" y="4065591"/>
                  <a:pt x="8360539" y="4063690"/>
                  <a:pt x="8352895" y="4050383"/>
                </a:cubicBezTo>
                <a:cubicBezTo>
                  <a:pt x="8349072" y="4044680"/>
                  <a:pt x="8347161" y="4040878"/>
                  <a:pt x="8347161" y="4035176"/>
                </a:cubicBezTo>
                <a:cubicBezTo>
                  <a:pt x="8347161" y="4025671"/>
                  <a:pt x="8350983" y="4018067"/>
                  <a:pt x="8358628" y="4012364"/>
                </a:cubicBezTo>
                <a:cubicBezTo>
                  <a:pt x="8358628" y="4012364"/>
                  <a:pt x="8358628" y="4012364"/>
                  <a:pt x="8694997" y="3776646"/>
                </a:cubicBezTo>
                <a:cubicBezTo>
                  <a:pt x="8700731" y="3771893"/>
                  <a:pt x="8707898" y="3770468"/>
                  <a:pt x="8714826" y="3771656"/>
                </a:cubicBezTo>
                <a:close/>
                <a:moveTo>
                  <a:pt x="11022950" y="3771656"/>
                </a:moveTo>
                <a:cubicBezTo>
                  <a:pt x="11030088" y="3772844"/>
                  <a:pt x="11036751" y="3776646"/>
                  <a:pt x="11041509" y="3782349"/>
                </a:cubicBezTo>
                <a:cubicBezTo>
                  <a:pt x="11049123" y="3795655"/>
                  <a:pt x="11047220" y="3812764"/>
                  <a:pt x="11033895" y="3820368"/>
                </a:cubicBezTo>
                <a:cubicBezTo>
                  <a:pt x="11033895" y="3820368"/>
                  <a:pt x="11033895" y="3820368"/>
                  <a:pt x="10700785" y="4056086"/>
                </a:cubicBezTo>
                <a:cubicBezTo>
                  <a:pt x="10687461" y="4065591"/>
                  <a:pt x="10670329" y="4063690"/>
                  <a:pt x="10662715" y="4050383"/>
                </a:cubicBezTo>
                <a:cubicBezTo>
                  <a:pt x="10658908" y="4044680"/>
                  <a:pt x="10657005" y="4040878"/>
                  <a:pt x="10657005" y="4035176"/>
                </a:cubicBezTo>
                <a:cubicBezTo>
                  <a:pt x="10657005" y="4025671"/>
                  <a:pt x="10660812" y="4018067"/>
                  <a:pt x="10668426" y="4012364"/>
                </a:cubicBezTo>
                <a:cubicBezTo>
                  <a:pt x="10668426" y="4012364"/>
                  <a:pt x="10668426" y="4012364"/>
                  <a:pt x="11001536" y="3776646"/>
                </a:cubicBezTo>
                <a:cubicBezTo>
                  <a:pt x="11008198" y="3771893"/>
                  <a:pt x="11015812" y="3770468"/>
                  <a:pt x="11022950" y="3771656"/>
                </a:cubicBezTo>
                <a:close/>
                <a:moveTo>
                  <a:pt x="8151418" y="3763955"/>
                </a:moveTo>
                <a:cubicBezTo>
                  <a:pt x="8159038" y="3765381"/>
                  <a:pt x="8166182" y="3769658"/>
                  <a:pt x="8170945" y="3776310"/>
                </a:cubicBezTo>
                <a:cubicBezTo>
                  <a:pt x="8180470" y="3791517"/>
                  <a:pt x="8176660" y="3810525"/>
                  <a:pt x="8161420" y="3820029"/>
                </a:cubicBezTo>
                <a:cubicBezTo>
                  <a:pt x="8161420" y="3820029"/>
                  <a:pt x="8161420" y="3820029"/>
                  <a:pt x="7826135" y="4038624"/>
                </a:cubicBezTo>
                <a:cubicBezTo>
                  <a:pt x="7812800" y="4048128"/>
                  <a:pt x="7793750" y="4044326"/>
                  <a:pt x="7784225" y="4031020"/>
                </a:cubicBezTo>
                <a:cubicBezTo>
                  <a:pt x="7780415" y="4025318"/>
                  <a:pt x="7780415" y="4019616"/>
                  <a:pt x="7780415" y="4013913"/>
                </a:cubicBezTo>
                <a:cubicBezTo>
                  <a:pt x="7780415" y="4004409"/>
                  <a:pt x="7784225" y="3993004"/>
                  <a:pt x="7793750" y="3987302"/>
                </a:cubicBezTo>
                <a:cubicBezTo>
                  <a:pt x="7793750" y="3987302"/>
                  <a:pt x="7793750" y="3987302"/>
                  <a:pt x="8129034" y="3768707"/>
                </a:cubicBezTo>
                <a:cubicBezTo>
                  <a:pt x="8135702" y="3763955"/>
                  <a:pt x="8143798" y="3762529"/>
                  <a:pt x="8151418" y="3763955"/>
                </a:cubicBezTo>
                <a:close/>
                <a:moveTo>
                  <a:pt x="11596182" y="3763955"/>
                </a:moveTo>
                <a:cubicBezTo>
                  <a:pt x="11603803" y="3765381"/>
                  <a:pt x="11610470" y="3769658"/>
                  <a:pt x="11614280" y="3776310"/>
                </a:cubicBezTo>
                <a:cubicBezTo>
                  <a:pt x="11623805" y="3791517"/>
                  <a:pt x="11619995" y="3810525"/>
                  <a:pt x="11606660" y="3820029"/>
                </a:cubicBezTo>
                <a:cubicBezTo>
                  <a:pt x="11606660" y="3820029"/>
                  <a:pt x="11606660" y="3820029"/>
                  <a:pt x="11271376" y="4038624"/>
                </a:cubicBezTo>
                <a:cubicBezTo>
                  <a:pt x="11258040" y="4048128"/>
                  <a:pt x="11238990" y="4044326"/>
                  <a:pt x="11229465" y="4031020"/>
                </a:cubicBezTo>
                <a:cubicBezTo>
                  <a:pt x="11225655" y="4025318"/>
                  <a:pt x="11223750" y="4019616"/>
                  <a:pt x="11223750" y="4013913"/>
                </a:cubicBezTo>
                <a:cubicBezTo>
                  <a:pt x="11223750" y="4004409"/>
                  <a:pt x="11229465" y="3993004"/>
                  <a:pt x="11237085" y="3987302"/>
                </a:cubicBezTo>
                <a:cubicBezTo>
                  <a:pt x="11237085" y="3987302"/>
                  <a:pt x="11237085" y="3987302"/>
                  <a:pt x="11572369" y="3768707"/>
                </a:cubicBezTo>
                <a:cubicBezTo>
                  <a:pt x="11579990" y="3763955"/>
                  <a:pt x="11588562" y="3762529"/>
                  <a:pt x="11596182" y="3763955"/>
                </a:cubicBezTo>
                <a:close/>
                <a:moveTo>
                  <a:pt x="12139750" y="3759203"/>
                </a:moveTo>
                <a:cubicBezTo>
                  <a:pt x="12139750" y="3759203"/>
                  <a:pt x="12139750" y="3759203"/>
                  <a:pt x="12139750" y="3835137"/>
                </a:cubicBezTo>
                <a:cubicBezTo>
                  <a:pt x="12139750" y="3835137"/>
                  <a:pt x="12139750" y="3835137"/>
                  <a:pt x="11835489" y="4021174"/>
                </a:cubicBezTo>
                <a:cubicBezTo>
                  <a:pt x="11818374" y="4030666"/>
                  <a:pt x="11799358" y="4024971"/>
                  <a:pt x="11789850" y="4009784"/>
                </a:cubicBezTo>
                <a:cubicBezTo>
                  <a:pt x="11786047" y="4004089"/>
                  <a:pt x="11784145" y="3998394"/>
                  <a:pt x="11784145" y="3992699"/>
                </a:cubicBezTo>
                <a:cubicBezTo>
                  <a:pt x="11784145" y="3981309"/>
                  <a:pt x="11789850" y="3969919"/>
                  <a:pt x="11799358" y="3964224"/>
                </a:cubicBezTo>
                <a:lnTo>
                  <a:pt x="12135947" y="3761101"/>
                </a:lnTo>
                <a:cubicBezTo>
                  <a:pt x="12137848" y="3759203"/>
                  <a:pt x="12137848" y="3759203"/>
                  <a:pt x="12139750" y="3759203"/>
                </a:cubicBezTo>
                <a:close/>
                <a:moveTo>
                  <a:pt x="7593700" y="3756493"/>
                </a:moveTo>
                <a:cubicBezTo>
                  <a:pt x="7601803" y="3758393"/>
                  <a:pt x="7608952" y="3763620"/>
                  <a:pt x="7613718" y="3772173"/>
                </a:cubicBezTo>
                <a:cubicBezTo>
                  <a:pt x="7623251" y="3787379"/>
                  <a:pt x="7619438" y="3808286"/>
                  <a:pt x="7604186" y="3817790"/>
                </a:cubicBezTo>
                <a:cubicBezTo>
                  <a:pt x="7604186" y="3817790"/>
                  <a:pt x="7604186" y="3817790"/>
                  <a:pt x="7266734" y="4021162"/>
                </a:cubicBezTo>
                <a:cubicBezTo>
                  <a:pt x="7251481" y="4030666"/>
                  <a:pt x="7230510" y="4024964"/>
                  <a:pt x="7220977" y="4009758"/>
                </a:cubicBezTo>
                <a:cubicBezTo>
                  <a:pt x="7217164" y="4004056"/>
                  <a:pt x="7215258" y="3998354"/>
                  <a:pt x="7215258" y="3992652"/>
                </a:cubicBezTo>
                <a:cubicBezTo>
                  <a:pt x="7215258" y="3981248"/>
                  <a:pt x="7220977" y="3969844"/>
                  <a:pt x="7232416" y="3964142"/>
                </a:cubicBezTo>
                <a:cubicBezTo>
                  <a:pt x="7232416" y="3964142"/>
                  <a:pt x="7232416" y="3964142"/>
                  <a:pt x="7567962" y="3760769"/>
                </a:cubicBezTo>
                <a:cubicBezTo>
                  <a:pt x="7576541" y="3756018"/>
                  <a:pt x="7585597" y="3754592"/>
                  <a:pt x="7593700" y="3756493"/>
                </a:cubicBezTo>
                <a:close/>
                <a:moveTo>
                  <a:pt x="7044469" y="3749140"/>
                </a:moveTo>
                <a:cubicBezTo>
                  <a:pt x="7053293" y="3751765"/>
                  <a:pt x="7060925" y="3757971"/>
                  <a:pt x="7065695" y="3766564"/>
                </a:cubicBezTo>
                <a:cubicBezTo>
                  <a:pt x="7077143" y="3783749"/>
                  <a:pt x="7069511" y="3806662"/>
                  <a:pt x="7052340" y="3816209"/>
                </a:cubicBezTo>
                <a:cubicBezTo>
                  <a:pt x="7052340" y="3816209"/>
                  <a:pt x="7052340" y="3816209"/>
                  <a:pt x="6714634" y="4005244"/>
                </a:cubicBezTo>
                <a:cubicBezTo>
                  <a:pt x="6697463" y="4014791"/>
                  <a:pt x="6674567" y="4009063"/>
                  <a:pt x="6665028" y="3989968"/>
                </a:cubicBezTo>
                <a:cubicBezTo>
                  <a:pt x="6661212" y="3984240"/>
                  <a:pt x="6661212" y="3978511"/>
                  <a:pt x="6661212" y="3972783"/>
                </a:cubicBezTo>
                <a:cubicBezTo>
                  <a:pt x="6661212" y="3959417"/>
                  <a:pt x="6666936" y="3947960"/>
                  <a:pt x="6678383" y="3940323"/>
                </a:cubicBezTo>
                <a:cubicBezTo>
                  <a:pt x="6678383" y="3940323"/>
                  <a:pt x="6678383" y="3940323"/>
                  <a:pt x="7016089" y="3753198"/>
                </a:cubicBezTo>
                <a:cubicBezTo>
                  <a:pt x="7025629" y="3747469"/>
                  <a:pt x="7035645" y="3746515"/>
                  <a:pt x="7044469" y="3749140"/>
                </a:cubicBezTo>
                <a:close/>
                <a:moveTo>
                  <a:pt x="6500048" y="3741441"/>
                </a:moveTo>
                <a:cubicBezTo>
                  <a:pt x="6509797" y="3744783"/>
                  <a:pt x="6518356" y="3751944"/>
                  <a:pt x="6523112" y="3762447"/>
                </a:cubicBezTo>
                <a:cubicBezTo>
                  <a:pt x="6532623" y="3781543"/>
                  <a:pt x="6525014" y="3804458"/>
                  <a:pt x="6505992" y="3814006"/>
                </a:cubicBezTo>
                <a:cubicBezTo>
                  <a:pt x="6505992" y="3814006"/>
                  <a:pt x="6505992" y="3814006"/>
                  <a:pt x="6167407" y="3987780"/>
                </a:cubicBezTo>
                <a:cubicBezTo>
                  <a:pt x="6148385" y="3997328"/>
                  <a:pt x="6125559" y="3989689"/>
                  <a:pt x="6114146" y="3970593"/>
                </a:cubicBezTo>
                <a:cubicBezTo>
                  <a:pt x="6112244" y="3964865"/>
                  <a:pt x="6110342" y="3957226"/>
                  <a:pt x="6110342" y="3951497"/>
                </a:cubicBezTo>
                <a:cubicBezTo>
                  <a:pt x="6110342" y="3938130"/>
                  <a:pt x="6117950" y="3922853"/>
                  <a:pt x="6131266" y="3917125"/>
                </a:cubicBezTo>
                <a:cubicBezTo>
                  <a:pt x="6131266" y="3917125"/>
                  <a:pt x="6131266" y="3917125"/>
                  <a:pt x="6469851" y="3743351"/>
                </a:cubicBezTo>
                <a:cubicBezTo>
                  <a:pt x="6479362" y="3738577"/>
                  <a:pt x="6490300" y="3738100"/>
                  <a:pt x="6500048" y="3741441"/>
                </a:cubicBezTo>
                <a:close/>
                <a:moveTo>
                  <a:pt x="5958237" y="3734460"/>
                </a:moveTo>
                <a:cubicBezTo>
                  <a:pt x="5968507" y="3738279"/>
                  <a:pt x="5977583" y="3745919"/>
                  <a:pt x="5983314" y="3756422"/>
                </a:cubicBezTo>
                <a:cubicBezTo>
                  <a:pt x="5992867" y="3777430"/>
                  <a:pt x="5983314" y="3804167"/>
                  <a:pt x="5962297" y="3813715"/>
                </a:cubicBezTo>
                <a:cubicBezTo>
                  <a:pt x="5962297" y="3813715"/>
                  <a:pt x="5962297" y="3813715"/>
                  <a:pt x="5622211" y="3970317"/>
                </a:cubicBezTo>
                <a:cubicBezTo>
                  <a:pt x="5599283" y="3979866"/>
                  <a:pt x="5574446" y="3970317"/>
                  <a:pt x="5564892" y="3949309"/>
                </a:cubicBezTo>
                <a:cubicBezTo>
                  <a:pt x="5562981" y="3943580"/>
                  <a:pt x="5561071" y="3935941"/>
                  <a:pt x="5561071" y="3930212"/>
                </a:cubicBezTo>
                <a:cubicBezTo>
                  <a:pt x="5561071" y="3914934"/>
                  <a:pt x="5570624" y="3899655"/>
                  <a:pt x="5585909" y="3892016"/>
                </a:cubicBezTo>
                <a:cubicBezTo>
                  <a:pt x="5585909" y="3892016"/>
                  <a:pt x="5585909" y="3892016"/>
                  <a:pt x="5925996" y="3735415"/>
                </a:cubicBezTo>
                <a:cubicBezTo>
                  <a:pt x="5936505" y="3730640"/>
                  <a:pt x="5947969" y="3730640"/>
                  <a:pt x="5958237" y="3734460"/>
                </a:cubicBezTo>
                <a:close/>
                <a:moveTo>
                  <a:pt x="398944" y="3734460"/>
                </a:moveTo>
                <a:cubicBezTo>
                  <a:pt x="408945" y="3738279"/>
                  <a:pt x="417518" y="3745919"/>
                  <a:pt x="422280" y="3756422"/>
                </a:cubicBezTo>
                <a:cubicBezTo>
                  <a:pt x="431805" y="3777430"/>
                  <a:pt x="424185" y="3804167"/>
                  <a:pt x="401325" y="3813715"/>
                </a:cubicBezTo>
                <a:cubicBezTo>
                  <a:pt x="401325" y="3813715"/>
                  <a:pt x="401325" y="3813715"/>
                  <a:pt x="62231" y="3970317"/>
                </a:cubicBezTo>
                <a:cubicBezTo>
                  <a:pt x="41276" y="3979866"/>
                  <a:pt x="16511" y="3970317"/>
                  <a:pt x="6985" y="3949309"/>
                </a:cubicBezTo>
                <a:cubicBezTo>
                  <a:pt x="5080" y="3943580"/>
                  <a:pt x="3175" y="3935941"/>
                  <a:pt x="3175" y="3930212"/>
                </a:cubicBezTo>
                <a:cubicBezTo>
                  <a:pt x="3175" y="3914934"/>
                  <a:pt x="12701" y="3899655"/>
                  <a:pt x="27941" y="3892016"/>
                </a:cubicBezTo>
                <a:cubicBezTo>
                  <a:pt x="27941" y="3892016"/>
                  <a:pt x="27941" y="3892016"/>
                  <a:pt x="367035" y="3735415"/>
                </a:cubicBezTo>
                <a:cubicBezTo>
                  <a:pt x="377512" y="3730640"/>
                  <a:pt x="388942" y="3730640"/>
                  <a:pt x="398944" y="3734460"/>
                </a:cubicBezTo>
                <a:close/>
                <a:moveTo>
                  <a:pt x="5394099" y="3725661"/>
                </a:moveTo>
                <a:cubicBezTo>
                  <a:pt x="5411704" y="3725928"/>
                  <a:pt x="5428503" y="3736616"/>
                  <a:pt x="5435652" y="3753716"/>
                </a:cubicBezTo>
                <a:cubicBezTo>
                  <a:pt x="5445184" y="3776516"/>
                  <a:pt x="5433745" y="3803116"/>
                  <a:pt x="5410870" y="3812616"/>
                </a:cubicBezTo>
                <a:cubicBezTo>
                  <a:pt x="5410870" y="3812616"/>
                  <a:pt x="5410870" y="3812616"/>
                  <a:pt x="5071527" y="3951316"/>
                </a:cubicBezTo>
                <a:cubicBezTo>
                  <a:pt x="5046746" y="3960816"/>
                  <a:pt x="5021965" y="3951316"/>
                  <a:pt x="5012435" y="3928516"/>
                </a:cubicBezTo>
                <a:cubicBezTo>
                  <a:pt x="5008623" y="3922816"/>
                  <a:pt x="5008623" y="3917116"/>
                  <a:pt x="5008623" y="3911416"/>
                </a:cubicBezTo>
                <a:cubicBezTo>
                  <a:pt x="5008623" y="3892416"/>
                  <a:pt x="5018153" y="3875316"/>
                  <a:pt x="5037215" y="3869616"/>
                </a:cubicBezTo>
                <a:cubicBezTo>
                  <a:pt x="5037215" y="3869616"/>
                  <a:pt x="5037215" y="3869616"/>
                  <a:pt x="5376554" y="3729016"/>
                </a:cubicBezTo>
                <a:cubicBezTo>
                  <a:pt x="5382274" y="3726641"/>
                  <a:pt x="5388231" y="3725572"/>
                  <a:pt x="5394099" y="3725661"/>
                </a:cubicBezTo>
                <a:close/>
                <a:moveTo>
                  <a:pt x="927625" y="3725661"/>
                </a:moveTo>
                <a:cubicBezTo>
                  <a:pt x="945497" y="3725928"/>
                  <a:pt x="961225" y="3736616"/>
                  <a:pt x="968374" y="3753716"/>
                </a:cubicBezTo>
                <a:cubicBezTo>
                  <a:pt x="977906" y="3776516"/>
                  <a:pt x="968374" y="3803116"/>
                  <a:pt x="945497" y="3812616"/>
                </a:cubicBezTo>
                <a:cubicBezTo>
                  <a:pt x="945497" y="3812616"/>
                  <a:pt x="945497" y="3812616"/>
                  <a:pt x="604250" y="3951316"/>
                </a:cubicBezTo>
                <a:cubicBezTo>
                  <a:pt x="581374" y="3960816"/>
                  <a:pt x="554684" y="3951316"/>
                  <a:pt x="545152" y="3928516"/>
                </a:cubicBezTo>
                <a:cubicBezTo>
                  <a:pt x="543246" y="3922816"/>
                  <a:pt x="541339" y="3917116"/>
                  <a:pt x="541339" y="3911416"/>
                </a:cubicBezTo>
                <a:cubicBezTo>
                  <a:pt x="541339" y="3892416"/>
                  <a:pt x="552778" y="3875316"/>
                  <a:pt x="569935" y="3869616"/>
                </a:cubicBezTo>
                <a:cubicBezTo>
                  <a:pt x="569935" y="3869616"/>
                  <a:pt x="569935" y="3869616"/>
                  <a:pt x="909276" y="3729016"/>
                </a:cubicBezTo>
                <a:cubicBezTo>
                  <a:pt x="915471" y="3726641"/>
                  <a:pt x="921667" y="3725572"/>
                  <a:pt x="927625" y="3725661"/>
                </a:cubicBezTo>
                <a:close/>
                <a:moveTo>
                  <a:pt x="4842646" y="3718049"/>
                </a:moveTo>
                <a:cubicBezTo>
                  <a:pt x="4861517" y="3718940"/>
                  <a:pt x="4879049" y="3731051"/>
                  <a:pt x="4884773" y="3749574"/>
                </a:cubicBezTo>
                <a:cubicBezTo>
                  <a:pt x="4894313" y="3774271"/>
                  <a:pt x="4880958" y="3802768"/>
                  <a:pt x="4856151" y="3810367"/>
                </a:cubicBezTo>
                <a:cubicBezTo>
                  <a:pt x="4856151" y="3810367"/>
                  <a:pt x="4856151" y="3810367"/>
                  <a:pt x="4514670" y="3933854"/>
                </a:cubicBezTo>
                <a:cubicBezTo>
                  <a:pt x="4489871" y="3943353"/>
                  <a:pt x="4463161" y="3930054"/>
                  <a:pt x="4453622" y="3905357"/>
                </a:cubicBezTo>
                <a:cubicBezTo>
                  <a:pt x="4451715" y="3901557"/>
                  <a:pt x="4449806" y="3895858"/>
                  <a:pt x="4449806" y="3890159"/>
                </a:cubicBezTo>
                <a:cubicBezTo>
                  <a:pt x="4449806" y="3869261"/>
                  <a:pt x="4463161" y="3852163"/>
                  <a:pt x="4482239" y="3844564"/>
                </a:cubicBezTo>
                <a:cubicBezTo>
                  <a:pt x="4482239" y="3844564"/>
                  <a:pt x="4482239" y="3844564"/>
                  <a:pt x="4823715" y="3721077"/>
                </a:cubicBezTo>
                <a:cubicBezTo>
                  <a:pt x="4829917" y="3718702"/>
                  <a:pt x="4836355" y="3717752"/>
                  <a:pt x="4842646" y="3718049"/>
                </a:cubicBezTo>
                <a:close/>
                <a:moveTo>
                  <a:pt x="1478619" y="3718049"/>
                </a:moveTo>
                <a:cubicBezTo>
                  <a:pt x="1496975" y="3718940"/>
                  <a:pt x="1513727" y="3731051"/>
                  <a:pt x="1520856" y="3749574"/>
                </a:cubicBezTo>
                <a:cubicBezTo>
                  <a:pt x="1530361" y="3774271"/>
                  <a:pt x="1517054" y="3802768"/>
                  <a:pt x="1492342" y="3810367"/>
                </a:cubicBezTo>
                <a:cubicBezTo>
                  <a:pt x="1492342" y="3810367"/>
                  <a:pt x="1492342" y="3810367"/>
                  <a:pt x="1152074" y="3933854"/>
                </a:cubicBezTo>
                <a:cubicBezTo>
                  <a:pt x="1127362" y="3943353"/>
                  <a:pt x="1098848" y="3930054"/>
                  <a:pt x="1089343" y="3905357"/>
                </a:cubicBezTo>
                <a:cubicBezTo>
                  <a:pt x="1087442" y="3901557"/>
                  <a:pt x="1087442" y="3895858"/>
                  <a:pt x="1087442" y="3890159"/>
                </a:cubicBezTo>
                <a:cubicBezTo>
                  <a:pt x="1087442" y="3869261"/>
                  <a:pt x="1098848" y="3852163"/>
                  <a:pt x="1117857" y="3844564"/>
                </a:cubicBezTo>
                <a:cubicBezTo>
                  <a:pt x="1117857" y="3844564"/>
                  <a:pt x="1117857" y="3844564"/>
                  <a:pt x="1460026" y="3721077"/>
                </a:cubicBezTo>
                <a:cubicBezTo>
                  <a:pt x="1466204" y="3718702"/>
                  <a:pt x="1472501" y="3717752"/>
                  <a:pt x="1478619" y="3718049"/>
                </a:cubicBezTo>
                <a:close/>
                <a:moveTo>
                  <a:pt x="2033482" y="3710438"/>
                </a:moveTo>
                <a:cubicBezTo>
                  <a:pt x="2053278" y="3711952"/>
                  <a:pt x="2071188" y="3725486"/>
                  <a:pt x="2078351" y="3745431"/>
                </a:cubicBezTo>
                <a:cubicBezTo>
                  <a:pt x="2085994" y="3772025"/>
                  <a:pt x="2070710" y="3800519"/>
                  <a:pt x="2043960" y="3810017"/>
                </a:cubicBezTo>
                <a:cubicBezTo>
                  <a:pt x="2043960" y="3810017"/>
                  <a:pt x="2043960" y="3810017"/>
                  <a:pt x="1701997" y="3916393"/>
                </a:cubicBezTo>
                <a:cubicBezTo>
                  <a:pt x="1673341" y="3925891"/>
                  <a:pt x="1644685" y="3910694"/>
                  <a:pt x="1637043" y="3884100"/>
                </a:cubicBezTo>
                <a:cubicBezTo>
                  <a:pt x="1635133" y="3878402"/>
                  <a:pt x="1635133" y="3874602"/>
                  <a:pt x="1635133" y="3868904"/>
                </a:cubicBezTo>
                <a:cubicBezTo>
                  <a:pt x="1635133" y="3846109"/>
                  <a:pt x="1648506" y="3827113"/>
                  <a:pt x="1669520" y="3819515"/>
                </a:cubicBezTo>
                <a:cubicBezTo>
                  <a:pt x="1669520" y="3819515"/>
                  <a:pt x="1669520" y="3819515"/>
                  <a:pt x="2013393" y="3713139"/>
                </a:cubicBezTo>
                <a:cubicBezTo>
                  <a:pt x="2020079" y="3710764"/>
                  <a:pt x="2026885" y="3709933"/>
                  <a:pt x="2033482" y="3710438"/>
                </a:cubicBezTo>
                <a:close/>
                <a:moveTo>
                  <a:pt x="4287765" y="3710438"/>
                </a:moveTo>
                <a:cubicBezTo>
                  <a:pt x="4307452" y="3711952"/>
                  <a:pt x="4324991" y="3725486"/>
                  <a:pt x="4330719" y="3745431"/>
                </a:cubicBezTo>
                <a:cubicBezTo>
                  <a:pt x="4340265" y="3772025"/>
                  <a:pt x="4324991" y="3800519"/>
                  <a:pt x="4298265" y="3810017"/>
                </a:cubicBezTo>
                <a:cubicBezTo>
                  <a:pt x="4298265" y="3810017"/>
                  <a:pt x="4298265" y="3810017"/>
                  <a:pt x="3954657" y="3916393"/>
                </a:cubicBezTo>
                <a:cubicBezTo>
                  <a:pt x="3927929" y="3925891"/>
                  <a:pt x="3899294" y="3910694"/>
                  <a:pt x="3891656" y="3884100"/>
                </a:cubicBezTo>
                <a:cubicBezTo>
                  <a:pt x="3889749" y="3878402"/>
                  <a:pt x="3887840" y="3874602"/>
                  <a:pt x="3887840" y="3868904"/>
                </a:cubicBezTo>
                <a:cubicBezTo>
                  <a:pt x="3887840" y="3846109"/>
                  <a:pt x="3903113" y="3827113"/>
                  <a:pt x="3924112" y="3819515"/>
                </a:cubicBezTo>
                <a:cubicBezTo>
                  <a:pt x="3924112" y="3819515"/>
                  <a:pt x="3924112" y="3819515"/>
                  <a:pt x="4267719" y="3713139"/>
                </a:cubicBezTo>
                <a:cubicBezTo>
                  <a:pt x="4274401" y="3710764"/>
                  <a:pt x="4281202" y="3709933"/>
                  <a:pt x="4287765" y="3710438"/>
                </a:cubicBezTo>
                <a:close/>
                <a:moveTo>
                  <a:pt x="3726989" y="3702866"/>
                </a:moveTo>
                <a:cubicBezTo>
                  <a:pt x="3747976" y="3705095"/>
                  <a:pt x="3766549" y="3720431"/>
                  <a:pt x="3772266" y="3743256"/>
                </a:cubicBezTo>
                <a:cubicBezTo>
                  <a:pt x="3779885" y="3771789"/>
                  <a:pt x="3762739" y="3800321"/>
                  <a:pt x="3734163" y="3807929"/>
                </a:cubicBezTo>
                <a:cubicBezTo>
                  <a:pt x="3734163" y="3807929"/>
                  <a:pt x="3734163" y="3807929"/>
                  <a:pt x="3391274" y="3899232"/>
                </a:cubicBezTo>
                <a:cubicBezTo>
                  <a:pt x="3360792" y="3906841"/>
                  <a:pt x="3332215" y="3889722"/>
                  <a:pt x="3324595" y="3861189"/>
                </a:cubicBezTo>
                <a:cubicBezTo>
                  <a:pt x="3322691" y="3857385"/>
                  <a:pt x="3322691" y="3851679"/>
                  <a:pt x="3322691" y="3847874"/>
                </a:cubicBezTo>
                <a:cubicBezTo>
                  <a:pt x="3322691" y="3823147"/>
                  <a:pt x="3337931" y="3802223"/>
                  <a:pt x="3362695" y="3796517"/>
                </a:cubicBezTo>
                <a:cubicBezTo>
                  <a:pt x="3362695" y="3796517"/>
                  <a:pt x="3362695" y="3796517"/>
                  <a:pt x="3705588" y="3705214"/>
                </a:cubicBezTo>
                <a:cubicBezTo>
                  <a:pt x="3712732" y="3702836"/>
                  <a:pt x="3719992" y="3702123"/>
                  <a:pt x="3726989" y="3702866"/>
                </a:cubicBezTo>
                <a:close/>
                <a:moveTo>
                  <a:pt x="2593304" y="3702866"/>
                </a:moveTo>
                <a:cubicBezTo>
                  <a:pt x="2614363" y="3705095"/>
                  <a:pt x="2633002" y="3720431"/>
                  <a:pt x="2638736" y="3743256"/>
                </a:cubicBezTo>
                <a:cubicBezTo>
                  <a:pt x="2646382" y="3771789"/>
                  <a:pt x="2629177" y="3800321"/>
                  <a:pt x="2600503" y="3807929"/>
                </a:cubicBezTo>
                <a:cubicBezTo>
                  <a:pt x="2600503" y="3807929"/>
                  <a:pt x="2600503" y="3807929"/>
                  <a:pt x="2256408" y="3899232"/>
                </a:cubicBezTo>
                <a:cubicBezTo>
                  <a:pt x="2225822" y="3906841"/>
                  <a:pt x="2197147" y="3889722"/>
                  <a:pt x="2189501" y="3861189"/>
                </a:cubicBezTo>
                <a:cubicBezTo>
                  <a:pt x="2187590" y="3857385"/>
                  <a:pt x="2187590" y="3851679"/>
                  <a:pt x="2187590" y="3847874"/>
                </a:cubicBezTo>
                <a:cubicBezTo>
                  <a:pt x="2187590" y="3823147"/>
                  <a:pt x="2202883" y="3802223"/>
                  <a:pt x="2227734" y="3796517"/>
                </a:cubicBezTo>
                <a:cubicBezTo>
                  <a:pt x="2227734" y="3796517"/>
                  <a:pt x="2227734" y="3796517"/>
                  <a:pt x="2571828" y="3705214"/>
                </a:cubicBezTo>
                <a:cubicBezTo>
                  <a:pt x="2578997" y="3702836"/>
                  <a:pt x="2586285" y="3702123"/>
                  <a:pt x="2593304" y="3702866"/>
                </a:cubicBezTo>
                <a:close/>
                <a:moveTo>
                  <a:pt x="3135575" y="3696656"/>
                </a:moveTo>
                <a:cubicBezTo>
                  <a:pt x="3166097" y="3690941"/>
                  <a:pt x="3196619" y="3709991"/>
                  <a:pt x="3202342" y="3740471"/>
                </a:cubicBezTo>
                <a:cubicBezTo>
                  <a:pt x="3209972" y="3770951"/>
                  <a:pt x="3190898" y="3801431"/>
                  <a:pt x="3160373" y="3809051"/>
                </a:cubicBezTo>
                <a:cubicBezTo>
                  <a:pt x="3160373" y="3809051"/>
                  <a:pt x="3160373" y="3809051"/>
                  <a:pt x="2815092" y="3883346"/>
                </a:cubicBezTo>
                <a:cubicBezTo>
                  <a:pt x="2784567" y="3890966"/>
                  <a:pt x="2754047" y="3871916"/>
                  <a:pt x="2746418" y="3841436"/>
                </a:cubicBezTo>
                <a:cubicBezTo>
                  <a:pt x="2746418" y="3835721"/>
                  <a:pt x="2746418" y="3831911"/>
                  <a:pt x="2746418" y="3828101"/>
                </a:cubicBezTo>
                <a:cubicBezTo>
                  <a:pt x="2746418" y="3801431"/>
                  <a:pt x="2763583" y="3778571"/>
                  <a:pt x="2790295" y="3772856"/>
                </a:cubicBezTo>
                <a:cubicBezTo>
                  <a:pt x="2790295" y="3772856"/>
                  <a:pt x="2790295" y="3772856"/>
                  <a:pt x="3135575" y="3696656"/>
                </a:cubicBezTo>
                <a:close/>
                <a:moveTo>
                  <a:pt x="9858878" y="3457894"/>
                </a:moveTo>
                <a:cubicBezTo>
                  <a:pt x="9863879" y="3458370"/>
                  <a:pt x="9868642" y="3460749"/>
                  <a:pt x="9871499" y="3465507"/>
                </a:cubicBezTo>
                <a:cubicBezTo>
                  <a:pt x="9879119" y="3473119"/>
                  <a:pt x="9877214" y="3484538"/>
                  <a:pt x="9869594" y="3492151"/>
                </a:cubicBezTo>
                <a:cubicBezTo>
                  <a:pt x="9869594" y="3492151"/>
                  <a:pt x="9869594" y="3492151"/>
                  <a:pt x="9538119" y="3773816"/>
                </a:cubicBezTo>
                <a:cubicBezTo>
                  <a:pt x="9530499" y="3781429"/>
                  <a:pt x="9519069" y="3781429"/>
                  <a:pt x="9511449" y="3771913"/>
                </a:cubicBezTo>
                <a:cubicBezTo>
                  <a:pt x="9509544" y="3768107"/>
                  <a:pt x="9507639" y="3764301"/>
                  <a:pt x="9507639" y="3760494"/>
                </a:cubicBezTo>
                <a:cubicBezTo>
                  <a:pt x="9507639" y="3754785"/>
                  <a:pt x="9509544" y="3749075"/>
                  <a:pt x="9513354" y="3745269"/>
                </a:cubicBezTo>
                <a:cubicBezTo>
                  <a:pt x="9513354" y="3745269"/>
                  <a:pt x="9513354" y="3745269"/>
                  <a:pt x="9844829" y="3461700"/>
                </a:cubicBezTo>
                <a:cubicBezTo>
                  <a:pt x="9848639" y="3458846"/>
                  <a:pt x="9853878" y="3457418"/>
                  <a:pt x="9858878" y="3457894"/>
                </a:cubicBezTo>
                <a:close/>
                <a:moveTo>
                  <a:pt x="10444338" y="3451145"/>
                </a:moveTo>
                <a:cubicBezTo>
                  <a:pt x="10449819" y="3451859"/>
                  <a:pt x="10455062" y="3454714"/>
                  <a:pt x="10458876" y="3459471"/>
                </a:cubicBezTo>
                <a:cubicBezTo>
                  <a:pt x="10466502" y="3468987"/>
                  <a:pt x="10464595" y="3482308"/>
                  <a:pt x="10455062" y="3489921"/>
                </a:cubicBezTo>
                <a:cubicBezTo>
                  <a:pt x="10455062" y="3489921"/>
                  <a:pt x="10455062" y="3489921"/>
                  <a:pt x="10123310" y="3756353"/>
                </a:cubicBezTo>
                <a:cubicBezTo>
                  <a:pt x="10113777" y="3763966"/>
                  <a:pt x="10098524" y="3762063"/>
                  <a:pt x="10090897" y="3752547"/>
                </a:cubicBezTo>
                <a:cubicBezTo>
                  <a:pt x="10088991" y="3748741"/>
                  <a:pt x="10087084" y="3743032"/>
                  <a:pt x="10087084" y="3737323"/>
                </a:cubicBezTo>
                <a:cubicBezTo>
                  <a:pt x="10087084" y="3731613"/>
                  <a:pt x="10088991" y="3725904"/>
                  <a:pt x="10094710" y="3720195"/>
                </a:cubicBezTo>
                <a:cubicBezTo>
                  <a:pt x="10094710" y="3720195"/>
                  <a:pt x="10094710" y="3720195"/>
                  <a:pt x="10428370" y="3455665"/>
                </a:cubicBezTo>
                <a:cubicBezTo>
                  <a:pt x="10433136" y="3451859"/>
                  <a:pt x="10438856" y="3450432"/>
                  <a:pt x="10444338" y="3451145"/>
                </a:cubicBezTo>
                <a:close/>
                <a:moveTo>
                  <a:pt x="9282925" y="3451145"/>
                </a:moveTo>
                <a:cubicBezTo>
                  <a:pt x="9288878" y="3451859"/>
                  <a:pt x="9294593" y="3454714"/>
                  <a:pt x="9298403" y="3459471"/>
                </a:cubicBezTo>
                <a:cubicBezTo>
                  <a:pt x="9306023" y="3468987"/>
                  <a:pt x="9304118" y="3482308"/>
                  <a:pt x="9294593" y="3489921"/>
                </a:cubicBezTo>
                <a:cubicBezTo>
                  <a:pt x="9294593" y="3489921"/>
                  <a:pt x="9294593" y="3489921"/>
                  <a:pt x="8961213" y="3756353"/>
                </a:cubicBezTo>
                <a:cubicBezTo>
                  <a:pt x="8951688" y="3763966"/>
                  <a:pt x="8938353" y="3762063"/>
                  <a:pt x="8930733" y="3752547"/>
                </a:cubicBezTo>
                <a:cubicBezTo>
                  <a:pt x="8926923" y="3748741"/>
                  <a:pt x="8925018" y="3743032"/>
                  <a:pt x="8925018" y="3737323"/>
                </a:cubicBezTo>
                <a:cubicBezTo>
                  <a:pt x="8925018" y="3731613"/>
                  <a:pt x="8928828" y="3725904"/>
                  <a:pt x="8934543" y="3720195"/>
                </a:cubicBezTo>
                <a:cubicBezTo>
                  <a:pt x="8934543" y="3720195"/>
                  <a:pt x="8934543" y="3720195"/>
                  <a:pt x="9266017" y="3455665"/>
                </a:cubicBezTo>
                <a:cubicBezTo>
                  <a:pt x="9270780" y="3451859"/>
                  <a:pt x="9276971" y="3450432"/>
                  <a:pt x="9282925" y="3451145"/>
                </a:cubicBezTo>
                <a:close/>
                <a:moveTo>
                  <a:pt x="8712667" y="3443688"/>
                </a:moveTo>
                <a:cubicBezTo>
                  <a:pt x="8719102" y="3444402"/>
                  <a:pt x="8725299" y="3447736"/>
                  <a:pt x="8730065" y="3453451"/>
                </a:cubicBezTo>
                <a:cubicBezTo>
                  <a:pt x="8737691" y="3464881"/>
                  <a:pt x="8735784" y="3482026"/>
                  <a:pt x="8724345" y="3489646"/>
                </a:cubicBezTo>
                <a:cubicBezTo>
                  <a:pt x="8724345" y="3489646"/>
                  <a:pt x="8724345" y="3489646"/>
                  <a:pt x="8390693" y="3737296"/>
                </a:cubicBezTo>
                <a:cubicBezTo>
                  <a:pt x="8379253" y="3744916"/>
                  <a:pt x="8362094" y="3743011"/>
                  <a:pt x="8354468" y="3731581"/>
                </a:cubicBezTo>
                <a:cubicBezTo>
                  <a:pt x="8350655" y="3727771"/>
                  <a:pt x="8348748" y="3722056"/>
                  <a:pt x="8348748" y="3716341"/>
                </a:cubicBezTo>
                <a:cubicBezTo>
                  <a:pt x="8348748" y="3708721"/>
                  <a:pt x="8352561" y="3701101"/>
                  <a:pt x="8360188" y="3695386"/>
                </a:cubicBezTo>
                <a:cubicBezTo>
                  <a:pt x="8360188" y="3695386"/>
                  <a:pt x="8360188" y="3695386"/>
                  <a:pt x="8693840" y="3449641"/>
                </a:cubicBezTo>
                <a:cubicBezTo>
                  <a:pt x="8699560" y="3444878"/>
                  <a:pt x="8706233" y="3442973"/>
                  <a:pt x="8712667" y="3443688"/>
                </a:cubicBezTo>
                <a:close/>
                <a:moveTo>
                  <a:pt x="11022273" y="3443688"/>
                </a:moveTo>
                <a:cubicBezTo>
                  <a:pt x="11028469" y="3444402"/>
                  <a:pt x="11034189" y="3447736"/>
                  <a:pt x="11038002" y="3453451"/>
                </a:cubicBezTo>
                <a:cubicBezTo>
                  <a:pt x="11047535" y="3464881"/>
                  <a:pt x="11045628" y="3482026"/>
                  <a:pt x="11034189" y="3489646"/>
                </a:cubicBezTo>
                <a:cubicBezTo>
                  <a:pt x="11034189" y="3489646"/>
                  <a:pt x="11034189" y="3489646"/>
                  <a:pt x="10700537" y="3737296"/>
                </a:cubicBezTo>
                <a:cubicBezTo>
                  <a:pt x="10689097" y="3744916"/>
                  <a:pt x="10671938" y="3743011"/>
                  <a:pt x="10664312" y="3731581"/>
                </a:cubicBezTo>
                <a:cubicBezTo>
                  <a:pt x="10660499" y="3727771"/>
                  <a:pt x="10658592" y="3722056"/>
                  <a:pt x="10658592" y="3716341"/>
                </a:cubicBezTo>
                <a:cubicBezTo>
                  <a:pt x="10658592" y="3708721"/>
                  <a:pt x="10662405" y="3701101"/>
                  <a:pt x="10670032" y="3695386"/>
                </a:cubicBezTo>
                <a:cubicBezTo>
                  <a:pt x="10670032" y="3695386"/>
                  <a:pt x="10670032" y="3695386"/>
                  <a:pt x="11003684" y="3449641"/>
                </a:cubicBezTo>
                <a:cubicBezTo>
                  <a:pt x="11009404" y="3444878"/>
                  <a:pt x="11016077" y="3442973"/>
                  <a:pt x="11022273" y="3443688"/>
                </a:cubicBezTo>
                <a:close/>
                <a:moveTo>
                  <a:pt x="11595028" y="3438528"/>
                </a:moveTo>
                <a:cubicBezTo>
                  <a:pt x="11602660" y="3439957"/>
                  <a:pt x="11609816" y="3444243"/>
                  <a:pt x="11614586" y="3450911"/>
                </a:cubicBezTo>
                <a:cubicBezTo>
                  <a:pt x="11622218" y="3464246"/>
                  <a:pt x="11620310" y="3483296"/>
                  <a:pt x="11606953" y="3490916"/>
                </a:cubicBezTo>
                <a:cubicBezTo>
                  <a:pt x="11606953" y="3490916"/>
                  <a:pt x="11606953" y="3490916"/>
                  <a:pt x="11271132" y="3719516"/>
                </a:cubicBezTo>
                <a:cubicBezTo>
                  <a:pt x="11257775" y="3729041"/>
                  <a:pt x="11238695" y="3725231"/>
                  <a:pt x="11231062" y="3711896"/>
                </a:cubicBezTo>
                <a:cubicBezTo>
                  <a:pt x="11227246" y="3706181"/>
                  <a:pt x="11225338" y="3700466"/>
                  <a:pt x="11225338" y="3696656"/>
                </a:cubicBezTo>
                <a:cubicBezTo>
                  <a:pt x="11225338" y="3687131"/>
                  <a:pt x="11229154" y="3677606"/>
                  <a:pt x="11238695" y="3671891"/>
                </a:cubicBezTo>
                <a:cubicBezTo>
                  <a:pt x="11238695" y="3671891"/>
                  <a:pt x="11238695" y="3671891"/>
                  <a:pt x="11572608" y="3443291"/>
                </a:cubicBezTo>
                <a:cubicBezTo>
                  <a:pt x="11579286" y="3438528"/>
                  <a:pt x="11587396" y="3437100"/>
                  <a:pt x="11595028" y="3438528"/>
                </a:cubicBezTo>
                <a:close/>
                <a:moveTo>
                  <a:pt x="8149264" y="3438528"/>
                </a:moveTo>
                <a:cubicBezTo>
                  <a:pt x="8156391" y="3439957"/>
                  <a:pt x="8163042" y="3444243"/>
                  <a:pt x="8167794" y="3450911"/>
                </a:cubicBezTo>
                <a:cubicBezTo>
                  <a:pt x="8177296" y="3464246"/>
                  <a:pt x="8173495" y="3483296"/>
                  <a:pt x="8160192" y="3490916"/>
                </a:cubicBezTo>
                <a:cubicBezTo>
                  <a:pt x="8160192" y="3490916"/>
                  <a:pt x="8160192" y="3490916"/>
                  <a:pt x="7825713" y="3719516"/>
                </a:cubicBezTo>
                <a:cubicBezTo>
                  <a:pt x="7812410" y="3729041"/>
                  <a:pt x="7795306" y="3725231"/>
                  <a:pt x="7785804" y="3711896"/>
                </a:cubicBezTo>
                <a:cubicBezTo>
                  <a:pt x="7782003" y="3706181"/>
                  <a:pt x="7782003" y="3700466"/>
                  <a:pt x="7782003" y="3696656"/>
                </a:cubicBezTo>
                <a:cubicBezTo>
                  <a:pt x="7782003" y="3687131"/>
                  <a:pt x="7785804" y="3677606"/>
                  <a:pt x="7793405" y="3671891"/>
                </a:cubicBezTo>
                <a:cubicBezTo>
                  <a:pt x="7793405" y="3671891"/>
                  <a:pt x="7793405" y="3671891"/>
                  <a:pt x="8127884" y="3443291"/>
                </a:cubicBezTo>
                <a:cubicBezTo>
                  <a:pt x="8134536" y="3438528"/>
                  <a:pt x="8142137" y="3437100"/>
                  <a:pt x="8149264" y="3438528"/>
                </a:cubicBezTo>
                <a:close/>
                <a:moveTo>
                  <a:pt x="12139750" y="3433766"/>
                </a:moveTo>
                <a:cubicBezTo>
                  <a:pt x="12139750" y="3433766"/>
                  <a:pt x="12139750" y="3433766"/>
                  <a:pt x="12139750" y="3509879"/>
                </a:cubicBezTo>
                <a:cubicBezTo>
                  <a:pt x="12139750" y="3509879"/>
                  <a:pt x="12139750" y="3509879"/>
                  <a:pt x="11835219" y="3702065"/>
                </a:cubicBezTo>
                <a:cubicBezTo>
                  <a:pt x="11819993" y="3711579"/>
                  <a:pt x="11799056" y="3705870"/>
                  <a:pt x="11789540" y="3690648"/>
                </a:cubicBezTo>
                <a:cubicBezTo>
                  <a:pt x="11785733" y="3684939"/>
                  <a:pt x="11785733" y="3679231"/>
                  <a:pt x="11785733" y="3673522"/>
                </a:cubicBezTo>
                <a:cubicBezTo>
                  <a:pt x="11785733" y="3662105"/>
                  <a:pt x="11789540" y="3652591"/>
                  <a:pt x="11800960" y="3646883"/>
                </a:cubicBezTo>
                <a:lnTo>
                  <a:pt x="12135943" y="3435669"/>
                </a:lnTo>
                <a:cubicBezTo>
                  <a:pt x="12137847" y="3435669"/>
                  <a:pt x="12137847" y="3435669"/>
                  <a:pt x="12139750" y="3433766"/>
                </a:cubicBezTo>
                <a:close/>
                <a:moveTo>
                  <a:pt x="7592961" y="3431781"/>
                </a:moveTo>
                <a:cubicBezTo>
                  <a:pt x="7601309" y="3433924"/>
                  <a:pt x="7608941" y="3439163"/>
                  <a:pt x="7613711" y="3446783"/>
                </a:cubicBezTo>
                <a:cubicBezTo>
                  <a:pt x="7623251" y="3462023"/>
                  <a:pt x="7617527" y="3481073"/>
                  <a:pt x="7602263" y="3490598"/>
                </a:cubicBezTo>
                <a:cubicBezTo>
                  <a:pt x="7602263" y="3490598"/>
                  <a:pt x="7602263" y="3490598"/>
                  <a:pt x="7266453" y="3702053"/>
                </a:cubicBezTo>
                <a:cubicBezTo>
                  <a:pt x="7251189" y="3711578"/>
                  <a:pt x="7232109" y="3705863"/>
                  <a:pt x="7222569" y="3690623"/>
                </a:cubicBezTo>
                <a:cubicBezTo>
                  <a:pt x="7218753" y="3684908"/>
                  <a:pt x="7216845" y="3679193"/>
                  <a:pt x="7216845" y="3673478"/>
                </a:cubicBezTo>
                <a:cubicBezTo>
                  <a:pt x="7216845" y="3662048"/>
                  <a:pt x="7222569" y="3652523"/>
                  <a:pt x="7232109" y="3646808"/>
                </a:cubicBezTo>
                <a:cubicBezTo>
                  <a:pt x="7232109" y="3646808"/>
                  <a:pt x="7232109" y="3646808"/>
                  <a:pt x="7567918" y="3435353"/>
                </a:cubicBezTo>
                <a:cubicBezTo>
                  <a:pt x="7575551" y="3430590"/>
                  <a:pt x="7584614" y="3429638"/>
                  <a:pt x="7592961" y="3431781"/>
                </a:cubicBezTo>
                <a:close/>
                <a:moveTo>
                  <a:pt x="7042583" y="3425684"/>
                </a:moveTo>
                <a:cubicBezTo>
                  <a:pt x="7051618" y="3428071"/>
                  <a:pt x="7059702" y="3433799"/>
                  <a:pt x="7064457" y="3442391"/>
                </a:cubicBezTo>
                <a:cubicBezTo>
                  <a:pt x="7073968" y="3459576"/>
                  <a:pt x="7068261" y="3480580"/>
                  <a:pt x="7051143" y="3490127"/>
                </a:cubicBezTo>
                <a:cubicBezTo>
                  <a:pt x="7051143" y="3490127"/>
                  <a:pt x="7051143" y="3490127"/>
                  <a:pt x="6714471" y="3682981"/>
                </a:cubicBezTo>
                <a:cubicBezTo>
                  <a:pt x="6697352" y="3692528"/>
                  <a:pt x="6676429" y="3686800"/>
                  <a:pt x="6665016" y="3669615"/>
                </a:cubicBezTo>
                <a:cubicBezTo>
                  <a:pt x="6663114" y="3663886"/>
                  <a:pt x="6661212" y="3658158"/>
                  <a:pt x="6661212" y="3652430"/>
                </a:cubicBezTo>
                <a:cubicBezTo>
                  <a:pt x="6661212" y="3639064"/>
                  <a:pt x="6666918" y="3627607"/>
                  <a:pt x="6678331" y="3619969"/>
                </a:cubicBezTo>
                <a:cubicBezTo>
                  <a:pt x="6678331" y="3619969"/>
                  <a:pt x="6678331" y="3619969"/>
                  <a:pt x="7015003" y="3429025"/>
                </a:cubicBezTo>
                <a:cubicBezTo>
                  <a:pt x="7023562" y="3424254"/>
                  <a:pt x="7033548" y="3423297"/>
                  <a:pt x="7042583" y="3425684"/>
                </a:cubicBezTo>
                <a:close/>
                <a:moveTo>
                  <a:pt x="6499335" y="3418940"/>
                </a:moveTo>
                <a:cubicBezTo>
                  <a:pt x="6508845" y="3422044"/>
                  <a:pt x="6517405" y="3428727"/>
                  <a:pt x="6523112" y="3438274"/>
                </a:cubicBezTo>
                <a:cubicBezTo>
                  <a:pt x="6532623" y="3457370"/>
                  <a:pt x="6525014" y="3480286"/>
                  <a:pt x="6505992" y="3491743"/>
                </a:cubicBezTo>
                <a:cubicBezTo>
                  <a:pt x="6505992" y="3491743"/>
                  <a:pt x="6505992" y="3491743"/>
                  <a:pt x="6167407" y="3663607"/>
                </a:cubicBezTo>
                <a:cubicBezTo>
                  <a:pt x="6148385" y="3675065"/>
                  <a:pt x="6125559" y="3667426"/>
                  <a:pt x="6116048" y="3648330"/>
                </a:cubicBezTo>
                <a:cubicBezTo>
                  <a:pt x="6112244" y="3642602"/>
                  <a:pt x="6110342" y="3634963"/>
                  <a:pt x="6110342" y="3629234"/>
                </a:cubicBezTo>
                <a:cubicBezTo>
                  <a:pt x="6110342" y="3615867"/>
                  <a:pt x="6117950" y="3602500"/>
                  <a:pt x="6131266" y="3594862"/>
                </a:cubicBezTo>
                <a:cubicBezTo>
                  <a:pt x="6131266" y="3594862"/>
                  <a:pt x="6131266" y="3594862"/>
                  <a:pt x="6469851" y="3421090"/>
                </a:cubicBezTo>
                <a:cubicBezTo>
                  <a:pt x="6479362" y="3416316"/>
                  <a:pt x="6489824" y="3415839"/>
                  <a:pt x="6499335" y="3418940"/>
                </a:cubicBezTo>
                <a:close/>
                <a:moveTo>
                  <a:pt x="5958954" y="3413743"/>
                </a:moveTo>
                <a:cubicBezTo>
                  <a:pt x="5969462" y="3417542"/>
                  <a:pt x="5978538" y="3425142"/>
                  <a:pt x="5983314" y="3435593"/>
                </a:cubicBezTo>
                <a:cubicBezTo>
                  <a:pt x="5992867" y="3456495"/>
                  <a:pt x="5983314" y="3483098"/>
                  <a:pt x="5962297" y="3492599"/>
                </a:cubicBezTo>
                <a:cubicBezTo>
                  <a:pt x="5962297" y="3492599"/>
                  <a:pt x="5962297" y="3492599"/>
                  <a:pt x="5622211" y="3646514"/>
                </a:cubicBezTo>
                <a:cubicBezTo>
                  <a:pt x="5599283" y="3656015"/>
                  <a:pt x="5574446" y="3646514"/>
                  <a:pt x="5564892" y="3625612"/>
                </a:cubicBezTo>
                <a:cubicBezTo>
                  <a:pt x="5562981" y="3619911"/>
                  <a:pt x="5561071" y="3614211"/>
                  <a:pt x="5561071" y="3608510"/>
                </a:cubicBezTo>
                <a:cubicBezTo>
                  <a:pt x="5561071" y="3591408"/>
                  <a:pt x="5570624" y="3576207"/>
                  <a:pt x="5585909" y="3568606"/>
                </a:cubicBezTo>
                <a:cubicBezTo>
                  <a:pt x="5585909" y="3568606"/>
                  <a:pt x="5585909" y="3568606"/>
                  <a:pt x="5925996" y="3414692"/>
                </a:cubicBezTo>
                <a:cubicBezTo>
                  <a:pt x="5936505" y="3409944"/>
                  <a:pt x="5948446" y="3409944"/>
                  <a:pt x="5958954" y="3413743"/>
                </a:cubicBezTo>
                <a:close/>
                <a:moveTo>
                  <a:pt x="398651" y="3413741"/>
                </a:moveTo>
                <a:cubicBezTo>
                  <a:pt x="408645" y="3417542"/>
                  <a:pt x="417211" y="3425142"/>
                  <a:pt x="421971" y="3435593"/>
                </a:cubicBezTo>
                <a:cubicBezTo>
                  <a:pt x="433392" y="3456495"/>
                  <a:pt x="423874" y="3483098"/>
                  <a:pt x="401031" y="3492599"/>
                </a:cubicBezTo>
                <a:cubicBezTo>
                  <a:pt x="401031" y="3492599"/>
                  <a:pt x="401031" y="3492599"/>
                  <a:pt x="62187" y="3646514"/>
                </a:cubicBezTo>
                <a:cubicBezTo>
                  <a:pt x="41248" y="3656015"/>
                  <a:pt x="16501" y="3646514"/>
                  <a:pt x="6983" y="3625612"/>
                </a:cubicBezTo>
                <a:cubicBezTo>
                  <a:pt x="3175" y="3619911"/>
                  <a:pt x="3175" y="3614211"/>
                  <a:pt x="3175" y="3608510"/>
                </a:cubicBezTo>
                <a:cubicBezTo>
                  <a:pt x="3175" y="3591408"/>
                  <a:pt x="12693" y="3576207"/>
                  <a:pt x="27922" y="3568606"/>
                </a:cubicBezTo>
                <a:cubicBezTo>
                  <a:pt x="27922" y="3568606"/>
                  <a:pt x="27922" y="3568606"/>
                  <a:pt x="366766" y="3414692"/>
                </a:cubicBezTo>
                <a:cubicBezTo>
                  <a:pt x="377236" y="3409942"/>
                  <a:pt x="388657" y="3409942"/>
                  <a:pt x="398651" y="3413741"/>
                </a:cubicBezTo>
                <a:close/>
                <a:moveTo>
                  <a:pt x="5394959" y="3403430"/>
                </a:moveTo>
                <a:cubicBezTo>
                  <a:pt x="5413341" y="3403787"/>
                  <a:pt x="5430116" y="3414829"/>
                  <a:pt x="5437255" y="3433353"/>
                </a:cubicBezTo>
                <a:cubicBezTo>
                  <a:pt x="5446773" y="3456153"/>
                  <a:pt x="5435351" y="3482753"/>
                  <a:pt x="5410604" y="3492253"/>
                </a:cubicBezTo>
                <a:cubicBezTo>
                  <a:pt x="5410604" y="3492253"/>
                  <a:pt x="5410604" y="3492253"/>
                  <a:pt x="5069849" y="3629053"/>
                </a:cubicBezTo>
                <a:cubicBezTo>
                  <a:pt x="5047007" y="3638553"/>
                  <a:pt x="5020359" y="3627153"/>
                  <a:pt x="5010842" y="3602453"/>
                </a:cubicBezTo>
                <a:cubicBezTo>
                  <a:pt x="5008938" y="3596753"/>
                  <a:pt x="5007035" y="3591053"/>
                  <a:pt x="5007035" y="3585353"/>
                </a:cubicBezTo>
                <a:cubicBezTo>
                  <a:pt x="5007035" y="3568253"/>
                  <a:pt x="5018456" y="3551153"/>
                  <a:pt x="5037491" y="3543553"/>
                </a:cubicBezTo>
                <a:cubicBezTo>
                  <a:pt x="5037491" y="3543553"/>
                  <a:pt x="5037491" y="3543553"/>
                  <a:pt x="5376340" y="3406755"/>
                </a:cubicBezTo>
                <a:cubicBezTo>
                  <a:pt x="5382526" y="3404382"/>
                  <a:pt x="5388832" y="3403312"/>
                  <a:pt x="5394959" y="3403430"/>
                </a:cubicBezTo>
                <a:close/>
                <a:moveTo>
                  <a:pt x="928445" y="3403428"/>
                </a:moveTo>
                <a:cubicBezTo>
                  <a:pt x="946037" y="3403784"/>
                  <a:pt x="962825" y="3414829"/>
                  <a:pt x="969969" y="3433353"/>
                </a:cubicBezTo>
                <a:cubicBezTo>
                  <a:pt x="979494" y="3456153"/>
                  <a:pt x="968064" y="3482753"/>
                  <a:pt x="945204" y="3492253"/>
                </a:cubicBezTo>
                <a:cubicBezTo>
                  <a:pt x="945204" y="3492253"/>
                  <a:pt x="945204" y="3492253"/>
                  <a:pt x="604205" y="3629053"/>
                </a:cubicBezTo>
                <a:cubicBezTo>
                  <a:pt x="579439" y="3638553"/>
                  <a:pt x="552769" y="3627153"/>
                  <a:pt x="543244" y="3602453"/>
                </a:cubicBezTo>
                <a:cubicBezTo>
                  <a:pt x="541339" y="3596753"/>
                  <a:pt x="541339" y="3591053"/>
                  <a:pt x="541339" y="3585353"/>
                </a:cubicBezTo>
                <a:cubicBezTo>
                  <a:pt x="541339" y="3568253"/>
                  <a:pt x="550864" y="3551153"/>
                  <a:pt x="569914" y="3543553"/>
                </a:cubicBezTo>
                <a:cubicBezTo>
                  <a:pt x="569914" y="3543553"/>
                  <a:pt x="569914" y="3543553"/>
                  <a:pt x="910913" y="3406753"/>
                </a:cubicBezTo>
                <a:cubicBezTo>
                  <a:pt x="916628" y="3404380"/>
                  <a:pt x="922581" y="3403309"/>
                  <a:pt x="928445" y="3403428"/>
                </a:cubicBezTo>
                <a:close/>
                <a:moveTo>
                  <a:pt x="4843466" y="3396591"/>
                </a:moveTo>
                <a:cubicBezTo>
                  <a:pt x="4863129" y="3398289"/>
                  <a:pt x="4880646" y="3410433"/>
                  <a:pt x="4886368" y="3429004"/>
                </a:cubicBezTo>
                <a:cubicBezTo>
                  <a:pt x="4895902" y="3455673"/>
                  <a:pt x="4882555" y="3484248"/>
                  <a:pt x="4855860" y="3491868"/>
                </a:cubicBezTo>
                <a:cubicBezTo>
                  <a:pt x="4855860" y="3491868"/>
                  <a:pt x="4855860" y="3491868"/>
                  <a:pt x="4514625" y="3609978"/>
                </a:cubicBezTo>
                <a:cubicBezTo>
                  <a:pt x="4487935" y="3619503"/>
                  <a:pt x="4461245" y="3606168"/>
                  <a:pt x="4451713" y="3579498"/>
                </a:cubicBezTo>
                <a:cubicBezTo>
                  <a:pt x="4449806" y="3575688"/>
                  <a:pt x="4449806" y="3569973"/>
                  <a:pt x="4449806" y="3564258"/>
                </a:cubicBezTo>
                <a:cubicBezTo>
                  <a:pt x="4449806" y="3543303"/>
                  <a:pt x="4461245" y="3524253"/>
                  <a:pt x="4482216" y="3518538"/>
                </a:cubicBezTo>
                <a:cubicBezTo>
                  <a:pt x="4482216" y="3518538"/>
                  <a:pt x="4482216" y="3518538"/>
                  <a:pt x="4823448" y="3398526"/>
                </a:cubicBezTo>
                <a:cubicBezTo>
                  <a:pt x="4830120" y="3396621"/>
                  <a:pt x="4836914" y="3396026"/>
                  <a:pt x="4843466" y="3396591"/>
                </a:cubicBezTo>
                <a:close/>
                <a:moveTo>
                  <a:pt x="1478769" y="3396589"/>
                </a:moveTo>
                <a:cubicBezTo>
                  <a:pt x="1497714" y="3398285"/>
                  <a:pt x="1515586" y="3410431"/>
                  <a:pt x="1522735" y="3429004"/>
                </a:cubicBezTo>
                <a:cubicBezTo>
                  <a:pt x="1530360" y="3455673"/>
                  <a:pt x="1517016" y="3484248"/>
                  <a:pt x="1492233" y="3491868"/>
                </a:cubicBezTo>
                <a:cubicBezTo>
                  <a:pt x="1492233" y="3491868"/>
                  <a:pt x="1492233" y="3491868"/>
                  <a:pt x="1149084" y="3609978"/>
                </a:cubicBezTo>
                <a:cubicBezTo>
                  <a:pt x="1124301" y="3619503"/>
                  <a:pt x="1095705" y="3606168"/>
                  <a:pt x="1088080" y="3579498"/>
                </a:cubicBezTo>
                <a:cubicBezTo>
                  <a:pt x="1086173" y="3575688"/>
                  <a:pt x="1084267" y="3569973"/>
                  <a:pt x="1084267" y="3564258"/>
                </a:cubicBezTo>
                <a:cubicBezTo>
                  <a:pt x="1084267" y="3543303"/>
                  <a:pt x="1097612" y="3524253"/>
                  <a:pt x="1116676" y="3518538"/>
                </a:cubicBezTo>
                <a:cubicBezTo>
                  <a:pt x="1116676" y="3518538"/>
                  <a:pt x="1116676" y="3518538"/>
                  <a:pt x="1459824" y="3398524"/>
                </a:cubicBezTo>
                <a:cubicBezTo>
                  <a:pt x="1466020" y="3396619"/>
                  <a:pt x="1472454" y="3396023"/>
                  <a:pt x="1478769" y="3396589"/>
                </a:cubicBezTo>
                <a:close/>
                <a:moveTo>
                  <a:pt x="4288621" y="3390094"/>
                </a:moveTo>
                <a:cubicBezTo>
                  <a:pt x="4309086" y="3392150"/>
                  <a:pt x="4326601" y="3406815"/>
                  <a:pt x="4332319" y="3426845"/>
                </a:cubicBezTo>
                <a:cubicBezTo>
                  <a:pt x="4341852" y="3455461"/>
                  <a:pt x="4324695" y="3484078"/>
                  <a:pt x="4298005" y="3491709"/>
                </a:cubicBezTo>
                <a:cubicBezTo>
                  <a:pt x="4298005" y="3491709"/>
                  <a:pt x="4298005" y="3491709"/>
                  <a:pt x="3954880" y="3592822"/>
                </a:cubicBezTo>
                <a:cubicBezTo>
                  <a:pt x="3926284" y="3600453"/>
                  <a:pt x="3897689" y="3585191"/>
                  <a:pt x="3888158" y="3556574"/>
                </a:cubicBezTo>
                <a:cubicBezTo>
                  <a:pt x="3888158" y="3552758"/>
                  <a:pt x="3886250" y="3547035"/>
                  <a:pt x="3886250" y="3541311"/>
                </a:cubicBezTo>
                <a:cubicBezTo>
                  <a:pt x="3886250" y="3518418"/>
                  <a:pt x="3901502" y="3497432"/>
                  <a:pt x="3924377" y="3491709"/>
                </a:cubicBezTo>
                <a:cubicBezTo>
                  <a:pt x="3924377" y="3491709"/>
                  <a:pt x="3924377" y="3491709"/>
                  <a:pt x="4267501" y="3392508"/>
                </a:cubicBezTo>
                <a:cubicBezTo>
                  <a:pt x="4274651" y="3390124"/>
                  <a:pt x="4281800" y="3389407"/>
                  <a:pt x="4288621" y="3390094"/>
                </a:cubicBezTo>
                <a:close/>
                <a:moveTo>
                  <a:pt x="2035412" y="3390091"/>
                </a:moveTo>
                <a:cubicBezTo>
                  <a:pt x="2055626" y="3392148"/>
                  <a:pt x="2074226" y="3406813"/>
                  <a:pt x="2079949" y="3426845"/>
                </a:cubicBezTo>
                <a:cubicBezTo>
                  <a:pt x="2087581" y="3455461"/>
                  <a:pt x="2072317" y="3484078"/>
                  <a:pt x="2043698" y="3491709"/>
                </a:cubicBezTo>
                <a:cubicBezTo>
                  <a:pt x="2043698" y="3491709"/>
                  <a:pt x="2043698" y="3491709"/>
                  <a:pt x="1700314" y="3592822"/>
                </a:cubicBezTo>
                <a:cubicBezTo>
                  <a:pt x="1671698" y="3600453"/>
                  <a:pt x="1643083" y="3585191"/>
                  <a:pt x="1635452" y="3556574"/>
                </a:cubicBezTo>
                <a:cubicBezTo>
                  <a:pt x="1633545" y="3552758"/>
                  <a:pt x="1633545" y="3547035"/>
                  <a:pt x="1633545" y="3541311"/>
                </a:cubicBezTo>
                <a:cubicBezTo>
                  <a:pt x="1633545" y="3518418"/>
                  <a:pt x="1648806" y="3497432"/>
                  <a:pt x="1671698" y="3491709"/>
                </a:cubicBezTo>
                <a:cubicBezTo>
                  <a:pt x="1671698" y="3491709"/>
                  <a:pt x="1671698" y="3491709"/>
                  <a:pt x="2015083" y="3392506"/>
                </a:cubicBezTo>
                <a:cubicBezTo>
                  <a:pt x="2021760" y="3390122"/>
                  <a:pt x="2028675" y="3389405"/>
                  <a:pt x="2035412" y="3390091"/>
                </a:cubicBezTo>
                <a:close/>
                <a:moveTo>
                  <a:pt x="3729541" y="3384855"/>
                </a:moveTo>
                <a:cubicBezTo>
                  <a:pt x="3751289" y="3388416"/>
                  <a:pt x="3769540" y="3404794"/>
                  <a:pt x="3773836" y="3427580"/>
                </a:cubicBezTo>
                <a:cubicBezTo>
                  <a:pt x="3781474" y="3456065"/>
                  <a:pt x="3762384" y="3486450"/>
                  <a:pt x="3733748" y="3494046"/>
                </a:cubicBezTo>
                <a:cubicBezTo>
                  <a:pt x="3733748" y="3494046"/>
                  <a:pt x="3733748" y="3494046"/>
                  <a:pt x="3388242" y="3575706"/>
                </a:cubicBezTo>
                <a:cubicBezTo>
                  <a:pt x="3357694" y="3581403"/>
                  <a:pt x="3327150" y="3564311"/>
                  <a:pt x="3321424" y="3533926"/>
                </a:cubicBezTo>
                <a:cubicBezTo>
                  <a:pt x="3319515" y="3528229"/>
                  <a:pt x="3319515" y="3524431"/>
                  <a:pt x="3319515" y="3520633"/>
                </a:cubicBezTo>
                <a:cubicBezTo>
                  <a:pt x="3319515" y="3495945"/>
                  <a:pt x="3336696" y="3473156"/>
                  <a:pt x="3361512" y="3465560"/>
                </a:cubicBezTo>
                <a:cubicBezTo>
                  <a:pt x="3361512" y="3465560"/>
                  <a:pt x="3361512" y="3465560"/>
                  <a:pt x="3707021" y="3385804"/>
                </a:cubicBezTo>
                <a:cubicBezTo>
                  <a:pt x="3714657" y="3383908"/>
                  <a:pt x="3722292" y="3383666"/>
                  <a:pt x="3729541" y="3384855"/>
                </a:cubicBezTo>
                <a:close/>
                <a:moveTo>
                  <a:pt x="2596040" y="3384850"/>
                </a:moveTo>
                <a:cubicBezTo>
                  <a:pt x="2617785" y="3388411"/>
                  <a:pt x="2636040" y="3404792"/>
                  <a:pt x="2640334" y="3427579"/>
                </a:cubicBezTo>
                <a:cubicBezTo>
                  <a:pt x="2647970" y="3456065"/>
                  <a:pt x="2628881" y="3486450"/>
                  <a:pt x="2598338" y="3494046"/>
                </a:cubicBezTo>
                <a:cubicBezTo>
                  <a:pt x="2598338" y="3494046"/>
                  <a:pt x="2598338" y="3494046"/>
                  <a:pt x="2254725" y="3575706"/>
                </a:cubicBezTo>
                <a:cubicBezTo>
                  <a:pt x="2224181" y="3581403"/>
                  <a:pt x="2193638" y="3564311"/>
                  <a:pt x="2187911" y="3533926"/>
                </a:cubicBezTo>
                <a:cubicBezTo>
                  <a:pt x="2186002" y="3528229"/>
                  <a:pt x="2186002" y="3524431"/>
                  <a:pt x="2186002" y="3520633"/>
                </a:cubicBezTo>
                <a:cubicBezTo>
                  <a:pt x="2186002" y="3495945"/>
                  <a:pt x="2203183" y="3473156"/>
                  <a:pt x="2227999" y="3465560"/>
                </a:cubicBezTo>
                <a:cubicBezTo>
                  <a:pt x="2227999" y="3465560"/>
                  <a:pt x="2227999" y="3465560"/>
                  <a:pt x="2573520" y="3385799"/>
                </a:cubicBezTo>
                <a:cubicBezTo>
                  <a:pt x="2581156" y="3383901"/>
                  <a:pt x="2588792" y="3383664"/>
                  <a:pt x="2596040" y="3384850"/>
                </a:cubicBezTo>
                <a:close/>
                <a:moveTo>
                  <a:pt x="3137316" y="3377575"/>
                </a:moveTo>
                <a:cubicBezTo>
                  <a:pt x="3169680" y="3371862"/>
                  <a:pt x="3200139" y="3392811"/>
                  <a:pt x="3205849" y="3425194"/>
                </a:cubicBezTo>
                <a:cubicBezTo>
                  <a:pt x="3211557" y="3457578"/>
                  <a:pt x="3190620" y="3488058"/>
                  <a:pt x="3158257" y="3493773"/>
                </a:cubicBezTo>
                <a:cubicBezTo>
                  <a:pt x="3158257" y="3493773"/>
                  <a:pt x="3158257" y="3493773"/>
                  <a:pt x="2813680" y="3556638"/>
                </a:cubicBezTo>
                <a:cubicBezTo>
                  <a:pt x="2781314" y="3562353"/>
                  <a:pt x="2750856" y="3541398"/>
                  <a:pt x="2745145" y="3509013"/>
                </a:cubicBezTo>
                <a:cubicBezTo>
                  <a:pt x="2743240" y="3505203"/>
                  <a:pt x="2743240" y="3501393"/>
                  <a:pt x="2743240" y="3497583"/>
                </a:cubicBezTo>
                <a:cubicBezTo>
                  <a:pt x="2743240" y="3470913"/>
                  <a:pt x="2764181" y="3446148"/>
                  <a:pt x="2792741" y="3440433"/>
                </a:cubicBezTo>
                <a:cubicBezTo>
                  <a:pt x="2792741" y="3440433"/>
                  <a:pt x="2792741" y="3440433"/>
                  <a:pt x="3137316" y="3377575"/>
                </a:cubicBezTo>
                <a:close/>
                <a:moveTo>
                  <a:pt x="9858814" y="3131368"/>
                </a:moveTo>
                <a:cubicBezTo>
                  <a:pt x="9863096" y="3131843"/>
                  <a:pt x="9867379" y="3133750"/>
                  <a:pt x="9870234" y="3136605"/>
                </a:cubicBezTo>
                <a:cubicBezTo>
                  <a:pt x="9875944" y="3144217"/>
                  <a:pt x="9875944" y="3153731"/>
                  <a:pt x="9868331" y="3159443"/>
                </a:cubicBezTo>
                <a:cubicBezTo>
                  <a:pt x="9868331" y="3159443"/>
                  <a:pt x="9868331" y="3159443"/>
                  <a:pt x="9539049" y="3458218"/>
                </a:cubicBezTo>
                <a:cubicBezTo>
                  <a:pt x="9531436" y="3463928"/>
                  <a:pt x="9521919" y="3463928"/>
                  <a:pt x="9516209" y="3456315"/>
                </a:cubicBezTo>
                <a:cubicBezTo>
                  <a:pt x="9512402" y="3452509"/>
                  <a:pt x="9512402" y="3448702"/>
                  <a:pt x="9512402" y="3444896"/>
                </a:cubicBezTo>
                <a:cubicBezTo>
                  <a:pt x="9512402" y="3441089"/>
                  <a:pt x="9514305" y="3437283"/>
                  <a:pt x="9516209" y="3433477"/>
                </a:cubicBezTo>
                <a:cubicBezTo>
                  <a:pt x="9516209" y="3433477"/>
                  <a:pt x="9516209" y="3433477"/>
                  <a:pt x="9847394" y="3134702"/>
                </a:cubicBezTo>
                <a:cubicBezTo>
                  <a:pt x="9850249" y="3131843"/>
                  <a:pt x="9854531" y="3130893"/>
                  <a:pt x="9858814" y="3131368"/>
                </a:cubicBezTo>
                <a:close/>
                <a:moveTo>
                  <a:pt x="9282539" y="3124787"/>
                </a:moveTo>
                <a:cubicBezTo>
                  <a:pt x="9287557" y="3125026"/>
                  <a:pt x="9292336" y="3127409"/>
                  <a:pt x="9295203" y="3132178"/>
                </a:cubicBezTo>
                <a:cubicBezTo>
                  <a:pt x="9302849" y="3139803"/>
                  <a:pt x="9302849" y="3153152"/>
                  <a:pt x="9293291" y="3160778"/>
                </a:cubicBezTo>
                <a:cubicBezTo>
                  <a:pt x="9293291" y="3160778"/>
                  <a:pt x="9293291" y="3160778"/>
                  <a:pt x="8960690" y="3437250"/>
                </a:cubicBezTo>
                <a:cubicBezTo>
                  <a:pt x="8953044" y="3444878"/>
                  <a:pt x="8939663" y="3444878"/>
                  <a:pt x="8932017" y="3435343"/>
                </a:cubicBezTo>
                <a:cubicBezTo>
                  <a:pt x="8930106" y="3431530"/>
                  <a:pt x="8928194" y="3427717"/>
                  <a:pt x="8928194" y="3421997"/>
                </a:cubicBezTo>
                <a:cubicBezTo>
                  <a:pt x="8928194" y="3416276"/>
                  <a:pt x="8930106" y="3410556"/>
                  <a:pt x="8935840" y="3406743"/>
                </a:cubicBezTo>
                <a:cubicBezTo>
                  <a:pt x="8935840" y="3406743"/>
                  <a:pt x="8935840" y="3406743"/>
                  <a:pt x="9268442" y="3130267"/>
                </a:cubicBezTo>
                <a:cubicBezTo>
                  <a:pt x="9272265" y="3126457"/>
                  <a:pt x="9277521" y="3124549"/>
                  <a:pt x="9282539" y="3124787"/>
                </a:cubicBezTo>
                <a:close/>
                <a:moveTo>
                  <a:pt x="10443256" y="3124763"/>
                </a:moveTo>
                <a:cubicBezTo>
                  <a:pt x="10448513" y="3125001"/>
                  <a:pt x="10453769" y="3127385"/>
                  <a:pt x="10457592" y="3132152"/>
                </a:cubicBezTo>
                <a:cubicBezTo>
                  <a:pt x="10463327" y="3139780"/>
                  <a:pt x="10463327" y="3153129"/>
                  <a:pt x="10453769" y="3160755"/>
                </a:cubicBezTo>
                <a:cubicBezTo>
                  <a:pt x="10453769" y="3160755"/>
                  <a:pt x="10453769" y="3160755"/>
                  <a:pt x="10121168" y="3437250"/>
                </a:cubicBezTo>
                <a:cubicBezTo>
                  <a:pt x="10113522" y="3444878"/>
                  <a:pt x="10100141" y="3444878"/>
                  <a:pt x="10094407" y="3435343"/>
                </a:cubicBezTo>
                <a:cubicBezTo>
                  <a:pt x="10090584" y="3431530"/>
                  <a:pt x="10088672" y="3427716"/>
                  <a:pt x="10088672" y="3421995"/>
                </a:cubicBezTo>
                <a:cubicBezTo>
                  <a:pt x="10088672" y="3416275"/>
                  <a:pt x="10090584" y="3410554"/>
                  <a:pt x="10096318" y="3406741"/>
                </a:cubicBezTo>
                <a:cubicBezTo>
                  <a:pt x="10096318" y="3406741"/>
                  <a:pt x="10096318" y="3406741"/>
                  <a:pt x="10428920" y="3130246"/>
                </a:cubicBezTo>
                <a:cubicBezTo>
                  <a:pt x="10432743" y="3126432"/>
                  <a:pt x="10438000" y="3124526"/>
                  <a:pt x="10443256" y="3124763"/>
                </a:cubicBezTo>
                <a:close/>
                <a:moveTo>
                  <a:pt x="8711378" y="3118284"/>
                </a:moveTo>
                <a:cubicBezTo>
                  <a:pt x="8717559" y="3118999"/>
                  <a:pt x="8723740" y="3122341"/>
                  <a:pt x="8728495" y="3128067"/>
                </a:cubicBezTo>
                <a:cubicBezTo>
                  <a:pt x="8736103" y="3137612"/>
                  <a:pt x="8734201" y="3152882"/>
                  <a:pt x="8722790" y="3160517"/>
                </a:cubicBezTo>
                <a:cubicBezTo>
                  <a:pt x="8722790" y="3160517"/>
                  <a:pt x="8722790" y="3160517"/>
                  <a:pt x="8391863" y="3418193"/>
                </a:cubicBezTo>
                <a:cubicBezTo>
                  <a:pt x="8380451" y="3425828"/>
                  <a:pt x="8365236" y="3423921"/>
                  <a:pt x="8357629" y="3414376"/>
                </a:cubicBezTo>
                <a:cubicBezTo>
                  <a:pt x="8353825" y="3410558"/>
                  <a:pt x="8351923" y="3404833"/>
                  <a:pt x="8351923" y="3399106"/>
                </a:cubicBezTo>
                <a:cubicBezTo>
                  <a:pt x="8351923" y="3393381"/>
                  <a:pt x="8355727" y="3385745"/>
                  <a:pt x="8361432" y="3380018"/>
                </a:cubicBezTo>
                <a:cubicBezTo>
                  <a:pt x="8361432" y="3380018"/>
                  <a:pt x="8361432" y="3380018"/>
                  <a:pt x="8694262" y="3124249"/>
                </a:cubicBezTo>
                <a:cubicBezTo>
                  <a:pt x="8699016" y="3119478"/>
                  <a:pt x="8705197" y="3117568"/>
                  <a:pt x="8711378" y="3118284"/>
                </a:cubicBezTo>
                <a:close/>
                <a:moveTo>
                  <a:pt x="11020985" y="3118259"/>
                </a:moveTo>
                <a:cubicBezTo>
                  <a:pt x="11026928" y="3118974"/>
                  <a:pt x="11032634" y="3122314"/>
                  <a:pt x="11036438" y="3128041"/>
                </a:cubicBezTo>
                <a:cubicBezTo>
                  <a:pt x="11045947" y="3137586"/>
                  <a:pt x="11044045" y="3152857"/>
                  <a:pt x="11032634" y="3160492"/>
                </a:cubicBezTo>
                <a:cubicBezTo>
                  <a:pt x="11032634" y="3160492"/>
                  <a:pt x="11032634" y="3160492"/>
                  <a:pt x="10699805" y="3418193"/>
                </a:cubicBezTo>
                <a:cubicBezTo>
                  <a:pt x="10690295" y="3425828"/>
                  <a:pt x="10675080" y="3423919"/>
                  <a:pt x="10667473" y="3414376"/>
                </a:cubicBezTo>
                <a:cubicBezTo>
                  <a:pt x="10663669" y="3410558"/>
                  <a:pt x="10661767" y="3404831"/>
                  <a:pt x="10661767" y="3399103"/>
                </a:cubicBezTo>
                <a:cubicBezTo>
                  <a:pt x="10661767" y="3393378"/>
                  <a:pt x="10665571" y="3385741"/>
                  <a:pt x="10671276" y="3380016"/>
                </a:cubicBezTo>
                <a:cubicBezTo>
                  <a:pt x="10671276" y="3380016"/>
                  <a:pt x="10671276" y="3380016"/>
                  <a:pt x="11004106" y="3124224"/>
                </a:cubicBezTo>
                <a:cubicBezTo>
                  <a:pt x="11008861" y="3119452"/>
                  <a:pt x="11015042" y="3117542"/>
                  <a:pt x="11020985" y="3118259"/>
                </a:cubicBezTo>
                <a:close/>
                <a:moveTo>
                  <a:pt x="8147892" y="3113506"/>
                </a:moveTo>
                <a:cubicBezTo>
                  <a:pt x="8154786" y="3114695"/>
                  <a:pt x="8161443" y="3118496"/>
                  <a:pt x="8166198" y="3125150"/>
                </a:cubicBezTo>
                <a:cubicBezTo>
                  <a:pt x="8175708" y="3136556"/>
                  <a:pt x="8171904" y="3153664"/>
                  <a:pt x="8160492" y="3163167"/>
                </a:cubicBezTo>
                <a:cubicBezTo>
                  <a:pt x="8160492" y="3163167"/>
                  <a:pt x="8160492" y="3163167"/>
                  <a:pt x="7825748" y="3398864"/>
                </a:cubicBezTo>
                <a:cubicBezTo>
                  <a:pt x="7814336" y="3408367"/>
                  <a:pt x="7797218" y="3404566"/>
                  <a:pt x="7787709" y="3393162"/>
                </a:cubicBezTo>
                <a:cubicBezTo>
                  <a:pt x="7783905" y="3387458"/>
                  <a:pt x="7782003" y="3381761"/>
                  <a:pt x="7782003" y="3376054"/>
                </a:cubicBezTo>
                <a:cubicBezTo>
                  <a:pt x="7782003" y="3368454"/>
                  <a:pt x="7787709" y="3358953"/>
                  <a:pt x="7795316" y="3353251"/>
                </a:cubicBezTo>
                <a:cubicBezTo>
                  <a:pt x="7795316" y="3353251"/>
                  <a:pt x="7795316" y="3353251"/>
                  <a:pt x="8128159" y="3117545"/>
                </a:cubicBezTo>
                <a:cubicBezTo>
                  <a:pt x="8133865" y="3113743"/>
                  <a:pt x="8140997" y="3112319"/>
                  <a:pt x="8147892" y="3113506"/>
                </a:cubicBezTo>
                <a:close/>
                <a:moveTo>
                  <a:pt x="11592870" y="3113497"/>
                </a:moveTo>
                <a:cubicBezTo>
                  <a:pt x="11600008" y="3114686"/>
                  <a:pt x="11606670" y="3118487"/>
                  <a:pt x="11611429" y="3125143"/>
                </a:cubicBezTo>
                <a:cubicBezTo>
                  <a:pt x="11619043" y="3136547"/>
                  <a:pt x="11617140" y="3153655"/>
                  <a:pt x="11603815" y="3163160"/>
                </a:cubicBezTo>
                <a:cubicBezTo>
                  <a:pt x="11603815" y="3163160"/>
                  <a:pt x="11603815" y="3163160"/>
                  <a:pt x="11270705" y="3398861"/>
                </a:cubicBezTo>
                <a:cubicBezTo>
                  <a:pt x="11257381" y="3408367"/>
                  <a:pt x="11240249" y="3404564"/>
                  <a:pt x="11232635" y="3393157"/>
                </a:cubicBezTo>
                <a:cubicBezTo>
                  <a:pt x="11228828" y="3387458"/>
                  <a:pt x="11226925" y="3381753"/>
                  <a:pt x="11226925" y="3376052"/>
                </a:cubicBezTo>
                <a:cubicBezTo>
                  <a:pt x="11226925" y="3368451"/>
                  <a:pt x="11230732" y="3358948"/>
                  <a:pt x="11238346" y="3353249"/>
                </a:cubicBezTo>
                <a:cubicBezTo>
                  <a:pt x="11238346" y="3353249"/>
                  <a:pt x="11238346" y="3353249"/>
                  <a:pt x="11571456" y="3117537"/>
                </a:cubicBezTo>
                <a:cubicBezTo>
                  <a:pt x="11578118" y="3113734"/>
                  <a:pt x="11585732" y="3112310"/>
                  <a:pt x="11592870" y="3113497"/>
                </a:cubicBezTo>
                <a:close/>
                <a:moveTo>
                  <a:pt x="12139750" y="3109931"/>
                </a:moveTo>
                <a:cubicBezTo>
                  <a:pt x="12139750" y="3109931"/>
                  <a:pt x="12139750" y="3109931"/>
                  <a:pt x="12139750" y="3184058"/>
                </a:cubicBezTo>
                <a:cubicBezTo>
                  <a:pt x="12139750" y="3184058"/>
                  <a:pt x="12139750" y="3184058"/>
                  <a:pt x="11835219" y="3379813"/>
                </a:cubicBezTo>
                <a:cubicBezTo>
                  <a:pt x="11819993" y="3389317"/>
                  <a:pt x="11800960" y="3385515"/>
                  <a:pt x="11791443" y="3370310"/>
                </a:cubicBezTo>
                <a:cubicBezTo>
                  <a:pt x="11787636" y="3364613"/>
                  <a:pt x="11785733" y="3358911"/>
                  <a:pt x="11785733" y="3353211"/>
                </a:cubicBezTo>
                <a:cubicBezTo>
                  <a:pt x="11785733" y="3343708"/>
                  <a:pt x="11791443" y="3334207"/>
                  <a:pt x="11800960" y="3326605"/>
                </a:cubicBezTo>
                <a:lnTo>
                  <a:pt x="12135943" y="3111832"/>
                </a:lnTo>
                <a:cubicBezTo>
                  <a:pt x="12137847" y="3111832"/>
                  <a:pt x="12137847" y="3109931"/>
                  <a:pt x="12139750" y="3109931"/>
                </a:cubicBezTo>
                <a:close/>
                <a:moveTo>
                  <a:pt x="7592396" y="3107000"/>
                </a:moveTo>
                <a:cubicBezTo>
                  <a:pt x="7600248" y="3108665"/>
                  <a:pt x="7607387" y="3113422"/>
                  <a:pt x="7612145" y="3121034"/>
                </a:cubicBezTo>
                <a:cubicBezTo>
                  <a:pt x="7621663" y="3136258"/>
                  <a:pt x="7617856" y="3155285"/>
                  <a:pt x="7602628" y="3164800"/>
                </a:cubicBezTo>
                <a:cubicBezTo>
                  <a:pt x="7602628" y="3164800"/>
                  <a:pt x="7602628" y="3164800"/>
                  <a:pt x="7267608" y="3379811"/>
                </a:cubicBezTo>
                <a:cubicBezTo>
                  <a:pt x="7252380" y="3389319"/>
                  <a:pt x="7233344" y="3385513"/>
                  <a:pt x="7223827" y="3370294"/>
                </a:cubicBezTo>
                <a:cubicBezTo>
                  <a:pt x="7221923" y="3364590"/>
                  <a:pt x="7220020" y="3358885"/>
                  <a:pt x="7220020" y="3353176"/>
                </a:cubicBezTo>
                <a:cubicBezTo>
                  <a:pt x="7220020" y="3343664"/>
                  <a:pt x="7223827" y="3334150"/>
                  <a:pt x="7233344" y="3326538"/>
                </a:cubicBezTo>
                <a:cubicBezTo>
                  <a:pt x="7233344" y="3326538"/>
                  <a:pt x="7233344" y="3326538"/>
                  <a:pt x="7568364" y="3111519"/>
                </a:cubicBezTo>
                <a:cubicBezTo>
                  <a:pt x="7575978" y="3106762"/>
                  <a:pt x="7584544" y="3105336"/>
                  <a:pt x="7592396" y="3107000"/>
                </a:cubicBezTo>
                <a:close/>
                <a:moveTo>
                  <a:pt x="7041870" y="3101853"/>
                </a:moveTo>
                <a:cubicBezTo>
                  <a:pt x="7050667" y="3104238"/>
                  <a:pt x="7058751" y="3109959"/>
                  <a:pt x="7064457" y="3118540"/>
                </a:cubicBezTo>
                <a:cubicBezTo>
                  <a:pt x="7073968" y="3133799"/>
                  <a:pt x="7068261" y="3156686"/>
                  <a:pt x="7051143" y="3166221"/>
                </a:cubicBezTo>
                <a:cubicBezTo>
                  <a:pt x="7051143" y="3166221"/>
                  <a:pt x="7051143" y="3166221"/>
                  <a:pt x="6714471" y="3360742"/>
                </a:cubicBezTo>
                <a:cubicBezTo>
                  <a:pt x="6697352" y="3370275"/>
                  <a:pt x="6676429" y="3364552"/>
                  <a:pt x="6666918" y="3347395"/>
                </a:cubicBezTo>
                <a:cubicBezTo>
                  <a:pt x="6663114" y="3343582"/>
                  <a:pt x="6661212" y="3335952"/>
                  <a:pt x="6661212" y="3330234"/>
                </a:cubicBezTo>
                <a:cubicBezTo>
                  <a:pt x="6661212" y="3318789"/>
                  <a:pt x="6668820" y="3307347"/>
                  <a:pt x="6680233" y="3299719"/>
                </a:cubicBezTo>
                <a:cubicBezTo>
                  <a:pt x="6680233" y="3299719"/>
                  <a:pt x="6680233" y="3299719"/>
                  <a:pt x="7015003" y="3105192"/>
                </a:cubicBezTo>
                <a:cubicBezTo>
                  <a:pt x="7023562" y="3100423"/>
                  <a:pt x="7033073" y="3099471"/>
                  <a:pt x="7041870" y="3101853"/>
                </a:cubicBezTo>
                <a:close/>
                <a:moveTo>
                  <a:pt x="6499097" y="3095115"/>
                </a:moveTo>
                <a:cubicBezTo>
                  <a:pt x="6508370" y="3098221"/>
                  <a:pt x="6516454" y="3104903"/>
                  <a:pt x="6521210" y="3114451"/>
                </a:cubicBezTo>
                <a:cubicBezTo>
                  <a:pt x="6532623" y="3133548"/>
                  <a:pt x="6525014" y="3158370"/>
                  <a:pt x="6505992" y="3167917"/>
                </a:cubicBezTo>
                <a:cubicBezTo>
                  <a:pt x="6505992" y="3167917"/>
                  <a:pt x="6505992" y="3167917"/>
                  <a:pt x="6167407" y="3341686"/>
                </a:cubicBezTo>
                <a:cubicBezTo>
                  <a:pt x="6148385" y="3351232"/>
                  <a:pt x="6125559" y="3345501"/>
                  <a:pt x="6116048" y="3326407"/>
                </a:cubicBezTo>
                <a:cubicBezTo>
                  <a:pt x="6112244" y="3320680"/>
                  <a:pt x="6110342" y="3313042"/>
                  <a:pt x="6110342" y="3307313"/>
                </a:cubicBezTo>
                <a:cubicBezTo>
                  <a:pt x="6110342" y="3293947"/>
                  <a:pt x="6117950" y="3280583"/>
                  <a:pt x="6131266" y="3272944"/>
                </a:cubicBezTo>
                <a:cubicBezTo>
                  <a:pt x="6131266" y="3272944"/>
                  <a:pt x="6131266" y="3272944"/>
                  <a:pt x="6469851" y="3097266"/>
                </a:cubicBezTo>
                <a:cubicBezTo>
                  <a:pt x="6479362" y="3092490"/>
                  <a:pt x="6489824" y="3092013"/>
                  <a:pt x="6499097" y="3095115"/>
                </a:cubicBezTo>
                <a:close/>
                <a:moveTo>
                  <a:pt x="5958954" y="3091506"/>
                </a:moveTo>
                <a:cubicBezTo>
                  <a:pt x="5969462" y="3095305"/>
                  <a:pt x="5978538" y="3102907"/>
                  <a:pt x="5983314" y="3113357"/>
                </a:cubicBezTo>
                <a:cubicBezTo>
                  <a:pt x="5992867" y="3134260"/>
                  <a:pt x="5983314" y="3160862"/>
                  <a:pt x="5962297" y="3170362"/>
                </a:cubicBezTo>
                <a:cubicBezTo>
                  <a:pt x="5962297" y="3170362"/>
                  <a:pt x="5962297" y="3170362"/>
                  <a:pt x="5620299" y="3324270"/>
                </a:cubicBezTo>
                <a:cubicBezTo>
                  <a:pt x="5599283" y="3333770"/>
                  <a:pt x="5574446" y="3324270"/>
                  <a:pt x="5564892" y="3301471"/>
                </a:cubicBezTo>
                <a:cubicBezTo>
                  <a:pt x="5562981" y="3295771"/>
                  <a:pt x="5561071" y="3290071"/>
                  <a:pt x="5561071" y="3284371"/>
                </a:cubicBezTo>
                <a:cubicBezTo>
                  <a:pt x="5561071" y="3269170"/>
                  <a:pt x="5570624" y="3252068"/>
                  <a:pt x="5585909" y="3246366"/>
                </a:cubicBezTo>
                <a:cubicBezTo>
                  <a:pt x="5585909" y="3246366"/>
                  <a:pt x="5585909" y="3246366"/>
                  <a:pt x="5925996" y="3092457"/>
                </a:cubicBezTo>
                <a:cubicBezTo>
                  <a:pt x="5936505" y="3087707"/>
                  <a:pt x="5948446" y="3087707"/>
                  <a:pt x="5958954" y="3091506"/>
                </a:cubicBezTo>
                <a:close/>
                <a:moveTo>
                  <a:pt x="399603" y="3091494"/>
                </a:moveTo>
                <a:cubicBezTo>
                  <a:pt x="410073" y="3095293"/>
                  <a:pt x="419115" y="3102895"/>
                  <a:pt x="423874" y="3113346"/>
                </a:cubicBezTo>
                <a:cubicBezTo>
                  <a:pt x="433392" y="3134248"/>
                  <a:pt x="423874" y="3160850"/>
                  <a:pt x="401031" y="3170351"/>
                </a:cubicBezTo>
                <a:cubicBezTo>
                  <a:pt x="401031" y="3170351"/>
                  <a:pt x="401031" y="3170351"/>
                  <a:pt x="62187" y="3324262"/>
                </a:cubicBezTo>
                <a:cubicBezTo>
                  <a:pt x="41247" y="3333763"/>
                  <a:pt x="16500" y="3324262"/>
                  <a:pt x="6982" y="3301463"/>
                </a:cubicBezTo>
                <a:cubicBezTo>
                  <a:pt x="3175" y="3295761"/>
                  <a:pt x="3175" y="3290060"/>
                  <a:pt x="3175" y="3284360"/>
                </a:cubicBezTo>
                <a:cubicBezTo>
                  <a:pt x="3175" y="3269158"/>
                  <a:pt x="12693" y="3252058"/>
                  <a:pt x="27922" y="3246356"/>
                </a:cubicBezTo>
                <a:cubicBezTo>
                  <a:pt x="27922" y="3246356"/>
                  <a:pt x="27922" y="3246356"/>
                  <a:pt x="366766" y="3092445"/>
                </a:cubicBezTo>
                <a:cubicBezTo>
                  <a:pt x="377235" y="3087693"/>
                  <a:pt x="389133" y="3087693"/>
                  <a:pt x="399603" y="3091494"/>
                </a:cubicBezTo>
                <a:close/>
                <a:moveTo>
                  <a:pt x="5376340" y="3084226"/>
                </a:moveTo>
                <a:cubicBezTo>
                  <a:pt x="5401086" y="3076607"/>
                  <a:pt x="5427737" y="3088035"/>
                  <a:pt x="5437255" y="3110894"/>
                </a:cubicBezTo>
                <a:cubicBezTo>
                  <a:pt x="5446773" y="3135660"/>
                  <a:pt x="5435351" y="3162329"/>
                  <a:pt x="5410604" y="3171854"/>
                </a:cubicBezTo>
                <a:cubicBezTo>
                  <a:pt x="5410604" y="3171854"/>
                  <a:pt x="5410604" y="3171854"/>
                  <a:pt x="5069849" y="3305199"/>
                </a:cubicBezTo>
                <a:cubicBezTo>
                  <a:pt x="5047007" y="3314722"/>
                  <a:pt x="5020359" y="3301389"/>
                  <a:pt x="5010842" y="3278532"/>
                </a:cubicBezTo>
                <a:cubicBezTo>
                  <a:pt x="5008938" y="3272817"/>
                  <a:pt x="5007035" y="3267100"/>
                  <a:pt x="5007035" y="3261388"/>
                </a:cubicBezTo>
                <a:cubicBezTo>
                  <a:pt x="5007035" y="3242335"/>
                  <a:pt x="5018456" y="3225192"/>
                  <a:pt x="5037491" y="3217574"/>
                </a:cubicBezTo>
                <a:cubicBezTo>
                  <a:pt x="5037491" y="3217574"/>
                  <a:pt x="5037491" y="3217574"/>
                  <a:pt x="5376340" y="3084226"/>
                </a:cubicBezTo>
                <a:close/>
                <a:moveTo>
                  <a:pt x="910964" y="3084210"/>
                </a:moveTo>
                <a:cubicBezTo>
                  <a:pt x="933807" y="3076591"/>
                  <a:pt x="960458" y="3088021"/>
                  <a:pt x="969977" y="3110879"/>
                </a:cubicBezTo>
                <a:cubicBezTo>
                  <a:pt x="979495" y="3135646"/>
                  <a:pt x="968073" y="3162315"/>
                  <a:pt x="945229" y="3171840"/>
                </a:cubicBezTo>
                <a:cubicBezTo>
                  <a:pt x="945229" y="3171840"/>
                  <a:pt x="945229" y="3171840"/>
                  <a:pt x="604476" y="3305187"/>
                </a:cubicBezTo>
                <a:cubicBezTo>
                  <a:pt x="579728" y="3314712"/>
                  <a:pt x="553077" y="3301377"/>
                  <a:pt x="543559" y="3278518"/>
                </a:cubicBezTo>
                <a:cubicBezTo>
                  <a:pt x="541655" y="3272803"/>
                  <a:pt x="539752" y="3267088"/>
                  <a:pt x="539752" y="3261374"/>
                </a:cubicBezTo>
                <a:cubicBezTo>
                  <a:pt x="539752" y="3242322"/>
                  <a:pt x="551174" y="3225178"/>
                  <a:pt x="570210" y="3217559"/>
                </a:cubicBezTo>
                <a:cubicBezTo>
                  <a:pt x="570210" y="3217559"/>
                  <a:pt x="570210" y="3217559"/>
                  <a:pt x="910964" y="3084210"/>
                </a:cubicBezTo>
                <a:close/>
                <a:moveTo>
                  <a:pt x="4845142" y="3075495"/>
                </a:moveTo>
                <a:cubicBezTo>
                  <a:pt x="4864343" y="3077015"/>
                  <a:pt x="4881136" y="3090605"/>
                  <a:pt x="4888280" y="3110635"/>
                </a:cubicBezTo>
                <a:cubicBezTo>
                  <a:pt x="4895899" y="3137344"/>
                  <a:pt x="4882564" y="3165956"/>
                  <a:pt x="4855887" y="3173587"/>
                </a:cubicBezTo>
                <a:cubicBezTo>
                  <a:pt x="4855887" y="3173587"/>
                  <a:pt x="4855887" y="3173587"/>
                  <a:pt x="4514895" y="3286137"/>
                </a:cubicBezTo>
                <a:cubicBezTo>
                  <a:pt x="4488224" y="3295674"/>
                  <a:pt x="4459649" y="3280415"/>
                  <a:pt x="4450123" y="3253707"/>
                </a:cubicBezTo>
                <a:cubicBezTo>
                  <a:pt x="4448218" y="3249892"/>
                  <a:pt x="4448218" y="3244167"/>
                  <a:pt x="4448218" y="3238443"/>
                </a:cubicBezTo>
                <a:cubicBezTo>
                  <a:pt x="4448218" y="3217462"/>
                  <a:pt x="4461553" y="3198385"/>
                  <a:pt x="4482509" y="3190757"/>
                </a:cubicBezTo>
                <a:cubicBezTo>
                  <a:pt x="4482509" y="3190757"/>
                  <a:pt x="4482509" y="3190757"/>
                  <a:pt x="4825402" y="3078206"/>
                </a:cubicBezTo>
                <a:cubicBezTo>
                  <a:pt x="4832070" y="3075822"/>
                  <a:pt x="4838739" y="3074988"/>
                  <a:pt x="4845142" y="3075495"/>
                </a:cubicBezTo>
                <a:close/>
                <a:moveTo>
                  <a:pt x="1479596" y="3075477"/>
                </a:moveTo>
                <a:cubicBezTo>
                  <a:pt x="1499228" y="3076996"/>
                  <a:pt x="1516718" y="3090589"/>
                  <a:pt x="1522429" y="3110619"/>
                </a:cubicBezTo>
                <a:cubicBezTo>
                  <a:pt x="1531947" y="3137326"/>
                  <a:pt x="1516718" y="3165940"/>
                  <a:pt x="1491970" y="3173573"/>
                </a:cubicBezTo>
                <a:cubicBezTo>
                  <a:pt x="1491970" y="3173573"/>
                  <a:pt x="1491970" y="3173573"/>
                  <a:pt x="1149308" y="3286122"/>
                </a:cubicBezTo>
                <a:cubicBezTo>
                  <a:pt x="1122656" y="3295661"/>
                  <a:pt x="1094101" y="3280401"/>
                  <a:pt x="1086486" y="3253693"/>
                </a:cubicBezTo>
                <a:cubicBezTo>
                  <a:pt x="1084582" y="3249877"/>
                  <a:pt x="1082679" y="3244153"/>
                  <a:pt x="1082679" y="3238431"/>
                </a:cubicBezTo>
                <a:cubicBezTo>
                  <a:pt x="1082679" y="3217446"/>
                  <a:pt x="1097908" y="3198371"/>
                  <a:pt x="1118849" y="3190741"/>
                </a:cubicBezTo>
                <a:cubicBezTo>
                  <a:pt x="1118849" y="3190741"/>
                  <a:pt x="1118849" y="3190741"/>
                  <a:pt x="1459607" y="3078189"/>
                </a:cubicBezTo>
                <a:cubicBezTo>
                  <a:pt x="1466270" y="3075805"/>
                  <a:pt x="1473052" y="3074970"/>
                  <a:pt x="1479596" y="3075477"/>
                </a:cubicBezTo>
                <a:close/>
                <a:moveTo>
                  <a:pt x="4290284" y="3070235"/>
                </a:moveTo>
                <a:cubicBezTo>
                  <a:pt x="4310719" y="3073178"/>
                  <a:pt x="4328210" y="3088158"/>
                  <a:pt x="4333922" y="3109556"/>
                </a:cubicBezTo>
                <a:cubicBezTo>
                  <a:pt x="4343439" y="3139992"/>
                  <a:pt x="4326306" y="3168522"/>
                  <a:pt x="4295845" y="3176127"/>
                </a:cubicBezTo>
                <a:cubicBezTo>
                  <a:pt x="4295845" y="3176127"/>
                  <a:pt x="4295845" y="3176127"/>
                  <a:pt x="3953197" y="3267431"/>
                </a:cubicBezTo>
                <a:cubicBezTo>
                  <a:pt x="3924642" y="3275041"/>
                  <a:pt x="3894183" y="3257921"/>
                  <a:pt x="3886567" y="3229387"/>
                </a:cubicBezTo>
                <a:cubicBezTo>
                  <a:pt x="3886567" y="3225583"/>
                  <a:pt x="3884664" y="3219877"/>
                  <a:pt x="3884664" y="3216076"/>
                </a:cubicBezTo>
                <a:cubicBezTo>
                  <a:pt x="3884664" y="3191346"/>
                  <a:pt x="3901798" y="3170425"/>
                  <a:pt x="3924642" y="3164719"/>
                </a:cubicBezTo>
                <a:cubicBezTo>
                  <a:pt x="3924642" y="3164719"/>
                  <a:pt x="3924642" y="3164719"/>
                  <a:pt x="4269194" y="3071515"/>
                </a:cubicBezTo>
                <a:cubicBezTo>
                  <a:pt x="4276332" y="3069612"/>
                  <a:pt x="4283472" y="3069256"/>
                  <a:pt x="4290284" y="3070235"/>
                </a:cubicBezTo>
                <a:close/>
                <a:moveTo>
                  <a:pt x="2036269" y="3070217"/>
                </a:moveTo>
                <a:cubicBezTo>
                  <a:pt x="2057258" y="3073159"/>
                  <a:pt x="2075832" y="3088139"/>
                  <a:pt x="2081548" y="3109537"/>
                </a:cubicBezTo>
                <a:cubicBezTo>
                  <a:pt x="2089168" y="3139971"/>
                  <a:pt x="2072023" y="3168504"/>
                  <a:pt x="2043443" y="3176111"/>
                </a:cubicBezTo>
                <a:cubicBezTo>
                  <a:pt x="2043443" y="3176111"/>
                  <a:pt x="2043443" y="3176111"/>
                  <a:pt x="1700538" y="3267414"/>
                </a:cubicBezTo>
                <a:cubicBezTo>
                  <a:pt x="1670058" y="3275023"/>
                  <a:pt x="1641482" y="3257903"/>
                  <a:pt x="1633862" y="3229371"/>
                </a:cubicBezTo>
                <a:cubicBezTo>
                  <a:pt x="1631957" y="3225567"/>
                  <a:pt x="1631957" y="3219860"/>
                  <a:pt x="1631957" y="3216056"/>
                </a:cubicBezTo>
                <a:cubicBezTo>
                  <a:pt x="1631957" y="3191330"/>
                  <a:pt x="1647198" y="3170406"/>
                  <a:pt x="1671963" y="3164700"/>
                </a:cubicBezTo>
                <a:cubicBezTo>
                  <a:pt x="1671963" y="3164700"/>
                  <a:pt x="1671963" y="3164700"/>
                  <a:pt x="2014867" y="3071495"/>
                </a:cubicBezTo>
                <a:cubicBezTo>
                  <a:pt x="2022011" y="3069593"/>
                  <a:pt x="2029274" y="3069235"/>
                  <a:pt x="2036269" y="3070217"/>
                </a:cubicBezTo>
                <a:close/>
                <a:moveTo>
                  <a:pt x="3731231" y="3064531"/>
                </a:moveTo>
                <a:cubicBezTo>
                  <a:pt x="3753036" y="3068647"/>
                  <a:pt x="3771624" y="3086176"/>
                  <a:pt x="3777343" y="3109072"/>
                </a:cubicBezTo>
                <a:cubicBezTo>
                  <a:pt x="3783062" y="3141509"/>
                  <a:pt x="3762092" y="3172037"/>
                  <a:pt x="3731589" y="3177762"/>
                </a:cubicBezTo>
                <a:cubicBezTo>
                  <a:pt x="3731589" y="3177762"/>
                  <a:pt x="3731589" y="3177762"/>
                  <a:pt x="3386557" y="3250263"/>
                </a:cubicBezTo>
                <a:cubicBezTo>
                  <a:pt x="3356055" y="3255990"/>
                  <a:pt x="3325554" y="3234997"/>
                  <a:pt x="3317928" y="3204472"/>
                </a:cubicBezTo>
                <a:cubicBezTo>
                  <a:pt x="3317928" y="3200656"/>
                  <a:pt x="3317928" y="3196839"/>
                  <a:pt x="3317928" y="3193023"/>
                </a:cubicBezTo>
                <a:cubicBezTo>
                  <a:pt x="3317928" y="3166312"/>
                  <a:pt x="3335085" y="3141509"/>
                  <a:pt x="3363681" y="3135786"/>
                </a:cubicBezTo>
                <a:cubicBezTo>
                  <a:pt x="3363681" y="3135786"/>
                  <a:pt x="3363681" y="3135786"/>
                  <a:pt x="3708711" y="3065187"/>
                </a:cubicBezTo>
                <a:cubicBezTo>
                  <a:pt x="3716336" y="3063280"/>
                  <a:pt x="3723963" y="3063162"/>
                  <a:pt x="3731231" y="3064531"/>
                </a:cubicBezTo>
                <a:close/>
                <a:moveTo>
                  <a:pt x="2597728" y="3064510"/>
                </a:moveTo>
                <a:cubicBezTo>
                  <a:pt x="2619532" y="3068625"/>
                  <a:pt x="2638119" y="3086155"/>
                  <a:pt x="2643838" y="3109051"/>
                </a:cubicBezTo>
                <a:cubicBezTo>
                  <a:pt x="2649557" y="3141488"/>
                  <a:pt x="2628587" y="3172016"/>
                  <a:pt x="2598086" y="3177742"/>
                </a:cubicBezTo>
                <a:cubicBezTo>
                  <a:pt x="2598086" y="3177742"/>
                  <a:pt x="2598086" y="3177742"/>
                  <a:pt x="2253042" y="3250246"/>
                </a:cubicBezTo>
                <a:cubicBezTo>
                  <a:pt x="2222541" y="3255971"/>
                  <a:pt x="2192040" y="3234980"/>
                  <a:pt x="2184414" y="3204454"/>
                </a:cubicBezTo>
                <a:cubicBezTo>
                  <a:pt x="2184414" y="3200638"/>
                  <a:pt x="2184414" y="3196822"/>
                  <a:pt x="2184414" y="3193005"/>
                </a:cubicBezTo>
                <a:cubicBezTo>
                  <a:pt x="2184414" y="3166294"/>
                  <a:pt x="2201571" y="3141488"/>
                  <a:pt x="2230166" y="3135765"/>
                </a:cubicBezTo>
                <a:cubicBezTo>
                  <a:pt x="2230166" y="3135765"/>
                  <a:pt x="2230166" y="3135765"/>
                  <a:pt x="2575210" y="3065166"/>
                </a:cubicBezTo>
                <a:cubicBezTo>
                  <a:pt x="2582837" y="3063257"/>
                  <a:pt x="2590461" y="3063137"/>
                  <a:pt x="2597728" y="3064510"/>
                </a:cubicBezTo>
                <a:close/>
                <a:moveTo>
                  <a:pt x="3139002" y="3058190"/>
                </a:moveTo>
                <a:cubicBezTo>
                  <a:pt x="3173224" y="3054380"/>
                  <a:pt x="3203641" y="3077240"/>
                  <a:pt x="3209344" y="3111529"/>
                </a:cubicBezTo>
                <a:cubicBezTo>
                  <a:pt x="3213145" y="3143914"/>
                  <a:pt x="3190332" y="3176299"/>
                  <a:pt x="3156112" y="3180110"/>
                </a:cubicBezTo>
                <a:cubicBezTo>
                  <a:pt x="3156112" y="3180110"/>
                  <a:pt x="3156112" y="3180110"/>
                  <a:pt x="2811996" y="3231537"/>
                </a:cubicBezTo>
                <a:cubicBezTo>
                  <a:pt x="2777776" y="3235349"/>
                  <a:pt x="2747356" y="3212495"/>
                  <a:pt x="2741653" y="3180110"/>
                </a:cubicBezTo>
                <a:cubicBezTo>
                  <a:pt x="2741653" y="3176299"/>
                  <a:pt x="2741653" y="3172487"/>
                  <a:pt x="2741653" y="3170583"/>
                </a:cubicBezTo>
                <a:cubicBezTo>
                  <a:pt x="2741653" y="3140106"/>
                  <a:pt x="2762567" y="3113436"/>
                  <a:pt x="2792985" y="3109626"/>
                </a:cubicBezTo>
                <a:cubicBezTo>
                  <a:pt x="2792985" y="3109626"/>
                  <a:pt x="2792985" y="3109626"/>
                  <a:pt x="3139002" y="3058190"/>
                </a:cubicBezTo>
                <a:close/>
                <a:moveTo>
                  <a:pt x="9858217" y="2803158"/>
                </a:moveTo>
                <a:cubicBezTo>
                  <a:pt x="9861796" y="2803398"/>
                  <a:pt x="9865135" y="2804823"/>
                  <a:pt x="9867044" y="2807683"/>
                </a:cubicBezTo>
                <a:cubicBezTo>
                  <a:pt x="9872769" y="2811493"/>
                  <a:pt x="9872769" y="2821017"/>
                  <a:pt x="9867044" y="2826731"/>
                </a:cubicBezTo>
                <a:cubicBezTo>
                  <a:pt x="9867044" y="2826731"/>
                  <a:pt x="9867044" y="2826731"/>
                  <a:pt x="9536890" y="3139152"/>
                </a:cubicBezTo>
                <a:cubicBezTo>
                  <a:pt x="9533073" y="3144866"/>
                  <a:pt x="9523531" y="3144866"/>
                  <a:pt x="9517806" y="3139152"/>
                </a:cubicBezTo>
                <a:cubicBezTo>
                  <a:pt x="9515897" y="3137247"/>
                  <a:pt x="9513989" y="3133436"/>
                  <a:pt x="9513989" y="3129628"/>
                </a:cubicBezTo>
                <a:cubicBezTo>
                  <a:pt x="9513989" y="3125817"/>
                  <a:pt x="9515897" y="3122007"/>
                  <a:pt x="9519714" y="3120101"/>
                </a:cubicBezTo>
                <a:cubicBezTo>
                  <a:pt x="9519714" y="3120101"/>
                  <a:pt x="9519714" y="3120101"/>
                  <a:pt x="9847960" y="2805777"/>
                </a:cubicBezTo>
                <a:cubicBezTo>
                  <a:pt x="9850823" y="2803873"/>
                  <a:pt x="9854639" y="2802920"/>
                  <a:pt x="9858217" y="2803158"/>
                </a:cubicBezTo>
                <a:close/>
                <a:moveTo>
                  <a:pt x="9280452" y="2798866"/>
                </a:moveTo>
                <a:cubicBezTo>
                  <a:pt x="9284961" y="2799103"/>
                  <a:pt x="9289232" y="2801005"/>
                  <a:pt x="9292080" y="2804804"/>
                </a:cubicBezTo>
                <a:cubicBezTo>
                  <a:pt x="9299674" y="2812401"/>
                  <a:pt x="9297776" y="2823797"/>
                  <a:pt x="9290182" y="2829495"/>
                </a:cubicBezTo>
                <a:cubicBezTo>
                  <a:pt x="9290182" y="2829495"/>
                  <a:pt x="9290182" y="2829495"/>
                  <a:pt x="8961745" y="3118217"/>
                </a:cubicBezTo>
                <a:cubicBezTo>
                  <a:pt x="8954151" y="3125817"/>
                  <a:pt x="8942760" y="3123917"/>
                  <a:pt x="8937064" y="3116319"/>
                </a:cubicBezTo>
                <a:cubicBezTo>
                  <a:pt x="8933267" y="3114420"/>
                  <a:pt x="8931369" y="3110621"/>
                  <a:pt x="8931369" y="3104922"/>
                </a:cubicBezTo>
                <a:cubicBezTo>
                  <a:pt x="8931369" y="3101123"/>
                  <a:pt x="8933267" y="3095423"/>
                  <a:pt x="8937064" y="3091625"/>
                </a:cubicBezTo>
                <a:cubicBezTo>
                  <a:pt x="8937064" y="3091625"/>
                  <a:pt x="8937064" y="3091625"/>
                  <a:pt x="9267400" y="2802904"/>
                </a:cubicBezTo>
                <a:cubicBezTo>
                  <a:pt x="9271197" y="2800052"/>
                  <a:pt x="9275943" y="2798628"/>
                  <a:pt x="9280452" y="2798866"/>
                </a:cubicBezTo>
                <a:close/>
                <a:moveTo>
                  <a:pt x="10442418" y="2798842"/>
                </a:moveTo>
                <a:cubicBezTo>
                  <a:pt x="10446950" y="2799079"/>
                  <a:pt x="10451243" y="2800979"/>
                  <a:pt x="10454106" y="2804777"/>
                </a:cubicBezTo>
                <a:cubicBezTo>
                  <a:pt x="10461739" y="2812377"/>
                  <a:pt x="10459831" y="2823773"/>
                  <a:pt x="10454106" y="2829471"/>
                </a:cubicBezTo>
                <a:cubicBezTo>
                  <a:pt x="10454106" y="2829471"/>
                  <a:pt x="10454106" y="2829471"/>
                  <a:pt x="10122059" y="3118194"/>
                </a:cubicBezTo>
                <a:cubicBezTo>
                  <a:pt x="10114425" y="3125793"/>
                  <a:pt x="10102976" y="3123893"/>
                  <a:pt x="10097251" y="3116295"/>
                </a:cubicBezTo>
                <a:cubicBezTo>
                  <a:pt x="10093434" y="3114396"/>
                  <a:pt x="10093434" y="3110597"/>
                  <a:pt x="10093434" y="3104898"/>
                </a:cubicBezTo>
                <a:cubicBezTo>
                  <a:pt x="10093434" y="3101099"/>
                  <a:pt x="10095342" y="3095400"/>
                  <a:pt x="10099159" y="3091603"/>
                </a:cubicBezTo>
                <a:cubicBezTo>
                  <a:pt x="10099159" y="3091603"/>
                  <a:pt x="10099159" y="3091603"/>
                  <a:pt x="10429298" y="2802878"/>
                </a:cubicBezTo>
                <a:cubicBezTo>
                  <a:pt x="10433114" y="2800029"/>
                  <a:pt x="10437885" y="2798605"/>
                  <a:pt x="10442418" y="2798842"/>
                </a:cubicBezTo>
                <a:close/>
                <a:moveTo>
                  <a:pt x="8710745" y="2792356"/>
                </a:moveTo>
                <a:cubicBezTo>
                  <a:pt x="8716231" y="2793069"/>
                  <a:pt x="8721479" y="2795921"/>
                  <a:pt x="8725295" y="2800675"/>
                </a:cubicBezTo>
                <a:cubicBezTo>
                  <a:pt x="8732928" y="2810181"/>
                  <a:pt x="8732928" y="2823488"/>
                  <a:pt x="8723387" y="2831093"/>
                </a:cubicBezTo>
                <a:cubicBezTo>
                  <a:pt x="8723387" y="2831093"/>
                  <a:pt x="8723387" y="2831093"/>
                  <a:pt x="8389446" y="3099164"/>
                </a:cubicBezTo>
                <a:cubicBezTo>
                  <a:pt x="8379905" y="3106766"/>
                  <a:pt x="8366547" y="3104865"/>
                  <a:pt x="8358914" y="3095358"/>
                </a:cubicBezTo>
                <a:cubicBezTo>
                  <a:pt x="8355098" y="3091559"/>
                  <a:pt x="8355098" y="3085855"/>
                  <a:pt x="8355098" y="3082053"/>
                </a:cubicBezTo>
                <a:cubicBezTo>
                  <a:pt x="8355098" y="3074447"/>
                  <a:pt x="8357006" y="3068744"/>
                  <a:pt x="8362731" y="3064941"/>
                </a:cubicBezTo>
                <a:cubicBezTo>
                  <a:pt x="8362731" y="3064941"/>
                  <a:pt x="8362731" y="3064941"/>
                  <a:pt x="8694763" y="2796872"/>
                </a:cubicBezTo>
                <a:cubicBezTo>
                  <a:pt x="8699534" y="2793069"/>
                  <a:pt x="8705258" y="2791642"/>
                  <a:pt x="8710745" y="2792356"/>
                </a:cubicBezTo>
                <a:close/>
                <a:moveTo>
                  <a:pt x="11020609" y="2792330"/>
                </a:moveTo>
                <a:cubicBezTo>
                  <a:pt x="11026090" y="2793043"/>
                  <a:pt x="11031333" y="2795895"/>
                  <a:pt x="11035146" y="2800648"/>
                </a:cubicBezTo>
                <a:cubicBezTo>
                  <a:pt x="11042773" y="2810154"/>
                  <a:pt x="11040866" y="2823462"/>
                  <a:pt x="11031333" y="2831067"/>
                </a:cubicBezTo>
                <a:cubicBezTo>
                  <a:pt x="11031333" y="2831067"/>
                  <a:pt x="11031333" y="2831067"/>
                  <a:pt x="10699581" y="3099136"/>
                </a:cubicBezTo>
                <a:cubicBezTo>
                  <a:pt x="10690048" y="3106741"/>
                  <a:pt x="10676701" y="3104840"/>
                  <a:pt x="10669075" y="3095334"/>
                </a:cubicBezTo>
                <a:cubicBezTo>
                  <a:pt x="10665262" y="3091531"/>
                  <a:pt x="10663355" y="3085827"/>
                  <a:pt x="10663355" y="3082025"/>
                </a:cubicBezTo>
                <a:cubicBezTo>
                  <a:pt x="10663355" y="3074421"/>
                  <a:pt x="10667168" y="3068717"/>
                  <a:pt x="10672888" y="3064914"/>
                </a:cubicBezTo>
                <a:cubicBezTo>
                  <a:pt x="10672888" y="3064914"/>
                  <a:pt x="10672888" y="3064914"/>
                  <a:pt x="11004641" y="2796846"/>
                </a:cubicBezTo>
                <a:cubicBezTo>
                  <a:pt x="11009408" y="2793043"/>
                  <a:pt x="11015127" y="2791618"/>
                  <a:pt x="11020609" y="2792330"/>
                </a:cubicBezTo>
                <a:close/>
                <a:moveTo>
                  <a:pt x="8147926" y="2787441"/>
                </a:moveTo>
                <a:cubicBezTo>
                  <a:pt x="8154593" y="2788630"/>
                  <a:pt x="8160785" y="2792440"/>
                  <a:pt x="8164595" y="2798157"/>
                </a:cubicBezTo>
                <a:cubicBezTo>
                  <a:pt x="8174120" y="2809588"/>
                  <a:pt x="8170310" y="2824828"/>
                  <a:pt x="8158880" y="2834352"/>
                </a:cubicBezTo>
                <a:cubicBezTo>
                  <a:pt x="8158880" y="2834352"/>
                  <a:pt x="8158880" y="2834352"/>
                  <a:pt x="7825500" y="3078192"/>
                </a:cubicBezTo>
                <a:cubicBezTo>
                  <a:pt x="7814070" y="3087718"/>
                  <a:pt x="7796925" y="3083908"/>
                  <a:pt x="7789305" y="3072478"/>
                </a:cubicBezTo>
                <a:cubicBezTo>
                  <a:pt x="7785495" y="3068667"/>
                  <a:pt x="7783590" y="3062951"/>
                  <a:pt x="7783590" y="3057236"/>
                </a:cubicBezTo>
                <a:cubicBezTo>
                  <a:pt x="7783590" y="3049615"/>
                  <a:pt x="7787400" y="3042001"/>
                  <a:pt x="7795020" y="3036282"/>
                </a:cubicBezTo>
                <a:cubicBezTo>
                  <a:pt x="7795020" y="3036282"/>
                  <a:pt x="7795020" y="3036282"/>
                  <a:pt x="8128399" y="2792440"/>
                </a:cubicBezTo>
                <a:cubicBezTo>
                  <a:pt x="8134114" y="2787678"/>
                  <a:pt x="8141258" y="2786250"/>
                  <a:pt x="8147926" y="2787441"/>
                </a:cubicBezTo>
                <a:close/>
                <a:moveTo>
                  <a:pt x="11592432" y="2787434"/>
                </a:moveTo>
                <a:cubicBezTo>
                  <a:pt x="11598867" y="2788622"/>
                  <a:pt x="11605063" y="2792433"/>
                  <a:pt x="11609830" y="2798149"/>
                </a:cubicBezTo>
                <a:cubicBezTo>
                  <a:pt x="11617456" y="2809579"/>
                  <a:pt x="11615549" y="2824818"/>
                  <a:pt x="11604110" y="2834343"/>
                </a:cubicBezTo>
                <a:cubicBezTo>
                  <a:pt x="11604110" y="2834343"/>
                  <a:pt x="11604110" y="2834343"/>
                  <a:pt x="11270458" y="3078185"/>
                </a:cubicBezTo>
                <a:cubicBezTo>
                  <a:pt x="11259018" y="3087709"/>
                  <a:pt x="11241859" y="3083900"/>
                  <a:pt x="11234233" y="3072469"/>
                </a:cubicBezTo>
                <a:cubicBezTo>
                  <a:pt x="11230420" y="3068661"/>
                  <a:pt x="11228513" y="3062943"/>
                  <a:pt x="11228513" y="3057229"/>
                </a:cubicBezTo>
                <a:cubicBezTo>
                  <a:pt x="11228513" y="3049607"/>
                  <a:pt x="11232326" y="3041990"/>
                  <a:pt x="11238046" y="3036275"/>
                </a:cubicBezTo>
                <a:cubicBezTo>
                  <a:pt x="11238046" y="3036275"/>
                  <a:pt x="11238046" y="3036275"/>
                  <a:pt x="11573605" y="2792433"/>
                </a:cubicBezTo>
                <a:cubicBezTo>
                  <a:pt x="11579325" y="2787671"/>
                  <a:pt x="11585998" y="2786243"/>
                  <a:pt x="11592432" y="2787434"/>
                </a:cubicBezTo>
                <a:close/>
                <a:moveTo>
                  <a:pt x="12139750" y="2786083"/>
                </a:moveTo>
                <a:cubicBezTo>
                  <a:pt x="12139750" y="2786083"/>
                  <a:pt x="12139750" y="2786083"/>
                  <a:pt x="12139750" y="2858148"/>
                </a:cubicBezTo>
                <a:cubicBezTo>
                  <a:pt x="12139750" y="2858148"/>
                  <a:pt x="12139750" y="2858148"/>
                  <a:pt x="11834946" y="3059175"/>
                </a:cubicBezTo>
                <a:cubicBezTo>
                  <a:pt x="11819705" y="3068658"/>
                  <a:pt x="11800655" y="3064864"/>
                  <a:pt x="11793035" y="3049691"/>
                </a:cubicBezTo>
                <a:cubicBezTo>
                  <a:pt x="11789225" y="3044001"/>
                  <a:pt x="11787320" y="3038313"/>
                  <a:pt x="11787320" y="3032623"/>
                </a:cubicBezTo>
                <a:cubicBezTo>
                  <a:pt x="11787320" y="3023143"/>
                  <a:pt x="11791130" y="3013660"/>
                  <a:pt x="11800655" y="3007970"/>
                </a:cubicBezTo>
                <a:lnTo>
                  <a:pt x="12135940" y="2787978"/>
                </a:lnTo>
                <a:cubicBezTo>
                  <a:pt x="12137845" y="2786083"/>
                  <a:pt x="12137845" y="2786083"/>
                  <a:pt x="12139750" y="2786083"/>
                </a:cubicBezTo>
                <a:close/>
                <a:moveTo>
                  <a:pt x="7592452" y="2782900"/>
                </a:moveTo>
                <a:cubicBezTo>
                  <a:pt x="7600072" y="2784326"/>
                  <a:pt x="7606740" y="2788595"/>
                  <a:pt x="7610550" y="2795241"/>
                </a:cubicBezTo>
                <a:cubicBezTo>
                  <a:pt x="7620075" y="2810434"/>
                  <a:pt x="7616265" y="2829420"/>
                  <a:pt x="7602930" y="2837016"/>
                </a:cubicBezTo>
                <a:cubicBezTo>
                  <a:pt x="7602930" y="2837016"/>
                  <a:pt x="7602930" y="2837016"/>
                  <a:pt x="7267645" y="3059173"/>
                </a:cubicBezTo>
                <a:cubicBezTo>
                  <a:pt x="7254310" y="3068667"/>
                  <a:pt x="7235260" y="3064869"/>
                  <a:pt x="7225735" y="3049680"/>
                </a:cubicBezTo>
                <a:cubicBezTo>
                  <a:pt x="7221925" y="3043982"/>
                  <a:pt x="7220020" y="3038288"/>
                  <a:pt x="7220020" y="3032591"/>
                </a:cubicBezTo>
                <a:cubicBezTo>
                  <a:pt x="7220020" y="3023099"/>
                  <a:pt x="7225735" y="3013604"/>
                  <a:pt x="7233355" y="3007907"/>
                </a:cubicBezTo>
                <a:cubicBezTo>
                  <a:pt x="7233355" y="3007907"/>
                  <a:pt x="7233355" y="3007907"/>
                  <a:pt x="7568639" y="2787648"/>
                </a:cubicBezTo>
                <a:cubicBezTo>
                  <a:pt x="7576259" y="2782900"/>
                  <a:pt x="7584832" y="2781476"/>
                  <a:pt x="7592452" y="2782900"/>
                </a:cubicBezTo>
                <a:close/>
                <a:moveTo>
                  <a:pt x="7041900" y="2777758"/>
                </a:moveTo>
                <a:cubicBezTo>
                  <a:pt x="7050473" y="2779901"/>
                  <a:pt x="7058093" y="2785138"/>
                  <a:pt x="7062856" y="2792757"/>
                </a:cubicBezTo>
                <a:cubicBezTo>
                  <a:pt x="7072381" y="2809907"/>
                  <a:pt x="7066666" y="2830858"/>
                  <a:pt x="7051425" y="2840384"/>
                </a:cubicBezTo>
                <a:cubicBezTo>
                  <a:pt x="7051425" y="2840384"/>
                  <a:pt x="7051425" y="2840384"/>
                  <a:pt x="6714236" y="3038503"/>
                </a:cubicBezTo>
                <a:cubicBezTo>
                  <a:pt x="6697090" y="3048026"/>
                  <a:pt x="6676135" y="3044222"/>
                  <a:pt x="6666610" y="3027077"/>
                </a:cubicBezTo>
                <a:cubicBezTo>
                  <a:pt x="6664705" y="3021361"/>
                  <a:pt x="6662800" y="3015647"/>
                  <a:pt x="6662800" y="3009931"/>
                </a:cubicBezTo>
                <a:cubicBezTo>
                  <a:pt x="6662800" y="2998500"/>
                  <a:pt x="6668515" y="2987069"/>
                  <a:pt x="6679945" y="2979450"/>
                </a:cubicBezTo>
                <a:cubicBezTo>
                  <a:pt x="6679945" y="2979450"/>
                  <a:pt x="6679945" y="2979450"/>
                  <a:pt x="7015230" y="2781330"/>
                </a:cubicBezTo>
                <a:cubicBezTo>
                  <a:pt x="7023803" y="2776567"/>
                  <a:pt x="7033328" y="2775616"/>
                  <a:pt x="7041900" y="2777758"/>
                </a:cubicBezTo>
                <a:close/>
                <a:moveTo>
                  <a:pt x="6499388" y="2774400"/>
                </a:moveTo>
                <a:cubicBezTo>
                  <a:pt x="6508668" y="2777482"/>
                  <a:pt x="6516758" y="2784126"/>
                  <a:pt x="6521517" y="2793615"/>
                </a:cubicBezTo>
                <a:cubicBezTo>
                  <a:pt x="6531035" y="2812596"/>
                  <a:pt x="6525324" y="2835373"/>
                  <a:pt x="6506288" y="2844865"/>
                </a:cubicBezTo>
                <a:cubicBezTo>
                  <a:pt x="6506288" y="2844865"/>
                  <a:pt x="6506288" y="2844865"/>
                  <a:pt x="6167449" y="3019490"/>
                </a:cubicBezTo>
                <a:cubicBezTo>
                  <a:pt x="6148414" y="3028982"/>
                  <a:pt x="6125570" y="3021389"/>
                  <a:pt x="6116053" y="3002408"/>
                </a:cubicBezTo>
                <a:cubicBezTo>
                  <a:pt x="6112245" y="2996712"/>
                  <a:pt x="6110342" y="2991020"/>
                  <a:pt x="6110342" y="2985324"/>
                </a:cubicBezTo>
                <a:cubicBezTo>
                  <a:pt x="6110342" y="2972039"/>
                  <a:pt x="6117956" y="2958751"/>
                  <a:pt x="6131281" y="2951160"/>
                </a:cubicBezTo>
                <a:cubicBezTo>
                  <a:pt x="6131281" y="2951160"/>
                  <a:pt x="6131281" y="2951160"/>
                  <a:pt x="6470120" y="2776533"/>
                </a:cubicBezTo>
                <a:cubicBezTo>
                  <a:pt x="6479638" y="2771788"/>
                  <a:pt x="6490107" y="2771312"/>
                  <a:pt x="6499388" y="2774400"/>
                </a:cubicBezTo>
                <a:close/>
                <a:moveTo>
                  <a:pt x="5959672" y="2769256"/>
                </a:moveTo>
                <a:cubicBezTo>
                  <a:pt x="5969941" y="2773062"/>
                  <a:pt x="5978538" y="2780669"/>
                  <a:pt x="5983314" y="2791133"/>
                </a:cubicBezTo>
                <a:cubicBezTo>
                  <a:pt x="5992867" y="2812061"/>
                  <a:pt x="5983314" y="2838698"/>
                  <a:pt x="5962297" y="2848210"/>
                </a:cubicBezTo>
                <a:cubicBezTo>
                  <a:pt x="5962297" y="2848210"/>
                  <a:pt x="5962297" y="2848210"/>
                  <a:pt x="5620299" y="3000418"/>
                </a:cubicBezTo>
                <a:cubicBezTo>
                  <a:pt x="5599283" y="3009931"/>
                  <a:pt x="5574446" y="3000418"/>
                  <a:pt x="5564892" y="2979489"/>
                </a:cubicBezTo>
                <a:cubicBezTo>
                  <a:pt x="5561071" y="2973783"/>
                  <a:pt x="5561071" y="2968075"/>
                  <a:pt x="5561071" y="2960466"/>
                </a:cubicBezTo>
                <a:cubicBezTo>
                  <a:pt x="5561071" y="2945244"/>
                  <a:pt x="5570624" y="2930022"/>
                  <a:pt x="5585909" y="2922412"/>
                </a:cubicBezTo>
                <a:cubicBezTo>
                  <a:pt x="5585909" y="2922412"/>
                  <a:pt x="5585909" y="2922412"/>
                  <a:pt x="5925996" y="2770208"/>
                </a:cubicBezTo>
                <a:cubicBezTo>
                  <a:pt x="5937461" y="2765450"/>
                  <a:pt x="5949401" y="2765450"/>
                  <a:pt x="5959672" y="2769256"/>
                </a:cubicBezTo>
                <a:close/>
                <a:moveTo>
                  <a:pt x="399603" y="2769241"/>
                </a:moveTo>
                <a:cubicBezTo>
                  <a:pt x="410073" y="2773046"/>
                  <a:pt x="419115" y="2780657"/>
                  <a:pt x="423874" y="2791121"/>
                </a:cubicBezTo>
                <a:cubicBezTo>
                  <a:pt x="433392" y="2812049"/>
                  <a:pt x="423874" y="2838685"/>
                  <a:pt x="401030" y="2848199"/>
                </a:cubicBezTo>
                <a:cubicBezTo>
                  <a:pt x="401030" y="2848199"/>
                  <a:pt x="401030" y="2848199"/>
                  <a:pt x="62187" y="3000404"/>
                </a:cubicBezTo>
                <a:cubicBezTo>
                  <a:pt x="41247" y="3009919"/>
                  <a:pt x="16500" y="3000404"/>
                  <a:pt x="6982" y="2979476"/>
                </a:cubicBezTo>
                <a:cubicBezTo>
                  <a:pt x="3175" y="2973768"/>
                  <a:pt x="3175" y="2968061"/>
                  <a:pt x="3175" y="2960451"/>
                </a:cubicBezTo>
                <a:cubicBezTo>
                  <a:pt x="3175" y="2945230"/>
                  <a:pt x="10789" y="2930010"/>
                  <a:pt x="27922" y="2922399"/>
                </a:cubicBezTo>
                <a:cubicBezTo>
                  <a:pt x="27922" y="2922399"/>
                  <a:pt x="27922" y="2922399"/>
                  <a:pt x="366765" y="2770194"/>
                </a:cubicBezTo>
                <a:cubicBezTo>
                  <a:pt x="377235" y="2765436"/>
                  <a:pt x="389133" y="2765436"/>
                  <a:pt x="399603" y="2769241"/>
                </a:cubicBezTo>
                <a:close/>
                <a:moveTo>
                  <a:pt x="5396029" y="2760546"/>
                </a:moveTo>
                <a:cubicBezTo>
                  <a:pt x="5414054" y="2760902"/>
                  <a:pt x="5431544" y="2771987"/>
                  <a:pt x="5437255" y="2790586"/>
                </a:cubicBezTo>
                <a:cubicBezTo>
                  <a:pt x="5446773" y="2815383"/>
                  <a:pt x="5435351" y="2842090"/>
                  <a:pt x="5410604" y="2851628"/>
                </a:cubicBezTo>
                <a:cubicBezTo>
                  <a:pt x="5410604" y="2851628"/>
                  <a:pt x="5410604" y="2851628"/>
                  <a:pt x="5069849" y="2981344"/>
                </a:cubicBezTo>
                <a:cubicBezTo>
                  <a:pt x="5045104" y="2990880"/>
                  <a:pt x="5018456" y="2977527"/>
                  <a:pt x="5008938" y="2954638"/>
                </a:cubicBezTo>
                <a:cubicBezTo>
                  <a:pt x="5007035" y="2948915"/>
                  <a:pt x="5007035" y="2943193"/>
                  <a:pt x="5007035" y="2937469"/>
                </a:cubicBezTo>
                <a:cubicBezTo>
                  <a:pt x="5007035" y="2918395"/>
                  <a:pt x="5018456" y="2899319"/>
                  <a:pt x="5037491" y="2893596"/>
                </a:cubicBezTo>
                <a:cubicBezTo>
                  <a:pt x="5037491" y="2893596"/>
                  <a:pt x="5037491" y="2893596"/>
                  <a:pt x="5378242" y="2763882"/>
                </a:cubicBezTo>
                <a:cubicBezTo>
                  <a:pt x="5383954" y="2761500"/>
                  <a:pt x="5390021" y="2760425"/>
                  <a:pt x="5396029" y="2760546"/>
                </a:cubicBezTo>
                <a:close/>
                <a:moveTo>
                  <a:pt x="930705" y="2760528"/>
                </a:moveTo>
                <a:cubicBezTo>
                  <a:pt x="949140" y="2760885"/>
                  <a:pt x="965965" y="2771973"/>
                  <a:pt x="973124" y="2790570"/>
                </a:cubicBezTo>
                <a:cubicBezTo>
                  <a:pt x="982670" y="2815369"/>
                  <a:pt x="969306" y="2842076"/>
                  <a:pt x="946396" y="2851614"/>
                </a:cubicBezTo>
                <a:cubicBezTo>
                  <a:pt x="946396" y="2851614"/>
                  <a:pt x="946396" y="2851614"/>
                  <a:pt x="604662" y="2981328"/>
                </a:cubicBezTo>
                <a:cubicBezTo>
                  <a:pt x="579843" y="2990867"/>
                  <a:pt x="551206" y="2977513"/>
                  <a:pt x="543570" y="2954621"/>
                </a:cubicBezTo>
                <a:cubicBezTo>
                  <a:pt x="541661" y="2948899"/>
                  <a:pt x="539752" y="2943177"/>
                  <a:pt x="539752" y="2937453"/>
                </a:cubicBezTo>
                <a:cubicBezTo>
                  <a:pt x="539752" y="2918379"/>
                  <a:pt x="551206" y="2899302"/>
                  <a:pt x="570298" y="2893580"/>
                </a:cubicBezTo>
                <a:cubicBezTo>
                  <a:pt x="570298" y="2893580"/>
                  <a:pt x="570298" y="2893580"/>
                  <a:pt x="912032" y="2763867"/>
                </a:cubicBezTo>
                <a:cubicBezTo>
                  <a:pt x="918237" y="2761484"/>
                  <a:pt x="924561" y="2760408"/>
                  <a:pt x="930705" y="2760528"/>
                </a:cubicBezTo>
                <a:close/>
                <a:moveTo>
                  <a:pt x="4845195" y="2755586"/>
                </a:moveTo>
                <a:cubicBezTo>
                  <a:pt x="4864905" y="2757905"/>
                  <a:pt x="4882742" y="2771456"/>
                  <a:pt x="4889878" y="2791428"/>
                </a:cubicBezTo>
                <a:cubicBezTo>
                  <a:pt x="4897489" y="2818061"/>
                  <a:pt x="4882267" y="2846596"/>
                  <a:pt x="4855629" y="2856106"/>
                </a:cubicBezTo>
                <a:cubicBezTo>
                  <a:pt x="4855629" y="2856106"/>
                  <a:pt x="4855629" y="2856106"/>
                  <a:pt x="4513213" y="2962635"/>
                </a:cubicBezTo>
                <a:cubicBezTo>
                  <a:pt x="4486582" y="2970243"/>
                  <a:pt x="4458045" y="2955024"/>
                  <a:pt x="4448534" y="2928394"/>
                </a:cubicBezTo>
                <a:cubicBezTo>
                  <a:pt x="4448534" y="2924590"/>
                  <a:pt x="4446631" y="2918884"/>
                  <a:pt x="4446631" y="2913176"/>
                </a:cubicBezTo>
                <a:cubicBezTo>
                  <a:pt x="4446631" y="2892251"/>
                  <a:pt x="4461851" y="2871325"/>
                  <a:pt x="4482778" y="2863715"/>
                </a:cubicBezTo>
                <a:cubicBezTo>
                  <a:pt x="4482778" y="2863715"/>
                  <a:pt x="4482778" y="2863715"/>
                  <a:pt x="4825187" y="2757192"/>
                </a:cubicBezTo>
                <a:cubicBezTo>
                  <a:pt x="4831848" y="2755287"/>
                  <a:pt x="4838625" y="2754812"/>
                  <a:pt x="4845195" y="2755586"/>
                </a:cubicBezTo>
                <a:close/>
                <a:moveTo>
                  <a:pt x="1482623" y="2755567"/>
                </a:moveTo>
                <a:cubicBezTo>
                  <a:pt x="1502310" y="2757887"/>
                  <a:pt x="1519850" y="2771439"/>
                  <a:pt x="1525577" y="2791412"/>
                </a:cubicBezTo>
                <a:cubicBezTo>
                  <a:pt x="1535122" y="2818044"/>
                  <a:pt x="1519850" y="2846577"/>
                  <a:pt x="1493123" y="2856090"/>
                </a:cubicBezTo>
                <a:cubicBezTo>
                  <a:pt x="1493123" y="2856090"/>
                  <a:pt x="1493123" y="2856090"/>
                  <a:pt x="1149495" y="2962617"/>
                </a:cubicBezTo>
                <a:cubicBezTo>
                  <a:pt x="1122769" y="2970225"/>
                  <a:pt x="1092224" y="2955007"/>
                  <a:pt x="1084588" y="2928375"/>
                </a:cubicBezTo>
                <a:cubicBezTo>
                  <a:pt x="1082679" y="2924571"/>
                  <a:pt x="1082679" y="2918864"/>
                  <a:pt x="1082679" y="2913158"/>
                </a:cubicBezTo>
                <a:cubicBezTo>
                  <a:pt x="1082679" y="2892232"/>
                  <a:pt x="1096042" y="2871308"/>
                  <a:pt x="1118950" y="2863698"/>
                </a:cubicBezTo>
                <a:cubicBezTo>
                  <a:pt x="1118950" y="2863698"/>
                  <a:pt x="1118950" y="2863698"/>
                  <a:pt x="1462578" y="2757173"/>
                </a:cubicBezTo>
                <a:cubicBezTo>
                  <a:pt x="1469260" y="2755270"/>
                  <a:pt x="1476061" y="2754795"/>
                  <a:pt x="1482623" y="2755567"/>
                </a:cubicBezTo>
                <a:close/>
                <a:moveTo>
                  <a:pt x="4291652" y="2750401"/>
                </a:moveTo>
                <a:cubicBezTo>
                  <a:pt x="4313336" y="2754252"/>
                  <a:pt x="4331542" y="2769659"/>
                  <a:pt x="4335825" y="2792587"/>
                </a:cubicBezTo>
                <a:cubicBezTo>
                  <a:pt x="4343439" y="2821252"/>
                  <a:pt x="4326306" y="2851825"/>
                  <a:pt x="4295845" y="2859470"/>
                </a:cubicBezTo>
                <a:cubicBezTo>
                  <a:pt x="4295845" y="2859470"/>
                  <a:pt x="4295845" y="2859470"/>
                  <a:pt x="3953197" y="2943550"/>
                </a:cubicBezTo>
                <a:cubicBezTo>
                  <a:pt x="3922737" y="2951195"/>
                  <a:pt x="3892278" y="2932085"/>
                  <a:pt x="3884664" y="2901512"/>
                </a:cubicBezTo>
                <a:cubicBezTo>
                  <a:pt x="3884664" y="2897690"/>
                  <a:pt x="3884664" y="2893868"/>
                  <a:pt x="3884664" y="2888136"/>
                </a:cubicBezTo>
                <a:cubicBezTo>
                  <a:pt x="3884664" y="2863292"/>
                  <a:pt x="3899893" y="2840361"/>
                  <a:pt x="3926546" y="2834629"/>
                </a:cubicBezTo>
                <a:cubicBezTo>
                  <a:pt x="3926546" y="2834629"/>
                  <a:pt x="3926546" y="2834629"/>
                  <a:pt x="4269194" y="2750551"/>
                </a:cubicBezTo>
                <a:cubicBezTo>
                  <a:pt x="4276809" y="2749117"/>
                  <a:pt x="4284423" y="2749117"/>
                  <a:pt x="4291652" y="2750401"/>
                </a:cubicBezTo>
                <a:close/>
                <a:moveTo>
                  <a:pt x="2037929" y="2750381"/>
                </a:moveTo>
                <a:cubicBezTo>
                  <a:pt x="2058890" y="2754232"/>
                  <a:pt x="2077438" y="2769638"/>
                  <a:pt x="2083145" y="2792570"/>
                </a:cubicBezTo>
                <a:cubicBezTo>
                  <a:pt x="2090755" y="2821233"/>
                  <a:pt x="2071730" y="2851807"/>
                  <a:pt x="2043190" y="2859451"/>
                </a:cubicBezTo>
                <a:cubicBezTo>
                  <a:pt x="2043190" y="2859451"/>
                  <a:pt x="2043190" y="2859451"/>
                  <a:pt x="1698856" y="2943529"/>
                </a:cubicBezTo>
                <a:cubicBezTo>
                  <a:pt x="1668417" y="2951173"/>
                  <a:pt x="1639881" y="2932065"/>
                  <a:pt x="1632272" y="2901491"/>
                </a:cubicBezTo>
                <a:cubicBezTo>
                  <a:pt x="1630369" y="2897669"/>
                  <a:pt x="1630369" y="2893847"/>
                  <a:pt x="1630369" y="2888114"/>
                </a:cubicBezTo>
                <a:cubicBezTo>
                  <a:pt x="1630369" y="2863273"/>
                  <a:pt x="1647491" y="2840342"/>
                  <a:pt x="1672222" y="2834609"/>
                </a:cubicBezTo>
                <a:cubicBezTo>
                  <a:pt x="1672222" y="2834609"/>
                  <a:pt x="1672222" y="2834609"/>
                  <a:pt x="2016556" y="2750531"/>
                </a:cubicBezTo>
                <a:cubicBezTo>
                  <a:pt x="2023690" y="2749098"/>
                  <a:pt x="2030943" y="2749098"/>
                  <a:pt x="2037929" y="2750381"/>
                </a:cubicBezTo>
                <a:close/>
                <a:moveTo>
                  <a:pt x="3710449" y="2745770"/>
                </a:moveTo>
                <a:cubicBezTo>
                  <a:pt x="3742792" y="2740056"/>
                  <a:pt x="3773233" y="2762916"/>
                  <a:pt x="3778943" y="2795297"/>
                </a:cubicBezTo>
                <a:cubicBezTo>
                  <a:pt x="3784650" y="2827683"/>
                  <a:pt x="3763720" y="2858165"/>
                  <a:pt x="3731376" y="2863880"/>
                </a:cubicBezTo>
                <a:cubicBezTo>
                  <a:pt x="3731376" y="2863880"/>
                  <a:pt x="3731376" y="2863880"/>
                  <a:pt x="3385145" y="2924842"/>
                </a:cubicBezTo>
                <a:cubicBezTo>
                  <a:pt x="3352800" y="2930556"/>
                  <a:pt x="3322363" y="2907696"/>
                  <a:pt x="3316655" y="2875310"/>
                </a:cubicBezTo>
                <a:cubicBezTo>
                  <a:pt x="3316655" y="2871500"/>
                  <a:pt x="3314753" y="2869595"/>
                  <a:pt x="3314753" y="2865784"/>
                </a:cubicBezTo>
                <a:cubicBezTo>
                  <a:pt x="3314753" y="2837207"/>
                  <a:pt x="3335679" y="2812444"/>
                  <a:pt x="3364218" y="2806729"/>
                </a:cubicBezTo>
                <a:cubicBezTo>
                  <a:pt x="3364218" y="2806729"/>
                  <a:pt x="3364218" y="2806729"/>
                  <a:pt x="3710449" y="2745770"/>
                </a:cubicBezTo>
                <a:close/>
                <a:moveTo>
                  <a:pt x="2576948" y="2745748"/>
                </a:moveTo>
                <a:cubicBezTo>
                  <a:pt x="2609290" y="2740033"/>
                  <a:pt x="2639729" y="2762892"/>
                  <a:pt x="2645436" y="2795278"/>
                </a:cubicBezTo>
                <a:cubicBezTo>
                  <a:pt x="2651144" y="2827662"/>
                  <a:pt x="2630217" y="2858143"/>
                  <a:pt x="2595973" y="2863857"/>
                </a:cubicBezTo>
                <a:cubicBezTo>
                  <a:pt x="2595973" y="2863857"/>
                  <a:pt x="2595973" y="2863857"/>
                  <a:pt x="2251629" y="2924818"/>
                </a:cubicBezTo>
                <a:cubicBezTo>
                  <a:pt x="2219287" y="2930533"/>
                  <a:pt x="2188848" y="2907673"/>
                  <a:pt x="2183141" y="2875287"/>
                </a:cubicBezTo>
                <a:cubicBezTo>
                  <a:pt x="2183141" y="2871478"/>
                  <a:pt x="2181238" y="2869573"/>
                  <a:pt x="2181238" y="2865763"/>
                </a:cubicBezTo>
                <a:cubicBezTo>
                  <a:pt x="2181238" y="2837188"/>
                  <a:pt x="2202166" y="2812423"/>
                  <a:pt x="2230702" y="2806708"/>
                </a:cubicBezTo>
                <a:cubicBezTo>
                  <a:pt x="2230702" y="2806708"/>
                  <a:pt x="2230702" y="2806708"/>
                  <a:pt x="2576948" y="2745748"/>
                </a:cubicBezTo>
                <a:close/>
                <a:moveTo>
                  <a:pt x="3140488" y="2739132"/>
                </a:moveTo>
                <a:cubicBezTo>
                  <a:pt x="3176662" y="2735294"/>
                  <a:pt x="3207121" y="2760241"/>
                  <a:pt x="3210926" y="2796698"/>
                </a:cubicBezTo>
                <a:cubicBezTo>
                  <a:pt x="3214735" y="2831239"/>
                  <a:pt x="3189988" y="2863862"/>
                  <a:pt x="3153818" y="2867700"/>
                </a:cubicBezTo>
                <a:cubicBezTo>
                  <a:pt x="3153818" y="2867700"/>
                  <a:pt x="3153818" y="2867700"/>
                  <a:pt x="2807329" y="2906081"/>
                </a:cubicBezTo>
                <a:cubicBezTo>
                  <a:pt x="2773061" y="2909920"/>
                  <a:pt x="2740696" y="2883053"/>
                  <a:pt x="2736893" y="2848510"/>
                </a:cubicBezTo>
                <a:cubicBezTo>
                  <a:pt x="2736893" y="2846591"/>
                  <a:pt x="2736893" y="2842753"/>
                  <a:pt x="2736893" y="2840833"/>
                </a:cubicBezTo>
                <a:cubicBezTo>
                  <a:pt x="2736893" y="2808213"/>
                  <a:pt x="2761639" y="2781347"/>
                  <a:pt x="2794003" y="2777510"/>
                </a:cubicBezTo>
                <a:cubicBezTo>
                  <a:pt x="2794003" y="2777510"/>
                  <a:pt x="2794003" y="2777510"/>
                  <a:pt x="3140488" y="2739132"/>
                </a:cubicBezTo>
                <a:close/>
                <a:moveTo>
                  <a:pt x="9848938" y="2478758"/>
                </a:moveTo>
                <a:cubicBezTo>
                  <a:pt x="9852752" y="2474949"/>
                  <a:pt x="9860379" y="2474949"/>
                  <a:pt x="9864192" y="2478758"/>
                </a:cubicBezTo>
                <a:cubicBezTo>
                  <a:pt x="9868006" y="2484475"/>
                  <a:pt x="9868006" y="2490192"/>
                  <a:pt x="9864192" y="2494003"/>
                </a:cubicBezTo>
                <a:cubicBezTo>
                  <a:pt x="9864192" y="2494003"/>
                  <a:pt x="9864192" y="2494003"/>
                  <a:pt x="9536232" y="2823558"/>
                </a:cubicBezTo>
                <a:cubicBezTo>
                  <a:pt x="9532418" y="2827364"/>
                  <a:pt x="9524791" y="2827364"/>
                  <a:pt x="9520978" y="2823558"/>
                </a:cubicBezTo>
                <a:cubicBezTo>
                  <a:pt x="9519071" y="2819745"/>
                  <a:pt x="9517164" y="2817842"/>
                  <a:pt x="9517164" y="2815937"/>
                </a:cubicBezTo>
                <a:cubicBezTo>
                  <a:pt x="9517164" y="2812126"/>
                  <a:pt x="9519071" y="2810223"/>
                  <a:pt x="9520978" y="2808317"/>
                </a:cubicBezTo>
                <a:cubicBezTo>
                  <a:pt x="9520978" y="2808317"/>
                  <a:pt x="9520978" y="2808317"/>
                  <a:pt x="9848938" y="2478758"/>
                </a:cubicBezTo>
                <a:close/>
                <a:moveTo>
                  <a:pt x="9280068" y="2470987"/>
                </a:moveTo>
                <a:cubicBezTo>
                  <a:pt x="9284116" y="2471465"/>
                  <a:pt x="9287926" y="2473375"/>
                  <a:pt x="9290784" y="2476239"/>
                </a:cubicBezTo>
                <a:cubicBezTo>
                  <a:pt x="9296499" y="2481973"/>
                  <a:pt x="9296499" y="2491525"/>
                  <a:pt x="9288879" y="2497260"/>
                </a:cubicBezTo>
                <a:cubicBezTo>
                  <a:pt x="9288879" y="2497260"/>
                  <a:pt x="9288879" y="2497260"/>
                  <a:pt x="8959309" y="2800997"/>
                </a:cubicBezTo>
                <a:cubicBezTo>
                  <a:pt x="8953594" y="2806729"/>
                  <a:pt x="8944069" y="2806729"/>
                  <a:pt x="8938354" y="2800997"/>
                </a:cubicBezTo>
                <a:cubicBezTo>
                  <a:pt x="8934544" y="2797177"/>
                  <a:pt x="8934544" y="2793354"/>
                  <a:pt x="8934544" y="2789535"/>
                </a:cubicBezTo>
                <a:cubicBezTo>
                  <a:pt x="8934544" y="2785714"/>
                  <a:pt x="8936449" y="2781895"/>
                  <a:pt x="8938354" y="2778073"/>
                </a:cubicBezTo>
                <a:cubicBezTo>
                  <a:pt x="8938354" y="2778073"/>
                  <a:pt x="8938354" y="2778073"/>
                  <a:pt x="9267924" y="2474329"/>
                </a:cubicBezTo>
                <a:cubicBezTo>
                  <a:pt x="9271734" y="2471465"/>
                  <a:pt x="9276020" y="2470511"/>
                  <a:pt x="9280068" y="2470987"/>
                </a:cubicBezTo>
                <a:close/>
                <a:moveTo>
                  <a:pt x="10440785" y="2470956"/>
                </a:moveTo>
                <a:cubicBezTo>
                  <a:pt x="10444594" y="2471432"/>
                  <a:pt x="10448404" y="2473343"/>
                  <a:pt x="10451262" y="2476209"/>
                </a:cubicBezTo>
                <a:cubicBezTo>
                  <a:pt x="10456977" y="2481941"/>
                  <a:pt x="10456977" y="2491493"/>
                  <a:pt x="10451262" y="2497223"/>
                </a:cubicBezTo>
                <a:cubicBezTo>
                  <a:pt x="10451262" y="2497223"/>
                  <a:pt x="10451262" y="2497223"/>
                  <a:pt x="10121692" y="2800974"/>
                </a:cubicBezTo>
                <a:cubicBezTo>
                  <a:pt x="10114072" y="2806705"/>
                  <a:pt x="10104547" y="2806705"/>
                  <a:pt x="10098832" y="2800974"/>
                </a:cubicBezTo>
                <a:cubicBezTo>
                  <a:pt x="10096927" y="2797153"/>
                  <a:pt x="10095022" y="2793332"/>
                  <a:pt x="10095022" y="2789511"/>
                </a:cubicBezTo>
                <a:cubicBezTo>
                  <a:pt x="10095022" y="2785690"/>
                  <a:pt x="10096927" y="2781870"/>
                  <a:pt x="10100737" y="2778049"/>
                </a:cubicBezTo>
                <a:cubicBezTo>
                  <a:pt x="10100737" y="2778049"/>
                  <a:pt x="10100737" y="2778049"/>
                  <a:pt x="10430307" y="2474298"/>
                </a:cubicBezTo>
                <a:cubicBezTo>
                  <a:pt x="10433164" y="2471432"/>
                  <a:pt x="10436974" y="2470479"/>
                  <a:pt x="10440785" y="2470956"/>
                </a:cubicBezTo>
                <a:close/>
                <a:moveTo>
                  <a:pt x="8710792" y="2467329"/>
                </a:moveTo>
                <a:cubicBezTo>
                  <a:pt x="8716049" y="2467808"/>
                  <a:pt x="8720828" y="2470190"/>
                  <a:pt x="8723695" y="2474959"/>
                </a:cubicBezTo>
                <a:cubicBezTo>
                  <a:pt x="8731341" y="2482590"/>
                  <a:pt x="8729430" y="2495938"/>
                  <a:pt x="8721783" y="2501658"/>
                </a:cubicBezTo>
                <a:cubicBezTo>
                  <a:pt x="8721783" y="2501658"/>
                  <a:pt x="8721783" y="2501658"/>
                  <a:pt x="8389182" y="2780051"/>
                </a:cubicBezTo>
                <a:cubicBezTo>
                  <a:pt x="8381536" y="2787678"/>
                  <a:pt x="8368155" y="2785771"/>
                  <a:pt x="8360509" y="2778145"/>
                </a:cubicBezTo>
                <a:cubicBezTo>
                  <a:pt x="8358598" y="2774333"/>
                  <a:pt x="8356686" y="2768612"/>
                  <a:pt x="8356686" y="2764800"/>
                </a:cubicBezTo>
                <a:cubicBezTo>
                  <a:pt x="8356686" y="2759078"/>
                  <a:pt x="8358598" y="2753357"/>
                  <a:pt x="8364332" y="2749541"/>
                </a:cubicBezTo>
                <a:cubicBezTo>
                  <a:pt x="8364332" y="2749541"/>
                  <a:pt x="8364332" y="2749541"/>
                  <a:pt x="8695022" y="2471144"/>
                </a:cubicBezTo>
                <a:cubicBezTo>
                  <a:pt x="8699801" y="2468282"/>
                  <a:pt x="8705536" y="2466854"/>
                  <a:pt x="8710792" y="2467329"/>
                </a:cubicBezTo>
                <a:close/>
                <a:moveTo>
                  <a:pt x="11018422" y="2467296"/>
                </a:moveTo>
                <a:cubicBezTo>
                  <a:pt x="11023419" y="2467773"/>
                  <a:pt x="11028178" y="2470157"/>
                  <a:pt x="11031984" y="2474925"/>
                </a:cubicBezTo>
                <a:cubicBezTo>
                  <a:pt x="11039598" y="2482552"/>
                  <a:pt x="11037695" y="2495900"/>
                  <a:pt x="11030081" y="2501621"/>
                </a:cubicBezTo>
                <a:cubicBezTo>
                  <a:pt x="11030081" y="2501621"/>
                  <a:pt x="11030081" y="2501621"/>
                  <a:pt x="10698888" y="2780026"/>
                </a:cubicBezTo>
                <a:cubicBezTo>
                  <a:pt x="10689371" y="2787653"/>
                  <a:pt x="10677950" y="2785745"/>
                  <a:pt x="10670337" y="2778118"/>
                </a:cubicBezTo>
                <a:cubicBezTo>
                  <a:pt x="10666530" y="2774304"/>
                  <a:pt x="10666530" y="2768584"/>
                  <a:pt x="10666530" y="2764770"/>
                </a:cubicBezTo>
                <a:cubicBezTo>
                  <a:pt x="10666530" y="2759049"/>
                  <a:pt x="10668433" y="2753329"/>
                  <a:pt x="10672240" y="2749515"/>
                </a:cubicBezTo>
                <a:cubicBezTo>
                  <a:pt x="10672240" y="2749515"/>
                  <a:pt x="10672240" y="2749515"/>
                  <a:pt x="11003433" y="2471111"/>
                </a:cubicBezTo>
                <a:cubicBezTo>
                  <a:pt x="11008191" y="2468250"/>
                  <a:pt x="11013426" y="2466820"/>
                  <a:pt x="11018422" y="2467296"/>
                </a:cubicBezTo>
                <a:close/>
                <a:moveTo>
                  <a:pt x="8147250" y="2462181"/>
                </a:moveTo>
                <a:cubicBezTo>
                  <a:pt x="8153451" y="2462897"/>
                  <a:pt x="8159176" y="2465768"/>
                  <a:pt x="8162992" y="2470551"/>
                </a:cubicBezTo>
                <a:cubicBezTo>
                  <a:pt x="8172533" y="2482029"/>
                  <a:pt x="8170625" y="2497337"/>
                  <a:pt x="8159176" y="2506900"/>
                </a:cubicBezTo>
                <a:cubicBezTo>
                  <a:pt x="8159176" y="2506900"/>
                  <a:pt x="8159176" y="2506900"/>
                  <a:pt x="7825249" y="2759395"/>
                </a:cubicBezTo>
                <a:cubicBezTo>
                  <a:pt x="7813800" y="2767042"/>
                  <a:pt x="7798535" y="2765130"/>
                  <a:pt x="7790902" y="2755567"/>
                </a:cubicBezTo>
                <a:cubicBezTo>
                  <a:pt x="7787086" y="2749827"/>
                  <a:pt x="7785178" y="2746001"/>
                  <a:pt x="7785178" y="2740262"/>
                </a:cubicBezTo>
                <a:cubicBezTo>
                  <a:pt x="7785178" y="2732609"/>
                  <a:pt x="7788994" y="2724958"/>
                  <a:pt x="7794719" y="2719221"/>
                </a:cubicBezTo>
                <a:cubicBezTo>
                  <a:pt x="7794719" y="2719221"/>
                  <a:pt x="7794719" y="2719221"/>
                  <a:pt x="8128645" y="2466726"/>
                </a:cubicBezTo>
                <a:cubicBezTo>
                  <a:pt x="8134370" y="2462897"/>
                  <a:pt x="8141048" y="2461462"/>
                  <a:pt x="8147250" y="2462181"/>
                </a:cubicBezTo>
                <a:close/>
                <a:moveTo>
                  <a:pt x="11591857" y="2462171"/>
                </a:moveTo>
                <a:cubicBezTo>
                  <a:pt x="11598275" y="2462887"/>
                  <a:pt x="11604456" y="2465756"/>
                  <a:pt x="11608260" y="2470542"/>
                </a:cubicBezTo>
                <a:cubicBezTo>
                  <a:pt x="11615868" y="2482017"/>
                  <a:pt x="11613966" y="2497323"/>
                  <a:pt x="11602555" y="2506889"/>
                </a:cubicBezTo>
                <a:cubicBezTo>
                  <a:pt x="11602555" y="2506889"/>
                  <a:pt x="11602555" y="2506889"/>
                  <a:pt x="11271628" y="2759383"/>
                </a:cubicBezTo>
                <a:cubicBezTo>
                  <a:pt x="11260216" y="2767032"/>
                  <a:pt x="11245001" y="2765122"/>
                  <a:pt x="11235492" y="2755558"/>
                </a:cubicBezTo>
                <a:cubicBezTo>
                  <a:pt x="11233590" y="2749817"/>
                  <a:pt x="11231688" y="2745991"/>
                  <a:pt x="11231688" y="2740254"/>
                </a:cubicBezTo>
                <a:cubicBezTo>
                  <a:pt x="11231688" y="2732602"/>
                  <a:pt x="11235492" y="2724949"/>
                  <a:pt x="11241197" y="2719210"/>
                </a:cubicBezTo>
                <a:cubicBezTo>
                  <a:pt x="11241197" y="2719210"/>
                  <a:pt x="11241197" y="2719210"/>
                  <a:pt x="11574027" y="2466717"/>
                </a:cubicBezTo>
                <a:cubicBezTo>
                  <a:pt x="11578781" y="2462887"/>
                  <a:pt x="11585438" y="2461453"/>
                  <a:pt x="11591857" y="2462171"/>
                </a:cubicBezTo>
                <a:close/>
                <a:moveTo>
                  <a:pt x="7591001" y="2459079"/>
                </a:moveTo>
                <a:cubicBezTo>
                  <a:pt x="7598627" y="2460506"/>
                  <a:pt x="7605777" y="2464798"/>
                  <a:pt x="7610543" y="2471476"/>
                </a:cubicBezTo>
                <a:cubicBezTo>
                  <a:pt x="7620076" y="2484828"/>
                  <a:pt x="7616263" y="2501993"/>
                  <a:pt x="7602917" y="2511529"/>
                </a:cubicBezTo>
                <a:cubicBezTo>
                  <a:pt x="7602917" y="2511529"/>
                  <a:pt x="7602917" y="2511529"/>
                  <a:pt x="7267365" y="2738458"/>
                </a:cubicBezTo>
                <a:cubicBezTo>
                  <a:pt x="7254019" y="2747994"/>
                  <a:pt x="7234954" y="2744181"/>
                  <a:pt x="7227327" y="2730832"/>
                </a:cubicBezTo>
                <a:cubicBezTo>
                  <a:pt x="7223514" y="2727017"/>
                  <a:pt x="7221608" y="2721294"/>
                  <a:pt x="7221608" y="2715570"/>
                </a:cubicBezTo>
                <a:cubicBezTo>
                  <a:pt x="7221608" y="2706035"/>
                  <a:pt x="7225421" y="2696499"/>
                  <a:pt x="7234954" y="2690775"/>
                </a:cubicBezTo>
                <a:cubicBezTo>
                  <a:pt x="7234954" y="2690775"/>
                  <a:pt x="7234954" y="2690775"/>
                  <a:pt x="7568599" y="2463845"/>
                </a:cubicBezTo>
                <a:cubicBezTo>
                  <a:pt x="7575272" y="2459079"/>
                  <a:pt x="7583375" y="2457648"/>
                  <a:pt x="7591001" y="2459079"/>
                </a:cubicBezTo>
                <a:close/>
                <a:moveTo>
                  <a:pt x="12139750" y="2459059"/>
                </a:moveTo>
                <a:cubicBezTo>
                  <a:pt x="12139750" y="2459059"/>
                  <a:pt x="12139750" y="2459059"/>
                  <a:pt x="12139750" y="2529860"/>
                </a:cubicBezTo>
                <a:cubicBezTo>
                  <a:pt x="12139750" y="2529860"/>
                  <a:pt x="12139750" y="2529860"/>
                  <a:pt x="11834670" y="2738414"/>
                </a:cubicBezTo>
                <a:cubicBezTo>
                  <a:pt x="11821323" y="2747982"/>
                  <a:pt x="11802255" y="2744155"/>
                  <a:pt x="11792722" y="2730760"/>
                </a:cubicBezTo>
                <a:cubicBezTo>
                  <a:pt x="11788908" y="2726934"/>
                  <a:pt x="11788908" y="2721194"/>
                  <a:pt x="11788908" y="2715453"/>
                </a:cubicBezTo>
                <a:cubicBezTo>
                  <a:pt x="11788908" y="2705886"/>
                  <a:pt x="11792722" y="2696317"/>
                  <a:pt x="11800348" y="2690576"/>
                </a:cubicBezTo>
                <a:lnTo>
                  <a:pt x="12135936" y="2462887"/>
                </a:lnTo>
                <a:cubicBezTo>
                  <a:pt x="12137843" y="2460973"/>
                  <a:pt x="12137843" y="2460973"/>
                  <a:pt x="12139750" y="2459059"/>
                </a:cubicBezTo>
                <a:close/>
                <a:moveTo>
                  <a:pt x="7041900" y="2453933"/>
                </a:moveTo>
                <a:cubicBezTo>
                  <a:pt x="7050473" y="2456082"/>
                  <a:pt x="7058093" y="2461341"/>
                  <a:pt x="7062856" y="2468988"/>
                </a:cubicBezTo>
                <a:cubicBezTo>
                  <a:pt x="7072381" y="2486193"/>
                  <a:pt x="7066666" y="2507224"/>
                  <a:pt x="7051425" y="2516781"/>
                </a:cubicBezTo>
                <a:cubicBezTo>
                  <a:pt x="7051425" y="2516781"/>
                  <a:pt x="7051425" y="2516781"/>
                  <a:pt x="6714236" y="2719384"/>
                </a:cubicBezTo>
                <a:cubicBezTo>
                  <a:pt x="6698995" y="2728943"/>
                  <a:pt x="6678040" y="2723208"/>
                  <a:pt x="6668515" y="2706003"/>
                </a:cubicBezTo>
                <a:cubicBezTo>
                  <a:pt x="6664705" y="2702180"/>
                  <a:pt x="6662800" y="2694533"/>
                  <a:pt x="6662800" y="2688796"/>
                </a:cubicBezTo>
                <a:cubicBezTo>
                  <a:pt x="6662800" y="2677328"/>
                  <a:pt x="6668515" y="2665857"/>
                  <a:pt x="6679945" y="2660125"/>
                </a:cubicBezTo>
                <a:cubicBezTo>
                  <a:pt x="6679945" y="2660125"/>
                  <a:pt x="6679945" y="2660125"/>
                  <a:pt x="7015230" y="2457516"/>
                </a:cubicBezTo>
                <a:cubicBezTo>
                  <a:pt x="7023803" y="2452738"/>
                  <a:pt x="7033328" y="2451782"/>
                  <a:pt x="7041900" y="2453933"/>
                </a:cubicBezTo>
                <a:close/>
                <a:moveTo>
                  <a:pt x="6499365" y="2450542"/>
                </a:moveTo>
                <a:cubicBezTo>
                  <a:pt x="6508652" y="2453622"/>
                  <a:pt x="6516748" y="2460259"/>
                  <a:pt x="6521511" y="2469741"/>
                </a:cubicBezTo>
                <a:cubicBezTo>
                  <a:pt x="6531036" y="2488701"/>
                  <a:pt x="6523416" y="2511455"/>
                  <a:pt x="6506270" y="2520932"/>
                </a:cubicBezTo>
                <a:cubicBezTo>
                  <a:pt x="6506270" y="2520932"/>
                  <a:pt x="6506270" y="2520932"/>
                  <a:pt x="6167176" y="2697234"/>
                </a:cubicBezTo>
                <a:cubicBezTo>
                  <a:pt x="6148125" y="2706713"/>
                  <a:pt x="6125265" y="2699130"/>
                  <a:pt x="6115740" y="2680171"/>
                </a:cubicBezTo>
                <a:cubicBezTo>
                  <a:pt x="6111930" y="2674481"/>
                  <a:pt x="6111930" y="2668794"/>
                  <a:pt x="6111930" y="2663105"/>
                </a:cubicBezTo>
                <a:cubicBezTo>
                  <a:pt x="6111930" y="2649838"/>
                  <a:pt x="6119550" y="2636568"/>
                  <a:pt x="6130980" y="2628984"/>
                </a:cubicBezTo>
                <a:cubicBezTo>
                  <a:pt x="6130980" y="2628984"/>
                  <a:pt x="6130980" y="2628984"/>
                  <a:pt x="6470075" y="2452675"/>
                </a:cubicBezTo>
                <a:cubicBezTo>
                  <a:pt x="6479600" y="2447935"/>
                  <a:pt x="6490078" y="2447460"/>
                  <a:pt x="6499365" y="2450542"/>
                </a:cubicBezTo>
                <a:close/>
                <a:moveTo>
                  <a:pt x="5959672" y="2446994"/>
                </a:moveTo>
                <a:cubicBezTo>
                  <a:pt x="5969941" y="2450800"/>
                  <a:pt x="5978538" y="2458411"/>
                  <a:pt x="5983314" y="2468881"/>
                </a:cubicBezTo>
                <a:cubicBezTo>
                  <a:pt x="5992867" y="2491713"/>
                  <a:pt x="5983314" y="2516446"/>
                  <a:pt x="5962297" y="2525960"/>
                </a:cubicBezTo>
                <a:cubicBezTo>
                  <a:pt x="5962297" y="2525960"/>
                  <a:pt x="5962297" y="2525960"/>
                  <a:pt x="5620299" y="2676247"/>
                </a:cubicBezTo>
                <a:cubicBezTo>
                  <a:pt x="5599283" y="2687664"/>
                  <a:pt x="5574446" y="2676247"/>
                  <a:pt x="5564892" y="2655321"/>
                </a:cubicBezTo>
                <a:cubicBezTo>
                  <a:pt x="5561071" y="2649614"/>
                  <a:pt x="5561071" y="2643905"/>
                  <a:pt x="5561071" y="2638199"/>
                </a:cubicBezTo>
                <a:cubicBezTo>
                  <a:pt x="5561071" y="2621077"/>
                  <a:pt x="5570624" y="2605858"/>
                  <a:pt x="5585909" y="2598249"/>
                </a:cubicBezTo>
                <a:cubicBezTo>
                  <a:pt x="5585909" y="2598249"/>
                  <a:pt x="5585909" y="2598249"/>
                  <a:pt x="5925996" y="2447945"/>
                </a:cubicBezTo>
                <a:cubicBezTo>
                  <a:pt x="5937461" y="2443189"/>
                  <a:pt x="5949401" y="2443189"/>
                  <a:pt x="5959672" y="2446994"/>
                </a:cubicBezTo>
                <a:close/>
                <a:moveTo>
                  <a:pt x="399503" y="2446979"/>
                </a:moveTo>
                <a:cubicBezTo>
                  <a:pt x="410004" y="2450785"/>
                  <a:pt x="419073" y="2458395"/>
                  <a:pt x="423846" y="2468864"/>
                </a:cubicBezTo>
                <a:cubicBezTo>
                  <a:pt x="433392" y="2491693"/>
                  <a:pt x="423846" y="2516427"/>
                  <a:pt x="400935" y="2525942"/>
                </a:cubicBezTo>
                <a:cubicBezTo>
                  <a:pt x="400935" y="2525942"/>
                  <a:pt x="400935" y="2525942"/>
                  <a:pt x="61095" y="2676238"/>
                </a:cubicBezTo>
                <a:cubicBezTo>
                  <a:pt x="40093" y="2687652"/>
                  <a:pt x="13364" y="2676238"/>
                  <a:pt x="3818" y="2655311"/>
                </a:cubicBezTo>
                <a:cubicBezTo>
                  <a:pt x="1909" y="2649602"/>
                  <a:pt x="0" y="2643892"/>
                  <a:pt x="0" y="2638187"/>
                </a:cubicBezTo>
                <a:cubicBezTo>
                  <a:pt x="0" y="2621063"/>
                  <a:pt x="9546" y="2605844"/>
                  <a:pt x="26729" y="2598233"/>
                </a:cubicBezTo>
                <a:cubicBezTo>
                  <a:pt x="26729" y="2598233"/>
                  <a:pt x="26729" y="2598233"/>
                  <a:pt x="366569" y="2447930"/>
                </a:cubicBezTo>
                <a:cubicBezTo>
                  <a:pt x="377070" y="2443174"/>
                  <a:pt x="389002" y="2443174"/>
                  <a:pt x="399503" y="2446979"/>
                </a:cubicBezTo>
                <a:close/>
                <a:moveTo>
                  <a:pt x="5396620" y="2440131"/>
                </a:moveTo>
                <a:cubicBezTo>
                  <a:pt x="5414975" y="2441021"/>
                  <a:pt x="5431728" y="2453117"/>
                  <a:pt x="5438856" y="2471621"/>
                </a:cubicBezTo>
                <a:cubicBezTo>
                  <a:pt x="5448360" y="2496287"/>
                  <a:pt x="5435054" y="2522847"/>
                  <a:pt x="5410341" y="2532340"/>
                </a:cubicBezTo>
                <a:cubicBezTo>
                  <a:pt x="5410341" y="2532340"/>
                  <a:pt x="5410341" y="2532340"/>
                  <a:pt x="5070072" y="2657538"/>
                </a:cubicBezTo>
                <a:cubicBezTo>
                  <a:pt x="5045363" y="2667023"/>
                  <a:pt x="5018753" y="2653744"/>
                  <a:pt x="5009250" y="2629084"/>
                </a:cubicBezTo>
                <a:cubicBezTo>
                  <a:pt x="5007348" y="2623393"/>
                  <a:pt x="5005447" y="2617701"/>
                  <a:pt x="5005447" y="2613907"/>
                </a:cubicBezTo>
                <a:cubicBezTo>
                  <a:pt x="5005447" y="2593040"/>
                  <a:pt x="5018753" y="2575971"/>
                  <a:pt x="5037760" y="2568382"/>
                </a:cubicBezTo>
                <a:cubicBezTo>
                  <a:pt x="5037760" y="2568382"/>
                  <a:pt x="5037760" y="2568382"/>
                  <a:pt x="5378027" y="2443156"/>
                </a:cubicBezTo>
                <a:cubicBezTo>
                  <a:pt x="5384204" y="2440783"/>
                  <a:pt x="5390501" y="2439835"/>
                  <a:pt x="5396620" y="2440131"/>
                </a:cubicBezTo>
                <a:close/>
                <a:moveTo>
                  <a:pt x="930705" y="2440114"/>
                </a:moveTo>
                <a:cubicBezTo>
                  <a:pt x="949140" y="2441005"/>
                  <a:pt x="965965" y="2453100"/>
                  <a:pt x="973124" y="2471600"/>
                </a:cubicBezTo>
                <a:cubicBezTo>
                  <a:pt x="982669" y="2496265"/>
                  <a:pt x="969306" y="2522827"/>
                  <a:pt x="944487" y="2532315"/>
                </a:cubicBezTo>
                <a:cubicBezTo>
                  <a:pt x="944487" y="2532315"/>
                  <a:pt x="944487" y="2532315"/>
                  <a:pt x="602753" y="2657525"/>
                </a:cubicBezTo>
                <a:cubicBezTo>
                  <a:pt x="577934" y="2667012"/>
                  <a:pt x="551206" y="2653730"/>
                  <a:pt x="541661" y="2629070"/>
                </a:cubicBezTo>
                <a:cubicBezTo>
                  <a:pt x="539751" y="2623378"/>
                  <a:pt x="539751" y="2617686"/>
                  <a:pt x="539751" y="2613892"/>
                </a:cubicBezTo>
                <a:cubicBezTo>
                  <a:pt x="539751" y="2593022"/>
                  <a:pt x="551206" y="2575950"/>
                  <a:pt x="570297" y="2568362"/>
                </a:cubicBezTo>
                <a:cubicBezTo>
                  <a:pt x="570297" y="2568362"/>
                  <a:pt x="570297" y="2568362"/>
                  <a:pt x="912032" y="2443139"/>
                </a:cubicBezTo>
                <a:cubicBezTo>
                  <a:pt x="918236" y="2440766"/>
                  <a:pt x="924560" y="2439818"/>
                  <a:pt x="930705" y="2440114"/>
                </a:cubicBezTo>
                <a:close/>
                <a:moveTo>
                  <a:pt x="4847390" y="2434959"/>
                </a:moveTo>
                <a:cubicBezTo>
                  <a:pt x="4867870" y="2437373"/>
                  <a:pt x="4885401" y="2451323"/>
                  <a:pt x="4891123" y="2472791"/>
                </a:cubicBezTo>
                <a:cubicBezTo>
                  <a:pt x="4900665" y="2499505"/>
                  <a:pt x="4883492" y="2528123"/>
                  <a:pt x="4856779" y="2537664"/>
                </a:cubicBezTo>
                <a:cubicBezTo>
                  <a:pt x="4856779" y="2537664"/>
                  <a:pt x="4856779" y="2537664"/>
                  <a:pt x="4513402" y="2638759"/>
                </a:cubicBezTo>
                <a:cubicBezTo>
                  <a:pt x="4484786" y="2646389"/>
                  <a:pt x="4456170" y="2631129"/>
                  <a:pt x="4448539" y="2602516"/>
                </a:cubicBezTo>
                <a:cubicBezTo>
                  <a:pt x="4446631" y="2596792"/>
                  <a:pt x="4446631" y="2592978"/>
                  <a:pt x="4446631" y="2587256"/>
                </a:cubicBezTo>
                <a:cubicBezTo>
                  <a:pt x="4446631" y="2564370"/>
                  <a:pt x="4459986" y="2545294"/>
                  <a:pt x="4482878" y="2537664"/>
                </a:cubicBezTo>
                <a:cubicBezTo>
                  <a:pt x="4482878" y="2537664"/>
                  <a:pt x="4482878" y="2537664"/>
                  <a:pt x="4826251" y="2436537"/>
                </a:cubicBezTo>
                <a:cubicBezTo>
                  <a:pt x="4833407" y="2434630"/>
                  <a:pt x="4840562" y="2434152"/>
                  <a:pt x="4847390" y="2434959"/>
                </a:cubicBezTo>
                <a:close/>
                <a:moveTo>
                  <a:pt x="1482958" y="2434939"/>
                </a:moveTo>
                <a:cubicBezTo>
                  <a:pt x="1503168" y="2437354"/>
                  <a:pt x="1521768" y="2451305"/>
                  <a:pt x="1527491" y="2472769"/>
                </a:cubicBezTo>
                <a:cubicBezTo>
                  <a:pt x="1535122" y="2499479"/>
                  <a:pt x="1519860" y="2528097"/>
                  <a:pt x="1491245" y="2537636"/>
                </a:cubicBezTo>
                <a:cubicBezTo>
                  <a:pt x="1491245" y="2537636"/>
                  <a:pt x="1491245" y="2537636"/>
                  <a:pt x="1147861" y="2638743"/>
                </a:cubicBezTo>
                <a:cubicBezTo>
                  <a:pt x="1121153" y="2646373"/>
                  <a:pt x="1092538" y="2631113"/>
                  <a:pt x="1082999" y="2602496"/>
                </a:cubicBezTo>
                <a:cubicBezTo>
                  <a:pt x="1081092" y="2596773"/>
                  <a:pt x="1081092" y="2592957"/>
                  <a:pt x="1081092" y="2587234"/>
                </a:cubicBezTo>
                <a:cubicBezTo>
                  <a:pt x="1081092" y="2564343"/>
                  <a:pt x="1096353" y="2545267"/>
                  <a:pt x="1119245" y="2537636"/>
                </a:cubicBezTo>
                <a:cubicBezTo>
                  <a:pt x="1119245" y="2537636"/>
                  <a:pt x="1119245" y="2537636"/>
                  <a:pt x="1462630" y="2436519"/>
                </a:cubicBezTo>
                <a:cubicBezTo>
                  <a:pt x="1469306" y="2434611"/>
                  <a:pt x="1476222" y="2434134"/>
                  <a:pt x="1482958" y="2434939"/>
                </a:cubicBezTo>
                <a:close/>
                <a:moveTo>
                  <a:pt x="4270882" y="2431445"/>
                </a:moveTo>
                <a:cubicBezTo>
                  <a:pt x="4301301" y="2425730"/>
                  <a:pt x="4331718" y="2444781"/>
                  <a:pt x="4339323" y="2475264"/>
                </a:cubicBezTo>
                <a:cubicBezTo>
                  <a:pt x="4345026" y="2505752"/>
                  <a:pt x="4326015" y="2536235"/>
                  <a:pt x="4295596" y="2543855"/>
                </a:cubicBezTo>
                <a:cubicBezTo>
                  <a:pt x="4295596" y="2543855"/>
                  <a:pt x="4295596" y="2543855"/>
                  <a:pt x="3951517" y="2618134"/>
                </a:cubicBezTo>
                <a:cubicBezTo>
                  <a:pt x="3921098" y="2625754"/>
                  <a:pt x="3890680" y="2606707"/>
                  <a:pt x="3883076" y="2574330"/>
                </a:cubicBezTo>
                <a:cubicBezTo>
                  <a:pt x="3883076" y="2570518"/>
                  <a:pt x="3883076" y="2566710"/>
                  <a:pt x="3883076" y="2562902"/>
                </a:cubicBezTo>
                <a:cubicBezTo>
                  <a:pt x="3883076" y="2536235"/>
                  <a:pt x="3900186" y="2513371"/>
                  <a:pt x="3926804" y="2507657"/>
                </a:cubicBezTo>
                <a:cubicBezTo>
                  <a:pt x="3926804" y="2507657"/>
                  <a:pt x="3926804" y="2507657"/>
                  <a:pt x="4270882" y="2431445"/>
                </a:cubicBezTo>
                <a:close/>
                <a:moveTo>
                  <a:pt x="2016607" y="2431425"/>
                </a:moveTo>
                <a:cubicBezTo>
                  <a:pt x="2047025" y="2425710"/>
                  <a:pt x="2077447" y="2444760"/>
                  <a:pt x="2085053" y="2475241"/>
                </a:cubicBezTo>
                <a:cubicBezTo>
                  <a:pt x="2090756" y="2505723"/>
                  <a:pt x="2071744" y="2536204"/>
                  <a:pt x="2041322" y="2543824"/>
                </a:cubicBezTo>
                <a:cubicBezTo>
                  <a:pt x="2041322" y="2543824"/>
                  <a:pt x="2041322" y="2543824"/>
                  <a:pt x="1697222" y="2618115"/>
                </a:cubicBezTo>
                <a:cubicBezTo>
                  <a:pt x="1666804" y="2625735"/>
                  <a:pt x="1636386" y="2606686"/>
                  <a:pt x="1630683" y="2574302"/>
                </a:cubicBezTo>
                <a:cubicBezTo>
                  <a:pt x="1628782" y="2570493"/>
                  <a:pt x="1628782" y="2566683"/>
                  <a:pt x="1628782" y="2562874"/>
                </a:cubicBezTo>
                <a:cubicBezTo>
                  <a:pt x="1628782" y="2536204"/>
                  <a:pt x="1647793" y="2513343"/>
                  <a:pt x="1674409" y="2507628"/>
                </a:cubicBezTo>
                <a:cubicBezTo>
                  <a:pt x="1674409" y="2507628"/>
                  <a:pt x="1674409" y="2507628"/>
                  <a:pt x="2016607" y="2431425"/>
                </a:cubicBezTo>
                <a:close/>
                <a:moveTo>
                  <a:pt x="2799530" y="2428905"/>
                </a:moveTo>
                <a:cubicBezTo>
                  <a:pt x="2799530" y="2428905"/>
                  <a:pt x="2799530" y="2428905"/>
                  <a:pt x="3148601" y="2428905"/>
                </a:cubicBezTo>
                <a:cubicBezTo>
                  <a:pt x="3188659" y="2428905"/>
                  <a:pt x="3221085" y="2459456"/>
                  <a:pt x="3221085" y="2499561"/>
                </a:cubicBezTo>
                <a:cubicBezTo>
                  <a:pt x="3221085" y="2537751"/>
                  <a:pt x="3188659" y="2570203"/>
                  <a:pt x="3148601" y="2570203"/>
                </a:cubicBezTo>
                <a:cubicBezTo>
                  <a:pt x="3148601" y="2570203"/>
                  <a:pt x="3148601" y="2570203"/>
                  <a:pt x="2799530" y="2570203"/>
                </a:cubicBezTo>
                <a:cubicBezTo>
                  <a:pt x="2761379" y="2570203"/>
                  <a:pt x="2728953" y="2537751"/>
                  <a:pt x="2728953" y="2499561"/>
                </a:cubicBezTo>
                <a:cubicBezTo>
                  <a:pt x="2728953" y="2459456"/>
                  <a:pt x="2761379" y="2428905"/>
                  <a:pt x="2799530" y="2428905"/>
                </a:cubicBezTo>
                <a:close/>
                <a:moveTo>
                  <a:pt x="3713474" y="2424778"/>
                </a:moveTo>
                <a:cubicBezTo>
                  <a:pt x="3745884" y="2420965"/>
                  <a:pt x="3778294" y="2443829"/>
                  <a:pt x="3782105" y="2478123"/>
                </a:cubicBezTo>
                <a:cubicBezTo>
                  <a:pt x="3787825" y="2510515"/>
                  <a:pt x="3764947" y="2542901"/>
                  <a:pt x="3730631" y="2546711"/>
                </a:cubicBezTo>
                <a:cubicBezTo>
                  <a:pt x="3730631" y="2546711"/>
                  <a:pt x="3730631" y="2546711"/>
                  <a:pt x="3383699" y="2598132"/>
                </a:cubicBezTo>
                <a:cubicBezTo>
                  <a:pt x="3351292" y="2601943"/>
                  <a:pt x="3318883" y="2579088"/>
                  <a:pt x="3315071" y="2546711"/>
                </a:cubicBezTo>
                <a:cubicBezTo>
                  <a:pt x="3313164" y="2542901"/>
                  <a:pt x="3313164" y="2539091"/>
                  <a:pt x="3313164" y="2537188"/>
                </a:cubicBezTo>
                <a:cubicBezTo>
                  <a:pt x="3313164" y="2506705"/>
                  <a:pt x="3336040" y="2480031"/>
                  <a:pt x="3366541" y="2476218"/>
                </a:cubicBezTo>
                <a:cubicBezTo>
                  <a:pt x="3366541" y="2476218"/>
                  <a:pt x="3366541" y="2476218"/>
                  <a:pt x="3713474" y="2424778"/>
                </a:cubicBezTo>
                <a:close/>
                <a:moveTo>
                  <a:pt x="2578386" y="2424755"/>
                </a:moveTo>
                <a:cubicBezTo>
                  <a:pt x="2610793" y="2420945"/>
                  <a:pt x="2643200" y="2443806"/>
                  <a:pt x="2647013" y="2478098"/>
                </a:cubicBezTo>
                <a:cubicBezTo>
                  <a:pt x="2652731" y="2510483"/>
                  <a:pt x="2629856" y="2542867"/>
                  <a:pt x="2595543" y="2546678"/>
                </a:cubicBezTo>
                <a:cubicBezTo>
                  <a:pt x="2595543" y="2546678"/>
                  <a:pt x="2595543" y="2546678"/>
                  <a:pt x="2248597" y="2598110"/>
                </a:cubicBezTo>
                <a:cubicBezTo>
                  <a:pt x="2216190" y="2601920"/>
                  <a:pt x="2183783" y="2579061"/>
                  <a:pt x="2179970" y="2546678"/>
                </a:cubicBezTo>
                <a:cubicBezTo>
                  <a:pt x="2178064" y="2542867"/>
                  <a:pt x="2178064" y="2539057"/>
                  <a:pt x="2178064" y="2537153"/>
                </a:cubicBezTo>
                <a:cubicBezTo>
                  <a:pt x="2178064" y="2506672"/>
                  <a:pt x="2200939" y="2480001"/>
                  <a:pt x="2231440" y="2476192"/>
                </a:cubicBezTo>
                <a:cubicBezTo>
                  <a:pt x="2231440" y="2476192"/>
                  <a:pt x="2231440" y="2476192"/>
                  <a:pt x="2578386" y="2424755"/>
                </a:cubicBezTo>
                <a:close/>
                <a:moveTo>
                  <a:pt x="9856995" y="2158848"/>
                </a:moveTo>
                <a:cubicBezTo>
                  <a:pt x="9860561" y="2158848"/>
                  <a:pt x="9863889" y="2160276"/>
                  <a:pt x="9865791" y="2163134"/>
                </a:cubicBezTo>
                <a:cubicBezTo>
                  <a:pt x="9869594" y="2165038"/>
                  <a:pt x="9869594" y="2168849"/>
                  <a:pt x="9869594" y="2172659"/>
                </a:cubicBezTo>
                <a:cubicBezTo>
                  <a:pt x="9869594" y="2176469"/>
                  <a:pt x="9869594" y="2180278"/>
                  <a:pt x="9865791" y="2182184"/>
                </a:cubicBezTo>
                <a:cubicBezTo>
                  <a:pt x="9865791" y="2182184"/>
                  <a:pt x="9865791" y="2182184"/>
                  <a:pt x="9536809" y="2494604"/>
                </a:cubicBezTo>
                <a:cubicBezTo>
                  <a:pt x="9533005" y="2500320"/>
                  <a:pt x="9523497" y="2500320"/>
                  <a:pt x="9517792" y="2494604"/>
                </a:cubicBezTo>
                <a:cubicBezTo>
                  <a:pt x="9513989" y="2488889"/>
                  <a:pt x="9513989" y="2481268"/>
                  <a:pt x="9519694" y="2475555"/>
                </a:cubicBezTo>
                <a:cubicBezTo>
                  <a:pt x="9519694" y="2475555"/>
                  <a:pt x="9519694" y="2475555"/>
                  <a:pt x="9846774" y="2163134"/>
                </a:cubicBezTo>
                <a:cubicBezTo>
                  <a:pt x="9849627" y="2160276"/>
                  <a:pt x="9853430" y="2158848"/>
                  <a:pt x="9856995" y="2158848"/>
                </a:cubicBezTo>
                <a:close/>
                <a:moveTo>
                  <a:pt x="9280994" y="2152757"/>
                </a:moveTo>
                <a:cubicBezTo>
                  <a:pt x="9285526" y="2152995"/>
                  <a:pt x="9289819" y="2154905"/>
                  <a:pt x="9292682" y="2158723"/>
                </a:cubicBezTo>
                <a:cubicBezTo>
                  <a:pt x="9296499" y="2162540"/>
                  <a:pt x="9296499" y="2166358"/>
                  <a:pt x="9296499" y="2170175"/>
                </a:cubicBezTo>
                <a:cubicBezTo>
                  <a:pt x="9296499" y="2175900"/>
                  <a:pt x="9294591" y="2181628"/>
                  <a:pt x="9290774" y="2183535"/>
                </a:cubicBezTo>
                <a:cubicBezTo>
                  <a:pt x="9290774" y="2183535"/>
                  <a:pt x="9290774" y="2183535"/>
                  <a:pt x="8960635" y="2475567"/>
                </a:cubicBezTo>
                <a:cubicBezTo>
                  <a:pt x="8953002" y="2481289"/>
                  <a:pt x="8941552" y="2481289"/>
                  <a:pt x="8935827" y="2473653"/>
                </a:cubicBezTo>
                <a:cubicBezTo>
                  <a:pt x="8928194" y="2466019"/>
                  <a:pt x="8930102" y="2454566"/>
                  <a:pt x="8935827" y="2448839"/>
                </a:cubicBezTo>
                <a:cubicBezTo>
                  <a:pt x="8935827" y="2448839"/>
                  <a:pt x="8935827" y="2448839"/>
                  <a:pt x="9267874" y="2156814"/>
                </a:cubicBezTo>
                <a:cubicBezTo>
                  <a:pt x="9271691" y="2153949"/>
                  <a:pt x="9276462" y="2152518"/>
                  <a:pt x="9280994" y="2152757"/>
                </a:cubicBezTo>
                <a:close/>
                <a:moveTo>
                  <a:pt x="10441167" y="2152737"/>
                </a:moveTo>
                <a:cubicBezTo>
                  <a:pt x="10445695" y="2152975"/>
                  <a:pt x="10449985" y="2154884"/>
                  <a:pt x="10452845" y="2158701"/>
                </a:cubicBezTo>
                <a:cubicBezTo>
                  <a:pt x="10456658" y="2162518"/>
                  <a:pt x="10458565" y="2166335"/>
                  <a:pt x="10458565" y="2170154"/>
                </a:cubicBezTo>
                <a:cubicBezTo>
                  <a:pt x="10458565" y="2175879"/>
                  <a:pt x="10456658" y="2181605"/>
                  <a:pt x="10452845" y="2183515"/>
                </a:cubicBezTo>
                <a:cubicBezTo>
                  <a:pt x="10452845" y="2183515"/>
                  <a:pt x="10452845" y="2183515"/>
                  <a:pt x="10121085" y="2475541"/>
                </a:cubicBezTo>
                <a:cubicBezTo>
                  <a:pt x="10113459" y="2481266"/>
                  <a:pt x="10102019" y="2481266"/>
                  <a:pt x="10096299" y="2473632"/>
                </a:cubicBezTo>
                <a:cubicBezTo>
                  <a:pt x="10088672" y="2465997"/>
                  <a:pt x="10090579" y="2454545"/>
                  <a:pt x="10098205" y="2448819"/>
                </a:cubicBezTo>
                <a:cubicBezTo>
                  <a:pt x="10098205" y="2448819"/>
                  <a:pt x="10098205" y="2448819"/>
                  <a:pt x="10428058" y="2156792"/>
                </a:cubicBezTo>
                <a:cubicBezTo>
                  <a:pt x="10431871" y="2153930"/>
                  <a:pt x="10436638" y="2152497"/>
                  <a:pt x="10441167" y="2152737"/>
                </a:cubicBezTo>
                <a:close/>
                <a:moveTo>
                  <a:pt x="8711083" y="2147846"/>
                </a:moveTo>
                <a:cubicBezTo>
                  <a:pt x="8716565" y="2148561"/>
                  <a:pt x="8721808" y="2151431"/>
                  <a:pt x="8725621" y="2156214"/>
                </a:cubicBezTo>
                <a:cubicBezTo>
                  <a:pt x="8729434" y="2160039"/>
                  <a:pt x="8731341" y="2163866"/>
                  <a:pt x="8731341" y="2169603"/>
                </a:cubicBezTo>
                <a:cubicBezTo>
                  <a:pt x="8731341" y="2175340"/>
                  <a:pt x="8727528" y="2181077"/>
                  <a:pt x="8723714" y="2186815"/>
                </a:cubicBezTo>
                <a:cubicBezTo>
                  <a:pt x="8723714" y="2186815"/>
                  <a:pt x="8723714" y="2186815"/>
                  <a:pt x="8390055" y="2454587"/>
                </a:cubicBezTo>
                <a:cubicBezTo>
                  <a:pt x="8380522" y="2462239"/>
                  <a:pt x="8367176" y="2460324"/>
                  <a:pt x="8359549" y="2450760"/>
                </a:cubicBezTo>
                <a:cubicBezTo>
                  <a:pt x="8351923" y="2441196"/>
                  <a:pt x="8353830" y="2427807"/>
                  <a:pt x="8363363" y="2420157"/>
                </a:cubicBezTo>
                <a:cubicBezTo>
                  <a:pt x="8363363" y="2420157"/>
                  <a:pt x="8363363" y="2420157"/>
                  <a:pt x="8695115" y="2152388"/>
                </a:cubicBezTo>
                <a:cubicBezTo>
                  <a:pt x="8699882" y="2148561"/>
                  <a:pt x="8705602" y="2147128"/>
                  <a:pt x="8711083" y="2147846"/>
                </a:cubicBezTo>
                <a:close/>
                <a:moveTo>
                  <a:pt x="11019424" y="2147822"/>
                </a:moveTo>
                <a:cubicBezTo>
                  <a:pt x="11024882" y="2148539"/>
                  <a:pt x="11030103" y="2151408"/>
                  <a:pt x="11033901" y="2156190"/>
                </a:cubicBezTo>
                <a:cubicBezTo>
                  <a:pt x="11037698" y="2160015"/>
                  <a:pt x="11039597" y="2163840"/>
                  <a:pt x="11039597" y="2169578"/>
                </a:cubicBezTo>
                <a:cubicBezTo>
                  <a:pt x="11039597" y="2175316"/>
                  <a:pt x="11035800" y="2181054"/>
                  <a:pt x="11030104" y="2186792"/>
                </a:cubicBezTo>
                <a:cubicBezTo>
                  <a:pt x="11030104" y="2186792"/>
                  <a:pt x="11030104" y="2186792"/>
                  <a:pt x="10699740" y="2454563"/>
                </a:cubicBezTo>
                <a:cubicBezTo>
                  <a:pt x="10690247" y="2462214"/>
                  <a:pt x="10676956" y="2460301"/>
                  <a:pt x="10669362" y="2450738"/>
                </a:cubicBezTo>
                <a:cubicBezTo>
                  <a:pt x="10661767" y="2441175"/>
                  <a:pt x="10663666" y="2427786"/>
                  <a:pt x="10673159" y="2420136"/>
                </a:cubicBezTo>
                <a:cubicBezTo>
                  <a:pt x="10673159" y="2420136"/>
                  <a:pt x="10673159" y="2420136"/>
                  <a:pt x="11003523" y="2152364"/>
                </a:cubicBezTo>
                <a:cubicBezTo>
                  <a:pt x="11008269" y="2148539"/>
                  <a:pt x="11013965" y="2147105"/>
                  <a:pt x="11019424" y="2147822"/>
                </a:cubicBezTo>
                <a:close/>
                <a:moveTo>
                  <a:pt x="8148561" y="2143310"/>
                </a:moveTo>
                <a:cubicBezTo>
                  <a:pt x="8155228" y="2144265"/>
                  <a:pt x="8161420" y="2147601"/>
                  <a:pt x="8165230" y="2153323"/>
                </a:cubicBezTo>
                <a:cubicBezTo>
                  <a:pt x="8169040" y="2157139"/>
                  <a:pt x="8170945" y="2162858"/>
                  <a:pt x="8170945" y="2168580"/>
                </a:cubicBezTo>
                <a:cubicBezTo>
                  <a:pt x="8170945" y="2176207"/>
                  <a:pt x="8167135" y="2185745"/>
                  <a:pt x="8159515" y="2189556"/>
                </a:cubicBezTo>
                <a:cubicBezTo>
                  <a:pt x="8159515" y="2189556"/>
                  <a:pt x="8159515" y="2189556"/>
                  <a:pt x="7826135" y="2433651"/>
                </a:cubicBezTo>
                <a:cubicBezTo>
                  <a:pt x="7814705" y="2443186"/>
                  <a:pt x="7797560" y="2441279"/>
                  <a:pt x="7789940" y="2427930"/>
                </a:cubicBezTo>
                <a:cubicBezTo>
                  <a:pt x="7780415" y="2416487"/>
                  <a:pt x="7784225" y="2401228"/>
                  <a:pt x="7795655" y="2391692"/>
                </a:cubicBezTo>
                <a:cubicBezTo>
                  <a:pt x="7795655" y="2391692"/>
                  <a:pt x="7795655" y="2391692"/>
                  <a:pt x="8129034" y="2147602"/>
                </a:cubicBezTo>
                <a:cubicBezTo>
                  <a:pt x="8134749" y="2143784"/>
                  <a:pt x="8141893" y="2142354"/>
                  <a:pt x="8148561" y="2143310"/>
                </a:cubicBezTo>
                <a:close/>
                <a:moveTo>
                  <a:pt x="11593070" y="2143308"/>
                </a:moveTo>
                <a:cubicBezTo>
                  <a:pt x="11599505" y="2144262"/>
                  <a:pt x="11605702" y="2147600"/>
                  <a:pt x="11610468" y="2153320"/>
                </a:cubicBezTo>
                <a:cubicBezTo>
                  <a:pt x="11614281" y="2157135"/>
                  <a:pt x="11614281" y="2162856"/>
                  <a:pt x="11614281" y="2168577"/>
                </a:cubicBezTo>
                <a:cubicBezTo>
                  <a:pt x="11614281" y="2176205"/>
                  <a:pt x="11610468" y="2185741"/>
                  <a:pt x="11604748" y="2189556"/>
                </a:cubicBezTo>
                <a:cubicBezTo>
                  <a:pt x="11604748" y="2189556"/>
                  <a:pt x="11604748" y="2189556"/>
                  <a:pt x="11271096" y="2433649"/>
                </a:cubicBezTo>
                <a:cubicBezTo>
                  <a:pt x="11259656" y="2443183"/>
                  <a:pt x="11242497" y="2441278"/>
                  <a:pt x="11232964" y="2427928"/>
                </a:cubicBezTo>
                <a:cubicBezTo>
                  <a:pt x="11225338" y="2416484"/>
                  <a:pt x="11227245" y="2401226"/>
                  <a:pt x="11238684" y="2391689"/>
                </a:cubicBezTo>
                <a:cubicBezTo>
                  <a:pt x="11238684" y="2391689"/>
                  <a:pt x="11238684" y="2391689"/>
                  <a:pt x="11574243" y="2147600"/>
                </a:cubicBezTo>
                <a:cubicBezTo>
                  <a:pt x="11579963" y="2143784"/>
                  <a:pt x="11586636" y="2142354"/>
                  <a:pt x="11593070" y="2143308"/>
                </a:cubicBezTo>
                <a:close/>
                <a:moveTo>
                  <a:pt x="12139750" y="2139967"/>
                </a:moveTo>
                <a:cubicBezTo>
                  <a:pt x="12139750" y="2139967"/>
                  <a:pt x="12139750" y="2139967"/>
                  <a:pt x="12139750" y="2212438"/>
                </a:cubicBezTo>
                <a:cubicBezTo>
                  <a:pt x="12139750" y="2212438"/>
                  <a:pt x="12139750" y="2212438"/>
                  <a:pt x="11835489" y="2414592"/>
                </a:cubicBezTo>
                <a:cubicBezTo>
                  <a:pt x="11820276" y="2424130"/>
                  <a:pt x="11801260" y="2420316"/>
                  <a:pt x="11793653" y="2406965"/>
                </a:cubicBezTo>
                <a:cubicBezTo>
                  <a:pt x="11784145" y="2391705"/>
                  <a:pt x="11787948" y="2372634"/>
                  <a:pt x="11801260" y="2363100"/>
                </a:cubicBezTo>
                <a:lnTo>
                  <a:pt x="12135947" y="2141874"/>
                </a:lnTo>
                <a:cubicBezTo>
                  <a:pt x="12137848" y="2141874"/>
                  <a:pt x="12137848" y="2139967"/>
                  <a:pt x="12139750" y="2139967"/>
                </a:cubicBezTo>
                <a:close/>
                <a:moveTo>
                  <a:pt x="7591500" y="2137042"/>
                </a:moveTo>
                <a:cubicBezTo>
                  <a:pt x="7599120" y="2138712"/>
                  <a:pt x="7605788" y="2143488"/>
                  <a:pt x="7609598" y="2151126"/>
                </a:cubicBezTo>
                <a:cubicBezTo>
                  <a:pt x="7613408" y="2154944"/>
                  <a:pt x="7615313" y="2162582"/>
                  <a:pt x="7615313" y="2168310"/>
                </a:cubicBezTo>
                <a:cubicBezTo>
                  <a:pt x="7615313" y="2177854"/>
                  <a:pt x="7611503" y="2187402"/>
                  <a:pt x="7601978" y="2193129"/>
                </a:cubicBezTo>
                <a:cubicBezTo>
                  <a:pt x="7601978" y="2193129"/>
                  <a:pt x="7601978" y="2193129"/>
                  <a:pt x="7266693" y="2414586"/>
                </a:cubicBezTo>
                <a:cubicBezTo>
                  <a:pt x="7253358" y="2424132"/>
                  <a:pt x="7234308" y="2420313"/>
                  <a:pt x="7224783" y="2406948"/>
                </a:cubicBezTo>
                <a:cubicBezTo>
                  <a:pt x="7215258" y="2391672"/>
                  <a:pt x="7219068" y="2372581"/>
                  <a:pt x="7232403" y="2363036"/>
                </a:cubicBezTo>
                <a:cubicBezTo>
                  <a:pt x="7232403" y="2363036"/>
                  <a:pt x="7232403" y="2363036"/>
                  <a:pt x="7567687" y="2141577"/>
                </a:cubicBezTo>
                <a:cubicBezTo>
                  <a:pt x="7575307" y="2136802"/>
                  <a:pt x="7583880" y="2135369"/>
                  <a:pt x="7591500" y="2137042"/>
                </a:cubicBezTo>
                <a:close/>
                <a:moveTo>
                  <a:pt x="7042453" y="2131898"/>
                </a:moveTo>
                <a:cubicBezTo>
                  <a:pt x="7051052" y="2134287"/>
                  <a:pt x="7058696" y="2140032"/>
                  <a:pt x="7063473" y="2148647"/>
                </a:cubicBezTo>
                <a:cubicBezTo>
                  <a:pt x="7067295" y="2154388"/>
                  <a:pt x="7069206" y="2160130"/>
                  <a:pt x="7069206" y="2165871"/>
                </a:cubicBezTo>
                <a:cubicBezTo>
                  <a:pt x="7069206" y="2177352"/>
                  <a:pt x="7061562" y="2188835"/>
                  <a:pt x="7052008" y="2196489"/>
                </a:cubicBezTo>
                <a:cubicBezTo>
                  <a:pt x="7052008" y="2196489"/>
                  <a:pt x="7052008" y="2196489"/>
                  <a:pt x="6713777" y="2395511"/>
                </a:cubicBezTo>
                <a:cubicBezTo>
                  <a:pt x="6696579" y="2405078"/>
                  <a:pt x="6675559" y="2399339"/>
                  <a:pt x="6666004" y="2382111"/>
                </a:cubicBezTo>
                <a:cubicBezTo>
                  <a:pt x="6656450" y="2366802"/>
                  <a:pt x="6662182" y="2345751"/>
                  <a:pt x="6679381" y="2334271"/>
                </a:cubicBezTo>
                <a:cubicBezTo>
                  <a:pt x="6679381" y="2334271"/>
                  <a:pt x="6679381" y="2334271"/>
                  <a:pt x="7015700" y="2135246"/>
                </a:cubicBezTo>
                <a:cubicBezTo>
                  <a:pt x="7024300" y="2130463"/>
                  <a:pt x="7033854" y="2129506"/>
                  <a:pt x="7042453" y="2131898"/>
                </a:cubicBezTo>
                <a:close/>
                <a:moveTo>
                  <a:pt x="6500021" y="2128305"/>
                </a:moveTo>
                <a:cubicBezTo>
                  <a:pt x="6509301" y="2131404"/>
                  <a:pt x="6517391" y="2138081"/>
                  <a:pt x="6522150" y="2147621"/>
                </a:cubicBezTo>
                <a:cubicBezTo>
                  <a:pt x="6525957" y="2153344"/>
                  <a:pt x="6527861" y="2159065"/>
                  <a:pt x="6527861" y="2164788"/>
                </a:cubicBezTo>
                <a:cubicBezTo>
                  <a:pt x="6527861" y="2180046"/>
                  <a:pt x="6520246" y="2193396"/>
                  <a:pt x="6506921" y="2199117"/>
                </a:cubicBezTo>
                <a:cubicBezTo>
                  <a:pt x="6506921" y="2199117"/>
                  <a:pt x="6506921" y="2199117"/>
                  <a:pt x="6168083" y="2374582"/>
                </a:cubicBezTo>
                <a:cubicBezTo>
                  <a:pt x="6149047" y="2386027"/>
                  <a:pt x="6126204" y="2378398"/>
                  <a:pt x="6116686" y="2359325"/>
                </a:cubicBezTo>
                <a:cubicBezTo>
                  <a:pt x="6107168" y="2340253"/>
                  <a:pt x="6114782" y="2317365"/>
                  <a:pt x="6131914" y="2305910"/>
                </a:cubicBezTo>
                <a:cubicBezTo>
                  <a:pt x="6131914" y="2305910"/>
                  <a:pt x="6131914" y="2305910"/>
                  <a:pt x="6470753" y="2130452"/>
                </a:cubicBezTo>
                <a:cubicBezTo>
                  <a:pt x="6480271" y="2125684"/>
                  <a:pt x="6490741" y="2125207"/>
                  <a:pt x="6500021" y="2128305"/>
                </a:cubicBezTo>
                <a:close/>
                <a:moveTo>
                  <a:pt x="5959154" y="2123129"/>
                </a:moveTo>
                <a:cubicBezTo>
                  <a:pt x="5969386" y="2126931"/>
                  <a:pt x="5977952" y="2134540"/>
                  <a:pt x="5982710" y="2145011"/>
                </a:cubicBezTo>
                <a:cubicBezTo>
                  <a:pt x="5984614" y="2150717"/>
                  <a:pt x="5986517" y="2158328"/>
                  <a:pt x="5986517" y="2164036"/>
                </a:cubicBezTo>
                <a:cubicBezTo>
                  <a:pt x="5986517" y="2179257"/>
                  <a:pt x="5977000" y="2196381"/>
                  <a:pt x="5961771" y="2202088"/>
                </a:cubicBezTo>
                <a:cubicBezTo>
                  <a:pt x="5961771" y="2202088"/>
                  <a:pt x="5961771" y="2202088"/>
                  <a:pt x="5621030" y="2354289"/>
                </a:cubicBezTo>
                <a:cubicBezTo>
                  <a:pt x="5600091" y="2363801"/>
                  <a:pt x="5575344" y="2354289"/>
                  <a:pt x="5565827" y="2333361"/>
                </a:cubicBezTo>
                <a:cubicBezTo>
                  <a:pt x="5556309" y="2312431"/>
                  <a:pt x="5565827" y="2285786"/>
                  <a:pt x="5586766" y="2276282"/>
                </a:cubicBezTo>
                <a:cubicBezTo>
                  <a:pt x="5586766" y="2276282"/>
                  <a:pt x="5586766" y="2276282"/>
                  <a:pt x="5925602" y="2124078"/>
                </a:cubicBezTo>
                <a:cubicBezTo>
                  <a:pt x="5937024" y="2119323"/>
                  <a:pt x="5948922" y="2119323"/>
                  <a:pt x="5959154" y="2123129"/>
                </a:cubicBezTo>
                <a:close/>
                <a:moveTo>
                  <a:pt x="398983" y="2123125"/>
                </a:moveTo>
                <a:cubicBezTo>
                  <a:pt x="409445" y="2126931"/>
                  <a:pt x="418480" y="2134539"/>
                  <a:pt x="423236" y="2145008"/>
                </a:cubicBezTo>
                <a:cubicBezTo>
                  <a:pt x="425138" y="2150715"/>
                  <a:pt x="427040" y="2158327"/>
                  <a:pt x="427040" y="2164035"/>
                </a:cubicBezTo>
                <a:cubicBezTo>
                  <a:pt x="427040" y="2179255"/>
                  <a:pt x="417529" y="2196379"/>
                  <a:pt x="402312" y="2202084"/>
                </a:cubicBezTo>
                <a:cubicBezTo>
                  <a:pt x="402312" y="2202084"/>
                  <a:pt x="402312" y="2202084"/>
                  <a:pt x="61813" y="2354287"/>
                </a:cubicBezTo>
                <a:cubicBezTo>
                  <a:pt x="40889" y="2363801"/>
                  <a:pt x="16160" y="2354287"/>
                  <a:pt x="6649" y="2333359"/>
                </a:cubicBezTo>
                <a:cubicBezTo>
                  <a:pt x="-4765" y="2312430"/>
                  <a:pt x="4746" y="2285786"/>
                  <a:pt x="27573" y="2276282"/>
                </a:cubicBezTo>
                <a:cubicBezTo>
                  <a:pt x="27573" y="2276282"/>
                  <a:pt x="27573" y="2276282"/>
                  <a:pt x="366169" y="2124076"/>
                </a:cubicBezTo>
                <a:cubicBezTo>
                  <a:pt x="376631" y="2119322"/>
                  <a:pt x="388520" y="2119322"/>
                  <a:pt x="398983" y="2123125"/>
                </a:cubicBezTo>
                <a:close/>
                <a:moveTo>
                  <a:pt x="5396847" y="2116229"/>
                </a:moveTo>
                <a:cubicBezTo>
                  <a:pt x="5414923" y="2117027"/>
                  <a:pt x="5432463" y="2128747"/>
                  <a:pt x="5438191" y="2145804"/>
                </a:cubicBezTo>
                <a:cubicBezTo>
                  <a:pt x="5442009" y="2151490"/>
                  <a:pt x="5442009" y="2157173"/>
                  <a:pt x="5442009" y="2162858"/>
                </a:cubicBezTo>
                <a:cubicBezTo>
                  <a:pt x="5442009" y="2181807"/>
                  <a:pt x="5430554" y="2198859"/>
                  <a:pt x="5411464" y="2206436"/>
                </a:cubicBezTo>
                <a:cubicBezTo>
                  <a:pt x="5411464" y="2206436"/>
                  <a:pt x="5411464" y="2206436"/>
                  <a:pt x="5069727" y="2335278"/>
                </a:cubicBezTo>
                <a:cubicBezTo>
                  <a:pt x="5044912" y="2344747"/>
                  <a:pt x="5018188" y="2333383"/>
                  <a:pt x="5008643" y="2308745"/>
                </a:cubicBezTo>
                <a:cubicBezTo>
                  <a:pt x="4999096" y="2284110"/>
                  <a:pt x="5012459" y="2257593"/>
                  <a:pt x="5037276" y="2248119"/>
                </a:cubicBezTo>
                <a:cubicBezTo>
                  <a:pt x="5037276" y="2248119"/>
                  <a:pt x="5037276" y="2248119"/>
                  <a:pt x="5379009" y="2119278"/>
                </a:cubicBezTo>
                <a:cubicBezTo>
                  <a:pt x="5384736" y="2116909"/>
                  <a:pt x="5390821" y="2115962"/>
                  <a:pt x="5396847" y="2116229"/>
                </a:cubicBezTo>
                <a:close/>
                <a:moveTo>
                  <a:pt x="930370" y="2116224"/>
                </a:moveTo>
                <a:cubicBezTo>
                  <a:pt x="948819" y="2117027"/>
                  <a:pt x="965655" y="2128747"/>
                  <a:pt x="972820" y="2145802"/>
                </a:cubicBezTo>
                <a:cubicBezTo>
                  <a:pt x="974730" y="2151487"/>
                  <a:pt x="974730" y="2157173"/>
                  <a:pt x="974730" y="2162856"/>
                </a:cubicBezTo>
                <a:cubicBezTo>
                  <a:pt x="974730" y="2181804"/>
                  <a:pt x="963267" y="2198857"/>
                  <a:pt x="944162" y="2206434"/>
                </a:cubicBezTo>
                <a:cubicBezTo>
                  <a:pt x="944162" y="2206434"/>
                  <a:pt x="944162" y="2206434"/>
                  <a:pt x="602179" y="2335276"/>
                </a:cubicBezTo>
                <a:cubicBezTo>
                  <a:pt x="579252" y="2344745"/>
                  <a:pt x="550595" y="2333380"/>
                  <a:pt x="542953" y="2308745"/>
                </a:cubicBezTo>
                <a:cubicBezTo>
                  <a:pt x="533400" y="2284110"/>
                  <a:pt x="544863" y="2257591"/>
                  <a:pt x="569700" y="2248116"/>
                </a:cubicBezTo>
                <a:cubicBezTo>
                  <a:pt x="569700" y="2248116"/>
                  <a:pt x="569700" y="2248116"/>
                  <a:pt x="911683" y="2119276"/>
                </a:cubicBezTo>
                <a:cubicBezTo>
                  <a:pt x="917892" y="2116906"/>
                  <a:pt x="924221" y="2115959"/>
                  <a:pt x="930370" y="2116224"/>
                </a:cubicBezTo>
                <a:close/>
                <a:moveTo>
                  <a:pt x="4845975" y="2110281"/>
                </a:moveTo>
                <a:cubicBezTo>
                  <a:pt x="4865755" y="2111881"/>
                  <a:pt x="4883653" y="2125767"/>
                  <a:pt x="4890814" y="2147142"/>
                </a:cubicBezTo>
                <a:cubicBezTo>
                  <a:pt x="4892723" y="2150943"/>
                  <a:pt x="4892723" y="2156641"/>
                  <a:pt x="4892723" y="2162340"/>
                </a:cubicBezTo>
                <a:cubicBezTo>
                  <a:pt x="4892723" y="2183235"/>
                  <a:pt x="4879357" y="2204129"/>
                  <a:pt x="4856446" y="2209828"/>
                </a:cubicBezTo>
                <a:cubicBezTo>
                  <a:pt x="4856446" y="2209828"/>
                  <a:pt x="4856446" y="2209828"/>
                  <a:pt x="4512822" y="2316199"/>
                </a:cubicBezTo>
                <a:cubicBezTo>
                  <a:pt x="4486096" y="2325699"/>
                  <a:pt x="4457461" y="2310497"/>
                  <a:pt x="4449824" y="2283899"/>
                </a:cubicBezTo>
                <a:cubicBezTo>
                  <a:pt x="4440279" y="2255416"/>
                  <a:pt x="4455552" y="2226923"/>
                  <a:pt x="4482278" y="2219324"/>
                </a:cubicBezTo>
                <a:cubicBezTo>
                  <a:pt x="4482278" y="2219324"/>
                  <a:pt x="4482278" y="2219324"/>
                  <a:pt x="4825899" y="2112951"/>
                </a:cubicBezTo>
                <a:cubicBezTo>
                  <a:pt x="4832582" y="2110576"/>
                  <a:pt x="4839381" y="2109746"/>
                  <a:pt x="4845975" y="2110281"/>
                </a:cubicBezTo>
                <a:close/>
                <a:moveTo>
                  <a:pt x="1482447" y="2110278"/>
                </a:moveTo>
                <a:cubicBezTo>
                  <a:pt x="1502079" y="2111879"/>
                  <a:pt x="1519569" y="2125767"/>
                  <a:pt x="1525280" y="2147139"/>
                </a:cubicBezTo>
                <a:cubicBezTo>
                  <a:pt x="1527184" y="2150938"/>
                  <a:pt x="1527184" y="2156638"/>
                  <a:pt x="1527184" y="2162337"/>
                </a:cubicBezTo>
                <a:cubicBezTo>
                  <a:pt x="1527184" y="2183231"/>
                  <a:pt x="1513858" y="2204128"/>
                  <a:pt x="1492917" y="2209825"/>
                </a:cubicBezTo>
                <a:cubicBezTo>
                  <a:pt x="1492917" y="2209825"/>
                  <a:pt x="1492917" y="2209825"/>
                  <a:pt x="1150255" y="2316198"/>
                </a:cubicBezTo>
                <a:cubicBezTo>
                  <a:pt x="1123603" y="2325698"/>
                  <a:pt x="1093145" y="2310497"/>
                  <a:pt x="1085530" y="2283899"/>
                </a:cubicBezTo>
                <a:cubicBezTo>
                  <a:pt x="1077915" y="2255414"/>
                  <a:pt x="1093145" y="2226922"/>
                  <a:pt x="1119796" y="2219322"/>
                </a:cubicBezTo>
                <a:cubicBezTo>
                  <a:pt x="1119796" y="2219322"/>
                  <a:pt x="1119796" y="2219322"/>
                  <a:pt x="1462458" y="2112949"/>
                </a:cubicBezTo>
                <a:cubicBezTo>
                  <a:pt x="1469121" y="2110574"/>
                  <a:pt x="1475903" y="2109743"/>
                  <a:pt x="1482447" y="2110278"/>
                </a:cubicBezTo>
                <a:close/>
                <a:moveTo>
                  <a:pt x="4292468" y="2106615"/>
                </a:moveTo>
                <a:cubicBezTo>
                  <a:pt x="4314317" y="2109639"/>
                  <a:pt x="4332942" y="2124921"/>
                  <a:pt x="4338674" y="2147679"/>
                </a:cubicBezTo>
                <a:cubicBezTo>
                  <a:pt x="4338674" y="2151471"/>
                  <a:pt x="4338674" y="2157159"/>
                  <a:pt x="4338674" y="2160953"/>
                </a:cubicBezTo>
                <a:cubicBezTo>
                  <a:pt x="4338674" y="2185604"/>
                  <a:pt x="4321481" y="2208355"/>
                  <a:pt x="4296646" y="2214045"/>
                </a:cubicBezTo>
                <a:cubicBezTo>
                  <a:pt x="4296646" y="2214045"/>
                  <a:pt x="4296646" y="2214045"/>
                  <a:pt x="3952805" y="2297470"/>
                </a:cubicBezTo>
                <a:cubicBezTo>
                  <a:pt x="3922240" y="2305056"/>
                  <a:pt x="3891674" y="2286090"/>
                  <a:pt x="3884033" y="2257656"/>
                </a:cubicBezTo>
                <a:cubicBezTo>
                  <a:pt x="3878302" y="2227319"/>
                  <a:pt x="3895495" y="2196980"/>
                  <a:pt x="3926060" y="2191291"/>
                </a:cubicBezTo>
                <a:cubicBezTo>
                  <a:pt x="3926060" y="2191291"/>
                  <a:pt x="3926060" y="2191291"/>
                  <a:pt x="4269902" y="2107861"/>
                </a:cubicBezTo>
                <a:cubicBezTo>
                  <a:pt x="4277543" y="2105963"/>
                  <a:pt x="4285184" y="2105609"/>
                  <a:pt x="4292468" y="2106615"/>
                </a:cubicBezTo>
                <a:close/>
                <a:moveTo>
                  <a:pt x="2038710" y="2106612"/>
                </a:moveTo>
                <a:cubicBezTo>
                  <a:pt x="2059742" y="2109634"/>
                  <a:pt x="2078355" y="2124921"/>
                  <a:pt x="2084082" y="2147677"/>
                </a:cubicBezTo>
                <a:cubicBezTo>
                  <a:pt x="2084082" y="2151470"/>
                  <a:pt x="2085991" y="2157159"/>
                  <a:pt x="2085991" y="2160951"/>
                </a:cubicBezTo>
                <a:cubicBezTo>
                  <a:pt x="2085991" y="2185601"/>
                  <a:pt x="2068810" y="2208353"/>
                  <a:pt x="2043989" y="2214042"/>
                </a:cubicBezTo>
                <a:cubicBezTo>
                  <a:pt x="2043989" y="2214042"/>
                  <a:pt x="2043989" y="2214042"/>
                  <a:pt x="1698467" y="2297470"/>
                </a:cubicBezTo>
                <a:cubicBezTo>
                  <a:pt x="1667924" y="2305056"/>
                  <a:pt x="1639290" y="2286090"/>
                  <a:pt x="1631654" y="2257654"/>
                </a:cubicBezTo>
                <a:cubicBezTo>
                  <a:pt x="1624018" y="2227317"/>
                  <a:pt x="1643107" y="2196977"/>
                  <a:pt x="1671742" y="2191289"/>
                </a:cubicBezTo>
                <a:cubicBezTo>
                  <a:pt x="1671742" y="2191289"/>
                  <a:pt x="1671742" y="2191289"/>
                  <a:pt x="2017264" y="2107857"/>
                </a:cubicBezTo>
                <a:cubicBezTo>
                  <a:pt x="2024423" y="2105960"/>
                  <a:pt x="2031700" y="2105605"/>
                  <a:pt x="2038710" y="2106612"/>
                </a:cubicBezTo>
                <a:close/>
                <a:moveTo>
                  <a:pt x="3734742" y="2101215"/>
                </a:moveTo>
                <a:cubicBezTo>
                  <a:pt x="3757307" y="2105947"/>
                  <a:pt x="3775573" y="2124878"/>
                  <a:pt x="3779871" y="2149168"/>
                </a:cubicBezTo>
                <a:cubicBezTo>
                  <a:pt x="3779871" y="2152977"/>
                  <a:pt x="3779871" y="2156787"/>
                  <a:pt x="3779871" y="2158693"/>
                </a:cubicBezTo>
                <a:cubicBezTo>
                  <a:pt x="3779871" y="2187267"/>
                  <a:pt x="3760769" y="2212031"/>
                  <a:pt x="3732116" y="2217746"/>
                </a:cubicBezTo>
                <a:cubicBezTo>
                  <a:pt x="3732116" y="2217746"/>
                  <a:pt x="3732116" y="2217746"/>
                  <a:pt x="3384469" y="2278704"/>
                </a:cubicBezTo>
                <a:cubicBezTo>
                  <a:pt x="3351995" y="2284415"/>
                  <a:pt x="3321431" y="2263466"/>
                  <a:pt x="3315701" y="2231081"/>
                </a:cubicBezTo>
                <a:cubicBezTo>
                  <a:pt x="3309970" y="2198696"/>
                  <a:pt x="3330982" y="2166313"/>
                  <a:pt x="3363456" y="2160598"/>
                </a:cubicBezTo>
                <a:cubicBezTo>
                  <a:pt x="3363456" y="2160598"/>
                  <a:pt x="3363456" y="2160598"/>
                  <a:pt x="3711103" y="2101543"/>
                </a:cubicBezTo>
                <a:cubicBezTo>
                  <a:pt x="3719222" y="2099638"/>
                  <a:pt x="3727220" y="2099638"/>
                  <a:pt x="3734742" y="2101215"/>
                </a:cubicBezTo>
                <a:close/>
                <a:moveTo>
                  <a:pt x="2601252" y="2101212"/>
                </a:moveTo>
                <a:cubicBezTo>
                  <a:pt x="2623816" y="2105945"/>
                  <a:pt x="2642082" y="2124875"/>
                  <a:pt x="2646380" y="2149163"/>
                </a:cubicBezTo>
                <a:cubicBezTo>
                  <a:pt x="2646380" y="2152974"/>
                  <a:pt x="2646380" y="2156785"/>
                  <a:pt x="2646380" y="2158690"/>
                </a:cubicBezTo>
                <a:cubicBezTo>
                  <a:pt x="2646380" y="2187265"/>
                  <a:pt x="2627278" y="2212029"/>
                  <a:pt x="2596715" y="2217744"/>
                </a:cubicBezTo>
                <a:cubicBezTo>
                  <a:pt x="2596715" y="2217744"/>
                  <a:pt x="2596715" y="2217744"/>
                  <a:pt x="2250972" y="2278703"/>
                </a:cubicBezTo>
                <a:cubicBezTo>
                  <a:pt x="2218499" y="2284415"/>
                  <a:pt x="2187936" y="2263464"/>
                  <a:pt x="2182205" y="2231079"/>
                </a:cubicBezTo>
                <a:cubicBezTo>
                  <a:pt x="2176475" y="2198694"/>
                  <a:pt x="2197487" y="2166309"/>
                  <a:pt x="2229960" y="2160595"/>
                </a:cubicBezTo>
                <a:cubicBezTo>
                  <a:pt x="2229960" y="2160595"/>
                  <a:pt x="2229960" y="2160595"/>
                  <a:pt x="2577613" y="2101540"/>
                </a:cubicBezTo>
                <a:cubicBezTo>
                  <a:pt x="2585732" y="2099635"/>
                  <a:pt x="2593730" y="2099635"/>
                  <a:pt x="2601252" y="2101212"/>
                </a:cubicBezTo>
                <a:close/>
                <a:moveTo>
                  <a:pt x="3141099" y="2094548"/>
                </a:moveTo>
                <a:cubicBezTo>
                  <a:pt x="3177271" y="2090745"/>
                  <a:pt x="3207731" y="2117365"/>
                  <a:pt x="3211539" y="2151594"/>
                </a:cubicBezTo>
                <a:cubicBezTo>
                  <a:pt x="3211539" y="2153495"/>
                  <a:pt x="3211539" y="2157296"/>
                  <a:pt x="3211539" y="2159200"/>
                </a:cubicBezTo>
                <a:cubicBezTo>
                  <a:pt x="3211539" y="2191527"/>
                  <a:pt x="3188693" y="2218146"/>
                  <a:pt x="3156330" y="2221949"/>
                </a:cubicBezTo>
                <a:cubicBezTo>
                  <a:pt x="3156330" y="2221949"/>
                  <a:pt x="3156330" y="2221949"/>
                  <a:pt x="2807941" y="2259980"/>
                </a:cubicBezTo>
                <a:cubicBezTo>
                  <a:pt x="2773673" y="2263780"/>
                  <a:pt x="2741309" y="2239063"/>
                  <a:pt x="2737501" y="2202934"/>
                </a:cubicBezTo>
                <a:cubicBezTo>
                  <a:pt x="2733694" y="2168708"/>
                  <a:pt x="2760347" y="2136380"/>
                  <a:pt x="2794615" y="2132575"/>
                </a:cubicBezTo>
                <a:cubicBezTo>
                  <a:pt x="2794615" y="2132575"/>
                  <a:pt x="2794615" y="2132575"/>
                  <a:pt x="3141099" y="2094548"/>
                </a:cubicBezTo>
                <a:close/>
                <a:moveTo>
                  <a:pt x="9859129" y="1839997"/>
                </a:moveTo>
                <a:cubicBezTo>
                  <a:pt x="9863412" y="1840234"/>
                  <a:pt x="9867694" y="1842138"/>
                  <a:pt x="9870549" y="1845944"/>
                </a:cubicBezTo>
                <a:cubicBezTo>
                  <a:pt x="9872453" y="1847847"/>
                  <a:pt x="9874356" y="1851654"/>
                  <a:pt x="9874356" y="1857363"/>
                </a:cubicBezTo>
                <a:cubicBezTo>
                  <a:pt x="9874356" y="1861170"/>
                  <a:pt x="9872453" y="1864976"/>
                  <a:pt x="9868646" y="1868782"/>
                </a:cubicBezTo>
                <a:cubicBezTo>
                  <a:pt x="9868646" y="1868782"/>
                  <a:pt x="9868646" y="1868782"/>
                  <a:pt x="9539364" y="2165681"/>
                </a:cubicBezTo>
                <a:cubicBezTo>
                  <a:pt x="9531751" y="2173295"/>
                  <a:pt x="9522234" y="2171391"/>
                  <a:pt x="9516524" y="2165681"/>
                </a:cubicBezTo>
                <a:cubicBezTo>
                  <a:pt x="9510814" y="2158069"/>
                  <a:pt x="9510814" y="2148551"/>
                  <a:pt x="9516524" y="2142843"/>
                </a:cubicBezTo>
                <a:cubicBezTo>
                  <a:pt x="9516524" y="2142843"/>
                  <a:pt x="9516524" y="2142843"/>
                  <a:pt x="9847709" y="1844041"/>
                </a:cubicBezTo>
                <a:cubicBezTo>
                  <a:pt x="9850564" y="1841186"/>
                  <a:pt x="9854847" y="1839759"/>
                  <a:pt x="9859129" y="1839997"/>
                </a:cubicBezTo>
                <a:close/>
                <a:moveTo>
                  <a:pt x="9281354" y="1833512"/>
                </a:moveTo>
                <a:cubicBezTo>
                  <a:pt x="9286351" y="1834227"/>
                  <a:pt x="9291109" y="1837084"/>
                  <a:pt x="9293964" y="1841846"/>
                </a:cubicBezTo>
                <a:cubicBezTo>
                  <a:pt x="9297771" y="1843751"/>
                  <a:pt x="9299674" y="1849467"/>
                  <a:pt x="9299674" y="1853277"/>
                </a:cubicBezTo>
                <a:cubicBezTo>
                  <a:pt x="9299674" y="1858992"/>
                  <a:pt x="9297771" y="1864707"/>
                  <a:pt x="9292060" y="1868517"/>
                </a:cubicBezTo>
                <a:cubicBezTo>
                  <a:pt x="9292060" y="1868517"/>
                  <a:pt x="9292060" y="1868517"/>
                  <a:pt x="8960867" y="2146642"/>
                </a:cubicBezTo>
                <a:cubicBezTo>
                  <a:pt x="8953254" y="2154263"/>
                  <a:pt x="8939930" y="2152359"/>
                  <a:pt x="8932316" y="2144739"/>
                </a:cubicBezTo>
                <a:cubicBezTo>
                  <a:pt x="8926606" y="2135209"/>
                  <a:pt x="8926606" y="2123779"/>
                  <a:pt x="8936123" y="2116162"/>
                </a:cubicBezTo>
                <a:cubicBezTo>
                  <a:pt x="8936123" y="2116162"/>
                  <a:pt x="8936123" y="2116162"/>
                  <a:pt x="9267316" y="1838036"/>
                </a:cubicBezTo>
                <a:cubicBezTo>
                  <a:pt x="9271123" y="1834227"/>
                  <a:pt x="9276357" y="1832798"/>
                  <a:pt x="9281354" y="1833512"/>
                </a:cubicBezTo>
                <a:close/>
                <a:moveTo>
                  <a:pt x="10443580" y="1833487"/>
                </a:moveTo>
                <a:cubicBezTo>
                  <a:pt x="10448836" y="1834202"/>
                  <a:pt x="10454093" y="1837059"/>
                  <a:pt x="10457916" y="1841822"/>
                </a:cubicBezTo>
                <a:cubicBezTo>
                  <a:pt x="10459828" y="1843727"/>
                  <a:pt x="10461739" y="1849442"/>
                  <a:pt x="10461739" y="1853252"/>
                </a:cubicBezTo>
                <a:cubicBezTo>
                  <a:pt x="10461739" y="1858967"/>
                  <a:pt x="10459828" y="1864682"/>
                  <a:pt x="10454093" y="1868492"/>
                </a:cubicBezTo>
                <a:cubicBezTo>
                  <a:pt x="10454093" y="1868492"/>
                  <a:pt x="10454093" y="1868492"/>
                  <a:pt x="10121491" y="2146621"/>
                </a:cubicBezTo>
                <a:cubicBezTo>
                  <a:pt x="10113845" y="2154242"/>
                  <a:pt x="10100465" y="2152337"/>
                  <a:pt x="10094730" y="2144715"/>
                </a:cubicBezTo>
                <a:cubicBezTo>
                  <a:pt x="10087084" y="2135191"/>
                  <a:pt x="10087084" y="2123761"/>
                  <a:pt x="10096642" y="2116141"/>
                </a:cubicBezTo>
                <a:cubicBezTo>
                  <a:pt x="10096642" y="2116141"/>
                  <a:pt x="10096642" y="2116141"/>
                  <a:pt x="10429243" y="1838012"/>
                </a:cubicBezTo>
                <a:cubicBezTo>
                  <a:pt x="10433066" y="1834202"/>
                  <a:pt x="10438323" y="1832773"/>
                  <a:pt x="10443580" y="1833487"/>
                </a:cubicBezTo>
                <a:close/>
                <a:moveTo>
                  <a:pt x="8711664" y="1828739"/>
                </a:moveTo>
                <a:cubicBezTo>
                  <a:pt x="8717637" y="1829451"/>
                  <a:pt x="8723371" y="1832300"/>
                  <a:pt x="8727194" y="1837048"/>
                </a:cubicBezTo>
                <a:cubicBezTo>
                  <a:pt x="8731017" y="1842746"/>
                  <a:pt x="8732928" y="1846544"/>
                  <a:pt x="8732928" y="1852242"/>
                </a:cubicBezTo>
                <a:cubicBezTo>
                  <a:pt x="8732928" y="1859838"/>
                  <a:pt x="8729105" y="1867435"/>
                  <a:pt x="8723371" y="1871234"/>
                </a:cubicBezTo>
                <a:cubicBezTo>
                  <a:pt x="8723371" y="1871234"/>
                  <a:pt x="8723371" y="1871234"/>
                  <a:pt x="8390798" y="2127610"/>
                </a:cubicBezTo>
                <a:cubicBezTo>
                  <a:pt x="8379329" y="2135209"/>
                  <a:pt x="8364039" y="2133307"/>
                  <a:pt x="8356393" y="2123813"/>
                </a:cubicBezTo>
                <a:cubicBezTo>
                  <a:pt x="8348748" y="2112426"/>
                  <a:pt x="8350659" y="2097231"/>
                  <a:pt x="8360216" y="2089634"/>
                </a:cubicBezTo>
                <a:cubicBezTo>
                  <a:pt x="8360216" y="2089634"/>
                  <a:pt x="8360216" y="2089634"/>
                  <a:pt x="8694701" y="1833250"/>
                </a:cubicBezTo>
                <a:cubicBezTo>
                  <a:pt x="8699479" y="1829451"/>
                  <a:pt x="8705691" y="1828027"/>
                  <a:pt x="8711664" y="1828739"/>
                </a:cubicBezTo>
                <a:close/>
                <a:moveTo>
                  <a:pt x="11021508" y="1828712"/>
                </a:moveTo>
                <a:cubicBezTo>
                  <a:pt x="11027482" y="1829424"/>
                  <a:pt x="11033216" y="1832273"/>
                  <a:pt x="11037038" y="1837021"/>
                </a:cubicBezTo>
                <a:cubicBezTo>
                  <a:pt x="11040861" y="1842718"/>
                  <a:pt x="11042772" y="1846517"/>
                  <a:pt x="11042772" y="1852214"/>
                </a:cubicBezTo>
                <a:cubicBezTo>
                  <a:pt x="11042772" y="1859811"/>
                  <a:pt x="11038949" y="1867408"/>
                  <a:pt x="11033215" y="1871206"/>
                </a:cubicBezTo>
                <a:cubicBezTo>
                  <a:pt x="11033215" y="1871206"/>
                  <a:pt x="11033215" y="1871206"/>
                  <a:pt x="10698730" y="2127592"/>
                </a:cubicBezTo>
                <a:cubicBezTo>
                  <a:pt x="10689173" y="2135189"/>
                  <a:pt x="10673883" y="2133290"/>
                  <a:pt x="10666237" y="2123794"/>
                </a:cubicBezTo>
                <a:cubicBezTo>
                  <a:pt x="10658592" y="2112399"/>
                  <a:pt x="10660503" y="2097206"/>
                  <a:pt x="10670060" y="2089609"/>
                </a:cubicBezTo>
                <a:cubicBezTo>
                  <a:pt x="10670060" y="2089609"/>
                  <a:pt x="10670060" y="2089609"/>
                  <a:pt x="11004545" y="1833223"/>
                </a:cubicBezTo>
                <a:cubicBezTo>
                  <a:pt x="11009324" y="1829424"/>
                  <a:pt x="11015536" y="1828000"/>
                  <a:pt x="11021508" y="1828712"/>
                </a:cubicBezTo>
                <a:close/>
                <a:moveTo>
                  <a:pt x="8148424" y="1822231"/>
                </a:moveTo>
                <a:cubicBezTo>
                  <a:pt x="8155346" y="1823419"/>
                  <a:pt x="8162030" y="1827221"/>
                  <a:pt x="8166804" y="1832924"/>
                </a:cubicBezTo>
                <a:cubicBezTo>
                  <a:pt x="8170623" y="1838626"/>
                  <a:pt x="8172533" y="1844330"/>
                  <a:pt x="8172533" y="1850033"/>
                </a:cubicBezTo>
                <a:cubicBezTo>
                  <a:pt x="8172533" y="1857637"/>
                  <a:pt x="8168714" y="1867142"/>
                  <a:pt x="8161075" y="1872844"/>
                </a:cubicBezTo>
                <a:cubicBezTo>
                  <a:pt x="8161075" y="1872844"/>
                  <a:pt x="8161075" y="1872844"/>
                  <a:pt x="7824980" y="2108561"/>
                </a:cubicBezTo>
                <a:cubicBezTo>
                  <a:pt x="7813523" y="2116162"/>
                  <a:pt x="7796336" y="2114263"/>
                  <a:pt x="7786788" y="2100956"/>
                </a:cubicBezTo>
                <a:cubicBezTo>
                  <a:pt x="7777240" y="2089551"/>
                  <a:pt x="7781059" y="2072443"/>
                  <a:pt x="7792517" y="2062938"/>
                </a:cubicBezTo>
                <a:cubicBezTo>
                  <a:pt x="7792517" y="2062938"/>
                  <a:pt x="7792517" y="2062938"/>
                  <a:pt x="8128611" y="1827221"/>
                </a:cubicBezTo>
                <a:cubicBezTo>
                  <a:pt x="8134340" y="1822469"/>
                  <a:pt x="8141501" y="1821043"/>
                  <a:pt x="8148424" y="1822231"/>
                </a:cubicBezTo>
                <a:close/>
                <a:moveTo>
                  <a:pt x="11593502" y="1822227"/>
                </a:moveTo>
                <a:cubicBezTo>
                  <a:pt x="11600640" y="1823415"/>
                  <a:pt x="11607302" y="1827217"/>
                  <a:pt x="11612061" y="1832920"/>
                </a:cubicBezTo>
                <a:cubicBezTo>
                  <a:pt x="11613964" y="1838623"/>
                  <a:pt x="11615868" y="1844326"/>
                  <a:pt x="11615868" y="1850029"/>
                </a:cubicBezTo>
                <a:cubicBezTo>
                  <a:pt x="11615868" y="1857632"/>
                  <a:pt x="11612061" y="1867138"/>
                  <a:pt x="11604447" y="1872840"/>
                </a:cubicBezTo>
                <a:cubicBezTo>
                  <a:pt x="11604447" y="1872840"/>
                  <a:pt x="11604447" y="1872840"/>
                  <a:pt x="11271337" y="2108557"/>
                </a:cubicBezTo>
                <a:cubicBezTo>
                  <a:pt x="11258013" y="2116159"/>
                  <a:pt x="11240881" y="2114261"/>
                  <a:pt x="11233267" y="2100952"/>
                </a:cubicBezTo>
                <a:cubicBezTo>
                  <a:pt x="11223750" y="2089547"/>
                  <a:pt x="11225653" y="2072439"/>
                  <a:pt x="11238978" y="2062934"/>
                </a:cubicBezTo>
                <a:cubicBezTo>
                  <a:pt x="11238978" y="2062934"/>
                  <a:pt x="11238978" y="2062934"/>
                  <a:pt x="11572088" y="1827217"/>
                </a:cubicBezTo>
                <a:cubicBezTo>
                  <a:pt x="11578750" y="1822464"/>
                  <a:pt x="11586364" y="1821038"/>
                  <a:pt x="11593502" y="1822227"/>
                </a:cubicBezTo>
                <a:close/>
                <a:moveTo>
                  <a:pt x="12139750" y="1819296"/>
                </a:moveTo>
                <a:cubicBezTo>
                  <a:pt x="12139750" y="1819296"/>
                  <a:pt x="12139750" y="1819296"/>
                  <a:pt x="12139750" y="1893845"/>
                </a:cubicBezTo>
                <a:cubicBezTo>
                  <a:pt x="12139750" y="1893845"/>
                  <a:pt x="12139750" y="1893845"/>
                  <a:pt x="11834405" y="2090726"/>
                </a:cubicBezTo>
                <a:cubicBezTo>
                  <a:pt x="11819138" y="2100283"/>
                  <a:pt x="11800054" y="2094549"/>
                  <a:pt x="11790512" y="2081169"/>
                </a:cubicBezTo>
                <a:cubicBezTo>
                  <a:pt x="11780970" y="2065877"/>
                  <a:pt x="11784787" y="2046762"/>
                  <a:pt x="11800054" y="2037205"/>
                </a:cubicBezTo>
                <a:lnTo>
                  <a:pt x="12135933" y="1821208"/>
                </a:lnTo>
                <a:cubicBezTo>
                  <a:pt x="12137842" y="1819296"/>
                  <a:pt x="12137842" y="1819296"/>
                  <a:pt x="12139750" y="1819296"/>
                </a:cubicBezTo>
                <a:close/>
                <a:moveTo>
                  <a:pt x="7591461" y="1816389"/>
                </a:moveTo>
                <a:cubicBezTo>
                  <a:pt x="7599307" y="1818063"/>
                  <a:pt x="7606440" y="1822846"/>
                  <a:pt x="7611195" y="1830500"/>
                </a:cubicBezTo>
                <a:cubicBezTo>
                  <a:pt x="7614999" y="1836240"/>
                  <a:pt x="7616901" y="1841981"/>
                  <a:pt x="7616901" y="1847721"/>
                </a:cubicBezTo>
                <a:cubicBezTo>
                  <a:pt x="7616901" y="1857288"/>
                  <a:pt x="7611195" y="1866856"/>
                  <a:pt x="7601685" y="1874509"/>
                </a:cubicBezTo>
                <a:cubicBezTo>
                  <a:pt x="7601685" y="1874509"/>
                  <a:pt x="7601685" y="1874509"/>
                  <a:pt x="7266927" y="2090722"/>
                </a:cubicBezTo>
                <a:cubicBezTo>
                  <a:pt x="7251710" y="2100289"/>
                  <a:pt x="7232690" y="2094549"/>
                  <a:pt x="7223180" y="2081155"/>
                </a:cubicBezTo>
                <a:cubicBezTo>
                  <a:pt x="7213670" y="2065848"/>
                  <a:pt x="7219376" y="2046715"/>
                  <a:pt x="7232690" y="2037147"/>
                </a:cubicBezTo>
                <a:cubicBezTo>
                  <a:pt x="7232690" y="2037147"/>
                  <a:pt x="7232690" y="2037147"/>
                  <a:pt x="7567448" y="1820933"/>
                </a:cubicBezTo>
                <a:cubicBezTo>
                  <a:pt x="7575056" y="1816149"/>
                  <a:pt x="7583615" y="1814714"/>
                  <a:pt x="7591461" y="1816389"/>
                </a:cubicBezTo>
                <a:close/>
                <a:moveTo>
                  <a:pt x="7042453" y="1811445"/>
                </a:moveTo>
                <a:cubicBezTo>
                  <a:pt x="7051052" y="1813588"/>
                  <a:pt x="7058696" y="1819303"/>
                  <a:pt x="7063473" y="1827876"/>
                </a:cubicBezTo>
                <a:cubicBezTo>
                  <a:pt x="7067295" y="1833591"/>
                  <a:pt x="7069206" y="1839306"/>
                  <a:pt x="7069206" y="1845021"/>
                </a:cubicBezTo>
                <a:cubicBezTo>
                  <a:pt x="7069206" y="1858356"/>
                  <a:pt x="7063473" y="1869786"/>
                  <a:pt x="7052008" y="1875501"/>
                </a:cubicBezTo>
                <a:cubicBezTo>
                  <a:pt x="7052008" y="1875501"/>
                  <a:pt x="7052008" y="1875501"/>
                  <a:pt x="6713777" y="2071714"/>
                </a:cubicBezTo>
                <a:cubicBezTo>
                  <a:pt x="6696579" y="2081239"/>
                  <a:pt x="6675559" y="2075525"/>
                  <a:pt x="6666004" y="2058379"/>
                </a:cubicBezTo>
                <a:cubicBezTo>
                  <a:pt x="6656450" y="2041235"/>
                  <a:pt x="6662182" y="2020280"/>
                  <a:pt x="6679381" y="2010756"/>
                </a:cubicBezTo>
                <a:cubicBezTo>
                  <a:pt x="6679381" y="2010756"/>
                  <a:pt x="6679381" y="2010756"/>
                  <a:pt x="7015700" y="1816445"/>
                </a:cubicBezTo>
                <a:cubicBezTo>
                  <a:pt x="7024300" y="1810730"/>
                  <a:pt x="7033854" y="1809302"/>
                  <a:pt x="7042453" y="1811445"/>
                </a:cubicBezTo>
                <a:close/>
                <a:moveTo>
                  <a:pt x="6499936" y="1806065"/>
                </a:moveTo>
                <a:cubicBezTo>
                  <a:pt x="6509244" y="1809168"/>
                  <a:pt x="6517358" y="1815852"/>
                  <a:pt x="6522132" y="1825400"/>
                </a:cubicBezTo>
                <a:cubicBezTo>
                  <a:pt x="6525950" y="1831129"/>
                  <a:pt x="6527860" y="1836858"/>
                  <a:pt x="6527860" y="1842587"/>
                </a:cubicBezTo>
                <a:cubicBezTo>
                  <a:pt x="6527860" y="1857864"/>
                  <a:pt x="6520223" y="1871231"/>
                  <a:pt x="6506857" y="1876960"/>
                </a:cubicBezTo>
                <a:cubicBezTo>
                  <a:pt x="6506857" y="1876960"/>
                  <a:pt x="6506857" y="1876960"/>
                  <a:pt x="6166999" y="2052641"/>
                </a:cubicBezTo>
                <a:cubicBezTo>
                  <a:pt x="6147906" y="2062190"/>
                  <a:pt x="6124994" y="2054551"/>
                  <a:pt x="6115448" y="2035456"/>
                </a:cubicBezTo>
                <a:cubicBezTo>
                  <a:pt x="6103992" y="2016360"/>
                  <a:pt x="6111629" y="1993445"/>
                  <a:pt x="6130722" y="1983897"/>
                </a:cubicBezTo>
                <a:cubicBezTo>
                  <a:pt x="6130722" y="1983897"/>
                  <a:pt x="6130722" y="1983897"/>
                  <a:pt x="6470580" y="1808213"/>
                </a:cubicBezTo>
                <a:cubicBezTo>
                  <a:pt x="6480127" y="1803439"/>
                  <a:pt x="6490628" y="1802962"/>
                  <a:pt x="6499936" y="1806065"/>
                </a:cubicBezTo>
                <a:close/>
                <a:moveTo>
                  <a:pt x="5958440" y="1800931"/>
                </a:moveTo>
                <a:cubicBezTo>
                  <a:pt x="5968909" y="1804761"/>
                  <a:pt x="5977952" y="1812420"/>
                  <a:pt x="5982710" y="1822950"/>
                </a:cubicBezTo>
                <a:cubicBezTo>
                  <a:pt x="5984614" y="1828695"/>
                  <a:pt x="5986517" y="1834438"/>
                  <a:pt x="5986517" y="1840183"/>
                </a:cubicBezTo>
                <a:cubicBezTo>
                  <a:pt x="5986517" y="1857416"/>
                  <a:pt x="5977000" y="1872733"/>
                  <a:pt x="5961771" y="1878478"/>
                </a:cubicBezTo>
                <a:cubicBezTo>
                  <a:pt x="5961771" y="1878478"/>
                  <a:pt x="5961771" y="1878478"/>
                  <a:pt x="5622934" y="2033566"/>
                </a:cubicBezTo>
                <a:cubicBezTo>
                  <a:pt x="5600091" y="2043140"/>
                  <a:pt x="5575344" y="2033566"/>
                  <a:pt x="5565827" y="2012506"/>
                </a:cubicBezTo>
                <a:cubicBezTo>
                  <a:pt x="5556309" y="1991444"/>
                  <a:pt x="5565827" y="1964639"/>
                  <a:pt x="5586766" y="1955065"/>
                </a:cubicBezTo>
                <a:cubicBezTo>
                  <a:pt x="5586766" y="1955065"/>
                  <a:pt x="5586766" y="1955065"/>
                  <a:pt x="5925602" y="1801889"/>
                </a:cubicBezTo>
                <a:cubicBezTo>
                  <a:pt x="5936072" y="1797102"/>
                  <a:pt x="5947970" y="1797102"/>
                  <a:pt x="5958440" y="1800931"/>
                </a:cubicBezTo>
                <a:close/>
                <a:moveTo>
                  <a:pt x="398962" y="1800922"/>
                </a:moveTo>
                <a:cubicBezTo>
                  <a:pt x="409432" y="1804752"/>
                  <a:pt x="418474" y="1812411"/>
                  <a:pt x="423233" y="1822941"/>
                </a:cubicBezTo>
                <a:cubicBezTo>
                  <a:pt x="425137" y="1828686"/>
                  <a:pt x="427041" y="1834430"/>
                  <a:pt x="427041" y="1840174"/>
                </a:cubicBezTo>
                <a:cubicBezTo>
                  <a:pt x="427041" y="1857407"/>
                  <a:pt x="417522" y="1872724"/>
                  <a:pt x="400390" y="1878468"/>
                </a:cubicBezTo>
                <a:cubicBezTo>
                  <a:pt x="400390" y="1878468"/>
                  <a:pt x="400390" y="1878468"/>
                  <a:pt x="61546" y="2033558"/>
                </a:cubicBezTo>
                <a:cubicBezTo>
                  <a:pt x="40607" y="2043131"/>
                  <a:pt x="15860" y="2033558"/>
                  <a:pt x="6342" y="2012496"/>
                </a:cubicBezTo>
                <a:cubicBezTo>
                  <a:pt x="-3177" y="1991435"/>
                  <a:pt x="6342" y="1964629"/>
                  <a:pt x="27281" y="1955055"/>
                </a:cubicBezTo>
                <a:cubicBezTo>
                  <a:pt x="27281" y="1955055"/>
                  <a:pt x="27281" y="1955055"/>
                  <a:pt x="366125" y="1801879"/>
                </a:cubicBezTo>
                <a:cubicBezTo>
                  <a:pt x="376595" y="1797093"/>
                  <a:pt x="388492" y="1797093"/>
                  <a:pt x="398962" y="1800922"/>
                </a:cubicBezTo>
                <a:close/>
                <a:moveTo>
                  <a:pt x="5395741" y="1792156"/>
                </a:moveTo>
                <a:cubicBezTo>
                  <a:pt x="5414189" y="1792513"/>
                  <a:pt x="5431025" y="1803586"/>
                  <a:pt x="5438189" y="1822160"/>
                </a:cubicBezTo>
                <a:cubicBezTo>
                  <a:pt x="5440099" y="1827876"/>
                  <a:pt x="5442010" y="1833591"/>
                  <a:pt x="5442010" y="1839306"/>
                </a:cubicBezTo>
                <a:cubicBezTo>
                  <a:pt x="5442010" y="1858356"/>
                  <a:pt x="5430547" y="1875501"/>
                  <a:pt x="5411443" y="1883121"/>
                </a:cubicBezTo>
                <a:cubicBezTo>
                  <a:pt x="5411443" y="1883121"/>
                  <a:pt x="5411443" y="1883121"/>
                  <a:pt x="5069457" y="2014565"/>
                </a:cubicBezTo>
                <a:cubicBezTo>
                  <a:pt x="5046533" y="2024090"/>
                  <a:pt x="5019789" y="2012660"/>
                  <a:pt x="5010238" y="1989801"/>
                </a:cubicBezTo>
                <a:cubicBezTo>
                  <a:pt x="5000687" y="1965036"/>
                  <a:pt x="5012147" y="1938366"/>
                  <a:pt x="5036983" y="1928841"/>
                </a:cubicBezTo>
                <a:cubicBezTo>
                  <a:pt x="5036983" y="1928841"/>
                  <a:pt x="5036983" y="1928841"/>
                  <a:pt x="5377054" y="1795490"/>
                </a:cubicBezTo>
                <a:cubicBezTo>
                  <a:pt x="5383263" y="1793109"/>
                  <a:pt x="5389591" y="1792037"/>
                  <a:pt x="5395741" y="1792156"/>
                </a:cubicBezTo>
                <a:close/>
                <a:moveTo>
                  <a:pt x="929266" y="1792145"/>
                </a:moveTo>
                <a:cubicBezTo>
                  <a:pt x="946908" y="1792502"/>
                  <a:pt x="963745" y="1803575"/>
                  <a:pt x="970909" y="1822149"/>
                </a:cubicBezTo>
                <a:cubicBezTo>
                  <a:pt x="974730" y="1827864"/>
                  <a:pt x="974730" y="1833579"/>
                  <a:pt x="974730" y="1839294"/>
                </a:cubicBezTo>
                <a:cubicBezTo>
                  <a:pt x="974730" y="1858344"/>
                  <a:pt x="963267" y="1875489"/>
                  <a:pt x="946072" y="1883109"/>
                </a:cubicBezTo>
                <a:cubicBezTo>
                  <a:pt x="946072" y="1883109"/>
                  <a:pt x="946072" y="1883109"/>
                  <a:pt x="604089" y="2014554"/>
                </a:cubicBezTo>
                <a:cubicBezTo>
                  <a:pt x="579253" y="2024078"/>
                  <a:pt x="552505" y="2012649"/>
                  <a:pt x="542953" y="1989789"/>
                </a:cubicBezTo>
                <a:cubicBezTo>
                  <a:pt x="533400" y="1965024"/>
                  <a:pt x="544863" y="1938354"/>
                  <a:pt x="569700" y="1928829"/>
                </a:cubicBezTo>
                <a:cubicBezTo>
                  <a:pt x="569700" y="1928829"/>
                  <a:pt x="569700" y="1928829"/>
                  <a:pt x="911683" y="1795478"/>
                </a:cubicBezTo>
                <a:cubicBezTo>
                  <a:pt x="917415" y="1793097"/>
                  <a:pt x="923385" y="1792026"/>
                  <a:pt x="929266" y="1792145"/>
                </a:cubicBezTo>
                <a:close/>
                <a:moveTo>
                  <a:pt x="4845289" y="1786421"/>
                </a:moveTo>
                <a:cubicBezTo>
                  <a:pt x="4864224" y="1787854"/>
                  <a:pt x="4882086" y="1801107"/>
                  <a:pt x="4889233" y="1819733"/>
                </a:cubicBezTo>
                <a:cubicBezTo>
                  <a:pt x="4891136" y="1825464"/>
                  <a:pt x="4891136" y="1831195"/>
                  <a:pt x="4891136" y="1836927"/>
                </a:cubicBezTo>
                <a:cubicBezTo>
                  <a:pt x="4891136" y="1857942"/>
                  <a:pt x="4877801" y="1877046"/>
                  <a:pt x="4856841" y="1884687"/>
                </a:cubicBezTo>
                <a:cubicBezTo>
                  <a:pt x="4856841" y="1884687"/>
                  <a:pt x="4856841" y="1884687"/>
                  <a:pt x="4515848" y="1997399"/>
                </a:cubicBezTo>
                <a:cubicBezTo>
                  <a:pt x="4489179" y="2005041"/>
                  <a:pt x="4460601" y="1991668"/>
                  <a:pt x="4451076" y="1964923"/>
                </a:cubicBezTo>
                <a:cubicBezTo>
                  <a:pt x="4443456" y="1938178"/>
                  <a:pt x="4456792" y="1909522"/>
                  <a:pt x="4483463" y="1901881"/>
                </a:cubicBezTo>
                <a:cubicBezTo>
                  <a:pt x="4483463" y="1901881"/>
                  <a:pt x="4483463" y="1901881"/>
                  <a:pt x="4826355" y="1789167"/>
                </a:cubicBezTo>
                <a:cubicBezTo>
                  <a:pt x="4832548" y="1786779"/>
                  <a:pt x="4838978" y="1785943"/>
                  <a:pt x="4845289" y="1786421"/>
                </a:cubicBezTo>
                <a:close/>
                <a:moveTo>
                  <a:pt x="1480544" y="1786407"/>
                </a:moveTo>
                <a:cubicBezTo>
                  <a:pt x="1500175" y="1787839"/>
                  <a:pt x="1517665" y="1801092"/>
                  <a:pt x="1523376" y="1819719"/>
                </a:cubicBezTo>
                <a:cubicBezTo>
                  <a:pt x="1525280" y="1825450"/>
                  <a:pt x="1527184" y="1831181"/>
                  <a:pt x="1527184" y="1836913"/>
                </a:cubicBezTo>
                <a:cubicBezTo>
                  <a:pt x="1527184" y="1857927"/>
                  <a:pt x="1513858" y="1877031"/>
                  <a:pt x="1492918" y="1884672"/>
                </a:cubicBezTo>
                <a:cubicBezTo>
                  <a:pt x="1492918" y="1884672"/>
                  <a:pt x="1492918" y="1884672"/>
                  <a:pt x="1150255" y="1997385"/>
                </a:cubicBezTo>
                <a:cubicBezTo>
                  <a:pt x="1123604" y="2005025"/>
                  <a:pt x="1095048" y="1991653"/>
                  <a:pt x="1087434" y="1964908"/>
                </a:cubicBezTo>
                <a:cubicBezTo>
                  <a:pt x="1077915" y="1938163"/>
                  <a:pt x="1093145" y="1909507"/>
                  <a:pt x="1119796" y="1901866"/>
                </a:cubicBezTo>
                <a:cubicBezTo>
                  <a:pt x="1119796" y="1901866"/>
                  <a:pt x="1119796" y="1901866"/>
                  <a:pt x="1460555" y="1789153"/>
                </a:cubicBezTo>
                <a:cubicBezTo>
                  <a:pt x="1467218" y="1786765"/>
                  <a:pt x="1474000" y="1785929"/>
                  <a:pt x="1480544" y="1786407"/>
                </a:cubicBezTo>
                <a:close/>
                <a:moveTo>
                  <a:pt x="4289929" y="1779643"/>
                </a:moveTo>
                <a:cubicBezTo>
                  <a:pt x="4310378" y="1782608"/>
                  <a:pt x="4327881" y="1797700"/>
                  <a:pt x="4333596" y="1819260"/>
                </a:cubicBezTo>
                <a:cubicBezTo>
                  <a:pt x="4335501" y="1825009"/>
                  <a:pt x="4335501" y="1828842"/>
                  <a:pt x="4335501" y="1834591"/>
                </a:cubicBezTo>
                <a:cubicBezTo>
                  <a:pt x="4335501" y="1857589"/>
                  <a:pt x="4320261" y="1878670"/>
                  <a:pt x="4295495" y="1886336"/>
                </a:cubicBezTo>
                <a:cubicBezTo>
                  <a:pt x="4295495" y="1886336"/>
                  <a:pt x="4295495" y="1886336"/>
                  <a:pt x="3952611" y="1978325"/>
                </a:cubicBezTo>
                <a:cubicBezTo>
                  <a:pt x="3924033" y="1985990"/>
                  <a:pt x="3893553" y="1968743"/>
                  <a:pt x="3885933" y="1939996"/>
                </a:cubicBezTo>
                <a:cubicBezTo>
                  <a:pt x="3878314" y="1911250"/>
                  <a:pt x="3895458" y="1880586"/>
                  <a:pt x="3924033" y="1872921"/>
                </a:cubicBezTo>
                <a:cubicBezTo>
                  <a:pt x="3924033" y="1872921"/>
                  <a:pt x="3924033" y="1872921"/>
                  <a:pt x="4268824" y="1780930"/>
                </a:cubicBezTo>
                <a:cubicBezTo>
                  <a:pt x="4275968" y="1779014"/>
                  <a:pt x="4283112" y="1778655"/>
                  <a:pt x="4289929" y="1779643"/>
                </a:cubicBezTo>
                <a:close/>
                <a:moveTo>
                  <a:pt x="2035632" y="1779626"/>
                </a:moveTo>
                <a:cubicBezTo>
                  <a:pt x="2056622" y="1782591"/>
                  <a:pt x="2075195" y="1797683"/>
                  <a:pt x="2080910" y="1819243"/>
                </a:cubicBezTo>
                <a:cubicBezTo>
                  <a:pt x="2082815" y="1824992"/>
                  <a:pt x="2082815" y="1828825"/>
                  <a:pt x="2082815" y="1834574"/>
                </a:cubicBezTo>
                <a:cubicBezTo>
                  <a:pt x="2082815" y="1857572"/>
                  <a:pt x="2065670" y="1878653"/>
                  <a:pt x="2042805" y="1886319"/>
                </a:cubicBezTo>
                <a:cubicBezTo>
                  <a:pt x="2042805" y="1886319"/>
                  <a:pt x="2042805" y="1886319"/>
                  <a:pt x="1699901" y="1978307"/>
                </a:cubicBezTo>
                <a:cubicBezTo>
                  <a:pt x="1669421" y="1985973"/>
                  <a:pt x="1640845" y="1968725"/>
                  <a:pt x="1633225" y="1939979"/>
                </a:cubicBezTo>
                <a:cubicBezTo>
                  <a:pt x="1625605" y="1911232"/>
                  <a:pt x="1642750" y="1880569"/>
                  <a:pt x="1671326" y="1872903"/>
                </a:cubicBezTo>
                <a:cubicBezTo>
                  <a:pt x="1671326" y="1872903"/>
                  <a:pt x="1671326" y="1872903"/>
                  <a:pt x="2014230" y="1780914"/>
                </a:cubicBezTo>
                <a:cubicBezTo>
                  <a:pt x="2021374" y="1778997"/>
                  <a:pt x="2028637" y="1778638"/>
                  <a:pt x="2035632" y="1779626"/>
                </a:cubicBezTo>
                <a:close/>
                <a:moveTo>
                  <a:pt x="3732186" y="1775478"/>
                </a:moveTo>
                <a:cubicBezTo>
                  <a:pt x="3753993" y="1779592"/>
                  <a:pt x="3772581" y="1797123"/>
                  <a:pt x="3778299" y="1820020"/>
                </a:cubicBezTo>
                <a:cubicBezTo>
                  <a:pt x="3778299" y="1823835"/>
                  <a:pt x="3778299" y="1827652"/>
                  <a:pt x="3778299" y="1831468"/>
                </a:cubicBezTo>
                <a:cubicBezTo>
                  <a:pt x="3778299" y="1858181"/>
                  <a:pt x="3759235" y="1882986"/>
                  <a:pt x="3732545" y="1888710"/>
                </a:cubicBezTo>
                <a:cubicBezTo>
                  <a:pt x="3732545" y="1888710"/>
                  <a:pt x="3732545" y="1888710"/>
                  <a:pt x="3387514" y="1959308"/>
                </a:cubicBezTo>
                <a:cubicBezTo>
                  <a:pt x="3357010" y="1966941"/>
                  <a:pt x="3326509" y="1945952"/>
                  <a:pt x="3318883" y="1915423"/>
                </a:cubicBezTo>
                <a:cubicBezTo>
                  <a:pt x="3313164" y="1882986"/>
                  <a:pt x="3332228" y="1852457"/>
                  <a:pt x="3364636" y="1846733"/>
                </a:cubicBezTo>
                <a:cubicBezTo>
                  <a:pt x="3364636" y="1846733"/>
                  <a:pt x="3364636" y="1846733"/>
                  <a:pt x="3709668" y="1776134"/>
                </a:cubicBezTo>
                <a:cubicBezTo>
                  <a:pt x="3717292" y="1774226"/>
                  <a:pt x="3724918" y="1774107"/>
                  <a:pt x="3732186" y="1775478"/>
                </a:cubicBezTo>
                <a:close/>
                <a:moveTo>
                  <a:pt x="2597096" y="1775459"/>
                </a:moveTo>
                <a:cubicBezTo>
                  <a:pt x="2618900" y="1779573"/>
                  <a:pt x="2637486" y="1797103"/>
                  <a:pt x="2643205" y="1820000"/>
                </a:cubicBezTo>
                <a:cubicBezTo>
                  <a:pt x="2643205" y="1823816"/>
                  <a:pt x="2643205" y="1827632"/>
                  <a:pt x="2643205" y="1831449"/>
                </a:cubicBezTo>
                <a:cubicBezTo>
                  <a:pt x="2643205" y="1858161"/>
                  <a:pt x="2624142" y="1882966"/>
                  <a:pt x="2597453" y="1888690"/>
                </a:cubicBezTo>
                <a:cubicBezTo>
                  <a:pt x="2597453" y="1888690"/>
                  <a:pt x="2597453" y="1888690"/>
                  <a:pt x="2252409" y="1959288"/>
                </a:cubicBezTo>
                <a:cubicBezTo>
                  <a:pt x="2221908" y="1966921"/>
                  <a:pt x="2191406" y="1945932"/>
                  <a:pt x="2183781" y="1915403"/>
                </a:cubicBezTo>
                <a:cubicBezTo>
                  <a:pt x="2178062" y="1882966"/>
                  <a:pt x="2197125" y="1852437"/>
                  <a:pt x="2229533" y="1846713"/>
                </a:cubicBezTo>
                <a:cubicBezTo>
                  <a:pt x="2229533" y="1846713"/>
                  <a:pt x="2229533" y="1846713"/>
                  <a:pt x="2574577" y="1776115"/>
                </a:cubicBezTo>
                <a:cubicBezTo>
                  <a:pt x="2582203" y="1774206"/>
                  <a:pt x="2589828" y="1774087"/>
                  <a:pt x="2597096" y="1775459"/>
                </a:cubicBezTo>
                <a:close/>
                <a:moveTo>
                  <a:pt x="3139439" y="1767857"/>
                </a:moveTo>
                <a:cubicBezTo>
                  <a:pt x="3173753" y="1762151"/>
                  <a:pt x="3204252" y="1786874"/>
                  <a:pt x="3209972" y="1819203"/>
                </a:cubicBezTo>
                <a:cubicBezTo>
                  <a:pt x="3209972" y="1823006"/>
                  <a:pt x="3209972" y="1826810"/>
                  <a:pt x="3209972" y="1828711"/>
                </a:cubicBezTo>
                <a:cubicBezTo>
                  <a:pt x="3209972" y="1859139"/>
                  <a:pt x="3187098" y="1885763"/>
                  <a:pt x="3156596" y="1889566"/>
                </a:cubicBezTo>
                <a:cubicBezTo>
                  <a:pt x="3156596" y="1889566"/>
                  <a:pt x="3156596" y="1889566"/>
                  <a:pt x="2811555" y="1939010"/>
                </a:cubicBezTo>
                <a:cubicBezTo>
                  <a:pt x="2777239" y="1944716"/>
                  <a:pt x="2746740" y="1921895"/>
                  <a:pt x="2741022" y="1887665"/>
                </a:cubicBezTo>
                <a:cubicBezTo>
                  <a:pt x="2735303" y="1853434"/>
                  <a:pt x="2760084" y="1823006"/>
                  <a:pt x="2792492" y="1819203"/>
                </a:cubicBezTo>
                <a:cubicBezTo>
                  <a:pt x="2792492" y="1819203"/>
                  <a:pt x="2792492" y="1819203"/>
                  <a:pt x="3139439" y="1767857"/>
                </a:cubicBezTo>
                <a:close/>
                <a:moveTo>
                  <a:pt x="9859195" y="1522734"/>
                </a:moveTo>
                <a:cubicBezTo>
                  <a:pt x="9864196" y="1523210"/>
                  <a:pt x="9868958" y="1525589"/>
                  <a:pt x="9871816" y="1530346"/>
                </a:cubicBezTo>
                <a:cubicBezTo>
                  <a:pt x="9875626" y="1532249"/>
                  <a:pt x="9877531" y="1537959"/>
                  <a:pt x="9877531" y="1541765"/>
                </a:cubicBezTo>
                <a:cubicBezTo>
                  <a:pt x="9877531" y="1547475"/>
                  <a:pt x="9875626" y="1553184"/>
                  <a:pt x="9869911" y="1556990"/>
                </a:cubicBezTo>
                <a:cubicBezTo>
                  <a:pt x="9869911" y="1556990"/>
                  <a:pt x="9869911" y="1556990"/>
                  <a:pt x="9538436" y="1838657"/>
                </a:cubicBezTo>
                <a:cubicBezTo>
                  <a:pt x="9530816" y="1846270"/>
                  <a:pt x="9519386" y="1846270"/>
                  <a:pt x="9511766" y="1836754"/>
                </a:cubicBezTo>
                <a:cubicBezTo>
                  <a:pt x="9506051" y="1829141"/>
                  <a:pt x="9506051" y="1817722"/>
                  <a:pt x="9513671" y="1810110"/>
                </a:cubicBezTo>
                <a:cubicBezTo>
                  <a:pt x="9513671" y="1810110"/>
                  <a:pt x="9513671" y="1810110"/>
                  <a:pt x="9845146" y="1526540"/>
                </a:cubicBezTo>
                <a:cubicBezTo>
                  <a:pt x="9848956" y="1523685"/>
                  <a:pt x="9854195" y="1522258"/>
                  <a:pt x="9859195" y="1522734"/>
                </a:cubicBezTo>
                <a:close/>
                <a:moveTo>
                  <a:pt x="9283544" y="1516005"/>
                </a:moveTo>
                <a:cubicBezTo>
                  <a:pt x="9289502" y="1516718"/>
                  <a:pt x="9295222" y="1519573"/>
                  <a:pt x="9299036" y="1524331"/>
                </a:cubicBezTo>
                <a:cubicBezTo>
                  <a:pt x="9300942" y="1528137"/>
                  <a:pt x="9302849" y="1533846"/>
                  <a:pt x="9302849" y="1537653"/>
                </a:cubicBezTo>
                <a:cubicBezTo>
                  <a:pt x="9302849" y="1545265"/>
                  <a:pt x="9300942" y="1550974"/>
                  <a:pt x="9295222" y="1554780"/>
                </a:cubicBezTo>
                <a:cubicBezTo>
                  <a:pt x="9295222" y="1554780"/>
                  <a:pt x="9295222" y="1554780"/>
                  <a:pt x="8961563" y="1821217"/>
                </a:cubicBezTo>
                <a:cubicBezTo>
                  <a:pt x="8952030" y="1828830"/>
                  <a:pt x="8938684" y="1826927"/>
                  <a:pt x="8931057" y="1817411"/>
                </a:cubicBezTo>
                <a:cubicBezTo>
                  <a:pt x="8923431" y="1807895"/>
                  <a:pt x="8925338" y="1792671"/>
                  <a:pt x="8934871" y="1785058"/>
                </a:cubicBezTo>
                <a:cubicBezTo>
                  <a:pt x="8934871" y="1785058"/>
                  <a:pt x="8934871" y="1785058"/>
                  <a:pt x="9266623" y="1520524"/>
                </a:cubicBezTo>
                <a:cubicBezTo>
                  <a:pt x="9271389" y="1516718"/>
                  <a:pt x="9277586" y="1515291"/>
                  <a:pt x="9283544" y="1516005"/>
                </a:cubicBezTo>
                <a:close/>
                <a:moveTo>
                  <a:pt x="10444673" y="1515983"/>
                </a:moveTo>
                <a:cubicBezTo>
                  <a:pt x="10450150" y="1516697"/>
                  <a:pt x="10455389" y="1519551"/>
                  <a:pt x="10459199" y="1524309"/>
                </a:cubicBezTo>
                <a:cubicBezTo>
                  <a:pt x="10463009" y="1528115"/>
                  <a:pt x="10464914" y="1533824"/>
                  <a:pt x="10464914" y="1537630"/>
                </a:cubicBezTo>
                <a:cubicBezTo>
                  <a:pt x="10464914" y="1545243"/>
                  <a:pt x="10461104" y="1550952"/>
                  <a:pt x="10455389" y="1554759"/>
                </a:cubicBezTo>
                <a:cubicBezTo>
                  <a:pt x="10455389" y="1554759"/>
                  <a:pt x="10455389" y="1554759"/>
                  <a:pt x="10123915" y="1821192"/>
                </a:cubicBezTo>
                <a:cubicBezTo>
                  <a:pt x="10114389" y="1828804"/>
                  <a:pt x="10099149" y="1826901"/>
                  <a:pt x="10091529" y="1817385"/>
                </a:cubicBezTo>
                <a:cubicBezTo>
                  <a:pt x="10083909" y="1807870"/>
                  <a:pt x="10085814" y="1792645"/>
                  <a:pt x="10095339" y="1785033"/>
                </a:cubicBezTo>
                <a:cubicBezTo>
                  <a:pt x="10095339" y="1785033"/>
                  <a:pt x="10095339" y="1785033"/>
                  <a:pt x="10428719" y="1520503"/>
                </a:cubicBezTo>
                <a:cubicBezTo>
                  <a:pt x="10433481" y="1516697"/>
                  <a:pt x="10439197" y="1515269"/>
                  <a:pt x="10444673" y="1515983"/>
                </a:cubicBezTo>
                <a:close/>
                <a:moveTo>
                  <a:pt x="8713305" y="1508547"/>
                </a:moveTo>
                <a:cubicBezTo>
                  <a:pt x="8719740" y="1509261"/>
                  <a:pt x="8725937" y="1512595"/>
                  <a:pt x="8730703" y="1518310"/>
                </a:cubicBezTo>
                <a:cubicBezTo>
                  <a:pt x="8732609" y="1524026"/>
                  <a:pt x="8734516" y="1529740"/>
                  <a:pt x="8734516" y="1533551"/>
                </a:cubicBezTo>
                <a:cubicBezTo>
                  <a:pt x="8734516" y="1543076"/>
                  <a:pt x="8730703" y="1550696"/>
                  <a:pt x="8724983" y="1554506"/>
                </a:cubicBezTo>
                <a:cubicBezTo>
                  <a:pt x="8724983" y="1554506"/>
                  <a:pt x="8724983" y="1554506"/>
                  <a:pt x="8391331" y="1802160"/>
                </a:cubicBezTo>
                <a:cubicBezTo>
                  <a:pt x="8379892" y="1809779"/>
                  <a:pt x="8362732" y="1807874"/>
                  <a:pt x="8355106" y="1796444"/>
                </a:cubicBezTo>
                <a:cubicBezTo>
                  <a:pt x="8345573" y="1785014"/>
                  <a:pt x="8349386" y="1769774"/>
                  <a:pt x="8360826" y="1760249"/>
                </a:cubicBezTo>
                <a:cubicBezTo>
                  <a:pt x="8360826" y="1760249"/>
                  <a:pt x="8360826" y="1760249"/>
                  <a:pt x="8694478" y="1514500"/>
                </a:cubicBezTo>
                <a:cubicBezTo>
                  <a:pt x="8700197" y="1509738"/>
                  <a:pt x="8706870" y="1507833"/>
                  <a:pt x="8713305" y="1508547"/>
                </a:cubicBezTo>
                <a:close/>
                <a:moveTo>
                  <a:pt x="11022911" y="1508523"/>
                </a:moveTo>
                <a:cubicBezTo>
                  <a:pt x="11029107" y="1509237"/>
                  <a:pt x="11034827" y="1512571"/>
                  <a:pt x="11038640" y="1518286"/>
                </a:cubicBezTo>
                <a:cubicBezTo>
                  <a:pt x="11042453" y="1524001"/>
                  <a:pt x="11044360" y="1529716"/>
                  <a:pt x="11044360" y="1533526"/>
                </a:cubicBezTo>
                <a:cubicBezTo>
                  <a:pt x="11044360" y="1543051"/>
                  <a:pt x="11040547" y="1550671"/>
                  <a:pt x="11034827" y="1554481"/>
                </a:cubicBezTo>
                <a:cubicBezTo>
                  <a:pt x="11034827" y="1554481"/>
                  <a:pt x="11034827" y="1554481"/>
                  <a:pt x="10701175" y="1802131"/>
                </a:cubicBezTo>
                <a:cubicBezTo>
                  <a:pt x="10689736" y="1809751"/>
                  <a:pt x="10672576" y="1807846"/>
                  <a:pt x="10664950" y="1796416"/>
                </a:cubicBezTo>
                <a:cubicBezTo>
                  <a:pt x="10655417" y="1784986"/>
                  <a:pt x="10659230" y="1769746"/>
                  <a:pt x="10670670" y="1760221"/>
                </a:cubicBezTo>
                <a:cubicBezTo>
                  <a:pt x="10670670" y="1760221"/>
                  <a:pt x="10670670" y="1760221"/>
                  <a:pt x="11004322" y="1514476"/>
                </a:cubicBezTo>
                <a:cubicBezTo>
                  <a:pt x="11010042" y="1509714"/>
                  <a:pt x="11016715" y="1507809"/>
                  <a:pt x="11022911" y="1508523"/>
                </a:cubicBezTo>
                <a:close/>
                <a:moveTo>
                  <a:pt x="8149812" y="1501800"/>
                </a:moveTo>
                <a:cubicBezTo>
                  <a:pt x="8156962" y="1503228"/>
                  <a:pt x="8163635" y="1507515"/>
                  <a:pt x="8168401" y="1514182"/>
                </a:cubicBezTo>
                <a:cubicBezTo>
                  <a:pt x="8172214" y="1519897"/>
                  <a:pt x="8174121" y="1525612"/>
                  <a:pt x="8174121" y="1531327"/>
                </a:cubicBezTo>
                <a:cubicBezTo>
                  <a:pt x="8174121" y="1540853"/>
                  <a:pt x="8168401" y="1548473"/>
                  <a:pt x="8160775" y="1554187"/>
                </a:cubicBezTo>
                <a:cubicBezTo>
                  <a:pt x="8160775" y="1554187"/>
                  <a:pt x="8160775" y="1554187"/>
                  <a:pt x="7825223" y="1782791"/>
                </a:cubicBezTo>
                <a:cubicBezTo>
                  <a:pt x="7811877" y="1792316"/>
                  <a:pt x="7794718" y="1788506"/>
                  <a:pt x="7785185" y="1775171"/>
                </a:cubicBezTo>
                <a:cubicBezTo>
                  <a:pt x="7775653" y="1761836"/>
                  <a:pt x="7779466" y="1744691"/>
                  <a:pt x="7792812" y="1735166"/>
                </a:cubicBezTo>
                <a:cubicBezTo>
                  <a:pt x="7792812" y="1735166"/>
                  <a:pt x="7792812" y="1735166"/>
                  <a:pt x="8128364" y="1506563"/>
                </a:cubicBezTo>
                <a:cubicBezTo>
                  <a:pt x="8135036" y="1501800"/>
                  <a:pt x="8142663" y="1500371"/>
                  <a:pt x="8149812" y="1501800"/>
                </a:cubicBezTo>
                <a:close/>
                <a:moveTo>
                  <a:pt x="11594174" y="1501795"/>
                </a:moveTo>
                <a:cubicBezTo>
                  <a:pt x="11601776" y="1503224"/>
                  <a:pt x="11608903" y="1507510"/>
                  <a:pt x="11613654" y="1514178"/>
                </a:cubicBezTo>
                <a:cubicBezTo>
                  <a:pt x="11615555" y="1519893"/>
                  <a:pt x="11617455" y="1525608"/>
                  <a:pt x="11617455" y="1531323"/>
                </a:cubicBezTo>
                <a:cubicBezTo>
                  <a:pt x="11617455" y="1540848"/>
                  <a:pt x="11613654" y="1548468"/>
                  <a:pt x="11606052" y="1554183"/>
                </a:cubicBezTo>
                <a:cubicBezTo>
                  <a:pt x="11606052" y="1554183"/>
                  <a:pt x="11606052" y="1554183"/>
                  <a:pt x="11271574" y="1782786"/>
                </a:cubicBezTo>
                <a:cubicBezTo>
                  <a:pt x="11258270" y="1792311"/>
                  <a:pt x="11239266" y="1788501"/>
                  <a:pt x="11231664" y="1775166"/>
                </a:cubicBezTo>
                <a:cubicBezTo>
                  <a:pt x="11222162" y="1761831"/>
                  <a:pt x="11225963" y="1744685"/>
                  <a:pt x="11239266" y="1735161"/>
                </a:cubicBezTo>
                <a:cubicBezTo>
                  <a:pt x="11239266" y="1735161"/>
                  <a:pt x="11239266" y="1735161"/>
                  <a:pt x="11571844" y="1506558"/>
                </a:cubicBezTo>
                <a:cubicBezTo>
                  <a:pt x="11578496" y="1501795"/>
                  <a:pt x="11586573" y="1500367"/>
                  <a:pt x="11594174" y="1501795"/>
                </a:cubicBezTo>
                <a:close/>
                <a:moveTo>
                  <a:pt x="12139750" y="1497031"/>
                </a:moveTo>
                <a:cubicBezTo>
                  <a:pt x="12139750" y="1497031"/>
                  <a:pt x="12139750" y="1497031"/>
                  <a:pt x="12139750" y="1573231"/>
                </a:cubicBezTo>
                <a:cubicBezTo>
                  <a:pt x="12139750" y="1573231"/>
                  <a:pt x="12139750" y="1573231"/>
                  <a:pt x="11834677" y="1763733"/>
                </a:cubicBezTo>
                <a:cubicBezTo>
                  <a:pt x="11819424" y="1773258"/>
                  <a:pt x="11798450" y="1769448"/>
                  <a:pt x="11788917" y="1754208"/>
                </a:cubicBezTo>
                <a:cubicBezTo>
                  <a:pt x="11779383" y="1738968"/>
                  <a:pt x="11785103" y="1719918"/>
                  <a:pt x="11800357" y="1710392"/>
                </a:cubicBezTo>
                <a:lnTo>
                  <a:pt x="12135937" y="1498936"/>
                </a:lnTo>
                <a:cubicBezTo>
                  <a:pt x="12137843" y="1498936"/>
                  <a:pt x="12137843" y="1498936"/>
                  <a:pt x="12139750" y="1497031"/>
                </a:cubicBezTo>
                <a:close/>
                <a:moveTo>
                  <a:pt x="7592412" y="1496614"/>
                </a:moveTo>
                <a:cubicBezTo>
                  <a:pt x="7600734" y="1498748"/>
                  <a:pt x="7608342" y="1503963"/>
                  <a:pt x="7613097" y="1511548"/>
                </a:cubicBezTo>
                <a:cubicBezTo>
                  <a:pt x="7616901" y="1517237"/>
                  <a:pt x="7616901" y="1522928"/>
                  <a:pt x="7616901" y="1528616"/>
                </a:cubicBezTo>
                <a:cubicBezTo>
                  <a:pt x="7616901" y="1539996"/>
                  <a:pt x="7611195" y="1549478"/>
                  <a:pt x="7601685" y="1555168"/>
                </a:cubicBezTo>
                <a:cubicBezTo>
                  <a:pt x="7601685" y="1555168"/>
                  <a:pt x="7601685" y="1555168"/>
                  <a:pt x="7266927" y="1763784"/>
                </a:cubicBezTo>
                <a:cubicBezTo>
                  <a:pt x="7251710" y="1773266"/>
                  <a:pt x="7232690" y="1769473"/>
                  <a:pt x="7223180" y="1754301"/>
                </a:cubicBezTo>
                <a:cubicBezTo>
                  <a:pt x="7213670" y="1739129"/>
                  <a:pt x="7217474" y="1720164"/>
                  <a:pt x="7232690" y="1710681"/>
                </a:cubicBezTo>
                <a:cubicBezTo>
                  <a:pt x="7232690" y="1710681"/>
                  <a:pt x="7232690" y="1710681"/>
                  <a:pt x="7567448" y="1500170"/>
                </a:cubicBezTo>
                <a:cubicBezTo>
                  <a:pt x="7575056" y="1495428"/>
                  <a:pt x="7584091" y="1494480"/>
                  <a:pt x="7592412" y="1496614"/>
                </a:cubicBezTo>
                <a:close/>
                <a:moveTo>
                  <a:pt x="7043429" y="1490543"/>
                </a:moveTo>
                <a:cubicBezTo>
                  <a:pt x="7052498" y="1492930"/>
                  <a:pt x="7060613" y="1498657"/>
                  <a:pt x="7065387" y="1507250"/>
                </a:cubicBezTo>
                <a:cubicBezTo>
                  <a:pt x="7069206" y="1512978"/>
                  <a:pt x="7069206" y="1518707"/>
                  <a:pt x="7069206" y="1524435"/>
                </a:cubicBezTo>
                <a:cubicBezTo>
                  <a:pt x="7069206" y="1537802"/>
                  <a:pt x="7063478" y="1549259"/>
                  <a:pt x="7052021" y="1554987"/>
                </a:cubicBezTo>
                <a:cubicBezTo>
                  <a:pt x="7052021" y="1554987"/>
                  <a:pt x="7052021" y="1554987"/>
                  <a:pt x="6714055" y="1747844"/>
                </a:cubicBezTo>
                <a:cubicBezTo>
                  <a:pt x="6696870" y="1757391"/>
                  <a:pt x="6675866" y="1751662"/>
                  <a:pt x="6664410" y="1734477"/>
                </a:cubicBezTo>
                <a:cubicBezTo>
                  <a:pt x="6654863" y="1717292"/>
                  <a:pt x="6660591" y="1694378"/>
                  <a:pt x="6677776" y="1684830"/>
                </a:cubicBezTo>
                <a:cubicBezTo>
                  <a:pt x="6677776" y="1684830"/>
                  <a:pt x="6677776" y="1684830"/>
                  <a:pt x="7015742" y="1493885"/>
                </a:cubicBezTo>
                <a:cubicBezTo>
                  <a:pt x="7024334" y="1489112"/>
                  <a:pt x="7034359" y="1488157"/>
                  <a:pt x="7043429" y="1490543"/>
                </a:cubicBezTo>
                <a:close/>
                <a:moveTo>
                  <a:pt x="6500175" y="1483801"/>
                </a:moveTo>
                <a:cubicBezTo>
                  <a:pt x="6509721" y="1486903"/>
                  <a:pt x="6518313" y="1493586"/>
                  <a:pt x="6524041" y="1503135"/>
                </a:cubicBezTo>
                <a:cubicBezTo>
                  <a:pt x="6525950" y="1508863"/>
                  <a:pt x="6527860" y="1514592"/>
                  <a:pt x="6527860" y="1520321"/>
                </a:cubicBezTo>
                <a:cubicBezTo>
                  <a:pt x="6527860" y="1535598"/>
                  <a:pt x="6520223" y="1548964"/>
                  <a:pt x="6506857" y="1554694"/>
                </a:cubicBezTo>
                <a:cubicBezTo>
                  <a:pt x="6506857" y="1554694"/>
                  <a:pt x="6506857" y="1554694"/>
                  <a:pt x="6166999" y="1728470"/>
                </a:cubicBezTo>
                <a:cubicBezTo>
                  <a:pt x="6147906" y="1739928"/>
                  <a:pt x="6124994" y="1732290"/>
                  <a:pt x="6113538" y="1711284"/>
                </a:cubicBezTo>
                <a:cubicBezTo>
                  <a:pt x="6103992" y="1692188"/>
                  <a:pt x="6111629" y="1669272"/>
                  <a:pt x="6130722" y="1659723"/>
                </a:cubicBezTo>
                <a:cubicBezTo>
                  <a:pt x="6130722" y="1659723"/>
                  <a:pt x="6130722" y="1659723"/>
                  <a:pt x="6470580" y="1485949"/>
                </a:cubicBezTo>
                <a:cubicBezTo>
                  <a:pt x="6480127" y="1481174"/>
                  <a:pt x="6490628" y="1480697"/>
                  <a:pt x="6500175" y="1483801"/>
                </a:cubicBezTo>
                <a:close/>
                <a:moveTo>
                  <a:pt x="5958440" y="1477068"/>
                </a:moveTo>
                <a:cubicBezTo>
                  <a:pt x="5968909" y="1480892"/>
                  <a:pt x="5977952" y="1488540"/>
                  <a:pt x="5982710" y="1499058"/>
                </a:cubicBezTo>
                <a:cubicBezTo>
                  <a:pt x="5984614" y="1504795"/>
                  <a:pt x="5986517" y="1510530"/>
                  <a:pt x="5986517" y="1516267"/>
                </a:cubicBezTo>
                <a:cubicBezTo>
                  <a:pt x="5986517" y="1533477"/>
                  <a:pt x="5977000" y="1548776"/>
                  <a:pt x="5961771" y="1556424"/>
                </a:cubicBezTo>
                <a:cubicBezTo>
                  <a:pt x="5961771" y="1556424"/>
                  <a:pt x="5961771" y="1556424"/>
                  <a:pt x="5622934" y="1711317"/>
                </a:cubicBezTo>
                <a:cubicBezTo>
                  <a:pt x="5600091" y="1720877"/>
                  <a:pt x="5575344" y="1711317"/>
                  <a:pt x="5565827" y="1690282"/>
                </a:cubicBezTo>
                <a:cubicBezTo>
                  <a:pt x="5556309" y="1669247"/>
                  <a:pt x="5565827" y="1644387"/>
                  <a:pt x="5586766" y="1632914"/>
                </a:cubicBezTo>
                <a:cubicBezTo>
                  <a:pt x="5586766" y="1632914"/>
                  <a:pt x="5586766" y="1632914"/>
                  <a:pt x="5925602" y="1478023"/>
                </a:cubicBezTo>
                <a:cubicBezTo>
                  <a:pt x="5936072" y="1473242"/>
                  <a:pt x="5947970" y="1473242"/>
                  <a:pt x="5958440" y="1477068"/>
                </a:cubicBezTo>
                <a:close/>
                <a:moveTo>
                  <a:pt x="398249" y="1477059"/>
                </a:moveTo>
                <a:cubicBezTo>
                  <a:pt x="408480" y="1480882"/>
                  <a:pt x="417523" y="1488532"/>
                  <a:pt x="423234" y="1499048"/>
                </a:cubicBezTo>
                <a:cubicBezTo>
                  <a:pt x="425137" y="1504785"/>
                  <a:pt x="427041" y="1510522"/>
                  <a:pt x="427041" y="1516259"/>
                </a:cubicBezTo>
                <a:cubicBezTo>
                  <a:pt x="427041" y="1533468"/>
                  <a:pt x="417523" y="1548766"/>
                  <a:pt x="402294" y="1556416"/>
                </a:cubicBezTo>
                <a:cubicBezTo>
                  <a:pt x="402294" y="1556416"/>
                  <a:pt x="402294" y="1556416"/>
                  <a:pt x="61547" y="1711307"/>
                </a:cubicBezTo>
                <a:cubicBezTo>
                  <a:pt x="40607" y="1720868"/>
                  <a:pt x="15860" y="1711307"/>
                  <a:pt x="6342" y="1690272"/>
                </a:cubicBezTo>
                <a:cubicBezTo>
                  <a:pt x="-3176" y="1669237"/>
                  <a:pt x="6342" y="1644378"/>
                  <a:pt x="27282" y="1632905"/>
                </a:cubicBezTo>
                <a:cubicBezTo>
                  <a:pt x="27282" y="1632905"/>
                  <a:pt x="27282" y="1632905"/>
                  <a:pt x="366125" y="1478015"/>
                </a:cubicBezTo>
                <a:cubicBezTo>
                  <a:pt x="376595" y="1473234"/>
                  <a:pt x="388017" y="1473234"/>
                  <a:pt x="398249" y="1477059"/>
                </a:cubicBezTo>
                <a:close/>
                <a:moveTo>
                  <a:pt x="5394603" y="1468287"/>
                </a:moveTo>
                <a:cubicBezTo>
                  <a:pt x="5412999" y="1468643"/>
                  <a:pt x="5429786" y="1479687"/>
                  <a:pt x="5436931" y="1498212"/>
                </a:cubicBezTo>
                <a:cubicBezTo>
                  <a:pt x="5438835" y="1503912"/>
                  <a:pt x="5438835" y="1509612"/>
                  <a:pt x="5438835" y="1515311"/>
                </a:cubicBezTo>
                <a:cubicBezTo>
                  <a:pt x="5438835" y="1532412"/>
                  <a:pt x="5429310" y="1549512"/>
                  <a:pt x="5410261" y="1557113"/>
                </a:cubicBezTo>
                <a:cubicBezTo>
                  <a:pt x="5410261" y="1557113"/>
                  <a:pt x="5410261" y="1557113"/>
                  <a:pt x="5069259" y="1693914"/>
                </a:cubicBezTo>
                <a:cubicBezTo>
                  <a:pt x="5046401" y="1703415"/>
                  <a:pt x="5019734" y="1692015"/>
                  <a:pt x="5010210" y="1667314"/>
                </a:cubicBezTo>
                <a:cubicBezTo>
                  <a:pt x="5000687" y="1644513"/>
                  <a:pt x="5012114" y="1617913"/>
                  <a:pt x="5036878" y="1608413"/>
                </a:cubicBezTo>
                <a:cubicBezTo>
                  <a:pt x="5036878" y="1608413"/>
                  <a:pt x="5036878" y="1608413"/>
                  <a:pt x="5375971" y="1471613"/>
                </a:cubicBezTo>
                <a:cubicBezTo>
                  <a:pt x="5382162" y="1469237"/>
                  <a:pt x="5388472" y="1468168"/>
                  <a:pt x="5394603" y="1468287"/>
                </a:cubicBezTo>
                <a:close/>
                <a:moveTo>
                  <a:pt x="929397" y="1468276"/>
                </a:moveTo>
                <a:cubicBezTo>
                  <a:pt x="946989" y="1468632"/>
                  <a:pt x="963777" y="1479676"/>
                  <a:pt x="970920" y="1498200"/>
                </a:cubicBezTo>
                <a:cubicBezTo>
                  <a:pt x="972826" y="1503900"/>
                  <a:pt x="974730" y="1509601"/>
                  <a:pt x="974730" y="1515301"/>
                </a:cubicBezTo>
                <a:cubicBezTo>
                  <a:pt x="974730" y="1532401"/>
                  <a:pt x="963300" y="1549501"/>
                  <a:pt x="946155" y="1557101"/>
                </a:cubicBezTo>
                <a:cubicBezTo>
                  <a:pt x="946155" y="1557101"/>
                  <a:pt x="946155" y="1557101"/>
                  <a:pt x="605156" y="1693902"/>
                </a:cubicBezTo>
                <a:cubicBezTo>
                  <a:pt x="580391" y="1703402"/>
                  <a:pt x="553721" y="1692002"/>
                  <a:pt x="546100" y="1667301"/>
                </a:cubicBezTo>
                <a:cubicBezTo>
                  <a:pt x="536576" y="1644501"/>
                  <a:pt x="548005" y="1617901"/>
                  <a:pt x="570866" y="1608401"/>
                </a:cubicBezTo>
                <a:cubicBezTo>
                  <a:pt x="570866" y="1608401"/>
                  <a:pt x="570866" y="1608401"/>
                  <a:pt x="911865" y="1471601"/>
                </a:cubicBezTo>
                <a:cubicBezTo>
                  <a:pt x="917580" y="1469226"/>
                  <a:pt x="923533" y="1468157"/>
                  <a:pt x="929397" y="1468276"/>
                </a:cubicBezTo>
                <a:close/>
                <a:moveTo>
                  <a:pt x="4844455" y="1461448"/>
                </a:moveTo>
                <a:cubicBezTo>
                  <a:pt x="4864104" y="1463144"/>
                  <a:pt x="4881611" y="1475289"/>
                  <a:pt x="4887327" y="1493862"/>
                </a:cubicBezTo>
                <a:cubicBezTo>
                  <a:pt x="4889233" y="1499576"/>
                  <a:pt x="4891136" y="1505292"/>
                  <a:pt x="4891136" y="1511006"/>
                </a:cubicBezTo>
                <a:cubicBezTo>
                  <a:pt x="4891136" y="1531962"/>
                  <a:pt x="4877801" y="1551012"/>
                  <a:pt x="4856841" y="1556728"/>
                </a:cubicBezTo>
                <a:cubicBezTo>
                  <a:pt x="4856841" y="1556728"/>
                  <a:pt x="4856841" y="1556728"/>
                  <a:pt x="4515848" y="1674839"/>
                </a:cubicBezTo>
                <a:cubicBezTo>
                  <a:pt x="4489179" y="1684364"/>
                  <a:pt x="4462507" y="1671029"/>
                  <a:pt x="4452982" y="1644358"/>
                </a:cubicBezTo>
                <a:cubicBezTo>
                  <a:pt x="4443456" y="1619593"/>
                  <a:pt x="4456792" y="1591017"/>
                  <a:pt x="4483463" y="1583397"/>
                </a:cubicBezTo>
                <a:cubicBezTo>
                  <a:pt x="4483463" y="1583397"/>
                  <a:pt x="4483463" y="1583397"/>
                  <a:pt x="4824451" y="1463382"/>
                </a:cubicBezTo>
                <a:cubicBezTo>
                  <a:pt x="4831120" y="1461477"/>
                  <a:pt x="4837906" y="1460882"/>
                  <a:pt x="4844455" y="1461448"/>
                </a:cubicBezTo>
                <a:close/>
                <a:moveTo>
                  <a:pt x="1479724" y="1461434"/>
                </a:moveTo>
                <a:cubicBezTo>
                  <a:pt x="1498668" y="1463130"/>
                  <a:pt x="1516541" y="1475275"/>
                  <a:pt x="1523689" y="1493848"/>
                </a:cubicBezTo>
                <a:cubicBezTo>
                  <a:pt x="1525596" y="1499564"/>
                  <a:pt x="1525596" y="1505278"/>
                  <a:pt x="1525596" y="1510993"/>
                </a:cubicBezTo>
                <a:cubicBezTo>
                  <a:pt x="1525596" y="1531948"/>
                  <a:pt x="1512251" y="1550999"/>
                  <a:pt x="1493187" y="1556713"/>
                </a:cubicBezTo>
                <a:cubicBezTo>
                  <a:pt x="1493187" y="1556713"/>
                  <a:pt x="1493187" y="1556713"/>
                  <a:pt x="1150039" y="1674825"/>
                </a:cubicBezTo>
                <a:cubicBezTo>
                  <a:pt x="1125256" y="1684349"/>
                  <a:pt x="1096660" y="1671014"/>
                  <a:pt x="1089034" y="1644344"/>
                </a:cubicBezTo>
                <a:cubicBezTo>
                  <a:pt x="1079503" y="1619579"/>
                  <a:pt x="1092847" y="1591004"/>
                  <a:pt x="1117630" y="1583384"/>
                </a:cubicBezTo>
                <a:cubicBezTo>
                  <a:pt x="1117630" y="1583384"/>
                  <a:pt x="1117630" y="1583384"/>
                  <a:pt x="1460779" y="1463368"/>
                </a:cubicBezTo>
                <a:cubicBezTo>
                  <a:pt x="1466975" y="1461464"/>
                  <a:pt x="1473409" y="1460868"/>
                  <a:pt x="1479724" y="1461434"/>
                </a:cubicBezTo>
                <a:close/>
                <a:moveTo>
                  <a:pt x="4287991" y="1454950"/>
                </a:moveTo>
                <a:cubicBezTo>
                  <a:pt x="4308456" y="1457007"/>
                  <a:pt x="4325971" y="1471672"/>
                  <a:pt x="4331689" y="1491704"/>
                </a:cubicBezTo>
                <a:cubicBezTo>
                  <a:pt x="4333596" y="1497427"/>
                  <a:pt x="4335503" y="1501243"/>
                  <a:pt x="4335503" y="1506966"/>
                </a:cubicBezTo>
                <a:cubicBezTo>
                  <a:pt x="4335503" y="1529859"/>
                  <a:pt x="4320252" y="1550846"/>
                  <a:pt x="4297375" y="1558477"/>
                </a:cubicBezTo>
                <a:cubicBezTo>
                  <a:pt x="4297375" y="1558477"/>
                  <a:pt x="4297375" y="1558477"/>
                  <a:pt x="3954251" y="1657683"/>
                </a:cubicBezTo>
                <a:cubicBezTo>
                  <a:pt x="3925655" y="1665315"/>
                  <a:pt x="3897057" y="1650053"/>
                  <a:pt x="3887528" y="1621435"/>
                </a:cubicBezTo>
                <a:cubicBezTo>
                  <a:pt x="3879902" y="1594725"/>
                  <a:pt x="3897057" y="1564200"/>
                  <a:pt x="3923748" y="1556569"/>
                </a:cubicBezTo>
                <a:cubicBezTo>
                  <a:pt x="3923748" y="1556569"/>
                  <a:pt x="3923748" y="1556569"/>
                  <a:pt x="4266872" y="1457365"/>
                </a:cubicBezTo>
                <a:cubicBezTo>
                  <a:pt x="4274021" y="1454981"/>
                  <a:pt x="4281170" y="1454264"/>
                  <a:pt x="4287991" y="1454950"/>
                </a:cubicBezTo>
                <a:close/>
                <a:moveTo>
                  <a:pt x="2034947" y="1454934"/>
                </a:moveTo>
                <a:cubicBezTo>
                  <a:pt x="2055091" y="1456991"/>
                  <a:pt x="2073625" y="1471657"/>
                  <a:pt x="2079328" y="1491688"/>
                </a:cubicBezTo>
                <a:cubicBezTo>
                  <a:pt x="2081229" y="1497412"/>
                  <a:pt x="2081229" y="1501227"/>
                  <a:pt x="2081229" y="1506950"/>
                </a:cubicBezTo>
                <a:cubicBezTo>
                  <a:pt x="2081229" y="1529844"/>
                  <a:pt x="2066021" y="1550830"/>
                  <a:pt x="2043204" y="1558461"/>
                </a:cubicBezTo>
                <a:cubicBezTo>
                  <a:pt x="2043204" y="1558461"/>
                  <a:pt x="2043204" y="1558461"/>
                  <a:pt x="1701020" y="1657667"/>
                </a:cubicBezTo>
                <a:cubicBezTo>
                  <a:pt x="1672505" y="1665298"/>
                  <a:pt x="1643989" y="1650035"/>
                  <a:pt x="1636385" y="1621418"/>
                </a:cubicBezTo>
                <a:cubicBezTo>
                  <a:pt x="1628781" y="1594709"/>
                  <a:pt x="1643989" y="1564184"/>
                  <a:pt x="1672505" y="1556553"/>
                </a:cubicBezTo>
                <a:cubicBezTo>
                  <a:pt x="1672505" y="1556553"/>
                  <a:pt x="1672505" y="1556553"/>
                  <a:pt x="2014689" y="1457348"/>
                </a:cubicBezTo>
                <a:cubicBezTo>
                  <a:pt x="2021343" y="1454963"/>
                  <a:pt x="2028234" y="1454248"/>
                  <a:pt x="2034947" y="1454934"/>
                </a:cubicBezTo>
                <a:close/>
                <a:moveTo>
                  <a:pt x="3729077" y="1449679"/>
                </a:moveTo>
                <a:cubicBezTo>
                  <a:pt x="3750748" y="1453151"/>
                  <a:pt x="3768942" y="1469174"/>
                  <a:pt x="3773220" y="1490538"/>
                </a:cubicBezTo>
                <a:cubicBezTo>
                  <a:pt x="3775123" y="1496235"/>
                  <a:pt x="3775123" y="1500034"/>
                  <a:pt x="3775123" y="1503831"/>
                </a:cubicBezTo>
                <a:cubicBezTo>
                  <a:pt x="3775123" y="1528519"/>
                  <a:pt x="3758002" y="1553208"/>
                  <a:pt x="3733267" y="1558905"/>
                </a:cubicBezTo>
                <a:cubicBezTo>
                  <a:pt x="3733267" y="1558905"/>
                  <a:pt x="3733267" y="1558905"/>
                  <a:pt x="3388949" y="1638666"/>
                </a:cubicBezTo>
                <a:cubicBezTo>
                  <a:pt x="3358507" y="1646263"/>
                  <a:pt x="3328069" y="1627272"/>
                  <a:pt x="3322361" y="1598786"/>
                </a:cubicBezTo>
                <a:cubicBezTo>
                  <a:pt x="3314753" y="1568400"/>
                  <a:pt x="3333778" y="1538015"/>
                  <a:pt x="3362311" y="1530418"/>
                </a:cubicBezTo>
                <a:cubicBezTo>
                  <a:pt x="3362311" y="1530418"/>
                  <a:pt x="3362311" y="1530418"/>
                  <a:pt x="3706634" y="1450658"/>
                </a:cubicBezTo>
                <a:cubicBezTo>
                  <a:pt x="3714243" y="1448760"/>
                  <a:pt x="3721853" y="1448522"/>
                  <a:pt x="3729077" y="1449679"/>
                </a:cubicBezTo>
                <a:close/>
                <a:moveTo>
                  <a:pt x="2595306" y="1449661"/>
                </a:moveTo>
                <a:cubicBezTo>
                  <a:pt x="2616530" y="1453133"/>
                  <a:pt x="2634008" y="1469156"/>
                  <a:pt x="2639715" y="1490520"/>
                </a:cubicBezTo>
                <a:cubicBezTo>
                  <a:pt x="2641617" y="1496217"/>
                  <a:pt x="2641617" y="1500015"/>
                  <a:pt x="2641617" y="1503814"/>
                </a:cubicBezTo>
                <a:cubicBezTo>
                  <a:pt x="2641617" y="1528502"/>
                  <a:pt x="2624496" y="1553189"/>
                  <a:pt x="2597862" y="1558887"/>
                </a:cubicBezTo>
                <a:cubicBezTo>
                  <a:pt x="2597862" y="1558887"/>
                  <a:pt x="2597862" y="1558887"/>
                  <a:pt x="2255431" y="1638648"/>
                </a:cubicBezTo>
                <a:cubicBezTo>
                  <a:pt x="2224992" y="1646244"/>
                  <a:pt x="2194554" y="1627253"/>
                  <a:pt x="2188847" y="1598767"/>
                </a:cubicBezTo>
                <a:cubicBezTo>
                  <a:pt x="2181237" y="1568382"/>
                  <a:pt x="2200261" y="1537997"/>
                  <a:pt x="2228797" y="1530401"/>
                </a:cubicBezTo>
                <a:cubicBezTo>
                  <a:pt x="2228797" y="1530401"/>
                  <a:pt x="2228797" y="1530401"/>
                  <a:pt x="2573131" y="1450640"/>
                </a:cubicBezTo>
                <a:cubicBezTo>
                  <a:pt x="2580740" y="1448741"/>
                  <a:pt x="2588232" y="1448503"/>
                  <a:pt x="2595306" y="1449661"/>
                </a:cubicBezTo>
                <a:close/>
                <a:moveTo>
                  <a:pt x="3137758" y="1442427"/>
                </a:moveTo>
                <a:cubicBezTo>
                  <a:pt x="3170208" y="1436712"/>
                  <a:pt x="3200750" y="1457667"/>
                  <a:pt x="3206474" y="1490052"/>
                </a:cubicBezTo>
                <a:cubicBezTo>
                  <a:pt x="3206474" y="1493862"/>
                  <a:pt x="3208386" y="1497671"/>
                  <a:pt x="3208386" y="1499576"/>
                </a:cubicBezTo>
                <a:cubicBezTo>
                  <a:pt x="3208386" y="1528151"/>
                  <a:pt x="3187387" y="1552917"/>
                  <a:pt x="3158756" y="1558632"/>
                </a:cubicBezTo>
                <a:cubicBezTo>
                  <a:pt x="3158756" y="1558632"/>
                  <a:pt x="3158756" y="1558632"/>
                  <a:pt x="2813246" y="1621498"/>
                </a:cubicBezTo>
                <a:cubicBezTo>
                  <a:pt x="2780793" y="1627213"/>
                  <a:pt x="2750254" y="1606257"/>
                  <a:pt x="2744526" y="1573872"/>
                </a:cubicBezTo>
                <a:cubicBezTo>
                  <a:pt x="2736890" y="1541486"/>
                  <a:pt x="2759798" y="1511006"/>
                  <a:pt x="2792249" y="1505291"/>
                </a:cubicBezTo>
                <a:cubicBezTo>
                  <a:pt x="2792249" y="1505291"/>
                  <a:pt x="2792249" y="1505291"/>
                  <a:pt x="3137758" y="1442427"/>
                </a:cubicBezTo>
                <a:close/>
                <a:moveTo>
                  <a:pt x="9860829" y="1204612"/>
                </a:moveTo>
                <a:cubicBezTo>
                  <a:pt x="9866293" y="1205090"/>
                  <a:pt x="9871519" y="1207481"/>
                  <a:pt x="9875319" y="1211306"/>
                </a:cubicBezTo>
                <a:cubicBezTo>
                  <a:pt x="9879119" y="1217044"/>
                  <a:pt x="9879119" y="1220870"/>
                  <a:pt x="9879119" y="1226607"/>
                </a:cubicBezTo>
                <a:cubicBezTo>
                  <a:pt x="9879119" y="1232345"/>
                  <a:pt x="9877219" y="1238083"/>
                  <a:pt x="9871518" y="1243820"/>
                </a:cubicBezTo>
                <a:cubicBezTo>
                  <a:pt x="9871518" y="1243820"/>
                  <a:pt x="9871518" y="1243820"/>
                  <a:pt x="9540880" y="1511592"/>
                </a:cubicBezTo>
                <a:cubicBezTo>
                  <a:pt x="9531379" y="1519243"/>
                  <a:pt x="9518078" y="1519243"/>
                  <a:pt x="9510477" y="1509680"/>
                </a:cubicBezTo>
                <a:cubicBezTo>
                  <a:pt x="9502876" y="1500116"/>
                  <a:pt x="9504776" y="1486728"/>
                  <a:pt x="9514277" y="1479077"/>
                </a:cubicBezTo>
                <a:cubicBezTo>
                  <a:pt x="9514277" y="1479077"/>
                  <a:pt x="9514277" y="1479077"/>
                  <a:pt x="9844915" y="1209393"/>
                </a:cubicBezTo>
                <a:cubicBezTo>
                  <a:pt x="9849665" y="1205568"/>
                  <a:pt x="9855366" y="1204134"/>
                  <a:pt x="9860829" y="1204612"/>
                </a:cubicBezTo>
                <a:close/>
                <a:moveTo>
                  <a:pt x="9284557" y="1198509"/>
                </a:moveTo>
                <a:cubicBezTo>
                  <a:pt x="9290758" y="1199223"/>
                  <a:pt x="9296482" y="1202078"/>
                  <a:pt x="9300299" y="1206835"/>
                </a:cubicBezTo>
                <a:cubicBezTo>
                  <a:pt x="9304115" y="1212544"/>
                  <a:pt x="9306023" y="1216350"/>
                  <a:pt x="9306023" y="1222058"/>
                </a:cubicBezTo>
                <a:cubicBezTo>
                  <a:pt x="9306023" y="1229668"/>
                  <a:pt x="9302207" y="1237280"/>
                  <a:pt x="9296482" y="1242988"/>
                </a:cubicBezTo>
                <a:cubicBezTo>
                  <a:pt x="9296482" y="1242988"/>
                  <a:pt x="9296482" y="1242988"/>
                  <a:pt x="8962556" y="1494190"/>
                </a:cubicBezTo>
                <a:cubicBezTo>
                  <a:pt x="8951107" y="1501802"/>
                  <a:pt x="8935841" y="1499899"/>
                  <a:pt x="8928209" y="1490384"/>
                </a:cubicBezTo>
                <a:cubicBezTo>
                  <a:pt x="8918668" y="1478966"/>
                  <a:pt x="8920576" y="1463742"/>
                  <a:pt x="8932025" y="1454228"/>
                </a:cubicBezTo>
                <a:cubicBezTo>
                  <a:pt x="8932025" y="1454228"/>
                  <a:pt x="8932025" y="1454228"/>
                  <a:pt x="9265952" y="1203029"/>
                </a:cubicBezTo>
                <a:cubicBezTo>
                  <a:pt x="9271676" y="1199223"/>
                  <a:pt x="9278355" y="1197796"/>
                  <a:pt x="9284557" y="1198509"/>
                </a:cubicBezTo>
                <a:close/>
                <a:moveTo>
                  <a:pt x="10445106" y="1198483"/>
                </a:moveTo>
                <a:cubicBezTo>
                  <a:pt x="10451287" y="1199197"/>
                  <a:pt x="10456992" y="1202051"/>
                  <a:pt x="10460796" y="1206809"/>
                </a:cubicBezTo>
                <a:cubicBezTo>
                  <a:pt x="10464600" y="1212518"/>
                  <a:pt x="10466502" y="1216324"/>
                  <a:pt x="10466502" y="1222033"/>
                </a:cubicBezTo>
                <a:cubicBezTo>
                  <a:pt x="10466502" y="1229645"/>
                  <a:pt x="10462698" y="1237258"/>
                  <a:pt x="10456993" y="1242967"/>
                </a:cubicBezTo>
                <a:cubicBezTo>
                  <a:pt x="10456993" y="1242967"/>
                  <a:pt x="10456993" y="1242967"/>
                  <a:pt x="10124163" y="1494166"/>
                </a:cubicBezTo>
                <a:cubicBezTo>
                  <a:pt x="10112752" y="1501779"/>
                  <a:pt x="10097537" y="1499876"/>
                  <a:pt x="10089930" y="1490360"/>
                </a:cubicBezTo>
                <a:cubicBezTo>
                  <a:pt x="10082322" y="1478942"/>
                  <a:pt x="10084224" y="1463718"/>
                  <a:pt x="10093733" y="1454203"/>
                </a:cubicBezTo>
                <a:cubicBezTo>
                  <a:pt x="10093733" y="1454203"/>
                  <a:pt x="10093733" y="1454203"/>
                  <a:pt x="10426562" y="1203003"/>
                </a:cubicBezTo>
                <a:cubicBezTo>
                  <a:pt x="10432268" y="1199197"/>
                  <a:pt x="10438925" y="1197769"/>
                  <a:pt x="10445106" y="1198483"/>
                </a:cubicBezTo>
                <a:close/>
                <a:moveTo>
                  <a:pt x="8713976" y="1190406"/>
                </a:moveTo>
                <a:cubicBezTo>
                  <a:pt x="8720876" y="1191594"/>
                  <a:pt x="8727538" y="1195396"/>
                  <a:pt x="8732297" y="1201099"/>
                </a:cubicBezTo>
                <a:cubicBezTo>
                  <a:pt x="8736104" y="1206803"/>
                  <a:pt x="8736104" y="1212505"/>
                  <a:pt x="8736104" y="1218208"/>
                </a:cubicBezTo>
                <a:cubicBezTo>
                  <a:pt x="8736104" y="1225809"/>
                  <a:pt x="8732297" y="1235312"/>
                  <a:pt x="8724683" y="1241015"/>
                </a:cubicBezTo>
                <a:cubicBezTo>
                  <a:pt x="8724683" y="1241015"/>
                  <a:pt x="8724683" y="1241015"/>
                  <a:pt x="8391573" y="1476736"/>
                </a:cubicBezTo>
                <a:cubicBezTo>
                  <a:pt x="8378249" y="1484339"/>
                  <a:pt x="8361117" y="1482438"/>
                  <a:pt x="8353503" y="1469132"/>
                </a:cubicBezTo>
                <a:cubicBezTo>
                  <a:pt x="8343986" y="1457727"/>
                  <a:pt x="8347793" y="1440617"/>
                  <a:pt x="8359214" y="1431112"/>
                </a:cubicBezTo>
                <a:cubicBezTo>
                  <a:pt x="8359214" y="1431112"/>
                  <a:pt x="8359214" y="1431112"/>
                  <a:pt x="8694227" y="1195396"/>
                </a:cubicBezTo>
                <a:cubicBezTo>
                  <a:pt x="8699937" y="1190644"/>
                  <a:pt x="8707076" y="1189218"/>
                  <a:pt x="8713976" y="1190406"/>
                </a:cubicBezTo>
                <a:close/>
                <a:moveTo>
                  <a:pt x="11023582" y="1190378"/>
                </a:moveTo>
                <a:cubicBezTo>
                  <a:pt x="11030720" y="1191566"/>
                  <a:pt x="11037382" y="1195368"/>
                  <a:pt x="11042141" y="1201071"/>
                </a:cubicBezTo>
                <a:cubicBezTo>
                  <a:pt x="11044044" y="1206774"/>
                  <a:pt x="11045948" y="1212477"/>
                  <a:pt x="11045948" y="1218180"/>
                </a:cubicBezTo>
                <a:cubicBezTo>
                  <a:pt x="11045948" y="1225783"/>
                  <a:pt x="11042141" y="1235288"/>
                  <a:pt x="11034527" y="1240991"/>
                </a:cubicBezTo>
                <a:cubicBezTo>
                  <a:pt x="11034527" y="1240991"/>
                  <a:pt x="11034527" y="1240991"/>
                  <a:pt x="10701417" y="1476710"/>
                </a:cubicBezTo>
                <a:cubicBezTo>
                  <a:pt x="10688093" y="1484313"/>
                  <a:pt x="10670961" y="1482412"/>
                  <a:pt x="10663347" y="1469106"/>
                </a:cubicBezTo>
                <a:cubicBezTo>
                  <a:pt x="10653830" y="1457700"/>
                  <a:pt x="10655733" y="1440591"/>
                  <a:pt x="10669058" y="1431087"/>
                </a:cubicBezTo>
                <a:cubicBezTo>
                  <a:pt x="10669058" y="1431087"/>
                  <a:pt x="10669058" y="1431087"/>
                  <a:pt x="11002168" y="1195368"/>
                </a:cubicBezTo>
                <a:cubicBezTo>
                  <a:pt x="11008830" y="1190616"/>
                  <a:pt x="11016444" y="1189190"/>
                  <a:pt x="11023582" y="1190378"/>
                </a:cubicBezTo>
                <a:close/>
                <a:moveTo>
                  <a:pt x="8150486" y="1182942"/>
                </a:moveTo>
                <a:cubicBezTo>
                  <a:pt x="8158100" y="1184606"/>
                  <a:pt x="8165238" y="1189358"/>
                  <a:pt x="8169997" y="1196960"/>
                </a:cubicBezTo>
                <a:cubicBezTo>
                  <a:pt x="8173804" y="1200763"/>
                  <a:pt x="8175708" y="1206467"/>
                  <a:pt x="8175708" y="1212168"/>
                </a:cubicBezTo>
                <a:cubicBezTo>
                  <a:pt x="8175708" y="1223571"/>
                  <a:pt x="8169997" y="1233074"/>
                  <a:pt x="8160480" y="1238776"/>
                </a:cubicBezTo>
                <a:cubicBezTo>
                  <a:pt x="8160480" y="1238776"/>
                  <a:pt x="8160480" y="1238776"/>
                  <a:pt x="7825460" y="1457373"/>
                </a:cubicBezTo>
                <a:cubicBezTo>
                  <a:pt x="7812135" y="1466876"/>
                  <a:pt x="7793100" y="1463074"/>
                  <a:pt x="7783582" y="1449769"/>
                </a:cubicBezTo>
                <a:cubicBezTo>
                  <a:pt x="7774065" y="1434562"/>
                  <a:pt x="7777872" y="1415556"/>
                  <a:pt x="7793100" y="1407952"/>
                </a:cubicBezTo>
                <a:cubicBezTo>
                  <a:pt x="7793100" y="1407952"/>
                  <a:pt x="7793100" y="1407952"/>
                  <a:pt x="8128120" y="1187458"/>
                </a:cubicBezTo>
                <a:cubicBezTo>
                  <a:pt x="8134782" y="1182705"/>
                  <a:pt x="8142872" y="1181279"/>
                  <a:pt x="8150486" y="1182942"/>
                </a:cubicBezTo>
                <a:close/>
                <a:moveTo>
                  <a:pt x="11595229" y="1182937"/>
                </a:moveTo>
                <a:cubicBezTo>
                  <a:pt x="11602849" y="1184600"/>
                  <a:pt x="11609517" y="1189352"/>
                  <a:pt x="11613327" y="1196955"/>
                </a:cubicBezTo>
                <a:cubicBezTo>
                  <a:pt x="11617137" y="1200757"/>
                  <a:pt x="11619042" y="1206459"/>
                  <a:pt x="11619042" y="1212161"/>
                </a:cubicBezTo>
                <a:cubicBezTo>
                  <a:pt x="11619042" y="1223565"/>
                  <a:pt x="11615232" y="1233069"/>
                  <a:pt x="11605707" y="1238770"/>
                </a:cubicBezTo>
                <a:cubicBezTo>
                  <a:pt x="11605707" y="1238770"/>
                  <a:pt x="11605707" y="1238770"/>
                  <a:pt x="11270423" y="1457367"/>
                </a:cubicBezTo>
                <a:cubicBezTo>
                  <a:pt x="11257087" y="1466870"/>
                  <a:pt x="11238037" y="1463069"/>
                  <a:pt x="11228512" y="1449763"/>
                </a:cubicBezTo>
                <a:cubicBezTo>
                  <a:pt x="11218987" y="1434556"/>
                  <a:pt x="11222797" y="1415549"/>
                  <a:pt x="11236132" y="1407946"/>
                </a:cubicBezTo>
                <a:cubicBezTo>
                  <a:pt x="11236132" y="1407946"/>
                  <a:pt x="11236132" y="1407946"/>
                  <a:pt x="11571416" y="1187451"/>
                </a:cubicBezTo>
                <a:cubicBezTo>
                  <a:pt x="11579036" y="1182699"/>
                  <a:pt x="11587609" y="1181273"/>
                  <a:pt x="11595229" y="1182937"/>
                </a:cubicBezTo>
                <a:close/>
                <a:moveTo>
                  <a:pt x="12139750" y="1177944"/>
                </a:moveTo>
                <a:cubicBezTo>
                  <a:pt x="12139750" y="1177944"/>
                  <a:pt x="12139750" y="1177944"/>
                  <a:pt x="12139750" y="1255774"/>
                </a:cubicBezTo>
                <a:cubicBezTo>
                  <a:pt x="12139750" y="1255774"/>
                  <a:pt x="12139750" y="1255774"/>
                  <a:pt x="11834677" y="1439913"/>
                </a:cubicBezTo>
                <a:cubicBezTo>
                  <a:pt x="11817517" y="1449407"/>
                  <a:pt x="11798450" y="1445609"/>
                  <a:pt x="11788917" y="1428524"/>
                </a:cubicBezTo>
                <a:cubicBezTo>
                  <a:pt x="11779383" y="1413338"/>
                  <a:pt x="11783196" y="1392456"/>
                  <a:pt x="11798450" y="1382965"/>
                </a:cubicBezTo>
                <a:lnTo>
                  <a:pt x="12135937" y="1179842"/>
                </a:lnTo>
                <a:cubicBezTo>
                  <a:pt x="12137843" y="1179842"/>
                  <a:pt x="12137843" y="1177944"/>
                  <a:pt x="12139750" y="1177944"/>
                </a:cubicBezTo>
                <a:close/>
                <a:moveTo>
                  <a:pt x="7594338" y="1175955"/>
                </a:moveTo>
                <a:cubicBezTo>
                  <a:pt x="7602441" y="1178093"/>
                  <a:pt x="7609590" y="1183320"/>
                  <a:pt x="7614356" y="1190924"/>
                </a:cubicBezTo>
                <a:cubicBezTo>
                  <a:pt x="7618169" y="1196625"/>
                  <a:pt x="7620076" y="1202328"/>
                  <a:pt x="7620076" y="1208030"/>
                </a:cubicBezTo>
                <a:cubicBezTo>
                  <a:pt x="7620076" y="1219433"/>
                  <a:pt x="7614356" y="1230835"/>
                  <a:pt x="7604824" y="1236536"/>
                </a:cubicBezTo>
                <a:cubicBezTo>
                  <a:pt x="7604824" y="1236536"/>
                  <a:pt x="7604824" y="1236536"/>
                  <a:pt x="7267372" y="1439910"/>
                </a:cubicBezTo>
                <a:cubicBezTo>
                  <a:pt x="7252119" y="1449414"/>
                  <a:pt x="7231148" y="1445612"/>
                  <a:pt x="7221615" y="1428505"/>
                </a:cubicBezTo>
                <a:cubicBezTo>
                  <a:pt x="7212083" y="1413303"/>
                  <a:pt x="7217802" y="1392394"/>
                  <a:pt x="7233054" y="1382889"/>
                </a:cubicBezTo>
                <a:cubicBezTo>
                  <a:pt x="7233054" y="1382889"/>
                  <a:pt x="7233054" y="1382889"/>
                  <a:pt x="7568600" y="1179519"/>
                </a:cubicBezTo>
                <a:cubicBezTo>
                  <a:pt x="7577179" y="1174767"/>
                  <a:pt x="7586235" y="1173817"/>
                  <a:pt x="7594338" y="1175955"/>
                </a:cubicBezTo>
                <a:close/>
                <a:moveTo>
                  <a:pt x="7043844" y="1168289"/>
                </a:moveTo>
                <a:cubicBezTo>
                  <a:pt x="7052668" y="1170680"/>
                  <a:pt x="7060300" y="1176415"/>
                  <a:pt x="7065070" y="1185018"/>
                </a:cubicBezTo>
                <a:cubicBezTo>
                  <a:pt x="7068886" y="1190754"/>
                  <a:pt x="7070794" y="1196488"/>
                  <a:pt x="7070794" y="1204137"/>
                </a:cubicBezTo>
                <a:cubicBezTo>
                  <a:pt x="7070794" y="1215606"/>
                  <a:pt x="7063162" y="1228986"/>
                  <a:pt x="7051714" y="1234720"/>
                </a:cubicBezTo>
                <a:cubicBezTo>
                  <a:pt x="7051714" y="1234720"/>
                  <a:pt x="7051714" y="1234720"/>
                  <a:pt x="6714009" y="1423981"/>
                </a:cubicBezTo>
                <a:cubicBezTo>
                  <a:pt x="6696837" y="1433539"/>
                  <a:pt x="6673942" y="1427803"/>
                  <a:pt x="6664402" y="1410601"/>
                </a:cubicBezTo>
                <a:cubicBezTo>
                  <a:pt x="6654863" y="1391481"/>
                  <a:pt x="6660587" y="1370454"/>
                  <a:pt x="6677758" y="1360894"/>
                </a:cubicBezTo>
                <a:cubicBezTo>
                  <a:pt x="6677758" y="1360894"/>
                  <a:pt x="6677758" y="1360894"/>
                  <a:pt x="7015463" y="1171635"/>
                </a:cubicBezTo>
                <a:cubicBezTo>
                  <a:pt x="7025003" y="1166856"/>
                  <a:pt x="7035020" y="1165900"/>
                  <a:pt x="7043844" y="1168289"/>
                </a:cubicBezTo>
                <a:close/>
                <a:moveTo>
                  <a:pt x="6500891" y="1161548"/>
                </a:moveTo>
                <a:cubicBezTo>
                  <a:pt x="6510676" y="1164656"/>
                  <a:pt x="6519268" y="1171347"/>
                  <a:pt x="6524041" y="1180908"/>
                </a:cubicBezTo>
                <a:cubicBezTo>
                  <a:pt x="6525950" y="1186644"/>
                  <a:pt x="6527860" y="1192379"/>
                  <a:pt x="6527860" y="1198115"/>
                </a:cubicBezTo>
                <a:cubicBezTo>
                  <a:pt x="6527860" y="1213412"/>
                  <a:pt x="6520223" y="1226794"/>
                  <a:pt x="6506857" y="1234440"/>
                </a:cubicBezTo>
                <a:cubicBezTo>
                  <a:pt x="6506857" y="1234440"/>
                  <a:pt x="6506857" y="1234440"/>
                  <a:pt x="6166999" y="1406519"/>
                </a:cubicBezTo>
                <a:cubicBezTo>
                  <a:pt x="6147906" y="1416079"/>
                  <a:pt x="6123085" y="1408432"/>
                  <a:pt x="6113538" y="1389310"/>
                </a:cubicBezTo>
                <a:cubicBezTo>
                  <a:pt x="6103992" y="1370191"/>
                  <a:pt x="6111629" y="1345334"/>
                  <a:pt x="6130722" y="1335774"/>
                </a:cubicBezTo>
                <a:cubicBezTo>
                  <a:pt x="6130722" y="1335774"/>
                  <a:pt x="6130722" y="1335774"/>
                  <a:pt x="6470580" y="1163700"/>
                </a:cubicBezTo>
                <a:cubicBezTo>
                  <a:pt x="6480127" y="1158919"/>
                  <a:pt x="6491105" y="1158442"/>
                  <a:pt x="6500891" y="1161548"/>
                </a:cubicBezTo>
                <a:close/>
                <a:moveTo>
                  <a:pt x="5957726" y="1155628"/>
                </a:moveTo>
                <a:cubicBezTo>
                  <a:pt x="5967957" y="1159191"/>
                  <a:pt x="5977000" y="1166792"/>
                  <a:pt x="5982710" y="1178193"/>
                </a:cubicBezTo>
                <a:cubicBezTo>
                  <a:pt x="5984614" y="1183894"/>
                  <a:pt x="5986517" y="1189596"/>
                  <a:pt x="5986517" y="1195296"/>
                </a:cubicBezTo>
                <a:cubicBezTo>
                  <a:pt x="5986517" y="1210498"/>
                  <a:pt x="5977000" y="1225697"/>
                  <a:pt x="5961771" y="1233296"/>
                </a:cubicBezTo>
                <a:cubicBezTo>
                  <a:pt x="5961771" y="1233296"/>
                  <a:pt x="5961771" y="1233296"/>
                  <a:pt x="5622934" y="1389114"/>
                </a:cubicBezTo>
                <a:cubicBezTo>
                  <a:pt x="5600091" y="1398614"/>
                  <a:pt x="5575344" y="1389114"/>
                  <a:pt x="5565827" y="1368212"/>
                </a:cubicBezTo>
                <a:cubicBezTo>
                  <a:pt x="5556309" y="1347309"/>
                  <a:pt x="5565827" y="1322605"/>
                  <a:pt x="5586766" y="1313104"/>
                </a:cubicBezTo>
                <a:cubicBezTo>
                  <a:pt x="5586766" y="1313104"/>
                  <a:pt x="5586766" y="1313104"/>
                  <a:pt x="5925602" y="1157291"/>
                </a:cubicBezTo>
                <a:cubicBezTo>
                  <a:pt x="5936072" y="1152540"/>
                  <a:pt x="5947494" y="1152065"/>
                  <a:pt x="5957726" y="1155628"/>
                </a:cubicBezTo>
                <a:close/>
                <a:moveTo>
                  <a:pt x="398307" y="1155617"/>
                </a:moveTo>
                <a:cubicBezTo>
                  <a:pt x="408309" y="1159180"/>
                  <a:pt x="416881" y="1166781"/>
                  <a:pt x="421644" y="1178183"/>
                </a:cubicBezTo>
                <a:cubicBezTo>
                  <a:pt x="425454" y="1183883"/>
                  <a:pt x="425454" y="1189583"/>
                  <a:pt x="425454" y="1195284"/>
                </a:cubicBezTo>
                <a:cubicBezTo>
                  <a:pt x="425454" y="1210486"/>
                  <a:pt x="417834" y="1225685"/>
                  <a:pt x="402594" y="1233286"/>
                </a:cubicBezTo>
                <a:cubicBezTo>
                  <a:pt x="402594" y="1233286"/>
                  <a:pt x="402594" y="1233286"/>
                  <a:pt x="61595" y="1389103"/>
                </a:cubicBezTo>
                <a:cubicBezTo>
                  <a:pt x="40639" y="1398604"/>
                  <a:pt x="15874" y="1389103"/>
                  <a:pt x="6349" y="1368201"/>
                </a:cubicBezTo>
                <a:cubicBezTo>
                  <a:pt x="-3176" y="1347297"/>
                  <a:pt x="6349" y="1322596"/>
                  <a:pt x="27304" y="1313094"/>
                </a:cubicBezTo>
                <a:cubicBezTo>
                  <a:pt x="27304" y="1313094"/>
                  <a:pt x="27304" y="1313094"/>
                  <a:pt x="366398" y="1157280"/>
                </a:cubicBezTo>
                <a:cubicBezTo>
                  <a:pt x="376876" y="1152529"/>
                  <a:pt x="388306" y="1152054"/>
                  <a:pt x="398307" y="1155617"/>
                </a:cubicBezTo>
                <a:close/>
                <a:moveTo>
                  <a:pt x="5393468" y="1144402"/>
                </a:moveTo>
                <a:cubicBezTo>
                  <a:pt x="5411072" y="1144669"/>
                  <a:pt x="5427873" y="1155342"/>
                  <a:pt x="5435021" y="1172421"/>
                </a:cubicBezTo>
                <a:cubicBezTo>
                  <a:pt x="5436928" y="1178114"/>
                  <a:pt x="5438834" y="1183808"/>
                  <a:pt x="5438834" y="1189500"/>
                </a:cubicBezTo>
                <a:cubicBezTo>
                  <a:pt x="5438834" y="1208476"/>
                  <a:pt x="5427395" y="1225552"/>
                  <a:pt x="5410239" y="1231244"/>
                </a:cubicBezTo>
                <a:cubicBezTo>
                  <a:pt x="5410239" y="1231244"/>
                  <a:pt x="5410239" y="1231244"/>
                  <a:pt x="5070896" y="1371665"/>
                </a:cubicBezTo>
                <a:cubicBezTo>
                  <a:pt x="5046115" y="1381152"/>
                  <a:pt x="5021334" y="1369767"/>
                  <a:pt x="5011805" y="1346995"/>
                </a:cubicBezTo>
                <a:cubicBezTo>
                  <a:pt x="5002274" y="1324224"/>
                  <a:pt x="5011805" y="1297657"/>
                  <a:pt x="5036585" y="1288169"/>
                </a:cubicBezTo>
                <a:cubicBezTo>
                  <a:pt x="5036585" y="1288169"/>
                  <a:pt x="5036585" y="1288169"/>
                  <a:pt x="5375924" y="1147752"/>
                </a:cubicBezTo>
                <a:cubicBezTo>
                  <a:pt x="5381644" y="1145381"/>
                  <a:pt x="5387601" y="1144313"/>
                  <a:pt x="5393468" y="1144402"/>
                </a:cubicBezTo>
                <a:close/>
                <a:moveTo>
                  <a:pt x="929385" y="1144389"/>
                </a:moveTo>
                <a:cubicBezTo>
                  <a:pt x="946453" y="1144656"/>
                  <a:pt x="962181" y="1155330"/>
                  <a:pt x="969330" y="1172407"/>
                </a:cubicBezTo>
                <a:cubicBezTo>
                  <a:pt x="973143" y="1178101"/>
                  <a:pt x="973143" y="1183794"/>
                  <a:pt x="973143" y="1189486"/>
                </a:cubicBezTo>
                <a:cubicBezTo>
                  <a:pt x="973143" y="1208461"/>
                  <a:pt x="963611" y="1225538"/>
                  <a:pt x="946453" y="1231231"/>
                </a:cubicBezTo>
                <a:cubicBezTo>
                  <a:pt x="946453" y="1231231"/>
                  <a:pt x="946453" y="1231231"/>
                  <a:pt x="605206" y="1371652"/>
                </a:cubicBezTo>
                <a:cubicBezTo>
                  <a:pt x="582329" y="1381140"/>
                  <a:pt x="555640" y="1369755"/>
                  <a:pt x="546107" y="1346983"/>
                </a:cubicBezTo>
                <a:cubicBezTo>
                  <a:pt x="536576" y="1324212"/>
                  <a:pt x="548014" y="1297646"/>
                  <a:pt x="570891" y="1288158"/>
                </a:cubicBezTo>
                <a:cubicBezTo>
                  <a:pt x="570891" y="1288158"/>
                  <a:pt x="570891" y="1288158"/>
                  <a:pt x="912138" y="1147739"/>
                </a:cubicBezTo>
                <a:cubicBezTo>
                  <a:pt x="917857" y="1145367"/>
                  <a:pt x="923695" y="1144300"/>
                  <a:pt x="929385" y="1144389"/>
                </a:cubicBezTo>
                <a:close/>
                <a:moveTo>
                  <a:pt x="4842182" y="1136797"/>
                </a:moveTo>
                <a:cubicBezTo>
                  <a:pt x="4860986" y="1137688"/>
                  <a:pt x="4878457" y="1149800"/>
                  <a:pt x="4884159" y="1168322"/>
                </a:cubicBezTo>
                <a:cubicBezTo>
                  <a:pt x="4886060" y="1174022"/>
                  <a:pt x="4887960" y="1179722"/>
                  <a:pt x="4887960" y="1185422"/>
                </a:cubicBezTo>
                <a:cubicBezTo>
                  <a:pt x="4887960" y="1204420"/>
                  <a:pt x="4876553" y="1223416"/>
                  <a:pt x="4855640" y="1231014"/>
                </a:cubicBezTo>
                <a:cubicBezTo>
                  <a:pt x="4855640" y="1231014"/>
                  <a:pt x="4855640" y="1231014"/>
                  <a:pt x="4515378" y="1354501"/>
                </a:cubicBezTo>
                <a:cubicBezTo>
                  <a:pt x="4490667" y="1362102"/>
                  <a:pt x="4462152" y="1350702"/>
                  <a:pt x="4454548" y="1326004"/>
                </a:cubicBezTo>
                <a:cubicBezTo>
                  <a:pt x="4445043" y="1301305"/>
                  <a:pt x="4458350" y="1272808"/>
                  <a:pt x="4483064" y="1263308"/>
                </a:cubicBezTo>
                <a:cubicBezTo>
                  <a:pt x="4483064" y="1263308"/>
                  <a:pt x="4483064" y="1263308"/>
                  <a:pt x="4823320" y="1139825"/>
                </a:cubicBezTo>
                <a:cubicBezTo>
                  <a:pt x="4829497" y="1137451"/>
                  <a:pt x="4835916" y="1136501"/>
                  <a:pt x="4842182" y="1136797"/>
                </a:cubicBezTo>
                <a:close/>
                <a:moveTo>
                  <a:pt x="1478252" y="1136782"/>
                </a:moveTo>
                <a:cubicBezTo>
                  <a:pt x="1496621" y="1137673"/>
                  <a:pt x="1513385" y="1149784"/>
                  <a:pt x="1520519" y="1168307"/>
                </a:cubicBezTo>
                <a:cubicBezTo>
                  <a:pt x="1522421" y="1174007"/>
                  <a:pt x="1522421" y="1179706"/>
                  <a:pt x="1522421" y="1185406"/>
                </a:cubicBezTo>
                <a:cubicBezTo>
                  <a:pt x="1522421" y="1204404"/>
                  <a:pt x="1511007" y="1223401"/>
                  <a:pt x="1491984" y="1231000"/>
                </a:cubicBezTo>
                <a:cubicBezTo>
                  <a:pt x="1491984" y="1231000"/>
                  <a:pt x="1491984" y="1231000"/>
                  <a:pt x="1151475" y="1354486"/>
                </a:cubicBezTo>
                <a:cubicBezTo>
                  <a:pt x="1124843" y="1362086"/>
                  <a:pt x="1098211" y="1350686"/>
                  <a:pt x="1088700" y="1325989"/>
                </a:cubicBezTo>
                <a:cubicBezTo>
                  <a:pt x="1081091" y="1301291"/>
                  <a:pt x="1092504" y="1272795"/>
                  <a:pt x="1117234" y="1263296"/>
                </a:cubicBezTo>
                <a:cubicBezTo>
                  <a:pt x="1117234" y="1263296"/>
                  <a:pt x="1117234" y="1263296"/>
                  <a:pt x="1459646" y="1139810"/>
                </a:cubicBezTo>
                <a:cubicBezTo>
                  <a:pt x="1465828" y="1137436"/>
                  <a:pt x="1472129" y="1136485"/>
                  <a:pt x="1478252" y="1136782"/>
                </a:cubicBezTo>
                <a:close/>
                <a:moveTo>
                  <a:pt x="4287306" y="1129713"/>
                </a:moveTo>
                <a:cubicBezTo>
                  <a:pt x="4306925" y="1131585"/>
                  <a:pt x="4324402" y="1144425"/>
                  <a:pt x="4330110" y="1165826"/>
                </a:cubicBezTo>
                <a:cubicBezTo>
                  <a:pt x="4332013" y="1169631"/>
                  <a:pt x="4333916" y="1175338"/>
                  <a:pt x="4333916" y="1181045"/>
                </a:cubicBezTo>
                <a:cubicBezTo>
                  <a:pt x="4333916" y="1201970"/>
                  <a:pt x="4318695" y="1222894"/>
                  <a:pt x="4297769" y="1228599"/>
                </a:cubicBezTo>
                <a:cubicBezTo>
                  <a:pt x="4297769" y="1228599"/>
                  <a:pt x="4297769" y="1228599"/>
                  <a:pt x="3955366" y="1337029"/>
                </a:cubicBezTo>
                <a:cubicBezTo>
                  <a:pt x="3928733" y="1344638"/>
                  <a:pt x="3900198" y="1329419"/>
                  <a:pt x="3890685" y="1302787"/>
                </a:cubicBezTo>
                <a:cubicBezTo>
                  <a:pt x="3883076" y="1276155"/>
                  <a:pt x="3898296" y="1247620"/>
                  <a:pt x="3924928" y="1240012"/>
                </a:cubicBezTo>
                <a:cubicBezTo>
                  <a:pt x="3924928" y="1240012"/>
                  <a:pt x="3924928" y="1240012"/>
                  <a:pt x="4267331" y="1131585"/>
                </a:cubicBezTo>
                <a:cubicBezTo>
                  <a:pt x="4273989" y="1129683"/>
                  <a:pt x="4280766" y="1129089"/>
                  <a:pt x="4287306" y="1129713"/>
                </a:cubicBezTo>
                <a:close/>
                <a:moveTo>
                  <a:pt x="2033027" y="1129695"/>
                </a:moveTo>
                <a:cubicBezTo>
                  <a:pt x="2052752" y="1131568"/>
                  <a:pt x="2070599" y="1144408"/>
                  <a:pt x="2077738" y="1165808"/>
                </a:cubicBezTo>
                <a:cubicBezTo>
                  <a:pt x="2079641" y="1169613"/>
                  <a:pt x="2079641" y="1175320"/>
                  <a:pt x="2079641" y="1181027"/>
                </a:cubicBezTo>
                <a:cubicBezTo>
                  <a:pt x="2079641" y="1201952"/>
                  <a:pt x="2066315" y="1222876"/>
                  <a:pt x="2043467" y="1228582"/>
                </a:cubicBezTo>
                <a:cubicBezTo>
                  <a:pt x="2043467" y="1228582"/>
                  <a:pt x="2043467" y="1228582"/>
                  <a:pt x="1702708" y="1337012"/>
                </a:cubicBezTo>
                <a:cubicBezTo>
                  <a:pt x="1674153" y="1344621"/>
                  <a:pt x="1645598" y="1329403"/>
                  <a:pt x="1637983" y="1302771"/>
                </a:cubicBezTo>
                <a:cubicBezTo>
                  <a:pt x="1630368" y="1276139"/>
                  <a:pt x="1643694" y="1247605"/>
                  <a:pt x="1670346" y="1239996"/>
                </a:cubicBezTo>
                <a:cubicBezTo>
                  <a:pt x="1670346" y="1239996"/>
                  <a:pt x="1670346" y="1239996"/>
                  <a:pt x="2013008" y="1131568"/>
                </a:cubicBezTo>
                <a:cubicBezTo>
                  <a:pt x="2019671" y="1129665"/>
                  <a:pt x="2026453" y="1129071"/>
                  <a:pt x="2033027" y="1129695"/>
                </a:cubicBezTo>
                <a:close/>
                <a:moveTo>
                  <a:pt x="3726353" y="1122417"/>
                </a:moveTo>
                <a:cubicBezTo>
                  <a:pt x="3747339" y="1125382"/>
                  <a:pt x="3765914" y="1140474"/>
                  <a:pt x="3771630" y="1162034"/>
                </a:cubicBezTo>
                <a:cubicBezTo>
                  <a:pt x="3773534" y="1165867"/>
                  <a:pt x="3773534" y="1171616"/>
                  <a:pt x="3773534" y="1175449"/>
                </a:cubicBezTo>
                <a:cubicBezTo>
                  <a:pt x="3773534" y="1200364"/>
                  <a:pt x="3758295" y="1221442"/>
                  <a:pt x="3733528" y="1229108"/>
                </a:cubicBezTo>
                <a:cubicBezTo>
                  <a:pt x="3733528" y="1229108"/>
                  <a:pt x="3733528" y="1229108"/>
                  <a:pt x="3390637" y="1321097"/>
                </a:cubicBezTo>
                <a:cubicBezTo>
                  <a:pt x="3362061" y="1328763"/>
                  <a:pt x="3331580" y="1311513"/>
                  <a:pt x="3323960" y="1282766"/>
                </a:cubicBezTo>
                <a:cubicBezTo>
                  <a:pt x="3316339" y="1254020"/>
                  <a:pt x="3333484" y="1223360"/>
                  <a:pt x="3362061" y="1215695"/>
                </a:cubicBezTo>
                <a:cubicBezTo>
                  <a:pt x="3362061" y="1215695"/>
                  <a:pt x="3362061" y="1215695"/>
                  <a:pt x="3704951" y="1123705"/>
                </a:cubicBezTo>
                <a:cubicBezTo>
                  <a:pt x="3712096" y="1121789"/>
                  <a:pt x="3719358" y="1121429"/>
                  <a:pt x="3726353" y="1122417"/>
                </a:cubicBezTo>
                <a:close/>
                <a:moveTo>
                  <a:pt x="2592851" y="1122397"/>
                </a:moveTo>
                <a:cubicBezTo>
                  <a:pt x="2613837" y="1125361"/>
                  <a:pt x="2632410" y="1140454"/>
                  <a:pt x="2638126" y="1162013"/>
                </a:cubicBezTo>
                <a:cubicBezTo>
                  <a:pt x="2640030" y="1165846"/>
                  <a:pt x="2640030" y="1171596"/>
                  <a:pt x="2640030" y="1175429"/>
                </a:cubicBezTo>
                <a:cubicBezTo>
                  <a:pt x="2640030" y="1200343"/>
                  <a:pt x="2622885" y="1221423"/>
                  <a:pt x="2600026" y="1229089"/>
                </a:cubicBezTo>
                <a:cubicBezTo>
                  <a:pt x="2600026" y="1229089"/>
                  <a:pt x="2600026" y="1229089"/>
                  <a:pt x="2257121" y="1321078"/>
                </a:cubicBezTo>
                <a:cubicBezTo>
                  <a:pt x="2226641" y="1328744"/>
                  <a:pt x="2198066" y="1311496"/>
                  <a:pt x="2190445" y="1282749"/>
                </a:cubicBezTo>
                <a:cubicBezTo>
                  <a:pt x="2182826" y="1254002"/>
                  <a:pt x="2199971" y="1223340"/>
                  <a:pt x="2228546" y="1215674"/>
                </a:cubicBezTo>
                <a:cubicBezTo>
                  <a:pt x="2228546" y="1215674"/>
                  <a:pt x="2228546" y="1215674"/>
                  <a:pt x="2571449" y="1123685"/>
                </a:cubicBezTo>
                <a:cubicBezTo>
                  <a:pt x="2578593" y="1121768"/>
                  <a:pt x="2585856" y="1121409"/>
                  <a:pt x="2592851" y="1122397"/>
                </a:cubicBezTo>
                <a:close/>
                <a:moveTo>
                  <a:pt x="3157611" y="1116357"/>
                </a:moveTo>
                <a:cubicBezTo>
                  <a:pt x="3179267" y="1119929"/>
                  <a:pt x="3197446" y="1136359"/>
                  <a:pt x="3201722" y="1159220"/>
                </a:cubicBezTo>
                <a:cubicBezTo>
                  <a:pt x="3203624" y="1163029"/>
                  <a:pt x="3203624" y="1168744"/>
                  <a:pt x="3203624" y="1172555"/>
                </a:cubicBezTo>
                <a:cubicBezTo>
                  <a:pt x="3203624" y="1197321"/>
                  <a:pt x="3186515" y="1222083"/>
                  <a:pt x="3159900" y="1227799"/>
                </a:cubicBezTo>
                <a:cubicBezTo>
                  <a:pt x="3159900" y="1227799"/>
                  <a:pt x="3159900" y="1227799"/>
                  <a:pt x="2815797" y="1303997"/>
                </a:cubicBezTo>
                <a:cubicBezTo>
                  <a:pt x="2785375" y="1309712"/>
                  <a:pt x="2754960" y="1290662"/>
                  <a:pt x="2747356" y="1260182"/>
                </a:cubicBezTo>
                <a:cubicBezTo>
                  <a:pt x="2741654" y="1229703"/>
                  <a:pt x="2760664" y="1199225"/>
                  <a:pt x="2791085" y="1191605"/>
                </a:cubicBezTo>
                <a:cubicBezTo>
                  <a:pt x="2791085" y="1191605"/>
                  <a:pt x="2791085" y="1191605"/>
                  <a:pt x="3135184" y="1117309"/>
                </a:cubicBezTo>
                <a:cubicBezTo>
                  <a:pt x="3142789" y="1115404"/>
                  <a:pt x="3150393" y="1115166"/>
                  <a:pt x="3157611" y="1116357"/>
                </a:cubicBezTo>
                <a:close/>
                <a:moveTo>
                  <a:pt x="9862398" y="887331"/>
                </a:moveTo>
                <a:cubicBezTo>
                  <a:pt x="9868604" y="888044"/>
                  <a:pt x="9874333" y="890896"/>
                  <a:pt x="9878153" y="895649"/>
                </a:cubicBezTo>
                <a:cubicBezTo>
                  <a:pt x="9881972" y="901352"/>
                  <a:pt x="9883882" y="905154"/>
                  <a:pt x="9883882" y="910857"/>
                </a:cubicBezTo>
                <a:cubicBezTo>
                  <a:pt x="9883882" y="918462"/>
                  <a:pt x="9880062" y="926066"/>
                  <a:pt x="9874333" y="929868"/>
                </a:cubicBezTo>
                <a:cubicBezTo>
                  <a:pt x="9874333" y="929868"/>
                  <a:pt x="9874333" y="929868"/>
                  <a:pt x="9540128" y="1184614"/>
                </a:cubicBezTo>
                <a:cubicBezTo>
                  <a:pt x="9530580" y="1192218"/>
                  <a:pt x="9515302" y="1190317"/>
                  <a:pt x="9505753" y="1178911"/>
                </a:cubicBezTo>
                <a:cubicBezTo>
                  <a:pt x="9498114" y="1167504"/>
                  <a:pt x="9500024" y="1152295"/>
                  <a:pt x="9511482" y="1144691"/>
                </a:cubicBezTo>
                <a:cubicBezTo>
                  <a:pt x="9511482" y="1144691"/>
                  <a:pt x="9511482" y="1144691"/>
                  <a:pt x="9843777" y="891846"/>
                </a:cubicBezTo>
                <a:cubicBezTo>
                  <a:pt x="9849507" y="888044"/>
                  <a:pt x="9856191" y="886618"/>
                  <a:pt x="9862398" y="887331"/>
                </a:cubicBezTo>
                <a:close/>
                <a:moveTo>
                  <a:pt x="9285227" y="879270"/>
                </a:moveTo>
                <a:cubicBezTo>
                  <a:pt x="9291895" y="880464"/>
                  <a:pt x="9298086" y="884282"/>
                  <a:pt x="9301896" y="890009"/>
                </a:cubicBezTo>
                <a:cubicBezTo>
                  <a:pt x="9305706" y="893827"/>
                  <a:pt x="9307611" y="899554"/>
                  <a:pt x="9307611" y="905281"/>
                </a:cubicBezTo>
                <a:cubicBezTo>
                  <a:pt x="9307611" y="914826"/>
                  <a:pt x="9303801" y="922462"/>
                  <a:pt x="9296181" y="928189"/>
                </a:cubicBezTo>
                <a:cubicBezTo>
                  <a:pt x="9296181" y="928189"/>
                  <a:pt x="9296181" y="928189"/>
                  <a:pt x="8962802" y="1168731"/>
                </a:cubicBezTo>
                <a:cubicBezTo>
                  <a:pt x="8951371" y="1176367"/>
                  <a:pt x="8934226" y="1174459"/>
                  <a:pt x="8924701" y="1161095"/>
                </a:cubicBezTo>
                <a:cubicBezTo>
                  <a:pt x="8917081" y="1149641"/>
                  <a:pt x="8918986" y="1132459"/>
                  <a:pt x="8930416" y="1124823"/>
                </a:cubicBezTo>
                <a:cubicBezTo>
                  <a:pt x="8930416" y="1124823"/>
                  <a:pt x="8930416" y="1124823"/>
                  <a:pt x="9265700" y="884282"/>
                </a:cubicBezTo>
                <a:cubicBezTo>
                  <a:pt x="9271415" y="879509"/>
                  <a:pt x="9278560" y="878077"/>
                  <a:pt x="9285227" y="879270"/>
                </a:cubicBezTo>
                <a:close/>
                <a:moveTo>
                  <a:pt x="10445943" y="879249"/>
                </a:moveTo>
                <a:cubicBezTo>
                  <a:pt x="10452849" y="880442"/>
                  <a:pt x="10459517" y="884260"/>
                  <a:pt x="10464279" y="889987"/>
                </a:cubicBezTo>
                <a:cubicBezTo>
                  <a:pt x="10468089" y="893805"/>
                  <a:pt x="10468089" y="899532"/>
                  <a:pt x="10468089" y="905259"/>
                </a:cubicBezTo>
                <a:cubicBezTo>
                  <a:pt x="10468089" y="914805"/>
                  <a:pt x="10464279" y="922441"/>
                  <a:pt x="10458564" y="928168"/>
                </a:cubicBezTo>
                <a:cubicBezTo>
                  <a:pt x="10458564" y="928168"/>
                  <a:pt x="10458564" y="928168"/>
                  <a:pt x="10123280" y="1168705"/>
                </a:cubicBezTo>
                <a:cubicBezTo>
                  <a:pt x="10111849" y="1176341"/>
                  <a:pt x="10094704" y="1174432"/>
                  <a:pt x="10087084" y="1161069"/>
                </a:cubicBezTo>
                <a:cubicBezTo>
                  <a:pt x="10077559" y="1149615"/>
                  <a:pt x="10079464" y="1132433"/>
                  <a:pt x="10092799" y="1124797"/>
                </a:cubicBezTo>
                <a:cubicBezTo>
                  <a:pt x="10092799" y="1124797"/>
                  <a:pt x="10092799" y="1124797"/>
                  <a:pt x="10426178" y="884260"/>
                </a:cubicBezTo>
                <a:cubicBezTo>
                  <a:pt x="10431894" y="879488"/>
                  <a:pt x="10439038" y="878056"/>
                  <a:pt x="10445943" y="879249"/>
                </a:cubicBezTo>
                <a:close/>
                <a:moveTo>
                  <a:pt x="8716319" y="870617"/>
                </a:moveTo>
                <a:cubicBezTo>
                  <a:pt x="8723707" y="872049"/>
                  <a:pt x="8730380" y="876344"/>
                  <a:pt x="8735146" y="883981"/>
                </a:cubicBezTo>
                <a:cubicBezTo>
                  <a:pt x="8738959" y="887799"/>
                  <a:pt x="8740866" y="893527"/>
                  <a:pt x="8740866" y="899254"/>
                </a:cubicBezTo>
                <a:cubicBezTo>
                  <a:pt x="8740866" y="908800"/>
                  <a:pt x="8735146" y="918345"/>
                  <a:pt x="8727520" y="924073"/>
                </a:cubicBezTo>
                <a:cubicBezTo>
                  <a:pt x="8727520" y="924073"/>
                  <a:pt x="8727520" y="924073"/>
                  <a:pt x="8391968" y="1151267"/>
                </a:cubicBezTo>
                <a:cubicBezTo>
                  <a:pt x="8378622" y="1158904"/>
                  <a:pt x="8359557" y="1156995"/>
                  <a:pt x="8351931" y="1141721"/>
                </a:cubicBezTo>
                <a:cubicBezTo>
                  <a:pt x="8342398" y="1128357"/>
                  <a:pt x="8346211" y="1111175"/>
                  <a:pt x="8359557" y="1101629"/>
                </a:cubicBezTo>
                <a:cubicBezTo>
                  <a:pt x="8359557" y="1101629"/>
                  <a:pt x="8359557" y="1101629"/>
                  <a:pt x="8693202" y="874435"/>
                </a:cubicBezTo>
                <a:cubicBezTo>
                  <a:pt x="8700828" y="870617"/>
                  <a:pt x="8708931" y="869185"/>
                  <a:pt x="8716319" y="870617"/>
                </a:cubicBezTo>
                <a:close/>
                <a:moveTo>
                  <a:pt x="11024254" y="870594"/>
                </a:moveTo>
                <a:cubicBezTo>
                  <a:pt x="11031856" y="872025"/>
                  <a:pt x="11038983" y="876321"/>
                  <a:pt x="11043734" y="883958"/>
                </a:cubicBezTo>
                <a:cubicBezTo>
                  <a:pt x="11047535" y="887776"/>
                  <a:pt x="11047535" y="893503"/>
                  <a:pt x="11047535" y="899231"/>
                </a:cubicBezTo>
                <a:cubicBezTo>
                  <a:pt x="11047535" y="908777"/>
                  <a:pt x="11043734" y="918322"/>
                  <a:pt x="11036132" y="924050"/>
                </a:cubicBezTo>
                <a:cubicBezTo>
                  <a:pt x="11036132" y="924050"/>
                  <a:pt x="11036132" y="924050"/>
                  <a:pt x="10701654" y="1151239"/>
                </a:cubicBezTo>
                <a:cubicBezTo>
                  <a:pt x="10688350" y="1158875"/>
                  <a:pt x="10669346" y="1156966"/>
                  <a:pt x="10659844" y="1141693"/>
                </a:cubicBezTo>
                <a:cubicBezTo>
                  <a:pt x="10652242" y="1128329"/>
                  <a:pt x="10654142" y="1111146"/>
                  <a:pt x="10669346" y="1101601"/>
                </a:cubicBezTo>
                <a:cubicBezTo>
                  <a:pt x="10669346" y="1101601"/>
                  <a:pt x="10669346" y="1101601"/>
                  <a:pt x="11001924" y="874412"/>
                </a:cubicBezTo>
                <a:cubicBezTo>
                  <a:pt x="11008575" y="870594"/>
                  <a:pt x="11016652" y="869162"/>
                  <a:pt x="11024254" y="870594"/>
                </a:cubicBezTo>
                <a:close/>
                <a:moveTo>
                  <a:pt x="8152171" y="862274"/>
                </a:moveTo>
                <a:cubicBezTo>
                  <a:pt x="8160017" y="863941"/>
                  <a:pt x="8167150" y="868703"/>
                  <a:pt x="8171905" y="876324"/>
                </a:cubicBezTo>
                <a:cubicBezTo>
                  <a:pt x="8175709" y="882038"/>
                  <a:pt x="8175709" y="887753"/>
                  <a:pt x="8175709" y="893468"/>
                </a:cubicBezTo>
                <a:cubicBezTo>
                  <a:pt x="8175709" y="904898"/>
                  <a:pt x="8171905" y="914423"/>
                  <a:pt x="8162395" y="920138"/>
                </a:cubicBezTo>
                <a:cubicBezTo>
                  <a:pt x="8162395" y="920138"/>
                  <a:pt x="8162395" y="920138"/>
                  <a:pt x="7825735" y="1133503"/>
                </a:cubicBezTo>
                <a:cubicBezTo>
                  <a:pt x="7812420" y="1143028"/>
                  <a:pt x="7791498" y="1137314"/>
                  <a:pt x="7781988" y="1123978"/>
                </a:cubicBezTo>
                <a:cubicBezTo>
                  <a:pt x="7772478" y="1108738"/>
                  <a:pt x="7778184" y="1087784"/>
                  <a:pt x="7791498" y="1078258"/>
                </a:cubicBezTo>
                <a:cubicBezTo>
                  <a:pt x="7791498" y="1078258"/>
                  <a:pt x="7791498" y="1078258"/>
                  <a:pt x="8128158" y="866799"/>
                </a:cubicBezTo>
                <a:cubicBezTo>
                  <a:pt x="8135766" y="862036"/>
                  <a:pt x="8144325" y="860607"/>
                  <a:pt x="8152171" y="862274"/>
                </a:cubicBezTo>
                <a:close/>
                <a:moveTo>
                  <a:pt x="11596678" y="862268"/>
                </a:moveTo>
                <a:cubicBezTo>
                  <a:pt x="11604555" y="863935"/>
                  <a:pt x="11611715" y="868698"/>
                  <a:pt x="11616489" y="876317"/>
                </a:cubicBezTo>
                <a:cubicBezTo>
                  <a:pt x="11620308" y="882033"/>
                  <a:pt x="11622218" y="887747"/>
                  <a:pt x="11622218" y="893462"/>
                </a:cubicBezTo>
                <a:cubicBezTo>
                  <a:pt x="11622218" y="904892"/>
                  <a:pt x="11616489" y="914417"/>
                  <a:pt x="11606942" y="920132"/>
                </a:cubicBezTo>
                <a:cubicBezTo>
                  <a:pt x="11606942" y="920132"/>
                  <a:pt x="11606942" y="920132"/>
                  <a:pt x="11270867" y="1133497"/>
                </a:cubicBezTo>
                <a:cubicBezTo>
                  <a:pt x="11255590" y="1143022"/>
                  <a:pt x="11236495" y="1137306"/>
                  <a:pt x="11226948" y="1123971"/>
                </a:cubicBezTo>
                <a:cubicBezTo>
                  <a:pt x="11217400" y="1108732"/>
                  <a:pt x="11221219" y="1087776"/>
                  <a:pt x="11236495" y="1078251"/>
                </a:cubicBezTo>
                <a:cubicBezTo>
                  <a:pt x="11236495" y="1078251"/>
                  <a:pt x="11236495" y="1078251"/>
                  <a:pt x="11572570" y="866793"/>
                </a:cubicBezTo>
                <a:cubicBezTo>
                  <a:pt x="11580209" y="862030"/>
                  <a:pt x="11588801" y="860601"/>
                  <a:pt x="11596678" y="862268"/>
                </a:cubicBezTo>
                <a:close/>
                <a:moveTo>
                  <a:pt x="12139750" y="857266"/>
                </a:moveTo>
                <a:cubicBezTo>
                  <a:pt x="12139750" y="857266"/>
                  <a:pt x="12139750" y="857266"/>
                  <a:pt x="12139750" y="935278"/>
                </a:cubicBezTo>
                <a:cubicBezTo>
                  <a:pt x="12139750" y="935278"/>
                  <a:pt x="12139750" y="935278"/>
                  <a:pt x="11834946" y="1116043"/>
                </a:cubicBezTo>
                <a:cubicBezTo>
                  <a:pt x="11817801" y="1125556"/>
                  <a:pt x="11796845" y="1119848"/>
                  <a:pt x="11787320" y="1104626"/>
                </a:cubicBezTo>
                <a:cubicBezTo>
                  <a:pt x="11777795" y="1087502"/>
                  <a:pt x="11783510" y="1066571"/>
                  <a:pt x="11798750" y="1057058"/>
                </a:cubicBezTo>
                <a:lnTo>
                  <a:pt x="12135940" y="859168"/>
                </a:lnTo>
                <a:cubicBezTo>
                  <a:pt x="12137845" y="857266"/>
                  <a:pt x="12137845" y="857266"/>
                  <a:pt x="12139750" y="857266"/>
                </a:cubicBezTo>
                <a:close/>
                <a:moveTo>
                  <a:pt x="7595013" y="854170"/>
                </a:moveTo>
                <a:cubicBezTo>
                  <a:pt x="7603579" y="856311"/>
                  <a:pt x="7611193" y="862020"/>
                  <a:pt x="7615952" y="870582"/>
                </a:cubicBezTo>
                <a:cubicBezTo>
                  <a:pt x="7619759" y="876291"/>
                  <a:pt x="7621663" y="881999"/>
                  <a:pt x="7621663" y="887708"/>
                </a:cubicBezTo>
                <a:cubicBezTo>
                  <a:pt x="7621663" y="899125"/>
                  <a:pt x="7614049" y="910542"/>
                  <a:pt x="7604531" y="918153"/>
                </a:cubicBezTo>
                <a:cubicBezTo>
                  <a:pt x="7604531" y="918153"/>
                  <a:pt x="7604531" y="918153"/>
                  <a:pt x="7267601" y="1116053"/>
                </a:cubicBezTo>
                <a:cubicBezTo>
                  <a:pt x="7250469" y="1125566"/>
                  <a:pt x="7229530" y="1119858"/>
                  <a:pt x="7220013" y="1104635"/>
                </a:cubicBezTo>
                <a:cubicBezTo>
                  <a:pt x="7210495" y="1087509"/>
                  <a:pt x="7216205" y="1066577"/>
                  <a:pt x="7233337" y="1057064"/>
                </a:cubicBezTo>
                <a:cubicBezTo>
                  <a:pt x="7233337" y="1057064"/>
                  <a:pt x="7233337" y="1057064"/>
                  <a:pt x="7568363" y="859165"/>
                </a:cubicBezTo>
                <a:cubicBezTo>
                  <a:pt x="7576929" y="853457"/>
                  <a:pt x="7586447" y="852030"/>
                  <a:pt x="7595013" y="854170"/>
                </a:cubicBezTo>
                <a:close/>
                <a:moveTo>
                  <a:pt x="7044817" y="846270"/>
                </a:moveTo>
                <a:cubicBezTo>
                  <a:pt x="7054111" y="848902"/>
                  <a:pt x="7062213" y="855122"/>
                  <a:pt x="7066980" y="864693"/>
                </a:cubicBezTo>
                <a:cubicBezTo>
                  <a:pt x="7068886" y="870434"/>
                  <a:pt x="7070793" y="876176"/>
                  <a:pt x="7070793" y="881918"/>
                </a:cubicBezTo>
                <a:cubicBezTo>
                  <a:pt x="7070793" y="895316"/>
                  <a:pt x="7063167" y="908714"/>
                  <a:pt x="7051728" y="914456"/>
                </a:cubicBezTo>
                <a:cubicBezTo>
                  <a:pt x="7051728" y="914456"/>
                  <a:pt x="7051728" y="914456"/>
                  <a:pt x="6714282" y="1100119"/>
                </a:cubicBezTo>
                <a:cubicBezTo>
                  <a:pt x="6697124" y="1109690"/>
                  <a:pt x="6674246" y="1103949"/>
                  <a:pt x="6664714" y="1084808"/>
                </a:cubicBezTo>
                <a:cubicBezTo>
                  <a:pt x="6653275" y="1067582"/>
                  <a:pt x="6660901" y="1044608"/>
                  <a:pt x="6678059" y="1035038"/>
                </a:cubicBezTo>
                <a:cubicBezTo>
                  <a:pt x="6678059" y="1035038"/>
                  <a:pt x="6678059" y="1035038"/>
                  <a:pt x="7015505" y="849380"/>
                </a:cubicBezTo>
                <a:cubicBezTo>
                  <a:pt x="7025037" y="844595"/>
                  <a:pt x="7035523" y="843638"/>
                  <a:pt x="7044817" y="846270"/>
                </a:cubicBezTo>
                <a:close/>
                <a:moveTo>
                  <a:pt x="6485646" y="836909"/>
                </a:moveTo>
                <a:cubicBezTo>
                  <a:pt x="6501129" y="835656"/>
                  <a:pt x="6516881" y="844607"/>
                  <a:pt x="6524041" y="858929"/>
                </a:cubicBezTo>
                <a:cubicBezTo>
                  <a:pt x="6525950" y="864658"/>
                  <a:pt x="6527860" y="870387"/>
                  <a:pt x="6527860" y="876115"/>
                </a:cubicBezTo>
                <a:cubicBezTo>
                  <a:pt x="6527860" y="891392"/>
                  <a:pt x="6520223" y="904759"/>
                  <a:pt x="6506857" y="912398"/>
                </a:cubicBezTo>
                <a:cubicBezTo>
                  <a:pt x="6506857" y="912398"/>
                  <a:pt x="6506857" y="912398"/>
                  <a:pt x="6166999" y="1082357"/>
                </a:cubicBezTo>
                <a:cubicBezTo>
                  <a:pt x="6147906" y="1093815"/>
                  <a:pt x="6123085" y="1084266"/>
                  <a:pt x="6113538" y="1065171"/>
                </a:cubicBezTo>
                <a:cubicBezTo>
                  <a:pt x="6103992" y="1046070"/>
                  <a:pt x="6111629" y="1023154"/>
                  <a:pt x="6130722" y="1011697"/>
                </a:cubicBezTo>
                <a:cubicBezTo>
                  <a:pt x="6130722" y="1011697"/>
                  <a:pt x="6130722" y="1011697"/>
                  <a:pt x="6470580" y="841743"/>
                </a:cubicBezTo>
                <a:cubicBezTo>
                  <a:pt x="6475353" y="838878"/>
                  <a:pt x="6480485" y="837327"/>
                  <a:pt x="6485646" y="836909"/>
                </a:cubicBezTo>
                <a:close/>
                <a:moveTo>
                  <a:pt x="5957785" y="832476"/>
                </a:moveTo>
                <a:cubicBezTo>
                  <a:pt x="5967786" y="836271"/>
                  <a:pt x="5976358" y="843863"/>
                  <a:pt x="5981121" y="854301"/>
                </a:cubicBezTo>
                <a:cubicBezTo>
                  <a:pt x="5984930" y="859994"/>
                  <a:pt x="5984930" y="865688"/>
                  <a:pt x="5984930" y="871381"/>
                </a:cubicBezTo>
                <a:cubicBezTo>
                  <a:pt x="5984930" y="886564"/>
                  <a:pt x="5977311" y="901746"/>
                  <a:pt x="5962070" y="909338"/>
                </a:cubicBezTo>
                <a:cubicBezTo>
                  <a:pt x="5962070" y="909338"/>
                  <a:pt x="5962070" y="909338"/>
                  <a:pt x="5622984" y="1066863"/>
                </a:cubicBezTo>
                <a:cubicBezTo>
                  <a:pt x="5602029" y="1076353"/>
                  <a:pt x="5575359" y="1066863"/>
                  <a:pt x="5565834" y="1045982"/>
                </a:cubicBezTo>
                <a:cubicBezTo>
                  <a:pt x="5556309" y="1025106"/>
                  <a:pt x="5565834" y="1000434"/>
                  <a:pt x="5586789" y="990945"/>
                </a:cubicBezTo>
                <a:cubicBezTo>
                  <a:pt x="5586789" y="990945"/>
                  <a:pt x="5586789" y="990945"/>
                  <a:pt x="5925876" y="833424"/>
                </a:cubicBezTo>
                <a:cubicBezTo>
                  <a:pt x="5936354" y="828680"/>
                  <a:pt x="5947784" y="828680"/>
                  <a:pt x="5957785" y="832476"/>
                </a:cubicBezTo>
                <a:close/>
                <a:moveTo>
                  <a:pt x="398307" y="832466"/>
                </a:moveTo>
                <a:cubicBezTo>
                  <a:pt x="408309" y="836261"/>
                  <a:pt x="416881" y="843853"/>
                  <a:pt x="421644" y="854291"/>
                </a:cubicBezTo>
                <a:cubicBezTo>
                  <a:pt x="425454" y="859984"/>
                  <a:pt x="425454" y="865678"/>
                  <a:pt x="425454" y="871371"/>
                </a:cubicBezTo>
                <a:cubicBezTo>
                  <a:pt x="425454" y="886554"/>
                  <a:pt x="417834" y="901737"/>
                  <a:pt x="400689" y="909328"/>
                </a:cubicBezTo>
                <a:cubicBezTo>
                  <a:pt x="400689" y="909328"/>
                  <a:pt x="400689" y="909328"/>
                  <a:pt x="61595" y="1066852"/>
                </a:cubicBezTo>
                <a:cubicBezTo>
                  <a:pt x="40639" y="1076341"/>
                  <a:pt x="15874" y="1066852"/>
                  <a:pt x="6349" y="1045972"/>
                </a:cubicBezTo>
                <a:cubicBezTo>
                  <a:pt x="-3176" y="1025096"/>
                  <a:pt x="6349" y="1000424"/>
                  <a:pt x="27304" y="990935"/>
                </a:cubicBezTo>
                <a:cubicBezTo>
                  <a:pt x="27304" y="990935"/>
                  <a:pt x="27304" y="990935"/>
                  <a:pt x="366398" y="833414"/>
                </a:cubicBezTo>
                <a:cubicBezTo>
                  <a:pt x="376876" y="828670"/>
                  <a:pt x="388306" y="828670"/>
                  <a:pt x="398307" y="832466"/>
                </a:cubicBezTo>
                <a:close/>
                <a:moveTo>
                  <a:pt x="5410477" y="824774"/>
                </a:moveTo>
                <a:cubicBezTo>
                  <a:pt x="5421200" y="828807"/>
                  <a:pt x="5430255" y="836871"/>
                  <a:pt x="5435021" y="848257"/>
                </a:cubicBezTo>
                <a:cubicBezTo>
                  <a:pt x="5436928" y="853949"/>
                  <a:pt x="5438834" y="859642"/>
                  <a:pt x="5438834" y="865335"/>
                </a:cubicBezTo>
                <a:cubicBezTo>
                  <a:pt x="5438834" y="882413"/>
                  <a:pt x="5427395" y="899491"/>
                  <a:pt x="5410239" y="907081"/>
                </a:cubicBezTo>
                <a:cubicBezTo>
                  <a:pt x="5410239" y="907081"/>
                  <a:pt x="5410239" y="907081"/>
                  <a:pt x="5070896" y="1049397"/>
                </a:cubicBezTo>
                <a:cubicBezTo>
                  <a:pt x="5048022" y="1058891"/>
                  <a:pt x="5021334" y="1047500"/>
                  <a:pt x="5011805" y="1024730"/>
                </a:cubicBezTo>
                <a:cubicBezTo>
                  <a:pt x="5002274" y="1003856"/>
                  <a:pt x="5013710" y="977291"/>
                  <a:pt x="5034679" y="967803"/>
                </a:cubicBezTo>
                <a:cubicBezTo>
                  <a:pt x="5034679" y="967803"/>
                  <a:pt x="5034679" y="967803"/>
                  <a:pt x="5375924" y="825486"/>
                </a:cubicBezTo>
                <a:cubicBezTo>
                  <a:pt x="5387362" y="820742"/>
                  <a:pt x="5399754" y="820742"/>
                  <a:pt x="5410477" y="824774"/>
                </a:cubicBezTo>
                <a:close/>
                <a:moveTo>
                  <a:pt x="944785" y="824762"/>
                </a:moveTo>
                <a:cubicBezTo>
                  <a:pt x="955509" y="828795"/>
                  <a:pt x="964564" y="836859"/>
                  <a:pt x="969330" y="848245"/>
                </a:cubicBezTo>
                <a:cubicBezTo>
                  <a:pt x="971236" y="853937"/>
                  <a:pt x="973143" y="859630"/>
                  <a:pt x="973143" y="865323"/>
                </a:cubicBezTo>
                <a:cubicBezTo>
                  <a:pt x="973143" y="882401"/>
                  <a:pt x="963611" y="899479"/>
                  <a:pt x="946453" y="907069"/>
                </a:cubicBezTo>
                <a:cubicBezTo>
                  <a:pt x="946453" y="907069"/>
                  <a:pt x="946453" y="907069"/>
                  <a:pt x="605206" y="1049386"/>
                </a:cubicBezTo>
                <a:cubicBezTo>
                  <a:pt x="582329" y="1058877"/>
                  <a:pt x="555640" y="1047489"/>
                  <a:pt x="546108" y="1024718"/>
                </a:cubicBezTo>
                <a:cubicBezTo>
                  <a:pt x="536576" y="1003845"/>
                  <a:pt x="548014" y="977279"/>
                  <a:pt x="570891" y="967791"/>
                </a:cubicBezTo>
                <a:cubicBezTo>
                  <a:pt x="570891" y="967791"/>
                  <a:pt x="570891" y="967791"/>
                  <a:pt x="910231" y="825474"/>
                </a:cubicBezTo>
                <a:cubicBezTo>
                  <a:pt x="921670" y="820730"/>
                  <a:pt x="934061" y="820730"/>
                  <a:pt x="944785" y="824762"/>
                </a:cubicBezTo>
                <a:close/>
                <a:moveTo>
                  <a:pt x="4842166" y="812941"/>
                </a:moveTo>
                <a:cubicBezTo>
                  <a:pt x="4860553" y="813746"/>
                  <a:pt x="4877331" y="825549"/>
                  <a:pt x="4884470" y="842717"/>
                </a:cubicBezTo>
                <a:cubicBezTo>
                  <a:pt x="4886374" y="848440"/>
                  <a:pt x="4886374" y="854162"/>
                  <a:pt x="4886374" y="859885"/>
                </a:cubicBezTo>
                <a:cubicBezTo>
                  <a:pt x="4886374" y="878960"/>
                  <a:pt x="4874950" y="898036"/>
                  <a:pt x="4855910" y="903759"/>
                </a:cubicBezTo>
                <a:cubicBezTo>
                  <a:pt x="4855910" y="903759"/>
                  <a:pt x="4855910" y="903759"/>
                  <a:pt x="4515164" y="1033473"/>
                </a:cubicBezTo>
                <a:cubicBezTo>
                  <a:pt x="4492320" y="1043010"/>
                  <a:pt x="4463765" y="1031565"/>
                  <a:pt x="4454246" y="1006767"/>
                </a:cubicBezTo>
                <a:cubicBezTo>
                  <a:pt x="4446631" y="981968"/>
                  <a:pt x="4458054" y="955263"/>
                  <a:pt x="4482801" y="945725"/>
                </a:cubicBezTo>
                <a:cubicBezTo>
                  <a:pt x="4482801" y="945725"/>
                  <a:pt x="4482801" y="945725"/>
                  <a:pt x="4823545" y="816011"/>
                </a:cubicBezTo>
                <a:cubicBezTo>
                  <a:pt x="4829731" y="813626"/>
                  <a:pt x="4836038" y="812673"/>
                  <a:pt x="4842166" y="812941"/>
                </a:cubicBezTo>
                <a:close/>
                <a:moveTo>
                  <a:pt x="1476350" y="812927"/>
                </a:moveTo>
                <a:cubicBezTo>
                  <a:pt x="1494719" y="813732"/>
                  <a:pt x="1511483" y="825535"/>
                  <a:pt x="1518617" y="842703"/>
                </a:cubicBezTo>
                <a:cubicBezTo>
                  <a:pt x="1520519" y="848426"/>
                  <a:pt x="1522421" y="854148"/>
                  <a:pt x="1522421" y="859871"/>
                </a:cubicBezTo>
                <a:cubicBezTo>
                  <a:pt x="1522421" y="878946"/>
                  <a:pt x="1511008" y="898022"/>
                  <a:pt x="1491985" y="903745"/>
                </a:cubicBezTo>
                <a:cubicBezTo>
                  <a:pt x="1491985" y="903745"/>
                  <a:pt x="1491985" y="903745"/>
                  <a:pt x="1151476" y="1033459"/>
                </a:cubicBezTo>
                <a:cubicBezTo>
                  <a:pt x="1126746" y="1042997"/>
                  <a:pt x="1100114" y="1031552"/>
                  <a:pt x="1090602" y="1006753"/>
                </a:cubicBezTo>
                <a:cubicBezTo>
                  <a:pt x="1081091" y="981955"/>
                  <a:pt x="1094407" y="955249"/>
                  <a:pt x="1117234" y="945711"/>
                </a:cubicBezTo>
                <a:cubicBezTo>
                  <a:pt x="1117234" y="945711"/>
                  <a:pt x="1117234" y="945711"/>
                  <a:pt x="1457743" y="815997"/>
                </a:cubicBezTo>
                <a:cubicBezTo>
                  <a:pt x="1463926" y="813613"/>
                  <a:pt x="1470227" y="812659"/>
                  <a:pt x="1476350" y="812927"/>
                </a:cubicBezTo>
                <a:close/>
                <a:moveTo>
                  <a:pt x="4285652" y="804258"/>
                </a:moveTo>
                <a:cubicBezTo>
                  <a:pt x="4305298" y="806047"/>
                  <a:pt x="4322801" y="818566"/>
                  <a:pt x="4328516" y="838596"/>
                </a:cubicBezTo>
                <a:cubicBezTo>
                  <a:pt x="4330421" y="844319"/>
                  <a:pt x="4332327" y="848134"/>
                  <a:pt x="4332327" y="853857"/>
                </a:cubicBezTo>
                <a:cubicBezTo>
                  <a:pt x="4332327" y="874842"/>
                  <a:pt x="4318991" y="893918"/>
                  <a:pt x="4298035" y="901549"/>
                </a:cubicBezTo>
                <a:cubicBezTo>
                  <a:pt x="4298035" y="901549"/>
                  <a:pt x="4298035" y="901549"/>
                  <a:pt x="3957057" y="1017917"/>
                </a:cubicBezTo>
                <a:cubicBezTo>
                  <a:pt x="3930386" y="1025548"/>
                  <a:pt x="3901809" y="1012194"/>
                  <a:pt x="3894189" y="985486"/>
                </a:cubicBezTo>
                <a:cubicBezTo>
                  <a:pt x="3884664" y="960687"/>
                  <a:pt x="3897999" y="932072"/>
                  <a:pt x="3924669" y="922533"/>
                </a:cubicBezTo>
                <a:cubicBezTo>
                  <a:pt x="3924669" y="922533"/>
                  <a:pt x="3924669" y="922533"/>
                  <a:pt x="4265650" y="806166"/>
                </a:cubicBezTo>
                <a:cubicBezTo>
                  <a:pt x="4272317" y="804258"/>
                  <a:pt x="4279103" y="803662"/>
                  <a:pt x="4285652" y="804258"/>
                </a:cubicBezTo>
                <a:close/>
                <a:moveTo>
                  <a:pt x="2032209" y="804242"/>
                </a:moveTo>
                <a:cubicBezTo>
                  <a:pt x="2051146" y="806031"/>
                  <a:pt x="2069005" y="818550"/>
                  <a:pt x="2076148" y="838580"/>
                </a:cubicBezTo>
                <a:cubicBezTo>
                  <a:pt x="2078054" y="844303"/>
                  <a:pt x="2078054" y="848119"/>
                  <a:pt x="2078054" y="853842"/>
                </a:cubicBezTo>
                <a:cubicBezTo>
                  <a:pt x="2078054" y="874826"/>
                  <a:pt x="2064718" y="893903"/>
                  <a:pt x="2043759" y="901533"/>
                </a:cubicBezTo>
                <a:cubicBezTo>
                  <a:pt x="2043759" y="901533"/>
                  <a:pt x="2043759" y="901533"/>
                  <a:pt x="1702759" y="1017901"/>
                </a:cubicBezTo>
                <a:cubicBezTo>
                  <a:pt x="1676089" y="1025532"/>
                  <a:pt x="1649419" y="1012178"/>
                  <a:pt x="1639894" y="985471"/>
                </a:cubicBezTo>
                <a:cubicBezTo>
                  <a:pt x="1630368" y="960671"/>
                  <a:pt x="1645609" y="932056"/>
                  <a:pt x="1670374" y="922518"/>
                </a:cubicBezTo>
                <a:cubicBezTo>
                  <a:pt x="1670374" y="922518"/>
                  <a:pt x="1670374" y="922518"/>
                  <a:pt x="2013278" y="806150"/>
                </a:cubicBezTo>
                <a:cubicBezTo>
                  <a:pt x="2019470" y="804242"/>
                  <a:pt x="2025899" y="803646"/>
                  <a:pt x="2032209" y="804242"/>
                </a:cubicBezTo>
                <a:close/>
                <a:moveTo>
                  <a:pt x="3725236" y="796620"/>
                </a:moveTo>
                <a:cubicBezTo>
                  <a:pt x="3745002" y="798945"/>
                  <a:pt x="3762885" y="812538"/>
                  <a:pt x="3770039" y="832569"/>
                </a:cubicBezTo>
                <a:cubicBezTo>
                  <a:pt x="3770039" y="838293"/>
                  <a:pt x="3771948" y="844016"/>
                  <a:pt x="3771948" y="847831"/>
                </a:cubicBezTo>
                <a:cubicBezTo>
                  <a:pt x="3771948" y="870725"/>
                  <a:pt x="3756687" y="891710"/>
                  <a:pt x="3733791" y="897434"/>
                </a:cubicBezTo>
                <a:cubicBezTo>
                  <a:pt x="3733791" y="897434"/>
                  <a:pt x="3733791" y="897434"/>
                  <a:pt x="3390423" y="1000454"/>
                </a:cubicBezTo>
                <a:cubicBezTo>
                  <a:pt x="3363713" y="1008085"/>
                  <a:pt x="3335097" y="992823"/>
                  <a:pt x="3325558" y="964206"/>
                </a:cubicBezTo>
                <a:cubicBezTo>
                  <a:pt x="3317928" y="937497"/>
                  <a:pt x="3333189" y="908881"/>
                  <a:pt x="3361806" y="899342"/>
                </a:cubicBezTo>
                <a:cubicBezTo>
                  <a:pt x="3361806" y="899342"/>
                  <a:pt x="3361806" y="899342"/>
                  <a:pt x="3705177" y="798229"/>
                </a:cubicBezTo>
                <a:cubicBezTo>
                  <a:pt x="3711854" y="796321"/>
                  <a:pt x="3718648" y="795845"/>
                  <a:pt x="3725236" y="796620"/>
                </a:cubicBezTo>
                <a:close/>
                <a:moveTo>
                  <a:pt x="2591734" y="796602"/>
                </a:moveTo>
                <a:cubicBezTo>
                  <a:pt x="2611497" y="798927"/>
                  <a:pt x="2629381" y="812520"/>
                  <a:pt x="2636535" y="832551"/>
                </a:cubicBezTo>
                <a:cubicBezTo>
                  <a:pt x="2636535" y="838275"/>
                  <a:pt x="2638443" y="843998"/>
                  <a:pt x="2638443" y="847814"/>
                </a:cubicBezTo>
                <a:cubicBezTo>
                  <a:pt x="2638443" y="870707"/>
                  <a:pt x="2623182" y="891693"/>
                  <a:pt x="2600289" y="897416"/>
                </a:cubicBezTo>
                <a:cubicBezTo>
                  <a:pt x="2600289" y="897416"/>
                  <a:pt x="2600289" y="897416"/>
                  <a:pt x="2256905" y="1000437"/>
                </a:cubicBezTo>
                <a:cubicBezTo>
                  <a:pt x="2230197" y="1008068"/>
                  <a:pt x="2201582" y="992806"/>
                  <a:pt x="2192044" y="964189"/>
                </a:cubicBezTo>
                <a:cubicBezTo>
                  <a:pt x="2184413" y="937480"/>
                  <a:pt x="2199674" y="908863"/>
                  <a:pt x="2228290" y="899324"/>
                </a:cubicBezTo>
                <a:cubicBezTo>
                  <a:pt x="2228290" y="899324"/>
                  <a:pt x="2228290" y="899324"/>
                  <a:pt x="2571674" y="798211"/>
                </a:cubicBezTo>
                <a:cubicBezTo>
                  <a:pt x="2578350" y="796304"/>
                  <a:pt x="2585147" y="795827"/>
                  <a:pt x="2591734" y="796602"/>
                </a:cubicBezTo>
                <a:close/>
                <a:moveTo>
                  <a:pt x="3154890" y="787711"/>
                </a:moveTo>
                <a:cubicBezTo>
                  <a:pt x="3175860" y="791193"/>
                  <a:pt x="3194420" y="807266"/>
                  <a:pt x="3200131" y="828698"/>
                </a:cubicBezTo>
                <a:cubicBezTo>
                  <a:pt x="3200131" y="832508"/>
                  <a:pt x="3202035" y="838223"/>
                  <a:pt x="3202035" y="842033"/>
                </a:cubicBezTo>
                <a:cubicBezTo>
                  <a:pt x="3202035" y="866798"/>
                  <a:pt x="3184903" y="887752"/>
                  <a:pt x="3160155" y="895372"/>
                </a:cubicBezTo>
                <a:cubicBezTo>
                  <a:pt x="3160155" y="895372"/>
                  <a:pt x="3160155" y="895372"/>
                  <a:pt x="2817485" y="983002"/>
                </a:cubicBezTo>
                <a:cubicBezTo>
                  <a:pt x="2787025" y="990622"/>
                  <a:pt x="2758469" y="973477"/>
                  <a:pt x="2750856" y="944903"/>
                </a:cubicBezTo>
                <a:cubicBezTo>
                  <a:pt x="2743240" y="914422"/>
                  <a:pt x="2760373" y="885848"/>
                  <a:pt x="2788932" y="878228"/>
                </a:cubicBezTo>
                <a:cubicBezTo>
                  <a:pt x="2788932" y="878228"/>
                  <a:pt x="2788932" y="878228"/>
                  <a:pt x="3133502" y="788693"/>
                </a:cubicBezTo>
                <a:cubicBezTo>
                  <a:pt x="3140640" y="786788"/>
                  <a:pt x="3147899" y="786550"/>
                  <a:pt x="3154890" y="787711"/>
                </a:cubicBezTo>
                <a:close/>
                <a:moveTo>
                  <a:pt x="9863739" y="570068"/>
                </a:moveTo>
                <a:cubicBezTo>
                  <a:pt x="9870401" y="571019"/>
                  <a:pt x="9876588" y="574345"/>
                  <a:pt x="9881347" y="580048"/>
                </a:cubicBezTo>
                <a:cubicBezTo>
                  <a:pt x="9885154" y="585751"/>
                  <a:pt x="9887057" y="591454"/>
                  <a:pt x="9887057" y="597157"/>
                </a:cubicBezTo>
                <a:cubicBezTo>
                  <a:pt x="9887057" y="604761"/>
                  <a:pt x="9883250" y="614265"/>
                  <a:pt x="9875636" y="618067"/>
                </a:cubicBezTo>
                <a:cubicBezTo>
                  <a:pt x="9875636" y="618067"/>
                  <a:pt x="9875636" y="618067"/>
                  <a:pt x="9540623" y="857587"/>
                </a:cubicBezTo>
                <a:cubicBezTo>
                  <a:pt x="9529202" y="865191"/>
                  <a:pt x="9512070" y="863290"/>
                  <a:pt x="9504456" y="849984"/>
                </a:cubicBezTo>
                <a:cubicBezTo>
                  <a:pt x="9494939" y="838578"/>
                  <a:pt x="9496842" y="821469"/>
                  <a:pt x="9510167" y="811965"/>
                </a:cubicBezTo>
                <a:cubicBezTo>
                  <a:pt x="9510167" y="811965"/>
                  <a:pt x="9510167" y="811965"/>
                  <a:pt x="9843277" y="574345"/>
                </a:cubicBezTo>
                <a:cubicBezTo>
                  <a:pt x="9849939" y="570543"/>
                  <a:pt x="9857077" y="569118"/>
                  <a:pt x="9863739" y="570068"/>
                </a:cubicBezTo>
                <a:close/>
                <a:moveTo>
                  <a:pt x="9288066" y="561743"/>
                </a:moveTo>
                <a:cubicBezTo>
                  <a:pt x="9295215" y="563402"/>
                  <a:pt x="9301888" y="567670"/>
                  <a:pt x="9306654" y="574308"/>
                </a:cubicBezTo>
                <a:cubicBezTo>
                  <a:pt x="9310467" y="578102"/>
                  <a:pt x="9312374" y="583792"/>
                  <a:pt x="9312374" y="589483"/>
                </a:cubicBezTo>
                <a:cubicBezTo>
                  <a:pt x="9312374" y="598966"/>
                  <a:pt x="9306654" y="608450"/>
                  <a:pt x="9299028" y="614140"/>
                </a:cubicBezTo>
                <a:cubicBezTo>
                  <a:pt x="9299028" y="614140"/>
                  <a:pt x="9299028" y="614140"/>
                  <a:pt x="8963476" y="839853"/>
                </a:cubicBezTo>
                <a:cubicBezTo>
                  <a:pt x="8950130" y="849337"/>
                  <a:pt x="8932971" y="845543"/>
                  <a:pt x="8923439" y="832266"/>
                </a:cubicBezTo>
                <a:cubicBezTo>
                  <a:pt x="8913906" y="818989"/>
                  <a:pt x="8917719" y="800021"/>
                  <a:pt x="8931065" y="792434"/>
                </a:cubicBezTo>
                <a:cubicBezTo>
                  <a:pt x="8931065" y="792434"/>
                  <a:pt x="8931065" y="792434"/>
                  <a:pt x="9266617" y="564825"/>
                </a:cubicBezTo>
                <a:cubicBezTo>
                  <a:pt x="9273290" y="561032"/>
                  <a:pt x="9280916" y="560083"/>
                  <a:pt x="9288066" y="561743"/>
                </a:cubicBezTo>
                <a:close/>
                <a:moveTo>
                  <a:pt x="10448544" y="561719"/>
                </a:moveTo>
                <a:cubicBezTo>
                  <a:pt x="10455693" y="563379"/>
                  <a:pt x="10462366" y="567647"/>
                  <a:pt x="10467132" y="574285"/>
                </a:cubicBezTo>
                <a:cubicBezTo>
                  <a:pt x="10470945" y="578079"/>
                  <a:pt x="10472852" y="583769"/>
                  <a:pt x="10472852" y="589459"/>
                </a:cubicBezTo>
                <a:cubicBezTo>
                  <a:pt x="10472852" y="598943"/>
                  <a:pt x="10467132" y="608427"/>
                  <a:pt x="10459506" y="614117"/>
                </a:cubicBezTo>
                <a:cubicBezTo>
                  <a:pt x="10459506" y="614117"/>
                  <a:pt x="10459506" y="614117"/>
                  <a:pt x="10123954" y="839831"/>
                </a:cubicBezTo>
                <a:cubicBezTo>
                  <a:pt x="10110608" y="849314"/>
                  <a:pt x="10093449" y="845521"/>
                  <a:pt x="10083917" y="832244"/>
                </a:cubicBezTo>
                <a:cubicBezTo>
                  <a:pt x="10074384" y="818966"/>
                  <a:pt x="10078197" y="799999"/>
                  <a:pt x="10091543" y="792412"/>
                </a:cubicBezTo>
                <a:cubicBezTo>
                  <a:pt x="10091543" y="792412"/>
                  <a:pt x="10091543" y="792412"/>
                  <a:pt x="10427095" y="564801"/>
                </a:cubicBezTo>
                <a:cubicBezTo>
                  <a:pt x="10433768" y="561008"/>
                  <a:pt x="10441394" y="560060"/>
                  <a:pt x="10448544" y="561719"/>
                </a:cubicBezTo>
                <a:close/>
                <a:moveTo>
                  <a:pt x="8716914" y="552708"/>
                </a:moveTo>
                <a:cubicBezTo>
                  <a:pt x="8724791" y="554373"/>
                  <a:pt x="8731951" y="559130"/>
                  <a:pt x="8736725" y="566742"/>
                </a:cubicBezTo>
                <a:cubicBezTo>
                  <a:pt x="8740544" y="570547"/>
                  <a:pt x="8742454" y="576256"/>
                  <a:pt x="8742454" y="583868"/>
                </a:cubicBezTo>
                <a:cubicBezTo>
                  <a:pt x="8742454" y="593382"/>
                  <a:pt x="8736725" y="602897"/>
                  <a:pt x="8727178" y="608605"/>
                </a:cubicBezTo>
                <a:cubicBezTo>
                  <a:pt x="8727178" y="608605"/>
                  <a:pt x="8727178" y="608605"/>
                  <a:pt x="8391103" y="825535"/>
                </a:cubicBezTo>
                <a:cubicBezTo>
                  <a:pt x="8377736" y="835050"/>
                  <a:pt x="8356731" y="829341"/>
                  <a:pt x="8347184" y="816021"/>
                </a:cubicBezTo>
                <a:cubicBezTo>
                  <a:pt x="8337636" y="800798"/>
                  <a:pt x="8343365" y="781769"/>
                  <a:pt x="8356731" y="772254"/>
                </a:cubicBezTo>
                <a:cubicBezTo>
                  <a:pt x="8356731" y="772254"/>
                  <a:pt x="8356731" y="772254"/>
                  <a:pt x="8692806" y="557227"/>
                </a:cubicBezTo>
                <a:cubicBezTo>
                  <a:pt x="8700445" y="552470"/>
                  <a:pt x="8709038" y="551043"/>
                  <a:pt x="8716914" y="552708"/>
                </a:cubicBezTo>
                <a:close/>
                <a:moveTo>
                  <a:pt x="11026758" y="552682"/>
                </a:moveTo>
                <a:cubicBezTo>
                  <a:pt x="11034635" y="554347"/>
                  <a:pt x="11041796" y="559105"/>
                  <a:pt x="11046569" y="566716"/>
                </a:cubicBezTo>
                <a:cubicBezTo>
                  <a:pt x="11050388" y="570522"/>
                  <a:pt x="11052298" y="576231"/>
                  <a:pt x="11052298" y="583843"/>
                </a:cubicBezTo>
                <a:cubicBezTo>
                  <a:pt x="11052298" y="593357"/>
                  <a:pt x="11046569" y="602871"/>
                  <a:pt x="11037022" y="608580"/>
                </a:cubicBezTo>
                <a:cubicBezTo>
                  <a:pt x="11037022" y="608580"/>
                  <a:pt x="11037022" y="608580"/>
                  <a:pt x="10700947" y="825511"/>
                </a:cubicBezTo>
                <a:cubicBezTo>
                  <a:pt x="10685670" y="835025"/>
                  <a:pt x="10666575" y="829317"/>
                  <a:pt x="10657028" y="815996"/>
                </a:cubicBezTo>
                <a:cubicBezTo>
                  <a:pt x="10647480" y="800773"/>
                  <a:pt x="10651299" y="781744"/>
                  <a:pt x="10666575" y="772230"/>
                </a:cubicBezTo>
                <a:cubicBezTo>
                  <a:pt x="10666575" y="772230"/>
                  <a:pt x="10666575" y="772230"/>
                  <a:pt x="11002650" y="557202"/>
                </a:cubicBezTo>
                <a:cubicBezTo>
                  <a:pt x="11010288" y="552445"/>
                  <a:pt x="11018882" y="551017"/>
                  <a:pt x="11026758" y="552682"/>
                </a:cubicBezTo>
                <a:close/>
                <a:moveTo>
                  <a:pt x="8152845" y="544127"/>
                </a:moveTo>
                <a:cubicBezTo>
                  <a:pt x="8161154" y="546266"/>
                  <a:pt x="8168750" y="551493"/>
                  <a:pt x="8173498" y="559095"/>
                </a:cubicBezTo>
                <a:cubicBezTo>
                  <a:pt x="8177296" y="564797"/>
                  <a:pt x="8177296" y="570499"/>
                  <a:pt x="8177296" y="576201"/>
                </a:cubicBezTo>
                <a:cubicBezTo>
                  <a:pt x="8177296" y="587605"/>
                  <a:pt x="8171598" y="599009"/>
                  <a:pt x="8162103" y="604711"/>
                </a:cubicBezTo>
                <a:cubicBezTo>
                  <a:pt x="8162103" y="604711"/>
                  <a:pt x="8162103" y="604711"/>
                  <a:pt x="7825963" y="808083"/>
                </a:cubicBezTo>
                <a:cubicBezTo>
                  <a:pt x="7810771" y="817587"/>
                  <a:pt x="7789881" y="813785"/>
                  <a:pt x="7780385" y="796679"/>
                </a:cubicBezTo>
                <a:cubicBezTo>
                  <a:pt x="7770890" y="781474"/>
                  <a:pt x="7776587" y="760567"/>
                  <a:pt x="7791780" y="751063"/>
                </a:cubicBezTo>
                <a:cubicBezTo>
                  <a:pt x="7791780" y="751063"/>
                  <a:pt x="7791780" y="751063"/>
                  <a:pt x="8127919" y="547691"/>
                </a:cubicBezTo>
                <a:cubicBezTo>
                  <a:pt x="8135516" y="542939"/>
                  <a:pt x="8144537" y="541989"/>
                  <a:pt x="8152845" y="544127"/>
                </a:cubicBezTo>
                <a:close/>
                <a:moveTo>
                  <a:pt x="11598067" y="544120"/>
                </a:moveTo>
                <a:cubicBezTo>
                  <a:pt x="11606170" y="546258"/>
                  <a:pt x="11613319" y="551485"/>
                  <a:pt x="11618085" y="559088"/>
                </a:cubicBezTo>
                <a:cubicBezTo>
                  <a:pt x="11621898" y="564790"/>
                  <a:pt x="11623805" y="570492"/>
                  <a:pt x="11623805" y="576194"/>
                </a:cubicBezTo>
                <a:cubicBezTo>
                  <a:pt x="11623805" y="587598"/>
                  <a:pt x="11618085" y="599002"/>
                  <a:pt x="11606646" y="604704"/>
                </a:cubicBezTo>
                <a:cubicBezTo>
                  <a:pt x="11606646" y="604704"/>
                  <a:pt x="11606646" y="604704"/>
                  <a:pt x="11271101" y="808077"/>
                </a:cubicBezTo>
                <a:cubicBezTo>
                  <a:pt x="11255849" y="817580"/>
                  <a:pt x="11234877" y="813778"/>
                  <a:pt x="11225345" y="796673"/>
                </a:cubicBezTo>
                <a:cubicBezTo>
                  <a:pt x="11215812" y="781467"/>
                  <a:pt x="11219625" y="760560"/>
                  <a:pt x="11236784" y="751056"/>
                </a:cubicBezTo>
                <a:cubicBezTo>
                  <a:pt x="11236784" y="751056"/>
                  <a:pt x="11236784" y="751056"/>
                  <a:pt x="11572329" y="547684"/>
                </a:cubicBezTo>
                <a:cubicBezTo>
                  <a:pt x="11580908" y="542932"/>
                  <a:pt x="11589964" y="541982"/>
                  <a:pt x="11598067" y="544120"/>
                </a:cubicBezTo>
                <a:close/>
                <a:moveTo>
                  <a:pt x="12139750" y="535003"/>
                </a:moveTo>
                <a:cubicBezTo>
                  <a:pt x="12139750" y="535003"/>
                  <a:pt x="12139750" y="535003"/>
                  <a:pt x="12139750" y="616918"/>
                </a:cubicBezTo>
                <a:cubicBezTo>
                  <a:pt x="12139750" y="616918"/>
                  <a:pt x="12139750" y="616918"/>
                  <a:pt x="11835212" y="792178"/>
                </a:cubicBezTo>
                <a:cubicBezTo>
                  <a:pt x="11818082" y="801703"/>
                  <a:pt x="11795242" y="795988"/>
                  <a:pt x="11785725" y="778843"/>
                </a:cubicBezTo>
                <a:cubicBezTo>
                  <a:pt x="11776208" y="761698"/>
                  <a:pt x="11781918" y="738838"/>
                  <a:pt x="11799048" y="729313"/>
                </a:cubicBezTo>
                <a:lnTo>
                  <a:pt x="12135943" y="536908"/>
                </a:lnTo>
                <a:cubicBezTo>
                  <a:pt x="12137847" y="536908"/>
                  <a:pt x="12137847" y="535003"/>
                  <a:pt x="12139750" y="535003"/>
                </a:cubicBezTo>
                <a:close/>
                <a:moveTo>
                  <a:pt x="7595886" y="534825"/>
                </a:moveTo>
                <a:cubicBezTo>
                  <a:pt x="7604955" y="537196"/>
                  <a:pt x="7613070" y="542884"/>
                  <a:pt x="7617844" y="551417"/>
                </a:cubicBezTo>
                <a:cubicBezTo>
                  <a:pt x="7621663" y="557105"/>
                  <a:pt x="7621663" y="562794"/>
                  <a:pt x="7621663" y="568482"/>
                </a:cubicBezTo>
                <a:cubicBezTo>
                  <a:pt x="7621663" y="581756"/>
                  <a:pt x="7615935" y="593133"/>
                  <a:pt x="7604478" y="600717"/>
                </a:cubicBezTo>
                <a:cubicBezTo>
                  <a:pt x="7604478" y="600717"/>
                  <a:pt x="7604478" y="600717"/>
                  <a:pt x="7266512" y="792231"/>
                </a:cubicBezTo>
                <a:cubicBezTo>
                  <a:pt x="7249327" y="801712"/>
                  <a:pt x="7228323" y="796023"/>
                  <a:pt x="7218776" y="778957"/>
                </a:cubicBezTo>
                <a:cubicBezTo>
                  <a:pt x="7207320" y="761892"/>
                  <a:pt x="7214957" y="739138"/>
                  <a:pt x="7230233" y="729657"/>
                </a:cubicBezTo>
                <a:cubicBezTo>
                  <a:pt x="7230233" y="729657"/>
                  <a:pt x="7230233" y="729657"/>
                  <a:pt x="7568199" y="538144"/>
                </a:cubicBezTo>
                <a:cubicBezTo>
                  <a:pt x="7576792" y="533403"/>
                  <a:pt x="7586816" y="532455"/>
                  <a:pt x="7595886" y="534825"/>
                </a:cubicBezTo>
                <a:close/>
                <a:moveTo>
                  <a:pt x="7044520" y="526281"/>
                </a:moveTo>
                <a:cubicBezTo>
                  <a:pt x="7053807" y="529139"/>
                  <a:pt x="7061903" y="535330"/>
                  <a:pt x="7066666" y="543903"/>
                </a:cubicBezTo>
                <a:cubicBezTo>
                  <a:pt x="7070476" y="549618"/>
                  <a:pt x="7072381" y="557237"/>
                  <a:pt x="7072381" y="562953"/>
                </a:cubicBezTo>
                <a:cubicBezTo>
                  <a:pt x="7072381" y="576287"/>
                  <a:pt x="7064761" y="589623"/>
                  <a:pt x="7051425" y="595337"/>
                </a:cubicBezTo>
                <a:cubicBezTo>
                  <a:pt x="7051425" y="595337"/>
                  <a:pt x="7051425" y="595337"/>
                  <a:pt x="6714236" y="776312"/>
                </a:cubicBezTo>
                <a:cubicBezTo>
                  <a:pt x="6695185" y="785837"/>
                  <a:pt x="6672325" y="780122"/>
                  <a:pt x="6662800" y="761072"/>
                </a:cubicBezTo>
                <a:cubicBezTo>
                  <a:pt x="6653275" y="743927"/>
                  <a:pt x="6660895" y="721067"/>
                  <a:pt x="6678040" y="709637"/>
                </a:cubicBezTo>
                <a:cubicBezTo>
                  <a:pt x="6678040" y="709637"/>
                  <a:pt x="6678040" y="709637"/>
                  <a:pt x="7015230" y="528663"/>
                </a:cubicBezTo>
                <a:cubicBezTo>
                  <a:pt x="7024755" y="523900"/>
                  <a:pt x="7035233" y="523424"/>
                  <a:pt x="7044520" y="526281"/>
                </a:cubicBezTo>
                <a:close/>
                <a:moveTo>
                  <a:pt x="6500891" y="517214"/>
                </a:moveTo>
                <a:cubicBezTo>
                  <a:pt x="6510676" y="520539"/>
                  <a:pt x="6519268" y="527666"/>
                  <a:pt x="6524041" y="538118"/>
                </a:cubicBezTo>
                <a:cubicBezTo>
                  <a:pt x="6525950" y="543819"/>
                  <a:pt x="6527860" y="549520"/>
                  <a:pt x="6527860" y="555221"/>
                </a:cubicBezTo>
                <a:cubicBezTo>
                  <a:pt x="6527860" y="570424"/>
                  <a:pt x="6520223" y="583727"/>
                  <a:pt x="6506857" y="591328"/>
                </a:cubicBezTo>
                <a:cubicBezTo>
                  <a:pt x="6506857" y="591328"/>
                  <a:pt x="6506857" y="591328"/>
                  <a:pt x="6166999" y="760460"/>
                </a:cubicBezTo>
                <a:cubicBezTo>
                  <a:pt x="6147906" y="769962"/>
                  <a:pt x="6123085" y="762360"/>
                  <a:pt x="6113538" y="743357"/>
                </a:cubicBezTo>
                <a:cubicBezTo>
                  <a:pt x="6103992" y="722453"/>
                  <a:pt x="6111629" y="699649"/>
                  <a:pt x="6130722" y="690147"/>
                </a:cubicBezTo>
                <a:cubicBezTo>
                  <a:pt x="6130722" y="690147"/>
                  <a:pt x="6130722" y="690147"/>
                  <a:pt x="6470580" y="519114"/>
                </a:cubicBezTo>
                <a:cubicBezTo>
                  <a:pt x="6480127" y="514363"/>
                  <a:pt x="6491105" y="513888"/>
                  <a:pt x="6500891" y="517214"/>
                </a:cubicBezTo>
                <a:close/>
                <a:moveTo>
                  <a:pt x="5942009" y="506693"/>
                </a:moveTo>
                <a:cubicBezTo>
                  <a:pt x="5958261" y="505537"/>
                  <a:pt x="5973977" y="514778"/>
                  <a:pt x="5981121" y="530416"/>
                </a:cubicBezTo>
                <a:cubicBezTo>
                  <a:pt x="5984930" y="536102"/>
                  <a:pt x="5984930" y="541789"/>
                  <a:pt x="5984930" y="547475"/>
                </a:cubicBezTo>
                <a:cubicBezTo>
                  <a:pt x="5984930" y="564535"/>
                  <a:pt x="5977311" y="579699"/>
                  <a:pt x="5962070" y="585386"/>
                </a:cubicBezTo>
                <a:cubicBezTo>
                  <a:pt x="5962070" y="585386"/>
                  <a:pt x="5962070" y="585386"/>
                  <a:pt x="5622984" y="744609"/>
                </a:cubicBezTo>
                <a:cubicBezTo>
                  <a:pt x="5602029" y="754087"/>
                  <a:pt x="5577264" y="744609"/>
                  <a:pt x="5565834" y="723759"/>
                </a:cubicBezTo>
                <a:cubicBezTo>
                  <a:pt x="5556309" y="702908"/>
                  <a:pt x="5565834" y="678266"/>
                  <a:pt x="5586789" y="668789"/>
                </a:cubicBezTo>
                <a:cubicBezTo>
                  <a:pt x="5586789" y="668789"/>
                  <a:pt x="5586789" y="668789"/>
                  <a:pt x="5925876" y="511460"/>
                </a:cubicBezTo>
                <a:cubicBezTo>
                  <a:pt x="5931114" y="508617"/>
                  <a:pt x="5936592" y="507077"/>
                  <a:pt x="5942009" y="506693"/>
                </a:cubicBezTo>
                <a:close/>
                <a:moveTo>
                  <a:pt x="382532" y="506681"/>
                </a:moveTo>
                <a:cubicBezTo>
                  <a:pt x="398784" y="505526"/>
                  <a:pt x="414500" y="514766"/>
                  <a:pt x="421644" y="530405"/>
                </a:cubicBezTo>
                <a:cubicBezTo>
                  <a:pt x="423549" y="536091"/>
                  <a:pt x="425454" y="541778"/>
                  <a:pt x="425454" y="547464"/>
                </a:cubicBezTo>
                <a:cubicBezTo>
                  <a:pt x="425454" y="564524"/>
                  <a:pt x="415929" y="579688"/>
                  <a:pt x="400689" y="585374"/>
                </a:cubicBezTo>
                <a:cubicBezTo>
                  <a:pt x="400689" y="585374"/>
                  <a:pt x="400689" y="585374"/>
                  <a:pt x="61595" y="744598"/>
                </a:cubicBezTo>
                <a:cubicBezTo>
                  <a:pt x="40640" y="754076"/>
                  <a:pt x="15874" y="744598"/>
                  <a:pt x="6349" y="723747"/>
                </a:cubicBezTo>
                <a:cubicBezTo>
                  <a:pt x="-3176" y="702897"/>
                  <a:pt x="6349" y="678255"/>
                  <a:pt x="27304" y="668777"/>
                </a:cubicBezTo>
                <a:cubicBezTo>
                  <a:pt x="27304" y="668777"/>
                  <a:pt x="27304" y="668777"/>
                  <a:pt x="366399" y="511449"/>
                </a:cubicBezTo>
                <a:cubicBezTo>
                  <a:pt x="371637" y="508606"/>
                  <a:pt x="377114" y="507066"/>
                  <a:pt x="382532" y="506681"/>
                </a:cubicBezTo>
                <a:close/>
                <a:moveTo>
                  <a:pt x="5409823" y="500973"/>
                </a:moveTo>
                <a:cubicBezTo>
                  <a:pt x="5420077" y="505026"/>
                  <a:pt x="5428662" y="513132"/>
                  <a:pt x="5433432" y="524577"/>
                </a:cubicBezTo>
                <a:cubicBezTo>
                  <a:pt x="5437247" y="530300"/>
                  <a:pt x="5437247" y="536022"/>
                  <a:pt x="5437247" y="541744"/>
                </a:cubicBezTo>
                <a:cubicBezTo>
                  <a:pt x="5437247" y="558911"/>
                  <a:pt x="5427708" y="574171"/>
                  <a:pt x="5410538" y="581801"/>
                </a:cubicBezTo>
                <a:cubicBezTo>
                  <a:pt x="5410538" y="581801"/>
                  <a:pt x="5410538" y="581801"/>
                  <a:pt x="5070947" y="728676"/>
                </a:cubicBezTo>
                <a:cubicBezTo>
                  <a:pt x="5048056" y="738212"/>
                  <a:pt x="5023257" y="728676"/>
                  <a:pt x="5011811" y="705786"/>
                </a:cubicBezTo>
                <a:cubicBezTo>
                  <a:pt x="5002274" y="682896"/>
                  <a:pt x="5013719" y="658100"/>
                  <a:pt x="5034702" y="648562"/>
                </a:cubicBezTo>
                <a:cubicBezTo>
                  <a:pt x="5034702" y="648562"/>
                  <a:pt x="5034702" y="648562"/>
                  <a:pt x="5376198" y="501688"/>
                </a:cubicBezTo>
                <a:cubicBezTo>
                  <a:pt x="5387645" y="496919"/>
                  <a:pt x="5399569" y="496919"/>
                  <a:pt x="5409823" y="500973"/>
                </a:cubicBezTo>
                <a:close/>
                <a:moveTo>
                  <a:pt x="943575" y="500959"/>
                </a:moveTo>
                <a:cubicBezTo>
                  <a:pt x="954275" y="505012"/>
                  <a:pt x="963310" y="513119"/>
                  <a:pt x="968066" y="524564"/>
                </a:cubicBezTo>
                <a:cubicBezTo>
                  <a:pt x="969968" y="530286"/>
                  <a:pt x="969968" y="536009"/>
                  <a:pt x="969968" y="541731"/>
                </a:cubicBezTo>
                <a:cubicBezTo>
                  <a:pt x="969968" y="558898"/>
                  <a:pt x="960457" y="574158"/>
                  <a:pt x="945239" y="581788"/>
                </a:cubicBezTo>
                <a:cubicBezTo>
                  <a:pt x="945239" y="581788"/>
                  <a:pt x="945239" y="581788"/>
                  <a:pt x="604741" y="728662"/>
                </a:cubicBezTo>
                <a:cubicBezTo>
                  <a:pt x="581914" y="738200"/>
                  <a:pt x="557185" y="728662"/>
                  <a:pt x="547674" y="705773"/>
                </a:cubicBezTo>
                <a:cubicBezTo>
                  <a:pt x="538163" y="682883"/>
                  <a:pt x="547674" y="658086"/>
                  <a:pt x="570501" y="648549"/>
                </a:cubicBezTo>
                <a:cubicBezTo>
                  <a:pt x="570501" y="648549"/>
                  <a:pt x="570501" y="648549"/>
                  <a:pt x="909097" y="501674"/>
                </a:cubicBezTo>
                <a:cubicBezTo>
                  <a:pt x="920510" y="496906"/>
                  <a:pt x="932875" y="496906"/>
                  <a:pt x="943575" y="500959"/>
                </a:cubicBezTo>
                <a:close/>
                <a:moveTo>
                  <a:pt x="4841065" y="488779"/>
                </a:moveTo>
                <a:cubicBezTo>
                  <a:pt x="4858649" y="489046"/>
                  <a:pt x="4875428" y="499748"/>
                  <a:pt x="4882567" y="516870"/>
                </a:cubicBezTo>
                <a:cubicBezTo>
                  <a:pt x="4884470" y="522577"/>
                  <a:pt x="4886374" y="528285"/>
                  <a:pt x="4886374" y="533993"/>
                </a:cubicBezTo>
                <a:cubicBezTo>
                  <a:pt x="4886374" y="553017"/>
                  <a:pt x="4874950" y="570139"/>
                  <a:pt x="4855910" y="577749"/>
                </a:cubicBezTo>
                <a:cubicBezTo>
                  <a:pt x="4855910" y="577749"/>
                  <a:pt x="4855910" y="577749"/>
                  <a:pt x="4517066" y="712825"/>
                </a:cubicBezTo>
                <a:cubicBezTo>
                  <a:pt x="4492320" y="722338"/>
                  <a:pt x="4465668" y="710923"/>
                  <a:pt x="4456150" y="686191"/>
                </a:cubicBezTo>
                <a:cubicBezTo>
                  <a:pt x="4446631" y="663361"/>
                  <a:pt x="4458054" y="636726"/>
                  <a:pt x="4482801" y="627214"/>
                </a:cubicBezTo>
                <a:cubicBezTo>
                  <a:pt x="4482801" y="627214"/>
                  <a:pt x="4482801" y="627214"/>
                  <a:pt x="4823545" y="492138"/>
                </a:cubicBezTo>
                <a:cubicBezTo>
                  <a:pt x="4829255" y="489760"/>
                  <a:pt x="4835205" y="488690"/>
                  <a:pt x="4841065" y="488779"/>
                </a:cubicBezTo>
                <a:close/>
                <a:moveTo>
                  <a:pt x="1475768" y="488763"/>
                </a:moveTo>
                <a:cubicBezTo>
                  <a:pt x="1493806" y="489031"/>
                  <a:pt x="1511308" y="499732"/>
                  <a:pt x="1517023" y="516854"/>
                </a:cubicBezTo>
                <a:cubicBezTo>
                  <a:pt x="1520833" y="522562"/>
                  <a:pt x="1520833" y="528269"/>
                  <a:pt x="1520833" y="533977"/>
                </a:cubicBezTo>
                <a:cubicBezTo>
                  <a:pt x="1520833" y="553002"/>
                  <a:pt x="1509403" y="570124"/>
                  <a:pt x="1492258" y="577734"/>
                </a:cubicBezTo>
                <a:cubicBezTo>
                  <a:pt x="1492258" y="577734"/>
                  <a:pt x="1492258" y="577734"/>
                  <a:pt x="1151259" y="712810"/>
                </a:cubicBezTo>
                <a:cubicBezTo>
                  <a:pt x="1128399" y="722323"/>
                  <a:pt x="1101728" y="710908"/>
                  <a:pt x="1092203" y="686175"/>
                </a:cubicBezTo>
                <a:cubicBezTo>
                  <a:pt x="1082678" y="663346"/>
                  <a:pt x="1094108" y="636711"/>
                  <a:pt x="1116969" y="627198"/>
                </a:cubicBezTo>
                <a:cubicBezTo>
                  <a:pt x="1116969" y="627198"/>
                  <a:pt x="1116969" y="627198"/>
                  <a:pt x="1457968" y="492122"/>
                </a:cubicBezTo>
                <a:cubicBezTo>
                  <a:pt x="1463683" y="489744"/>
                  <a:pt x="1469755" y="488674"/>
                  <a:pt x="1475768" y="488763"/>
                </a:cubicBezTo>
                <a:close/>
                <a:moveTo>
                  <a:pt x="4284536" y="479572"/>
                </a:moveTo>
                <a:cubicBezTo>
                  <a:pt x="4302958" y="480462"/>
                  <a:pt x="4319769" y="492573"/>
                  <a:pt x="4326924" y="511096"/>
                </a:cubicBezTo>
                <a:cubicBezTo>
                  <a:pt x="4328831" y="516795"/>
                  <a:pt x="4330740" y="522495"/>
                  <a:pt x="4330740" y="528194"/>
                </a:cubicBezTo>
                <a:cubicBezTo>
                  <a:pt x="4330740" y="547192"/>
                  <a:pt x="4317385" y="566190"/>
                  <a:pt x="4298306" y="571889"/>
                </a:cubicBezTo>
                <a:cubicBezTo>
                  <a:pt x="4298306" y="571889"/>
                  <a:pt x="4298306" y="571889"/>
                  <a:pt x="3956840" y="695376"/>
                </a:cubicBezTo>
                <a:cubicBezTo>
                  <a:pt x="3932037" y="704875"/>
                  <a:pt x="3903421" y="691576"/>
                  <a:pt x="3895789" y="666879"/>
                </a:cubicBezTo>
                <a:cubicBezTo>
                  <a:pt x="3886250" y="642182"/>
                  <a:pt x="3899605" y="615584"/>
                  <a:pt x="3924406" y="606085"/>
                </a:cubicBezTo>
                <a:cubicBezTo>
                  <a:pt x="3924406" y="606085"/>
                  <a:pt x="3924406" y="606085"/>
                  <a:pt x="4265875" y="482599"/>
                </a:cubicBezTo>
                <a:cubicBezTo>
                  <a:pt x="4272075" y="480225"/>
                  <a:pt x="4278394" y="479275"/>
                  <a:pt x="4284536" y="479572"/>
                </a:cubicBezTo>
                <a:close/>
                <a:moveTo>
                  <a:pt x="2030557" y="479554"/>
                </a:moveTo>
                <a:cubicBezTo>
                  <a:pt x="2049519" y="480444"/>
                  <a:pt x="2067405" y="492555"/>
                  <a:pt x="2074559" y="511078"/>
                </a:cubicBezTo>
                <a:cubicBezTo>
                  <a:pt x="2076467" y="516778"/>
                  <a:pt x="2076467" y="522477"/>
                  <a:pt x="2076467" y="528177"/>
                </a:cubicBezTo>
                <a:cubicBezTo>
                  <a:pt x="2076467" y="547175"/>
                  <a:pt x="2065020" y="566172"/>
                  <a:pt x="2045938" y="571872"/>
                </a:cubicBezTo>
                <a:cubicBezTo>
                  <a:pt x="2045938" y="571872"/>
                  <a:pt x="2045938" y="571872"/>
                  <a:pt x="1702543" y="695358"/>
                </a:cubicBezTo>
                <a:cubicBezTo>
                  <a:pt x="1677743" y="704857"/>
                  <a:pt x="1651034" y="691559"/>
                  <a:pt x="1641495" y="666862"/>
                </a:cubicBezTo>
                <a:cubicBezTo>
                  <a:pt x="1631957" y="642164"/>
                  <a:pt x="1645311" y="615567"/>
                  <a:pt x="1670112" y="606068"/>
                </a:cubicBezTo>
                <a:cubicBezTo>
                  <a:pt x="1670112" y="606068"/>
                  <a:pt x="1670112" y="606068"/>
                  <a:pt x="2011599" y="482582"/>
                </a:cubicBezTo>
                <a:cubicBezTo>
                  <a:pt x="2017799" y="480207"/>
                  <a:pt x="2024238" y="479257"/>
                  <a:pt x="2030557" y="479554"/>
                </a:cubicBezTo>
                <a:close/>
                <a:moveTo>
                  <a:pt x="3723552" y="470402"/>
                </a:moveTo>
                <a:cubicBezTo>
                  <a:pt x="3743255" y="471922"/>
                  <a:pt x="3760807" y="485514"/>
                  <a:pt x="3766538" y="505544"/>
                </a:cubicBezTo>
                <a:cubicBezTo>
                  <a:pt x="3768448" y="511267"/>
                  <a:pt x="3770360" y="515082"/>
                  <a:pt x="3770360" y="520805"/>
                </a:cubicBezTo>
                <a:cubicBezTo>
                  <a:pt x="3770360" y="541790"/>
                  <a:pt x="3756987" y="560866"/>
                  <a:pt x="3734060" y="568497"/>
                </a:cubicBezTo>
                <a:cubicBezTo>
                  <a:pt x="3734060" y="568497"/>
                  <a:pt x="3734060" y="568497"/>
                  <a:pt x="3392112" y="681049"/>
                </a:cubicBezTo>
                <a:cubicBezTo>
                  <a:pt x="3365365" y="690588"/>
                  <a:pt x="3336709" y="675326"/>
                  <a:pt x="3329066" y="648619"/>
                </a:cubicBezTo>
                <a:cubicBezTo>
                  <a:pt x="3319515" y="621912"/>
                  <a:pt x="3334799" y="595204"/>
                  <a:pt x="3359633" y="585666"/>
                </a:cubicBezTo>
                <a:cubicBezTo>
                  <a:pt x="3359633" y="585666"/>
                  <a:pt x="3359633" y="585666"/>
                  <a:pt x="3703492" y="473114"/>
                </a:cubicBezTo>
                <a:cubicBezTo>
                  <a:pt x="3710178" y="470729"/>
                  <a:pt x="3716984" y="469895"/>
                  <a:pt x="3723552" y="470402"/>
                </a:cubicBezTo>
                <a:close/>
                <a:moveTo>
                  <a:pt x="2590051" y="470381"/>
                </a:moveTo>
                <a:cubicBezTo>
                  <a:pt x="2609752" y="471901"/>
                  <a:pt x="2627304" y="485494"/>
                  <a:pt x="2633035" y="505524"/>
                </a:cubicBezTo>
                <a:cubicBezTo>
                  <a:pt x="2634946" y="511247"/>
                  <a:pt x="2636856" y="515063"/>
                  <a:pt x="2636856" y="520785"/>
                </a:cubicBezTo>
                <a:cubicBezTo>
                  <a:pt x="2636856" y="541770"/>
                  <a:pt x="2623484" y="560847"/>
                  <a:pt x="2600558" y="568477"/>
                </a:cubicBezTo>
                <a:cubicBezTo>
                  <a:pt x="2600558" y="568477"/>
                  <a:pt x="2600558" y="568477"/>
                  <a:pt x="2258596" y="681030"/>
                </a:cubicBezTo>
                <a:cubicBezTo>
                  <a:pt x="2231850" y="690568"/>
                  <a:pt x="2203194" y="675307"/>
                  <a:pt x="2195553" y="648599"/>
                </a:cubicBezTo>
                <a:cubicBezTo>
                  <a:pt x="2186001" y="621892"/>
                  <a:pt x="2201284" y="595185"/>
                  <a:pt x="2226119" y="585646"/>
                </a:cubicBezTo>
                <a:cubicBezTo>
                  <a:pt x="2226119" y="585646"/>
                  <a:pt x="2226119" y="585646"/>
                  <a:pt x="2569992" y="473094"/>
                </a:cubicBezTo>
                <a:cubicBezTo>
                  <a:pt x="2576678" y="470709"/>
                  <a:pt x="2583484" y="469875"/>
                  <a:pt x="2590051" y="470381"/>
                </a:cubicBezTo>
                <a:close/>
                <a:moveTo>
                  <a:pt x="3153226" y="461689"/>
                </a:moveTo>
                <a:cubicBezTo>
                  <a:pt x="3173703" y="464103"/>
                  <a:pt x="3191231" y="478054"/>
                  <a:pt x="3196954" y="499516"/>
                </a:cubicBezTo>
                <a:cubicBezTo>
                  <a:pt x="3198860" y="503332"/>
                  <a:pt x="3198860" y="509055"/>
                  <a:pt x="3198860" y="512871"/>
                </a:cubicBezTo>
                <a:cubicBezTo>
                  <a:pt x="3198860" y="535764"/>
                  <a:pt x="3185507" y="556750"/>
                  <a:pt x="3162616" y="564381"/>
                </a:cubicBezTo>
                <a:cubicBezTo>
                  <a:pt x="3162616" y="564381"/>
                  <a:pt x="3162616" y="564381"/>
                  <a:pt x="2819228" y="665493"/>
                </a:cubicBezTo>
                <a:cubicBezTo>
                  <a:pt x="2790614" y="673125"/>
                  <a:pt x="2761996" y="657862"/>
                  <a:pt x="2754367" y="629246"/>
                </a:cubicBezTo>
                <a:cubicBezTo>
                  <a:pt x="2744828" y="602536"/>
                  <a:pt x="2761996" y="572012"/>
                  <a:pt x="2788705" y="564381"/>
                </a:cubicBezTo>
                <a:cubicBezTo>
                  <a:pt x="2788705" y="564381"/>
                  <a:pt x="2788705" y="564381"/>
                  <a:pt x="3132091" y="463269"/>
                </a:cubicBezTo>
                <a:cubicBezTo>
                  <a:pt x="3139247" y="461361"/>
                  <a:pt x="3146400" y="460884"/>
                  <a:pt x="3153226" y="461689"/>
                </a:cubicBezTo>
                <a:close/>
                <a:moveTo>
                  <a:pt x="9865382" y="251073"/>
                </a:moveTo>
                <a:cubicBezTo>
                  <a:pt x="9872978" y="252741"/>
                  <a:pt x="9880099" y="257509"/>
                  <a:pt x="9884846" y="265137"/>
                </a:cubicBezTo>
                <a:cubicBezTo>
                  <a:pt x="9888644" y="268951"/>
                  <a:pt x="9888644" y="274673"/>
                  <a:pt x="9888644" y="280394"/>
                </a:cubicBezTo>
                <a:cubicBezTo>
                  <a:pt x="9888644" y="289929"/>
                  <a:pt x="9884846" y="299465"/>
                  <a:pt x="9875351" y="305186"/>
                </a:cubicBezTo>
                <a:cubicBezTo>
                  <a:pt x="9875351" y="305186"/>
                  <a:pt x="9875351" y="305186"/>
                  <a:pt x="9543036" y="530219"/>
                </a:cubicBezTo>
                <a:cubicBezTo>
                  <a:pt x="9527844" y="539755"/>
                  <a:pt x="9510753" y="535941"/>
                  <a:pt x="9501259" y="520684"/>
                </a:cubicBezTo>
                <a:cubicBezTo>
                  <a:pt x="9491764" y="507335"/>
                  <a:pt x="9495562" y="490171"/>
                  <a:pt x="9508855" y="480636"/>
                </a:cubicBezTo>
                <a:cubicBezTo>
                  <a:pt x="9508855" y="480636"/>
                  <a:pt x="9508855" y="480636"/>
                  <a:pt x="9843069" y="255602"/>
                </a:cubicBezTo>
                <a:cubicBezTo>
                  <a:pt x="9849716" y="250834"/>
                  <a:pt x="9857786" y="249404"/>
                  <a:pt x="9865382" y="251073"/>
                </a:cubicBezTo>
                <a:close/>
                <a:moveTo>
                  <a:pt x="9288660" y="242274"/>
                </a:moveTo>
                <a:cubicBezTo>
                  <a:pt x="9296298" y="244177"/>
                  <a:pt x="9303459" y="248934"/>
                  <a:pt x="9308232" y="255594"/>
                </a:cubicBezTo>
                <a:cubicBezTo>
                  <a:pt x="9312051" y="261303"/>
                  <a:pt x="9313961" y="267012"/>
                  <a:pt x="9313961" y="272720"/>
                </a:cubicBezTo>
                <a:cubicBezTo>
                  <a:pt x="9313961" y="284138"/>
                  <a:pt x="9308232" y="293652"/>
                  <a:pt x="9298685" y="299361"/>
                </a:cubicBezTo>
                <a:cubicBezTo>
                  <a:pt x="9298685" y="299361"/>
                  <a:pt x="9298685" y="299361"/>
                  <a:pt x="8962610" y="514388"/>
                </a:cubicBezTo>
                <a:cubicBezTo>
                  <a:pt x="8949243" y="523902"/>
                  <a:pt x="8928238" y="518193"/>
                  <a:pt x="8918691" y="504873"/>
                </a:cubicBezTo>
                <a:cubicBezTo>
                  <a:pt x="8909143" y="489650"/>
                  <a:pt x="8914872" y="470622"/>
                  <a:pt x="8928238" y="461107"/>
                </a:cubicBezTo>
                <a:lnTo>
                  <a:pt x="9266223" y="246080"/>
                </a:lnTo>
                <a:cubicBezTo>
                  <a:pt x="9272906" y="241322"/>
                  <a:pt x="9281022" y="240371"/>
                  <a:pt x="9288660" y="242274"/>
                </a:cubicBezTo>
                <a:close/>
                <a:moveTo>
                  <a:pt x="10450170" y="242248"/>
                </a:moveTo>
                <a:cubicBezTo>
                  <a:pt x="10458260" y="244151"/>
                  <a:pt x="10465874" y="248908"/>
                  <a:pt x="10470633" y="255569"/>
                </a:cubicBezTo>
                <a:cubicBezTo>
                  <a:pt x="10472536" y="261277"/>
                  <a:pt x="10474440" y="266986"/>
                  <a:pt x="10474440" y="272695"/>
                </a:cubicBezTo>
                <a:cubicBezTo>
                  <a:pt x="10474440" y="284112"/>
                  <a:pt x="10470633" y="293627"/>
                  <a:pt x="10461115" y="299335"/>
                </a:cubicBezTo>
                <a:cubicBezTo>
                  <a:pt x="10461115" y="299335"/>
                  <a:pt x="10461115" y="299335"/>
                  <a:pt x="10124192" y="514363"/>
                </a:cubicBezTo>
                <a:cubicBezTo>
                  <a:pt x="10110867" y="523878"/>
                  <a:pt x="10091832" y="518169"/>
                  <a:pt x="10082315" y="504848"/>
                </a:cubicBezTo>
                <a:cubicBezTo>
                  <a:pt x="10072797" y="489625"/>
                  <a:pt x="10076604" y="470596"/>
                  <a:pt x="10091832" y="461082"/>
                </a:cubicBezTo>
                <a:lnTo>
                  <a:pt x="10426852" y="246054"/>
                </a:lnTo>
                <a:cubicBezTo>
                  <a:pt x="10433514" y="241297"/>
                  <a:pt x="10442080" y="240345"/>
                  <a:pt x="10450170" y="242248"/>
                </a:cubicBezTo>
                <a:close/>
                <a:moveTo>
                  <a:pt x="8718303" y="233007"/>
                </a:moveTo>
                <a:cubicBezTo>
                  <a:pt x="8726406" y="235155"/>
                  <a:pt x="8733555" y="240405"/>
                  <a:pt x="8738321" y="248042"/>
                </a:cubicBezTo>
                <a:cubicBezTo>
                  <a:pt x="8742134" y="253770"/>
                  <a:pt x="8744041" y="259498"/>
                  <a:pt x="8744041" y="265226"/>
                </a:cubicBezTo>
                <a:cubicBezTo>
                  <a:pt x="8744041" y="276682"/>
                  <a:pt x="8738321" y="288137"/>
                  <a:pt x="8728789" y="293865"/>
                </a:cubicBezTo>
                <a:cubicBezTo>
                  <a:pt x="8728789" y="293865"/>
                  <a:pt x="8728789" y="293865"/>
                  <a:pt x="8391337" y="500068"/>
                </a:cubicBezTo>
                <a:cubicBezTo>
                  <a:pt x="8376085" y="509614"/>
                  <a:pt x="8355113" y="503887"/>
                  <a:pt x="8345581" y="488612"/>
                </a:cubicBezTo>
                <a:cubicBezTo>
                  <a:pt x="8336048" y="473338"/>
                  <a:pt x="8341768" y="452336"/>
                  <a:pt x="8357020" y="442790"/>
                </a:cubicBezTo>
                <a:cubicBezTo>
                  <a:pt x="8357020" y="442790"/>
                  <a:pt x="8357020" y="442790"/>
                  <a:pt x="8692565" y="236587"/>
                </a:cubicBezTo>
                <a:cubicBezTo>
                  <a:pt x="8701144" y="231813"/>
                  <a:pt x="8710200" y="230859"/>
                  <a:pt x="8718303" y="233007"/>
                </a:cubicBezTo>
                <a:close/>
                <a:moveTo>
                  <a:pt x="11027432" y="232979"/>
                </a:moveTo>
                <a:cubicBezTo>
                  <a:pt x="11035773" y="235127"/>
                  <a:pt x="11043399" y="240377"/>
                  <a:pt x="11048165" y="248015"/>
                </a:cubicBezTo>
                <a:cubicBezTo>
                  <a:pt x="11051978" y="253743"/>
                  <a:pt x="11053885" y="259470"/>
                  <a:pt x="11053885" y="265198"/>
                </a:cubicBezTo>
                <a:cubicBezTo>
                  <a:pt x="11053885" y="276654"/>
                  <a:pt x="11048165" y="288110"/>
                  <a:pt x="11036726" y="293838"/>
                </a:cubicBezTo>
                <a:cubicBezTo>
                  <a:pt x="11036726" y="293838"/>
                  <a:pt x="11036726" y="293838"/>
                  <a:pt x="10701181" y="500041"/>
                </a:cubicBezTo>
                <a:cubicBezTo>
                  <a:pt x="10685929" y="509587"/>
                  <a:pt x="10664957" y="503860"/>
                  <a:pt x="10655425" y="488585"/>
                </a:cubicBezTo>
                <a:cubicBezTo>
                  <a:pt x="10645892" y="473311"/>
                  <a:pt x="10651612" y="452309"/>
                  <a:pt x="10666864" y="442762"/>
                </a:cubicBezTo>
                <a:cubicBezTo>
                  <a:pt x="10666864" y="442762"/>
                  <a:pt x="10666864" y="442762"/>
                  <a:pt x="11002409" y="236559"/>
                </a:cubicBezTo>
                <a:cubicBezTo>
                  <a:pt x="11010035" y="231786"/>
                  <a:pt x="11019091" y="230831"/>
                  <a:pt x="11027432" y="232979"/>
                </a:cubicBezTo>
                <a:close/>
                <a:moveTo>
                  <a:pt x="8154912" y="223468"/>
                </a:moveTo>
                <a:cubicBezTo>
                  <a:pt x="8163750" y="225611"/>
                  <a:pt x="8171872" y="230850"/>
                  <a:pt x="8176649" y="238470"/>
                </a:cubicBezTo>
                <a:cubicBezTo>
                  <a:pt x="8178560" y="244185"/>
                  <a:pt x="8180471" y="251805"/>
                  <a:pt x="8180471" y="257520"/>
                </a:cubicBezTo>
                <a:cubicBezTo>
                  <a:pt x="8180471" y="268950"/>
                  <a:pt x="8174738" y="280380"/>
                  <a:pt x="8163273" y="288000"/>
                </a:cubicBezTo>
                <a:cubicBezTo>
                  <a:pt x="8163273" y="288000"/>
                  <a:pt x="8163273" y="288000"/>
                  <a:pt x="7825042" y="484214"/>
                </a:cubicBezTo>
                <a:cubicBezTo>
                  <a:pt x="7809755" y="493739"/>
                  <a:pt x="7786824" y="488024"/>
                  <a:pt x="7777269" y="470879"/>
                </a:cubicBezTo>
                <a:cubicBezTo>
                  <a:pt x="7767715" y="453735"/>
                  <a:pt x="7773447" y="432780"/>
                  <a:pt x="7790646" y="423255"/>
                </a:cubicBezTo>
                <a:cubicBezTo>
                  <a:pt x="7790646" y="423255"/>
                  <a:pt x="7790646" y="423255"/>
                  <a:pt x="8128876" y="227040"/>
                </a:cubicBezTo>
                <a:cubicBezTo>
                  <a:pt x="8136520" y="222278"/>
                  <a:pt x="8146075" y="221325"/>
                  <a:pt x="8154912" y="223468"/>
                </a:cubicBezTo>
                <a:close/>
                <a:moveTo>
                  <a:pt x="11598743" y="223460"/>
                </a:moveTo>
                <a:cubicBezTo>
                  <a:pt x="11607309" y="225603"/>
                  <a:pt x="11614923" y="230841"/>
                  <a:pt x="11619682" y="238461"/>
                </a:cubicBezTo>
                <a:cubicBezTo>
                  <a:pt x="11623489" y="244176"/>
                  <a:pt x="11625393" y="251796"/>
                  <a:pt x="11625393" y="257511"/>
                </a:cubicBezTo>
                <a:cubicBezTo>
                  <a:pt x="11625393" y="268941"/>
                  <a:pt x="11619682" y="280371"/>
                  <a:pt x="11608261" y="287991"/>
                </a:cubicBezTo>
                <a:cubicBezTo>
                  <a:pt x="11608261" y="287991"/>
                  <a:pt x="11608261" y="287991"/>
                  <a:pt x="11271332" y="484206"/>
                </a:cubicBezTo>
                <a:cubicBezTo>
                  <a:pt x="11254200" y="493731"/>
                  <a:pt x="11233261" y="488016"/>
                  <a:pt x="11223743" y="470871"/>
                </a:cubicBezTo>
                <a:cubicBezTo>
                  <a:pt x="11214225" y="453726"/>
                  <a:pt x="11219936" y="432771"/>
                  <a:pt x="11237068" y="423246"/>
                </a:cubicBezTo>
                <a:cubicBezTo>
                  <a:pt x="11237068" y="423246"/>
                  <a:pt x="11237068" y="423246"/>
                  <a:pt x="11572093" y="227031"/>
                </a:cubicBezTo>
                <a:cubicBezTo>
                  <a:pt x="11580659" y="222269"/>
                  <a:pt x="11590177" y="221316"/>
                  <a:pt x="11598743" y="223460"/>
                </a:cubicBezTo>
                <a:close/>
                <a:moveTo>
                  <a:pt x="12139750" y="215916"/>
                </a:moveTo>
                <a:cubicBezTo>
                  <a:pt x="12139750" y="215916"/>
                  <a:pt x="12139750" y="215916"/>
                  <a:pt x="12139750" y="297535"/>
                </a:cubicBezTo>
                <a:cubicBezTo>
                  <a:pt x="12139750" y="297535"/>
                  <a:pt x="12139750" y="297535"/>
                  <a:pt x="11835475" y="466465"/>
                </a:cubicBezTo>
                <a:cubicBezTo>
                  <a:pt x="11816458" y="477854"/>
                  <a:pt x="11795539" y="470261"/>
                  <a:pt x="11784129" y="453179"/>
                </a:cubicBezTo>
                <a:cubicBezTo>
                  <a:pt x="11774620" y="436096"/>
                  <a:pt x="11782227" y="413319"/>
                  <a:pt x="11799342" y="403828"/>
                </a:cubicBezTo>
                <a:cubicBezTo>
                  <a:pt x="11799342" y="403828"/>
                  <a:pt x="11799342" y="403828"/>
                  <a:pt x="12135947" y="217814"/>
                </a:cubicBezTo>
                <a:cubicBezTo>
                  <a:pt x="12137848" y="215916"/>
                  <a:pt x="12137848" y="215916"/>
                  <a:pt x="12139750" y="215916"/>
                </a:cubicBezTo>
                <a:close/>
                <a:moveTo>
                  <a:pt x="7596540" y="214167"/>
                </a:moveTo>
                <a:cubicBezTo>
                  <a:pt x="7605602" y="216542"/>
                  <a:pt x="7613711" y="222244"/>
                  <a:pt x="7619435" y="230796"/>
                </a:cubicBezTo>
                <a:cubicBezTo>
                  <a:pt x="7621343" y="236498"/>
                  <a:pt x="7623251" y="242199"/>
                  <a:pt x="7623251" y="247901"/>
                </a:cubicBezTo>
                <a:cubicBezTo>
                  <a:pt x="7623251" y="261205"/>
                  <a:pt x="7615619" y="274508"/>
                  <a:pt x="7604171" y="280210"/>
                </a:cubicBezTo>
                <a:cubicBezTo>
                  <a:pt x="7604171" y="280210"/>
                  <a:pt x="7604171" y="280210"/>
                  <a:pt x="7266466" y="466461"/>
                </a:cubicBezTo>
                <a:cubicBezTo>
                  <a:pt x="7249294" y="477864"/>
                  <a:pt x="7226399" y="470262"/>
                  <a:pt x="7216859" y="453158"/>
                </a:cubicBezTo>
                <a:cubicBezTo>
                  <a:pt x="7207320" y="436053"/>
                  <a:pt x="7213044" y="413247"/>
                  <a:pt x="7230215" y="403744"/>
                </a:cubicBezTo>
                <a:cubicBezTo>
                  <a:pt x="7230215" y="403744"/>
                  <a:pt x="7230215" y="403744"/>
                  <a:pt x="7567920" y="217493"/>
                </a:cubicBezTo>
                <a:cubicBezTo>
                  <a:pt x="7577460" y="212741"/>
                  <a:pt x="7587477" y="211791"/>
                  <a:pt x="7596540" y="214167"/>
                </a:cubicBezTo>
                <a:close/>
                <a:moveTo>
                  <a:pt x="7044758" y="204259"/>
                </a:moveTo>
                <a:cubicBezTo>
                  <a:pt x="7054283" y="207354"/>
                  <a:pt x="7062856" y="214022"/>
                  <a:pt x="7068571" y="223547"/>
                </a:cubicBezTo>
                <a:cubicBezTo>
                  <a:pt x="7070476" y="229262"/>
                  <a:pt x="7072381" y="234977"/>
                  <a:pt x="7072381" y="240692"/>
                </a:cubicBezTo>
                <a:cubicBezTo>
                  <a:pt x="7072381" y="254027"/>
                  <a:pt x="7064761" y="267362"/>
                  <a:pt x="7051425" y="274982"/>
                </a:cubicBezTo>
                <a:cubicBezTo>
                  <a:pt x="7051425" y="274982"/>
                  <a:pt x="7051425" y="274982"/>
                  <a:pt x="6714236" y="452146"/>
                </a:cubicBezTo>
                <a:cubicBezTo>
                  <a:pt x="6695185" y="463576"/>
                  <a:pt x="6672325" y="455956"/>
                  <a:pt x="6662800" y="436906"/>
                </a:cubicBezTo>
                <a:cubicBezTo>
                  <a:pt x="6653275" y="417857"/>
                  <a:pt x="6658990" y="394997"/>
                  <a:pt x="6678040" y="385472"/>
                </a:cubicBezTo>
                <a:cubicBezTo>
                  <a:pt x="6678040" y="385472"/>
                  <a:pt x="6678040" y="385472"/>
                  <a:pt x="7015230" y="206402"/>
                </a:cubicBezTo>
                <a:cubicBezTo>
                  <a:pt x="7024755" y="201639"/>
                  <a:pt x="7035233" y="201163"/>
                  <a:pt x="7044758" y="204259"/>
                </a:cubicBezTo>
                <a:close/>
                <a:moveTo>
                  <a:pt x="6500891" y="194963"/>
                </a:moveTo>
                <a:cubicBezTo>
                  <a:pt x="6510676" y="198292"/>
                  <a:pt x="6519268" y="205427"/>
                  <a:pt x="6524041" y="215892"/>
                </a:cubicBezTo>
                <a:cubicBezTo>
                  <a:pt x="6527860" y="221600"/>
                  <a:pt x="6527860" y="227308"/>
                  <a:pt x="6527860" y="233016"/>
                </a:cubicBezTo>
                <a:cubicBezTo>
                  <a:pt x="6527860" y="248237"/>
                  <a:pt x="6520223" y="261556"/>
                  <a:pt x="6506857" y="269166"/>
                </a:cubicBezTo>
                <a:cubicBezTo>
                  <a:pt x="6506857" y="269166"/>
                  <a:pt x="6506857" y="269166"/>
                  <a:pt x="6166999" y="436601"/>
                </a:cubicBezTo>
                <a:cubicBezTo>
                  <a:pt x="6147906" y="446114"/>
                  <a:pt x="6123085" y="438504"/>
                  <a:pt x="6113538" y="419477"/>
                </a:cubicBezTo>
                <a:cubicBezTo>
                  <a:pt x="6103992" y="400450"/>
                  <a:pt x="6111629" y="375716"/>
                  <a:pt x="6130722" y="366202"/>
                </a:cubicBezTo>
                <a:cubicBezTo>
                  <a:pt x="6130722" y="366202"/>
                  <a:pt x="6130722" y="366202"/>
                  <a:pt x="6470580" y="196865"/>
                </a:cubicBezTo>
                <a:cubicBezTo>
                  <a:pt x="6480127" y="192109"/>
                  <a:pt x="6491105" y="191633"/>
                  <a:pt x="6500891" y="194963"/>
                </a:cubicBezTo>
                <a:close/>
                <a:moveTo>
                  <a:pt x="5957785" y="186367"/>
                </a:moveTo>
                <a:cubicBezTo>
                  <a:pt x="5967786" y="190163"/>
                  <a:pt x="5976358" y="197754"/>
                  <a:pt x="5981121" y="208192"/>
                </a:cubicBezTo>
                <a:cubicBezTo>
                  <a:pt x="5984930" y="213886"/>
                  <a:pt x="5984930" y="219579"/>
                  <a:pt x="5984930" y="225273"/>
                </a:cubicBezTo>
                <a:cubicBezTo>
                  <a:pt x="5984930" y="240455"/>
                  <a:pt x="5977311" y="255638"/>
                  <a:pt x="5962070" y="263230"/>
                </a:cubicBezTo>
                <a:cubicBezTo>
                  <a:pt x="5962070" y="263230"/>
                  <a:pt x="5962070" y="263230"/>
                  <a:pt x="5622984" y="420750"/>
                </a:cubicBezTo>
                <a:cubicBezTo>
                  <a:pt x="5602029" y="430239"/>
                  <a:pt x="5577264" y="422648"/>
                  <a:pt x="5567739" y="401772"/>
                </a:cubicBezTo>
                <a:cubicBezTo>
                  <a:pt x="5556309" y="380896"/>
                  <a:pt x="5565834" y="356224"/>
                  <a:pt x="5586789" y="346734"/>
                </a:cubicBezTo>
                <a:cubicBezTo>
                  <a:pt x="5586789" y="346734"/>
                  <a:pt x="5586789" y="346734"/>
                  <a:pt x="5925876" y="187316"/>
                </a:cubicBezTo>
                <a:cubicBezTo>
                  <a:pt x="5936354" y="182571"/>
                  <a:pt x="5947784" y="182571"/>
                  <a:pt x="5957785" y="186367"/>
                </a:cubicBezTo>
                <a:close/>
                <a:moveTo>
                  <a:pt x="398308" y="186354"/>
                </a:moveTo>
                <a:cubicBezTo>
                  <a:pt x="408309" y="190150"/>
                  <a:pt x="416882" y="197741"/>
                  <a:pt x="421644" y="208179"/>
                </a:cubicBezTo>
                <a:cubicBezTo>
                  <a:pt x="423549" y="213873"/>
                  <a:pt x="425454" y="219566"/>
                  <a:pt x="425454" y="225260"/>
                </a:cubicBezTo>
                <a:cubicBezTo>
                  <a:pt x="425454" y="240442"/>
                  <a:pt x="415929" y="255625"/>
                  <a:pt x="400689" y="263217"/>
                </a:cubicBezTo>
                <a:cubicBezTo>
                  <a:pt x="400689" y="263217"/>
                  <a:pt x="400689" y="263217"/>
                  <a:pt x="61595" y="420738"/>
                </a:cubicBezTo>
                <a:cubicBezTo>
                  <a:pt x="42545" y="430227"/>
                  <a:pt x="17780" y="422635"/>
                  <a:pt x="6349" y="401759"/>
                </a:cubicBezTo>
                <a:cubicBezTo>
                  <a:pt x="-3176" y="380883"/>
                  <a:pt x="6349" y="356211"/>
                  <a:pt x="27305" y="346722"/>
                </a:cubicBezTo>
                <a:cubicBezTo>
                  <a:pt x="27305" y="346722"/>
                  <a:pt x="27305" y="346722"/>
                  <a:pt x="366399" y="187303"/>
                </a:cubicBezTo>
                <a:cubicBezTo>
                  <a:pt x="376876" y="182559"/>
                  <a:pt x="388306" y="182559"/>
                  <a:pt x="398308" y="186354"/>
                </a:cubicBezTo>
                <a:close/>
                <a:moveTo>
                  <a:pt x="5409190" y="176874"/>
                </a:moveTo>
                <a:cubicBezTo>
                  <a:pt x="5419652" y="180684"/>
                  <a:pt x="5428687" y="188304"/>
                  <a:pt x="5433443" y="198782"/>
                </a:cubicBezTo>
                <a:cubicBezTo>
                  <a:pt x="5435345" y="204497"/>
                  <a:pt x="5437247" y="212117"/>
                  <a:pt x="5437247" y="217832"/>
                </a:cubicBezTo>
                <a:cubicBezTo>
                  <a:pt x="5437247" y="233072"/>
                  <a:pt x="5427736" y="250217"/>
                  <a:pt x="5410617" y="255932"/>
                </a:cubicBezTo>
                <a:cubicBezTo>
                  <a:pt x="5410617" y="255932"/>
                  <a:pt x="5410617" y="255932"/>
                  <a:pt x="5072018" y="406426"/>
                </a:cubicBezTo>
                <a:cubicBezTo>
                  <a:pt x="5049194" y="415951"/>
                  <a:pt x="5024468" y="406426"/>
                  <a:pt x="5014959" y="385471"/>
                </a:cubicBezTo>
                <a:cubicBezTo>
                  <a:pt x="5005447" y="362611"/>
                  <a:pt x="5014959" y="337846"/>
                  <a:pt x="5035880" y="328321"/>
                </a:cubicBezTo>
                <a:cubicBezTo>
                  <a:pt x="5035880" y="328321"/>
                  <a:pt x="5035880" y="328321"/>
                  <a:pt x="5376377" y="177827"/>
                </a:cubicBezTo>
                <a:cubicBezTo>
                  <a:pt x="5386839" y="173064"/>
                  <a:pt x="5398728" y="173064"/>
                  <a:pt x="5409190" y="176874"/>
                </a:cubicBezTo>
                <a:close/>
                <a:moveTo>
                  <a:pt x="942624" y="176859"/>
                </a:moveTo>
                <a:cubicBezTo>
                  <a:pt x="952848" y="180669"/>
                  <a:pt x="961408" y="188289"/>
                  <a:pt x="966164" y="198766"/>
                </a:cubicBezTo>
                <a:cubicBezTo>
                  <a:pt x="968066" y="204481"/>
                  <a:pt x="969968" y="212101"/>
                  <a:pt x="969968" y="217816"/>
                </a:cubicBezTo>
                <a:cubicBezTo>
                  <a:pt x="969968" y="233056"/>
                  <a:pt x="960457" y="250201"/>
                  <a:pt x="945239" y="255916"/>
                </a:cubicBezTo>
                <a:cubicBezTo>
                  <a:pt x="945239" y="255916"/>
                  <a:pt x="945239" y="255916"/>
                  <a:pt x="604741" y="406411"/>
                </a:cubicBezTo>
                <a:cubicBezTo>
                  <a:pt x="583816" y="415936"/>
                  <a:pt x="557185" y="406411"/>
                  <a:pt x="547674" y="385456"/>
                </a:cubicBezTo>
                <a:cubicBezTo>
                  <a:pt x="538163" y="362596"/>
                  <a:pt x="547674" y="337831"/>
                  <a:pt x="570501" y="328306"/>
                </a:cubicBezTo>
                <a:cubicBezTo>
                  <a:pt x="570501" y="328306"/>
                  <a:pt x="570501" y="328306"/>
                  <a:pt x="909097" y="177812"/>
                </a:cubicBezTo>
                <a:cubicBezTo>
                  <a:pt x="920510" y="173049"/>
                  <a:pt x="932399" y="173049"/>
                  <a:pt x="942624" y="176859"/>
                </a:cubicBezTo>
                <a:close/>
                <a:moveTo>
                  <a:pt x="4856424" y="167564"/>
                </a:moveTo>
                <a:cubicBezTo>
                  <a:pt x="4867147" y="171602"/>
                  <a:pt x="4876206" y="179677"/>
                  <a:pt x="4880972" y="191077"/>
                </a:cubicBezTo>
                <a:cubicBezTo>
                  <a:pt x="4882878" y="196777"/>
                  <a:pt x="4884784" y="202476"/>
                  <a:pt x="4884784" y="208176"/>
                </a:cubicBezTo>
                <a:cubicBezTo>
                  <a:pt x="4884784" y="227176"/>
                  <a:pt x="4875253" y="242376"/>
                  <a:pt x="4856185" y="249976"/>
                </a:cubicBezTo>
                <a:cubicBezTo>
                  <a:pt x="4856185" y="249976"/>
                  <a:pt x="4856185" y="249976"/>
                  <a:pt x="4516850" y="390576"/>
                </a:cubicBezTo>
                <a:cubicBezTo>
                  <a:pt x="4493973" y="400076"/>
                  <a:pt x="4467283" y="390576"/>
                  <a:pt x="4457750" y="367776"/>
                </a:cubicBezTo>
                <a:cubicBezTo>
                  <a:pt x="4448218" y="343076"/>
                  <a:pt x="4459658" y="318376"/>
                  <a:pt x="4482534" y="308876"/>
                </a:cubicBezTo>
                <a:cubicBezTo>
                  <a:pt x="4482534" y="308876"/>
                  <a:pt x="4482534" y="308876"/>
                  <a:pt x="4821864" y="168277"/>
                </a:cubicBezTo>
                <a:cubicBezTo>
                  <a:pt x="4833304" y="163527"/>
                  <a:pt x="4845697" y="163527"/>
                  <a:pt x="4856424" y="167564"/>
                </a:cubicBezTo>
                <a:close/>
                <a:moveTo>
                  <a:pt x="1492476" y="167547"/>
                </a:moveTo>
                <a:cubicBezTo>
                  <a:pt x="1503199" y="171584"/>
                  <a:pt x="1512255" y="179659"/>
                  <a:pt x="1517021" y="191059"/>
                </a:cubicBezTo>
                <a:cubicBezTo>
                  <a:pt x="1518927" y="196759"/>
                  <a:pt x="1520833" y="202459"/>
                  <a:pt x="1520833" y="208159"/>
                </a:cubicBezTo>
                <a:cubicBezTo>
                  <a:pt x="1520833" y="227159"/>
                  <a:pt x="1509395" y="242359"/>
                  <a:pt x="1492238" y="249959"/>
                </a:cubicBezTo>
                <a:cubicBezTo>
                  <a:pt x="1492238" y="249959"/>
                  <a:pt x="1492238" y="249959"/>
                  <a:pt x="1150990" y="390559"/>
                </a:cubicBezTo>
                <a:cubicBezTo>
                  <a:pt x="1128114" y="400059"/>
                  <a:pt x="1103330" y="390559"/>
                  <a:pt x="1093798" y="367759"/>
                </a:cubicBezTo>
                <a:cubicBezTo>
                  <a:pt x="1084266" y="343059"/>
                  <a:pt x="1093798" y="318359"/>
                  <a:pt x="1116675" y="308859"/>
                </a:cubicBezTo>
                <a:cubicBezTo>
                  <a:pt x="1116675" y="308859"/>
                  <a:pt x="1116675" y="308859"/>
                  <a:pt x="1457922" y="168259"/>
                </a:cubicBezTo>
                <a:cubicBezTo>
                  <a:pt x="1469361" y="163509"/>
                  <a:pt x="1481752" y="163509"/>
                  <a:pt x="1492476" y="167547"/>
                </a:cubicBezTo>
                <a:close/>
                <a:moveTo>
                  <a:pt x="4266102" y="156882"/>
                </a:moveTo>
                <a:cubicBezTo>
                  <a:pt x="4289029" y="149252"/>
                  <a:pt x="4315777" y="160697"/>
                  <a:pt x="4325330" y="183588"/>
                </a:cubicBezTo>
                <a:cubicBezTo>
                  <a:pt x="4327241" y="189310"/>
                  <a:pt x="4329151" y="195033"/>
                  <a:pt x="4329151" y="200756"/>
                </a:cubicBezTo>
                <a:cubicBezTo>
                  <a:pt x="4329151" y="219831"/>
                  <a:pt x="4317689" y="236999"/>
                  <a:pt x="4298582" y="244630"/>
                </a:cubicBezTo>
                <a:cubicBezTo>
                  <a:pt x="4298582" y="244630"/>
                  <a:pt x="4298582" y="244630"/>
                  <a:pt x="3956617" y="376251"/>
                </a:cubicBezTo>
                <a:cubicBezTo>
                  <a:pt x="3933693" y="385789"/>
                  <a:pt x="3906944" y="374344"/>
                  <a:pt x="3897391" y="349546"/>
                </a:cubicBezTo>
                <a:cubicBezTo>
                  <a:pt x="3887837" y="326655"/>
                  <a:pt x="3899301" y="299949"/>
                  <a:pt x="3924139" y="290411"/>
                </a:cubicBezTo>
                <a:cubicBezTo>
                  <a:pt x="3924139" y="290411"/>
                  <a:pt x="3924139" y="290411"/>
                  <a:pt x="4266102" y="156882"/>
                </a:cubicBezTo>
                <a:close/>
                <a:moveTo>
                  <a:pt x="2010467" y="156862"/>
                </a:moveTo>
                <a:cubicBezTo>
                  <a:pt x="2035214" y="149232"/>
                  <a:pt x="2061870" y="160677"/>
                  <a:pt x="2071388" y="183568"/>
                </a:cubicBezTo>
                <a:cubicBezTo>
                  <a:pt x="2073292" y="189291"/>
                  <a:pt x="2073292" y="195013"/>
                  <a:pt x="2073292" y="200736"/>
                </a:cubicBezTo>
                <a:cubicBezTo>
                  <a:pt x="2073292" y="219812"/>
                  <a:pt x="2061870" y="236980"/>
                  <a:pt x="2044733" y="244610"/>
                </a:cubicBezTo>
                <a:cubicBezTo>
                  <a:pt x="2044733" y="244610"/>
                  <a:pt x="2044733" y="244610"/>
                  <a:pt x="1703979" y="376232"/>
                </a:cubicBezTo>
                <a:cubicBezTo>
                  <a:pt x="1679231" y="385770"/>
                  <a:pt x="1652580" y="374325"/>
                  <a:pt x="1643062" y="349526"/>
                </a:cubicBezTo>
                <a:cubicBezTo>
                  <a:pt x="1633544" y="326635"/>
                  <a:pt x="1644966" y="299930"/>
                  <a:pt x="1669713" y="290392"/>
                </a:cubicBezTo>
                <a:cubicBezTo>
                  <a:pt x="1669713" y="290392"/>
                  <a:pt x="1669713" y="290392"/>
                  <a:pt x="2010467" y="156862"/>
                </a:cubicBezTo>
                <a:close/>
                <a:moveTo>
                  <a:pt x="3720656" y="144611"/>
                </a:moveTo>
                <a:cubicBezTo>
                  <a:pt x="3739813" y="145502"/>
                  <a:pt x="3756568" y="157613"/>
                  <a:pt x="3763698" y="176135"/>
                </a:cubicBezTo>
                <a:cubicBezTo>
                  <a:pt x="3765599" y="181835"/>
                  <a:pt x="3765599" y="187534"/>
                  <a:pt x="3765599" y="193233"/>
                </a:cubicBezTo>
                <a:cubicBezTo>
                  <a:pt x="3765599" y="212231"/>
                  <a:pt x="3754192" y="231229"/>
                  <a:pt x="3735180" y="238828"/>
                </a:cubicBezTo>
                <a:cubicBezTo>
                  <a:pt x="3735180" y="238828"/>
                  <a:pt x="3735180" y="238828"/>
                  <a:pt x="3393028" y="360415"/>
                </a:cubicBezTo>
                <a:cubicBezTo>
                  <a:pt x="3368312" y="369914"/>
                  <a:pt x="3341701" y="356616"/>
                  <a:pt x="3332195" y="331918"/>
                </a:cubicBezTo>
                <a:cubicBezTo>
                  <a:pt x="3322691" y="307221"/>
                  <a:pt x="3335998" y="278724"/>
                  <a:pt x="3360708" y="271125"/>
                </a:cubicBezTo>
                <a:cubicBezTo>
                  <a:pt x="3360708" y="271125"/>
                  <a:pt x="3360708" y="271125"/>
                  <a:pt x="3700964" y="147639"/>
                </a:cubicBezTo>
                <a:cubicBezTo>
                  <a:pt x="3707615" y="145264"/>
                  <a:pt x="3714268" y="144314"/>
                  <a:pt x="3720656" y="144611"/>
                </a:cubicBezTo>
                <a:close/>
                <a:moveTo>
                  <a:pt x="2586993" y="144589"/>
                </a:moveTo>
                <a:cubicBezTo>
                  <a:pt x="2606219" y="145480"/>
                  <a:pt x="2623032" y="157591"/>
                  <a:pt x="2630185" y="176114"/>
                </a:cubicBezTo>
                <a:cubicBezTo>
                  <a:pt x="2632093" y="181813"/>
                  <a:pt x="2632093" y="187512"/>
                  <a:pt x="2632093" y="193212"/>
                </a:cubicBezTo>
                <a:cubicBezTo>
                  <a:pt x="2632093" y="212210"/>
                  <a:pt x="2620647" y="231208"/>
                  <a:pt x="2601569" y="238807"/>
                </a:cubicBezTo>
                <a:cubicBezTo>
                  <a:pt x="2601569" y="238807"/>
                  <a:pt x="2601569" y="238807"/>
                  <a:pt x="2258175" y="360394"/>
                </a:cubicBezTo>
                <a:cubicBezTo>
                  <a:pt x="2233374" y="369893"/>
                  <a:pt x="2206666" y="356594"/>
                  <a:pt x="2197127" y="331897"/>
                </a:cubicBezTo>
                <a:cubicBezTo>
                  <a:pt x="2187588" y="307199"/>
                  <a:pt x="2200942" y="278702"/>
                  <a:pt x="2225743" y="271103"/>
                </a:cubicBezTo>
                <a:cubicBezTo>
                  <a:pt x="2225743" y="271103"/>
                  <a:pt x="2225743" y="271103"/>
                  <a:pt x="2567230" y="147617"/>
                </a:cubicBezTo>
                <a:cubicBezTo>
                  <a:pt x="2573907" y="145242"/>
                  <a:pt x="2580584" y="144292"/>
                  <a:pt x="2586993" y="144589"/>
                </a:cubicBezTo>
                <a:close/>
                <a:moveTo>
                  <a:pt x="3149047" y="135364"/>
                </a:moveTo>
                <a:cubicBezTo>
                  <a:pt x="3168678" y="136784"/>
                  <a:pt x="3186167" y="149926"/>
                  <a:pt x="3191878" y="168396"/>
                </a:cubicBezTo>
                <a:cubicBezTo>
                  <a:pt x="3193782" y="174078"/>
                  <a:pt x="3195685" y="179761"/>
                  <a:pt x="3195685" y="185444"/>
                </a:cubicBezTo>
                <a:cubicBezTo>
                  <a:pt x="3195685" y="206282"/>
                  <a:pt x="3182361" y="225225"/>
                  <a:pt x="3161420" y="232802"/>
                </a:cubicBezTo>
                <a:cubicBezTo>
                  <a:pt x="3161420" y="232802"/>
                  <a:pt x="3161420" y="232802"/>
                  <a:pt x="2818756" y="344567"/>
                </a:cubicBezTo>
                <a:cubicBezTo>
                  <a:pt x="2794009" y="354039"/>
                  <a:pt x="2765451" y="338884"/>
                  <a:pt x="2755934" y="314258"/>
                </a:cubicBezTo>
                <a:cubicBezTo>
                  <a:pt x="2746414" y="287738"/>
                  <a:pt x="2761644" y="259323"/>
                  <a:pt x="2788299" y="249851"/>
                </a:cubicBezTo>
                <a:cubicBezTo>
                  <a:pt x="2788299" y="249851"/>
                  <a:pt x="2788299" y="249851"/>
                  <a:pt x="3129056" y="138087"/>
                </a:cubicBezTo>
                <a:cubicBezTo>
                  <a:pt x="3135720" y="135719"/>
                  <a:pt x="3142503" y="134890"/>
                  <a:pt x="3149047" y="135364"/>
                </a:cubicBezTo>
                <a:close/>
                <a:moveTo>
                  <a:pt x="9144187" y="30"/>
                </a:moveTo>
                <a:cubicBezTo>
                  <a:pt x="9144187" y="30"/>
                  <a:pt x="9144187" y="30"/>
                  <a:pt x="9275861" y="30"/>
                </a:cubicBezTo>
                <a:cubicBezTo>
                  <a:pt x="9275861" y="30"/>
                  <a:pt x="9275861" y="30"/>
                  <a:pt x="8962897" y="187323"/>
                </a:cubicBezTo>
                <a:cubicBezTo>
                  <a:pt x="8947631" y="196878"/>
                  <a:pt x="8926639" y="193056"/>
                  <a:pt x="8917098" y="175856"/>
                </a:cubicBezTo>
                <a:cubicBezTo>
                  <a:pt x="8907556" y="160567"/>
                  <a:pt x="8913281" y="139544"/>
                  <a:pt x="8928547" y="129989"/>
                </a:cubicBezTo>
                <a:cubicBezTo>
                  <a:pt x="8928547" y="129989"/>
                  <a:pt x="8928547" y="129989"/>
                  <a:pt x="9144187" y="30"/>
                </a:cubicBezTo>
                <a:close/>
                <a:moveTo>
                  <a:pt x="8549535" y="29"/>
                </a:moveTo>
                <a:cubicBezTo>
                  <a:pt x="8549535" y="29"/>
                  <a:pt x="8549535" y="29"/>
                  <a:pt x="8688477" y="29"/>
                </a:cubicBezTo>
                <a:cubicBezTo>
                  <a:pt x="8688477" y="29"/>
                  <a:pt x="8688477" y="29"/>
                  <a:pt x="8391560" y="173083"/>
                </a:cubicBezTo>
                <a:cubicBezTo>
                  <a:pt x="8374430" y="182592"/>
                  <a:pt x="8353493" y="176886"/>
                  <a:pt x="8343977" y="159771"/>
                </a:cubicBezTo>
                <a:cubicBezTo>
                  <a:pt x="8334460" y="142656"/>
                  <a:pt x="8340170" y="121738"/>
                  <a:pt x="8357300" y="112230"/>
                </a:cubicBezTo>
                <a:cubicBezTo>
                  <a:pt x="8357300" y="112230"/>
                  <a:pt x="8357300" y="112230"/>
                  <a:pt x="8549535" y="29"/>
                </a:cubicBezTo>
                <a:close/>
                <a:moveTo>
                  <a:pt x="7958714" y="29"/>
                </a:moveTo>
                <a:cubicBezTo>
                  <a:pt x="7958714" y="29"/>
                  <a:pt x="7958714" y="29"/>
                  <a:pt x="8107445" y="29"/>
                </a:cubicBezTo>
                <a:cubicBezTo>
                  <a:pt x="8107445" y="29"/>
                  <a:pt x="8107445" y="29"/>
                  <a:pt x="7825239" y="158743"/>
                </a:cubicBezTo>
                <a:cubicBezTo>
                  <a:pt x="7808077" y="168304"/>
                  <a:pt x="7785196" y="162567"/>
                  <a:pt x="7775662" y="145357"/>
                </a:cubicBezTo>
                <a:cubicBezTo>
                  <a:pt x="7766128" y="126235"/>
                  <a:pt x="7773755" y="105201"/>
                  <a:pt x="7790916" y="95640"/>
                </a:cubicBezTo>
                <a:cubicBezTo>
                  <a:pt x="7790916" y="95640"/>
                  <a:pt x="7790916" y="95640"/>
                  <a:pt x="7958714" y="29"/>
                </a:cubicBezTo>
                <a:close/>
                <a:moveTo>
                  <a:pt x="7373861" y="29"/>
                </a:moveTo>
                <a:cubicBezTo>
                  <a:pt x="7373861" y="29"/>
                  <a:pt x="7373861" y="29"/>
                  <a:pt x="7534349" y="29"/>
                </a:cubicBezTo>
                <a:cubicBezTo>
                  <a:pt x="7534349" y="29"/>
                  <a:pt x="7534349" y="29"/>
                  <a:pt x="7266870" y="142904"/>
                </a:cubicBezTo>
                <a:cubicBezTo>
                  <a:pt x="7247764" y="152429"/>
                  <a:pt x="7224837" y="146714"/>
                  <a:pt x="7215285" y="127664"/>
                </a:cubicBezTo>
                <a:cubicBezTo>
                  <a:pt x="7205732" y="110519"/>
                  <a:pt x="7213374" y="87659"/>
                  <a:pt x="7230569" y="76229"/>
                </a:cubicBezTo>
                <a:cubicBezTo>
                  <a:pt x="7230569" y="76229"/>
                  <a:pt x="7230569" y="76229"/>
                  <a:pt x="7373861" y="29"/>
                </a:cubicBezTo>
                <a:close/>
                <a:moveTo>
                  <a:pt x="6792947" y="29"/>
                </a:moveTo>
                <a:cubicBezTo>
                  <a:pt x="6792947" y="29"/>
                  <a:pt x="6792947" y="29"/>
                  <a:pt x="6962841" y="29"/>
                </a:cubicBezTo>
                <a:cubicBezTo>
                  <a:pt x="6962841" y="29"/>
                  <a:pt x="6962841" y="29"/>
                  <a:pt x="6714681" y="130160"/>
                </a:cubicBezTo>
                <a:cubicBezTo>
                  <a:pt x="6695592" y="139729"/>
                  <a:pt x="6670776" y="132074"/>
                  <a:pt x="6661231" y="112937"/>
                </a:cubicBezTo>
                <a:cubicBezTo>
                  <a:pt x="6651687" y="93800"/>
                  <a:pt x="6659322" y="68922"/>
                  <a:pt x="6678412" y="59354"/>
                </a:cubicBezTo>
                <a:cubicBezTo>
                  <a:pt x="6678412" y="59354"/>
                  <a:pt x="6678412" y="59354"/>
                  <a:pt x="6792947" y="29"/>
                </a:cubicBezTo>
                <a:close/>
                <a:moveTo>
                  <a:pt x="6214724" y="29"/>
                </a:moveTo>
                <a:cubicBezTo>
                  <a:pt x="6214724" y="29"/>
                  <a:pt x="6214724" y="29"/>
                  <a:pt x="6396096" y="29"/>
                </a:cubicBezTo>
                <a:cubicBezTo>
                  <a:pt x="6396096" y="29"/>
                  <a:pt x="6396096" y="29"/>
                  <a:pt x="6166995" y="114329"/>
                </a:cubicBezTo>
                <a:cubicBezTo>
                  <a:pt x="6147903" y="123854"/>
                  <a:pt x="6123084" y="116234"/>
                  <a:pt x="6113538" y="95279"/>
                </a:cubicBezTo>
                <a:cubicBezTo>
                  <a:pt x="6103992" y="76229"/>
                  <a:pt x="6111628" y="51464"/>
                  <a:pt x="6130720" y="41939"/>
                </a:cubicBezTo>
                <a:cubicBezTo>
                  <a:pt x="6130720" y="41939"/>
                  <a:pt x="6130720" y="41939"/>
                  <a:pt x="6214724" y="29"/>
                </a:cubicBezTo>
                <a:close/>
                <a:moveTo>
                  <a:pt x="5637626" y="29"/>
                </a:moveTo>
                <a:cubicBezTo>
                  <a:pt x="5637626" y="29"/>
                  <a:pt x="5637626" y="29"/>
                  <a:pt x="5829356" y="29"/>
                </a:cubicBezTo>
                <a:cubicBezTo>
                  <a:pt x="5829356" y="29"/>
                  <a:pt x="5829356" y="29"/>
                  <a:pt x="5622440" y="99958"/>
                </a:cubicBezTo>
                <a:cubicBezTo>
                  <a:pt x="5601558" y="109567"/>
                  <a:pt x="5576879" y="101880"/>
                  <a:pt x="5567388" y="80741"/>
                </a:cubicBezTo>
                <a:cubicBezTo>
                  <a:pt x="5557896" y="59602"/>
                  <a:pt x="5565491" y="34620"/>
                  <a:pt x="5586371" y="25011"/>
                </a:cubicBezTo>
                <a:cubicBezTo>
                  <a:pt x="5586371" y="25011"/>
                  <a:pt x="5586371" y="25011"/>
                  <a:pt x="5637626" y="29"/>
                </a:cubicBezTo>
                <a:close/>
                <a:moveTo>
                  <a:pt x="5050992" y="29"/>
                </a:moveTo>
                <a:cubicBezTo>
                  <a:pt x="5050992" y="29"/>
                  <a:pt x="5050992" y="29"/>
                  <a:pt x="5257856" y="29"/>
                </a:cubicBezTo>
                <a:cubicBezTo>
                  <a:pt x="5257856" y="29"/>
                  <a:pt x="5257856" y="29"/>
                  <a:pt x="5071866" y="83849"/>
                </a:cubicBezTo>
                <a:cubicBezTo>
                  <a:pt x="5050992" y="95279"/>
                  <a:pt x="5024424" y="85754"/>
                  <a:pt x="5014937" y="62894"/>
                </a:cubicBezTo>
                <a:cubicBezTo>
                  <a:pt x="5005447" y="41939"/>
                  <a:pt x="5014937" y="17174"/>
                  <a:pt x="5037708" y="7649"/>
                </a:cubicBezTo>
                <a:cubicBezTo>
                  <a:pt x="5037708" y="7649"/>
                  <a:pt x="5037708" y="7649"/>
                  <a:pt x="5050992" y="29"/>
                </a:cubicBezTo>
                <a:close/>
                <a:moveTo>
                  <a:pt x="4468136" y="29"/>
                </a:moveTo>
                <a:cubicBezTo>
                  <a:pt x="4468136" y="29"/>
                  <a:pt x="4468136" y="29"/>
                  <a:pt x="4678410" y="29"/>
                </a:cubicBezTo>
                <a:cubicBezTo>
                  <a:pt x="4678410" y="29"/>
                  <a:pt x="4678410" y="29"/>
                  <a:pt x="4517392" y="71353"/>
                </a:cubicBezTo>
                <a:cubicBezTo>
                  <a:pt x="4494658" y="80992"/>
                  <a:pt x="4470031" y="69426"/>
                  <a:pt x="4460559" y="48221"/>
                </a:cubicBezTo>
                <a:cubicBezTo>
                  <a:pt x="4452982" y="30872"/>
                  <a:pt x="4456771" y="13523"/>
                  <a:pt x="4468136" y="29"/>
                </a:cubicBezTo>
                <a:close/>
                <a:moveTo>
                  <a:pt x="3898002" y="29"/>
                </a:moveTo>
                <a:cubicBezTo>
                  <a:pt x="3898002" y="29"/>
                  <a:pt x="3898002" y="29"/>
                  <a:pt x="4092634" y="29"/>
                </a:cubicBezTo>
                <a:cubicBezTo>
                  <a:pt x="4092634" y="29"/>
                  <a:pt x="4092634" y="29"/>
                  <a:pt x="3959065" y="55545"/>
                </a:cubicBezTo>
                <a:cubicBezTo>
                  <a:pt x="3936167" y="65117"/>
                  <a:pt x="3909452" y="53630"/>
                  <a:pt x="3899912" y="30658"/>
                </a:cubicBezTo>
                <a:cubicBezTo>
                  <a:pt x="3896097" y="21087"/>
                  <a:pt x="3894189" y="9600"/>
                  <a:pt x="3898002" y="29"/>
                </a:cubicBezTo>
                <a:close/>
                <a:moveTo>
                  <a:pt x="3332212" y="29"/>
                </a:moveTo>
                <a:cubicBezTo>
                  <a:pt x="3332212" y="29"/>
                  <a:pt x="3332212" y="29"/>
                  <a:pt x="3497315" y="29"/>
                </a:cubicBezTo>
                <a:cubicBezTo>
                  <a:pt x="3497315" y="29"/>
                  <a:pt x="3497315" y="29"/>
                  <a:pt x="3394843" y="41670"/>
                </a:cubicBezTo>
                <a:cubicBezTo>
                  <a:pt x="3370170" y="49241"/>
                  <a:pt x="3343601" y="37885"/>
                  <a:pt x="3334111" y="15171"/>
                </a:cubicBezTo>
                <a:cubicBezTo>
                  <a:pt x="3332212" y="9493"/>
                  <a:pt x="3332212" y="5707"/>
                  <a:pt x="3332212" y="29"/>
                </a:cubicBezTo>
                <a:close/>
                <a:moveTo>
                  <a:pt x="2760703" y="28"/>
                </a:moveTo>
                <a:cubicBezTo>
                  <a:pt x="2760703" y="28"/>
                  <a:pt x="2760703" y="28"/>
                  <a:pt x="2890880" y="28"/>
                </a:cubicBezTo>
                <a:cubicBezTo>
                  <a:pt x="2890880" y="28"/>
                  <a:pt x="2890880" y="28"/>
                  <a:pt x="2821076" y="27192"/>
                </a:cubicBezTo>
                <a:cubicBezTo>
                  <a:pt x="2796551" y="34954"/>
                  <a:pt x="2772024" y="23312"/>
                  <a:pt x="2760703" y="28"/>
                </a:cubicBezTo>
                <a:close/>
                <a:moveTo>
                  <a:pt x="11404328" y="19"/>
                </a:moveTo>
                <a:cubicBezTo>
                  <a:pt x="11404328" y="19"/>
                  <a:pt x="11404328" y="19"/>
                  <a:pt x="11552367" y="19"/>
                </a:cubicBezTo>
                <a:cubicBezTo>
                  <a:pt x="11552367" y="19"/>
                  <a:pt x="11552367" y="19"/>
                  <a:pt x="11271473" y="158733"/>
                </a:cubicBezTo>
                <a:cubicBezTo>
                  <a:pt x="11254392" y="168294"/>
                  <a:pt x="11231616" y="162557"/>
                  <a:pt x="11222127" y="145347"/>
                </a:cubicBezTo>
                <a:cubicBezTo>
                  <a:pt x="11212637" y="126225"/>
                  <a:pt x="11218331" y="105191"/>
                  <a:pt x="11235412" y="95630"/>
                </a:cubicBezTo>
                <a:cubicBezTo>
                  <a:pt x="11235412" y="95630"/>
                  <a:pt x="11235412" y="95630"/>
                  <a:pt x="11404328" y="19"/>
                </a:cubicBezTo>
                <a:close/>
                <a:moveTo>
                  <a:pt x="11942099" y="17"/>
                </a:moveTo>
                <a:cubicBezTo>
                  <a:pt x="11942099" y="17"/>
                  <a:pt x="11942099" y="17"/>
                  <a:pt x="12100062" y="17"/>
                </a:cubicBezTo>
                <a:cubicBezTo>
                  <a:pt x="12100062" y="17"/>
                  <a:pt x="12100062" y="17"/>
                  <a:pt x="11835521" y="142892"/>
                </a:cubicBezTo>
                <a:cubicBezTo>
                  <a:pt x="11816490" y="152417"/>
                  <a:pt x="11793652" y="146702"/>
                  <a:pt x="11784136" y="127652"/>
                </a:cubicBezTo>
                <a:cubicBezTo>
                  <a:pt x="11774620" y="110507"/>
                  <a:pt x="11780330" y="87647"/>
                  <a:pt x="11799361" y="76217"/>
                </a:cubicBezTo>
                <a:cubicBezTo>
                  <a:pt x="11799361" y="76217"/>
                  <a:pt x="11799361" y="76217"/>
                  <a:pt x="11942099" y="17"/>
                </a:cubicBezTo>
                <a:close/>
                <a:moveTo>
                  <a:pt x="76928" y="14"/>
                </a:moveTo>
                <a:cubicBezTo>
                  <a:pt x="76928" y="14"/>
                  <a:pt x="76928" y="14"/>
                  <a:pt x="271465" y="14"/>
                </a:cubicBezTo>
                <a:cubicBezTo>
                  <a:pt x="271465" y="14"/>
                  <a:pt x="271465" y="14"/>
                  <a:pt x="63577" y="99944"/>
                </a:cubicBezTo>
                <a:cubicBezTo>
                  <a:pt x="42598" y="109552"/>
                  <a:pt x="17804" y="101866"/>
                  <a:pt x="8268" y="80727"/>
                </a:cubicBezTo>
                <a:cubicBezTo>
                  <a:pt x="-3175" y="59588"/>
                  <a:pt x="6361" y="34605"/>
                  <a:pt x="27340" y="24997"/>
                </a:cubicBezTo>
                <a:cubicBezTo>
                  <a:pt x="27340" y="24997"/>
                  <a:pt x="27340" y="24997"/>
                  <a:pt x="76928" y="14"/>
                </a:cubicBezTo>
                <a:close/>
                <a:moveTo>
                  <a:pt x="583733" y="12"/>
                </a:moveTo>
                <a:cubicBezTo>
                  <a:pt x="583733" y="12"/>
                  <a:pt x="583733" y="12"/>
                  <a:pt x="792167" y="12"/>
                </a:cubicBezTo>
                <a:cubicBezTo>
                  <a:pt x="792167" y="12"/>
                  <a:pt x="792167" y="12"/>
                  <a:pt x="604767" y="83832"/>
                </a:cubicBezTo>
                <a:cubicBezTo>
                  <a:pt x="583733" y="95262"/>
                  <a:pt x="558874" y="85737"/>
                  <a:pt x="549312" y="62877"/>
                </a:cubicBezTo>
                <a:cubicBezTo>
                  <a:pt x="539751" y="41922"/>
                  <a:pt x="549312" y="17157"/>
                  <a:pt x="570347" y="7632"/>
                </a:cubicBezTo>
                <a:cubicBezTo>
                  <a:pt x="570347" y="7632"/>
                  <a:pt x="570347" y="7632"/>
                  <a:pt x="583733" y="12"/>
                </a:cubicBezTo>
                <a:close/>
                <a:moveTo>
                  <a:pt x="1102307" y="10"/>
                </a:moveTo>
                <a:cubicBezTo>
                  <a:pt x="1102307" y="10"/>
                  <a:pt x="1102307" y="10"/>
                  <a:pt x="1312869" y="10"/>
                </a:cubicBezTo>
                <a:cubicBezTo>
                  <a:pt x="1312869" y="10"/>
                  <a:pt x="1312869" y="10"/>
                  <a:pt x="1153525" y="71334"/>
                </a:cubicBezTo>
                <a:cubicBezTo>
                  <a:pt x="1130761" y="80973"/>
                  <a:pt x="1104204" y="69406"/>
                  <a:pt x="1094719" y="48202"/>
                </a:cubicBezTo>
                <a:cubicBezTo>
                  <a:pt x="1089028" y="30853"/>
                  <a:pt x="1090925" y="13503"/>
                  <a:pt x="1102307" y="10"/>
                </a:cubicBezTo>
                <a:close/>
                <a:moveTo>
                  <a:pt x="1643393" y="7"/>
                </a:moveTo>
                <a:cubicBezTo>
                  <a:pt x="1643393" y="7"/>
                  <a:pt x="1643393" y="7"/>
                  <a:pt x="1838335" y="7"/>
                </a:cubicBezTo>
                <a:cubicBezTo>
                  <a:pt x="1838335" y="7"/>
                  <a:pt x="1838335" y="7"/>
                  <a:pt x="1704551" y="55524"/>
                </a:cubicBezTo>
                <a:cubicBezTo>
                  <a:pt x="1681617" y="65095"/>
                  <a:pt x="1654860" y="53609"/>
                  <a:pt x="1645304" y="30637"/>
                </a:cubicBezTo>
                <a:cubicBezTo>
                  <a:pt x="1641482" y="21065"/>
                  <a:pt x="1641482" y="9579"/>
                  <a:pt x="1643393" y="7"/>
                </a:cubicBezTo>
                <a:close/>
                <a:moveTo>
                  <a:pt x="2197113" y="5"/>
                </a:moveTo>
                <a:cubicBezTo>
                  <a:pt x="2197113" y="5"/>
                  <a:pt x="2197113" y="5"/>
                  <a:pt x="2363803" y="5"/>
                </a:cubicBezTo>
                <a:cubicBezTo>
                  <a:pt x="2363803" y="5"/>
                  <a:pt x="2363803" y="5"/>
                  <a:pt x="2260341" y="41647"/>
                </a:cubicBezTo>
                <a:cubicBezTo>
                  <a:pt x="2235433" y="49218"/>
                  <a:pt x="2208609" y="37861"/>
                  <a:pt x="2199030" y="15147"/>
                </a:cubicBezTo>
                <a:cubicBezTo>
                  <a:pt x="2197113" y="9469"/>
                  <a:pt x="2197113" y="5683"/>
                  <a:pt x="2197113" y="5"/>
                </a:cubicBezTo>
                <a:close/>
                <a:moveTo>
                  <a:pt x="9742488" y="4"/>
                </a:moveTo>
                <a:cubicBezTo>
                  <a:pt x="9742488" y="4"/>
                  <a:pt x="9742488" y="4"/>
                  <a:pt x="9866419" y="4"/>
                </a:cubicBezTo>
                <a:cubicBezTo>
                  <a:pt x="9866419" y="4"/>
                  <a:pt x="9866419" y="4"/>
                  <a:pt x="9542293" y="201631"/>
                </a:cubicBezTo>
                <a:cubicBezTo>
                  <a:pt x="9527040" y="211142"/>
                  <a:pt x="9506067" y="207338"/>
                  <a:pt x="9496534" y="192120"/>
                </a:cubicBezTo>
                <a:cubicBezTo>
                  <a:pt x="9487001" y="176903"/>
                  <a:pt x="9492721" y="155980"/>
                  <a:pt x="9507974" y="146469"/>
                </a:cubicBezTo>
                <a:cubicBezTo>
                  <a:pt x="9507974" y="146469"/>
                  <a:pt x="9507974" y="146469"/>
                  <a:pt x="9742488" y="4"/>
                </a:cubicBezTo>
                <a:close/>
                <a:moveTo>
                  <a:pt x="10304665" y="2"/>
                </a:moveTo>
                <a:cubicBezTo>
                  <a:pt x="10304665" y="2"/>
                  <a:pt x="10304665" y="2"/>
                  <a:pt x="10436339" y="2"/>
                </a:cubicBezTo>
                <a:cubicBezTo>
                  <a:pt x="10436339" y="2"/>
                  <a:pt x="10436339" y="2"/>
                  <a:pt x="10125283" y="187296"/>
                </a:cubicBezTo>
                <a:cubicBezTo>
                  <a:pt x="10108109" y="196852"/>
                  <a:pt x="10087117" y="193029"/>
                  <a:pt x="10077576" y="175829"/>
                </a:cubicBezTo>
                <a:cubicBezTo>
                  <a:pt x="10068034" y="160540"/>
                  <a:pt x="10073759" y="139517"/>
                  <a:pt x="10089025" y="129961"/>
                </a:cubicBezTo>
                <a:cubicBezTo>
                  <a:pt x="10089025" y="129961"/>
                  <a:pt x="10089025" y="129961"/>
                  <a:pt x="10304665" y="2"/>
                </a:cubicBezTo>
                <a:close/>
                <a:moveTo>
                  <a:pt x="10857477" y="0"/>
                </a:moveTo>
                <a:cubicBezTo>
                  <a:pt x="10857477" y="0"/>
                  <a:pt x="10857477" y="0"/>
                  <a:pt x="10998322" y="0"/>
                </a:cubicBezTo>
                <a:cubicBezTo>
                  <a:pt x="10998322" y="0"/>
                  <a:pt x="10998322" y="0"/>
                  <a:pt x="10701405" y="173054"/>
                </a:cubicBezTo>
                <a:cubicBezTo>
                  <a:pt x="10684275" y="182563"/>
                  <a:pt x="10663338" y="176857"/>
                  <a:pt x="10653822" y="159742"/>
                </a:cubicBezTo>
                <a:cubicBezTo>
                  <a:pt x="10644305" y="142627"/>
                  <a:pt x="10650015" y="121708"/>
                  <a:pt x="10665241" y="112200"/>
                </a:cubicBezTo>
                <a:cubicBezTo>
                  <a:pt x="10665241" y="112200"/>
                  <a:pt x="10665241" y="112200"/>
                  <a:pt x="10857477" y="0"/>
                </a:cubicBezTo>
                <a:close/>
              </a:path>
            </a:pathLst>
          </a:custGeom>
          <a:solidFill>
            <a:srgbClr val="3E82C4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28" y="396241"/>
            <a:ext cx="988808" cy="739139"/>
          </a:xfrm>
          <a:prstGeom prst="rect">
            <a:avLst/>
          </a:prstGeom>
          <a:ln>
            <a:noFill/>
          </a:ln>
        </p:spPr>
      </p:pic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640" y="1276358"/>
            <a:ext cx="10165080" cy="3242641"/>
          </a:xfrm>
          <a:prstGeom prst="rect">
            <a:avLst/>
          </a:prstGeom>
        </p:spPr>
        <p:txBody>
          <a:bodyPr lIns="68577" tIns="34289" rIns="68577" bIns="34289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399" b="1" spc="-151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19703" y="4623891"/>
            <a:ext cx="10165080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l">
              <a:buNone/>
              <a:defRPr sz="2399" b="1" spc="0" baseline="0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sp>
        <p:nvSpPr>
          <p:cNvPr id="2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5305" y="5505444"/>
            <a:ext cx="1330103" cy="443301"/>
          </a:xfrm>
          <a:prstGeom prst="rect">
            <a:avLst/>
          </a:prstGeom>
        </p:spPr>
      </p:pic>
      <p:sp>
        <p:nvSpPr>
          <p:cNvPr id="11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6" name="Picture 2" descr="C:\Users\mherboth\Dropbox (WW Brand Design)\WW Brand Design Team Folder\Product\Think\2017_08_LEN_ThinkPad 25 Raleigh Onsite Event_Think_Product\01_Project\Reference Files\Logo\Thinkpad 25_WHTBG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426848" y="424275"/>
            <a:ext cx="1195179" cy="2740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36092821"/>
      </p:ext>
    </p:extLst>
  </p:cSld>
  <p:clrMapOvr>
    <a:masterClrMapping/>
  </p:clrMapOvr>
  <p:transition spd="med"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2" y="0"/>
            <a:ext cx="6565392" cy="6858000"/>
          </a:xfrm>
          <a:prstGeom prst="rect">
            <a:avLst/>
          </a:prstGeom>
          <a:solidFill>
            <a:srgbClr val="E11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/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25818" y="-3177"/>
            <a:ext cx="6530351" cy="6858285"/>
          </a:xfrm>
          <a:custGeom>
            <a:avLst/>
            <a:gdLst>
              <a:gd name="connsiteX0" fmla="*/ 6502939 w 6530351"/>
              <a:gd name="connsiteY0" fmla="*/ 6648860 h 6858285"/>
              <a:gd name="connsiteX1" fmla="*/ 6526293 w 6530351"/>
              <a:gd name="connsiteY1" fmla="*/ 6669131 h 6858285"/>
              <a:gd name="connsiteX2" fmla="*/ 6507229 w 6530351"/>
              <a:gd name="connsiteY2" fmla="*/ 6724457 h 6858285"/>
              <a:gd name="connsiteX3" fmla="*/ 6226983 w 6530351"/>
              <a:gd name="connsiteY3" fmla="*/ 6858002 h 6858285"/>
              <a:gd name="connsiteX4" fmla="*/ 6108783 w 6530351"/>
              <a:gd name="connsiteY4" fmla="*/ 6858002 h 6858285"/>
              <a:gd name="connsiteX5" fmla="*/ 6108783 w 6530351"/>
              <a:gd name="connsiteY5" fmla="*/ 6850371 h 6858285"/>
              <a:gd name="connsiteX6" fmla="*/ 6131661 w 6530351"/>
              <a:gd name="connsiteY6" fmla="*/ 6812215 h 6858285"/>
              <a:gd name="connsiteX7" fmla="*/ 6471007 w 6530351"/>
              <a:gd name="connsiteY7" fmla="*/ 6650053 h 6858285"/>
              <a:gd name="connsiteX8" fmla="*/ 6502939 w 6530351"/>
              <a:gd name="connsiteY8" fmla="*/ 6648860 h 6858285"/>
              <a:gd name="connsiteX9" fmla="*/ 5955459 w 6530351"/>
              <a:gd name="connsiteY9" fmla="*/ 6635423 h 6858285"/>
              <a:gd name="connsiteX10" fmla="*/ 5978591 w 6530351"/>
              <a:gd name="connsiteY10" fmla="*/ 6656349 h 6858285"/>
              <a:gd name="connsiteX11" fmla="*/ 5961421 w 6530351"/>
              <a:gd name="connsiteY11" fmla="*/ 6709616 h 6858285"/>
              <a:gd name="connsiteX12" fmla="*/ 5656161 w 6530351"/>
              <a:gd name="connsiteY12" fmla="*/ 6858002 h 6858285"/>
              <a:gd name="connsiteX13" fmla="*/ 5568399 w 6530351"/>
              <a:gd name="connsiteY13" fmla="*/ 6858002 h 6858285"/>
              <a:gd name="connsiteX14" fmla="*/ 5566491 w 6530351"/>
              <a:gd name="connsiteY14" fmla="*/ 6858002 h 6858285"/>
              <a:gd name="connsiteX15" fmla="*/ 5562675 w 6530351"/>
              <a:gd name="connsiteY15" fmla="*/ 6838978 h 6858285"/>
              <a:gd name="connsiteX16" fmla="*/ 5585569 w 6530351"/>
              <a:gd name="connsiteY16" fmla="*/ 6802833 h 6858285"/>
              <a:gd name="connsiteX17" fmla="*/ 5925171 w 6530351"/>
              <a:gd name="connsiteY17" fmla="*/ 6637326 h 6858285"/>
              <a:gd name="connsiteX18" fmla="*/ 5955459 w 6530351"/>
              <a:gd name="connsiteY18" fmla="*/ 6635423 h 6858285"/>
              <a:gd name="connsiteX19" fmla="*/ 396080 w 6530351"/>
              <a:gd name="connsiteY19" fmla="*/ 6635423 h 6858285"/>
              <a:gd name="connsiteX20" fmla="*/ 419126 w 6530351"/>
              <a:gd name="connsiteY20" fmla="*/ 6656349 h 6858285"/>
              <a:gd name="connsiteX21" fmla="*/ 400119 w 6530351"/>
              <a:gd name="connsiteY21" fmla="*/ 6709616 h 6858285"/>
              <a:gd name="connsiteX22" fmla="*/ 97899 w 6530351"/>
              <a:gd name="connsiteY22" fmla="*/ 6858002 h 6858285"/>
              <a:gd name="connsiteX23" fmla="*/ 10464 w 6530351"/>
              <a:gd name="connsiteY23" fmla="*/ 6858002 h 6858285"/>
              <a:gd name="connsiteX24" fmla="*/ 8564 w 6530351"/>
              <a:gd name="connsiteY24" fmla="*/ 6858002 h 6858285"/>
              <a:gd name="connsiteX25" fmla="*/ 4762 w 6530351"/>
              <a:gd name="connsiteY25" fmla="*/ 6838978 h 6858285"/>
              <a:gd name="connsiteX26" fmla="*/ 27571 w 6530351"/>
              <a:gd name="connsiteY26" fmla="*/ 6802833 h 6858285"/>
              <a:gd name="connsiteX27" fmla="*/ 365905 w 6530351"/>
              <a:gd name="connsiteY27" fmla="*/ 6637326 h 6858285"/>
              <a:gd name="connsiteX28" fmla="*/ 396080 w 6530351"/>
              <a:gd name="connsiteY28" fmla="*/ 6635423 h 6858285"/>
              <a:gd name="connsiteX29" fmla="*/ 5405399 w 6530351"/>
              <a:gd name="connsiteY29" fmla="*/ 6619807 h 6858285"/>
              <a:gd name="connsiteX30" fmla="*/ 5427751 w 6530351"/>
              <a:gd name="connsiteY30" fmla="*/ 6640551 h 6858285"/>
              <a:gd name="connsiteX31" fmla="*/ 5410631 w 6530351"/>
              <a:gd name="connsiteY31" fmla="*/ 6693960 h 6858285"/>
              <a:gd name="connsiteX32" fmla="*/ 5083459 w 6530351"/>
              <a:gd name="connsiteY32" fmla="*/ 6858002 h 6858285"/>
              <a:gd name="connsiteX33" fmla="*/ 5028295 w 6530351"/>
              <a:gd name="connsiteY33" fmla="*/ 6858002 h 6858285"/>
              <a:gd name="connsiteX34" fmla="*/ 5020687 w 6530351"/>
              <a:gd name="connsiteY34" fmla="*/ 6846557 h 6858285"/>
              <a:gd name="connsiteX35" fmla="*/ 5014979 w 6530351"/>
              <a:gd name="connsiteY35" fmla="*/ 6829390 h 6858285"/>
              <a:gd name="connsiteX36" fmla="*/ 5037807 w 6530351"/>
              <a:gd name="connsiteY36" fmla="*/ 6793148 h 6858285"/>
              <a:gd name="connsiteX37" fmla="*/ 5374489 w 6530351"/>
              <a:gd name="connsiteY37" fmla="*/ 6623384 h 6858285"/>
              <a:gd name="connsiteX38" fmla="*/ 5405399 w 6530351"/>
              <a:gd name="connsiteY38" fmla="*/ 6619807 h 6858285"/>
              <a:gd name="connsiteX39" fmla="*/ 939737 w 6530351"/>
              <a:gd name="connsiteY39" fmla="*/ 6619807 h 6858285"/>
              <a:gd name="connsiteX40" fmla="*/ 963603 w 6530351"/>
              <a:gd name="connsiteY40" fmla="*/ 6640551 h 6858285"/>
              <a:gd name="connsiteX41" fmla="*/ 944510 w 6530351"/>
              <a:gd name="connsiteY41" fmla="*/ 6693960 h 6858285"/>
              <a:gd name="connsiteX42" fmla="*/ 618017 w 6530351"/>
              <a:gd name="connsiteY42" fmla="*/ 6858002 h 6858285"/>
              <a:gd name="connsiteX43" fmla="*/ 562647 w 6530351"/>
              <a:gd name="connsiteY43" fmla="*/ 6858002 h 6858285"/>
              <a:gd name="connsiteX44" fmla="*/ 553101 w 6530351"/>
              <a:gd name="connsiteY44" fmla="*/ 6846557 h 6858285"/>
              <a:gd name="connsiteX45" fmla="*/ 549282 w 6530351"/>
              <a:gd name="connsiteY45" fmla="*/ 6829390 h 6858285"/>
              <a:gd name="connsiteX46" fmla="*/ 570284 w 6530351"/>
              <a:gd name="connsiteY46" fmla="*/ 6793148 h 6858285"/>
              <a:gd name="connsiteX47" fmla="*/ 910143 w 6530351"/>
              <a:gd name="connsiteY47" fmla="*/ 6623384 h 6858285"/>
              <a:gd name="connsiteX48" fmla="*/ 939737 w 6530351"/>
              <a:gd name="connsiteY48" fmla="*/ 6619807 h 6858285"/>
              <a:gd name="connsiteX49" fmla="*/ 4850617 w 6530351"/>
              <a:gd name="connsiteY49" fmla="*/ 6606629 h 6858285"/>
              <a:gd name="connsiteX50" fmla="*/ 4873699 w 6530351"/>
              <a:gd name="connsiteY50" fmla="*/ 6625941 h 6858285"/>
              <a:gd name="connsiteX51" fmla="*/ 4856565 w 6530351"/>
              <a:gd name="connsiteY51" fmla="*/ 6677438 h 6858285"/>
              <a:gd name="connsiteX52" fmla="*/ 4519631 w 6530351"/>
              <a:gd name="connsiteY52" fmla="*/ 6852909 h 6858285"/>
              <a:gd name="connsiteX53" fmla="*/ 4466331 w 6530351"/>
              <a:gd name="connsiteY53" fmla="*/ 6837650 h 6858285"/>
              <a:gd name="connsiteX54" fmla="*/ 4462523 w 6530351"/>
              <a:gd name="connsiteY54" fmla="*/ 6818577 h 6858285"/>
              <a:gd name="connsiteX55" fmla="*/ 4483463 w 6530351"/>
              <a:gd name="connsiteY55" fmla="*/ 6784246 h 6858285"/>
              <a:gd name="connsiteX56" fmla="*/ 4820397 w 6530351"/>
              <a:gd name="connsiteY56" fmla="*/ 6608775 h 6858285"/>
              <a:gd name="connsiteX57" fmla="*/ 4850617 w 6530351"/>
              <a:gd name="connsiteY57" fmla="*/ 6606629 h 6858285"/>
              <a:gd name="connsiteX58" fmla="*/ 1485707 w 6530351"/>
              <a:gd name="connsiteY58" fmla="*/ 6606629 h 6858285"/>
              <a:gd name="connsiteX59" fmla="*/ 1507836 w 6530351"/>
              <a:gd name="connsiteY59" fmla="*/ 6625941 h 6858285"/>
              <a:gd name="connsiteX60" fmla="*/ 1492608 w 6530351"/>
              <a:gd name="connsiteY60" fmla="*/ 6677438 h 6858285"/>
              <a:gd name="connsiteX61" fmla="*/ 1153769 w 6530351"/>
              <a:gd name="connsiteY61" fmla="*/ 6852909 h 6858285"/>
              <a:gd name="connsiteX62" fmla="*/ 1102372 w 6530351"/>
              <a:gd name="connsiteY62" fmla="*/ 6837650 h 6858285"/>
              <a:gd name="connsiteX63" fmla="*/ 1098565 w 6530351"/>
              <a:gd name="connsiteY63" fmla="*/ 6818577 h 6858285"/>
              <a:gd name="connsiteX64" fmla="*/ 1119504 w 6530351"/>
              <a:gd name="connsiteY64" fmla="*/ 6784246 h 6858285"/>
              <a:gd name="connsiteX65" fmla="*/ 1456440 w 6530351"/>
              <a:gd name="connsiteY65" fmla="*/ 6608775 h 6858285"/>
              <a:gd name="connsiteX66" fmla="*/ 1485707 w 6530351"/>
              <a:gd name="connsiteY66" fmla="*/ 6606629 h 6858285"/>
              <a:gd name="connsiteX67" fmla="*/ 4291151 w 6530351"/>
              <a:gd name="connsiteY67" fmla="*/ 6592968 h 6858285"/>
              <a:gd name="connsiteX68" fmla="*/ 4313295 w 6530351"/>
              <a:gd name="connsiteY68" fmla="*/ 6611304 h 6858285"/>
              <a:gd name="connsiteX69" fmla="*/ 4298055 w 6530351"/>
              <a:gd name="connsiteY69" fmla="*/ 6662739 h 6858285"/>
              <a:gd name="connsiteX70" fmla="*/ 3960865 w 6530351"/>
              <a:gd name="connsiteY70" fmla="*/ 6841809 h 6858285"/>
              <a:gd name="connsiteX71" fmla="*/ 3909431 w 6530351"/>
              <a:gd name="connsiteY71" fmla="*/ 6826569 h 6858285"/>
              <a:gd name="connsiteX72" fmla="*/ 3903715 w 6530351"/>
              <a:gd name="connsiteY72" fmla="*/ 6809424 h 6858285"/>
              <a:gd name="connsiteX73" fmla="*/ 3924671 w 6530351"/>
              <a:gd name="connsiteY73" fmla="*/ 6775134 h 6858285"/>
              <a:gd name="connsiteX74" fmla="*/ 4261861 w 6530351"/>
              <a:gd name="connsiteY74" fmla="*/ 6596064 h 6858285"/>
              <a:gd name="connsiteX75" fmla="*/ 4291151 w 6530351"/>
              <a:gd name="connsiteY75" fmla="*/ 6592968 h 6858285"/>
              <a:gd name="connsiteX76" fmla="*/ 2037028 w 6530351"/>
              <a:gd name="connsiteY76" fmla="*/ 6592968 h 6858285"/>
              <a:gd name="connsiteX77" fmla="*/ 2060603 w 6530351"/>
              <a:gd name="connsiteY77" fmla="*/ 6611304 h 6858285"/>
              <a:gd name="connsiteX78" fmla="*/ 2043458 w 6530351"/>
              <a:gd name="connsiteY78" fmla="*/ 6662739 h 6858285"/>
              <a:gd name="connsiteX79" fmla="*/ 1706268 w 6530351"/>
              <a:gd name="connsiteY79" fmla="*/ 6841809 h 6858285"/>
              <a:gd name="connsiteX80" fmla="*/ 1654832 w 6530351"/>
              <a:gd name="connsiteY80" fmla="*/ 6826569 h 6858285"/>
              <a:gd name="connsiteX81" fmla="*/ 1651022 w 6530351"/>
              <a:gd name="connsiteY81" fmla="*/ 6809424 h 6858285"/>
              <a:gd name="connsiteX82" fmla="*/ 1670072 w 6530351"/>
              <a:gd name="connsiteY82" fmla="*/ 6775134 h 6858285"/>
              <a:gd name="connsiteX83" fmla="*/ 2009167 w 6530351"/>
              <a:gd name="connsiteY83" fmla="*/ 6596064 h 6858285"/>
              <a:gd name="connsiteX84" fmla="*/ 2037028 w 6530351"/>
              <a:gd name="connsiteY84" fmla="*/ 6592968 h 6858285"/>
              <a:gd name="connsiteX85" fmla="*/ 3727793 w 6530351"/>
              <a:gd name="connsiteY85" fmla="*/ 6578028 h 6858285"/>
              <a:gd name="connsiteX86" fmla="*/ 3749717 w 6530351"/>
              <a:gd name="connsiteY86" fmla="*/ 6595371 h 6858285"/>
              <a:gd name="connsiteX87" fmla="*/ 3734465 w 6530351"/>
              <a:gd name="connsiteY87" fmla="*/ 6646685 h 6858285"/>
              <a:gd name="connsiteX88" fmla="*/ 3397020 w 6530351"/>
              <a:gd name="connsiteY88" fmla="*/ 6831037 h 6858285"/>
              <a:gd name="connsiteX89" fmla="*/ 3347451 w 6530351"/>
              <a:gd name="connsiteY89" fmla="*/ 6815832 h 6858285"/>
              <a:gd name="connsiteX90" fmla="*/ 3341732 w 6530351"/>
              <a:gd name="connsiteY90" fmla="*/ 6798728 h 6858285"/>
              <a:gd name="connsiteX91" fmla="*/ 3362703 w 6530351"/>
              <a:gd name="connsiteY91" fmla="*/ 6764518 h 6858285"/>
              <a:gd name="connsiteX92" fmla="*/ 3700149 w 6530351"/>
              <a:gd name="connsiteY92" fmla="*/ 6582067 h 6858285"/>
              <a:gd name="connsiteX93" fmla="*/ 3727793 w 6530351"/>
              <a:gd name="connsiteY93" fmla="*/ 6578028 h 6858285"/>
              <a:gd name="connsiteX94" fmla="*/ 2592715 w 6530351"/>
              <a:gd name="connsiteY94" fmla="*/ 6578028 h 6858285"/>
              <a:gd name="connsiteX95" fmla="*/ 2614640 w 6530351"/>
              <a:gd name="connsiteY95" fmla="*/ 6595371 h 6858285"/>
              <a:gd name="connsiteX96" fmla="*/ 2599388 w 6530351"/>
              <a:gd name="connsiteY96" fmla="*/ 6646685 h 6858285"/>
              <a:gd name="connsiteX97" fmla="*/ 2261942 w 6530351"/>
              <a:gd name="connsiteY97" fmla="*/ 6831037 h 6858285"/>
              <a:gd name="connsiteX98" fmla="*/ 2212373 w 6530351"/>
              <a:gd name="connsiteY98" fmla="*/ 6815832 h 6858285"/>
              <a:gd name="connsiteX99" fmla="*/ 2206654 w 6530351"/>
              <a:gd name="connsiteY99" fmla="*/ 6798728 h 6858285"/>
              <a:gd name="connsiteX100" fmla="*/ 2225719 w 6530351"/>
              <a:gd name="connsiteY100" fmla="*/ 6764518 h 6858285"/>
              <a:gd name="connsiteX101" fmla="*/ 2565071 w 6530351"/>
              <a:gd name="connsiteY101" fmla="*/ 6582067 h 6858285"/>
              <a:gd name="connsiteX102" fmla="*/ 2592715 w 6530351"/>
              <a:gd name="connsiteY102" fmla="*/ 6578028 h 6858285"/>
              <a:gd name="connsiteX103" fmla="*/ 3153207 w 6530351"/>
              <a:gd name="connsiteY103" fmla="*/ 6564133 h 6858285"/>
              <a:gd name="connsiteX104" fmla="*/ 3175065 w 6530351"/>
              <a:gd name="connsiteY104" fmla="*/ 6580744 h 6858285"/>
              <a:gd name="connsiteX105" fmla="*/ 3161760 w 6530351"/>
              <a:gd name="connsiteY105" fmla="*/ 6630101 h 6858285"/>
              <a:gd name="connsiteX106" fmla="*/ 2825344 w 6530351"/>
              <a:gd name="connsiteY106" fmla="*/ 6819936 h 6858285"/>
              <a:gd name="connsiteX107" fmla="*/ 2775927 w 6530351"/>
              <a:gd name="connsiteY107" fmla="*/ 6804749 h 6858285"/>
              <a:gd name="connsiteX108" fmla="*/ 2770225 w 6530351"/>
              <a:gd name="connsiteY108" fmla="*/ 6787664 h 6858285"/>
              <a:gd name="connsiteX109" fmla="*/ 2789232 w 6530351"/>
              <a:gd name="connsiteY109" fmla="*/ 6757290 h 6858285"/>
              <a:gd name="connsiteX110" fmla="*/ 3125648 w 6530351"/>
              <a:gd name="connsiteY110" fmla="*/ 6567455 h 6858285"/>
              <a:gd name="connsiteX111" fmla="*/ 3153207 w 6530351"/>
              <a:gd name="connsiteY111" fmla="*/ 6564133 h 6858285"/>
              <a:gd name="connsiteX112" fmla="*/ 6502939 w 6530351"/>
              <a:gd name="connsiteY112" fmla="*/ 6327421 h 6858285"/>
              <a:gd name="connsiteX113" fmla="*/ 6526293 w 6530351"/>
              <a:gd name="connsiteY113" fmla="*/ 6348272 h 6858285"/>
              <a:gd name="connsiteX114" fmla="*/ 6507229 w 6530351"/>
              <a:gd name="connsiteY114" fmla="*/ 6401346 h 6858285"/>
              <a:gd name="connsiteX115" fmla="*/ 6167883 w 6530351"/>
              <a:gd name="connsiteY115" fmla="*/ 6564361 h 6858285"/>
              <a:gd name="connsiteX116" fmla="*/ 6112595 w 6530351"/>
              <a:gd name="connsiteY116" fmla="*/ 6545406 h 6858285"/>
              <a:gd name="connsiteX117" fmla="*/ 6108783 w 6530351"/>
              <a:gd name="connsiteY117" fmla="*/ 6528346 h 6858285"/>
              <a:gd name="connsiteX118" fmla="*/ 6131661 w 6530351"/>
              <a:gd name="connsiteY118" fmla="*/ 6490436 h 6858285"/>
              <a:gd name="connsiteX119" fmla="*/ 6471007 w 6530351"/>
              <a:gd name="connsiteY119" fmla="*/ 6329316 h 6858285"/>
              <a:gd name="connsiteX120" fmla="*/ 6502939 w 6530351"/>
              <a:gd name="connsiteY120" fmla="*/ 6327421 h 6858285"/>
              <a:gd name="connsiteX121" fmla="*/ 5955879 w 6530351"/>
              <a:gd name="connsiteY121" fmla="*/ 6313171 h 6858285"/>
              <a:gd name="connsiteX122" fmla="*/ 5978279 w 6530351"/>
              <a:gd name="connsiteY122" fmla="*/ 6334126 h 6858285"/>
              <a:gd name="connsiteX123" fmla="*/ 5961121 w 6530351"/>
              <a:gd name="connsiteY123" fmla="*/ 6387466 h 6858285"/>
              <a:gd name="connsiteX124" fmla="*/ 5621775 w 6530351"/>
              <a:gd name="connsiteY124" fmla="*/ 6553201 h 6858285"/>
              <a:gd name="connsiteX125" fmla="*/ 5566487 w 6530351"/>
              <a:gd name="connsiteY125" fmla="*/ 6534151 h 6858285"/>
              <a:gd name="connsiteX126" fmla="*/ 5562675 w 6530351"/>
              <a:gd name="connsiteY126" fmla="*/ 6517006 h 6858285"/>
              <a:gd name="connsiteX127" fmla="*/ 5585553 w 6530351"/>
              <a:gd name="connsiteY127" fmla="*/ 6478906 h 6858285"/>
              <a:gd name="connsiteX128" fmla="*/ 5924899 w 6530351"/>
              <a:gd name="connsiteY128" fmla="*/ 6315076 h 6858285"/>
              <a:gd name="connsiteX129" fmla="*/ 5955879 w 6530351"/>
              <a:gd name="connsiteY129" fmla="*/ 6313171 h 6858285"/>
              <a:gd name="connsiteX130" fmla="*/ 396080 w 6530351"/>
              <a:gd name="connsiteY130" fmla="*/ 6313171 h 6858285"/>
              <a:gd name="connsiteX131" fmla="*/ 419126 w 6530351"/>
              <a:gd name="connsiteY131" fmla="*/ 6334126 h 6858285"/>
              <a:gd name="connsiteX132" fmla="*/ 400119 w 6530351"/>
              <a:gd name="connsiteY132" fmla="*/ 6387466 h 6858285"/>
              <a:gd name="connsiteX133" fmla="*/ 63685 w 6530351"/>
              <a:gd name="connsiteY133" fmla="*/ 6553201 h 6858285"/>
              <a:gd name="connsiteX134" fmla="*/ 8564 w 6530351"/>
              <a:gd name="connsiteY134" fmla="*/ 6534151 h 6858285"/>
              <a:gd name="connsiteX135" fmla="*/ 4762 w 6530351"/>
              <a:gd name="connsiteY135" fmla="*/ 6517006 h 6858285"/>
              <a:gd name="connsiteX136" fmla="*/ 27571 w 6530351"/>
              <a:gd name="connsiteY136" fmla="*/ 6478906 h 6858285"/>
              <a:gd name="connsiteX137" fmla="*/ 365905 w 6530351"/>
              <a:gd name="connsiteY137" fmla="*/ 6315076 h 6858285"/>
              <a:gd name="connsiteX138" fmla="*/ 396080 w 6530351"/>
              <a:gd name="connsiteY138" fmla="*/ 6313171 h 6858285"/>
              <a:gd name="connsiteX139" fmla="*/ 5405347 w 6530351"/>
              <a:gd name="connsiteY139" fmla="*/ 6300224 h 6858285"/>
              <a:gd name="connsiteX140" fmla="*/ 5429345 w 6530351"/>
              <a:gd name="connsiteY140" fmla="*/ 6319488 h 6858285"/>
              <a:gd name="connsiteX141" fmla="*/ 5410337 w 6530351"/>
              <a:gd name="connsiteY141" fmla="*/ 6372763 h 6858285"/>
              <a:gd name="connsiteX142" fmla="*/ 5072003 w 6530351"/>
              <a:gd name="connsiteY142" fmla="*/ 6540198 h 6858285"/>
              <a:gd name="connsiteX143" fmla="*/ 5018781 w 6530351"/>
              <a:gd name="connsiteY143" fmla="*/ 6523074 h 6858285"/>
              <a:gd name="connsiteX144" fmla="*/ 5014979 w 6530351"/>
              <a:gd name="connsiteY144" fmla="*/ 6505950 h 6858285"/>
              <a:gd name="connsiteX145" fmla="*/ 5037789 w 6530351"/>
              <a:gd name="connsiteY145" fmla="*/ 6469799 h 6858285"/>
              <a:gd name="connsiteX146" fmla="*/ 5374223 w 6530351"/>
              <a:gd name="connsiteY146" fmla="*/ 6302364 h 6858285"/>
              <a:gd name="connsiteX147" fmla="*/ 5405347 w 6530351"/>
              <a:gd name="connsiteY147" fmla="*/ 6300224 h 6858285"/>
              <a:gd name="connsiteX148" fmla="*/ 940479 w 6530351"/>
              <a:gd name="connsiteY148" fmla="*/ 6300224 h 6858285"/>
              <a:gd name="connsiteX149" fmla="*/ 963612 w 6530351"/>
              <a:gd name="connsiteY149" fmla="*/ 6319488 h 6858285"/>
              <a:gd name="connsiteX150" fmla="*/ 944533 w 6530351"/>
              <a:gd name="connsiteY150" fmla="*/ 6372763 h 6858285"/>
              <a:gd name="connsiteX151" fmla="*/ 606839 w 6530351"/>
              <a:gd name="connsiteY151" fmla="*/ 6540198 h 6858285"/>
              <a:gd name="connsiteX152" fmla="*/ 551511 w 6530351"/>
              <a:gd name="connsiteY152" fmla="*/ 6523074 h 6858285"/>
              <a:gd name="connsiteX153" fmla="*/ 547695 w 6530351"/>
              <a:gd name="connsiteY153" fmla="*/ 6505950 h 6858285"/>
              <a:gd name="connsiteX154" fmla="*/ 570589 w 6530351"/>
              <a:gd name="connsiteY154" fmla="*/ 6469799 h 6858285"/>
              <a:gd name="connsiteX155" fmla="*/ 910191 w 6530351"/>
              <a:gd name="connsiteY155" fmla="*/ 6302364 h 6858285"/>
              <a:gd name="connsiteX156" fmla="*/ 940479 w 6530351"/>
              <a:gd name="connsiteY156" fmla="*/ 6300224 h 6858285"/>
              <a:gd name="connsiteX157" fmla="*/ 4851417 w 6530351"/>
              <a:gd name="connsiteY157" fmla="*/ 6285982 h 6858285"/>
              <a:gd name="connsiteX158" fmla="*/ 4875265 w 6530351"/>
              <a:gd name="connsiteY158" fmla="*/ 6305364 h 6858285"/>
              <a:gd name="connsiteX159" fmla="*/ 4856185 w 6530351"/>
              <a:gd name="connsiteY159" fmla="*/ 6358966 h 6858285"/>
              <a:gd name="connsiteX160" fmla="*/ 4518493 w 6530351"/>
              <a:gd name="connsiteY160" fmla="*/ 6529342 h 6858285"/>
              <a:gd name="connsiteX161" fmla="*/ 4465071 w 6530351"/>
              <a:gd name="connsiteY161" fmla="*/ 6512113 h 6858285"/>
              <a:gd name="connsiteX162" fmla="*/ 4459347 w 6530351"/>
              <a:gd name="connsiteY162" fmla="*/ 6494884 h 6858285"/>
              <a:gd name="connsiteX163" fmla="*/ 4482243 w 6530351"/>
              <a:gd name="connsiteY163" fmla="*/ 6458512 h 6858285"/>
              <a:gd name="connsiteX164" fmla="*/ 4821845 w 6530351"/>
              <a:gd name="connsiteY164" fmla="*/ 6288135 h 6858285"/>
              <a:gd name="connsiteX165" fmla="*/ 4851417 w 6530351"/>
              <a:gd name="connsiteY165" fmla="*/ 6285982 h 6858285"/>
              <a:gd name="connsiteX166" fmla="*/ 1486683 w 6530351"/>
              <a:gd name="connsiteY166" fmla="*/ 6285982 h 6858285"/>
              <a:gd name="connsiteX167" fmla="*/ 1509747 w 6530351"/>
              <a:gd name="connsiteY167" fmla="*/ 6305364 h 6858285"/>
              <a:gd name="connsiteX168" fmla="*/ 1492628 w 6530351"/>
              <a:gd name="connsiteY168" fmla="*/ 6358966 h 6858285"/>
              <a:gd name="connsiteX169" fmla="*/ 1154042 w 6530351"/>
              <a:gd name="connsiteY169" fmla="*/ 6529342 h 6858285"/>
              <a:gd name="connsiteX170" fmla="*/ 1100781 w 6530351"/>
              <a:gd name="connsiteY170" fmla="*/ 6512113 h 6858285"/>
              <a:gd name="connsiteX171" fmla="*/ 1096977 w 6530351"/>
              <a:gd name="connsiteY171" fmla="*/ 6494884 h 6858285"/>
              <a:gd name="connsiteX172" fmla="*/ 1117901 w 6530351"/>
              <a:gd name="connsiteY172" fmla="*/ 6458512 h 6858285"/>
              <a:gd name="connsiteX173" fmla="*/ 1456487 w 6530351"/>
              <a:gd name="connsiteY173" fmla="*/ 6288135 h 6858285"/>
              <a:gd name="connsiteX174" fmla="*/ 1486683 w 6530351"/>
              <a:gd name="connsiteY174" fmla="*/ 6285982 h 6858285"/>
              <a:gd name="connsiteX175" fmla="*/ 4292547 w 6530351"/>
              <a:gd name="connsiteY175" fmla="*/ 6273228 h 6858285"/>
              <a:gd name="connsiteX176" fmla="*/ 4314899 w 6530351"/>
              <a:gd name="connsiteY176" fmla="*/ 6292469 h 6858285"/>
              <a:gd name="connsiteX177" fmla="*/ 4297779 w 6530351"/>
              <a:gd name="connsiteY177" fmla="*/ 6345679 h 6858285"/>
              <a:gd name="connsiteX178" fmla="*/ 3961095 w 6530351"/>
              <a:gd name="connsiteY178" fmla="*/ 6516712 h 6858285"/>
              <a:gd name="connsiteX179" fmla="*/ 3907835 w 6530351"/>
              <a:gd name="connsiteY179" fmla="*/ 6499609 h 6858285"/>
              <a:gd name="connsiteX180" fmla="*/ 3902127 w 6530351"/>
              <a:gd name="connsiteY180" fmla="*/ 6482505 h 6858285"/>
              <a:gd name="connsiteX181" fmla="*/ 3924955 w 6530351"/>
              <a:gd name="connsiteY181" fmla="*/ 6446398 h 6858285"/>
              <a:gd name="connsiteX182" fmla="*/ 4261637 w 6530351"/>
              <a:gd name="connsiteY182" fmla="*/ 6275366 h 6858285"/>
              <a:gd name="connsiteX183" fmla="*/ 4292547 w 6530351"/>
              <a:gd name="connsiteY183" fmla="*/ 6273228 h 6858285"/>
              <a:gd name="connsiteX184" fmla="*/ 2038428 w 6530351"/>
              <a:gd name="connsiteY184" fmla="*/ 6273228 h 6858285"/>
              <a:gd name="connsiteX185" fmla="*/ 2062205 w 6530351"/>
              <a:gd name="connsiteY185" fmla="*/ 6292469 h 6858285"/>
              <a:gd name="connsiteX186" fmla="*/ 2045086 w 6530351"/>
              <a:gd name="connsiteY186" fmla="*/ 6345679 h 6858285"/>
              <a:gd name="connsiteX187" fmla="*/ 1706500 w 6530351"/>
              <a:gd name="connsiteY187" fmla="*/ 6516712 h 6858285"/>
              <a:gd name="connsiteX188" fmla="*/ 1653239 w 6530351"/>
              <a:gd name="connsiteY188" fmla="*/ 6499609 h 6858285"/>
              <a:gd name="connsiteX189" fmla="*/ 1649435 w 6530351"/>
              <a:gd name="connsiteY189" fmla="*/ 6482505 h 6858285"/>
              <a:gd name="connsiteX190" fmla="*/ 1670359 w 6530351"/>
              <a:gd name="connsiteY190" fmla="*/ 6446398 h 6858285"/>
              <a:gd name="connsiteX191" fmla="*/ 2008945 w 6530351"/>
              <a:gd name="connsiteY191" fmla="*/ 6275366 h 6858285"/>
              <a:gd name="connsiteX192" fmla="*/ 2038428 w 6530351"/>
              <a:gd name="connsiteY192" fmla="*/ 6273228 h 6858285"/>
              <a:gd name="connsiteX193" fmla="*/ 3729191 w 6530351"/>
              <a:gd name="connsiteY193" fmla="*/ 6260519 h 6858285"/>
              <a:gd name="connsiteX194" fmla="*/ 3751321 w 6530351"/>
              <a:gd name="connsiteY194" fmla="*/ 6279737 h 6858285"/>
              <a:gd name="connsiteX195" fmla="*/ 3736091 w 6530351"/>
              <a:gd name="connsiteY195" fmla="*/ 6330986 h 6858285"/>
              <a:gd name="connsiteX196" fmla="*/ 3397253 w 6530351"/>
              <a:gd name="connsiteY196" fmla="*/ 6505611 h 6858285"/>
              <a:gd name="connsiteX197" fmla="*/ 3345856 w 6530351"/>
              <a:gd name="connsiteY197" fmla="*/ 6488528 h 6858285"/>
              <a:gd name="connsiteX198" fmla="*/ 3340145 w 6530351"/>
              <a:gd name="connsiteY198" fmla="*/ 6469547 h 6858285"/>
              <a:gd name="connsiteX199" fmla="*/ 3361084 w 6530351"/>
              <a:gd name="connsiteY199" fmla="*/ 6435381 h 6858285"/>
              <a:gd name="connsiteX200" fmla="*/ 3699923 w 6530351"/>
              <a:gd name="connsiteY200" fmla="*/ 6262654 h 6858285"/>
              <a:gd name="connsiteX201" fmla="*/ 3729191 w 6530351"/>
              <a:gd name="connsiteY201" fmla="*/ 6260519 h 6858285"/>
              <a:gd name="connsiteX202" fmla="*/ 2595581 w 6530351"/>
              <a:gd name="connsiteY202" fmla="*/ 6260519 h 6858285"/>
              <a:gd name="connsiteX203" fmla="*/ 2617794 w 6530351"/>
              <a:gd name="connsiteY203" fmla="*/ 6279737 h 6858285"/>
              <a:gd name="connsiteX204" fmla="*/ 2600597 w 6530351"/>
              <a:gd name="connsiteY204" fmla="*/ 6330986 h 6858285"/>
              <a:gd name="connsiteX205" fmla="*/ 2262390 w 6530351"/>
              <a:gd name="connsiteY205" fmla="*/ 6505611 h 6858285"/>
              <a:gd name="connsiteX206" fmla="*/ 2210799 w 6530351"/>
              <a:gd name="connsiteY206" fmla="*/ 6488528 h 6858285"/>
              <a:gd name="connsiteX207" fmla="*/ 2205067 w 6530351"/>
              <a:gd name="connsiteY207" fmla="*/ 6469547 h 6858285"/>
              <a:gd name="connsiteX208" fmla="*/ 2226086 w 6530351"/>
              <a:gd name="connsiteY208" fmla="*/ 6435381 h 6858285"/>
              <a:gd name="connsiteX209" fmla="*/ 2566203 w 6530351"/>
              <a:gd name="connsiteY209" fmla="*/ 6262654 h 6858285"/>
              <a:gd name="connsiteX210" fmla="*/ 2595581 w 6530351"/>
              <a:gd name="connsiteY210" fmla="*/ 6260519 h 6858285"/>
              <a:gd name="connsiteX211" fmla="*/ 3155654 w 6530351"/>
              <a:gd name="connsiteY211" fmla="*/ 6245321 h 6858285"/>
              <a:gd name="connsiteX212" fmla="*/ 3177866 w 6530351"/>
              <a:gd name="connsiteY212" fmla="*/ 6263701 h 6858285"/>
              <a:gd name="connsiteX213" fmla="*/ 3162580 w 6530351"/>
              <a:gd name="connsiteY213" fmla="*/ 6317169 h 6858285"/>
              <a:gd name="connsiteX214" fmla="*/ 2822462 w 6530351"/>
              <a:gd name="connsiteY214" fmla="*/ 6492853 h 6858285"/>
              <a:gd name="connsiteX215" fmla="*/ 2770872 w 6530351"/>
              <a:gd name="connsiteY215" fmla="*/ 6477576 h 6858285"/>
              <a:gd name="connsiteX216" fmla="*/ 2767050 w 6530351"/>
              <a:gd name="connsiteY216" fmla="*/ 6458480 h 6858285"/>
              <a:gd name="connsiteX217" fmla="*/ 2788069 w 6530351"/>
              <a:gd name="connsiteY217" fmla="*/ 6426017 h 6858285"/>
              <a:gd name="connsiteX218" fmla="*/ 3126275 w 6530351"/>
              <a:gd name="connsiteY218" fmla="*/ 6248424 h 6858285"/>
              <a:gd name="connsiteX219" fmla="*/ 3155654 w 6530351"/>
              <a:gd name="connsiteY219" fmla="*/ 6245321 h 6858285"/>
              <a:gd name="connsiteX220" fmla="*/ 6502939 w 6530351"/>
              <a:gd name="connsiteY220" fmla="*/ 6003608 h 6858285"/>
              <a:gd name="connsiteX221" fmla="*/ 6526293 w 6530351"/>
              <a:gd name="connsiteY221" fmla="*/ 6024563 h 6858285"/>
              <a:gd name="connsiteX222" fmla="*/ 6507229 w 6530351"/>
              <a:gd name="connsiteY222" fmla="*/ 6079808 h 6858285"/>
              <a:gd name="connsiteX223" fmla="*/ 6167883 w 6530351"/>
              <a:gd name="connsiteY223" fmla="*/ 6243638 h 6858285"/>
              <a:gd name="connsiteX224" fmla="*/ 6112595 w 6530351"/>
              <a:gd name="connsiteY224" fmla="*/ 6224588 h 6858285"/>
              <a:gd name="connsiteX225" fmla="*/ 6108783 w 6530351"/>
              <a:gd name="connsiteY225" fmla="*/ 6207443 h 6858285"/>
              <a:gd name="connsiteX226" fmla="*/ 6131661 w 6530351"/>
              <a:gd name="connsiteY226" fmla="*/ 6169343 h 6858285"/>
              <a:gd name="connsiteX227" fmla="*/ 6471007 w 6530351"/>
              <a:gd name="connsiteY227" fmla="*/ 6005513 h 6858285"/>
              <a:gd name="connsiteX228" fmla="*/ 6502939 w 6530351"/>
              <a:gd name="connsiteY228" fmla="*/ 6003608 h 6858285"/>
              <a:gd name="connsiteX229" fmla="*/ 5940775 w 6530351"/>
              <a:gd name="connsiteY229" fmla="*/ 5988309 h 6858285"/>
              <a:gd name="connsiteX230" fmla="*/ 5980185 w 6530351"/>
              <a:gd name="connsiteY230" fmla="*/ 6010276 h 6858285"/>
              <a:gd name="connsiteX231" fmla="*/ 5961121 w 6530351"/>
              <a:gd name="connsiteY231" fmla="*/ 6065521 h 6858285"/>
              <a:gd name="connsiteX232" fmla="*/ 5621775 w 6530351"/>
              <a:gd name="connsiteY232" fmla="*/ 6229351 h 6858285"/>
              <a:gd name="connsiteX233" fmla="*/ 5566487 w 6530351"/>
              <a:gd name="connsiteY233" fmla="*/ 6210301 h 6858285"/>
              <a:gd name="connsiteX234" fmla="*/ 5562675 w 6530351"/>
              <a:gd name="connsiteY234" fmla="*/ 6193156 h 6858285"/>
              <a:gd name="connsiteX235" fmla="*/ 5585553 w 6530351"/>
              <a:gd name="connsiteY235" fmla="*/ 6156961 h 6858285"/>
              <a:gd name="connsiteX236" fmla="*/ 5924899 w 6530351"/>
              <a:gd name="connsiteY236" fmla="*/ 5993131 h 6858285"/>
              <a:gd name="connsiteX237" fmla="*/ 5940775 w 6530351"/>
              <a:gd name="connsiteY237" fmla="*/ 5988309 h 6858285"/>
              <a:gd name="connsiteX238" fmla="*/ 380903 w 6530351"/>
              <a:gd name="connsiteY238" fmla="*/ 5988309 h 6858285"/>
              <a:gd name="connsiteX239" fmla="*/ 419126 w 6530351"/>
              <a:gd name="connsiteY239" fmla="*/ 6010276 h 6858285"/>
              <a:gd name="connsiteX240" fmla="*/ 400119 w 6530351"/>
              <a:gd name="connsiteY240" fmla="*/ 6065521 h 6858285"/>
              <a:gd name="connsiteX241" fmla="*/ 63685 w 6530351"/>
              <a:gd name="connsiteY241" fmla="*/ 6229351 h 6858285"/>
              <a:gd name="connsiteX242" fmla="*/ 8564 w 6530351"/>
              <a:gd name="connsiteY242" fmla="*/ 6210301 h 6858285"/>
              <a:gd name="connsiteX243" fmla="*/ 4762 w 6530351"/>
              <a:gd name="connsiteY243" fmla="*/ 6193156 h 6858285"/>
              <a:gd name="connsiteX244" fmla="*/ 27571 w 6530351"/>
              <a:gd name="connsiteY244" fmla="*/ 6156961 h 6858285"/>
              <a:gd name="connsiteX245" fmla="*/ 365905 w 6530351"/>
              <a:gd name="connsiteY245" fmla="*/ 5993131 h 6858285"/>
              <a:gd name="connsiteX246" fmla="*/ 380903 w 6530351"/>
              <a:gd name="connsiteY246" fmla="*/ 5988309 h 6858285"/>
              <a:gd name="connsiteX247" fmla="*/ 5406299 w 6530351"/>
              <a:gd name="connsiteY247" fmla="*/ 5978208 h 6858285"/>
              <a:gd name="connsiteX248" fmla="*/ 5429345 w 6530351"/>
              <a:gd name="connsiteY248" fmla="*/ 5999163 h 6858285"/>
              <a:gd name="connsiteX249" fmla="*/ 5410337 w 6530351"/>
              <a:gd name="connsiteY249" fmla="*/ 6052503 h 6858285"/>
              <a:gd name="connsiteX250" fmla="*/ 5072003 w 6530351"/>
              <a:gd name="connsiteY250" fmla="*/ 6218238 h 6858285"/>
              <a:gd name="connsiteX251" fmla="*/ 5018781 w 6530351"/>
              <a:gd name="connsiteY251" fmla="*/ 6199188 h 6858285"/>
              <a:gd name="connsiteX252" fmla="*/ 5014979 w 6530351"/>
              <a:gd name="connsiteY252" fmla="*/ 6180138 h 6858285"/>
              <a:gd name="connsiteX253" fmla="*/ 5037789 w 6530351"/>
              <a:gd name="connsiteY253" fmla="*/ 6143943 h 6858285"/>
              <a:gd name="connsiteX254" fmla="*/ 5376123 w 6530351"/>
              <a:gd name="connsiteY254" fmla="*/ 5980113 h 6858285"/>
              <a:gd name="connsiteX255" fmla="*/ 5406299 w 6530351"/>
              <a:gd name="connsiteY255" fmla="*/ 5978208 h 6858285"/>
              <a:gd name="connsiteX256" fmla="*/ 940184 w 6530351"/>
              <a:gd name="connsiteY256" fmla="*/ 5978208 h 6858285"/>
              <a:gd name="connsiteX257" fmla="*/ 963299 w 6530351"/>
              <a:gd name="connsiteY257" fmla="*/ 5999163 h 6858285"/>
              <a:gd name="connsiteX258" fmla="*/ 944235 w 6530351"/>
              <a:gd name="connsiteY258" fmla="*/ 6052503 h 6858285"/>
              <a:gd name="connsiteX259" fmla="*/ 606795 w 6530351"/>
              <a:gd name="connsiteY259" fmla="*/ 6218238 h 6858285"/>
              <a:gd name="connsiteX260" fmla="*/ 551508 w 6530351"/>
              <a:gd name="connsiteY260" fmla="*/ 6199188 h 6858285"/>
              <a:gd name="connsiteX261" fmla="*/ 547695 w 6530351"/>
              <a:gd name="connsiteY261" fmla="*/ 6180138 h 6858285"/>
              <a:gd name="connsiteX262" fmla="*/ 570572 w 6530351"/>
              <a:gd name="connsiteY262" fmla="*/ 6143943 h 6858285"/>
              <a:gd name="connsiteX263" fmla="*/ 909919 w 6530351"/>
              <a:gd name="connsiteY263" fmla="*/ 5980113 h 6858285"/>
              <a:gd name="connsiteX264" fmla="*/ 940184 w 6530351"/>
              <a:gd name="connsiteY264" fmla="*/ 5978208 h 6858285"/>
              <a:gd name="connsiteX265" fmla="*/ 4852131 w 6530351"/>
              <a:gd name="connsiteY265" fmla="*/ 5966222 h 6858285"/>
              <a:gd name="connsiteX266" fmla="*/ 4875265 w 6530351"/>
              <a:gd name="connsiteY266" fmla="*/ 5986463 h 6858285"/>
              <a:gd name="connsiteX267" fmla="*/ 4856185 w 6530351"/>
              <a:gd name="connsiteY267" fmla="*/ 6041708 h 6858285"/>
              <a:gd name="connsiteX268" fmla="*/ 4516585 w 6530351"/>
              <a:gd name="connsiteY268" fmla="*/ 6205538 h 6858285"/>
              <a:gd name="connsiteX269" fmla="*/ 4463163 w 6530351"/>
              <a:gd name="connsiteY269" fmla="*/ 6186488 h 6858285"/>
              <a:gd name="connsiteX270" fmla="*/ 4459347 w 6530351"/>
              <a:gd name="connsiteY270" fmla="*/ 6169343 h 6858285"/>
              <a:gd name="connsiteX271" fmla="*/ 4482243 w 6530351"/>
              <a:gd name="connsiteY271" fmla="*/ 6131243 h 6858285"/>
              <a:gd name="connsiteX272" fmla="*/ 4821845 w 6530351"/>
              <a:gd name="connsiteY272" fmla="*/ 5967413 h 6858285"/>
              <a:gd name="connsiteX273" fmla="*/ 4852131 w 6530351"/>
              <a:gd name="connsiteY273" fmla="*/ 5966222 h 6858285"/>
              <a:gd name="connsiteX274" fmla="*/ 1487959 w 6530351"/>
              <a:gd name="connsiteY274" fmla="*/ 5966222 h 6858285"/>
              <a:gd name="connsiteX275" fmla="*/ 1511313 w 6530351"/>
              <a:gd name="connsiteY275" fmla="*/ 5986463 h 6858285"/>
              <a:gd name="connsiteX276" fmla="*/ 1492248 w 6530351"/>
              <a:gd name="connsiteY276" fmla="*/ 6041708 h 6858285"/>
              <a:gd name="connsiteX277" fmla="*/ 1152902 w 6530351"/>
              <a:gd name="connsiteY277" fmla="*/ 6205538 h 6858285"/>
              <a:gd name="connsiteX278" fmla="*/ 1097615 w 6530351"/>
              <a:gd name="connsiteY278" fmla="*/ 6186488 h 6858285"/>
              <a:gd name="connsiteX279" fmla="*/ 1093802 w 6530351"/>
              <a:gd name="connsiteY279" fmla="*/ 6169343 h 6858285"/>
              <a:gd name="connsiteX280" fmla="*/ 1116679 w 6530351"/>
              <a:gd name="connsiteY280" fmla="*/ 6131243 h 6858285"/>
              <a:gd name="connsiteX281" fmla="*/ 1456026 w 6530351"/>
              <a:gd name="connsiteY281" fmla="*/ 5967413 h 6858285"/>
              <a:gd name="connsiteX282" fmla="*/ 1487959 w 6530351"/>
              <a:gd name="connsiteY282" fmla="*/ 5966222 h 6858285"/>
              <a:gd name="connsiteX283" fmla="*/ 4293447 w 6530351"/>
              <a:gd name="connsiteY283" fmla="*/ 5952817 h 6858285"/>
              <a:gd name="connsiteX284" fmla="*/ 4316493 w 6530351"/>
              <a:gd name="connsiteY284" fmla="*/ 5973798 h 6858285"/>
              <a:gd name="connsiteX285" fmla="*/ 4297485 w 6530351"/>
              <a:gd name="connsiteY285" fmla="*/ 6027205 h 6858285"/>
              <a:gd name="connsiteX286" fmla="*/ 3959151 w 6530351"/>
              <a:gd name="connsiteY286" fmla="*/ 6191239 h 6858285"/>
              <a:gd name="connsiteX287" fmla="*/ 3905929 w 6530351"/>
              <a:gd name="connsiteY287" fmla="*/ 6172165 h 6858285"/>
              <a:gd name="connsiteX288" fmla="*/ 3902127 w 6530351"/>
              <a:gd name="connsiteY288" fmla="*/ 6154999 h 6858285"/>
              <a:gd name="connsiteX289" fmla="*/ 3924937 w 6530351"/>
              <a:gd name="connsiteY289" fmla="*/ 6118759 h 6858285"/>
              <a:gd name="connsiteX290" fmla="*/ 4263271 w 6530351"/>
              <a:gd name="connsiteY290" fmla="*/ 5954725 h 6858285"/>
              <a:gd name="connsiteX291" fmla="*/ 4293447 w 6530351"/>
              <a:gd name="connsiteY291" fmla="*/ 5952817 h 6858285"/>
              <a:gd name="connsiteX292" fmla="*/ 2039827 w 6530351"/>
              <a:gd name="connsiteY292" fmla="*/ 5952817 h 6858285"/>
              <a:gd name="connsiteX293" fmla="*/ 2063806 w 6530351"/>
              <a:gd name="connsiteY293" fmla="*/ 5973798 h 6858285"/>
              <a:gd name="connsiteX294" fmla="*/ 2044813 w 6530351"/>
              <a:gd name="connsiteY294" fmla="*/ 6027205 h 6858285"/>
              <a:gd name="connsiteX295" fmla="*/ 1706727 w 6530351"/>
              <a:gd name="connsiteY295" fmla="*/ 6191239 h 6858285"/>
              <a:gd name="connsiteX296" fmla="*/ 1651646 w 6530351"/>
              <a:gd name="connsiteY296" fmla="*/ 6172165 h 6858285"/>
              <a:gd name="connsiteX297" fmla="*/ 1647847 w 6530351"/>
              <a:gd name="connsiteY297" fmla="*/ 6154999 h 6858285"/>
              <a:gd name="connsiteX298" fmla="*/ 1670639 w 6530351"/>
              <a:gd name="connsiteY298" fmla="*/ 6118759 h 6858285"/>
              <a:gd name="connsiteX299" fmla="*/ 2008725 w 6530351"/>
              <a:gd name="connsiteY299" fmla="*/ 5954725 h 6858285"/>
              <a:gd name="connsiteX300" fmla="*/ 2039827 w 6530351"/>
              <a:gd name="connsiteY300" fmla="*/ 5952817 h 6858285"/>
              <a:gd name="connsiteX301" fmla="*/ 3730413 w 6530351"/>
              <a:gd name="connsiteY301" fmla="*/ 5940108 h 6858285"/>
              <a:gd name="connsiteX302" fmla="*/ 3754481 w 6530351"/>
              <a:gd name="connsiteY302" fmla="*/ 5961063 h 6858285"/>
              <a:gd name="connsiteX303" fmla="*/ 3735417 w 6530351"/>
              <a:gd name="connsiteY303" fmla="*/ 6016308 h 6858285"/>
              <a:gd name="connsiteX304" fmla="*/ 3396070 w 6530351"/>
              <a:gd name="connsiteY304" fmla="*/ 6180138 h 6858285"/>
              <a:gd name="connsiteX305" fmla="*/ 3340783 w 6530351"/>
              <a:gd name="connsiteY305" fmla="*/ 6161088 h 6858285"/>
              <a:gd name="connsiteX306" fmla="*/ 3336970 w 6530351"/>
              <a:gd name="connsiteY306" fmla="*/ 6142038 h 6858285"/>
              <a:gd name="connsiteX307" fmla="*/ 3359847 w 6530351"/>
              <a:gd name="connsiteY307" fmla="*/ 6105843 h 6858285"/>
              <a:gd name="connsiteX308" fmla="*/ 3699193 w 6530351"/>
              <a:gd name="connsiteY308" fmla="*/ 5942013 h 6858285"/>
              <a:gd name="connsiteX309" fmla="*/ 3730413 w 6530351"/>
              <a:gd name="connsiteY309" fmla="*/ 5940108 h 6858285"/>
              <a:gd name="connsiteX310" fmla="*/ 2596921 w 6530351"/>
              <a:gd name="connsiteY310" fmla="*/ 5940108 h 6858285"/>
              <a:gd name="connsiteX311" fmla="*/ 2620990 w 6530351"/>
              <a:gd name="connsiteY311" fmla="*/ 5961063 h 6858285"/>
              <a:gd name="connsiteX312" fmla="*/ 2601925 w 6530351"/>
              <a:gd name="connsiteY312" fmla="*/ 6016308 h 6858285"/>
              <a:gd name="connsiteX313" fmla="*/ 2262579 w 6530351"/>
              <a:gd name="connsiteY313" fmla="*/ 6180138 h 6858285"/>
              <a:gd name="connsiteX314" fmla="*/ 2207292 w 6530351"/>
              <a:gd name="connsiteY314" fmla="*/ 6161088 h 6858285"/>
              <a:gd name="connsiteX315" fmla="*/ 2203479 w 6530351"/>
              <a:gd name="connsiteY315" fmla="*/ 6142038 h 6858285"/>
              <a:gd name="connsiteX316" fmla="*/ 2226356 w 6530351"/>
              <a:gd name="connsiteY316" fmla="*/ 6105843 h 6858285"/>
              <a:gd name="connsiteX317" fmla="*/ 2565703 w 6530351"/>
              <a:gd name="connsiteY317" fmla="*/ 5942013 h 6858285"/>
              <a:gd name="connsiteX318" fmla="*/ 2596921 w 6530351"/>
              <a:gd name="connsiteY318" fmla="*/ 5940108 h 6858285"/>
              <a:gd name="connsiteX319" fmla="*/ 3158032 w 6530351"/>
              <a:gd name="connsiteY319" fmla="*/ 5928122 h 6858285"/>
              <a:gd name="connsiteX320" fmla="*/ 3181386 w 6530351"/>
              <a:gd name="connsiteY320" fmla="*/ 5948363 h 6858285"/>
              <a:gd name="connsiteX321" fmla="*/ 3162321 w 6530351"/>
              <a:gd name="connsiteY321" fmla="*/ 6003608 h 6858285"/>
              <a:gd name="connsiteX322" fmla="*/ 2822975 w 6530351"/>
              <a:gd name="connsiteY322" fmla="*/ 6167438 h 6858285"/>
              <a:gd name="connsiteX323" fmla="*/ 2769594 w 6530351"/>
              <a:gd name="connsiteY323" fmla="*/ 6148388 h 6858285"/>
              <a:gd name="connsiteX324" fmla="*/ 2763875 w 6530351"/>
              <a:gd name="connsiteY324" fmla="*/ 6131243 h 6858285"/>
              <a:gd name="connsiteX325" fmla="*/ 2788659 w 6530351"/>
              <a:gd name="connsiteY325" fmla="*/ 6093143 h 6858285"/>
              <a:gd name="connsiteX326" fmla="*/ 3126099 w 6530351"/>
              <a:gd name="connsiteY326" fmla="*/ 5929313 h 6858285"/>
              <a:gd name="connsiteX327" fmla="*/ 3158032 w 6530351"/>
              <a:gd name="connsiteY327" fmla="*/ 5928122 h 6858285"/>
              <a:gd name="connsiteX328" fmla="*/ 6486883 w 6530351"/>
              <a:gd name="connsiteY328" fmla="*/ 5678738 h 6858285"/>
              <a:gd name="connsiteX329" fmla="*/ 6526293 w 6530351"/>
              <a:gd name="connsiteY329" fmla="*/ 5700678 h 6858285"/>
              <a:gd name="connsiteX330" fmla="*/ 6507229 w 6530351"/>
              <a:gd name="connsiteY330" fmla="*/ 5755855 h 6858285"/>
              <a:gd name="connsiteX331" fmla="*/ 6167883 w 6530351"/>
              <a:gd name="connsiteY331" fmla="*/ 5921387 h 6858285"/>
              <a:gd name="connsiteX332" fmla="*/ 6114503 w 6530351"/>
              <a:gd name="connsiteY332" fmla="*/ 5902361 h 6858285"/>
              <a:gd name="connsiteX333" fmla="*/ 6108783 w 6530351"/>
              <a:gd name="connsiteY333" fmla="*/ 5883334 h 6858285"/>
              <a:gd name="connsiteX334" fmla="*/ 6131661 w 6530351"/>
              <a:gd name="connsiteY334" fmla="*/ 5847183 h 6858285"/>
              <a:gd name="connsiteX335" fmla="*/ 6471007 w 6530351"/>
              <a:gd name="connsiteY335" fmla="*/ 5683554 h 6858285"/>
              <a:gd name="connsiteX336" fmla="*/ 6486883 w 6530351"/>
              <a:gd name="connsiteY336" fmla="*/ 5678738 h 6858285"/>
              <a:gd name="connsiteX337" fmla="*/ 5956831 w 6530351"/>
              <a:gd name="connsiteY337" fmla="*/ 5667772 h 6858285"/>
              <a:gd name="connsiteX338" fmla="*/ 5980185 w 6530351"/>
              <a:gd name="connsiteY338" fmla="*/ 5688013 h 6858285"/>
              <a:gd name="connsiteX339" fmla="*/ 5961121 w 6530351"/>
              <a:gd name="connsiteY339" fmla="*/ 5743258 h 6858285"/>
              <a:gd name="connsiteX340" fmla="*/ 5621775 w 6530351"/>
              <a:gd name="connsiteY340" fmla="*/ 5907088 h 6858285"/>
              <a:gd name="connsiteX341" fmla="*/ 5566487 w 6530351"/>
              <a:gd name="connsiteY341" fmla="*/ 5888038 h 6858285"/>
              <a:gd name="connsiteX342" fmla="*/ 5562675 w 6530351"/>
              <a:gd name="connsiteY342" fmla="*/ 5868988 h 6858285"/>
              <a:gd name="connsiteX343" fmla="*/ 5585553 w 6530351"/>
              <a:gd name="connsiteY343" fmla="*/ 5832793 h 6858285"/>
              <a:gd name="connsiteX344" fmla="*/ 5924899 w 6530351"/>
              <a:gd name="connsiteY344" fmla="*/ 5668963 h 6858285"/>
              <a:gd name="connsiteX345" fmla="*/ 5956831 w 6530351"/>
              <a:gd name="connsiteY345" fmla="*/ 5667772 h 6858285"/>
              <a:gd name="connsiteX346" fmla="*/ 397251 w 6530351"/>
              <a:gd name="connsiteY346" fmla="*/ 5667772 h 6858285"/>
              <a:gd name="connsiteX347" fmla="*/ 420366 w 6530351"/>
              <a:gd name="connsiteY347" fmla="*/ 5688013 h 6858285"/>
              <a:gd name="connsiteX348" fmla="*/ 401302 w 6530351"/>
              <a:gd name="connsiteY348" fmla="*/ 5743258 h 6858285"/>
              <a:gd name="connsiteX349" fmla="*/ 63862 w 6530351"/>
              <a:gd name="connsiteY349" fmla="*/ 5907088 h 6858285"/>
              <a:gd name="connsiteX350" fmla="*/ 8575 w 6530351"/>
              <a:gd name="connsiteY350" fmla="*/ 5888038 h 6858285"/>
              <a:gd name="connsiteX351" fmla="*/ 4762 w 6530351"/>
              <a:gd name="connsiteY351" fmla="*/ 5868988 h 6858285"/>
              <a:gd name="connsiteX352" fmla="*/ 27639 w 6530351"/>
              <a:gd name="connsiteY352" fmla="*/ 5832793 h 6858285"/>
              <a:gd name="connsiteX353" fmla="*/ 366986 w 6530351"/>
              <a:gd name="connsiteY353" fmla="*/ 5668963 h 6858285"/>
              <a:gd name="connsiteX354" fmla="*/ 397251 w 6530351"/>
              <a:gd name="connsiteY354" fmla="*/ 5667772 h 6858285"/>
              <a:gd name="connsiteX355" fmla="*/ 5407607 w 6530351"/>
              <a:gd name="connsiteY355" fmla="*/ 5656671 h 6858285"/>
              <a:gd name="connsiteX356" fmla="*/ 5432463 w 6530351"/>
              <a:gd name="connsiteY356" fmla="*/ 5676936 h 6858285"/>
              <a:gd name="connsiteX357" fmla="*/ 5411429 w 6530351"/>
              <a:gd name="connsiteY357" fmla="*/ 5732250 h 6858285"/>
              <a:gd name="connsiteX358" fmla="*/ 5071079 w 6530351"/>
              <a:gd name="connsiteY358" fmla="*/ 5894377 h 6858285"/>
              <a:gd name="connsiteX359" fmla="*/ 5015629 w 6530351"/>
              <a:gd name="connsiteY359" fmla="*/ 5873396 h 6858285"/>
              <a:gd name="connsiteX360" fmla="*/ 5011805 w 6530351"/>
              <a:gd name="connsiteY360" fmla="*/ 5856229 h 6858285"/>
              <a:gd name="connsiteX361" fmla="*/ 5036663 w 6530351"/>
              <a:gd name="connsiteY361" fmla="*/ 5818082 h 6858285"/>
              <a:gd name="connsiteX362" fmla="*/ 5377013 w 6530351"/>
              <a:gd name="connsiteY362" fmla="*/ 5657863 h 6858285"/>
              <a:gd name="connsiteX363" fmla="*/ 5407607 w 6530351"/>
              <a:gd name="connsiteY363" fmla="*/ 5656671 h 6858285"/>
              <a:gd name="connsiteX364" fmla="*/ 941852 w 6530351"/>
              <a:gd name="connsiteY364" fmla="*/ 5656671 h 6858285"/>
              <a:gd name="connsiteX365" fmla="*/ 965206 w 6530351"/>
              <a:gd name="connsiteY365" fmla="*/ 5676936 h 6858285"/>
              <a:gd name="connsiteX366" fmla="*/ 946141 w 6530351"/>
              <a:gd name="connsiteY366" fmla="*/ 5732250 h 6858285"/>
              <a:gd name="connsiteX367" fmla="*/ 606795 w 6530351"/>
              <a:gd name="connsiteY367" fmla="*/ 5894377 h 6858285"/>
              <a:gd name="connsiteX368" fmla="*/ 551508 w 6530351"/>
              <a:gd name="connsiteY368" fmla="*/ 5873396 h 6858285"/>
              <a:gd name="connsiteX369" fmla="*/ 547695 w 6530351"/>
              <a:gd name="connsiteY369" fmla="*/ 5856229 h 6858285"/>
              <a:gd name="connsiteX370" fmla="*/ 570572 w 6530351"/>
              <a:gd name="connsiteY370" fmla="*/ 5818082 h 6858285"/>
              <a:gd name="connsiteX371" fmla="*/ 909919 w 6530351"/>
              <a:gd name="connsiteY371" fmla="*/ 5657863 h 6858285"/>
              <a:gd name="connsiteX372" fmla="*/ 941852 w 6530351"/>
              <a:gd name="connsiteY372" fmla="*/ 5656671 h 6858285"/>
              <a:gd name="connsiteX373" fmla="*/ 4853529 w 6530351"/>
              <a:gd name="connsiteY373" fmla="*/ 5644852 h 6858285"/>
              <a:gd name="connsiteX374" fmla="*/ 4876865 w 6530351"/>
              <a:gd name="connsiteY374" fmla="*/ 5665859 h 6858285"/>
              <a:gd name="connsiteX375" fmla="*/ 4855911 w 6530351"/>
              <a:gd name="connsiteY375" fmla="*/ 5723153 h 6858285"/>
              <a:gd name="connsiteX376" fmla="*/ 4516815 w 6530351"/>
              <a:gd name="connsiteY376" fmla="*/ 5881664 h 6858285"/>
              <a:gd name="connsiteX377" fmla="*/ 4461571 w 6530351"/>
              <a:gd name="connsiteY377" fmla="*/ 5860656 h 6858285"/>
              <a:gd name="connsiteX378" fmla="*/ 4457759 w 6530351"/>
              <a:gd name="connsiteY378" fmla="*/ 5843468 h 6858285"/>
              <a:gd name="connsiteX379" fmla="*/ 4482525 w 6530351"/>
              <a:gd name="connsiteY379" fmla="*/ 5805273 h 6858285"/>
              <a:gd name="connsiteX380" fmla="*/ 4821621 w 6530351"/>
              <a:gd name="connsiteY380" fmla="*/ 5646762 h 6858285"/>
              <a:gd name="connsiteX381" fmla="*/ 4853529 w 6530351"/>
              <a:gd name="connsiteY381" fmla="*/ 5644852 h 6858285"/>
              <a:gd name="connsiteX382" fmla="*/ 1487905 w 6530351"/>
              <a:gd name="connsiteY382" fmla="*/ 5644852 h 6858285"/>
              <a:gd name="connsiteX383" fmla="*/ 1512908 w 6530351"/>
              <a:gd name="connsiteY383" fmla="*/ 5665859 h 6858285"/>
              <a:gd name="connsiteX384" fmla="*/ 1491953 w 6530351"/>
              <a:gd name="connsiteY384" fmla="*/ 5723153 h 6858285"/>
              <a:gd name="connsiteX385" fmla="*/ 1152858 w 6530351"/>
              <a:gd name="connsiteY385" fmla="*/ 5881664 h 6858285"/>
              <a:gd name="connsiteX386" fmla="*/ 1097612 w 6530351"/>
              <a:gd name="connsiteY386" fmla="*/ 5860656 h 6858285"/>
              <a:gd name="connsiteX387" fmla="*/ 1093802 w 6530351"/>
              <a:gd name="connsiteY387" fmla="*/ 5843468 h 6858285"/>
              <a:gd name="connsiteX388" fmla="*/ 1116662 w 6530351"/>
              <a:gd name="connsiteY388" fmla="*/ 5805273 h 6858285"/>
              <a:gd name="connsiteX389" fmla="*/ 1455757 w 6530351"/>
              <a:gd name="connsiteY389" fmla="*/ 5646762 h 6858285"/>
              <a:gd name="connsiteX390" fmla="*/ 1487905 w 6530351"/>
              <a:gd name="connsiteY390" fmla="*/ 5644852 h 6858285"/>
              <a:gd name="connsiteX391" fmla="*/ 4280353 w 6530351"/>
              <a:gd name="connsiteY391" fmla="*/ 5631126 h 6858285"/>
              <a:gd name="connsiteX392" fmla="*/ 4319611 w 6530351"/>
              <a:gd name="connsiteY392" fmla="*/ 5654878 h 6858285"/>
              <a:gd name="connsiteX393" fmla="*/ 4298577 w 6530351"/>
              <a:gd name="connsiteY393" fmla="*/ 5711813 h 6858285"/>
              <a:gd name="connsiteX394" fmla="*/ 3958227 w 6530351"/>
              <a:gd name="connsiteY394" fmla="*/ 5867437 h 6858285"/>
              <a:gd name="connsiteX395" fmla="*/ 3902777 w 6530351"/>
              <a:gd name="connsiteY395" fmla="*/ 5846560 h 6858285"/>
              <a:gd name="connsiteX396" fmla="*/ 3898953 w 6530351"/>
              <a:gd name="connsiteY396" fmla="*/ 5829480 h 6858285"/>
              <a:gd name="connsiteX397" fmla="*/ 3923811 w 6530351"/>
              <a:gd name="connsiteY397" fmla="*/ 5789625 h 6858285"/>
              <a:gd name="connsiteX398" fmla="*/ 4264161 w 6530351"/>
              <a:gd name="connsiteY398" fmla="*/ 5635900 h 6858285"/>
              <a:gd name="connsiteX399" fmla="*/ 4280353 w 6530351"/>
              <a:gd name="connsiteY399" fmla="*/ 5631126 h 6858285"/>
              <a:gd name="connsiteX400" fmla="*/ 2025816 w 6530351"/>
              <a:gd name="connsiteY400" fmla="*/ 5631125 h 6858285"/>
              <a:gd name="connsiteX401" fmla="*/ 2066925 w 6530351"/>
              <a:gd name="connsiteY401" fmla="*/ 5654878 h 6858285"/>
              <a:gd name="connsiteX402" fmla="*/ 2045908 w 6530351"/>
              <a:gd name="connsiteY402" fmla="*/ 5711813 h 6858285"/>
              <a:gd name="connsiteX403" fmla="*/ 1705813 w 6530351"/>
              <a:gd name="connsiteY403" fmla="*/ 5867437 h 6858285"/>
              <a:gd name="connsiteX404" fmla="*/ 1648493 w 6530351"/>
              <a:gd name="connsiteY404" fmla="*/ 5846560 h 6858285"/>
              <a:gd name="connsiteX405" fmla="*/ 1644672 w 6530351"/>
              <a:gd name="connsiteY405" fmla="*/ 5829480 h 6858285"/>
              <a:gd name="connsiteX406" fmla="*/ 1669510 w 6530351"/>
              <a:gd name="connsiteY406" fmla="*/ 5789625 h 6858285"/>
              <a:gd name="connsiteX407" fmla="*/ 2009605 w 6530351"/>
              <a:gd name="connsiteY407" fmla="*/ 5635900 h 6858285"/>
              <a:gd name="connsiteX408" fmla="*/ 2025816 w 6530351"/>
              <a:gd name="connsiteY408" fmla="*/ 5631125 h 6858285"/>
              <a:gd name="connsiteX409" fmla="*/ 3732525 w 6530351"/>
              <a:gd name="connsiteY409" fmla="*/ 5620418 h 6858285"/>
              <a:gd name="connsiteX410" fmla="*/ 3756081 w 6530351"/>
              <a:gd name="connsiteY410" fmla="*/ 5642408 h 6858285"/>
              <a:gd name="connsiteX411" fmla="*/ 3735143 w 6530351"/>
              <a:gd name="connsiteY411" fmla="*/ 5699775 h 6858285"/>
              <a:gd name="connsiteX412" fmla="*/ 3396298 w 6530351"/>
              <a:gd name="connsiteY412" fmla="*/ 5854665 h 6858285"/>
              <a:gd name="connsiteX413" fmla="*/ 3339189 w 6530351"/>
              <a:gd name="connsiteY413" fmla="*/ 5833630 h 6858285"/>
              <a:gd name="connsiteX414" fmla="*/ 3335382 w 6530351"/>
              <a:gd name="connsiteY414" fmla="*/ 5814508 h 6858285"/>
              <a:gd name="connsiteX415" fmla="*/ 3360129 w 6530351"/>
              <a:gd name="connsiteY415" fmla="*/ 5776264 h 6858285"/>
              <a:gd name="connsiteX416" fmla="*/ 3698973 w 6530351"/>
              <a:gd name="connsiteY416" fmla="*/ 5621374 h 6858285"/>
              <a:gd name="connsiteX417" fmla="*/ 3732525 w 6530351"/>
              <a:gd name="connsiteY417" fmla="*/ 5620418 h 6858285"/>
              <a:gd name="connsiteX418" fmla="*/ 2598321 w 6530351"/>
              <a:gd name="connsiteY418" fmla="*/ 5620418 h 6858285"/>
              <a:gd name="connsiteX419" fmla="*/ 2622592 w 6530351"/>
              <a:gd name="connsiteY419" fmla="*/ 5642408 h 6858285"/>
              <a:gd name="connsiteX420" fmla="*/ 2601652 w 6530351"/>
              <a:gd name="connsiteY420" fmla="*/ 5699775 h 6858285"/>
              <a:gd name="connsiteX421" fmla="*/ 2262808 w 6530351"/>
              <a:gd name="connsiteY421" fmla="*/ 5854665 h 6858285"/>
              <a:gd name="connsiteX422" fmla="*/ 2205699 w 6530351"/>
              <a:gd name="connsiteY422" fmla="*/ 5833630 h 6858285"/>
              <a:gd name="connsiteX423" fmla="*/ 2201892 w 6530351"/>
              <a:gd name="connsiteY423" fmla="*/ 5814508 h 6858285"/>
              <a:gd name="connsiteX424" fmla="*/ 2226639 w 6530351"/>
              <a:gd name="connsiteY424" fmla="*/ 5776264 h 6858285"/>
              <a:gd name="connsiteX425" fmla="*/ 2565483 w 6530351"/>
              <a:gd name="connsiteY425" fmla="*/ 5621374 h 6858285"/>
              <a:gd name="connsiteX426" fmla="*/ 2598321 w 6530351"/>
              <a:gd name="connsiteY426" fmla="*/ 5620418 h 6858285"/>
              <a:gd name="connsiteX427" fmla="*/ 3160328 w 6530351"/>
              <a:gd name="connsiteY427" fmla="*/ 5609262 h 6858285"/>
              <a:gd name="connsiteX428" fmla="*/ 3184582 w 6530351"/>
              <a:gd name="connsiteY428" fmla="*/ 5631142 h 6858285"/>
              <a:gd name="connsiteX429" fmla="*/ 3161755 w 6530351"/>
              <a:gd name="connsiteY429" fmla="*/ 5688219 h 6858285"/>
              <a:gd name="connsiteX430" fmla="*/ 2823158 w 6530351"/>
              <a:gd name="connsiteY430" fmla="*/ 5840426 h 6858285"/>
              <a:gd name="connsiteX431" fmla="*/ 2766091 w 6530351"/>
              <a:gd name="connsiteY431" fmla="*/ 5817595 h 6858285"/>
              <a:gd name="connsiteX432" fmla="*/ 2762287 w 6530351"/>
              <a:gd name="connsiteY432" fmla="*/ 5800472 h 6858285"/>
              <a:gd name="connsiteX433" fmla="*/ 2787016 w 6530351"/>
              <a:gd name="connsiteY433" fmla="*/ 5760517 h 6858285"/>
              <a:gd name="connsiteX434" fmla="*/ 3127515 w 6530351"/>
              <a:gd name="connsiteY434" fmla="*/ 5610214 h 6858285"/>
              <a:gd name="connsiteX435" fmla="*/ 3160328 w 6530351"/>
              <a:gd name="connsiteY435" fmla="*/ 5609262 h 6858285"/>
              <a:gd name="connsiteX436" fmla="*/ 6501987 w 6530351"/>
              <a:gd name="connsiteY436" fmla="*/ 5357485 h 6858285"/>
              <a:gd name="connsiteX437" fmla="*/ 6524387 w 6530351"/>
              <a:gd name="connsiteY437" fmla="*/ 5378415 h 6858285"/>
              <a:gd name="connsiteX438" fmla="*/ 6507229 w 6530351"/>
              <a:gd name="connsiteY438" fmla="*/ 5431690 h 6858285"/>
              <a:gd name="connsiteX439" fmla="*/ 6167883 w 6530351"/>
              <a:gd name="connsiteY439" fmla="*/ 5597222 h 6858285"/>
              <a:gd name="connsiteX440" fmla="*/ 6114503 w 6530351"/>
              <a:gd name="connsiteY440" fmla="*/ 5580098 h 6858285"/>
              <a:gd name="connsiteX441" fmla="*/ 6108783 w 6530351"/>
              <a:gd name="connsiteY441" fmla="*/ 5561071 h 6858285"/>
              <a:gd name="connsiteX442" fmla="*/ 6131661 w 6530351"/>
              <a:gd name="connsiteY442" fmla="*/ 5524920 h 6858285"/>
              <a:gd name="connsiteX443" fmla="*/ 6471007 w 6530351"/>
              <a:gd name="connsiteY443" fmla="*/ 5359388 h 6858285"/>
              <a:gd name="connsiteX444" fmla="*/ 6501987 w 6530351"/>
              <a:gd name="connsiteY444" fmla="*/ 5357485 h 6858285"/>
              <a:gd name="connsiteX445" fmla="*/ 5956831 w 6530351"/>
              <a:gd name="connsiteY445" fmla="*/ 5347056 h 6858285"/>
              <a:gd name="connsiteX446" fmla="*/ 5980185 w 6530351"/>
              <a:gd name="connsiteY446" fmla="*/ 5367196 h 6858285"/>
              <a:gd name="connsiteX447" fmla="*/ 5961121 w 6530351"/>
              <a:gd name="connsiteY447" fmla="*/ 5422166 h 6858285"/>
              <a:gd name="connsiteX448" fmla="*/ 5621775 w 6530351"/>
              <a:gd name="connsiteY448" fmla="*/ 5583285 h 6858285"/>
              <a:gd name="connsiteX449" fmla="*/ 5566487 w 6530351"/>
              <a:gd name="connsiteY449" fmla="*/ 5564330 h 6858285"/>
              <a:gd name="connsiteX450" fmla="*/ 5562675 w 6530351"/>
              <a:gd name="connsiteY450" fmla="*/ 5547270 h 6858285"/>
              <a:gd name="connsiteX451" fmla="*/ 5585553 w 6530351"/>
              <a:gd name="connsiteY451" fmla="*/ 5509360 h 6858285"/>
              <a:gd name="connsiteX452" fmla="*/ 5924899 w 6530351"/>
              <a:gd name="connsiteY452" fmla="*/ 5348240 h 6858285"/>
              <a:gd name="connsiteX453" fmla="*/ 5956831 w 6530351"/>
              <a:gd name="connsiteY453" fmla="*/ 5347056 h 6858285"/>
              <a:gd name="connsiteX454" fmla="*/ 398204 w 6530351"/>
              <a:gd name="connsiteY454" fmla="*/ 5347056 h 6858285"/>
              <a:gd name="connsiteX455" fmla="*/ 422273 w 6530351"/>
              <a:gd name="connsiteY455" fmla="*/ 5367196 h 6858285"/>
              <a:gd name="connsiteX456" fmla="*/ 401302 w 6530351"/>
              <a:gd name="connsiteY456" fmla="*/ 5422166 h 6858285"/>
              <a:gd name="connsiteX457" fmla="*/ 63862 w 6530351"/>
              <a:gd name="connsiteY457" fmla="*/ 5583285 h 6858285"/>
              <a:gd name="connsiteX458" fmla="*/ 8575 w 6530351"/>
              <a:gd name="connsiteY458" fmla="*/ 5564330 h 6858285"/>
              <a:gd name="connsiteX459" fmla="*/ 4762 w 6530351"/>
              <a:gd name="connsiteY459" fmla="*/ 5547270 h 6858285"/>
              <a:gd name="connsiteX460" fmla="*/ 27639 w 6530351"/>
              <a:gd name="connsiteY460" fmla="*/ 5509360 h 6858285"/>
              <a:gd name="connsiteX461" fmla="*/ 366986 w 6530351"/>
              <a:gd name="connsiteY461" fmla="*/ 5348240 h 6858285"/>
              <a:gd name="connsiteX462" fmla="*/ 398204 w 6530351"/>
              <a:gd name="connsiteY462" fmla="*/ 5347056 h 6858285"/>
              <a:gd name="connsiteX463" fmla="*/ 5409041 w 6530351"/>
              <a:gd name="connsiteY463" fmla="*/ 5334657 h 6858285"/>
              <a:gd name="connsiteX464" fmla="*/ 5432463 w 6530351"/>
              <a:gd name="connsiteY464" fmla="*/ 5356619 h 6858285"/>
              <a:gd name="connsiteX465" fmla="*/ 5411429 w 6530351"/>
              <a:gd name="connsiteY465" fmla="*/ 5412003 h 6858285"/>
              <a:gd name="connsiteX466" fmla="*/ 5071079 w 6530351"/>
              <a:gd name="connsiteY466" fmla="*/ 5570514 h 6858285"/>
              <a:gd name="connsiteX467" fmla="*/ 5015629 w 6530351"/>
              <a:gd name="connsiteY467" fmla="*/ 5549506 h 6858285"/>
              <a:gd name="connsiteX468" fmla="*/ 5011805 w 6530351"/>
              <a:gd name="connsiteY468" fmla="*/ 5532318 h 6858285"/>
              <a:gd name="connsiteX469" fmla="*/ 5036663 w 6530351"/>
              <a:gd name="connsiteY469" fmla="*/ 5494123 h 6858285"/>
              <a:gd name="connsiteX470" fmla="*/ 5377013 w 6530351"/>
              <a:gd name="connsiteY470" fmla="*/ 5335612 h 6858285"/>
              <a:gd name="connsiteX471" fmla="*/ 5409041 w 6530351"/>
              <a:gd name="connsiteY471" fmla="*/ 5334657 h 6858285"/>
              <a:gd name="connsiteX472" fmla="*/ 941876 w 6530351"/>
              <a:gd name="connsiteY472" fmla="*/ 5334657 h 6858285"/>
              <a:gd name="connsiteX473" fmla="*/ 965213 w 6530351"/>
              <a:gd name="connsiteY473" fmla="*/ 5356619 h 6858285"/>
              <a:gd name="connsiteX474" fmla="*/ 946163 w 6530351"/>
              <a:gd name="connsiteY474" fmla="*/ 5412003 h 6858285"/>
              <a:gd name="connsiteX475" fmla="*/ 605163 w 6530351"/>
              <a:gd name="connsiteY475" fmla="*/ 5570514 h 6858285"/>
              <a:gd name="connsiteX476" fmla="*/ 549917 w 6530351"/>
              <a:gd name="connsiteY476" fmla="*/ 5549506 h 6858285"/>
              <a:gd name="connsiteX477" fmla="*/ 546107 w 6530351"/>
              <a:gd name="connsiteY477" fmla="*/ 5532318 h 6858285"/>
              <a:gd name="connsiteX478" fmla="*/ 570872 w 6530351"/>
              <a:gd name="connsiteY478" fmla="*/ 5494123 h 6858285"/>
              <a:gd name="connsiteX479" fmla="*/ 909967 w 6530351"/>
              <a:gd name="connsiteY479" fmla="*/ 5335612 h 6858285"/>
              <a:gd name="connsiteX480" fmla="*/ 941876 w 6530351"/>
              <a:gd name="connsiteY480" fmla="*/ 5334657 h 6858285"/>
              <a:gd name="connsiteX481" fmla="*/ 4854215 w 6530351"/>
              <a:gd name="connsiteY481" fmla="*/ 5323794 h 6858285"/>
              <a:gd name="connsiteX482" fmla="*/ 4878467 w 6530351"/>
              <a:gd name="connsiteY482" fmla="*/ 5347457 h 6858285"/>
              <a:gd name="connsiteX483" fmla="*/ 4855641 w 6530351"/>
              <a:gd name="connsiteY483" fmla="*/ 5402912 h 6858285"/>
              <a:gd name="connsiteX484" fmla="*/ 4517045 w 6530351"/>
              <a:gd name="connsiteY484" fmla="*/ 5555889 h 6858285"/>
              <a:gd name="connsiteX485" fmla="*/ 4459977 w 6530351"/>
              <a:gd name="connsiteY485" fmla="*/ 5534855 h 6858285"/>
              <a:gd name="connsiteX486" fmla="*/ 4456173 w 6530351"/>
              <a:gd name="connsiteY486" fmla="*/ 5517645 h 6858285"/>
              <a:gd name="connsiteX487" fmla="*/ 4482805 w 6530351"/>
              <a:gd name="connsiteY487" fmla="*/ 5477488 h 6858285"/>
              <a:gd name="connsiteX488" fmla="*/ 4821401 w 6530351"/>
              <a:gd name="connsiteY488" fmla="*/ 5324511 h 6858285"/>
              <a:gd name="connsiteX489" fmla="*/ 4854215 w 6530351"/>
              <a:gd name="connsiteY489" fmla="*/ 5323794 h 6858285"/>
              <a:gd name="connsiteX490" fmla="*/ 1489595 w 6530351"/>
              <a:gd name="connsiteY490" fmla="*/ 5323794 h 6858285"/>
              <a:gd name="connsiteX491" fmla="*/ 1512914 w 6530351"/>
              <a:gd name="connsiteY491" fmla="*/ 5347457 h 6858285"/>
              <a:gd name="connsiteX492" fmla="*/ 1491974 w 6530351"/>
              <a:gd name="connsiteY492" fmla="*/ 5402912 h 6858285"/>
              <a:gd name="connsiteX493" fmla="*/ 1153130 w 6530351"/>
              <a:gd name="connsiteY493" fmla="*/ 5555889 h 6858285"/>
              <a:gd name="connsiteX494" fmla="*/ 1096021 w 6530351"/>
              <a:gd name="connsiteY494" fmla="*/ 5534855 h 6858285"/>
              <a:gd name="connsiteX495" fmla="*/ 1092214 w 6530351"/>
              <a:gd name="connsiteY495" fmla="*/ 5517645 h 6858285"/>
              <a:gd name="connsiteX496" fmla="*/ 1116961 w 6530351"/>
              <a:gd name="connsiteY496" fmla="*/ 5477488 h 6858285"/>
              <a:gd name="connsiteX497" fmla="*/ 1457709 w 6530351"/>
              <a:gd name="connsiteY497" fmla="*/ 5324511 h 6858285"/>
              <a:gd name="connsiteX498" fmla="*/ 1489595 w 6530351"/>
              <a:gd name="connsiteY498" fmla="*/ 5323794 h 6858285"/>
              <a:gd name="connsiteX499" fmla="*/ 4281207 w 6530351"/>
              <a:gd name="connsiteY499" fmla="*/ 5309970 h 6858285"/>
              <a:gd name="connsiteX500" fmla="*/ 4321211 w 6530351"/>
              <a:gd name="connsiteY500" fmla="*/ 5336223 h 6858285"/>
              <a:gd name="connsiteX501" fmla="*/ 4298301 w 6530351"/>
              <a:gd name="connsiteY501" fmla="*/ 5395278 h 6858285"/>
              <a:gd name="connsiteX502" fmla="*/ 3958461 w 6530351"/>
              <a:gd name="connsiteY502" fmla="*/ 5541963 h 6858285"/>
              <a:gd name="connsiteX503" fmla="*/ 3901183 w 6530351"/>
              <a:gd name="connsiteY503" fmla="*/ 5519103 h 6858285"/>
              <a:gd name="connsiteX504" fmla="*/ 3897365 w 6530351"/>
              <a:gd name="connsiteY504" fmla="*/ 5501958 h 6858285"/>
              <a:gd name="connsiteX505" fmla="*/ 3924095 w 6530351"/>
              <a:gd name="connsiteY505" fmla="*/ 5461953 h 6858285"/>
              <a:gd name="connsiteX506" fmla="*/ 4263935 w 6530351"/>
              <a:gd name="connsiteY506" fmla="*/ 5313363 h 6858285"/>
              <a:gd name="connsiteX507" fmla="*/ 4281207 w 6530351"/>
              <a:gd name="connsiteY507" fmla="*/ 5309970 h 6858285"/>
              <a:gd name="connsiteX508" fmla="*/ 2026943 w 6530351"/>
              <a:gd name="connsiteY508" fmla="*/ 5309969 h 6858285"/>
              <a:gd name="connsiteX509" fmla="*/ 2068527 w 6530351"/>
              <a:gd name="connsiteY509" fmla="*/ 5336223 h 6858285"/>
              <a:gd name="connsiteX510" fmla="*/ 2045633 w 6530351"/>
              <a:gd name="connsiteY510" fmla="*/ 5395278 h 6858285"/>
              <a:gd name="connsiteX511" fmla="*/ 1704135 w 6530351"/>
              <a:gd name="connsiteY511" fmla="*/ 5541963 h 6858285"/>
              <a:gd name="connsiteX512" fmla="*/ 1646901 w 6530351"/>
              <a:gd name="connsiteY512" fmla="*/ 5519103 h 6858285"/>
              <a:gd name="connsiteX513" fmla="*/ 1643085 w 6530351"/>
              <a:gd name="connsiteY513" fmla="*/ 5501958 h 6858285"/>
              <a:gd name="connsiteX514" fmla="*/ 1669794 w 6530351"/>
              <a:gd name="connsiteY514" fmla="*/ 5461953 h 6858285"/>
              <a:gd name="connsiteX515" fmla="*/ 2009385 w 6530351"/>
              <a:gd name="connsiteY515" fmla="*/ 5313363 h 6858285"/>
              <a:gd name="connsiteX516" fmla="*/ 2026943 w 6530351"/>
              <a:gd name="connsiteY516" fmla="*/ 5309969 h 6858285"/>
              <a:gd name="connsiteX517" fmla="*/ 3719263 w 6530351"/>
              <a:gd name="connsiteY517" fmla="*/ 5298894 h 6858285"/>
              <a:gd name="connsiteX518" fmla="*/ 3759237 w 6530351"/>
              <a:gd name="connsiteY518" fmla="*/ 5327059 h 6858285"/>
              <a:gd name="connsiteX519" fmla="*/ 3736343 w 6530351"/>
              <a:gd name="connsiteY519" fmla="*/ 5386191 h 6858285"/>
              <a:gd name="connsiteX520" fmla="*/ 3394845 w 6530351"/>
              <a:gd name="connsiteY520" fmla="*/ 5529250 h 6858285"/>
              <a:gd name="connsiteX521" fmla="*/ 3337611 w 6530351"/>
              <a:gd name="connsiteY521" fmla="*/ 5504453 h 6858285"/>
              <a:gd name="connsiteX522" fmla="*/ 3333795 w 6530351"/>
              <a:gd name="connsiteY522" fmla="*/ 5487286 h 6858285"/>
              <a:gd name="connsiteX523" fmla="*/ 3360504 w 6530351"/>
              <a:gd name="connsiteY523" fmla="*/ 5447229 h 6858285"/>
              <a:gd name="connsiteX524" fmla="*/ 3702003 w 6530351"/>
              <a:gd name="connsiteY524" fmla="*/ 5302262 h 6858285"/>
              <a:gd name="connsiteX525" fmla="*/ 3719263 w 6530351"/>
              <a:gd name="connsiteY525" fmla="*/ 5298894 h 6858285"/>
              <a:gd name="connsiteX526" fmla="*/ 2583562 w 6530351"/>
              <a:gd name="connsiteY526" fmla="*/ 5298894 h 6858285"/>
              <a:gd name="connsiteX527" fmla="*/ 2624193 w 6530351"/>
              <a:gd name="connsiteY527" fmla="*/ 5327059 h 6858285"/>
              <a:gd name="connsiteX528" fmla="*/ 2601383 w 6530351"/>
              <a:gd name="connsiteY528" fmla="*/ 5386191 h 6858285"/>
              <a:gd name="connsiteX529" fmla="*/ 2261131 w 6530351"/>
              <a:gd name="connsiteY529" fmla="*/ 5529250 h 6858285"/>
              <a:gd name="connsiteX530" fmla="*/ 2204106 w 6530351"/>
              <a:gd name="connsiteY530" fmla="*/ 5504453 h 6858285"/>
              <a:gd name="connsiteX531" fmla="*/ 2200304 w 6530351"/>
              <a:gd name="connsiteY531" fmla="*/ 5487286 h 6858285"/>
              <a:gd name="connsiteX532" fmla="*/ 2226916 w 6530351"/>
              <a:gd name="connsiteY532" fmla="*/ 5447229 h 6858285"/>
              <a:gd name="connsiteX533" fmla="*/ 2567167 w 6530351"/>
              <a:gd name="connsiteY533" fmla="*/ 5302262 h 6858285"/>
              <a:gd name="connsiteX534" fmla="*/ 2583562 w 6530351"/>
              <a:gd name="connsiteY534" fmla="*/ 5298894 h 6858285"/>
              <a:gd name="connsiteX535" fmla="*/ 3161728 w 6530351"/>
              <a:gd name="connsiteY535" fmla="*/ 5292225 h 6858285"/>
              <a:gd name="connsiteX536" fmla="*/ 3186184 w 6530351"/>
              <a:gd name="connsiteY536" fmla="*/ 5317400 h 6858285"/>
              <a:gd name="connsiteX537" fmla="*/ 3161490 w 6530351"/>
              <a:gd name="connsiteY537" fmla="*/ 5376300 h 6858285"/>
              <a:gd name="connsiteX538" fmla="*/ 2821483 w 6530351"/>
              <a:gd name="connsiteY538" fmla="*/ 5515000 h 6858285"/>
              <a:gd name="connsiteX539" fmla="*/ 2762599 w 6530351"/>
              <a:gd name="connsiteY539" fmla="*/ 5488400 h 6858285"/>
              <a:gd name="connsiteX540" fmla="*/ 2760700 w 6530351"/>
              <a:gd name="connsiteY540" fmla="*/ 5471300 h 6858285"/>
              <a:gd name="connsiteX541" fmla="*/ 2787293 w 6530351"/>
              <a:gd name="connsiteY541" fmla="*/ 5429500 h 6858285"/>
              <a:gd name="connsiteX542" fmla="*/ 3127300 w 6530351"/>
              <a:gd name="connsiteY542" fmla="*/ 5292700 h 6858285"/>
              <a:gd name="connsiteX543" fmla="*/ 3161728 w 6530351"/>
              <a:gd name="connsiteY543" fmla="*/ 5292225 h 6858285"/>
              <a:gd name="connsiteX544" fmla="*/ 6485691 w 6530351"/>
              <a:gd name="connsiteY544" fmla="*/ 5032625 h 6858285"/>
              <a:gd name="connsiteX545" fmla="*/ 6523141 w 6530351"/>
              <a:gd name="connsiteY545" fmla="*/ 5054565 h 6858285"/>
              <a:gd name="connsiteX546" fmla="*/ 6506021 w 6530351"/>
              <a:gd name="connsiteY546" fmla="*/ 5107840 h 6858285"/>
              <a:gd name="connsiteX547" fmla="*/ 6167435 w 6530351"/>
              <a:gd name="connsiteY547" fmla="*/ 5275274 h 6858285"/>
              <a:gd name="connsiteX548" fmla="*/ 6114175 w 6530351"/>
              <a:gd name="connsiteY548" fmla="*/ 5258150 h 6858285"/>
              <a:gd name="connsiteX549" fmla="*/ 6110371 w 6530351"/>
              <a:gd name="connsiteY549" fmla="*/ 5239124 h 6858285"/>
              <a:gd name="connsiteX550" fmla="*/ 6131293 w 6530351"/>
              <a:gd name="connsiteY550" fmla="*/ 5202973 h 6858285"/>
              <a:gd name="connsiteX551" fmla="*/ 6469879 w 6530351"/>
              <a:gd name="connsiteY551" fmla="*/ 5037441 h 6858285"/>
              <a:gd name="connsiteX552" fmla="*/ 6485691 w 6530351"/>
              <a:gd name="connsiteY552" fmla="*/ 5032625 h 6858285"/>
              <a:gd name="connsiteX553" fmla="*/ 5956831 w 6530351"/>
              <a:gd name="connsiteY553" fmla="*/ 5024845 h 6858285"/>
              <a:gd name="connsiteX554" fmla="*/ 5980185 w 6530351"/>
              <a:gd name="connsiteY554" fmla="*/ 5045110 h 6858285"/>
              <a:gd name="connsiteX555" fmla="*/ 5961121 w 6530351"/>
              <a:gd name="connsiteY555" fmla="*/ 5100424 h 6858285"/>
              <a:gd name="connsiteX556" fmla="*/ 5621775 w 6530351"/>
              <a:gd name="connsiteY556" fmla="*/ 5262551 h 6858285"/>
              <a:gd name="connsiteX557" fmla="*/ 5566487 w 6530351"/>
              <a:gd name="connsiteY557" fmla="*/ 5241570 h 6858285"/>
              <a:gd name="connsiteX558" fmla="*/ 5562675 w 6530351"/>
              <a:gd name="connsiteY558" fmla="*/ 5224403 h 6858285"/>
              <a:gd name="connsiteX559" fmla="*/ 5585553 w 6530351"/>
              <a:gd name="connsiteY559" fmla="*/ 5186256 h 6858285"/>
              <a:gd name="connsiteX560" fmla="*/ 5924899 w 6530351"/>
              <a:gd name="connsiteY560" fmla="*/ 5026037 h 6858285"/>
              <a:gd name="connsiteX561" fmla="*/ 5956831 w 6530351"/>
              <a:gd name="connsiteY561" fmla="*/ 5024845 h 6858285"/>
              <a:gd name="connsiteX562" fmla="*/ 398944 w 6530351"/>
              <a:gd name="connsiteY562" fmla="*/ 5024845 h 6858285"/>
              <a:gd name="connsiteX563" fmla="*/ 422281 w 6530351"/>
              <a:gd name="connsiteY563" fmla="*/ 5045110 h 6858285"/>
              <a:gd name="connsiteX564" fmla="*/ 401326 w 6530351"/>
              <a:gd name="connsiteY564" fmla="*/ 5100424 h 6858285"/>
              <a:gd name="connsiteX565" fmla="*/ 62231 w 6530351"/>
              <a:gd name="connsiteY565" fmla="*/ 5262551 h 6858285"/>
              <a:gd name="connsiteX566" fmla="*/ 8890 w 6530351"/>
              <a:gd name="connsiteY566" fmla="*/ 5241570 h 6858285"/>
              <a:gd name="connsiteX567" fmla="*/ 3175 w 6530351"/>
              <a:gd name="connsiteY567" fmla="*/ 5224403 h 6858285"/>
              <a:gd name="connsiteX568" fmla="*/ 27940 w 6530351"/>
              <a:gd name="connsiteY568" fmla="*/ 5186256 h 6858285"/>
              <a:gd name="connsiteX569" fmla="*/ 367035 w 6530351"/>
              <a:gd name="connsiteY569" fmla="*/ 5026037 h 6858285"/>
              <a:gd name="connsiteX570" fmla="*/ 398944 w 6530351"/>
              <a:gd name="connsiteY570" fmla="*/ 5024845 h 6858285"/>
              <a:gd name="connsiteX571" fmla="*/ 5409065 w 6530351"/>
              <a:gd name="connsiteY571" fmla="*/ 5014175 h 6858285"/>
              <a:gd name="connsiteX572" fmla="*/ 5432471 w 6530351"/>
              <a:gd name="connsiteY572" fmla="*/ 5037690 h 6858285"/>
              <a:gd name="connsiteX573" fmla="*/ 5411453 w 6530351"/>
              <a:gd name="connsiteY573" fmla="*/ 5092795 h 6858285"/>
              <a:gd name="connsiteX574" fmla="*/ 5071359 w 6530351"/>
              <a:gd name="connsiteY574" fmla="*/ 5246711 h 6858285"/>
              <a:gd name="connsiteX575" fmla="*/ 5014039 w 6530351"/>
              <a:gd name="connsiteY575" fmla="*/ 5225809 h 6858285"/>
              <a:gd name="connsiteX576" fmla="*/ 5010219 w 6530351"/>
              <a:gd name="connsiteY576" fmla="*/ 5208707 h 6858285"/>
              <a:gd name="connsiteX577" fmla="*/ 5036967 w 6530351"/>
              <a:gd name="connsiteY577" fmla="*/ 5168803 h 6858285"/>
              <a:gd name="connsiteX578" fmla="*/ 5377063 w 6530351"/>
              <a:gd name="connsiteY578" fmla="*/ 5014888 h 6858285"/>
              <a:gd name="connsiteX579" fmla="*/ 5409065 w 6530351"/>
              <a:gd name="connsiteY579" fmla="*/ 5014175 h 6858285"/>
              <a:gd name="connsiteX580" fmla="*/ 942536 w 6530351"/>
              <a:gd name="connsiteY580" fmla="*/ 5014175 h 6858285"/>
              <a:gd name="connsiteX581" fmla="*/ 966807 w 6530351"/>
              <a:gd name="connsiteY581" fmla="*/ 5037690 h 6858285"/>
              <a:gd name="connsiteX582" fmla="*/ 945867 w 6530351"/>
              <a:gd name="connsiteY582" fmla="*/ 5092795 h 6858285"/>
              <a:gd name="connsiteX583" fmla="*/ 605119 w 6530351"/>
              <a:gd name="connsiteY583" fmla="*/ 5246711 h 6858285"/>
              <a:gd name="connsiteX584" fmla="*/ 549914 w 6530351"/>
              <a:gd name="connsiteY584" fmla="*/ 5225809 h 6858285"/>
              <a:gd name="connsiteX585" fmla="*/ 546107 w 6530351"/>
              <a:gd name="connsiteY585" fmla="*/ 5208707 h 6858285"/>
              <a:gd name="connsiteX586" fmla="*/ 570854 w 6530351"/>
              <a:gd name="connsiteY586" fmla="*/ 5168803 h 6858285"/>
              <a:gd name="connsiteX587" fmla="*/ 909698 w 6530351"/>
              <a:gd name="connsiteY587" fmla="*/ 5014888 h 6858285"/>
              <a:gd name="connsiteX588" fmla="*/ 942536 w 6530351"/>
              <a:gd name="connsiteY588" fmla="*/ 5014175 h 6858285"/>
              <a:gd name="connsiteX589" fmla="*/ 4856099 w 6530351"/>
              <a:gd name="connsiteY589" fmla="*/ 5004627 h 6858285"/>
              <a:gd name="connsiteX590" fmla="*/ 4879707 w 6530351"/>
              <a:gd name="connsiteY590" fmla="*/ 5028079 h 6858285"/>
              <a:gd name="connsiteX591" fmla="*/ 4856813 w 6530351"/>
              <a:gd name="connsiteY591" fmla="*/ 5084934 h 6858285"/>
              <a:gd name="connsiteX592" fmla="*/ 4517223 w 6530351"/>
              <a:gd name="connsiteY592" fmla="*/ 5230861 h 6858285"/>
              <a:gd name="connsiteX593" fmla="*/ 4459989 w 6530351"/>
              <a:gd name="connsiteY593" fmla="*/ 5208119 h 6858285"/>
              <a:gd name="connsiteX594" fmla="*/ 4456173 w 6530351"/>
              <a:gd name="connsiteY594" fmla="*/ 5191063 h 6858285"/>
              <a:gd name="connsiteX595" fmla="*/ 4482883 w 6530351"/>
              <a:gd name="connsiteY595" fmla="*/ 5151264 h 6858285"/>
              <a:gd name="connsiteX596" fmla="*/ 4822473 w 6530351"/>
              <a:gd name="connsiteY596" fmla="*/ 5005338 h 6858285"/>
              <a:gd name="connsiteX597" fmla="*/ 4856099 w 6530351"/>
              <a:gd name="connsiteY597" fmla="*/ 5004627 h 6858285"/>
              <a:gd name="connsiteX598" fmla="*/ 1491745 w 6530351"/>
              <a:gd name="connsiteY598" fmla="*/ 5004627 h 6858285"/>
              <a:gd name="connsiteX599" fmla="*/ 1516069 w 6530351"/>
              <a:gd name="connsiteY599" fmla="*/ 5028079 h 6858285"/>
              <a:gd name="connsiteX600" fmla="*/ 1493175 w 6530351"/>
              <a:gd name="connsiteY600" fmla="*/ 5084934 h 6858285"/>
              <a:gd name="connsiteX601" fmla="*/ 1153585 w 6530351"/>
              <a:gd name="connsiteY601" fmla="*/ 5230861 h 6858285"/>
              <a:gd name="connsiteX602" fmla="*/ 1094443 w 6530351"/>
              <a:gd name="connsiteY602" fmla="*/ 5208119 h 6858285"/>
              <a:gd name="connsiteX603" fmla="*/ 1090627 w 6530351"/>
              <a:gd name="connsiteY603" fmla="*/ 5191063 h 6858285"/>
              <a:gd name="connsiteX604" fmla="*/ 1117336 w 6530351"/>
              <a:gd name="connsiteY604" fmla="*/ 5151264 h 6858285"/>
              <a:gd name="connsiteX605" fmla="*/ 1458835 w 6530351"/>
              <a:gd name="connsiteY605" fmla="*/ 5005338 h 6858285"/>
              <a:gd name="connsiteX606" fmla="*/ 1491745 w 6530351"/>
              <a:gd name="connsiteY606" fmla="*/ 5004627 h 6858285"/>
              <a:gd name="connsiteX607" fmla="*/ 4281261 w 6530351"/>
              <a:gd name="connsiteY607" fmla="*/ 4989339 h 6858285"/>
              <a:gd name="connsiteX608" fmla="*/ 4322813 w 6530351"/>
              <a:gd name="connsiteY608" fmla="*/ 5017541 h 6858285"/>
              <a:gd name="connsiteX609" fmla="*/ 4298031 w 6530351"/>
              <a:gd name="connsiteY609" fmla="*/ 5076750 h 6858285"/>
              <a:gd name="connsiteX610" fmla="*/ 3958689 w 6530351"/>
              <a:gd name="connsiteY610" fmla="*/ 5218087 h 6858285"/>
              <a:gd name="connsiteX611" fmla="*/ 3899591 w 6530351"/>
              <a:gd name="connsiteY611" fmla="*/ 5193257 h 6858285"/>
              <a:gd name="connsiteX612" fmla="*/ 3895779 w 6530351"/>
              <a:gd name="connsiteY612" fmla="*/ 5176068 h 6858285"/>
              <a:gd name="connsiteX613" fmla="*/ 3924375 w 6530351"/>
              <a:gd name="connsiteY613" fmla="*/ 5134049 h 6858285"/>
              <a:gd name="connsiteX614" fmla="*/ 4263715 w 6530351"/>
              <a:gd name="connsiteY614" fmla="*/ 4992712 h 6858285"/>
              <a:gd name="connsiteX615" fmla="*/ 4281261 w 6530351"/>
              <a:gd name="connsiteY615" fmla="*/ 4989339 h 6858285"/>
              <a:gd name="connsiteX616" fmla="*/ 2028604 w 6530351"/>
              <a:gd name="connsiteY616" fmla="*/ 4989339 h 6858285"/>
              <a:gd name="connsiteX617" fmla="*/ 2070128 w 6530351"/>
              <a:gd name="connsiteY617" fmla="*/ 5017541 h 6858285"/>
              <a:gd name="connsiteX618" fmla="*/ 2045363 w 6530351"/>
              <a:gd name="connsiteY618" fmla="*/ 5076750 h 6858285"/>
              <a:gd name="connsiteX619" fmla="*/ 1704363 w 6530351"/>
              <a:gd name="connsiteY619" fmla="*/ 5218087 h 6858285"/>
              <a:gd name="connsiteX620" fmla="*/ 1645307 w 6530351"/>
              <a:gd name="connsiteY620" fmla="*/ 5193257 h 6858285"/>
              <a:gd name="connsiteX621" fmla="*/ 1641497 w 6530351"/>
              <a:gd name="connsiteY621" fmla="*/ 5176068 h 6858285"/>
              <a:gd name="connsiteX622" fmla="*/ 1670072 w 6530351"/>
              <a:gd name="connsiteY622" fmla="*/ 5134049 h 6858285"/>
              <a:gd name="connsiteX623" fmla="*/ 2011072 w 6530351"/>
              <a:gd name="connsiteY623" fmla="*/ 4992712 h 6858285"/>
              <a:gd name="connsiteX624" fmla="*/ 2028604 w 6530351"/>
              <a:gd name="connsiteY624" fmla="*/ 4989339 h 6858285"/>
              <a:gd name="connsiteX625" fmla="*/ 3720415 w 6530351"/>
              <a:gd name="connsiteY625" fmla="*/ 4979828 h 6858285"/>
              <a:gd name="connsiteX626" fmla="*/ 3762743 w 6530351"/>
              <a:gd name="connsiteY626" fmla="*/ 5009832 h 6858285"/>
              <a:gd name="connsiteX627" fmla="*/ 3736073 w 6530351"/>
              <a:gd name="connsiteY627" fmla="*/ 5068887 h 6858285"/>
              <a:gd name="connsiteX628" fmla="*/ 3395073 w 6530351"/>
              <a:gd name="connsiteY628" fmla="*/ 5202237 h 6858285"/>
              <a:gd name="connsiteX629" fmla="*/ 3334112 w 6530351"/>
              <a:gd name="connsiteY629" fmla="*/ 5175567 h 6858285"/>
              <a:gd name="connsiteX630" fmla="*/ 3332207 w 6530351"/>
              <a:gd name="connsiteY630" fmla="*/ 5158422 h 6858285"/>
              <a:gd name="connsiteX631" fmla="*/ 3360782 w 6530351"/>
              <a:gd name="connsiteY631" fmla="*/ 5116512 h 6858285"/>
              <a:gd name="connsiteX632" fmla="*/ 3701783 w 6530351"/>
              <a:gd name="connsiteY632" fmla="*/ 4983162 h 6858285"/>
              <a:gd name="connsiteX633" fmla="*/ 3720415 w 6530351"/>
              <a:gd name="connsiteY633" fmla="*/ 4979828 h 6858285"/>
              <a:gd name="connsiteX634" fmla="*/ 2585938 w 6530351"/>
              <a:gd name="connsiteY634" fmla="*/ 4979828 h 6858285"/>
              <a:gd name="connsiteX635" fmla="*/ 2629225 w 6530351"/>
              <a:gd name="connsiteY635" fmla="*/ 5009832 h 6858285"/>
              <a:gd name="connsiteX636" fmla="*/ 2602458 w 6530351"/>
              <a:gd name="connsiteY636" fmla="*/ 5068887 h 6858285"/>
              <a:gd name="connsiteX637" fmla="*/ 2260223 w 6530351"/>
              <a:gd name="connsiteY637" fmla="*/ 5202237 h 6858285"/>
              <a:gd name="connsiteX638" fmla="*/ 2199041 w 6530351"/>
              <a:gd name="connsiteY638" fmla="*/ 5175567 h 6858285"/>
              <a:gd name="connsiteX639" fmla="*/ 2197129 w 6530351"/>
              <a:gd name="connsiteY639" fmla="*/ 5158422 h 6858285"/>
              <a:gd name="connsiteX640" fmla="*/ 2225808 w 6530351"/>
              <a:gd name="connsiteY640" fmla="*/ 5116512 h 6858285"/>
              <a:gd name="connsiteX641" fmla="*/ 2568043 w 6530351"/>
              <a:gd name="connsiteY641" fmla="*/ 4983162 h 6858285"/>
              <a:gd name="connsiteX642" fmla="*/ 2585938 w 6530351"/>
              <a:gd name="connsiteY642" fmla="*/ 4979828 h 6858285"/>
              <a:gd name="connsiteX643" fmla="*/ 3148516 w 6530351"/>
              <a:gd name="connsiteY643" fmla="*/ 4969031 h 6858285"/>
              <a:gd name="connsiteX644" fmla="*/ 3190904 w 6530351"/>
              <a:gd name="connsiteY644" fmla="*/ 5000728 h 6858285"/>
              <a:gd name="connsiteX645" fmla="*/ 3162288 w 6530351"/>
              <a:gd name="connsiteY645" fmla="*/ 5061853 h 6858285"/>
              <a:gd name="connsiteX646" fmla="*/ 2820801 w 6530351"/>
              <a:gd name="connsiteY646" fmla="*/ 5187924 h 6858285"/>
              <a:gd name="connsiteX647" fmla="*/ 2759753 w 6530351"/>
              <a:gd name="connsiteY647" fmla="*/ 5161182 h 6858285"/>
              <a:gd name="connsiteX648" fmla="*/ 2755937 w 6530351"/>
              <a:gd name="connsiteY648" fmla="*/ 5143990 h 6858285"/>
              <a:gd name="connsiteX649" fmla="*/ 2788369 w 6530351"/>
              <a:gd name="connsiteY649" fmla="*/ 5098146 h 6858285"/>
              <a:gd name="connsiteX650" fmla="*/ 3129856 w 6530351"/>
              <a:gd name="connsiteY650" fmla="*/ 4972076 h 6858285"/>
              <a:gd name="connsiteX651" fmla="*/ 3148516 w 6530351"/>
              <a:gd name="connsiteY651" fmla="*/ 4969031 h 6858285"/>
              <a:gd name="connsiteX652" fmla="*/ 6500077 w 6530351"/>
              <a:gd name="connsiteY652" fmla="*/ 4711372 h 6858285"/>
              <a:gd name="connsiteX653" fmla="*/ 6523141 w 6530351"/>
              <a:gd name="connsiteY653" fmla="*/ 4732302 h 6858285"/>
              <a:gd name="connsiteX654" fmla="*/ 6506021 w 6530351"/>
              <a:gd name="connsiteY654" fmla="*/ 4785577 h 6858285"/>
              <a:gd name="connsiteX655" fmla="*/ 6167435 w 6530351"/>
              <a:gd name="connsiteY655" fmla="*/ 4953011 h 6858285"/>
              <a:gd name="connsiteX656" fmla="*/ 6114175 w 6530351"/>
              <a:gd name="connsiteY656" fmla="*/ 4935887 h 6858285"/>
              <a:gd name="connsiteX657" fmla="*/ 6110371 w 6530351"/>
              <a:gd name="connsiteY657" fmla="*/ 4916861 h 6858285"/>
              <a:gd name="connsiteX658" fmla="*/ 6131293 w 6530351"/>
              <a:gd name="connsiteY658" fmla="*/ 4882613 h 6858285"/>
              <a:gd name="connsiteX659" fmla="*/ 6469879 w 6530351"/>
              <a:gd name="connsiteY659" fmla="*/ 4713275 h 6858285"/>
              <a:gd name="connsiteX660" fmla="*/ 6500077 w 6530351"/>
              <a:gd name="connsiteY660" fmla="*/ 4711372 h 6858285"/>
              <a:gd name="connsiteX661" fmla="*/ 5956831 w 6530351"/>
              <a:gd name="connsiteY661" fmla="*/ 4701876 h 6858285"/>
              <a:gd name="connsiteX662" fmla="*/ 5980185 w 6530351"/>
              <a:gd name="connsiteY662" fmla="*/ 4722883 h 6858285"/>
              <a:gd name="connsiteX663" fmla="*/ 5961121 w 6530351"/>
              <a:gd name="connsiteY663" fmla="*/ 4778267 h 6858285"/>
              <a:gd name="connsiteX664" fmla="*/ 5621775 w 6530351"/>
              <a:gd name="connsiteY664" fmla="*/ 4938688 h 6858285"/>
              <a:gd name="connsiteX665" fmla="*/ 5566487 w 6530351"/>
              <a:gd name="connsiteY665" fmla="*/ 4919590 h 6858285"/>
              <a:gd name="connsiteX666" fmla="*/ 5562675 w 6530351"/>
              <a:gd name="connsiteY666" fmla="*/ 4900492 h 6858285"/>
              <a:gd name="connsiteX667" fmla="*/ 5585553 w 6530351"/>
              <a:gd name="connsiteY667" fmla="*/ 4864207 h 6858285"/>
              <a:gd name="connsiteX668" fmla="*/ 5924899 w 6530351"/>
              <a:gd name="connsiteY668" fmla="*/ 4703786 h 6858285"/>
              <a:gd name="connsiteX669" fmla="*/ 5956831 w 6530351"/>
              <a:gd name="connsiteY669" fmla="*/ 4701876 h 6858285"/>
              <a:gd name="connsiteX670" fmla="*/ 398944 w 6530351"/>
              <a:gd name="connsiteY670" fmla="*/ 4701876 h 6858285"/>
              <a:gd name="connsiteX671" fmla="*/ 422281 w 6530351"/>
              <a:gd name="connsiteY671" fmla="*/ 4722883 h 6858285"/>
              <a:gd name="connsiteX672" fmla="*/ 401326 w 6530351"/>
              <a:gd name="connsiteY672" fmla="*/ 4778267 h 6858285"/>
              <a:gd name="connsiteX673" fmla="*/ 62231 w 6530351"/>
              <a:gd name="connsiteY673" fmla="*/ 4938688 h 6858285"/>
              <a:gd name="connsiteX674" fmla="*/ 6985 w 6530351"/>
              <a:gd name="connsiteY674" fmla="*/ 4919590 h 6858285"/>
              <a:gd name="connsiteX675" fmla="*/ 3175 w 6530351"/>
              <a:gd name="connsiteY675" fmla="*/ 4900492 h 6858285"/>
              <a:gd name="connsiteX676" fmla="*/ 27940 w 6530351"/>
              <a:gd name="connsiteY676" fmla="*/ 4864207 h 6858285"/>
              <a:gd name="connsiteX677" fmla="*/ 367035 w 6530351"/>
              <a:gd name="connsiteY677" fmla="*/ 4703786 h 6858285"/>
              <a:gd name="connsiteX678" fmla="*/ 398944 w 6530351"/>
              <a:gd name="connsiteY678" fmla="*/ 4701876 h 6858285"/>
              <a:gd name="connsiteX679" fmla="*/ 5409723 w 6530351"/>
              <a:gd name="connsiteY679" fmla="*/ 4693284 h 6858285"/>
              <a:gd name="connsiteX680" fmla="*/ 5434065 w 6530351"/>
              <a:gd name="connsiteY680" fmla="*/ 4715192 h 6858285"/>
              <a:gd name="connsiteX681" fmla="*/ 5411155 w 6530351"/>
              <a:gd name="connsiteY681" fmla="*/ 4772342 h 6858285"/>
              <a:gd name="connsiteX682" fmla="*/ 5071313 w 6530351"/>
              <a:gd name="connsiteY682" fmla="*/ 4922837 h 6858285"/>
              <a:gd name="connsiteX683" fmla="*/ 5014037 w 6530351"/>
              <a:gd name="connsiteY683" fmla="*/ 4901882 h 6858285"/>
              <a:gd name="connsiteX684" fmla="*/ 5010219 w 6530351"/>
              <a:gd name="connsiteY684" fmla="*/ 4882832 h 6858285"/>
              <a:gd name="connsiteX685" fmla="*/ 5036947 w 6530351"/>
              <a:gd name="connsiteY685" fmla="*/ 4842827 h 6858285"/>
              <a:gd name="connsiteX686" fmla="*/ 5376789 w 6530351"/>
              <a:gd name="connsiteY686" fmla="*/ 4694237 h 6858285"/>
              <a:gd name="connsiteX687" fmla="*/ 5409723 w 6530351"/>
              <a:gd name="connsiteY687" fmla="*/ 4693284 h 6858285"/>
              <a:gd name="connsiteX688" fmla="*/ 943153 w 6530351"/>
              <a:gd name="connsiteY688" fmla="*/ 4693284 h 6858285"/>
              <a:gd name="connsiteX689" fmla="*/ 966779 w 6530351"/>
              <a:gd name="connsiteY689" fmla="*/ 4715192 h 6858285"/>
              <a:gd name="connsiteX690" fmla="*/ 945777 w 6530351"/>
              <a:gd name="connsiteY690" fmla="*/ 4772342 h 6858285"/>
              <a:gd name="connsiteX691" fmla="*/ 604027 w 6530351"/>
              <a:gd name="connsiteY691" fmla="*/ 4922837 h 6858285"/>
              <a:gd name="connsiteX692" fmla="*/ 546750 w 6530351"/>
              <a:gd name="connsiteY692" fmla="*/ 4901882 h 6858285"/>
              <a:gd name="connsiteX693" fmla="*/ 542932 w 6530351"/>
              <a:gd name="connsiteY693" fmla="*/ 4882832 h 6858285"/>
              <a:gd name="connsiteX694" fmla="*/ 569661 w 6530351"/>
              <a:gd name="connsiteY694" fmla="*/ 4842827 h 6858285"/>
              <a:gd name="connsiteX695" fmla="*/ 909502 w 6530351"/>
              <a:gd name="connsiteY695" fmla="*/ 4694237 h 6858285"/>
              <a:gd name="connsiteX696" fmla="*/ 943153 w 6530351"/>
              <a:gd name="connsiteY696" fmla="*/ 4693284 h 6858285"/>
              <a:gd name="connsiteX697" fmla="*/ 4840067 w 6530351"/>
              <a:gd name="connsiteY697" fmla="*/ 4679736 h 6858285"/>
              <a:gd name="connsiteX698" fmla="*/ 4881621 w 6530351"/>
              <a:gd name="connsiteY698" fmla="*/ 4707755 h 6858285"/>
              <a:gd name="connsiteX699" fmla="*/ 4856837 w 6530351"/>
              <a:gd name="connsiteY699" fmla="*/ 4766579 h 6858285"/>
              <a:gd name="connsiteX700" fmla="*/ 4517497 w 6530351"/>
              <a:gd name="connsiteY700" fmla="*/ 4906999 h 6858285"/>
              <a:gd name="connsiteX701" fmla="*/ 4458397 w 6530351"/>
              <a:gd name="connsiteY701" fmla="*/ 4882331 h 6858285"/>
              <a:gd name="connsiteX702" fmla="*/ 4454585 w 6530351"/>
              <a:gd name="connsiteY702" fmla="*/ 4865253 h 6858285"/>
              <a:gd name="connsiteX703" fmla="*/ 4483181 w 6530351"/>
              <a:gd name="connsiteY703" fmla="*/ 4823506 h 6858285"/>
              <a:gd name="connsiteX704" fmla="*/ 4822523 w 6530351"/>
              <a:gd name="connsiteY704" fmla="*/ 4683087 h 6858285"/>
              <a:gd name="connsiteX705" fmla="*/ 4840067 w 6530351"/>
              <a:gd name="connsiteY705" fmla="*/ 4679736 h 6858285"/>
              <a:gd name="connsiteX706" fmla="*/ 1476109 w 6530351"/>
              <a:gd name="connsiteY706" fmla="*/ 4679736 h 6858285"/>
              <a:gd name="connsiteX707" fmla="*/ 1517663 w 6530351"/>
              <a:gd name="connsiteY707" fmla="*/ 4707755 h 6858285"/>
              <a:gd name="connsiteX708" fmla="*/ 1492880 w 6530351"/>
              <a:gd name="connsiteY708" fmla="*/ 4766579 h 6858285"/>
              <a:gd name="connsiteX709" fmla="*/ 1151632 w 6530351"/>
              <a:gd name="connsiteY709" fmla="*/ 4906999 h 6858285"/>
              <a:gd name="connsiteX710" fmla="*/ 1094440 w 6530351"/>
              <a:gd name="connsiteY710" fmla="*/ 4882331 h 6858285"/>
              <a:gd name="connsiteX711" fmla="*/ 1090627 w 6530351"/>
              <a:gd name="connsiteY711" fmla="*/ 4865253 h 6858285"/>
              <a:gd name="connsiteX712" fmla="*/ 1117317 w 6530351"/>
              <a:gd name="connsiteY712" fmla="*/ 4823506 h 6858285"/>
              <a:gd name="connsiteX713" fmla="*/ 1458564 w 6530351"/>
              <a:gd name="connsiteY713" fmla="*/ 4683087 h 6858285"/>
              <a:gd name="connsiteX714" fmla="*/ 1476109 w 6530351"/>
              <a:gd name="connsiteY714" fmla="*/ 4679736 h 6858285"/>
              <a:gd name="connsiteX715" fmla="*/ 4282923 w 6530351"/>
              <a:gd name="connsiteY715" fmla="*/ 4670533 h 6858285"/>
              <a:gd name="connsiteX716" fmla="*/ 4324415 w 6530351"/>
              <a:gd name="connsiteY716" fmla="*/ 4700269 h 6858285"/>
              <a:gd name="connsiteX717" fmla="*/ 4297765 w 6530351"/>
              <a:gd name="connsiteY717" fmla="*/ 4761229 h 6858285"/>
              <a:gd name="connsiteX718" fmla="*/ 3957011 w 6530351"/>
              <a:gd name="connsiteY718" fmla="*/ 4892674 h 6858285"/>
              <a:gd name="connsiteX719" fmla="*/ 3897997 w 6530351"/>
              <a:gd name="connsiteY719" fmla="*/ 4866004 h 6858285"/>
              <a:gd name="connsiteX720" fmla="*/ 3894191 w 6530351"/>
              <a:gd name="connsiteY720" fmla="*/ 4848859 h 6858285"/>
              <a:gd name="connsiteX721" fmla="*/ 3924649 w 6530351"/>
              <a:gd name="connsiteY721" fmla="*/ 4805044 h 6858285"/>
              <a:gd name="connsiteX722" fmla="*/ 4265403 w 6530351"/>
              <a:gd name="connsiteY722" fmla="*/ 4673599 h 6858285"/>
              <a:gd name="connsiteX723" fmla="*/ 4282923 w 6530351"/>
              <a:gd name="connsiteY723" fmla="*/ 4670533 h 6858285"/>
              <a:gd name="connsiteX724" fmla="*/ 2029462 w 6530351"/>
              <a:gd name="connsiteY724" fmla="*/ 4670533 h 6858285"/>
              <a:gd name="connsiteX725" fmla="*/ 2071729 w 6530351"/>
              <a:gd name="connsiteY725" fmla="*/ 4700269 h 6858285"/>
              <a:gd name="connsiteX726" fmla="*/ 2045097 w 6530351"/>
              <a:gd name="connsiteY726" fmla="*/ 4761229 h 6858285"/>
              <a:gd name="connsiteX727" fmla="*/ 1704587 w 6530351"/>
              <a:gd name="connsiteY727" fmla="*/ 4892674 h 6858285"/>
              <a:gd name="connsiteX728" fmla="*/ 1643714 w 6530351"/>
              <a:gd name="connsiteY728" fmla="*/ 4866004 h 6858285"/>
              <a:gd name="connsiteX729" fmla="*/ 1639909 w 6530351"/>
              <a:gd name="connsiteY729" fmla="*/ 4848859 h 6858285"/>
              <a:gd name="connsiteX730" fmla="*/ 1670346 w 6530351"/>
              <a:gd name="connsiteY730" fmla="*/ 4805044 h 6858285"/>
              <a:gd name="connsiteX731" fmla="*/ 2010855 w 6530351"/>
              <a:gd name="connsiteY731" fmla="*/ 4673599 h 6858285"/>
              <a:gd name="connsiteX732" fmla="*/ 2029462 w 6530351"/>
              <a:gd name="connsiteY732" fmla="*/ 4670533 h 6858285"/>
              <a:gd name="connsiteX733" fmla="*/ 3720845 w 6530351"/>
              <a:gd name="connsiteY733" fmla="*/ 4661020 h 6858285"/>
              <a:gd name="connsiteX734" fmla="*/ 3764007 w 6530351"/>
              <a:gd name="connsiteY734" fmla="*/ 4692545 h 6858285"/>
              <a:gd name="connsiteX735" fmla="*/ 3735411 w 6530351"/>
              <a:gd name="connsiteY735" fmla="*/ 4755238 h 6858285"/>
              <a:gd name="connsiteX736" fmla="*/ 3392262 w 6530351"/>
              <a:gd name="connsiteY736" fmla="*/ 4876825 h 6858285"/>
              <a:gd name="connsiteX737" fmla="*/ 3331258 w 6530351"/>
              <a:gd name="connsiteY737" fmla="*/ 4848328 h 6858285"/>
              <a:gd name="connsiteX738" fmla="*/ 3327445 w 6530351"/>
              <a:gd name="connsiteY738" fmla="*/ 4831230 h 6858285"/>
              <a:gd name="connsiteX739" fmla="*/ 3359854 w 6530351"/>
              <a:gd name="connsiteY739" fmla="*/ 4785635 h 6858285"/>
              <a:gd name="connsiteX740" fmla="*/ 3701097 w 6530351"/>
              <a:gd name="connsiteY740" fmla="*/ 4664048 h 6858285"/>
              <a:gd name="connsiteX741" fmla="*/ 3720845 w 6530351"/>
              <a:gd name="connsiteY741" fmla="*/ 4661020 h 6858285"/>
              <a:gd name="connsiteX742" fmla="*/ 2587354 w 6530351"/>
              <a:gd name="connsiteY742" fmla="*/ 4661020 h 6858285"/>
              <a:gd name="connsiteX743" fmla="*/ 2630516 w 6530351"/>
              <a:gd name="connsiteY743" fmla="*/ 4692545 h 6858285"/>
              <a:gd name="connsiteX744" fmla="*/ 2601920 w 6530351"/>
              <a:gd name="connsiteY744" fmla="*/ 4755238 h 6858285"/>
              <a:gd name="connsiteX745" fmla="*/ 2258771 w 6530351"/>
              <a:gd name="connsiteY745" fmla="*/ 4876825 h 6858285"/>
              <a:gd name="connsiteX746" fmla="*/ 2197767 w 6530351"/>
              <a:gd name="connsiteY746" fmla="*/ 4848328 h 6858285"/>
              <a:gd name="connsiteX747" fmla="*/ 2193954 w 6530351"/>
              <a:gd name="connsiteY747" fmla="*/ 4831230 h 6858285"/>
              <a:gd name="connsiteX748" fmla="*/ 2226363 w 6530351"/>
              <a:gd name="connsiteY748" fmla="*/ 4785635 h 6858285"/>
              <a:gd name="connsiteX749" fmla="*/ 2567605 w 6530351"/>
              <a:gd name="connsiteY749" fmla="*/ 4664048 h 6858285"/>
              <a:gd name="connsiteX750" fmla="*/ 2587354 w 6530351"/>
              <a:gd name="connsiteY750" fmla="*/ 4661020 h 6858285"/>
              <a:gd name="connsiteX751" fmla="*/ 3149672 w 6530351"/>
              <a:gd name="connsiteY751" fmla="*/ 4651820 h 6858285"/>
              <a:gd name="connsiteX752" fmla="*/ 3194410 w 6530351"/>
              <a:gd name="connsiteY752" fmla="*/ 4685085 h 6858285"/>
              <a:gd name="connsiteX753" fmla="*/ 3162024 w 6530351"/>
              <a:gd name="connsiteY753" fmla="*/ 4748038 h 6858285"/>
              <a:gd name="connsiteX754" fmla="*/ 2819120 w 6530351"/>
              <a:gd name="connsiteY754" fmla="*/ 4862498 h 6858285"/>
              <a:gd name="connsiteX755" fmla="*/ 2756254 w 6530351"/>
              <a:gd name="connsiteY755" fmla="*/ 4830068 h 6858285"/>
              <a:gd name="connsiteX756" fmla="*/ 2754349 w 6530351"/>
              <a:gd name="connsiteY756" fmla="*/ 4814807 h 6858285"/>
              <a:gd name="connsiteX757" fmla="*/ 2788639 w 6530351"/>
              <a:gd name="connsiteY757" fmla="*/ 4767115 h 6858285"/>
              <a:gd name="connsiteX758" fmla="*/ 3129639 w 6530351"/>
              <a:gd name="connsiteY758" fmla="*/ 4654562 h 6858285"/>
              <a:gd name="connsiteX759" fmla="*/ 3149672 w 6530351"/>
              <a:gd name="connsiteY759" fmla="*/ 4651820 h 6858285"/>
              <a:gd name="connsiteX760" fmla="*/ 6484889 w 6530351"/>
              <a:gd name="connsiteY760" fmla="*/ 4386504 h 6858285"/>
              <a:gd name="connsiteX761" fmla="*/ 6523141 w 6530351"/>
              <a:gd name="connsiteY761" fmla="*/ 4408417 h 6858285"/>
              <a:gd name="connsiteX762" fmla="*/ 6506021 w 6530351"/>
              <a:gd name="connsiteY762" fmla="*/ 4461627 h 6858285"/>
              <a:gd name="connsiteX763" fmla="*/ 6167435 w 6530351"/>
              <a:gd name="connsiteY763" fmla="*/ 4630760 h 6858285"/>
              <a:gd name="connsiteX764" fmla="*/ 6114175 w 6530351"/>
              <a:gd name="connsiteY764" fmla="*/ 4613657 h 6858285"/>
              <a:gd name="connsiteX765" fmla="*/ 6110371 w 6530351"/>
              <a:gd name="connsiteY765" fmla="*/ 4594653 h 6858285"/>
              <a:gd name="connsiteX766" fmla="*/ 6131293 w 6530351"/>
              <a:gd name="connsiteY766" fmla="*/ 4560446 h 6858285"/>
              <a:gd name="connsiteX767" fmla="*/ 6469879 w 6530351"/>
              <a:gd name="connsiteY767" fmla="*/ 4391314 h 6858285"/>
              <a:gd name="connsiteX768" fmla="*/ 6484889 w 6530351"/>
              <a:gd name="connsiteY768" fmla="*/ 4386504 h 6858285"/>
              <a:gd name="connsiteX769" fmla="*/ 5956857 w 6530351"/>
              <a:gd name="connsiteY769" fmla="*/ 4379613 h 6858285"/>
              <a:gd name="connsiteX770" fmla="*/ 5980193 w 6530351"/>
              <a:gd name="connsiteY770" fmla="*/ 4400620 h 6858285"/>
              <a:gd name="connsiteX771" fmla="*/ 5961143 w 6530351"/>
              <a:gd name="connsiteY771" fmla="*/ 4456004 h 6858285"/>
              <a:gd name="connsiteX772" fmla="*/ 5622049 w 6530351"/>
              <a:gd name="connsiteY772" fmla="*/ 4616425 h 6858285"/>
              <a:gd name="connsiteX773" fmla="*/ 5564899 w 6530351"/>
              <a:gd name="connsiteY773" fmla="*/ 4595417 h 6858285"/>
              <a:gd name="connsiteX774" fmla="*/ 5561087 w 6530351"/>
              <a:gd name="connsiteY774" fmla="*/ 4578229 h 6858285"/>
              <a:gd name="connsiteX775" fmla="*/ 5585853 w 6530351"/>
              <a:gd name="connsiteY775" fmla="*/ 4540034 h 6858285"/>
              <a:gd name="connsiteX776" fmla="*/ 5924949 w 6530351"/>
              <a:gd name="connsiteY776" fmla="*/ 4381523 h 6858285"/>
              <a:gd name="connsiteX777" fmla="*/ 5956857 w 6530351"/>
              <a:gd name="connsiteY777" fmla="*/ 4379613 h 6858285"/>
              <a:gd name="connsiteX778" fmla="*/ 398944 w 6530351"/>
              <a:gd name="connsiteY778" fmla="*/ 4379613 h 6858285"/>
              <a:gd name="connsiteX779" fmla="*/ 422281 w 6530351"/>
              <a:gd name="connsiteY779" fmla="*/ 4400620 h 6858285"/>
              <a:gd name="connsiteX780" fmla="*/ 401326 w 6530351"/>
              <a:gd name="connsiteY780" fmla="*/ 4456004 h 6858285"/>
              <a:gd name="connsiteX781" fmla="*/ 62231 w 6530351"/>
              <a:gd name="connsiteY781" fmla="*/ 4616425 h 6858285"/>
              <a:gd name="connsiteX782" fmla="*/ 6985 w 6530351"/>
              <a:gd name="connsiteY782" fmla="*/ 4595417 h 6858285"/>
              <a:gd name="connsiteX783" fmla="*/ 3175 w 6530351"/>
              <a:gd name="connsiteY783" fmla="*/ 4578229 h 6858285"/>
              <a:gd name="connsiteX784" fmla="*/ 27940 w 6530351"/>
              <a:gd name="connsiteY784" fmla="*/ 4540034 h 6858285"/>
              <a:gd name="connsiteX785" fmla="*/ 367035 w 6530351"/>
              <a:gd name="connsiteY785" fmla="*/ 4381523 h 6858285"/>
              <a:gd name="connsiteX786" fmla="*/ 398944 w 6530351"/>
              <a:gd name="connsiteY786" fmla="*/ 4379613 h 6858285"/>
              <a:gd name="connsiteX787" fmla="*/ 5410439 w 6530351"/>
              <a:gd name="connsiteY787" fmla="*/ 4371271 h 6858285"/>
              <a:gd name="connsiteX788" fmla="*/ 5434065 w 6530351"/>
              <a:gd name="connsiteY788" fmla="*/ 4394876 h 6858285"/>
              <a:gd name="connsiteX789" fmla="*/ 5411155 w 6530351"/>
              <a:gd name="connsiteY789" fmla="*/ 4452100 h 6858285"/>
              <a:gd name="connsiteX790" fmla="*/ 5071313 w 6530351"/>
              <a:gd name="connsiteY790" fmla="*/ 4598974 h 6858285"/>
              <a:gd name="connsiteX791" fmla="*/ 5014037 w 6530351"/>
              <a:gd name="connsiteY791" fmla="*/ 4576085 h 6858285"/>
              <a:gd name="connsiteX792" fmla="*/ 5010219 w 6530351"/>
              <a:gd name="connsiteY792" fmla="*/ 4558918 h 6858285"/>
              <a:gd name="connsiteX793" fmla="*/ 5036947 w 6530351"/>
              <a:gd name="connsiteY793" fmla="*/ 4518861 h 6858285"/>
              <a:gd name="connsiteX794" fmla="*/ 5376789 w 6530351"/>
              <a:gd name="connsiteY794" fmla="*/ 4371986 h 6858285"/>
              <a:gd name="connsiteX795" fmla="*/ 5410439 w 6530351"/>
              <a:gd name="connsiteY795" fmla="*/ 4371271 h 6858285"/>
              <a:gd name="connsiteX796" fmla="*/ 943811 w 6530351"/>
              <a:gd name="connsiteY796" fmla="*/ 4371271 h 6858285"/>
              <a:gd name="connsiteX797" fmla="*/ 968374 w 6530351"/>
              <a:gd name="connsiteY797" fmla="*/ 4394876 h 6858285"/>
              <a:gd name="connsiteX798" fmla="*/ 945480 w 6530351"/>
              <a:gd name="connsiteY798" fmla="*/ 4452100 h 6858285"/>
              <a:gd name="connsiteX799" fmla="*/ 603982 w 6530351"/>
              <a:gd name="connsiteY799" fmla="*/ 4598974 h 6858285"/>
              <a:gd name="connsiteX800" fmla="*/ 546748 w 6530351"/>
              <a:gd name="connsiteY800" fmla="*/ 4576085 h 6858285"/>
              <a:gd name="connsiteX801" fmla="*/ 542932 w 6530351"/>
              <a:gd name="connsiteY801" fmla="*/ 4558918 h 6858285"/>
              <a:gd name="connsiteX802" fmla="*/ 569641 w 6530351"/>
              <a:gd name="connsiteY802" fmla="*/ 4518861 h 6858285"/>
              <a:gd name="connsiteX803" fmla="*/ 909232 w 6530351"/>
              <a:gd name="connsiteY803" fmla="*/ 4371986 h 6858285"/>
              <a:gd name="connsiteX804" fmla="*/ 943811 w 6530351"/>
              <a:gd name="connsiteY804" fmla="*/ 4371271 h 6858285"/>
              <a:gd name="connsiteX805" fmla="*/ 4841693 w 6530351"/>
              <a:gd name="connsiteY805" fmla="*/ 4359077 h 6858285"/>
              <a:gd name="connsiteX806" fmla="*/ 4883215 w 6530351"/>
              <a:gd name="connsiteY806" fmla="*/ 4387168 h 6858285"/>
              <a:gd name="connsiteX807" fmla="*/ 4856545 w 6530351"/>
              <a:gd name="connsiteY807" fmla="*/ 4448048 h 6858285"/>
              <a:gd name="connsiteX808" fmla="*/ 4517451 w 6530351"/>
              <a:gd name="connsiteY808" fmla="*/ 4583124 h 6858285"/>
              <a:gd name="connsiteX809" fmla="*/ 4456491 w 6530351"/>
              <a:gd name="connsiteY809" fmla="*/ 4556490 h 6858285"/>
              <a:gd name="connsiteX810" fmla="*/ 4454585 w 6530351"/>
              <a:gd name="connsiteY810" fmla="*/ 4539367 h 6858285"/>
              <a:gd name="connsiteX811" fmla="*/ 4483161 w 6530351"/>
              <a:gd name="connsiteY811" fmla="*/ 4497513 h 6858285"/>
              <a:gd name="connsiteX812" fmla="*/ 4824161 w 6530351"/>
              <a:gd name="connsiteY812" fmla="*/ 4362436 h 6858285"/>
              <a:gd name="connsiteX813" fmla="*/ 4841693 w 6530351"/>
              <a:gd name="connsiteY813" fmla="*/ 4359077 h 6858285"/>
              <a:gd name="connsiteX814" fmla="*/ 1477218 w 6530351"/>
              <a:gd name="connsiteY814" fmla="*/ 4359077 h 6858285"/>
              <a:gd name="connsiteX815" fmla="*/ 1517670 w 6530351"/>
              <a:gd name="connsiteY815" fmla="*/ 4387168 h 6858285"/>
              <a:gd name="connsiteX816" fmla="*/ 1492905 w 6530351"/>
              <a:gd name="connsiteY816" fmla="*/ 4448048 h 6858285"/>
              <a:gd name="connsiteX817" fmla="*/ 1151905 w 6530351"/>
              <a:gd name="connsiteY817" fmla="*/ 4583124 h 6858285"/>
              <a:gd name="connsiteX818" fmla="*/ 1092849 w 6530351"/>
              <a:gd name="connsiteY818" fmla="*/ 4556490 h 6858285"/>
              <a:gd name="connsiteX819" fmla="*/ 1089039 w 6530351"/>
              <a:gd name="connsiteY819" fmla="*/ 4539367 h 6858285"/>
              <a:gd name="connsiteX820" fmla="*/ 1117614 w 6530351"/>
              <a:gd name="connsiteY820" fmla="*/ 4497513 h 6858285"/>
              <a:gd name="connsiteX821" fmla="*/ 1458614 w 6530351"/>
              <a:gd name="connsiteY821" fmla="*/ 4362436 h 6858285"/>
              <a:gd name="connsiteX822" fmla="*/ 1477218 w 6530351"/>
              <a:gd name="connsiteY822" fmla="*/ 4359077 h 6858285"/>
              <a:gd name="connsiteX823" fmla="*/ 4284047 w 6530351"/>
              <a:gd name="connsiteY823" fmla="*/ 4349914 h 6858285"/>
              <a:gd name="connsiteX824" fmla="*/ 4326017 w 6530351"/>
              <a:gd name="connsiteY824" fmla="*/ 4381655 h 6858285"/>
              <a:gd name="connsiteX825" fmla="*/ 4297503 w 6530351"/>
              <a:gd name="connsiteY825" fmla="*/ 4442865 h 6858285"/>
              <a:gd name="connsiteX826" fmla="*/ 3957235 w 6530351"/>
              <a:gd name="connsiteY826" fmla="*/ 4569111 h 6858285"/>
              <a:gd name="connsiteX827" fmla="*/ 3896405 w 6530351"/>
              <a:gd name="connsiteY827" fmla="*/ 4538506 h 6858285"/>
              <a:gd name="connsiteX828" fmla="*/ 3892603 w 6530351"/>
              <a:gd name="connsiteY828" fmla="*/ 4523203 h 6858285"/>
              <a:gd name="connsiteX829" fmla="*/ 3924919 w 6530351"/>
              <a:gd name="connsiteY829" fmla="*/ 4477296 h 6858285"/>
              <a:gd name="connsiteX830" fmla="*/ 4265187 w 6530351"/>
              <a:gd name="connsiteY830" fmla="*/ 4352963 h 6858285"/>
              <a:gd name="connsiteX831" fmla="*/ 4284047 w 6530351"/>
              <a:gd name="connsiteY831" fmla="*/ 4349914 h 6858285"/>
              <a:gd name="connsiteX832" fmla="*/ 2029797 w 6530351"/>
              <a:gd name="connsiteY832" fmla="*/ 4349914 h 6858285"/>
              <a:gd name="connsiteX833" fmla="*/ 2073637 w 6530351"/>
              <a:gd name="connsiteY833" fmla="*/ 4381655 h 6858285"/>
              <a:gd name="connsiteX834" fmla="*/ 2045123 w 6530351"/>
              <a:gd name="connsiteY834" fmla="*/ 4442865 h 6858285"/>
              <a:gd name="connsiteX835" fmla="*/ 1702954 w 6530351"/>
              <a:gd name="connsiteY835" fmla="*/ 4569111 h 6858285"/>
              <a:gd name="connsiteX836" fmla="*/ 1642124 w 6530351"/>
              <a:gd name="connsiteY836" fmla="*/ 4538506 h 6858285"/>
              <a:gd name="connsiteX837" fmla="*/ 1638322 w 6530351"/>
              <a:gd name="connsiteY837" fmla="*/ 4523203 h 6858285"/>
              <a:gd name="connsiteX838" fmla="*/ 1670638 w 6530351"/>
              <a:gd name="connsiteY838" fmla="*/ 4477296 h 6858285"/>
              <a:gd name="connsiteX839" fmla="*/ 2010906 w 6530351"/>
              <a:gd name="connsiteY839" fmla="*/ 4352963 h 6858285"/>
              <a:gd name="connsiteX840" fmla="*/ 2029797 w 6530351"/>
              <a:gd name="connsiteY840" fmla="*/ 4349914 h 6858285"/>
              <a:gd name="connsiteX841" fmla="*/ 3722775 w 6530351"/>
              <a:gd name="connsiteY841" fmla="*/ 4341193 h 6858285"/>
              <a:gd name="connsiteX842" fmla="*/ 3765607 w 6530351"/>
              <a:gd name="connsiteY842" fmla="*/ 4375580 h 6858285"/>
              <a:gd name="connsiteX843" fmla="*/ 3733245 w 6530351"/>
              <a:gd name="connsiteY843" fmla="*/ 4438622 h 6858285"/>
              <a:gd name="connsiteX844" fmla="*/ 3392486 w 6530351"/>
              <a:gd name="connsiteY844" fmla="*/ 4551335 h 6858285"/>
              <a:gd name="connsiteX845" fmla="*/ 3329664 w 6530351"/>
              <a:gd name="connsiteY845" fmla="*/ 4518858 h 6858285"/>
              <a:gd name="connsiteX846" fmla="*/ 3325857 w 6530351"/>
              <a:gd name="connsiteY846" fmla="*/ 4503575 h 6858285"/>
              <a:gd name="connsiteX847" fmla="*/ 3360123 w 6530351"/>
              <a:gd name="connsiteY847" fmla="*/ 4455816 h 6858285"/>
              <a:gd name="connsiteX848" fmla="*/ 3702787 w 6530351"/>
              <a:gd name="connsiteY848" fmla="*/ 4343103 h 6858285"/>
              <a:gd name="connsiteX849" fmla="*/ 3722775 w 6530351"/>
              <a:gd name="connsiteY849" fmla="*/ 4341193 h 6858285"/>
              <a:gd name="connsiteX850" fmla="*/ 2589285 w 6530351"/>
              <a:gd name="connsiteY850" fmla="*/ 4341193 h 6858285"/>
              <a:gd name="connsiteX851" fmla="*/ 2632118 w 6530351"/>
              <a:gd name="connsiteY851" fmla="*/ 4375580 h 6858285"/>
              <a:gd name="connsiteX852" fmla="*/ 2599755 w 6530351"/>
              <a:gd name="connsiteY852" fmla="*/ 4438622 h 6858285"/>
              <a:gd name="connsiteX853" fmla="*/ 2258996 w 6530351"/>
              <a:gd name="connsiteY853" fmla="*/ 4551335 h 6858285"/>
              <a:gd name="connsiteX854" fmla="*/ 2196174 w 6530351"/>
              <a:gd name="connsiteY854" fmla="*/ 4518858 h 6858285"/>
              <a:gd name="connsiteX855" fmla="*/ 2192367 w 6530351"/>
              <a:gd name="connsiteY855" fmla="*/ 4503575 h 6858285"/>
              <a:gd name="connsiteX856" fmla="*/ 2226633 w 6530351"/>
              <a:gd name="connsiteY856" fmla="*/ 4455816 h 6858285"/>
              <a:gd name="connsiteX857" fmla="*/ 2569296 w 6530351"/>
              <a:gd name="connsiteY857" fmla="*/ 4343103 h 6858285"/>
              <a:gd name="connsiteX858" fmla="*/ 2589285 w 6530351"/>
              <a:gd name="connsiteY858" fmla="*/ 4341193 h 6858285"/>
              <a:gd name="connsiteX859" fmla="*/ 3152162 w 6530351"/>
              <a:gd name="connsiteY859" fmla="*/ 4331988 h 6858285"/>
              <a:gd name="connsiteX860" fmla="*/ 3195706 w 6530351"/>
              <a:gd name="connsiteY860" fmla="*/ 4369816 h 6858285"/>
              <a:gd name="connsiteX861" fmla="*/ 3161512 w 6530351"/>
              <a:gd name="connsiteY861" fmla="*/ 4434681 h 6858285"/>
              <a:gd name="connsiteX862" fmla="*/ 2819564 w 6530351"/>
              <a:gd name="connsiteY862" fmla="*/ 4535794 h 6858285"/>
              <a:gd name="connsiteX863" fmla="*/ 2753074 w 6530351"/>
              <a:gd name="connsiteY863" fmla="*/ 4499546 h 6858285"/>
              <a:gd name="connsiteX864" fmla="*/ 2751174 w 6530351"/>
              <a:gd name="connsiteY864" fmla="*/ 4486191 h 6858285"/>
              <a:gd name="connsiteX865" fmla="*/ 2789168 w 6530351"/>
              <a:gd name="connsiteY865" fmla="*/ 4434681 h 6858285"/>
              <a:gd name="connsiteX866" fmla="*/ 3131116 w 6530351"/>
              <a:gd name="connsiteY866" fmla="*/ 4333568 h 6858285"/>
              <a:gd name="connsiteX867" fmla="*/ 3152162 w 6530351"/>
              <a:gd name="connsiteY867" fmla="*/ 4331988 h 6858285"/>
              <a:gd name="connsiteX868" fmla="*/ 6500077 w 6530351"/>
              <a:gd name="connsiteY868" fmla="*/ 4065058 h 6858285"/>
              <a:gd name="connsiteX869" fmla="*/ 6523141 w 6530351"/>
              <a:gd name="connsiteY869" fmla="*/ 4084416 h 6858285"/>
              <a:gd name="connsiteX870" fmla="*/ 6506021 w 6530351"/>
              <a:gd name="connsiteY870" fmla="*/ 4137951 h 6858285"/>
              <a:gd name="connsiteX871" fmla="*/ 6167435 w 6530351"/>
              <a:gd name="connsiteY871" fmla="*/ 4310027 h 6858285"/>
              <a:gd name="connsiteX872" fmla="*/ 6114175 w 6530351"/>
              <a:gd name="connsiteY872" fmla="*/ 4292819 h 6858285"/>
              <a:gd name="connsiteX873" fmla="*/ 6110371 w 6530351"/>
              <a:gd name="connsiteY873" fmla="*/ 4273700 h 6858285"/>
              <a:gd name="connsiteX874" fmla="*/ 6131293 w 6530351"/>
              <a:gd name="connsiteY874" fmla="*/ 4239285 h 6858285"/>
              <a:gd name="connsiteX875" fmla="*/ 6469879 w 6530351"/>
              <a:gd name="connsiteY875" fmla="*/ 4067209 h 6858285"/>
              <a:gd name="connsiteX876" fmla="*/ 6500077 w 6530351"/>
              <a:gd name="connsiteY876" fmla="*/ 4065058 h 6858285"/>
              <a:gd name="connsiteX877" fmla="*/ 5941081 w 6530351"/>
              <a:gd name="connsiteY877" fmla="*/ 4054778 h 6858285"/>
              <a:gd name="connsiteX878" fmla="*/ 5980193 w 6530351"/>
              <a:gd name="connsiteY878" fmla="*/ 4078680 h 6858285"/>
              <a:gd name="connsiteX879" fmla="*/ 5961143 w 6530351"/>
              <a:gd name="connsiteY879" fmla="*/ 4135973 h 6858285"/>
              <a:gd name="connsiteX880" fmla="*/ 5622049 w 6530351"/>
              <a:gd name="connsiteY880" fmla="*/ 4292575 h 6858285"/>
              <a:gd name="connsiteX881" fmla="*/ 5564899 w 6530351"/>
              <a:gd name="connsiteY881" fmla="*/ 4271567 h 6858285"/>
              <a:gd name="connsiteX882" fmla="*/ 5561087 w 6530351"/>
              <a:gd name="connsiteY882" fmla="*/ 4254379 h 6858285"/>
              <a:gd name="connsiteX883" fmla="*/ 5585853 w 6530351"/>
              <a:gd name="connsiteY883" fmla="*/ 4216184 h 6858285"/>
              <a:gd name="connsiteX884" fmla="*/ 5924949 w 6530351"/>
              <a:gd name="connsiteY884" fmla="*/ 4059583 h 6858285"/>
              <a:gd name="connsiteX885" fmla="*/ 5941081 w 6530351"/>
              <a:gd name="connsiteY885" fmla="*/ 4054778 h 6858285"/>
              <a:gd name="connsiteX886" fmla="*/ 383168 w 6530351"/>
              <a:gd name="connsiteY886" fmla="*/ 4054778 h 6858285"/>
              <a:gd name="connsiteX887" fmla="*/ 422281 w 6530351"/>
              <a:gd name="connsiteY887" fmla="*/ 4078680 h 6858285"/>
              <a:gd name="connsiteX888" fmla="*/ 401326 w 6530351"/>
              <a:gd name="connsiteY888" fmla="*/ 4135973 h 6858285"/>
              <a:gd name="connsiteX889" fmla="*/ 62231 w 6530351"/>
              <a:gd name="connsiteY889" fmla="*/ 4292575 h 6858285"/>
              <a:gd name="connsiteX890" fmla="*/ 6985 w 6530351"/>
              <a:gd name="connsiteY890" fmla="*/ 4271567 h 6858285"/>
              <a:gd name="connsiteX891" fmla="*/ 3175 w 6530351"/>
              <a:gd name="connsiteY891" fmla="*/ 4254379 h 6858285"/>
              <a:gd name="connsiteX892" fmla="*/ 27940 w 6530351"/>
              <a:gd name="connsiteY892" fmla="*/ 4216184 h 6858285"/>
              <a:gd name="connsiteX893" fmla="*/ 367035 w 6530351"/>
              <a:gd name="connsiteY893" fmla="*/ 4059583 h 6858285"/>
              <a:gd name="connsiteX894" fmla="*/ 383168 w 6530351"/>
              <a:gd name="connsiteY894" fmla="*/ 4054778 h 6858285"/>
              <a:gd name="connsiteX895" fmla="*/ 5394113 w 6530351"/>
              <a:gd name="connsiteY895" fmla="*/ 4046334 h 6858285"/>
              <a:gd name="connsiteX896" fmla="*/ 5435665 w 6530351"/>
              <a:gd name="connsiteY896" fmla="*/ 4072655 h 6858285"/>
              <a:gd name="connsiteX897" fmla="*/ 5410883 w 6530351"/>
              <a:gd name="connsiteY897" fmla="*/ 4131864 h 6858285"/>
              <a:gd name="connsiteX898" fmla="*/ 5071541 w 6530351"/>
              <a:gd name="connsiteY898" fmla="*/ 4275111 h 6858285"/>
              <a:gd name="connsiteX899" fmla="*/ 5012443 w 6530351"/>
              <a:gd name="connsiteY899" fmla="*/ 4252191 h 6858285"/>
              <a:gd name="connsiteX900" fmla="*/ 5008631 w 6530351"/>
              <a:gd name="connsiteY900" fmla="*/ 4235002 h 6858285"/>
              <a:gd name="connsiteX901" fmla="*/ 5037227 w 6530351"/>
              <a:gd name="connsiteY901" fmla="*/ 4192983 h 6858285"/>
              <a:gd name="connsiteX902" fmla="*/ 5376567 w 6530351"/>
              <a:gd name="connsiteY902" fmla="*/ 4049736 h 6858285"/>
              <a:gd name="connsiteX903" fmla="*/ 5394113 w 6530351"/>
              <a:gd name="connsiteY903" fmla="*/ 4046334 h 6858285"/>
              <a:gd name="connsiteX904" fmla="*/ 926790 w 6530351"/>
              <a:gd name="connsiteY904" fmla="*/ 4046333 h 6858285"/>
              <a:gd name="connsiteX905" fmla="*/ 968374 w 6530351"/>
              <a:gd name="connsiteY905" fmla="*/ 4072655 h 6858285"/>
              <a:gd name="connsiteX906" fmla="*/ 945480 w 6530351"/>
              <a:gd name="connsiteY906" fmla="*/ 4131864 h 6858285"/>
              <a:gd name="connsiteX907" fmla="*/ 603982 w 6530351"/>
              <a:gd name="connsiteY907" fmla="*/ 4275111 h 6858285"/>
              <a:gd name="connsiteX908" fmla="*/ 544840 w 6530351"/>
              <a:gd name="connsiteY908" fmla="*/ 4252191 h 6858285"/>
              <a:gd name="connsiteX909" fmla="*/ 542932 w 6530351"/>
              <a:gd name="connsiteY909" fmla="*/ 4235002 h 6858285"/>
              <a:gd name="connsiteX910" fmla="*/ 569641 w 6530351"/>
              <a:gd name="connsiteY910" fmla="*/ 4192983 h 6858285"/>
              <a:gd name="connsiteX911" fmla="*/ 909232 w 6530351"/>
              <a:gd name="connsiteY911" fmla="*/ 4049736 h 6858285"/>
              <a:gd name="connsiteX912" fmla="*/ 926790 w 6530351"/>
              <a:gd name="connsiteY912" fmla="*/ 4046333 h 6858285"/>
              <a:gd name="connsiteX913" fmla="*/ 4823945 w 6530351"/>
              <a:gd name="connsiteY913" fmla="*/ 4041415 h 6858285"/>
              <a:gd name="connsiteX914" fmla="*/ 4884817 w 6530351"/>
              <a:gd name="connsiteY914" fmla="*/ 4069836 h 6858285"/>
              <a:gd name="connsiteX915" fmla="*/ 4856283 w 6530351"/>
              <a:gd name="connsiteY915" fmla="*/ 4130469 h 6858285"/>
              <a:gd name="connsiteX916" fmla="*/ 4515773 w 6530351"/>
              <a:gd name="connsiteY916" fmla="*/ 4259312 h 6858285"/>
              <a:gd name="connsiteX917" fmla="*/ 4454901 w 6530351"/>
              <a:gd name="connsiteY917" fmla="*/ 4230891 h 6858285"/>
              <a:gd name="connsiteX918" fmla="*/ 4452999 w 6530351"/>
              <a:gd name="connsiteY918" fmla="*/ 4215733 h 6858285"/>
              <a:gd name="connsiteX919" fmla="*/ 4483435 w 6530351"/>
              <a:gd name="connsiteY919" fmla="*/ 4170258 h 6858285"/>
              <a:gd name="connsiteX920" fmla="*/ 4823945 w 6530351"/>
              <a:gd name="connsiteY920" fmla="*/ 4041415 h 6858285"/>
              <a:gd name="connsiteX921" fmla="*/ 1458398 w 6530351"/>
              <a:gd name="connsiteY921" fmla="*/ 4041415 h 6858285"/>
              <a:gd name="connsiteX922" fmla="*/ 1519272 w 6530351"/>
              <a:gd name="connsiteY922" fmla="*/ 4069836 h 6858285"/>
              <a:gd name="connsiteX923" fmla="*/ 1492639 w 6530351"/>
              <a:gd name="connsiteY923" fmla="*/ 4130469 h 6858285"/>
              <a:gd name="connsiteX924" fmla="*/ 1152130 w 6530351"/>
              <a:gd name="connsiteY924" fmla="*/ 4259312 h 6858285"/>
              <a:gd name="connsiteX925" fmla="*/ 1091257 w 6530351"/>
              <a:gd name="connsiteY925" fmla="*/ 4230891 h 6858285"/>
              <a:gd name="connsiteX926" fmla="*/ 1087452 w 6530351"/>
              <a:gd name="connsiteY926" fmla="*/ 4215733 h 6858285"/>
              <a:gd name="connsiteX927" fmla="*/ 1117889 w 6530351"/>
              <a:gd name="connsiteY927" fmla="*/ 4170258 h 6858285"/>
              <a:gd name="connsiteX928" fmla="*/ 1458398 w 6530351"/>
              <a:gd name="connsiteY928" fmla="*/ 4041415 h 6858285"/>
              <a:gd name="connsiteX929" fmla="*/ 4286123 w 6530351"/>
              <a:gd name="connsiteY929" fmla="*/ 4031097 h 6858285"/>
              <a:gd name="connsiteX930" fmla="*/ 4329137 w 6530351"/>
              <a:gd name="connsiteY930" fmla="*/ 4064316 h 6858285"/>
              <a:gd name="connsiteX931" fmla="*/ 4298549 w 6530351"/>
              <a:gd name="connsiteY931" fmla="*/ 4127181 h 6858285"/>
              <a:gd name="connsiteX932" fmla="*/ 3956339 w 6530351"/>
              <a:gd name="connsiteY932" fmla="*/ 4243386 h 6858285"/>
              <a:gd name="connsiteX933" fmla="*/ 3893251 w 6530351"/>
              <a:gd name="connsiteY933" fmla="*/ 4212906 h 6858285"/>
              <a:gd name="connsiteX934" fmla="*/ 3889427 w 6530351"/>
              <a:gd name="connsiteY934" fmla="*/ 4195761 h 6858285"/>
              <a:gd name="connsiteX935" fmla="*/ 3923839 w 6530351"/>
              <a:gd name="connsiteY935" fmla="*/ 4150041 h 6858285"/>
              <a:gd name="connsiteX936" fmla="*/ 4266049 w 6530351"/>
              <a:gd name="connsiteY936" fmla="*/ 4033836 h 6858285"/>
              <a:gd name="connsiteX937" fmla="*/ 4286123 w 6530351"/>
              <a:gd name="connsiteY937" fmla="*/ 4031097 h 6858285"/>
              <a:gd name="connsiteX938" fmla="*/ 2031420 w 6530351"/>
              <a:gd name="connsiteY938" fmla="*/ 4031097 h 6858285"/>
              <a:gd name="connsiteX939" fmla="*/ 2075230 w 6530351"/>
              <a:gd name="connsiteY939" fmla="*/ 4064316 h 6858285"/>
              <a:gd name="connsiteX940" fmla="*/ 2042936 w 6530351"/>
              <a:gd name="connsiteY940" fmla="*/ 4127181 h 6858285"/>
              <a:gd name="connsiteX941" fmla="*/ 1702908 w 6530351"/>
              <a:gd name="connsiteY941" fmla="*/ 4243386 h 6858285"/>
              <a:gd name="connsiteX942" fmla="*/ 1640222 w 6530351"/>
              <a:gd name="connsiteY942" fmla="*/ 4212906 h 6858285"/>
              <a:gd name="connsiteX943" fmla="*/ 1638322 w 6530351"/>
              <a:gd name="connsiteY943" fmla="*/ 4195761 h 6858285"/>
              <a:gd name="connsiteX944" fmla="*/ 1670615 w 6530351"/>
              <a:gd name="connsiteY944" fmla="*/ 4150041 h 6858285"/>
              <a:gd name="connsiteX945" fmla="*/ 2012543 w 6530351"/>
              <a:gd name="connsiteY945" fmla="*/ 4033836 h 6858285"/>
              <a:gd name="connsiteX946" fmla="*/ 2031420 w 6530351"/>
              <a:gd name="connsiteY946" fmla="*/ 4031097 h 6858285"/>
              <a:gd name="connsiteX947" fmla="*/ 3725869 w 6530351"/>
              <a:gd name="connsiteY947" fmla="*/ 4022416 h 6858285"/>
              <a:gd name="connsiteX948" fmla="*/ 3770671 w 6530351"/>
              <a:gd name="connsiteY948" fmla="*/ 4060189 h 6858285"/>
              <a:gd name="connsiteX949" fmla="*/ 3734425 w 6530351"/>
              <a:gd name="connsiteY949" fmla="*/ 4124959 h 6858285"/>
              <a:gd name="connsiteX950" fmla="*/ 3391039 w 6530351"/>
              <a:gd name="connsiteY950" fmla="*/ 4225924 h 6858285"/>
              <a:gd name="connsiteX951" fmla="*/ 3326178 w 6530351"/>
              <a:gd name="connsiteY951" fmla="*/ 4191634 h 6858285"/>
              <a:gd name="connsiteX952" fmla="*/ 3324270 w 6530351"/>
              <a:gd name="connsiteY952" fmla="*/ 4176394 h 6858285"/>
              <a:gd name="connsiteX953" fmla="*/ 3362424 w 6530351"/>
              <a:gd name="connsiteY953" fmla="*/ 4126864 h 6858285"/>
              <a:gd name="connsiteX954" fmla="*/ 3705809 w 6530351"/>
              <a:gd name="connsiteY954" fmla="*/ 4023994 h 6858285"/>
              <a:gd name="connsiteX955" fmla="*/ 3725869 w 6530351"/>
              <a:gd name="connsiteY955" fmla="*/ 4022416 h 6858285"/>
              <a:gd name="connsiteX956" fmla="*/ 2590975 w 6530351"/>
              <a:gd name="connsiteY956" fmla="*/ 4022416 h 6858285"/>
              <a:gd name="connsiteX957" fmla="*/ 2635619 w 6530351"/>
              <a:gd name="connsiteY957" fmla="*/ 4060189 h 6858285"/>
              <a:gd name="connsiteX958" fmla="*/ 2599499 w 6530351"/>
              <a:gd name="connsiteY958" fmla="*/ 4124959 h 6858285"/>
              <a:gd name="connsiteX959" fmla="*/ 2257315 w 6530351"/>
              <a:gd name="connsiteY959" fmla="*/ 4225924 h 6858285"/>
              <a:gd name="connsiteX960" fmla="*/ 2192680 w 6530351"/>
              <a:gd name="connsiteY960" fmla="*/ 4191634 h 6858285"/>
              <a:gd name="connsiteX961" fmla="*/ 2190779 w 6530351"/>
              <a:gd name="connsiteY961" fmla="*/ 4176394 h 6858285"/>
              <a:gd name="connsiteX962" fmla="*/ 2228800 w 6530351"/>
              <a:gd name="connsiteY962" fmla="*/ 4126864 h 6858285"/>
              <a:gd name="connsiteX963" fmla="*/ 2570984 w 6530351"/>
              <a:gd name="connsiteY963" fmla="*/ 4023994 h 6858285"/>
              <a:gd name="connsiteX964" fmla="*/ 2590975 w 6530351"/>
              <a:gd name="connsiteY964" fmla="*/ 4022416 h 6858285"/>
              <a:gd name="connsiteX965" fmla="*/ 3155340 w 6530351"/>
              <a:gd name="connsiteY965" fmla="*/ 4014776 h 6858285"/>
              <a:gd name="connsiteX966" fmla="*/ 3200739 w 6530351"/>
              <a:gd name="connsiteY966" fmla="*/ 4054156 h 6858285"/>
              <a:gd name="connsiteX967" fmla="*/ 3160623 w 6530351"/>
              <a:gd name="connsiteY967" fmla="*/ 4120831 h 6858285"/>
              <a:gd name="connsiteX968" fmla="*/ 2816770 w 6530351"/>
              <a:gd name="connsiteY968" fmla="*/ 4210366 h 6858285"/>
              <a:gd name="connsiteX969" fmla="*/ 2749909 w 6530351"/>
              <a:gd name="connsiteY969" fmla="*/ 4170361 h 6858285"/>
              <a:gd name="connsiteX970" fmla="*/ 2747999 w 6530351"/>
              <a:gd name="connsiteY970" fmla="*/ 4157026 h 6858285"/>
              <a:gd name="connsiteX971" fmla="*/ 2788115 w 6530351"/>
              <a:gd name="connsiteY971" fmla="*/ 4103686 h 6858285"/>
              <a:gd name="connsiteX972" fmla="*/ 3133879 w 6530351"/>
              <a:gd name="connsiteY972" fmla="*/ 4016056 h 6858285"/>
              <a:gd name="connsiteX973" fmla="*/ 3155340 w 6530351"/>
              <a:gd name="connsiteY973" fmla="*/ 4014776 h 6858285"/>
              <a:gd name="connsiteX974" fmla="*/ 6500077 w 6530351"/>
              <a:gd name="connsiteY974" fmla="*/ 3741436 h 6858285"/>
              <a:gd name="connsiteX975" fmla="*/ 6523141 w 6530351"/>
              <a:gd name="connsiteY975" fmla="*/ 3762442 h 6858285"/>
              <a:gd name="connsiteX976" fmla="*/ 6506021 w 6530351"/>
              <a:gd name="connsiteY976" fmla="*/ 3814001 h 6858285"/>
              <a:gd name="connsiteX977" fmla="*/ 6167435 w 6530351"/>
              <a:gd name="connsiteY977" fmla="*/ 3987775 h 6858285"/>
              <a:gd name="connsiteX978" fmla="*/ 6114175 w 6530351"/>
              <a:gd name="connsiteY978" fmla="*/ 3970588 h 6858285"/>
              <a:gd name="connsiteX979" fmla="*/ 6110371 w 6530351"/>
              <a:gd name="connsiteY979" fmla="*/ 3951492 h 6858285"/>
              <a:gd name="connsiteX980" fmla="*/ 6131293 w 6530351"/>
              <a:gd name="connsiteY980" fmla="*/ 3917120 h 6858285"/>
              <a:gd name="connsiteX981" fmla="*/ 6469879 w 6530351"/>
              <a:gd name="connsiteY981" fmla="*/ 3743346 h 6858285"/>
              <a:gd name="connsiteX982" fmla="*/ 6500077 w 6530351"/>
              <a:gd name="connsiteY982" fmla="*/ 3741436 h 6858285"/>
              <a:gd name="connsiteX983" fmla="*/ 5958263 w 6530351"/>
              <a:gd name="connsiteY983" fmla="*/ 3734455 h 6858285"/>
              <a:gd name="connsiteX984" fmla="*/ 5983341 w 6530351"/>
              <a:gd name="connsiteY984" fmla="*/ 3756417 h 6858285"/>
              <a:gd name="connsiteX985" fmla="*/ 5962323 w 6530351"/>
              <a:gd name="connsiteY985" fmla="*/ 3813710 h 6858285"/>
              <a:gd name="connsiteX986" fmla="*/ 5622229 w 6530351"/>
              <a:gd name="connsiteY986" fmla="*/ 3970312 h 6858285"/>
              <a:gd name="connsiteX987" fmla="*/ 5564909 w 6530351"/>
              <a:gd name="connsiteY987" fmla="*/ 3949304 h 6858285"/>
              <a:gd name="connsiteX988" fmla="*/ 5561087 w 6530351"/>
              <a:gd name="connsiteY988" fmla="*/ 3930207 h 6858285"/>
              <a:gd name="connsiteX989" fmla="*/ 5585927 w 6530351"/>
              <a:gd name="connsiteY989" fmla="*/ 3892011 h 6858285"/>
              <a:gd name="connsiteX990" fmla="*/ 5926021 w 6530351"/>
              <a:gd name="connsiteY990" fmla="*/ 3735410 h 6858285"/>
              <a:gd name="connsiteX991" fmla="*/ 5958263 w 6530351"/>
              <a:gd name="connsiteY991" fmla="*/ 3734455 h 6858285"/>
              <a:gd name="connsiteX992" fmla="*/ 398944 w 6530351"/>
              <a:gd name="connsiteY992" fmla="*/ 3734455 h 6858285"/>
              <a:gd name="connsiteX993" fmla="*/ 422281 w 6530351"/>
              <a:gd name="connsiteY993" fmla="*/ 3756417 h 6858285"/>
              <a:gd name="connsiteX994" fmla="*/ 401326 w 6530351"/>
              <a:gd name="connsiteY994" fmla="*/ 3813710 h 6858285"/>
              <a:gd name="connsiteX995" fmla="*/ 62231 w 6530351"/>
              <a:gd name="connsiteY995" fmla="*/ 3970312 h 6858285"/>
              <a:gd name="connsiteX996" fmla="*/ 6985 w 6530351"/>
              <a:gd name="connsiteY996" fmla="*/ 3949304 h 6858285"/>
              <a:gd name="connsiteX997" fmla="*/ 3175 w 6530351"/>
              <a:gd name="connsiteY997" fmla="*/ 3930207 h 6858285"/>
              <a:gd name="connsiteX998" fmla="*/ 27940 w 6530351"/>
              <a:gd name="connsiteY998" fmla="*/ 3892011 h 6858285"/>
              <a:gd name="connsiteX999" fmla="*/ 367035 w 6530351"/>
              <a:gd name="connsiteY999" fmla="*/ 3735410 h 6858285"/>
              <a:gd name="connsiteX1000" fmla="*/ 398944 w 6530351"/>
              <a:gd name="connsiteY1000" fmla="*/ 3734455 h 6858285"/>
              <a:gd name="connsiteX1001" fmla="*/ 5394113 w 6530351"/>
              <a:gd name="connsiteY1001" fmla="*/ 3725656 h 6858285"/>
              <a:gd name="connsiteX1002" fmla="*/ 5435665 w 6530351"/>
              <a:gd name="connsiteY1002" fmla="*/ 3753711 h 6858285"/>
              <a:gd name="connsiteX1003" fmla="*/ 5410883 w 6530351"/>
              <a:gd name="connsiteY1003" fmla="*/ 3812611 h 6858285"/>
              <a:gd name="connsiteX1004" fmla="*/ 5071541 w 6530351"/>
              <a:gd name="connsiteY1004" fmla="*/ 3951311 h 6858285"/>
              <a:gd name="connsiteX1005" fmla="*/ 5012443 w 6530351"/>
              <a:gd name="connsiteY1005" fmla="*/ 3928511 h 6858285"/>
              <a:gd name="connsiteX1006" fmla="*/ 5008631 w 6530351"/>
              <a:gd name="connsiteY1006" fmla="*/ 3911411 h 6858285"/>
              <a:gd name="connsiteX1007" fmla="*/ 5037227 w 6530351"/>
              <a:gd name="connsiteY1007" fmla="*/ 3869611 h 6858285"/>
              <a:gd name="connsiteX1008" fmla="*/ 5376567 w 6530351"/>
              <a:gd name="connsiteY1008" fmla="*/ 3729011 h 6858285"/>
              <a:gd name="connsiteX1009" fmla="*/ 5394113 w 6530351"/>
              <a:gd name="connsiteY1009" fmla="*/ 3725656 h 6858285"/>
              <a:gd name="connsiteX1010" fmla="*/ 927631 w 6530351"/>
              <a:gd name="connsiteY1010" fmla="*/ 3725656 h 6858285"/>
              <a:gd name="connsiteX1011" fmla="*/ 968380 w 6530351"/>
              <a:gd name="connsiteY1011" fmla="*/ 3753711 h 6858285"/>
              <a:gd name="connsiteX1012" fmla="*/ 945503 w 6530351"/>
              <a:gd name="connsiteY1012" fmla="*/ 3812611 h 6858285"/>
              <a:gd name="connsiteX1013" fmla="*/ 604256 w 6530351"/>
              <a:gd name="connsiteY1013" fmla="*/ 3951311 h 6858285"/>
              <a:gd name="connsiteX1014" fmla="*/ 545157 w 6530351"/>
              <a:gd name="connsiteY1014" fmla="*/ 3928511 h 6858285"/>
              <a:gd name="connsiteX1015" fmla="*/ 541344 w 6530351"/>
              <a:gd name="connsiteY1015" fmla="*/ 3911411 h 6858285"/>
              <a:gd name="connsiteX1016" fmla="*/ 569940 w 6530351"/>
              <a:gd name="connsiteY1016" fmla="*/ 3869611 h 6858285"/>
              <a:gd name="connsiteX1017" fmla="*/ 909281 w 6530351"/>
              <a:gd name="connsiteY1017" fmla="*/ 3729011 h 6858285"/>
              <a:gd name="connsiteX1018" fmla="*/ 927631 w 6530351"/>
              <a:gd name="connsiteY1018" fmla="*/ 3725656 h 6858285"/>
              <a:gd name="connsiteX1019" fmla="*/ 4842671 w 6530351"/>
              <a:gd name="connsiteY1019" fmla="*/ 3718044 h 6858285"/>
              <a:gd name="connsiteX1020" fmla="*/ 4884791 w 6530351"/>
              <a:gd name="connsiteY1020" fmla="*/ 3749569 h 6858285"/>
              <a:gd name="connsiteX1021" fmla="*/ 4856173 w 6530351"/>
              <a:gd name="connsiteY1021" fmla="*/ 3810362 h 6858285"/>
              <a:gd name="connsiteX1022" fmla="*/ 4514687 w 6530351"/>
              <a:gd name="connsiteY1022" fmla="*/ 3933849 h 6858285"/>
              <a:gd name="connsiteX1023" fmla="*/ 4453639 w 6530351"/>
              <a:gd name="connsiteY1023" fmla="*/ 3905352 h 6858285"/>
              <a:gd name="connsiteX1024" fmla="*/ 4449823 w 6530351"/>
              <a:gd name="connsiteY1024" fmla="*/ 3890154 h 6858285"/>
              <a:gd name="connsiteX1025" fmla="*/ 4482255 w 6530351"/>
              <a:gd name="connsiteY1025" fmla="*/ 3844559 h 6858285"/>
              <a:gd name="connsiteX1026" fmla="*/ 4823743 w 6530351"/>
              <a:gd name="connsiteY1026" fmla="*/ 3721072 h 6858285"/>
              <a:gd name="connsiteX1027" fmla="*/ 4842671 w 6530351"/>
              <a:gd name="connsiteY1027" fmla="*/ 3718044 h 6858285"/>
              <a:gd name="connsiteX1028" fmla="*/ 1478630 w 6530351"/>
              <a:gd name="connsiteY1028" fmla="*/ 3718044 h 6858285"/>
              <a:gd name="connsiteX1029" fmla="*/ 1520866 w 6530351"/>
              <a:gd name="connsiteY1029" fmla="*/ 3749569 h 6858285"/>
              <a:gd name="connsiteX1030" fmla="*/ 1492352 w 6530351"/>
              <a:gd name="connsiteY1030" fmla="*/ 3810362 h 6858285"/>
              <a:gd name="connsiteX1031" fmla="*/ 1152084 w 6530351"/>
              <a:gd name="connsiteY1031" fmla="*/ 3933849 h 6858285"/>
              <a:gd name="connsiteX1032" fmla="*/ 1089353 w 6530351"/>
              <a:gd name="connsiteY1032" fmla="*/ 3905352 h 6858285"/>
              <a:gd name="connsiteX1033" fmla="*/ 1087452 w 6530351"/>
              <a:gd name="connsiteY1033" fmla="*/ 3890154 h 6858285"/>
              <a:gd name="connsiteX1034" fmla="*/ 1117867 w 6530351"/>
              <a:gd name="connsiteY1034" fmla="*/ 3844559 h 6858285"/>
              <a:gd name="connsiteX1035" fmla="*/ 1460036 w 6530351"/>
              <a:gd name="connsiteY1035" fmla="*/ 3721072 h 6858285"/>
              <a:gd name="connsiteX1036" fmla="*/ 1478630 w 6530351"/>
              <a:gd name="connsiteY1036" fmla="*/ 3718044 h 6858285"/>
              <a:gd name="connsiteX1037" fmla="*/ 4287785 w 6530351"/>
              <a:gd name="connsiteY1037" fmla="*/ 3710433 h 6858285"/>
              <a:gd name="connsiteX1038" fmla="*/ 4330739 w 6530351"/>
              <a:gd name="connsiteY1038" fmla="*/ 3745426 h 6858285"/>
              <a:gd name="connsiteX1039" fmla="*/ 4298285 w 6530351"/>
              <a:gd name="connsiteY1039" fmla="*/ 3810012 h 6858285"/>
              <a:gd name="connsiteX1040" fmla="*/ 3954657 w 6530351"/>
              <a:gd name="connsiteY1040" fmla="*/ 3916388 h 6858285"/>
              <a:gd name="connsiteX1041" fmla="*/ 3891659 w 6530351"/>
              <a:gd name="connsiteY1041" fmla="*/ 3884095 h 6858285"/>
              <a:gd name="connsiteX1042" fmla="*/ 3887839 w 6530351"/>
              <a:gd name="connsiteY1042" fmla="*/ 3868899 h 6858285"/>
              <a:gd name="connsiteX1043" fmla="*/ 3924111 w 6530351"/>
              <a:gd name="connsiteY1043" fmla="*/ 3819510 h 6858285"/>
              <a:gd name="connsiteX1044" fmla="*/ 4267741 w 6530351"/>
              <a:gd name="connsiteY1044" fmla="*/ 3713134 h 6858285"/>
              <a:gd name="connsiteX1045" fmla="*/ 4287785 w 6530351"/>
              <a:gd name="connsiteY1045" fmla="*/ 3710433 h 6858285"/>
              <a:gd name="connsiteX1046" fmla="*/ 2033497 w 6530351"/>
              <a:gd name="connsiteY1046" fmla="*/ 3710433 h 6858285"/>
              <a:gd name="connsiteX1047" fmla="*/ 2078361 w 6530351"/>
              <a:gd name="connsiteY1047" fmla="*/ 3745426 h 6858285"/>
              <a:gd name="connsiteX1048" fmla="*/ 2043974 w 6530351"/>
              <a:gd name="connsiteY1048" fmla="*/ 3810012 h 6858285"/>
              <a:gd name="connsiteX1049" fmla="*/ 1702011 w 6530351"/>
              <a:gd name="connsiteY1049" fmla="*/ 3916388 h 6858285"/>
              <a:gd name="connsiteX1050" fmla="*/ 1637057 w 6530351"/>
              <a:gd name="connsiteY1050" fmla="*/ 3884095 h 6858285"/>
              <a:gd name="connsiteX1051" fmla="*/ 1635147 w 6530351"/>
              <a:gd name="connsiteY1051" fmla="*/ 3868899 h 6858285"/>
              <a:gd name="connsiteX1052" fmla="*/ 1669534 w 6530351"/>
              <a:gd name="connsiteY1052" fmla="*/ 3819510 h 6858285"/>
              <a:gd name="connsiteX1053" fmla="*/ 2013408 w 6530351"/>
              <a:gd name="connsiteY1053" fmla="*/ 3713134 h 6858285"/>
              <a:gd name="connsiteX1054" fmla="*/ 2033497 w 6530351"/>
              <a:gd name="connsiteY1054" fmla="*/ 3710433 h 6858285"/>
              <a:gd name="connsiteX1055" fmla="*/ 3726993 w 6530351"/>
              <a:gd name="connsiteY1055" fmla="*/ 3702861 h 6858285"/>
              <a:gd name="connsiteX1056" fmla="*/ 3772267 w 6530351"/>
              <a:gd name="connsiteY1056" fmla="*/ 3743251 h 6858285"/>
              <a:gd name="connsiteX1057" fmla="*/ 3734167 w 6530351"/>
              <a:gd name="connsiteY1057" fmla="*/ 3807924 h 6858285"/>
              <a:gd name="connsiteX1058" fmla="*/ 3391263 w 6530351"/>
              <a:gd name="connsiteY1058" fmla="*/ 3899227 h 6858285"/>
              <a:gd name="connsiteX1059" fmla="*/ 3324587 w 6530351"/>
              <a:gd name="connsiteY1059" fmla="*/ 3861184 h 6858285"/>
              <a:gd name="connsiteX1060" fmla="*/ 3322682 w 6530351"/>
              <a:gd name="connsiteY1060" fmla="*/ 3847869 h 6858285"/>
              <a:gd name="connsiteX1061" fmla="*/ 3362688 w 6530351"/>
              <a:gd name="connsiteY1061" fmla="*/ 3796512 h 6858285"/>
              <a:gd name="connsiteX1062" fmla="*/ 3705593 w 6530351"/>
              <a:gd name="connsiteY1062" fmla="*/ 3705209 h 6858285"/>
              <a:gd name="connsiteX1063" fmla="*/ 3726993 w 6530351"/>
              <a:gd name="connsiteY1063" fmla="*/ 3702861 h 6858285"/>
              <a:gd name="connsiteX1064" fmla="*/ 2593320 w 6530351"/>
              <a:gd name="connsiteY1064" fmla="*/ 3702861 h 6858285"/>
              <a:gd name="connsiteX1065" fmla="*/ 2638751 w 6530351"/>
              <a:gd name="connsiteY1065" fmla="*/ 3743251 h 6858285"/>
              <a:gd name="connsiteX1066" fmla="*/ 2600519 w 6530351"/>
              <a:gd name="connsiteY1066" fmla="*/ 3807924 h 6858285"/>
              <a:gd name="connsiteX1067" fmla="*/ 2256423 w 6530351"/>
              <a:gd name="connsiteY1067" fmla="*/ 3899227 h 6858285"/>
              <a:gd name="connsiteX1068" fmla="*/ 2189516 w 6530351"/>
              <a:gd name="connsiteY1068" fmla="*/ 3861184 h 6858285"/>
              <a:gd name="connsiteX1069" fmla="*/ 2187604 w 6530351"/>
              <a:gd name="connsiteY1069" fmla="*/ 3847869 h 6858285"/>
              <a:gd name="connsiteX1070" fmla="*/ 2227748 w 6530351"/>
              <a:gd name="connsiteY1070" fmla="*/ 3796512 h 6858285"/>
              <a:gd name="connsiteX1071" fmla="*/ 2571844 w 6530351"/>
              <a:gd name="connsiteY1071" fmla="*/ 3705209 h 6858285"/>
              <a:gd name="connsiteX1072" fmla="*/ 2593320 w 6530351"/>
              <a:gd name="connsiteY1072" fmla="*/ 3702861 h 6858285"/>
              <a:gd name="connsiteX1073" fmla="*/ 3135570 w 6530351"/>
              <a:gd name="connsiteY1073" fmla="*/ 3696651 h 6858285"/>
              <a:gd name="connsiteX1074" fmla="*/ 3202337 w 6530351"/>
              <a:gd name="connsiteY1074" fmla="*/ 3740466 h 6858285"/>
              <a:gd name="connsiteX1075" fmla="*/ 3160369 w 6530351"/>
              <a:gd name="connsiteY1075" fmla="*/ 3809046 h 6858285"/>
              <a:gd name="connsiteX1076" fmla="*/ 2815087 w 6530351"/>
              <a:gd name="connsiteY1076" fmla="*/ 3883341 h 6858285"/>
              <a:gd name="connsiteX1077" fmla="*/ 2746412 w 6530351"/>
              <a:gd name="connsiteY1077" fmla="*/ 3841431 h 6858285"/>
              <a:gd name="connsiteX1078" fmla="*/ 2746412 w 6530351"/>
              <a:gd name="connsiteY1078" fmla="*/ 3828096 h 6858285"/>
              <a:gd name="connsiteX1079" fmla="*/ 2790288 w 6530351"/>
              <a:gd name="connsiteY1079" fmla="*/ 3772851 h 6858285"/>
              <a:gd name="connsiteX1080" fmla="*/ 3135570 w 6530351"/>
              <a:gd name="connsiteY1080" fmla="*/ 3696651 h 6858285"/>
              <a:gd name="connsiteX1081" fmla="*/ 6499363 w 6530351"/>
              <a:gd name="connsiteY1081" fmla="*/ 3418935 h 6858285"/>
              <a:gd name="connsiteX1082" fmla="*/ 6523141 w 6530351"/>
              <a:gd name="connsiteY1082" fmla="*/ 3438269 h 6858285"/>
              <a:gd name="connsiteX1083" fmla="*/ 6506021 w 6530351"/>
              <a:gd name="connsiteY1083" fmla="*/ 3491738 h 6858285"/>
              <a:gd name="connsiteX1084" fmla="*/ 6167435 w 6530351"/>
              <a:gd name="connsiteY1084" fmla="*/ 3663602 h 6858285"/>
              <a:gd name="connsiteX1085" fmla="*/ 6116077 w 6530351"/>
              <a:gd name="connsiteY1085" fmla="*/ 3648325 h 6858285"/>
              <a:gd name="connsiteX1086" fmla="*/ 6110371 w 6530351"/>
              <a:gd name="connsiteY1086" fmla="*/ 3629229 h 6858285"/>
              <a:gd name="connsiteX1087" fmla="*/ 6131293 w 6530351"/>
              <a:gd name="connsiteY1087" fmla="*/ 3594857 h 6858285"/>
              <a:gd name="connsiteX1088" fmla="*/ 6469879 w 6530351"/>
              <a:gd name="connsiteY1088" fmla="*/ 3421085 h 6858285"/>
              <a:gd name="connsiteX1089" fmla="*/ 6499363 w 6530351"/>
              <a:gd name="connsiteY1089" fmla="*/ 3418935 h 6858285"/>
              <a:gd name="connsiteX1090" fmla="*/ 5958981 w 6530351"/>
              <a:gd name="connsiteY1090" fmla="*/ 3413738 h 6858285"/>
              <a:gd name="connsiteX1091" fmla="*/ 5983341 w 6530351"/>
              <a:gd name="connsiteY1091" fmla="*/ 3435588 h 6858285"/>
              <a:gd name="connsiteX1092" fmla="*/ 5962323 w 6530351"/>
              <a:gd name="connsiteY1092" fmla="*/ 3492594 h 6858285"/>
              <a:gd name="connsiteX1093" fmla="*/ 5622229 w 6530351"/>
              <a:gd name="connsiteY1093" fmla="*/ 3646509 h 6858285"/>
              <a:gd name="connsiteX1094" fmla="*/ 5564909 w 6530351"/>
              <a:gd name="connsiteY1094" fmla="*/ 3625607 h 6858285"/>
              <a:gd name="connsiteX1095" fmla="*/ 5561087 w 6530351"/>
              <a:gd name="connsiteY1095" fmla="*/ 3608505 h 6858285"/>
              <a:gd name="connsiteX1096" fmla="*/ 5585927 w 6530351"/>
              <a:gd name="connsiteY1096" fmla="*/ 3568601 h 6858285"/>
              <a:gd name="connsiteX1097" fmla="*/ 5926021 w 6530351"/>
              <a:gd name="connsiteY1097" fmla="*/ 3414687 h 6858285"/>
              <a:gd name="connsiteX1098" fmla="*/ 5958981 w 6530351"/>
              <a:gd name="connsiteY1098" fmla="*/ 3413738 h 6858285"/>
              <a:gd name="connsiteX1099" fmla="*/ 398652 w 6530351"/>
              <a:gd name="connsiteY1099" fmla="*/ 3413736 h 6858285"/>
              <a:gd name="connsiteX1100" fmla="*/ 421971 w 6530351"/>
              <a:gd name="connsiteY1100" fmla="*/ 3435588 h 6858285"/>
              <a:gd name="connsiteX1101" fmla="*/ 401031 w 6530351"/>
              <a:gd name="connsiteY1101" fmla="*/ 3492594 h 6858285"/>
              <a:gd name="connsiteX1102" fmla="*/ 62187 w 6530351"/>
              <a:gd name="connsiteY1102" fmla="*/ 3646509 h 6858285"/>
              <a:gd name="connsiteX1103" fmla="*/ 6982 w 6530351"/>
              <a:gd name="connsiteY1103" fmla="*/ 3625607 h 6858285"/>
              <a:gd name="connsiteX1104" fmla="*/ 3175 w 6530351"/>
              <a:gd name="connsiteY1104" fmla="*/ 3608505 h 6858285"/>
              <a:gd name="connsiteX1105" fmla="*/ 27922 w 6530351"/>
              <a:gd name="connsiteY1105" fmla="*/ 3568601 h 6858285"/>
              <a:gd name="connsiteX1106" fmla="*/ 366766 w 6530351"/>
              <a:gd name="connsiteY1106" fmla="*/ 3414687 h 6858285"/>
              <a:gd name="connsiteX1107" fmla="*/ 398652 w 6530351"/>
              <a:gd name="connsiteY1107" fmla="*/ 3413736 h 6858285"/>
              <a:gd name="connsiteX1108" fmla="*/ 5394971 w 6530351"/>
              <a:gd name="connsiteY1108" fmla="*/ 3403425 h 6858285"/>
              <a:gd name="connsiteX1109" fmla="*/ 5437269 w 6530351"/>
              <a:gd name="connsiteY1109" fmla="*/ 3433348 h 6858285"/>
              <a:gd name="connsiteX1110" fmla="*/ 5410617 w 6530351"/>
              <a:gd name="connsiteY1110" fmla="*/ 3492248 h 6858285"/>
              <a:gd name="connsiteX1111" fmla="*/ 5069863 w 6530351"/>
              <a:gd name="connsiteY1111" fmla="*/ 3629048 h 6858285"/>
              <a:gd name="connsiteX1112" fmla="*/ 5010851 w 6530351"/>
              <a:gd name="connsiteY1112" fmla="*/ 3602448 h 6858285"/>
              <a:gd name="connsiteX1113" fmla="*/ 5007043 w 6530351"/>
              <a:gd name="connsiteY1113" fmla="*/ 3585348 h 6858285"/>
              <a:gd name="connsiteX1114" fmla="*/ 5037501 w 6530351"/>
              <a:gd name="connsiteY1114" fmla="*/ 3543548 h 6858285"/>
              <a:gd name="connsiteX1115" fmla="*/ 5376351 w 6530351"/>
              <a:gd name="connsiteY1115" fmla="*/ 3406750 h 6858285"/>
              <a:gd name="connsiteX1116" fmla="*/ 5394971 w 6530351"/>
              <a:gd name="connsiteY1116" fmla="*/ 3403425 h 6858285"/>
              <a:gd name="connsiteX1117" fmla="*/ 928451 w 6530351"/>
              <a:gd name="connsiteY1117" fmla="*/ 3403423 h 6858285"/>
              <a:gd name="connsiteX1118" fmla="*/ 969975 w 6530351"/>
              <a:gd name="connsiteY1118" fmla="*/ 3433348 h 6858285"/>
              <a:gd name="connsiteX1119" fmla="*/ 945210 w 6530351"/>
              <a:gd name="connsiteY1119" fmla="*/ 3492248 h 6858285"/>
              <a:gd name="connsiteX1120" fmla="*/ 604210 w 6530351"/>
              <a:gd name="connsiteY1120" fmla="*/ 3629048 h 6858285"/>
              <a:gd name="connsiteX1121" fmla="*/ 543249 w 6530351"/>
              <a:gd name="connsiteY1121" fmla="*/ 3602448 h 6858285"/>
              <a:gd name="connsiteX1122" fmla="*/ 541344 w 6530351"/>
              <a:gd name="connsiteY1122" fmla="*/ 3585348 h 6858285"/>
              <a:gd name="connsiteX1123" fmla="*/ 569919 w 6530351"/>
              <a:gd name="connsiteY1123" fmla="*/ 3543548 h 6858285"/>
              <a:gd name="connsiteX1124" fmla="*/ 910919 w 6530351"/>
              <a:gd name="connsiteY1124" fmla="*/ 3406748 h 6858285"/>
              <a:gd name="connsiteX1125" fmla="*/ 928451 w 6530351"/>
              <a:gd name="connsiteY1125" fmla="*/ 3403423 h 6858285"/>
              <a:gd name="connsiteX1126" fmla="*/ 4843491 w 6530351"/>
              <a:gd name="connsiteY1126" fmla="*/ 3396586 h 6858285"/>
              <a:gd name="connsiteX1127" fmla="*/ 4886385 w 6530351"/>
              <a:gd name="connsiteY1127" fmla="*/ 3428999 h 6858285"/>
              <a:gd name="connsiteX1128" fmla="*/ 4855883 w 6530351"/>
              <a:gd name="connsiteY1128" fmla="*/ 3491863 h 6858285"/>
              <a:gd name="connsiteX1129" fmla="*/ 4514641 w 6530351"/>
              <a:gd name="connsiteY1129" fmla="*/ 3609973 h 6858285"/>
              <a:gd name="connsiteX1130" fmla="*/ 4451729 w 6530351"/>
              <a:gd name="connsiteY1130" fmla="*/ 3579493 h 6858285"/>
              <a:gd name="connsiteX1131" fmla="*/ 4449823 w 6530351"/>
              <a:gd name="connsiteY1131" fmla="*/ 3564253 h 6858285"/>
              <a:gd name="connsiteX1132" fmla="*/ 4482231 w 6530351"/>
              <a:gd name="connsiteY1132" fmla="*/ 3518533 h 6858285"/>
              <a:gd name="connsiteX1133" fmla="*/ 4823475 w 6530351"/>
              <a:gd name="connsiteY1133" fmla="*/ 3398521 h 6858285"/>
              <a:gd name="connsiteX1134" fmla="*/ 4843491 w 6530351"/>
              <a:gd name="connsiteY1134" fmla="*/ 3396586 h 6858285"/>
              <a:gd name="connsiteX1135" fmla="*/ 1478780 w 6530351"/>
              <a:gd name="connsiteY1135" fmla="*/ 3396584 h 6858285"/>
              <a:gd name="connsiteX1136" fmla="*/ 1522745 w 6530351"/>
              <a:gd name="connsiteY1136" fmla="*/ 3428999 h 6858285"/>
              <a:gd name="connsiteX1137" fmla="*/ 1492243 w 6530351"/>
              <a:gd name="connsiteY1137" fmla="*/ 3491863 h 6858285"/>
              <a:gd name="connsiteX1138" fmla="*/ 1149094 w 6530351"/>
              <a:gd name="connsiteY1138" fmla="*/ 3609973 h 6858285"/>
              <a:gd name="connsiteX1139" fmla="*/ 1088090 w 6530351"/>
              <a:gd name="connsiteY1139" fmla="*/ 3579493 h 6858285"/>
              <a:gd name="connsiteX1140" fmla="*/ 1084277 w 6530351"/>
              <a:gd name="connsiteY1140" fmla="*/ 3564253 h 6858285"/>
              <a:gd name="connsiteX1141" fmla="*/ 1116686 w 6530351"/>
              <a:gd name="connsiteY1141" fmla="*/ 3518533 h 6858285"/>
              <a:gd name="connsiteX1142" fmla="*/ 1459835 w 6530351"/>
              <a:gd name="connsiteY1142" fmla="*/ 3398519 h 6858285"/>
              <a:gd name="connsiteX1143" fmla="*/ 1478780 w 6530351"/>
              <a:gd name="connsiteY1143" fmla="*/ 3396584 h 6858285"/>
              <a:gd name="connsiteX1144" fmla="*/ 4288643 w 6530351"/>
              <a:gd name="connsiteY1144" fmla="*/ 3390089 h 6858285"/>
              <a:gd name="connsiteX1145" fmla="*/ 4332339 w 6530351"/>
              <a:gd name="connsiteY1145" fmla="*/ 3426840 h 6858285"/>
              <a:gd name="connsiteX1146" fmla="*/ 4298025 w 6530351"/>
              <a:gd name="connsiteY1146" fmla="*/ 3491704 h 6858285"/>
              <a:gd name="connsiteX1147" fmla="*/ 3954881 w 6530351"/>
              <a:gd name="connsiteY1147" fmla="*/ 3592817 h 6858285"/>
              <a:gd name="connsiteX1148" fmla="*/ 3888159 w 6530351"/>
              <a:gd name="connsiteY1148" fmla="*/ 3556569 h 6858285"/>
              <a:gd name="connsiteX1149" fmla="*/ 3886251 w 6530351"/>
              <a:gd name="connsiteY1149" fmla="*/ 3541306 h 6858285"/>
              <a:gd name="connsiteX1150" fmla="*/ 3924379 w 6530351"/>
              <a:gd name="connsiteY1150" fmla="*/ 3491704 h 6858285"/>
              <a:gd name="connsiteX1151" fmla="*/ 4267523 w 6530351"/>
              <a:gd name="connsiteY1151" fmla="*/ 3392503 h 6858285"/>
              <a:gd name="connsiteX1152" fmla="*/ 4288643 w 6530351"/>
              <a:gd name="connsiteY1152" fmla="*/ 3390089 h 6858285"/>
              <a:gd name="connsiteX1153" fmla="*/ 2035427 w 6530351"/>
              <a:gd name="connsiteY1153" fmla="*/ 3390086 h 6858285"/>
              <a:gd name="connsiteX1154" fmla="*/ 2079959 w 6530351"/>
              <a:gd name="connsiteY1154" fmla="*/ 3426840 h 6858285"/>
              <a:gd name="connsiteX1155" fmla="*/ 2043713 w 6530351"/>
              <a:gd name="connsiteY1155" fmla="*/ 3491704 h 6858285"/>
              <a:gd name="connsiteX1156" fmla="*/ 1700328 w 6530351"/>
              <a:gd name="connsiteY1156" fmla="*/ 3592817 h 6858285"/>
              <a:gd name="connsiteX1157" fmla="*/ 1635467 w 6530351"/>
              <a:gd name="connsiteY1157" fmla="*/ 3556569 h 6858285"/>
              <a:gd name="connsiteX1158" fmla="*/ 1633559 w 6530351"/>
              <a:gd name="connsiteY1158" fmla="*/ 3541306 h 6858285"/>
              <a:gd name="connsiteX1159" fmla="*/ 1671713 w 6530351"/>
              <a:gd name="connsiteY1159" fmla="*/ 3491704 h 6858285"/>
              <a:gd name="connsiteX1160" fmla="*/ 2015098 w 6530351"/>
              <a:gd name="connsiteY1160" fmla="*/ 3392501 h 6858285"/>
              <a:gd name="connsiteX1161" fmla="*/ 2035427 w 6530351"/>
              <a:gd name="connsiteY1161" fmla="*/ 3390086 h 6858285"/>
              <a:gd name="connsiteX1162" fmla="*/ 3729547 w 6530351"/>
              <a:gd name="connsiteY1162" fmla="*/ 3384850 h 6858285"/>
              <a:gd name="connsiteX1163" fmla="*/ 3773841 w 6530351"/>
              <a:gd name="connsiteY1163" fmla="*/ 3427575 h 6858285"/>
              <a:gd name="connsiteX1164" fmla="*/ 3733751 w 6530351"/>
              <a:gd name="connsiteY1164" fmla="*/ 3494041 h 6858285"/>
              <a:gd name="connsiteX1165" fmla="*/ 3388230 w 6530351"/>
              <a:gd name="connsiteY1165" fmla="*/ 3575701 h 6858285"/>
              <a:gd name="connsiteX1166" fmla="*/ 3321416 w 6530351"/>
              <a:gd name="connsiteY1166" fmla="*/ 3533921 h 6858285"/>
              <a:gd name="connsiteX1167" fmla="*/ 3319507 w 6530351"/>
              <a:gd name="connsiteY1167" fmla="*/ 3520628 h 6858285"/>
              <a:gd name="connsiteX1168" fmla="*/ 3361504 w 6530351"/>
              <a:gd name="connsiteY1168" fmla="*/ 3465555 h 6858285"/>
              <a:gd name="connsiteX1169" fmla="*/ 3707027 w 6530351"/>
              <a:gd name="connsiteY1169" fmla="*/ 3385799 h 6858285"/>
              <a:gd name="connsiteX1170" fmla="*/ 3729547 w 6530351"/>
              <a:gd name="connsiteY1170" fmla="*/ 3384850 h 6858285"/>
              <a:gd name="connsiteX1171" fmla="*/ 2596056 w 6530351"/>
              <a:gd name="connsiteY1171" fmla="*/ 3384845 h 6858285"/>
              <a:gd name="connsiteX1172" fmla="*/ 2640350 w 6530351"/>
              <a:gd name="connsiteY1172" fmla="*/ 3427574 h 6858285"/>
              <a:gd name="connsiteX1173" fmla="*/ 2598353 w 6530351"/>
              <a:gd name="connsiteY1173" fmla="*/ 3494041 h 6858285"/>
              <a:gd name="connsiteX1174" fmla="*/ 2254740 w 6530351"/>
              <a:gd name="connsiteY1174" fmla="*/ 3575701 h 6858285"/>
              <a:gd name="connsiteX1175" fmla="*/ 2187926 w 6530351"/>
              <a:gd name="connsiteY1175" fmla="*/ 3533921 h 6858285"/>
              <a:gd name="connsiteX1176" fmla="*/ 2186017 w 6530351"/>
              <a:gd name="connsiteY1176" fmla="*/ 3520628 h 6858285"/>
              <a:gd name="connsiteX1177" fmla="*/ 2228014 w 6530351"/>
              <a:gd name="connsiteY1177" fmla="*/ 3465555 h 6858285"/>
              <a:gd name="connsiteX1178" fmla="*/ 2573536 w 6530351"/>
              <a:gd name="connsiteY1178" fmla="*/ 3385794 h 6858285"/>
              <a:gd name="connsiteX1179" fmla="*/ 2596056 w 6530351"/>
              <a:gd name="connsiteY1179" fmla="*/ 3384845 h 6858285"/>
              <a:gd name="connsiteX1180" fmla="*/ 3137310 w 6530351"/>
              <a:gd name="connsiteY1180" fmla="*/ 3377570 h 6858285"/>
              <a:gd name="connsiteX1181" fmla="*/ 3205845 w 6530351"/>
              <a:gd name="connsiteY1181" fmla="*/ 3425189 h 6858285"/>
              <a:gd name="connsiteX1182" fmla="*/ 3158251 w 6530351"/>
              <a:gd name="connsiteY1182" fmla="*/ 3493768 h 6858285"/>
              <a:gd name="connsiteX1183" fmla="*/ 2813675 w 6530351"/>
              <a:gd name="connsiteY1183" fmla="*/ 3556633 h 6858285"/>
              <a:gd name="connsiteX1184" fmla="*/ 2745141 w 6530351"/>
              <a:gd name="connsiteY1184" fmla="*/ 3509008 h 6858285"/>
              <a:gd name="connsiteX1185" fmla="*/ 2743237 w 6530351"/>
              <a:gd name="connsiteY1185" fmla="*/ 3497578 h 6858285"/>
              <a:gd name="connsiteX1186" fmla="*/ 2792734 w 6530351"/>
              <a:gd name="connsiteY1186" fmla="*/ 3440428 h 6858285"/>
              <a:gd name="connsiteX1187" fmla="*/ 3137310 w 6530351"/>
              <a:gd name="connsiteY1187" fmla="*/ 3377570 h 6858285"/>
              <a:gd name="connsiteX1188" fmla="*/ 6499125 w 6530351"/>
              <a:gd name="connsiteY1188" fmla="*/ 3095110 h 6858285"/>
              <a:gd name="connsiteX1189" fmla="*/ 6521239 w 6530351"/>
              <a:gd name="connsiteY1189" fmla="*/ 3114446 h 6858285"/>
              <a:gd name="connsiteX1190" fmla="*/ 6506021 w 6530351"/>
              <a:gd name="connsiteY1190" fmla="*/ 3167912 h 6858285"/>
              <a:gd name="connsiteX1191" fmla="*/ 6167435 w 6530351"/>
              <a:gd name="connsiteY1191" fmla="*/ 3341681 h 6858285"/>
              <a:gd name="connsiteX1192" fmla="*/ 6116077 w 6530351"/>
              <a:gd name="connsiteY1192" fmla="*/ 3326402 h 6858285"/>
              <a:gd name="connsiteX1193" fmla="*/ 6110371 w 6530351"/>
              <a:gd name="connsiteY1193" fmla="*/ 3307308 h 6858285"/>
              <a:gd name="connsiteX1194" fmla="*/ 6131293 w 6530351"/>
              <a:gd name="connsiteY1194" fmla="*/ 3272939 h 6858285"/>
              <a:gd name="connsiteX1195" fmla="*/ 6469879 w 6530351"/>
              <a:gd name="connsiteY1195" fmla="*/ 3097261 h 6858285"/>
              <a:gd name="connsiteX1196" fmla="*/ 6499125 w 6530351"/>
              <a:gd name="connsiteY1196" fmla="*/ 3095110 h 6858285"/>
              <a:gd name="connsiteX1197" fmla="*/ 5958981 w 6530351"/>
              <a:gd name="connsiteY1197" fmla="*/ 3091501 h 6858285"/>
              <a:gd name="connsiteX1198" fmla="*/ 5983341 w 6530351"/>
              <a:gd name="connsiteY1198" fmla="*/ 3113352 h 6858285"/>
              <a:gd name="connsiteX1199" fmla="*/ 5962323 w 6530351"/>
              <a:gd name="connsiteY1199" fmla="*/ 3170357 h 6858285"/>
              <a:gd name="connsiteX1200" fmla="*/ 5620319 w 6530351"/>
              <a:gd name="connsiteY1200" fmla="*/ 3324265 h 6858285"/>
              <a:gd name="connsiteX1201" fmla="*/ 5564909 w 6530351"/>
              <a:gd name="connsiteY1201" fmla="*/ 3301466 h 6858285"/>
              <a:gd name="connsiteX1202" fmla="*/ 5561087 w 6530351"/>
              <a:gd name="connsiteY1202" fmla="*/ 3284366 h 6858285"/>
              <a:gd name="connsiteX1203" fmla="*/ 5585927 w 6530351"/>
              <a:gd name="connsiteY1203" fmla="*/ 3246361 h 6858285"/>
              <a:gd name="connsiteX1204" fmla="*/ 5926021 w 6530351"/>
              <a:gd name="connsiteY1204" fmla="*/ 3092452 h 6858285"/>
              <a:gd name="connsiteX1205" fmla="*/ 5958981 w 6530351"/>
              <a:gd name="connsiteY1205" fmla="*/ 3091501 h 6858285"/>
              <a:gd name="connsiteX1206" fmla="*/ 399604 w 6530351"/>
              <a:gd name="connsiteY1206" fmla="*/ 3091489 h 6858285"/>
              <a:gd name="connsiteX1207" fmla="*/ 423875 w 6530351"/>
              <a:gd name="connsiteY1207" fmla="*/ 3113341 h 6858285"/>
              <a:gd name="connsiteX1208" fmla="*/ 401031 w 6530351"/>
              <a:gd name="connsiteY1208" fmla="*/ 3170346 h 6858285"/>
              <a:gd name="connsiteX1209" fmla="*/ 62187 w 6530351"/>
              <a:gd name="connsiteY1209" fmla="*/ 3324257 h 6858285"/>
              <a:gd name="connsiteX1210" fmla="*/ 6982 w 6530351"/>
              <a:gd name="connsiteY1210" fmla="*/ 3301458 h 6858285"/>
              <a:gd name="connsiteX1211" fmla="*/ 3175 w 6530351"/>
              <a:gd name="connsiteY1211" fmla="*/ 3284355 h 6858285"/>
              <a:gd name="connsiteX1212" fmla="*/ 27922 w 6530351"/>
              <a:gd name="connsiteY1212" fmla="*/ 3246351 h 6858285"/>
              <a:gd name="connsiteX1213" fmla="*/ 366766 w 6530351"/>
              <a:gd name="connsiteY1213" fmla="*/ 3092440 h 6858285"/>
              <a:gd name="connsiteX1214" fmla="*/ 399604 w 6530351"/>
              <a:gd name="connsiteY1214" fmla="*/ 3091489 h 6858285"/>
              <a:gd name="connsiteX1215" fmla="*/ 5376351 w 6530351"/>
              <a:gd name="connsiteY1215" fmla="*/ 3084221 h 6858285"/>
              <a:gd name="connsiteX1216" fmla="*/ 5437269 w 6530351"/>
              <a:gd name="connsiteY1216" fmla="*/ 3110889 h 6858285"/>
              <a:gd name="connsiteX1217" fmla="*/ 5410617 w 6530351"/>
              <a:gd name="connsiteY1217" fmla="*/ 3171849 h 6858285"/>
              <a:gd name="connsiteX1218" fmla="*/ 5069863 w 6530351"/>
              <a:gd name="connsiteY1218" fmla="*/ 3305194 h 6858285"/>
              <a:gd name="connsiteX1219" fmla="*/ 5010851 w 6530351"/>
              <a:gd name="connsiteY1219" fmla="*/ 3278527 h 6858285"/>
              <a:gd name="connsiteX1220" fmla="*/ 5007043 w 6530351"/>
              <a:gd name="connsiteY1220" fmla="*/ 3261383 h 6858285"/>
              <a:gd name="connsiteX1221" fmla="*/ 5037501 w 6530351"/>
              <a:gd name="connsiteY1221" fmla="*/ 3217569 h 6858285"/>
              <a:gd name="connsiteX1222" fmla="*/ 5376351 w 6530351"/>
              <a:gd name="connsiteY1222" fmla="*/ 3084221 h 6858285"/>
              <a:gd name="connsiteX1223" fmla="*/ 910969 w 6530351"/>
              <a:gd name="connsiteY1223" fmla="*/ 3084205 h 6858285"/>
              <a:gd name="connsiteX1224" fmla="*/ 969983 w 6530351"/>
              <a:gd name="connsiteY1224" fmla="*/ 3110874 h 6858285"/>
              <a:gd name="connsiteX1225" fmla="*/ 945235 w 6530351"/>
              <a:gd name="connsiteY1225" fmla="*/ 3171835 h 6858285"/>
              <a:gd name="connsiteX1226" fmla="*/ 604481 w 6530351"/>
              <a:gd name="connsiteY1226" fmla="*/ 3305182 h 6858285"/>
              <a:gd name="connsiteX1227" fmla="*/ 543564 w 6530351"/>
              <a:gd name="connsiteY1227" fmla="*/ 3278513 h 6858285"/>
              <a:gd name="connsiteX1228" fmla="*/ 539757 w 6530351"/>
              <a:gd name="connsiteY1228" fmla="*/ 3261369 h 6858285"/>
              <a:gd name="connsiteX1229" fmla="*/ 570215 w 6530351"/>
              <a:gd name="connsiteY1229" fmla="*/ 3217554 h 6858285"/>
              <a:gd name="connsiteX1230" fmla="*/ 910969 w 6530351"/>
              <a:gd name="connsiteY1230" fmla="*/ 3084205 h 6858285"/>
              <a:gd name="connsiteX1231" fmla="*/ 4845165 w 6530351"/>
              <a:gd name="connsiteY1231" fmla="*/ 3075490 h 6858285"/>
              <a:gd name="connsiteX1232" fmla="*/ 4888295 w 6530351"/>
              <a:gd name="connsiteY1232" fmla="*/ 3110630 h 6858285"/>
              <a:gd name="connsiteX1233" fmla="*/ 4855911 w 6530351"/>
              <a:gd name="connsiteY1233" fmla="*/ 3173582 h 6858285"/>
              <a:gd name="connsiteX1234" fmla="*/ 4514911 w 6530351"/>
              <a:gd name="connsiteY1234" fmla="*/ 3286132 h 6858285"/>
              <a:gd name="connsiteX1235" fmla="*/ 4450141 w 6530351"/>
              <a:gd name="connsiteY1235" fmla="*/ 3253702 h 6858285"/>
              <a:gd name="connsiteX1236" fmla="*/ 4448235 w 6530351"/>
              <a:gd name="connsiteY1236" fmla="*/ 3238438 h 6858285"/>
              <a:gd name="connsiteX1237" fmla="*/ 4482525 w 6530351"/>
              <a:gd name="connsiteY1237" fmla="*/ 3190752 h 6858285"/>
              <a:gd name="connsiteX1238" fmla="*/ 4825431 w 6530351"/>
              <a:gd name="connsiteY1238" fmla="*/ 3078201 h 6858285"/>
              <a:gd name="connsiteX1239" fmla="*/ 4845165 w 6530351"/>
              <a:gd name="connsiteY1239" fmla="*/ 3075490 h 6858285"/>
              <a:gd name="connsiteX1240" fmla="*/ 1479607 w 6530351"/>
              <a:gd name="connsiteY1240" fmla="*/ 3075472 h 6858285"/>
              <a:gd name="connsiteX1241" fmla="*/ 1522440 w 6530351"/>
              <a:gd name="connsiteY1241" fmla="*/ 3110614 h 6858285"/>
              <a:gd name="connsiteX1242" fmla="*/ 1491981 w 6530351"/>
              <a:gd name="connsiteY1242" fmla="*/ 3173568 h 6858285"/>
              <a:gd name="connsiteX1243" fmla="*/ 1149318 w 6530351"/>
              <a:gd name="connsiteY1243" fmla="*/ 3286117 h 6858285"/>
              <a:gd name="connsiteX1244" fmla="*/ 1086496 w 6530351"/>
              <a:gd name="connsiteY1244" fmla="*/ 3253688 h 6858285"/>
              <a:gd name="connsiteX1245" fmla="*/ 1082689 w 6530351"/>
              <a:gd name="connsiteY1245" fmla="*/ 3238426 h 6858285"/>
              <a:gd name="connsiteX1246" fmla="*/ 1118859 w 6530351"/>
              <a:gd name="connsiteY1246" fmla="*/ 3190736 h 6858285"/>
              <a:gd name="connsiteX1247" fmla="*/ 1459618 w 6530351"/>
              <a:gd name="connsiteY1247" fmla="*/ 3078184 h 6858285"/>
              <a:gd name="connsiteX1248" fmla="*/ 1479607 w 6530351"/>
              <a:gd name="connsiteY1248" fmla="*/ 3075472 h 6858285"/>
              <a:gd name="connsiteX1249" fmla="*/ 4290303 w 6530351"/>
              <a:gd name="connsiteY1249" fmla="*/ 3070230 h 6858285"/>
              <a:gd name="connsiteX1250" fmla="*/ 4333941 w 6530351"/>
              <a:gd name="connsiteY1250" fmla="*/ 3109551 h 6858285"/>
              <a:gd name="connsiteX1251" fmla="*/ 4295867 w 6530351"/>
              <a:gd name="connsiteY1251" fmla="*/ 3176122 h 6858285"/>
              <a:gd name="connsiteX1252" fmla="*/ 3953199 w 6530351"/>
              <a:gd name="connsiteY1252" fmla="*/ 3267426 h 6858285"/>
              <a:gd name="connsiteX1253" fmla="*/ 3886569 w 6530351"/>
              <a:gd name="connsiteY1253" fmla="*/ 3229382 h 6858285"/>
              <a:gd name="connsiteX1254" fmla="*/ 3884665 w 6530351"/>
              <a:gd name="connsiteY1254" fmla="*/ 3216071 h 6858285"/>
              <a:gd name="connsiteX1255" fmla="*/ 3924643 w 6530351"/>
              <a:gd name="connsiteY1255" fmla="*/ 3164714 h 6858285"/>
              <a:gd name="connsiteX1256" fmla="*/ 4269215 w 6530351"/>
              <a:gd name="connsiteY1256" fmla="*/ 3071510 h 6858285"/>
              <a:gd name="connsiteX1257" fmla="*/ 4290303 w 6530351"/>
              <a:gd name="connsiteY1257" fmla="*/ 3070230 h 6858285"/>
              <a:gd name="connsiteX1258" fmla="*/ 2036284 w 6530351"/>
              <a:gd name="connsiteY1258" fmla="*/ 3070212 h 6858285"/>
              <a:gd name="connsiteX1259" fmla="*/ 2081558 w 6530351"/>
              <a:gd name="connsiteY1259" fmla="*/ 3109532 h 6858285"/>
              <a:gd name="connsiteX1260" fmla="*/ 2043457 w 6530351"/>
              <a:gd name="connsiteY1260" fmla="*/ 3176106 h 6858285"/>
              <a:gd name="connsiteX1261" fmla="*/ 1700553 w 6530351"/>
              <a:gd name="connsiteY1261" fmla="*/ 3267409 h 6858285"/>
              <a:gd name="connsiteX1262" fmla="*/ 1633877 w 6530351"/>
              <a:gd name="connsiteY1262" fmla="*/ 3229366 h 6858285"/>
              <a:gd name="connsiteX1263" fmla="*/ 1631972 w 6530351"/>
              <a:gd name="connsiteY1263" fmla="*/ 3216051 h 6858285"/>
              <a:gd name="connsiteX1264" fmla="*/ 1671978 w 6530351"/>
              <a:gd name="connsiteY1264" fmla="*/ 3164695 h 6858285"/>
              <a:gd name="connsiteX1265" fmla="*/ 2014882 w 6530351"/>
              <a:gd name="connsiteY1265" fmla="*/ 3071490 h 6858285"/>
              <a:gd name="connsiteX1266" fmla="*/ 2036284 w 6530351"/>
              <a:gd name="connsiteY1266" fmla="*/ 3070212 h 6858285"/>
              <a:gd name="connsiteX1267" fmla="*/ 3731235 w 6530351"/>
              <a:gd name="connsiteY1267" fmla="*/ 3064526 h 6858285"/>
              <a:gd name="connsiteX1268" fmla="*/ 3777345 w 6530351"/>
              <a:gd name="connsiteY1268" fmla="*/ 3109067 h 6858285"/>
              <a:gd name="connsiteX1269" fmla="*/ 3731593 w 6530351"/>
              <a:gd name="connsiteY1269" fmla="*/ 3177757 h 6858285"/>
              <a:gd name="connsiteX1270" fmla="*/ 3386548 w 6530351"/>
              <a:gd name="connsiteY1270" fmla="*/ 3250258 h 6858285"/>
              <a:gd name="connsiteX1271" fmla="*/ 3317920 w 6530351"/>
              <a:gd name="connsiteY1271" fmla="*/ 3204467 h 6858285"/>
              <a:gd name="connsiteX1272" fmla="*/ 3317920 w 6530351"/>
              <a:gd name="connsiteY1272" fmla="*/ 3193018 h 6858285"/>
              <a:gd name="connsiteX1273" fmla="*/ 3363672 w 6530351"/>
              <a:gd name="connsiteY1273" fmla="*/ 3135781 h 6858285"/>
              <a:gd name="connsiteX1274" fmla="*/ 3708717 w 6530351"/>
              <a:gd name="connsiteY1274" fmla="*/ 3065182 h 6858285"/>
              <a:gd name="connsiteX1275" fmla="*/ 3731235 w 6530351"/>
              <a:gd name="connsiteY1275" fmla="*/ 3064526 h 6858285"/>
              <a:gd name="connsiteX1276" fmla="*/ 2597745 w 6530351"/>
              <a:gd name="connsiteY1276" fmla="*/ 3064505 h 6858285"/>
              <a:gd name="connsiteX1277" fmla="*/ 2643854 w 6530351"/>
              <a:gd name="connsiteY1277" fmla="*/ 3109046 h 6858285"/>
              <a:gd name="connsiteX1278" fmla="*/ 2598102 w 6530351"/>
              <a:gd name="connsiteY1278" fmla="*/ 3177737 h 6858285"/>
              <a:gd name="connsiteX1279" fmla="*/ 2253057 w 6530351"/>
              <a:gd name="connsiteY1279" fmla="*/ 3250241 h 6858285"/>
              <a:gd name="connsiteX1280" fmla="*/ 2184429 w 6530351"/>
              <a:gd name="connsiteY1280" fmla="*/ 3204449 h 6858285"/>
              <a:gd name="connsiteX1281" fmla="*/ 2184429 w 6530351"/>
              <a:gd name="connsiteY1281" fmla="*/ 3193000 h 6858285"/>
              <a:gd name="connsiteX1282" fmla="*/ 2230181 w 6530351"/>
              <a:gd name="connsiteY1282" fmla="*/ 3135760 h 6858285"/>
              <a:gd name="connsiteX1283" fmla="*/ 2575226 w 6530351"/>
              <a:gd name="connsiteY1283" fmla="*/ 3065161 h 6858285"/>
              <a:gd name="connsiteX1284" fmla="*/ 2597745 w 6530351"/>
              <a:gd name="connsiteY1284" fmla="*/ 3064505 h 6858285"/>
              <a:gd name="connsiteX1285" fmla="*/ 3138997 w 6530351"/>
              <a:gd name="connsiteY1285" fmla="*/ 3058185 h 6858285"/>
              <a:gd name="connsiteX1286" fmla="*/ 3209341 w 6530351"/>
              <a:gd name="connsiteY1286" fmla="*/ 3111524 h 6858285"/>
              <a:gd name="connsiteX1287" fmla="*/ 3156107 w 6530351"/>
              <a:gd name="connsiteY1287" fmla="*/ 3180105 h 6858285"/>
              <a:gd name="connsiteX1288" fmla="*/ 2811993 w 6530351"/>
              <a:gd name="connsiteY1288" fmla="*/ 3231532 h 6858285"/>
              <a:gd name="connsiteX1289" fmla="*/ 2741649 w 6530351"/>
              <a:gd name="connsiteY1289" fmla="*/ 3180105 h 6858285"/>
              <a:gd name="connsiteX1290" fmla="*/ 2741649 w 6530351"/>
              <a:gd name="connsiteY1290" fmla="*/ 3170578 h 6858285"/>
              <a:gd name="connsiteX1291" fmla="*/ 2792981 w 6530351"/>
              <a:gd name="connsiteY1291" fmla="*/ 3109621 h 6858285"/>
              <a:gd name="connsiteX1292" fmla="*/ 3138997 w 6530351"/>
              <a:gd name="connsiteY1292" fmla="*/ 3058185 h 6858285"/>
              <a:gd name="connsiteX1293" fmla="*/ 6499417 w 6530351"/>
              <a:gd name="connsiteY1293" fmla="*/ 2774395 h 6858285"/>
              <a:gd name="connsiteX1294" fmla="*/ 6521545 w 6530351"/>
              <a:gd name="connsiteY1294" fmla="*/ 2793610 h 6858285"/>
              <a:gd name="connsiteX1295" fmla="*/ 6506317 w 6530351"/>
              <a:gd name="connsiteY1295" fmla="*/ 2844860 h 6858285"/>
              <a:gd name="connsiteX1296" fmla="*/ 6167477 w 6530351"/>
              <a:gd name="connsiteY1296" fmla="*/ 3019485 h 6858285"/>
              <a:gd name="connsiteX1297" fmla="*/ 6116081 w 6530351"/>
              <a:gd name="connsiteY1297" fmla="*/ 3002403 h 6858285"/>
              <a:gd name="connsiteX1298" fmla="*/ 6110371 w 6530351"/>
              <a:gd name="connsiteY1298" fmla="*/ 2985319 h 6858285"/>
              <a:gd name="connsiteX1299" fmla="*/ 6131309 w 6530351"/>
              <a:gd name="connsiteY1299" fmla="*/ 2951155 h 6858285"/>
              <a:gd name="connsiteX1300" fmla="*/ 6470149 w 6530351"/>
              <a:gd name="connsiteY1300" fmla="*/ 2776528 h 6858285"/>
              <a:gd name="connsiteX1301" fmla="*/ 6499417 w 6530351"/>
              <a:gd name="connsiteY1301" fmla="*/ 2774395 h 6858285"/>
              <a:gd name="connsiteX1302" fmla="*/ 5959697 w 6530351"/>
              <a:gd name="connsiteY1302" fmla="*/ 2769251 h 6858285"/>
              <a:gd name="connsiteX1303" fmla="*/ 5983341 w 6530351"/>
              <a:gd name="connsiteY1303" fmla="*/ 2791128 h 6858285"/>
              <a:gd name="connsiteX1304" fmla="*/ 5962323 w 6530351"/>
              <a:gd name="connsiteY1304" fmla="*/ 2848205 h 6858285"/>
              <a:gd name="connsiteX1305" fmla="*/ 5620319 w 6530351"/>
              <a:gd name="connsiteY1305" fmla="*/ 3000413 h 6858285"/>
              <a:gd name="connsiteX1306" fmla="*/ 5564909 w 6530351"/>
              <a:gd name="connsiteY1306" fmla="*/ 2979484 h 6858285"/>
              <a:gd name="connsiteX1307" fmla="*/ 5561087 w 6530351"/>
              <a:gd name="connsiteY1307" fmla="*/ 2960461 h 6858285"/>
              <a:gd name="connsiteX1308" fmla="*/ 5585927 w 6530351"/>
              <a:gd name="connsiteY1308" fmla="*/ 2922407 h 6858285"/>
              <a:gd name="connsiteX1309" fmla="*/ 5926021 w 6530351"/>
              <a:gd name="connsiteY1309" fmla="*/ 2770203 h 6858285"/>
              <a:gd name="connsiteX1310" fmla="*/ 5959697 w 6530351"/>
              <a:gd name="connsiteY1310" fmla="*/ 2769251 h 6858285"/>
              <a:gd name="connsiteX1311" fmla="*/ 399604 w 6530351"/>
              <a:gd name="connsiteY1311" fmla="*/ 2769236 h 6858285"/>
              <a:gd name="connsiteX1312" fmla="*/ 423875 w 6530351"/>
              <a:gd name="connsiteY1312" fmla="*/ 2791116 h 6858285"/>
              <a:gd name="connsiteX1313" fmla="*/ 401031 w 6530351"/>
              <a:gd name="connsiteY1313" fmla="*/ 2848194 h 6858285"/>
              <a:gd name="connsiteX1314" fmla="*/ 62187 w 6530351"/>
              <a:gd name="connsiteY1314" fmla="*/ 3000399 h 6858285"/>
              <a:gd name="connsiteX1315" fmla="*/ 6982 w 6530351"/>
              <a:gd name="connsiteY1315" fmla="*/ 2979471 h 6858285"/>
              <a:gd name="connsiteX1316" fmla="*/ 3175 w 6530351"/>
              <a:gd name="connsiteY1316" fmla="*/ 2960446 h 6858285"/>
              <a:gd name="connsiteX1317" fmla="*/ 27922 w 6530351"/>
              <a:gd name="connsiteY1317" fmla="*/ 2922394 h 6858285"/>
              <a:gd name="connsiteX1318" fmla="*/ 366766 w 6530351"/>
              <a:gd name="connsiteY1318" fmla="*/ 2770189 h 6858285"/>
              <a:gd name="connsiteX1319" fmla="*/ 399604 w 6530351"/>
              <a:gd name="connsiteY1319" fmla="*/ 2769236 h 6858285"/>
              <a:gd name="connsiteX1320" fmla="*/ 5396043 w 6530351"/>
              <a:gd name="connsiteY1320" fmla="*/ 2760541 h 6858285"/>
              <a:gd name="connsiteX1321" fmla="*/ 5437269 w 6530351"/>
              <a:gd name="connsiteY1321" fmla="*/ 2790581 h 6858285"/>
              <a:gd name="connsiteX1322" fmla="*/ 5410617 w 6530351"/>
              <a:gd name="connsiteY1322" fmla="*/ 2851623 h 6858285"/>
              <a:gd name="connsiteX1323" fmla="*/ 5069863 w 6530351"/>
              <a:gd name="connsiteY1323" fmla="*/ 2981339 h 6858285"/>
              <a:gd name="connsiteX1324" fmla="*/ 5008947 w 6530351"/>
              <a:gd name="connsiteY1324" fmla="*/ 2954633 h 6858285"/>
              <a:gd name="connsiteX1325" fmla="*/ 5007043 w 6530351"/>
              <a:gd name="connsiteY1325" fmla="*/ 2937464 h 6858285"/>
              <a:gd name="connsiteX1326" fmla="*/ 5037501 w 6530351"/>
              <a:gd name="connsiteY1326" fmla="*/ 2893591 h 6858285"/>
              <a:gd name="connsiteX1327" fmla="*/ 5378255 w 6530351"/>
              <a:gd name="connsiteY1327" fmla="*/ 2763877 h 6858285"/>
              <a:gd name="connsiteX1328" fmla="*/ 5396043 w 6530351"/>
              <a:gd name="connsiteY1328" fmla="*/ 2760541 h 6858285"/>
              <a:gd name="connsiteX1329" fmla="*/ 930712 w 6530351"/>
              <a:gd name="connsiteY1329" fmla="*/ 2760523 h 6858285"/>
              <a:gd name="connsiteX1330" fmla="*/ 973130 w 6530351"/>
              <a:gd name="connsiteY1330" fmla="*/ 2790565 h 6858285"/>
              <a:gd name="connsiteX1331" fmla="*/ 946402 w 6530351"/>
              <a:gd name="connsiteY1331" fmla="*/ 2851609 h 6858285"/>
              <a:gd name="connsiteX1332" fmla="*/ 604668 w 6530351"/>
              <a:gd name="connsiteY1332" fmla="*/ 2981323 h 6858285"/>
              <a:gd name="connsiteX1333" fmla="*/ 543575 w 6530351"/>
              <a:gd name="connsiteY1333" fmla="*/ 2954616 h 6858285"/>
              <a:gd name="connsiteX1334" fmla="*/ 539757 w 6530351"/>
              <a:gd name="connsiteY1334" fmla="*/ 2937448 h 6858285"/>
              <a:gd name="connsiteX1335" fmla="*/ 570303 w 6530351"/>
              <a:gd name="connsiteY1335" fmla="*/ 2893575 h 6858285"/>
              <a:gd name="connsiteX1336" fmla="*/ 912038 w 6530351"/>
              <a:gd name="connsiteY1336" fmla="*/ 2763862 h 6858285"/>
              <a:gd name="connsiteX1337" fmla="*/ 930712 w 6530351"/>
              <a:gd name="connsiteY1337" fmla="*/ 2760523 h 6858285"/>
              <a:gd name="connsiteX1338" fmla="*/ 4845219 w 6530351"/>
              <a:gd name="connsiteY1338" fmla="*/ 2755581 h 6858285"/>
              <a:gd name="connsiteX1339" fmla="*/ 4889895 w 6530351"/>
              <a:gd name="connsiteY1339" fmla="*/ 2791423 h 6858285"/>
              <a:gd name="connsiteX1340" fmla="*/ 4855653 w 6530351"/>
              <a:gd name="connsiteY1340" fmla="*/ 2856101 h 6858285"/>
              <a:gd name="connsiteX1341" fmla="*/ 4513231 w 6530351"/>
              <a:gd name="connsiteY1341" fmla="*/ 2962630 h 6858285"/>
              <a:gd name="connsiteX1342" fmla="*/ 4448551 w 6530351"/>
              <a:gd name="connsiteY1342" fmla="*/ 2928389 h 6858285"/>
              <a:gd name="connsiteX1343" fmla="*/ 4446647 w 6530351"/>
              <a:gd name="connsiteY1343" fmla="*/ 2913171 h 6858285"/>
              <a:gd name="connsiteX1344" fmla="*/ 4482793 w 6530351"/>
              <a:gd name="connsiteY1344" fmla="*/ 2863710 h 6858285"/>
              <a:gd name="connsiteX1345" fmla="*/ 4825215 w 6530351"/>
              <a:gd name="connsiteY1345" fmla="*/ 2757187 h 6858285"/>
              <a:gd name="connsiteX1346" fmla="*/ 4845219 w 6530351"/>
              <a:gd name="connsiteY1346" fmla="*/ 2755581 h 6858285"/>
              <a:gd name="connsiteX1347" fmla="*/ 1482634 w 6530351"/>
              <a:gd name="connsiteY1347" fmla="*/ 2755562 h 6858285"/>
              <a:gd name="connsiteX1348" fmla="*/ 1525588 w 6530351"/>
              <a:gd name="connsiteY1348" fmla="*/ 2791407 h 6858285"/>
              <a:gd name="connsiteX1349" fmla="*/ 1493134 w 6530351"/>
              <a:gd name="connsiteY1349" fmla="*/ 2856085 h 6858285"/>
              <a:gd name="connsiteX1350" fmla="*/ 1149506 w 6530351"/>
              <a:gd name="connsiteY1350" fmla="*/ 2962612 h 6858285"/>
              <a:gd name="connsiteX1351" fmla="*/ 1084598 w 6530351"/>
              <a:gd name="connsiteY1351" fmla="*/ 2928370 h 6858285"/>
              <a:gd name="connsiteX1352" fmla="*/ 1082689 w 6530351"/>
              <a:gd name="connsiteY1352" fmla="*/ 2913153 h 6858285"/>
              <a:gd name="connsiteX1353" fmla="*/ 1118961 w 6530351"/>
              <a:gd name="connsiteY1353" fmla="*/ 2863693 h 6858285"/>
              <a:gd name="connsiteX1354" fmla="*/ 1462589 w 6530351"/>
              <a:gd name="connsiteY1354" fmla="*/ 2757168 h 6858285"/>
              <a:gd name="connsiteX1355" fmla="*/ 1482634 w 6530351"/>
              <a:gd name="connsiteY1355" fmla="*/ 2755562 h 6858285"/>
              <a:gd name="connsiteX1356" fmla="*/ 4291673 w 6530351"/>
              <a:gd name="connsiteY1356" fmla="*/ 2750396 h 6858285"/>
              <a:gd name="connsiteX1357" fmla="*/ 4335845 w 6530351"/>
              <a:gd name="connsiteY1357" fmla="*/ 2792582 h 6858285"/>
              <a:gd name="connsiteX1358" fmla="*/ 4295867 w 6530351"/>
              <a:gd name="connsiteY1358" fmla="*/ 2859465 h 6858285"/>
              <a:gd name="connsiteX1359" fmla="*/ 3953199 w 6530351"/>
              <a:gd name="connsiteY1359" fmla="*/ 2943545 h 6858285"/>
              <a:gd name="connsiteX1360" fmla="*/ 3884665 w 6530351"/>
              <a:gd name="connsiteY1360" fmla="*/ 2901507 h 6858285"/>
              <a:gd name="connsiteX1361" fmla="*/ 3884665 w 6530351"/>
              <a:gd name="connsiteY1361" fmla="*/ 2888131 h 6858285"/>
              <a:gd name="connsiteX1362" fmla="*/ 3926547 w 6530351"/>
              <a:gd name="connsiteY1362" fmla="*/ 2834624 h 6858285"/>
              <a:gd name="connsiteX1363" fmla="*/ 4269215 w 6530351"/>
              <a:gd name="connsiteY1363" fmla="*/ 2750546 h 6858285"/>
              <a:gd name="connsiteX1364" fmla="*/ 4291673 w 6530351"/>
              <a:gd name="connsiteY1364" fmla="*/ 2750396 h 6858285"/>
              <a:gd name="connsiteX1365" fmla="*/ 2037944 w 6530351"/>
              <a:gd name="connsiteY1365" fmla="*/ 2750376 h 6858285"/>
              <a:gd name="connsiteX1366" fmla="*/ 2083155 w 6530351"/>
              <a:gd name="connsiteY1366" fmla="*/ 2792565 h 6858285"/>
              <a:gd name="connsiteX1367" fmla="*/ 2043205 w 6530351"/>
              <a:gd name="connsiteY1367" fmla="*/ 2859446 h 6858285"/>
              <a:gd name="connsiteX1368" fmla="*/ 1698870 w 6530351"/>
              <a:gd name="connsiteY1368" fmla="*/ 2943524 h 6858285"/>
              <a:gd name="connsiteX1369" fmla="*/ 1632286 w 6530351"/>
              <a:gd name="connsiteY1369" fmla="*/ 2901486 h 6858285"/>
              <a:gd name="connsiteX1370" fmla="*/ 1630384 w 6530351"/>
              <a:gd name="connsiteY1370" fmla="*/ 2888109 h 6858285"/>
              <a:gd name="connsiteX1371" fmla="*/ 1672237 w 6530351"/>
              <a:gd name="connsiteY1371" fmla="*/ 2834604 h 6858285"/>
              <a:gd name="connsiteX1372" fmla="*/ 2016571 w 6530351"/>
              <a:gd name="connsiteY1372" fmla="*/ 2750526 h 6858285"/>
              <a:gd name="connsiteX1373" fmla="*/ 2037944 w 6530351"/>
              <a:gd name="connsiteY1373" fmla="*/ 2750376 h 6858285"/>
              <a:gd name="connsiteX1374" fmla="*/ 3710455 w 6530351"/>
              <a:gd name="connsiteY1374" fmla="*/ 2745765 h 6858285"/>
              <a:gd name="connsiteX1375" fmla="*/ 3778943 w 6530351"/>
              <a:gd name="connsiteY1375" fmla="*/ 2795292 h 6858285"/>
              <a:gd name="connsiteX1376" fmla="*/ 3731383 w 6530351"/>
              <a:gd name="connsiteY1376" fmla="*/ 2863875 h 6858285"/>
              <a:gd name="connsiteX1377" fmla="*/ 3385136 w 6530351"/>
              <a:gd name="connsiteY1377" fmla="*/ 2924837 h 6858285"/>
              <a:gd name="connsiteX1378" fmla="*/ 3316647 w 6530351"/>
              <a:gd name="connsiteY1378" fmla="*/ 2875305 h 6858285"/>
              <a:gd name="connsiteX1379" fmla="*/ 3314745 w 6530351"/>
              <a:gd name="connsiteY1379" fmla="*/ 2865779 h 6858285"/>
              <a:gd name="connsiteX1380" fmla="*/ 3364209 w 6530351"/>
              <a:gd name="connsiteY1380" fmla="*/ 2806724 h 6858285"/>
              <a:gd name="connsiteX1381" fmla="*/ 3710455 w 6530351"/>
              <a:gd name="connsiteY1381" fmla="*/ 2745765 h 6858285"/>
              <a:gd name="connsiteX1382" fmla="*/ 2576964 w 6530351"/>
              <a:gd name="connsiteY1382" fmla="*/ 2745743 h 6858285"/>
              <a:gd name="connsiteX1383" fmla="*/ 2645453 w 6530351"/>
              <a:gd name="connsiteY1383" fmla="*/ 2795273 h 6858285"/>
              <a:gd name="connsiteX1384" fmla="*/ 2595989 w 6530351"/>
              <a:gd name="connsiteY1384" fmla="*/ 2863852 h 6858285"/>
              <a:gd name="connsiteX1385" fmla="*/ 2251645 w 6530351"/>
              <a:gd name="connsiteY1385" fmla="*/ 2924813 h 6858285"/>
              <a:gd name="connsiteX1386" fmla="*/ 2183156 w 6530351"/>
              <a:gd name="connsiteY1386" fmla="*/ 2875282 h 6858285"/>
              <a:gd name="connsiteX1387" fmla="*/ 2181254 w 6530351"/>
              <a:gd name="connsiteY1387" fmla="*/ 2865758 h 6858285"/>
              <a:gd name="connsiteX1388" fmla="*/ 2230718 w 6530351"/>
              <a:gd name="connsiteY1388" fmla="*/ 2806703 h 6858285"/>
              <a:gd name="connsiteX1389" fmla="*/ 2576964 w 6530351"/>
              <a:gd name="connsiteY1389" fmla="*/ 2745743 h 6858285"/>
              <a:gd name="connsiteX1390" fmla="*/ 3140484 w 6530351"/>
              <a:gd name="connsiteY1390" fmla="*/ 2739127 h 6858285"/>
              <a:gd name="connsiteX1391" fmla="*/ 3210923 w 6530351"/>
              <a:gd name="connsiteY1391" fmla="*/ 2796693 h 6858285"/>
              <a:gd name="connsiteX1392" fmla="*/ 3153811 w 6530351"/>
              <a:gd name="connsiteY1392" fmla="*/ 2867695 h 6858285"/>
              <a:gd name="connsiteX1393" fmla="*/ 2807326 w 6530351"/>
              <a:gd name="connsiteY1393" fmla="*/ 2906076 h 6858285"/>
              <a:gd name="connsiteX1394" fmla="*/ 2736887 w 6530351"/>
              <a:gd name="connsiteY1394" fmla="*/ 2848505 h 6858285"/>
              <a:gd name="connsiteX1395" fmla="*/ 2736887 w 6530351"/>
              <a:gd name="connsiteY1395" fmla="*/ 2840828 h 6858285"/>
              <a:gd name="connsiteX1396" fmla="*/ 2794000 w 6530351"/>
              <a:gd name="connsiteY1396" fmla="*/ 2777505 h 6858285"/>
              <a:gd name="connsiteX1397" fmla="*/ 3140484 w 6530351"/>
              <a:gd name="connsiteY1397" fmla="*/ 2739127 h 6858285"/>
              <a:gd name="connsiteX1398" fmla="*/ 6499393 w 6530351"/>
              <a:gd name="connsiteY1398" fmla="*/ 2450537 h 6858285"/>
              <a:gd name="connsiteX1399" fmla="*/ 6521539 w 6530351"/>
              <a:gd name="connsiteY1399" fmla="*/ 2469736 h 6858285"/>
              <a:gd name="connsiteX1400" fmla="*/ 6506299 w 6530351"/>
              <a:gd name="connsiteY1400" fmla="*/ 2520927 h 6858285"/>
              <a:gd name="connsiteX1401" fmla="*/ 6167203 w 6530351"/>
              <a:gd name="connsiteY1401" fmla="*/ 2697229 h 6858285"/>
              <a:gd name="connsiteX1402" fmla="*/ 6115769 w 6530351"/>
              <a:gd name="connsiteY1402" fmla="*/ 2680166 h 6858285"/>
              <a:gd name="connsiteX1403" fmla="*/ 6111959 w 6530351"/>
              <a:gd name="connsiteY1403" fmla="*/ 2663100 h 6858285"/>
              <a:gd name="connsiteX1404" fmla="*/ 6131009 w 6530351"/>
              <a:gd name="connsiteY1404" fmla="*/ 2628979 h 6858285"/>
              <a:gd name="connsiteX1405" fmla="*/ 6470103 w 6530351"/>
              <a:gd name="connsiteY1405" fmla="*/ 2452670 h 6858285"/>
              <a:gd name="connsiteX1406" fmla="*/ 6499393 w 6530351"/>
              <a:gd name="connsiteY1406" fmla="*/ 2450537 h 6858285"/>
              <a:gd name="connsiteX1407" fmla="*/ 5959697 w 6530351"/>
              <a:gd name="connsiteY1407" fmla="*/ 2446989 h 6858285"/>
              <a:gd name="connsiteX1408" fmla="*/ 5983341 w 6530351"/>
              <a:gd name="connsiteY1408" fmla="*/ 2468876 h 6858285"/>
              <a:gd name="connsiteX1409" fmla="*/ 5962323 w 6530351"/>
              <a:gd name="connsiteY1409" fmla="*/ 2525955 h 6858285"/>
              <a:gd name="connsiteX1410" fmla="*/ 5620319 w 6530351"/>
              <a:gd name="connsiteY1410" fmla="*/ 2676242 h 6858285"/>
              <a:gd name="connsiteX1411" fmla="*/ 5564909 w 6530351"/>
              <a:gd name="connsiteY1411" fmla="*/ 2655316 h 6858285"/>
              <a:gd name="connsiteX1412" fmla="*/ 5561087 w 6530351"/>
              <a:gd name="connsiteY1412" fmla="*/ 2638194 h 6858285"/>
              <a:gd name="connsiteX1413" fmla="*/ 5585927 w 6530351"/>
              <a:gd name="connsiteY1413" fmla="*/ 2598244 h 6858285"/>
              <a:gd name="connsiteX1414" fmla="*/ 5926021 w 6530351"/>
              <a:gd name="connsiteY1414" fmla="*/ 2447940 h 6858285"/>
              <a:gd name="connsiteX1415" fmla="*/ 5959697 w 6530351"/>
              <a:gd name="connsiteY1415" fmla="*/ 2446989 h 6858285"/>
              <a:gd name="connsiteX1416" fmla="*/ 399505 w 6530351"/>
              <a:gd name="connsiteY1416" fmla="*/ 2446974 h 6858285"/>
              <a:gd name="connsiteX1417" fmla="*/ 423847 w 6530351"/>
              <a:gd name="connsiteY1417" fmla="*/ 2468859 h 6858285"/>
              <a:gd name="connsiteX1418" fmla="*/ 400936 w 6530351"/>
              <a:gd name="connsiteY1418" fmla="*/ 2525937 h 6858285"/>
              <a:gd name="connsiteX1419" fmla="*/ 61095 w 6530351"/>
              <a:gd name="connsiteY1419" fmla="*/ 2676233 h 6858285"/>
              <a:gd name="connsiteX1420" fmla="*/ 3818 w 6530351"/>
              <a:gd name="connsiteY1420" fmla="*/ 2655306 h 6858285"/>
              <a:gd name="connsiteX1421" fmla="*/ 0 w 6530351"/>
              <a:gd name="connsiteY1421" fmla="*/ 2638182 h 6858285"/>
              <a:gd name="connsiteX1422" fmla="*/ 26729 w 6530351"/>
              <a:gd name="connsiteY1422" fmla="*/ 2598228 h 6858285"/>
              <a:gd name="connsiteX1423" fmla="*/ 366570 w 6530351"/>
              <a:gd name="connsiteY1423" fmla="*/ 2447925 h 6858285"/>
              <a:gd name="connsiteX1424" fmla="*/ 399505 w 6530351"/>
              <a:gd name="connsiteY1424" fmla="*/ 2446974 h 6858285"/>
              <a:gd name="connsiteX1425" fmla="*/ 5396633 w 6530351"/>
              <a:gd name="connsiteY1425" fmla="*/ 2440126 h 6858285"/>
              <a:gd name="connsiteX1426" fmla="*/ 5438869 w 6530351"/>
              <a:gd name="connsiteY1426" fmla="*/ 2471616 h 6858285"/>
              <a:gd name="connsiteX1427" fmla="*/ 5410355 w 6530351"/>
              <a:gd name="connsiteY1427" fmla="*/ 2532335 h 6858285"/>
              <a:gd name="connsiteX1428" fmla="*/ 5070087 w 6530351"/>
              <a:gd name="connsiteY1428" fmla="*/ 2657533 h 6858285"/>
              <a:gd name="connsiteX1429" fmla="*/ 5009257 w 6530351"/>
              <a:gd name="connsiteY1429" fmla="*/ 2629079 h 6858285"/>
              <a:gd name="connsiteX1430" fmla="*/ 5005455 w 6530351"/>
              <a:gd name="connsiteY1430" fmla="*/ 2613902 h 6858285"/>
              <a:gd name="connsiteX1431" fmla="*/ 5037771 w 6530351"/>
              <a:gd name="connsiteY1431" fmla="*/ 2568377 h 6858285"/>
              <a:gd name="connsiteX1432" fmla="*/ 5378039 w 6530351"/>
              <a:gd name="connsiteY1432" fmla="*/ 2443151 h 6858285"/>
              <a:gd name="connsiteX1433" fmla="*/ 5396633 w 6530351"/>
              <a:gd name="connsiteY1433" fmla="*/ 2440126 h 6858285"/>
              <a:gd name="connsiteX1434" fmla="*/ 930712 w 6530351"/>
              <a:gd name="connsiteY1434" fmla="*/ 2440109 h 6858285"/>
              <a:gd name="connsiteX1435" fmla="*/ 973130 w 6530351"/>
              <a:gd name="connsiteY1435" fmla="*/ 2471595 h 6858285"/>
              <a:gd name="connsiteX1436" fmla="*/ 944493 w 6530351"/>
              <a:gd name="connsiteY1436" fmla="*/ 2532310 h 6858285"/>
              <a:gd name="connsiteX1437" fmla="*/ 602758 w 6530351"/>
              <a:gd name="connsiteY1437" fmla="*/ 2657520 h 6858285"/>
              <a:gd name="connsiteX1438" fmla="*/ 541666 w 6530351"/>
              <a:gd name="connsiteY1438" fmla="*/ 2629065 h 6858285"/>
              <a:gd name="connsiteX1439" fmla="*/ 539757 w 6530351"/>
              <a:gd name="connsiteY1439" fmla="*/ 2613887 h 6858285"/>
              <a:gd name="connsiteX1440" fmla="*/ 570303 w 6530351"/>
              <a:gd name="connsiteY1440" fmla="*/ 2568357 h 6858285"/>
              <a:gd name="connsiteX1441" fmla="*/ 912038 w 6530351"/>
              <a:gd name="connsiteY1441" fmla="*/ 2443134 h 6858285"/>
              <a:gd name="connsiteX1442" fmla="*/ 930712 w 6530351"/>
              <a:gd name="connsiteY1442" fmla="*/ 2440109 h 6858285"/>
              <a:gd name="connsiteX1443" fmla="*/ 4847413 w 6530351"/>
              <a:gd name="connsiteY1443" fmla="*/ 2434954 h 6858285"/>
              <a:gd name="connsiteX1444" fmla="*/ 4891141 w 6530351"/>
              <a:gd name="connsiteY1444" fmla="*/ 2472786 h 6858285"/>
              <a:gd name="connsiteX1445" fmla="*/ 4856803 w 6530351"/>
              <a:gd name="connsiteY1445" fmla="*/ 2537659 h 6858285"/>
              <a:gd name="connsiteX1446" fmla="*/ 4513417 w 6530351"/>
              <a:gd name="connsiteY1446" fmla="*/ 2638754 h 6858285"/>
              <a:gd name="connsiteX1447" fmla="*/ 4448555 w 6530351"/>
              <a:gd name="connsiteY1447" fmla="*/ 2602511 h 6858285"/>
              <a:gd name="connsiteX1448" fmla="*/ 4446647 w 6530351"/>
              <a:gd name="connsiteY1448" fmla="*/ 2587251 h 6858285"/>
              <a:gd name="connsiteX1449" fmla="*/ 4482895 w 6530351"/>
              <a:gd name="connsiteY1449" fmla="*/ 2537659 h 6858285"/>
              <a:gd name="connsiteX1450" fmla="*/ 4826279 w 6530351"/>
              <a:gd name="connsiteY1450" fmla="*/ 2436532 h 6858285"/>
              <a:gd name="connsiteX1451" fmla="*/ 4847413 w 6530351"/>
              <a:gd name="connsiteY1451" fmla="*/ 2434954 h 6858285"/>
              <a:gd name="connsiteX1452" fmla="*/ 1482970 w 6530351"/>
              <a:gd name="connsiteY1452" fmla="*/ 2434934 h 6858285"/>
              <a:gd name="connsiteX1453" fmla="*/ 1527502 w 6530351"/>
              <a:gd name="connsiteY1453" fmla="*/ 2472764 h 6858285"/>
              <a:gd name="connsiteX1454" fmla="*/ 1491256 w 6530351"/>
              <a:gd name="connsiteY1454" fmla="*/ 2537631 h 6858285"/>
              <a:gd name="connsiteX1455" fmla="*/ 1147871 w 6530351"/>
              <a:gd name="connsiteY1455" fmla="*/ 2638738 h 6858285"/>
              <a:gd name="connsiteX1456" fmla="*/ 1083010 w 6530351"/>
              <a:gd name="connsiteY1456" fmla="*/ 2602491 h 6858285"/>
              <a:gd name="connsiteX1457" fmla="*/ 1081102 w 6530351"/>
              <a:gd name="connsiteY1457" fmla="*/ 2587229 h 6858285"/>
              <a:gd name="connsiteX1458" fmla="*/ 1119256 w 6530351"/>
              <a:gd name="connsiteY1458" fmla="*/ 2537631 h 6858285"/>
              <a:gd name="connsiteX1459" fmla="*/ 1462641 w 6530351"/>
              <a:gd name="connsiteY1459" fmla="*/ 2436514 h 6858285"/>
              <a:gd name="connsiteX1460" fmla="*/ 1482970 w 6530351"/>
              <a:gd name="connsiteY1460" fmla="*/ 2434934 h 6858285"/>
              <a:gd name="connsiteX1461" fmla="*/ 4270903 w 6530351"/>
              <a:gd name="connsiteY1461" fmla="*/ 2431440 h 6858285"/>
              <a:gd name="connsiteX1462" fmla="*/ 4339343 w 6530351"/>
              <a:gd name="connsiteY1462" fmla="*/ 2475259 h 6858285"/>
              <a:gd name="connsiteX1463" fmla="*/ 4295617 w 6530351"/>
              <a:gd name="connsiteY1463" fmla="*/ 2543850 h 6858285"/>
              <a:gd name="connsiteX1464" fmla="*/ 3951517 w 6530351"/>
              <a:gd name="connsiteY1464" fmla="*/ 2618129 h 6858285"/>
              <a:gd name="connsiteX1465" fmla="*/ 3883077 w 6530351"/>
              <a:gd name="connsiteY1465" fmla="*/ 2574325 h 6858285"/>
              <a:gd name="connsiteX1466" fmla="*/ 3883077 w 6530351"/>
              <a:gd name="connsiteY1466" fmla="*/ 2562897 h 6858285"/>
              <a:gd name="connsiteX1467" fmla="*/ 3926803 w 6530351"/>
              <a:gd name="connsiteY1467" fmla="*/ 2507652 h 6858285"/>
              <a:gd name="connsiteX1468" fmla="*/ 4270903 w 6530351"/>
              <a:gd name="connsiteY1468" fmla="*/ 2431440 h 6858285"/>
              <a:gd name="connsiteX1469" fmla="*/ 2016623 w 6530351"/>
              <a:gd name="connsiteY1469" fmla="*/ 2431420 h 6858285"/>
              <a:gd name="connsiteX1470" fmla="*/ 2085063 w 6530351"/>
              <a:gd name="connsiteY1470" fmla="*/ 2475236 h 6858285"/>
              <a:gd name="connsiteX1471" fmla="*/ 2041337 w 6530351"/>
              <a:gd name="connsiteY1471" fmla="*/ 2543819 h 6858285"/>
              <a:gd name="connsiteX1472" fmla="*/ 1697237 w 6530351"/>
              <a:gd name="connsiteY1472" fmla="*/ 2618110 h 6858285"/>
              <a:gd name="connsiteX1473" fmla="*/ 1630698 w 6530351"/>
              <a:gd name="connsiteY1473" fmla="*/ 2574297 h 6858285"/>
              <a:gd name="connsiteX1474" fmla="*/ 1628797 w 6530351"/>
              <a:gd name="connsiteY1474" fmla="*/ 2562869 h 6858285"/>
              <a:gd name="connsiteX1475" fmla="*/ 1674424 w 6530351"/>
              <a:gd name="connsiteY1475" fmla="*/ 2507623 h 6858285"/>
              <a:gd name="connsiteX1476" fmla="*/ 2016623 w 6530351"/>
              <a:gd name="connsiteY1476" fmla="*/ 2431420 h 6858285"/>
              <a:gd name="connsiteX1477" fmla="*/ 2799526 w 6530351"/>
              <a:gd name="connsiteY1477" fmla="*/ 2428900 h 6858285"/>
              <a:gd name="connsiteX1478" fmla="*/ 3148596 w 6530351"/>
              <a:gd name="connsiteY1478" fmla="*/ 2428900 h 6858285"/>
              <a:gd name="connsiteX1479" fmla="*/ 3221081 w 6530351"/>
              <a:gd name="connsiteY1479" fmla="*/ 2499556 h 6858285"/>
              <a:gd name="connsiteX1480" fmla="*/ 3148596 w 6530351"/>
              <a:gd name="connsiteY1480" fmla="*/ 2570198 h 6858285"/>
              <a:gd name="connsiteX1481" fmla="*/ 2799526 w 6530351"/>
              <a:gd name="connsiteY1481" fmla="*/ 2570198 h 6858285"/>
              <a:gd name="connsiteX1482" fmla="*/ 2728949 w 6530351"/>
              <a:gd name="connsiteY1482" fmla="*/ 2499556 h 6858285"/>
              <a:gd name="connsiteX1483" fmla="*/ 2799526 w 6530351"/>
              <a:gd name="connsiteY1483" fmla="*/ 2428900 h 6858285"/>
              <a:gd name="connsiteX1484" fmla="*/ 3713481 w 6530351"/>
              <a:gd name="connsiteY1484" fmla="*/ 2424773 h 6858285"/>
              <a:gd name="connsiteX1485" fmla="*/ 3782107 w 6530351"/>
              <a:gd name="connsiteY1485" fmla="*/ 2478118 h 6858285"/>
              <a:gd name="connsiteX1486" fmla="*/ 3730637 w 6530351"/>
              <a:gd name="connsiteY1486" fmla="*/ 2546706 h 6858285"/>
              <a:gd name="connsiteX1487" fmla="*/ 3383690 w 6530351"/>
              <a:gd name="connsiteY1487" fmla="*/ 2598127 h 6858285"/>
              <a:gd name="connsiteX1488" fmla="*/ 3315063 w 6530351"/>
              <a:gd name="connsiteY1488" fmla="*/ 2546706 h 6858285"/>
              <a:gd name="connsiteX1489" fmla="*/ 3313157 w 6530351"/>
              <a:gd name="connsiteY1489" fmla="*/ 2537183 h 6858285"/>
              <a:gd name="connsiteX1490" fmla="*/ 3366533 w 6530351"/>
              <a:gd name="connsiteY1490" fmla="*/ 2476213 h 6858285"/>
              <a:gd name="connsiteX1491" fmla="*/ 3713481 w 6530351"/>
              <a:gd name="connsiteY1491" fmla="*/ 2424773 h 6858285"/>
              <a:gd name="connsiteX1492" fmla="*/ 2578402 w 6530351"/>
              <a:gd name="connsiteY1492" fmla="*/ 2424750 h 6858285"/>
              <a:gd name="connsiteX1493" fmla="*/ 2647029 w 6530351"/>
              <a:gd name="connsiteY1493" fmla="*/ 2478093 h 6858285"/>
              <a:gd name="connsiteX1494" fmla="*/ 2595559 w 6530351"/>
              <a:gd name="connsiteY1494" fmla="*/ 2546673 h 6858285"/>
              <a:gd name="connsiteX1495" fmla="*/ 2248612 w 6530351"/>
              <a:gd name="connsiteY1495" fmla="*/ 2598105 h 6858285"/>
              <a:gd name="connsiteX1496" fmla="*/ 2179985 w 6530351"/>
              <a:gd name="connsiteY1496" fmla="*/ 2546673 h 6858285"/>
              <a:gd name="connsiteX1497" fmla="*/ 2178079 w 6530351"/>
              <a:gd name="connsiteY1497" fmla="*/ 2537148 h 6858285"/>
              <a:gd name="connsiteX1498" fmla="*/ 2231455 w 6530351"/>
              <a:gd name="connsiteY1498" fmla="*/ 2476187 h 6858285"/>
              <a:gd name="connsiteX1499" fmla="*/ 2578402 w 6530351"/>
              <a:gd name="connsiteY1499" fmla="*/ 2424750 h 6858285"/>
              <a:gd name="connsiteX1500" fmla="*/ 6500049 w 6530351"/>
              <a:gd name="connsiteY1500" fmla="*/ 2128300 h 6858285"/>
              <a:gd name="connsiteX1501" fmla="*/ 6522179 w 6530351"/>
              <a:gd name="connsiteY1501" fmla="*/ 2147616 h 6858285"/>
              <a:gd name="connsiteX1502" fmla="*/ 6527889 w 6530351"/>
              <a:gd name="connsiteY1502" fmla="*/ 2164783 h 6858285"/>
              <a:gd name="connsiteX1503" fmla="*/ 6506949 w 6530351"/>
              <a:gd name="connsiteY1503" fmla="*/ 2199112 h 6858285"/>
              <a:gd name="connsiteX1504" fmla="*/ 6168111 w 6530351"/>
              <a:gd name="connsiteY1504" fmla="*/ 2374577 h 6858285"/>
              <a:gd name="connsiteX1505" fmla="*/ 6116713 w 6530351"/>
              <a:gd name="connsiteY1505" fmla="*/ 2359320 h 6858285"/>
              <a:gd name="connsiteX1506" fmla="*/ 6131943 w 6530351"/>
              <a:gd name="connsiteY1506" fmla="*/ 2305905 h 6858285"/>
              <a:gd name="connsiteX1507" fmla="*/ 6470781 w 6530351"/>
              <a:gd name="connsiteY1507" fmla="*/ 2130447 h 6858285"/>
              <a:gd name="connsiteX1508" fmla="*/ 6500049 w 6530351"/>
              <a:gd name="connsiteY1508" fmla="*/ 2128300 h 6858285"/>
              <a:gd name="connsiteX1509" fmla="*/ 5959179 w 6530351"/>
              <a:gd name="connsiteY1509" fmla="*/ 2123124 h 6858285"/>
              <a:gd name="connsiteX1510" fmla="*/ 5982737 w 6530351"/>
              <a:gd name="connsiteY1510" fmla="*/ 2145006 h 6858285"/>
              <a:gd name="connsiteX1511" fmla="*/ 5986543 w 6530351"/>
              <a:gd name="connsiteY1511" fmla="*/ 2164031 h 6858285"/>
              <a:gd name="connsiteX1512" fmla="*/ 5961797 w 6530351"/>
              <a:gd name="connsiteY1512" fmla="*/ 2202083 h 6858285"/>
              <a:gd name="connsiteX1513" fmla="*/ 5621049 w 6530351"/>
              <a:gd name="connsiteY1513" fmla="*/ 2354284 h 6858285"/>
              <a:gd name="connsiteX1514" fmla="*/ 5565845 w 6530351"/>
              <a:gd name="connsiteY1514" fmla="*/ 2333356 h 6858285"/>
              <a:gd name="connsiteX1515" fmla="*/ 5586783 w 6530351"/>
              <a:gd name="connsiteY1515" fmla="*/ 2276277 h 6858285"/>
              <a:gd name="connsiteX1516" fmla="*/ 5925629 w 6530351"/>
              <a:gd name="connsiteY1516" fmla="*/ 2124073 h 6858285"/>
              <a:gd name="connsiteX1517" fmla="*/ 5959179 w 6530351"/>
              <a:gd name="connsiteY1517" fmla="*/ 2123124 h 6858285"/>
              <a:gd name="connsiteX1518" fmla="*/ 398985 w 6530351"/>
              <a:gd name="connsiteY1518" fmla="*/ 2123120 h 6858285"/>
              <a:gd name="connsiteX1519" fmla="*/ 423239 w 6530351"/>
              <a:gd name="connsiteY1519" fmla="*/ 2145003 h 6858285"/>
              <a:gd name="connsiteX1520" fmla="*/ 427043 w 6530351"/>
              <a:gd name="connsiteY1520" fmla="*/ 2164030 h 6858285"/>
              <a:gd name="connsiteX1521" fmla="*/ 402314 w 6530351"/>
              <a:gd name="connsiteY1521" fmla="*/ 2202079 h 6858285"/>
              <a:gd name="connsiteX1522" fmla="*/ 61815 w 6530351"/>
              <a:gd name="connsiteY1522" fmla="*/ 2354282 h 6858285"/>
              <a:gd name="connsiteX1523" fmla="*/ 6650 w 6530351"/>
              <a:gd name="connsiteY1523" fmla="*/ 2333354 h 6858285"/>
              <a:gd name="connsiteX1524" fmla="*/ 27575 w 6530351"/>
              <a:gd name="connsiteY1524" fmla="*/ 2276277 h 6858285"/>
              <a:gd name="connsiteX1525" fmla="*/ 366172 w 6530351"/>
              <a:gd name="connsiteY1525" fmla="*/ 2124071 h 6858285"/>
              <a:gd name="connsiteX1526" fmla="*/ 398985 w 6530351"/>
              <a:gd name="connsiteY1526" fmla="*/ 2123120 h 6858285"/>
              <a:gd name="connsiteX1527" fmla="*/ 5396861 w 6530351"/>
              <a:gd name="connsiteY1527" fmla="*/ 2116224 h 6858285"/>
              <a:gd name="connsiteX1528" fmla="*/ 5438205 w 6530351"/>
              <a:gd name="connsiteY1528" fmla="*/ 2145799 h 6858285"/>
              <a:gd name="connsiteX1529" fmla="*/ 5442023 w 6530351"/>
              <a:gd name="connsiteY1529" fmla="*/ 2162853 h 6858285"/>
              <a:gd name="connsiteX1530" fmla="*/ 5411477 w 6530351"/>
              <a:gd name="connsiteY1530" fmla="*/ 2206431 h 6858285"/>
              <a:gd name="connsiteX1531" fmla="*/ 5069743 w 6530351"/>
              <a:gd name="connsiteY1531" fmla="*/ 2335273 h 6858285"/>
              <a:gd name="connsiteX1532" fmla="*/ 5008651 w 6530351"/>
              <a:gd name="connsiteY1532" fmla="*/ 2308740 h 6858285"/>
              <a:gd name="connsiteX1533" fmla="*/ 5037287 w 6530351"/>
              <a:gd name="connsiteY1533" fmla="*/ 2248114 h 6858285"/>
              <a:gd name="connsiteX1534" fmla="*/ 5379023 w 6530351"/>
              <a:gd name="connsiteY1534" fmla="*/ 2119273 h 6858285"/>
              <a:gd name="connsiteX1535" fmla="*/ 5396861 w 6530351"/>
              <a:gd name="connsiteY1535" fmla="*/ 2116224 h 6858285"/>
              <a:gd name="connsiteX1536" fmla="*/ 930378 w 6530351"/>
              <a:gd name="connsiteY1536" fmla="*/ 2116219 h 6858285"/>
              <a:gd name="connsiteX1537" fmla="*/ 972827 w 6530351"/>
              <a:gd name="connsiteY1537" fmla="*/ 2145797 h 6858285"/>
              <a:gd name="connsiteX1538" fmla="*/ 974738 w 6530351"/>
              <a:gd name="connsiteY1538" fmla="*/ 2162851 h 6858285"/>
              <a:gd name="connsiteX1539" fmla="*/ 944170 w 6530351"/>
              <a:gd name="connsiteY1539" fmla="*/ 2206429 h 6858285"/>
              <a:gd name="connsiteX1540" fmla="*/ 602186 w 6530351"/>
              <a:gd name="connsiteY1540" fmla="*/ 2335271 h 6858285"/>
              <a:gd name="connsiteX1541" fmla="*/ 542960 w 6530351"/>
              <a:gd name="connsiteY1541" fmla="*/ 2308740 h 6858285"/>
              <a:gd name="connsiteX1542" fmla="*/ 569707 w 6530351"/>
              <a:gd name="connsiteY1542" fmla="*/ 2248111 h 6858285"/>
              <a:gd name="connsiteX1543" fmla="*/ 911691 w 6530351"/>
              <a:gd name="connsiteY1543" fmla="*/ 2119271 h 6858285"/>
              <a:gd name="connsiteX1544" fmla="*/ 930378 w 6530351"/>
              <a:gd name="connsiteY1544" fmla="*/ 2116219 h 6858285"/>
              <a:gd name="connsiteX1545" fmla="*/ 4846001 w 6530351"/>
              <a:gd name="connsiteY1545" fmla="*/ 2110276 h 6858285"/>
              <a:gd name="connsiteX1546" fmla="*/ 4890833 w 6530351"/>
              <a:gd name="connsiteY1546" fmla="*/ 2147137 h 6858285"/>
              <a:gd name="connsiteX1547" fmla="*/ 4892743 w 6530351"/>
              <a:gd name="connsiteY1547" fmla="*/ 2162335 h 6858285"/>
              <a:gd name="connsiteX1548" fmla="*/ 4856471 w 6530351"/>
              <a:gd name="connsiteY1548" fmla="*/ 2209823 h 6858285"/>
              <a:gd name="connsiteX1549" fmla="*/ 4512841 w 6530351"/>
              <a:gd name="connsiteY1549" fmla="*/ 2316194 h 6858285"/>
              <a:gd name="connsiteX1550" fmla="*/ 4449843 w 6530351"/>
              <a:gd name="connsiteY1550" fmla="*/ 2283894 h 6858285"/>
              <a:gd name="connsiteX1551" fmla="*/ 4482297 w 6530351"/>
              <a:gd name="connsiteY1551" fmla="*/ 2219319 h 6858285"/>
              <a:gd name="connsiteX1552" fmla="*/ 4825925 w 6530351"/>
              <a:gd name="connsiteY1552" fmla="*/ 2112946 h 6858285"/>
              <a:gd name="connsiteX1553" fmla="*/ 4846001 w 6530351"/>
              <a:gd name="connsiteY1553" fmla="*/ 2110276 h 6858285"/>
              <a:gd name="connsiteX1554" fmla="*/ 1482460 w 6530351"/>
              <a:gd name="connsiteY1554" fmla="*/ 2110273 h 6858285"/>
              <a:gd name="connsiteX1555" fmla="*/ 1525292 w 6530351"/>
              <a:gd name="connsiteY1555" fmla="*/ 2147134 h 6858285"/>
              <a:gd name="connsiteX1556" fmla="*/ 1527196 w 6530351"/>
              <a:gd name="connsiteY1556" fmla="*/ 2162332 h 6858285"/>
              <a:gd name="connsiteX1557" fmla="*/ 1492930 w 6530351"/>
              <a:gd name="connsiteY1557" fmla="*/ 2209820 h 6858285"/>
              <a:gd name="connsiteX1558" fmla="*/ 1150267 w 6530351"/>
              <a:gd name="connsiteY1558" fmla="*/ 2316193 h 6858285"/>
              <a:gd name="connsiteX1559" fmla="*/ 1085542 w 6530351"/>
              <a:gd name="connsiteY1559" fmla="*/ 2283894 h 6858285"/>
              <a:gd name="connsiteX1560" fmla="*/ 1119808 w 6530351"/>
              <a:gd name="connsiteY1560" fmla="*/ 2219317 h 6858285"/>
              <a:gd name="connsiteX1561" fmla="*/ 1462471 w 6530351"/>
              <a:gd name="connsiteY1561" fmla="*/ 2112944 h 6858285"/>
              <a:gd name="connsiteX1562" fmla="*/ 1482460 w 6530351"/>
              <a:gd name="connsiteY1562" fmla="*/ 2110273 h 6858285"/>
              <a:gd name="connsiteX1563" fmla="*/ 4292491 w 6530351"/>
              <a:gd name="connsiteY1563" fmla="*/ 2106610 h 6858285"/>
              <a:gd name="connsiteX1564" fmla="*/ 4338695 w 6530351"/>
              <a:gd name="connsiteY1564" fmla="*/ 2147674 h 6858285"/>
              <a:gd name="connsiteX1565" fmla="*/ 4338695 w 6530351"/>
              <a:gd name="connsiteY1565" fmla="*/ 2160948 h 6858285"/>
              <a:gd name="connsiteX1566" fmla="*/ 4296669 w 6530351"/>
              <a:gd name="connsiteY1566" fmla="*/ 2214040 h 6858285"/>
              <a:gd name="connsiteX1567" fmla="*/ 3952817 w 6530351"/>
              <a:gd name="connsiteY1567" fmla="*/ 2297465 h 6858285"/>
              <a:gd name="connsiteX1568" fmla="*/ 3884045 w 6530351"/>
              <a:gd name="connsiteY1568" fmla="*/ 2257651 h 6858285"/>
              <a:gd name="connsiteX1569" fmla="*/ 3926073 w 6530351"/>
              <a:gd name="connsiteY1569" fmla="*/ 2191286 h 6858285"/>
              <a:gd name="connsiteX1570" fmla="*/ 4269925 w 6530351"/>
              <a:gd name="connsiteY1570" fmla="*/ 2107856 h 6858285"/>
              <a:gd name="connsiteX1571" fmla="*/ 4292491 w 6530351"/>
              <a:gd name="connsiteY1571" fmla="*/ 2106610 h 6858285"/>
              <a:gd name="connsiteX1572" fmla="*/ 2038726 w 6530351"/>
              <a:gd name="connsiteY1572" fmla="*/ 2106607 h 6858285"/>
              <a:gd name="connsiteX1573" fmla="*/ 2084094 w 6530351"/>
              <a:gd name="connsiteY1573" fmla="*/ 2147672 h 6858285"/>
              <a:gd name="connsiteX1574" fmla="*/ 2086003 w 6530351"/>
              <a:gd name="connsiteY1574" fmla="*/ 2160946 h 6858285"/>
              <a:gd name="connsiteX1575" fmla="*/ 2044006 w 6530351"/>
              <a:gd name="connsiteY1575" fmla="*/ 2214037 h 6858285"/>
              <a:gd name="connsiteX1576" fmla="*/ 1698484 w 6530351"/>
              <a:gd name="connsiteY1576" fmla="*/ 2297465 h 6858285"/>
              <a:gd name="connsiteX1577" fmla="*/ 1631670 w 6530351"/>
              <a:gd name="connsiteY1577" fmla="*/ 2257649 h 6858285"/>
              <a:gd name="connsiteX1578" fmla="*/ 1671758 w 6530351"/>
              <a:gd name="connsiteY1578" fmla="*/ 2191284 h 6858285"/>
              <a:gd name="connsiteX1579" fmla="*/ 2017280 w 6530351"/>
              <a:gd name="connsiteY1579" fmla="*/ 2107852 h 6858285"/>
              <a:gd name="connsiteX1580" fmla="*/ 2038726 w 6530351"/>
              <a:gd name="connsiteY1580" fmla="*/ 2106607 h 6858285"/>
              <a:gd name="connsiteX1581" fmla="*/ 3734761 w 6530351"/>
              <a:gd name="connsiteY1581" fmla="*/ 2101210 h 6858285"/>
              <a:gd name="connsiteX1582" fmla="*/ 3779887 w 6530351"/>
              <a:gd name="connsiteY1582" fmla="*/ 2149163 h 6858285"/>
              <a:gd name="connsiteX1583" fmla="*/ 3779887 w 6530351"/>
              <a:gd name="connsiteY1583" fmla="*/ 2158688 h 6858285"/>
              <a:gd name="connsiteX1584" fmla="*/ 3732133 w 6530351"/>
              <a:gd name="connsiteY1584" fmla="*/ 2217741 h 6858285"/>
              <a:gd name="connsiteX1585" fmla="*/ 3384479 w 6530351"/>
              <a:gd name="connsiteY1585" fmla="*/ 2278699 h 6858285"/>
              <a:gd name="connsiteX1586" fmla="*/ 3315713 w 6530351"/>
              <a:gd name="connsiteY1586" fmla="*/ 2231076 h 6858285"/>
              <a:gd name="connsiteX1587" fmla="*/ 3363467 w 6530351"/>
              <a:gd name="connsiteY1587" fmla="*/ 2160593 h 6858285"/>
              <a:gd name="connsiteX1588" fmla="*/ 3711121 w 6530351"/>
              <a:gd name="connsiteY1588" fmla="*/ 2101538 h 6858285"/>
              <a:gd name="connsiteX1589" fmla="*/ 3734761 w 6530351"/>
              <a:gd name="connsiteY1589" fmla="*/ 2101210 h 6858285"/>
              <a:gd name="connsiteX1590" fmla="*/ 2601270 w 6530351"/>
              <a:gd name="connsiteY1590" fmla="*/ 2101207 h 6858285"/>
              <a:gd name="connsiteX1591" fmla="*/ 2646398 w 6530351"/>
              <a:gd name="connsiteY1591" fmla="*/ 2149158 h 6858285"/>
              <a:gd name="connsiteX1592" fmla="*/ 2646398 w 6530351"/>
              <a:gd name="connsiteY1592" fmla="*/ 2158685 h 6858285"/>
              <a:gd name="connsiteX1593" fmla="*/ 2596733 w 6530351"/>
              <a:gd name="connsiteY1593" fmla="*/ 2217739 h 6858285"/>
              <a:gd name="connsiteX1594" fmla="*/ 2250989 w 6530351"/>
              <a:gd name="connsiteY1594" fmla="*/ 2278698 h 6858285"/>
              <a:gd name="connsiteX1595" fmla="*/ 2182223 w 6530351"/>
              <a:gd name="connsiteY1595" fmla="*/ 2231074 h 6858285"/>
              <a:gd name="connsiteX1596" fmla="*/ 2229977 w 6530351"/>
              <a:gd name="connsiteY1596" fmla="*/ 2160590 h 6858285"/>
              <a:gd name="connsiteX1597" fmla="*/ 2577631 w 6530351"/>
              <a:gd name="connsiteY1597" fmla="*/ 2101535 h 6858285"/>
              <a:gd name="connsiteX1598" fmla="*/ 2601270 w 6530351"/>
              <a:gd name="connsiteY1598" fmla="*/ 2101207 h 6858285"/>
              <a:gd name="connsiteX1599" fmla="*/ 3141117 w 6530351"/>
              <a:gd name="connsiteY1599" fmla="*/ 2094543 h 6858285"/>
              <a:gd name="connsiteX1600" fmla="*/ 3211556 w 6530351"/>
              <a:gd name="connsiteY1600" fmla="*/ 2151589 h 6858285"/>
              <a:gd name="connsiteX1601" fmla="*/ 3211556 w 6530351"/>
              <a:gd name="connsiteY1601" fmla="*/ 2159195 h 6858285"/>
              <a:gd name="connsiteX1602" fmla="*/ 3156347 w 6530351"/>
              <a:gd name="connsiteY1602" fmla="*/ 2221944 h 6858285"/>
              <a:gd name="connsiteX1603" fmla="*/ 2807959 w 6530351"/>
              <a:gd name="connsiteY1603" fmla="*/ 2259975 h 6858285"/>
              <a:gd name="connsiteX1604" fmla="*/ 2737520 w 6530351"/>
              <a:gd name="connsiteY1604" fmla="*/ 2202929 h 6858285"/>
              <a:gd name="connsiteX1605" fmla="*/ 2794632 w 6530351"/>
              <a:gd name="connsiteY1605" fmla="*/ 2132570 h 6858285"/>
              <a:gd name="connsiteX1606" fmla="*/ 3141117 w 6530351"/>
              <a:gd name="connsiteY1606" fmla="*/ 2094543 h 6858285"/>
              <a:gd name="connsiteX1607" fmla="*/ 6499963 w 6530351"/>
              <a:gd name="connsiteY1607" fmla="*/ 1806060 h 6858285"/>
              <a:gd name="connsiteX1608" fmla="*/ 6522161 w 6530351"/>
              <a:gd name="connsiteY1608" fmla="*/ 1825395 h 6858285"/>
              <a:gd name="connsiteX1609" fmla="*/ 6527887 w 6530351"/>
              <a:gd name="connsiteY1609" fmla="*/ 1842582 h 6858285"/>
              <a:gd name="connsiteX1610" fmla="*/ 6506885 w 6530351"/>
              <a:gd name="connsiteY1610" fmla="*/ 1876955 h 6858285"/>
              <a:gd name="connsiteX1611" fmla="*/ 6167027 w 6530351"/>
              <a:gd name="connsiteY1611" fmla="*/ 2052636 h 6858285"/>
              <a:gd name="connsiteX1612" fmla="*/ 6115475 w 6530351"/>
              <a:gd name="connsiteY1612" fmla="*/ 2035451 h 6858285"/>
              <a:gd name="connsiteX1613" fmla="*/ 6130751 w 6530351"/>
              <a:gd name="connsiteY1613" fmla="*/ 1983892 h 6858285"/>
              <a:gd name="connsiteX1614" fmla="*/ 6470609 w 6530351"/>
              <a:gd name="connsiteY1614" fmla="*/ 1808208 h 6858285"/>
              <a:gd name="connsiteX1615" fmla="*/ 6499963 w 6530351"/>
              <a:gd name="connsiteY1615" fmla="*/ 1806060 h 6858285"/>
              <a:gd name="connsiteX1616" fmla="*/ 5958465 w 6530351"/>
              <a:gd name="connsiteY1616" fmla="*/ 1800926 h 6858285"/>
              <a:gd name="connsiteX1617" fmla="*/ 5982737 w 6530351"/>
              <a:gd name="connsiteY1617" fmla="*/ 1822945 h 6858285"/>
              <a:gd name="connsiteX1618" fmla="*/ 5986543 w 6530351"/>
              <a:gd name="connsiteY1618" fmla="*/ 1840178 h 6858285"/>
              <a:gd name="connsiteX1619" fmla="*/ 5961797 w 6530351"/>
              <a:gd name="connsiteY1619" fmla="*/ 1878473 h 6858285"/>
              <a:gd name="connsiteX1620" fmla="*/ 5622953 w 6530351"/>
              <a:gd name="connsiteY1620" fmla="*/ 2033561 h 6858285"/>
              <a:gd name="connsiteX1621" fmla="*/ 5565845 w 6530351"/>
              <a:gd name="connsiteY1621" fmla="*/ 2012501 h 6858285"/>
              <a:gd name="connsiteX1622" fmla="*/ 5586783 w 6530351"/>
              <a:gd name="connsiteY1622" fmla="*/ 1955060 h 6858285"/>
              <a:gd name="connsiteX1623" fmla="*/ 5925629 w 6530351"/>
              <a:gd name="connsiteY1623" fmla="*/ 1801884 h 6858285"/>
              <a:gd name="connsiteX1624" fmla="*/ 5958465 w 6530351"/>
              <a:gd name="connsiteY1624" fmla="*/ 1800926 h 6858285"/>
              <a:gd name="connsiteX1625" fmla="*/ 398965 w 6530351"/>
              <a:gd name="connsiteY1625" fmla="*/ 1800917 h 6858285"/>
              <a:gd name="connsiteX1626" fmla="*/ 423236 w 6530351"/>
              <a:gd name="connsiteY1626" fmla="*/ 1822936 h 6858285"/>
              <a:gd name="connsiteX1627" fmla="*/ 427043 w 6530351"/>
              <a:gd name="connsiteY1627" fmla="*/ 1840169 h 6858285"/>
              <a:gd name="connsiteX1628" fmla="*/ 400392 w 6530351"/>
              <a:gd name="connsiteY1628" fmla="*/ 1878463 h 6858285"/>
              <a:gd name="connsiteX1629" fmla="*/ 61548 w 6530351"/>
              <a:gd name="connsiteY1629" fmla="*/ 2033553 h 6858285"/>
              <a:gd name="connsiteX1630" fmla="*/ 6343 w 6530351"/>
              <a:gd name="connsiteY1630" fmla="*/ 2012491 h 6858285"/>
              <a:gd name="connsiteX1631" fmla="*/ 27283 w 6530351"/>
              <a:gd name="connsiteY1631" fmla="*/ 1955050 h 6858285"/>
              <a:gd name="connsiteX1632" fmla="*/ 366127 w 6530351"/>
              <a:gd name="connsiteY1632" fmla="*/ 1801874 h 6858285"/>
              <a:gd name="connsiteX1633" fmla="*/ 398965 w 6530351"/>
              <a:gd name="connsiteY1633" fmla="*/ 1800917 h 6858285"/>
              <a:gd name="connsiteX1634" fmla="*/ 5395755 w 6530351"/>
              <a:gd name="connsiteY1634" fmla="*/ 1792151 h 6858285"/>
              <a:gd name="connsiteX1635" fmla="*/ 5438203 w 6530351"/>
              <a:gd name="connsiteY1635" fmla="*/ 1822155 h 6858285"/>
              <a:gd name="connsiteX1636" fmla="*/ 5442023 w 6530351"/>
              <a:gd name="connsiteY1636" fmla="*/ 1839301 h 6858285"/>
              <a:gd name="connsiteX1637" fmla="*/ 5411455 w 6530351"/>
              <a:gd name="connsiteY1637" fmla="*/ 1883116 h 6858285"/>
              <a:gd name="connsiteX1638" fmla="*/ 5069471 w 6530351"/>
              <a:gd name="connsiteY1638" fmla="*/ 2014560 h 6858285"/>
              <a:gd name="connsiteX1639" fmla="*/ 5010245 w 6530351"/>
              <a:gd name="connsiteY1639" fmla="*/ 1989796 h 6858285"/>
              <a:gd name="connsiteX1640" fmla="*/ 5036993 w 6530351"/>
              <a:gd name="connsiteY1640" fmla="*/ 1928836 h 6858285"/>
              <a:gd name="connsiteX1641" fmla="*/ 5377067 w 6530351"/>
              <a:gd name="connsiteY1641" fmla="*/ 1795485 h 6858285"/>
              <a:gd name="connsiteX1642" fmla="*/ 5395755 w 6530351"/>
              <a:gd name="connsiteY1642" fmla="*/ 1792151 h 6858285"/>
              <a:gd name="connsiteX1643" fmla="*/ 929274 w 6530351"/>
              <a:gd name="connsiteY1643" fmla="*/ 1792140 h 6858285"/>
              <a:gd name="connsiteX1644" fmla="*/ 970917 w 6530351"/>
              <a:gd name="connsiteY1644" fmla="*/ 1822144 h 6858285"/>
              <a:gd name="connsiteX1645" fmla="*/ 974738 w 6530351"/>
              <a:gd name="connsiteY1645" fmla="*/ 1839289 h 6858285"/>
              <a:gd name="connsiteX1646" fmla="*/ 946080 w 6530351"/>
              <a:gd name="connsiteY1646" fmla="*/ 1883104 h 6858285"/>
              <a:gd name="connsiteX1647" fmla="*/ 604096 w 6530351"/>
              <a:gd name="connsiteY1647" fmla="*/ 2014549 h 6858285"/>
              <a:gd name="connsiteX1648" fmla="*/ 542960 w 6530351"/>
              <a:gd name="connsiteY1648" fmla="*/ 1989784 h 6858285"/>
              <a:gd name="connsiteX1649" fmla="*/ 569707 w 6530351"/>
              <a:gd name="connsiteY1649" fmla="*/ 1928824 h 6858285"/>
              <a:gd name="connsiteX1650" fmla="*/ 911691 w 6530351"/>
              <a:gd name="connsiteY1650" fmla="*/ 1795473 h 6858285"/>
              <a:gd name="connsiteX1651" fmla="*/ 929274 w 6530351"/>
              <a:gd name="connsiteY1651" fmla="*/ 1792140 h 6858285"/>
              <a:gd name="connsiteX1652" fmla="*/ 4845315 w 6530351"/>
              <a:gd name="connsiteY1652" fmla="*/ 1786416 h 6858285"/>
              <a:gd name="connsiteX1653" fmla="*/ 4889249 w 6530351"/>
              <a:gd name="connsiteY1653" fmla="*/ 1819728 h 6858285"/>
              <a:gd name="connsiteX1654" fmla="*/ 4891155 w 6530351"/>
              <a:gd name="connsiteY1654" fmla="*/ 1836922 h 6858285"/>
              <a:gd name="connsiteX1655" fmla="*/ 4856863 w 6530351"/>
              <a:gd name="connsiteY1655" fmla="*/ 1884682 h 6858285"/>
              <a:gd name="connsiteX1656" fmla="*/ 4515863 w 6530351"/>
              <a:gd name="connsiteY1656" fmla="*/ 1997394 h 6858285"/>
              <a:gd name="connsiteX1657" fmla="*/ 4451093 w 6530351"/>
              <a:gd name="connsiteY1657" fmla="*/ 1964918 h 6858285"/>
              <a:gd name="connsiteX1658" fmla="*/ 4483479 w 6530351"/>
              <a:gd name="connsiteY1658" fmla="*/ 1901876 h 6858285"/>
              <a:gd name="connsiteX1659" fmla="*/ 4826383 w 6530351"/>
              <a:gd name="connsiteY1659" fmla="*/ 1789162 h 6858285"/>
              <a:gd name="connsiteX1660" fmla="*/ 4845315 w 6530351"/>
              <a:gd name="connsiteY1660" fmla="*/ 1786416 h 6858285"/>
              <a:gd name="connsiteX1661" fmla="*/ 1480556 w 6530351"/>
              <a:gd name="connsiteY1661" fmla="*/ 1786402 h 6858285"/>
              <a:gd name="connsiteX1662" fmla="*/ 1523389 w 6530351"/>
              <a:gd name="connsiteY1662" fmla="*/ 1819714 h 6858285"/>
              <a:gd name="connsiteX1663" fmla="*/ 1527196 w 6530351"/>
              <a:gd name="connsiteY1663" fmla="*/ 1836908 h 6858285"/>
              <a:gd name="connsiteX1664" fmla="*/ 1492930 w 6530351"/>
              <a:gd name="connsiteY1664" fmla="*/ 1884667 h 6858285"/>
              <a:gd name="connsiteX1665" fmla="*/ 1150267 w 6530351"/>
              <a:gd name="connsiteY1665" fmla="*/ 1997380 h 6858285"/>
              <a:gd name="connsiteX1666" fmla="*/ 1087445 w 6530351"/>
              <a:gd name="connsiteY1666" fmla="*/ 1964903 h 6858285"/>
              <a:gd name="connsiteX1667" fmla="*/ 1119808 w 6530351"/>
              <a:gd name="connsiteY1667" fmla="*/ 1901861 h 6858285"/>
              <a:gd name="connsiteX1668" fmla="*/ 1460567 w 6530351"/>
              <a:gd name="connsiteY1668" fmla="*/ 1789148 h 6858285"/>
              <a:gd name="connsiteX1669" fmla="*/ 1480556 w 6530351"/>
              <a:gd name="connsiteY1669" fmla="*/ 1786402 h 6858285"/>
              <a:gd name="connsiteX1670" fmla="*/ 4289949 w 6530351"/>
              <a:gd name="connsiteY1670" fmla="*/ 1779638 h 6858285"/>
              <a:gd name="connsiteX1671" fmla="*/ 4333615 w 6530351"/>
              <a:gd name="connsiteY1671" fmla="*/ 1819255 h 6858285"/>
              <a:gd name="connsiteX1672" fmla="*/ 4335521 w 6530351"/>
              <a:gd name="connsiteY1672" fmla="*/ 1834586 h 6858285"/>
              <a:gd name="connsiteX1673" fmla="*/ 4295515 w 6530351"/>
              <a:gd name="connsiteY1673" fmla="*/ 1886331 h 6858285"/>
              <a:gd name="connsiteX1674" fmla="*/ 3952611 w 6530351"/>
              <a:gd name="connsiteY1674" fmla="*/ 1978320 h 6858285"/>
              <a:gd name="connsiteX1675" fmla="*/ 3885935 w 6530351"/>
              <a:gd name="connsiteY1675" fmla="*/ 1939991 h 6858285"/>
              <a:gd name="connsiteX1676" fmla="*/ 3924035 w 6530351"/>
              <a:gd name="connsiteY1676" fmla="*/ 1872916 h 6858285"/>
              <a:gd name="connsiteX1677" fmla="*/ 4268845 w 6530351"/>
              <a:gd name="connsiteY1677" fmla="*/ 1780925 h 6858285"/>
              <a:gd name="connsiteX1678" fmla="*/ 4289949 w 6530351"/>
              <a:gd name="connsiteY1678" fmla="*/ 1779638 h 6858285"/>
              <a:gd name="connsiteX1679" fmla="*/ 2035648 w 6530351"/>
              <a:gd name="connsiteY1679" fmla="*/ 1779621 h 6858285"/>
              <a:gd name="connsiteX1680" fmla="*/ 2080922 w 6530351"/>
              <a:gd name="connsiteY1680" fmla="*/ 1819238 h 6858285"/>
              <a:gd name="connsiteX1681" fmla="*/ 2082827 w 6530351"/>
              <a:gd name="connsiteY1681" fmla="*/ 1834569 h 6858285"/>
              <a:gd name="connsiteX1682" fmla="*/ 2042821 w 6530351"/>
              <a:gd name="connsiteY1682" fmla="*/ 1886314 h 6858285"/>
              <a:gd name="connsiteX1683" fmla="*/ 1699917 w 6530351"/>
              <a:gd name="connsiteY1683" fmla="*/ 1978302 h 6858285"/>
              <a:gd name="connsiteX1684" fmla="*/ 1633241 w 6530351"/>
              <a:gd name="connsiteY1684" fmla="*/ 1939974 h 6858285"/>
              <a:gd name="connsiteX1685" fmla="*/ 1671342 w 6530351"/>
              <a:gd name="connsiteY1685" fmla="*/ 1872898 h 6858285"/>
              <a:gd name="connsiteX1686" fmla="*/ 2014246 w 6530351"/>
              <a:gd name="connsiteY1686" fmla="*/ 1780909 h 6858285"/>
              <a:gd name="connsiteX1687" fmla="*/ 2035648 w 6530351"/>
              <a:gd name="connsiteY1687" fmla="*/ 1779621 h 6858285"/>
              <a:gd name="connsiteX1688" fmla="*/ 3732191 w 6530351"/>
              <a:gd name="connsiteY1688" fmla="*/ 1775473 h 6858285"/>
              <a:gd name="connsiteX1689" fmla="*/ 3778301 w 6530351"/>
              <a:gd name="connsiteY1689" fmla="*/ 1820015 h 6858285"/>
              <a:gd name="connsiteX1690" fmla="*/ 3778301 w 6530351"/>
              <a:gd name="connsiteY1690" fmla="*/ 1831463 h 6858285"/>
              <a:gd name="connsiteX1691" fmla="*/ 3732549 w 6530351"/>
              <a:gd name="connsiteY1691" fmla="*/ 1888705 h 6858285"/>
              <a:gd name="connsiteX1692" fmla="*/ 3387504 w 6530351"/>
              <a:gd name="connsiteY1692" fmla="*/ 1959303 h 6858285"/>
              <a:gd name="connsiteX1693" fmla="*/ 3318876 w 6530351"/>
              <a:gd name="connsiteY1693" fmla="*/ 1915418 h 6858285"/>
              <a:gd name="connsiteX1694" fmla="*/ 3364628 w 6530351"/>
              <a:gd name="connsiteY1694" fmla="*/ 1846728 h 6858285"/>
              <a:gd name="connsiteX1695" fmla="*/ 3709673 w 6530351"/>
              <a:gd name="connsiteY1695" fmla="*/ 1776129 h 6858285"/>
              <a:gd name="connsiteX1696" fmla="*/ 3732191 w 6530351"/>
              <a:gd name="connsiteY1696" fmla="*/ 1775473 h 6858285"/>
              <a:gd name="connsiteX1697" fmla="*/ 2597114 w 6530351"/>
              <a:gd name="connsiteY1697" fmla="*/ 1775454 h 6858285"/>
              <a:gd name="connsiteX1698" fmla="*/ 2643223 w 6530351"/>
              <a:gd name="connsiteY1698" fmla="*/ 1819995 h 6858285"/>
              <a:gd name="connsiteX1699" fmla="*/ 2643223 w 6530351"/>
              <a:gd name="connsiteY1699" fmla="*/ 1831444 h 6858285"/>
              <a:gd name="connsiteX1700" fmla="*/ 2597471 w 6530351"/>
              <a:gd name="connsiteY1700" fmla="*/ 1888685 h 6858285"/>
              <a:gd name="connsiteX1701" fmla="*/ 2252426 w 6530351"/>
              <a:gd name="connsiteY1701" fmla="*/ 1959283 h 6858285"/>
              <a:gd name="connsiteX1702" fmla="*/ 2183798 w 6530351"/>
              <a:gd name="connsiteY1702" fmla="*/ 1915398 h 6858285"/>
              <a:gd name="connsiteX1703" fmla="*/ 2229550 w 6530351"/>
              <a:gd name="connsiteY1703" fmla="*/ 1846708 h 6858285"/>
              <a:gd name="connsiteX1704" fmla="*/ 2574595 w 6530351"/>
              <a:gd name="connsiteY1704" fmla="*/ 1776110 h 6858285"/>
              <a:gd name="connsiteX1705" fmla="*/ 2597114 w 6530351"/>
              <a:gd name="connsiteY1705" fmla="*/ 1775454 h 6858285"/>
              <a:gd name="connsiteX1706" fmla="*/ 3139435 w 6530351"/>
              <a:gd name="connsiteY1706" fmla="*/ 1767852 h 6858285"/>
              <a:gd name="connsiteX1707" fmla="*/ 3209968 w 6530351"/>
              <a:gd name="connsiteY1707" fmla="*/ 1819198 h 6858285"/>
              <a:gd name="connsiteX1708" fmla="*/ 3209968 w 6530351"/>
              <a:gd name="connsiteY1708" fmla="*/ 1828706 h 6858285"/>
              <a:gd name="connsiteX1709" fmla="*/ 3156592 w 6530351"/>
              <a:gd name="connsiteY1709" fmla="*/ 1889561 h 6858285"/>
              <a:gd name="connsiteX1710" fmla="*/ 2811551 w 6530351"/>
              <a:gd name="connsiteY1710" fmla="*/ 1939005 h 6858285"/>
              <a:gd name="connsiteX1711" fmla="*/ 2741018 w 6530351"/>
              <a:gd name="connsiteY1711" fmla="*/ 1887660 h 6858285"/>
              <a:gd name="connsiteX1712" fmla="*/ 2792488 w 6530351"/>
              <a:gd name="connsiteY1712" fmla="*/ 1819198 h 6858285"/>
              <a:gd name="connsiteX1713" fmla="*/ 3139435 w 6530351"/>
              <a:gd name="connsiteY1713" fmla="*/ 1767852 h 6858285"/>
              <a:gd name="connsiteX1714" fmla="*/ 6500203 w 6530351"/>
              <a:gd name="connsiteY1714" fmla="*/ 1483796 h 6858285"/>
              <a:gd name="connsiteX1715" fmla="*/ 6524069 w 6530351"/>
              <a:gd name="connsiteY1715" fmla="*/ 1503130 h 6858285"/>
              <a:gd name="connsiteX1716" fmla="*/ 6527887 w 6530351"/>
              <a:gd name="connsiteY1716" fmla="*/ 1520316 h 6858285"/>
              <a:gd name="connsiteX1717" fmla="*/ 6506885 w 6530351"/>
              <a:gd name="connsiteY1717" fmla="*/ 1554689 h 6858285"/>
              <a:gd name="connsiteX1718" fmla="*/ 6167027 w 6530351"/>
              <a:gd name="connsiteY1718" fmla="*/ 1728465 h 6858285"/>
              <a:gd name="connsiteX1719" fmla="*/ 6113567 w 6530351"/>
              <a:gd name="connsiteY1719" fmla="*/ 1711279 h 6858285"/>
              <a:gd name="connsiteX1720" fmla="*/ 6130751 w 6530351"/>
              <a:gd name="connsiteY1720" fmla="*/ 1659718 h 6858285"/>
              <a:gd name="connsiteX1721" fmla="*/ 6470609 w 6530351"/>
              <a:gd name="connsiteY1721" fmla="*/ 1485944 h 6858285"/>
              <a:gd name="connsiteX1722" fmla="*/ 6500203 w 6530351"/>
              <a:gd name="connsiteY1722" fmla="*/ 1483796 h 6858285"/>
              <a:gd name="connsiteX1723" fmla="*/ 5958465 w 6530351"/>
              <a:gd name="connsiteY1723" fmla="*/ 1477063 h 6858285"/>
              <a:gd name="connsiteX1724" fmla="*/ 5982737 w 6530351"/>
              <a:gd name="connsiteY1724" fmla="*/ 1499053 h 6858285"/>
              <a:gd name="connsiteX1725" fmla="*/ 5986543 w 6530351"/>
              <a:gd name="connsiteY1725" fmla="*/ 1516262 h 6858285"/>
              <a:gd name="connsiteX1726" fmla="*/ 5961797 w 6530351"/>
              <a:gd name="connsiteY1726" fmla="*/ 1556419 h 6858285"/>
              <a:gd name="connsiteX1727" fmla="*/ 5622953 w 6530351"/>
              <a:gd name="connsiteY1727" fmla="*/ 1711312 h 6858285"/>
              <a:gd name="connsiteX1728" fmla="*/ 5565845 w 6530351"/>
              <a:gd name="connsiteY1728" fmla="*/ 1690277 h 6858285"/>
              <a:gd name="connsiteX1729" fmla="*/ 5586783 w 6530351"/>
              <a:gd name="connsiteY1729" fmla="*/ 1632909 h 6858285"/>
              <a:gd name="connsiteX1730" fmla="*/ 5925629 w 6530351"/>
              <a:gd name="connsiteY1730" fmla="*/ 1478018 h 6858285"/>
              <a:gd name="connsiteX1731" fmla="*/ 5958465 w 6530351"/>
              <a:gd name="connsiteY1731" fmla="*/ 1477063 h 6858285"/>
              <a:gd name="connsiteX1732" fmla="*/ 398251 w 6530351"/>
              <a:gd name="connsiteY1732" fmla="*/ 1477054 h 6858285"/>
              <a:gd name="connsiteX1733" fmla="*/ 423236 w 6530351"/>
              <a:gd name="connsiteY1733" fmla="*/ 1499043 h 6858285"/>
              <a:gd name="connsiteX1734" fmla="*/ 427043 w 6530351"/>
              <a:gd name="connsiteY1734" fmla="*/ 1516254 h 6858285"/>
              <a:gd name="connsiteX1735" fmla="*/ 402296 w 6530351"/>
              <a:gd name="connsiteY1735" fmla="*/ 1556411 h 6858285"/>
              <a:gd name="connsiteX1736" fmla="*/ 61548 w 6530351"/>
              <a:gd name="connsiteY1736" fmla="*/ 1711302 h 6858285"/>
              <a:gd name="connsiteX1737" fmla="*/ 6343 w 6530351"/>
              <a:gd name="connsiteY1737" fmla="*/ 1690267 h 6858285"/>
              <a:gd name="connsiteX1738" fmla="*/ 27283 w 6530351"/>
              <a:gd name="connsiteY1738" fmla="*/ 1632900 h 6858285"/>
              <a:gd name="connsiteX1739" fmla="*/ 366127 w 6530351"/>
              <a:gd name="connsiteY1739" fmla="*/ 1478010 h 6858285"/>
              <a:gd name="connsiteX1740" fmla="*/ 398251 w 6530351"/>
              <a:gd name="connsiteY1740" fmla="*/ 1477054 h 6858285"/>
              <a:gd name="connsiteX1741" fmla="*/ 5394617 w 6530351"/>
              <a:gd name="connsiteY1741" fmla="*/ 1468282 h 6858285"/>
              <a:gd name="connsiteX1742" fmla="*/ 5436943 w 6530351"/>
              <a:gd name="connsiteY1742" fmla="*/ 1498207 h 6858285"/>
              <a:gd name="connsiteX1743" fmla="*/ 5438849 w 6530351"/>
              <a:gd name="connsiteY1743" fmla="*/ 1515306 h 6858285"/>
              <a:gd name="connsiteX1744" fmla="*/ 5410273 w 6530351"/>
              <a:gd name="connsiteY1744" fmla="*/ 1557108 h 6858285"/>
              <a:gd name="connsiteX1745" fmla="*/ 5069273 w 6530351"/>
              <a:gd name="connsiteY1745" fmla="*/ 1693909 h 6858285"/>
              <a:gd name="connsiteX1746" fmla="*/ 5010219 w 6530351"/>
              <a:gd name="connsiteY1746" fmla="*/ 1667309 h 6858285"/>
              <a:gd name="connsiteX1747" fmla="*/ 5036889 w 6530351"/>
              <a:gd name="connsiteY1747" fmla="*/ 1608408 h 6858285"/>
              <a:gd name="connsiteX1748" fmla="*/ 5375983 w 6530351"/>
              <a:gd name="connsiteY1748" fmla="*/ 1471608 h 6858285"/>
              <a:gd name="connsiteX1749" fmla="*/ 5394617 w 6530351"/>
              <a:gd name="connsiteY1749" fmla="*/ 1468282 h 6858285"/>
              <a:gd name="connsiteX1750" fmla="*/ 929404 w 6530351"/>
              <a:gd name="connsiteY1750" fmla="*/ 1468271 h 6858285"/>
              <a:gd name="connsiteX1751" fmla="*/ 970928 w 6530351"/>
              <a:gd name="connsiteY1751" fmla="*/ 1498195 h 6858285"/>
              <a:gd name="connsiteX1752" fmla="*/ 974738 w 6530351"/>
              <a:gd name="connsiteY1752" fmla="*/ 1515296 h 6858285"/>
              <a:gd name="connsiteX1753" fmla="*/ 946163 w 6530351"/>
              <a:gd name="connsiteY1753" fmla="*/ 1557096 h 6858285"/>
              <a:gd name="connsiteX1754" fmla="*/ 605163 w 6530351"/>
              <a:gd name="connsiteY1754" fmla="*/ 1693897 h 6858285"/>
              <a:gd name="connsiteX1755" fmla="*/ 546107 w 6530351"/>
              <a:gd name="connsiteY1755" fmla="*/ 1667296 h 6858285"/>
              <a:gd name="connsiteX1756" fmla="*/ 570872 w 6530351"/>
              <a:gd name="connsiteY1756" fmla="*/ 1608396 h 6858285"/>
              <a:gd name="connsiteX1757" fmla="*/ 911872 w 6530351"/>
              <a:gd name="connsiteY1757" fmla="*/ 1471596 h 6858285"/>
              <a:gd name="connsiteX1758" fmla="*/ 929404 w 6530351"/>
              <a:gd name="connsiteY1758" fmla="*/ 1468271 h 6858285"/>
              <a:gd name="connsiteX1759" fmla="*/ 4844481 w 6530351"/>
              <a:gd name="connsiteY1759" fmla="*/ 1461443 h 6858285"/>
              <a:gd name="connsiteX1760" fmla="*/ 4887343 w 6530351"/>
              <a:gd name="connsiteY1760" fmla="*/ 1493857 h 6858285"/>
              <a:gd name="connsiteX1761" fmla="*/ 4891155 w 6530351"/>
              <a:gd name="connsiteY1761" fmla="*/ 1511001 h 6858285"/>
              <a:gd name="connsiteX1762" fmla="*/ 4856863 w 6530351"/>
              <a:gd name="connsiteY1762" fmla="*/ 1556723 h 6858285"/>
              <a:gd name="connsiteX1763" fmla="*/ 4515863 w 6530351"/>
              <a:gd name="connsiteY1763" fmla="*/ 1674834 h 6858285"/>
              <a:gd name="connsiteX1764" fmla="*/ 4452999 w 6530351"/>
              <a:gd name="connsiteY1764" fmla="*/ 1644353 h 6858285"/>
              <a:gd name="connsiteX1765" fmla="*/ 4483479 w 6530351"/>
              <a:gd name="connsiteY1765" fmla="*/ 1583392 h 6858285"/>
              <a:gd name="connsiteX1766" fmla="*/ 4824479 w 6530351"/>
              <a:gd name="connsiteY1766" fmla="*/ 1463377 h 6858285"/>
              <a:gd name="connsiteX1767" fmla="*/ 4844481 w 6530351"/>
              <a:gd name="connsiteY1767" fmla="*/ 1461443 h 6858285"/>
              <a:gd name="connsiteX1768" fmla="*/ 1479736 w 6530351"/>
              <a:gd name="connsiteY1768" fmla="*/ 1461429 h 6858285"/>
              <a:gd name="connsiteX1769" fmla="*/ 1523702 w 6530351"/>
              <a:gd name="connsiteY1769" fmla="*/ 1493843 h 6858285"/>
              <a:gd name="connsiteX1770" fmla="*/ 1525608 w 6530351"/>
              <a:gd name="connsiteY1770" fmla="*/ 1510988 h 6858285"/>
              <a:gd name="connsiteX1771" fmla="*/ 1493199 w 6530351"/>
              <a:gd name="connsiteY1771" fmla="*/ 1556708 h 6858285"/>
              <a:gd name="connsiteX1772" fmla="*/ 1150050 w 6530351"/>
              <a:gd name="connsiteY1772" fmla="*/ 1674820 h 6858285"/>
              <a:gd name="connsiteX1773" fmla="*/ 1089046 w 6530351"/>
              <a:gd name="connsiteY1773" fmla="*/ 1644339 h 6858285"/>
              <a:gd name="connsiteX1774" fmla="*/ 1117642 w 6530351"/>
              <a:gd name="connsiteY1774" fmla="*/ 1583379 h 6858285"/>
              <a:gd name="connsiteX1775" fmla="*/ 1460791 w 6530351"/>
              <a:gd name="connsiteY1775" fmla="*/ 1463363 h 6858285"/>
              <a:gd name="connsiteX1776" fmla="*/ 1479736 w 6530351"/>
              <a:gd name="connsiteY1776" fmla="*/ 1461429 h 6858285"/>
              <a:gd name="connsiteX1777" fmla="*/ 4288013 w 6530351"/>
              <a:gd name="connsiteY1777" fmla="*/ 1454945 h 6858285"/>
              <a:gd name="connsiteX1778" fmla="*/ 4331709 w 6530351"/>
              <a:gd name="connsiteY1778" fmla="*/ 1491699 h 6858285"/>
              <a:gd name="connsiteX1779" fmla="*/ 4335523 w 6530351"/>
              <a:gd name="connsiteY1779" fmla="*/ 1506961 h 6858285"/>
              <a:gd name="connsiteX1780" fmla="*/ 4297395 w 6530351"/>
              <a:gd name="connsiteY1780" fmla="*/ 1558472 h 6858285"/>
              <a:gd name="connsiteX1781" fmla="*/ 3954251 w 6530351"/>
              <a:gd name="connsiteY1781" fmla="*/ 1657678 h 6858285"/>
              <a:gd name="connsiteX1782" fmla="*/ 3887529 w 6530351"/>
              <a:gd name="connsiteY1782" fmla="*/ 1621430 h 6858285"/>
              <a:gd name="connsiteX1783" fmla="*/ 3923749 w 6530351"/>
              <a:gd name="connsiteY1783" fmla="*/ 1556564 h 6858285"/>
              <a:gd name="connsiteX1784" fmla="*/ 4266893 w 6530351"/>
              <a:gd name="connsiteY1784" fmla="*/ 1457360 h 6858285"/>
              <a:gd name="connsiteX1785" fmla="*/ 4288013 w 6530351"/>
              <a:gd name="connsiteY1785" fmla="*/ 1454945 h 6858285"/>
              <a:gd name="connsiteX1786" fmla="*/ 2034963 w 6530351"/>
              <a:gd name="connsiteY1786" fmla="*/ 1454929 h 6858285"/>
              <a:gd name="connsiteX1787" fmla="*/ 2079340 w 6530351"/>
              <a:gd name="connsiteY1787" fmla="*/ 1491683 h 6858285"/>
              <a:gd name="connsiteX1788" fmla="*/ 2081241 w 6530351"/>
              <a:gd name="connsiteY1788" fmla="*/ 1506945 h 6858285"/>
              <a:gd name="connsiteX1789" fmla="*/ 2043221 w 6530351"/>
              <a:gd name="connsiteY1789" fmla="*/ 1558456 h 6858285"/>
              <a:gd name="connsiteX1790" fmla="*/ 1701036 w 6530351"/>
              <a:gd name="connsiteY1790" fmla="*/ 1657662 h 6858285"/>
              <a:gd name="connsiteX1791" fmla="*/ 1636401 w 6530351"/>
              <a:gd name="connsiteY1791" fmla="*/ 1621413 h 6858285"/>
              <a:gd name="connsiteX1792" fmla="*/ 1672521 w 6530351"/>
              <a:gd name="connsiteY1792" fmla="*/ 1556548 h 6858285"/>
              <a:gd name="connsiteX1793" fmla="*/ 2014705 w 6530351"/>
              <a:gd name="connsiteY1793" fmla="*/ 1457343 h 6858285"/>
              <a:gd name="connsiteX1794" fmla="*/ 2034963 w 6530351"/>
              <a:gd name="connsiteY1794" fmla="*/ 1454929 h 6858285"/>
              <a:gd name="connsiteX1795" fmla="*/ 3729081 w 6530351"/>
              <a:gd name="connsiteY1795" fmla="*/ 1449674 h 6858285"/>
              <a:gd name="connsiteX1796" fmla="*/ 3773223 w 6530351"/>
              <a:gd name="connsiteY1796" fmla="*/ 1490533 h 6858285"/>
              <a:gd name="connsiteX1797" fmla="*/ 3775127 w 6530351"/>
              <a:gd name="connsiteY1797" fmla="*/ 1503826 h 6858285"/>
              <a:gd name="connsiteX1798" fmla="*/ 3733273 w 6530351"/>
              <a:gd name="connsiteY1798" fmla="*/ 1558900 h 6858285"/>
              <a:gd name="connsiteX1799" fmla="*/ 3388939 w 6530351"/>
              <a:gd name="connsiteY1799" fmla="*/ 1638661 h 6858285"/>
              <a:gd name="connsiteX1800" fmla="*/ 3322355 w 6530351"/>
              <a:gd name="connsiteY1800" fmla="*/ 1598781 h 6858285"/>
              <a:gd name="connsiteX1801" fmla="*/ 3362305 w 6530351"/>
              <a:gd name="connsiteY1801" fmla="*/ 1530413 h 6858285"/>
              <a:gd name="connsiteX1802" fmla="*/ 3706639 w 6530351"/>
              <a:gd name="connsiteY1802" fmla="*/ 1450653 h 6858285"/>
              <a:gd name="connsiteX1803" fmla="*/ 3729081 w 6530351"/>
              <a:gd name="connsiteY1803" fmla="*/ 1449674 h 6858285"/>
              <a:gd name="connsiteX1804" fmla="*/ 2595324 w 6530351"/>
              <a:gd name="connsiteY1804" fmla="*/ 1449656 h 6858285"/>
              <a:gd name="connsiteX1805" fmla="*/ 2639733 w 6530351"/>
              <a:gd name="connsiteY1805" fmla="*/ 1490515 h 6858285"/>
              <a:gd name="connsiteX1806" fmla="*/ 2641635 w 6530351"/>
              <a:gd name="connsiteY1806" fmla="*/ 1503809 h 6858285"/>
              <a:gd name="connsiteX1807" fmla="*/ 2597880 w 6530351"/>
              <a:gd name="connsiteY1807" fmla="*/ 1558882 h 6858285"/>
              <a:gd name="connsiteX1808" fmla="*/ 2255448 w 6530351"/>
              <a:gd name="connsiteY1808" fmla="*/ 1638643 h 6858285"/>
              <a:gd name="connsiteX1809" fmla="*/ 2188864 w 6530351"/>
              <a:gd name="connsiteY1809" fmla="*/ 1598762 h 6858285"/>
              <a:gd name="connsiteX1810" fmla="*/ 2228814 w 6530351"/>
              <a:gd name="connsiteY1810" fmla="*/ 1530396 h 6858285"/>
              <a:gd name="connsiteX1811" fmla="*/ 2573149 w 6530351"/>
              <a:gd name="connsiteY1811" fmla="*/ 1450635 h 6858285"/>
              <a:gd name="connsiteX1812" fmla="*/ 2595324 w 6530351"/>
              <a:gd name="connsiteY1812" fmla="*/ 1449656 h 6858285"/>
              <a:gd name="connsiteX1813" fmla="*/ 3137752 w 6530351"/>
              <a:gd name="connsiteY1813" fmla="*/ 1442422 h 6858285"/>
              <a:gd name="connsiteX1814" fmla="*/ 3206472 w 6530351"/>
              <a:gd name="connsiteY1814" fmla="*/ 1490047 h 6858285"/>
              <a:gd name="connsiteX1815" fmla="*/ 3208381 w 6530351"/>
              <a:gd name="connsiteY1815" fmla="*/ 1499571 h 6858285"/>
              <a:gd name="connsiteX1816" fmla="*/ 3158750 w 6530351"/>
              <a:gd name="connsiteY1816" fmla="*/ 1558627 h 6858285"/>
              <a:gd name="connsiteX1817" fmla="*/ 2813242 w 6530351"/>
              <a:gd name="connsiteY1817" fmla="*/ 1621493 h 6858285"/>
              <a:gd name="connsiteX1818" fmla="*/ 2744523 w 6530351"/>
              <a:gd name="connsiteY1818" fmla="*/ 1573867 h 6858285"/>
              <a:gd name="connsiteX1819" fmla="*/ 2792245 w 6530351"/>
              <a:gd name="connsiteY1819" fmla="*/ 1505286 h 6858285"/>
              <a:gd name="connsiteX1820" fmla="*/ 3137752 w 6530351"/>
              <a:gd name="connsiteY1820" fmla="*/ 1442422 h 6858285"/>
              <a:gd name="connsiteX1821" fmla="*/ 6500919 w 6530351"/>
              <a:gd name="connsiteY1821" fmla="*/ 1161543 h 6858285"/>
              <a:gd name="connsiteX1822" fmla="*/ 6524069 w 6530351"/>
              <a:gd name="connsiteY1822" fmla="*/ 1180903 h 6858285"/>
              <a:gd name="connsiteX1823" fmla="*/ 6527887 w 6530351"/>
              <a:gd name="connsiteY1823" fmla="*/ 1198110 h 6858285"/>
              <a:gd name="connsiteX1824" fmla="*/ 6506885 w 6530351"/>
              <a:gd name="connsiteY1824" fmla="*/ 1234435 h 6858285"/>
              <a:gd name="connsiteX1825" fmla="*/ 6167027 w 6530351"/>
              <a:gd name="connsiteY1825" fmla="*/ 1406514 h 6858285"/>
              <a:gd name="connsiteX1826" fmla="*/ 6113567 w 6530351"/>
              <a:gd name="connsiteY1826" fmla="*/ 1389305 h 6858285"/>
              <a:gd name="connsiteX1827" fmla="*/ 6130751 w 6530351"/>
              <a:gd name="connsiteY1827" fmla="*/ 1335769 h 6858285"/>
              <a:gd name="connsiteX1828" fmla="*/ 6470609 w 6530351"/>
              <a:gd name="connsiteY1828" fmla="*/ 1163695 h 6858285"/>
              <a:gd name="connsiteX1829" fmla="*/ 6500919 w 6530351"/>
              <a:gd name="connsiteY1829" fmla="*/ 1161543 h 6858285"/>
              <a:gd name="connsiteX1830" fmla="*/ 5957751 w 6530351"/>
              <a:gd name="connsiteY1830" fmla="*/ 1155623 h 6858285"/>
              <a:gd name="connsiteX1831" fmla="*/ 5982737 w 6530351"/>
              <a:gd name="connsiteY1831" fmla="*/ 1178188 h 6858285"/>
              <a:gd name="connsiteX1832" fmla="*/ 5986543 w 6530351"/>
              <a:gd name="connsiteY1832" fmla="*/ 1195291 h 6858285"/>
              <a:gd name="connsiteX1833" fmla="*/ 5961797 w 6530351"/>
              <a:gd name="connsiteY1833" fmla="*/ 1233291 h 6858285"/>
              <a:gd name="connsiteX1834" fmla="*/ 5622953 w 6530351"/>
              <a:gd name="connsiteY1834" fmla="*/ 1389109 h 6858285"/>
              <a:gd name="connsiteX1835" fmla="*/ 5565845 w 6530351"/>
              <a:gd name="connsiteY1835" fmla="*/ 1368207 h 6858285"/>
              <a:gd name="connsiteX1836" fmla="*/ 5586783 w 6530351"/>
              <a:gd name="connsiteY1836" fmla="*/ 1313099 h 6858285"/>
              <a:gd name="connsiteX1837" fmla="*/ 5925629 w 6530351"/>
              <a:gd name="connsiteY1837" fmla="*/ 1157286 h 6858285"/>
              <a:gd name="connsiteX1838" fmla="*/ 5957751 w 6530351"/>
              <a:gd name="connsiteY1838" fmla="*/ 1155623 h 6858285"/>
              <a:gd name="connsiteX1839" fmla="*/ 398309 w 6530351"/>
              <a:gd name="connsiteY1839" fmla="*/ 1155612 h 6858285"/>
              <a:gd name="connsiteX1840" fmla="*/ 421646 w 6530351"/>
              <a:gd name="connsiteY1840" fmla="*/ 1178178 h 6858285"/>
              <a:gd name="connsiteX1841" fmla="*/ 425456 w 6530351"/>
              <a:gd name="connsiteY1841" fmla="*/ 1195279 h 6858285"/>
              <a:gd name="connsiteX1842" fmla="*/ 402596 w 6530351"/>
              <a:gd name="connsiteY1842" fmla="*/ 1233281 h 6858285"/>
              <a:gd name="connsiteX1843" fmla="*/ 61596 w 6530351"/>
              <a:gd name="connsiteY1843" fmla="*/ 1389098 h 6858285"/>
              <a:gd name="connsiteX1844" fmla="*/ 6350 w 6530351"/>
              <a:gd name="connsiteY1844" fmla="*/ 1368196 h 6858285"/>
              <a:gd name="connsiteX1845" fmla="*/ 27305 w 6530351"/>
              <a:gd name="connsiteY1845" fmla="*/ 1313089 h 6858285"/>
              <a:gd name="connsiteX1846" fmla="*/ 366400 w 6530351"/>
              <a:gd name="connsiteY1846" fmla="*/ 1157275 h 6858285"/>
              <a:gd name="connsiteX1847" fmla="*/ 398309 w 6530351"/>
              <a:gd name="connsiteY1847" fmla="*/ 1155612 h 6858285"/>
              <a:gd name="connsiteX1848" fmla="*/ 5393481 w 6530351"/>
              <a:gd name="connsiteY1848" fmla="*/ 1144397 h 6858285"/>
              <a:gd name="connsiteX1849" fmla="*/ 5435035 w 6530351"/>
              <a:gd name="connsiteY1849" fmla="*/ 1172416 h 6858285"/>
              <a:gd name="connsiteX1850" fmla="*/ 5438847 w 6530351"/>
              <a:gd name="connsiteY1850" fmla="*/ 1189495 h 6858285"/>
              <a:gd name="connsiteX1851" fmla="*/ 5410251 w 6530351"/>
              <a:gd name="connsiteY1851" fmla="*/ 1231239 h 6858285"/>
              <a:gd name="connsiteX1852" fmla="*/ 5070911 w 6530351"/>
              <a:gd name="connsiteY1852" fmla="*/ 1371660 h 6858285"/>
              <a:gd name="connsiteX1853" fmla="*/ 5011813 w 6530351"/>
              <a:gd name="connsiteY1853" fmla="*/ 1346990 h 6858285"/>
              <a:gd name="connsiteX1854" fmla="*/ 5036595 w 6530351"/>
              <a:gd name="connsiteY1854" fmla="*/ 1288164 h 6858285"/>
              <a:gd name="connsiteX1855" fmla="*/ 5375937 w 6530351"/>
              <a:gd name="connsiteY1855" fmla="*/ 1147747 h 6858285"/>
              <a:gd name="connsiteX1856" fmla="*/ 5393481 w 6530351"/>
              <a:gd name="connsiteY1856" fmla="*/ 1144397 h 6858285"/>
              <a:gd name="connsiteX1857" fmla="*/ 929392 w 6530351"/>
              <a:gd name="connsiteY1857" fmla="*/ 1144384 h 6858285"/>
              <a:gd name="connsiteX1858" fmla="*/ 969337 w 6530351"/>
              <a:gd name="connsiteY1858" fmla="*/ 1172402 h 6858285"/>
              <a:gd name="connsiteX1859" fmla="*/ 973150 w 6530351"/>
              <a:gd name="connsiteY1859" fmla="*/ 1189481 h 6858285"/>
              <a:gd name="connsiteX1860" fmla="*/ 946460 w 6530351"/>
              <a:gd name="connsiteY1860" fmla="*/ 1231226 h 6858285"/>
              <a:gd name="connsiteX1861" fmla="*/ 605213 w 6530351"/>
              <a:gd name="connsiteY1861" fmla="*/ 1371647 h 6858285"/>
              <a:gd name="connsiteX1862" fmla="*/ 546114 w 6530351"/>
              <a:gd name="connsiteY1862" fmla="*/ 1346978 h 6858285"/>
              <a:gd name="connsiteX1863" fmla="*/ 570897 w 6530351"/>
              <a:gd name="connsiteY1863" fmla="*/ 1288153 h 6858285"/>
              <a:gd name="connsiteX1864" fmla="*/ 912145 w 6530351"/>
              <a:gd name="connsiteY1864" fmla="*/ 1147734 h 6858285"/>
              <a:gd name="connsiteX1865" fmla="*/ 929392 w 6530351"/>
              <a:gd name="connsiteY1865" fmla="*/ 1144384 h 6858285"/>
              <a:gd name="connsiteX1866" fmla="*/ 4842207 w 6530351"/>
              <a:gd name="connsiteY1866" fmla="*/ 1136792 h 6858285"/>
              <a:gd name="connsiteX1867" fmla="*/ 4884177 w 6530351"/>
              <a:gd name="connsiteY1867" fmla="*/ 1168317 h 6858285"/>
              <a:gd name="connsiteX1868" fmla="*/ 4887979 w 6530351"/>
              <a:gd name="connsiteY1868" fmla="*/ 1185417 h 6858285"/>
              <a:gd name="connsiteX1869" fmla="*/ 4855663 w 6530351"/>
              <a:gd name="connsiteY1869" fmla="*/ 1231009 h 6858285"/>
              <a:gd name="connsiteX1870" fmla="*/ 4515395 w 6530351"/>
              <a:gd name="connsiteY1870" fmla="*/ 1354496 h 6858285"/>
              <a:gd name="connsiteX1871" fmla="*/ 4454565 w 6530351"/>
              <a:gd name="connsiteY1871" fmla="*/ 1325999 h 6858285"/>
              <a:gd name="connsiteX1872" fmla="*/ 4483079 w 6530351"/>
              <a:gd name="connsiteY1872" fmla="*/ 1263303 h 6858285"/>
              <a:gd name="connsiteX1873" fmla="*/ 4823347 w 6530351"/>
              <a:gd name="connsiteY1873" fmla="*/ 1139820 h 6858285"/>
              <a:gd name="connsiteX1874" fmla="*/ 4842207 w 6530351"/>
              <a:gd name="connsiteY1874" fmla="*/ 1136792 h 6858285"/>
              <a:gd name="connsiteX1875" fmla="*/ 1478264 w 6530351"/>
              <a:gd name="connsiteY1875" fmla="*/ 1136777 h 6858285"/>
              <a:gd name="connsiteX1876" fmla="*/ 1520531 w 6530351"/>
              <a:gd name="connsiteY1876" fmla="*/ 1168302 h 6858285"/>
              <a:gd name="connsiteX1877" fmla="*/ 1522433 w 6530351"/>
              <a:gd name="connsiteY1877" fmla="*/ 1185401 h 6858285"/>
              <a:gd name="connsiteX1878" fmla="*/ 1491996 w 6530351"/>
              <a:gd name="connsiteY1878" fmla="*/ 1230995 h 6858285"/>
              <a:gd name="connsiteX1879" fmla="*/ 1151487 w 6530351"/>
              <a:gd name="connsiteY1879" fmla="*/ 1354481 h 6858285"/>
              <a:gd name="connsiteX1880" fmla="*/ 1088711 w 6530351"/>
              <a:gd name="connsiteY1880" fmla="*/ 1325984 h 6858285"/>
              <a:gd name="connsiteX1881" fmla="*/ 1117245 w 6530351"/>
              <a:gd name="connsiteY1881" fmla="*/ 1263291 h 6858285"/>
              <a:gd name="connsiteX1882" fmla="*/ 1459657 w 6530351"/>
              <a:gd name="connsiteY1882" fmla="*/ 1139805 h 6858285"/>
              <a:gd name="connsiteX1883" fmla="*/ 1478264 w 6530351"/>
              <a:gd name="connsiteY1883" fmla="*/ 1136777 h 6858285"/>
              <a:gd name="connsiteX1884" fmla="*/ 4287327 w 6530351"/>
              <a:gd name="connsiteY1884" fmla="*/ 1129708 h 6858285"/>
              <a:gd name="connsiteX1885" fmla="*/ 4330129 w 6530351"/>
              <a:gd name="connsiteY1885" fmla="*/ 1165821 h 6858285"/>
              <a:gd name="connsiteX1886" fmla="*/ 4333935 w 6530351"/>
              <a:gd name="connsiteY1886" fmla="*/ 1181040 h 6858285"/>
              <a:gd name="connsiteX1887" fmla="*/ 4297789 w 6530351"/>
              <a:gd name="connsiteY1887" fmla="*/ 1228594 h 6858285"/>
              <a:gd name="connsiteX1888" fmla="*/ 3955367 w 6530351"/>
              <a:gd name="connsiteY1888" fmla="*/ 1337024 h 6858285"/>
              <a:gd name="connsiteX1889" fmla="*/ 3890687 w 6530351"/>
              <a:gd name="connsiteY1889" fmla="*/ 1302782 h 6858285"/>
              <a:gd name="connsiteX1890" fmla="*/ 3924929 w 6530351"/>
              <a:gd name="connsiteY1890" fmla="*/ 1240007 h 6858285"/>
              <a:gd name="connsiteX1891" fmla="*/ 4267351 w 6530351"/>
              <a:gd name="connsiteY1891" fmla="*/ 1131580 h 6858285"/>
              <a:gd name="connsiteX1892" fmla="*/ 4287327 w 6530351"/>
              <a:gd name="connsiteY1892" fmla="*/ 1129708 h 6858285"/>
              <a:gd name="connsiteX1893" fmla="*/ 2033043 w 6530351"/>
              <a:gd name="connsiteY1893" fmla="*/ 1129690 h 6858285"/>
              <a:gd name="connsiteX1894" fmla="*/ 2077749 w 6530351"/>
              <a:gd name="connsiteY1894" fmla="*/ 1165803 h 6858285"/>
              <a:gd name="connsiteX1895" fmla="*/ 2079653 w 6530351"/>
              <a:gd name="connsiteY1895" fmla="*/ 1181022 h 6858285"/>
              <a:gd name="connsiteX1896" fmla="*/ 2043483 w 6530351"/>
              <a:gd name="connsiteY1896" fmla="*/ 1228577 h 6858285"/>
              <a:gd name="connsiteX1897" fmla="*/ 1702724 w 6530351"/>
              <a:gd name="connsiteY1897" fmla="*/ 1337007 h 6858285"/>
              <a:gd name="connsiteX1898" fmla="*/ 1637999 w 6530351"/>
              <a:gd name="connsiteY1898" fmla="*/ 1302766 h 6858285"/>
              <a:gd name="connsiteX1899" fmla="*/ 1670361 w 6530351"/>
              <a:gd name="connsiteY1899" fmla="*/ 1239991 h 6858285"/>
              <a:gd name="connsiteX1900" fmla="*/ 2013024 w 6530351"/>
              <a:gd name="connsiteY1900" fmla="*/ 1131563 h 6858285"/>
              <a:gd name="connsiteX1901" fmla="*/ 2033043 w 6530351"/>
              <a:gd name="connsiteY1901" fmla="*/ 1129690 h 6858285"/>
              <a:gd name="connsiteX1902" fmla="*/ 3726359 w 6530351"/>
              <a:gd name="connsiteY1902" fmla="*/ 1122412 h 6858285"/>
              <a:gd name="connsiteX1903" fmla="*/ 3771633 w 6530351"/>
              <a:gd name="connsiteY1903" fmla="*/ 1162029 h 6858285"/>
              <a:gd name="connsiteX1904" fmla="*/ 3773539 w 6530351"/>
              <a:gd name="connsiteY1904" fmla="*/ 1175444 h 6858285"/>
              <a:gd name="connsiteX1905" fmla="*/ 3733533 w 6530351"/>
              <a:gd name="connsiteY1905" fmla="*/ 1229103 h 6858285"/>
              <a:gd name="connsiteX1906" fmla="*/ 3390628 w 6530351"/>
              <a:gd name="connsiteY1906" fmla="*/ 1321092 h 6858285"/>
              <a:gd name="connsiteX1907" fmla="*/ 3323952 w 6530351"/>
              <a:gd name="connsiteY1907" fmla="*/ 1282761 h 6858285"/>
              <a:gd name="connsiteX1908" fmla="*/ 3362053 w 6530351"/>
              <a:gd name="connsiteY1908" fmla="*/ 1215690 h 6858285"/>
              <a:gd name="connsiteX1909" fmla="*/ 3704957 w 6530351"/>
              <a:gd name="connsiteY1909" fmla="*/ 1123700 h 6858285"/>
              <a:gd name="connsiteX1910" fmla="*/ 3726359 w 6530351"/>
              <a:gd name="connsiteY1910" fmla="*/ 1122412 h 6858285"/>
              <a:gd name="connsiteX1911" fmla="*/ 2592869 w 6530351"/>
              <a:gd name="connsiteY1911" fmla="*/ 1122392 h 6858285"/>
              <a:gd name="connsiteX1912" fmla="*/ 2638143 w 6530351"/>
              <a:gd name="connsiteY1912" fmla="*/ 1162008 h 6858285"/>
              <a:gd name="connsiteX1913" fmla="*/ 2640048 w 6530351"/>
              <a:gd name="connsiteY1913" fmla="*/ 1175424 h 6858285"/>
              <a:gd name="connsiteX1914" fmla="*/ 2600042 w 6530351"/>
              <a:gd name="connsiteY1914" fmla="*/ 1229084 h 6858285"/>
              <a:gd name="connsiteX1915" fmla="*/ 2257138 w 6530351"/>
              <a:gd name="connsiteY1915" fmla="*/ 1321073 h 6858285"/>
              <a:gd name="connsiteX1916" fmla="*/ 2190462 w 6530351"/>
              <a:gd name="connsiteY1916" fmla="*/ 1282744 h 6858285"/>
              <a:gd name="connsiteX1917" fmla="*/ 2228563 w 6530351"/>
              <a:gd name="connsiteY1917" fmla="*/ 1215669 h 6858285"/>
              <a:gd name="connsiteX1918" fmla="*/ 2571467 w 6530351"/>
              <a:gd name="connsiteY1918" fmla="*/ 1123680 h 6858285"/>
              <a:gd name="connsiteX1919" fmla="*/ 2592869 w 6530351"/>
              <a:gd name="connsiteY1919" fmla="*/ 1122392 h 6858285"/>
              <a:gd name="connsiteX1920" fmla="*/ 3157606 w 6530351"/>
              <a:gd name="connsiteY1920" fmla="*/ 1116352 h 6858285"/>
              <a:gd name="connsiteX1921" fmla="*/ 3201718 w 6530351"/>
              <a:gd name="connsiteY1921" fmla="*/ 1159215 h 6858285"/>
              <a:gd name="connsiteX1922" fmla="*/ 3203619 w 6530351"/>
              <a:gd name="connsiteY1922" fmla="*/ 1172550 h 6858285"/>
              <a:gd name="connsiteX1923" fmla="*/ 3159894 w 6530351"/>
              <a:gd name="connsiteY1923" fmla="*/ 1227794 h 6858285"/>
              <a:gd name="connsiteX1924" fmla="*/ 2815793 w 6530351"/>
              <a:gd name="connsiteY1924" fmla="*/ 1303992 h 6858285"/>
              <a:gd name="connsiteX1925" fmla="*/ 2747353 w 6530351"/>
              <a:gd name="connsiteY1925" fmla="*/ 1260177 h 6858285"/>
              <a:gd name="connsiteX1926" fmla="*/ 2791079 w 6530351"/>
              <a:gd name="connsiteY1926" fmla="*/ 1191600 h 6858285"/>
              <a:gd name="connsiteX1927" fmla="*/ 3135179 w 6530351"/>
              <a:gd name="connsiteY1927" fmla="*/ 1117304 h 6858285"/>
              <a:gd name="connsiteX1928" fmla="*/ 3157606 w 6530351"/>
              <a:gd name="connsiteY1928" fmla="*/ 1116352 h 6858285"/>
              <a:gd name="connsiteX1929" fmla="*/ 6485675 w 6530351"/>
              <a:gd name="connsiteY1929" fmla="*/ 836904 h 6858285"/>
              <a:gd name="connsiteX1930" fmla="*/ 6524069 w 6530351"/>
              <a:gd name="connsiteY1930" fmla="*/ 858924 h 6858285"/>
              <a:gd name="connsiteX1931" fmla="*/ 6527887 w 6530351"/>
              <a:gd name="connsiteY1931" fmla="*/ 876110 h 6858285"/>
              <a:gd name="connsiteX1932" fmla="*/ 6506885 w 6530351"/>
              <a:gd name="connsiteY1932" fmla="*/ 912393 h 6858285"/>
              <a:gd name="connsiteX1933" fmla="*/ 6167027 w 6530351"/>
              <a:gd name="connsiteY1933" fmla="*/ 1082352 h 6858285"/>
              <a:gd name="connsiteX1934" fmla="*/ 6113567 w 6530351"/>
              <a:gd name="connsiteY1934" fmla="*/ 1065166 h 6858285"/>
              <a:gd name="connsiteX1935" fmla="*/ 6130751 w 6530351"/>
              <a:gd name="connsiteY1935" fmla="*/ 1011692 h 6858285"/>
              <a:gd name="connsiteX1936" fmla="*/ 6470609 w 6530351"/>
              <a:gd name="connsiteY1936" fmla="*/ 841738 h 6858285"/>
              <a:gd name="connsiteX1937" fmla="*/ 6485675 w 6530351"/>
              <a:gd name="connsiteY1937" fmla="*/ 836904 h 6858285"/>
              <a:gd name="connsiteX1938" fmla="*/ 5957811 w 6530351"/>
              <a:gd name="connsiteY1938" fmla="*/ 832471 h 6858285"/>
              <a:gd name="connsiteX1939" fmla="*/ 5981147 w 6530351"/>
              <a:gd name="connsiteY1939" fmla="*/ 854296 h 6858285"/>
              <a:gd name="connsiteX1940" fmla="*/ 5984957 w 6530351"/>
              <a:gd name="connsiteY1940" fmla="*/ 871376 h 6858285"/>
              <a:gd name="connsiteX1941" fmla="*/ 5962097 w 6530351"/>
              <a:gd name="connsiteY1941" fmla="*/ 909333 h 6858285"/>
              <a:gd name="connsiteX1942" fmla="*/ 5623001 w 6530351"/>
              <a:gd name="connsiteY1942" fmla="*/ 1066858 h 6858285"/>
              <a:gd name="connsiteX1943" fmla="*/ 5565851 w 6530351"/>
              <a:gd name="connsiteY1943" fmla="*/ 1045977 h 6858285"/>
              <a:gd name="connsiteX1944" fmla="*/ 5586807 w 6530351"/>
              <a:gd name="connsiteY1944" fmla="*/ 990940 h 6858285"/>
              <a:gd name="connsiteX1945" fmla="*/ 5925901 w 6530351"/>
              <a:gd name="connsiteY1945" fmla="*/ 833419 h 6858285"/>
              <a:gd name="connsiteX1946" fmla="*/ 5957811 w 6530351"/>
              <a:gd name="connsiteY1946" fmla="*/ 832471 h 6858285"/>
              <a:gd name="connsiteX1947" fmla="*/ 398309 w 6530351"/>
              <a:gd name="connsiteY1947" fmla="*/ 832461 h 6858285"/>
              <a:gd name="connsiteX1948" fmla="*/ 421646 w 6530351"/>
              <a:gd name="connsiteY1948" fmla="*/ 854286 h 6858285"/>
              <a:gd name="connsiteX1949" fmla="*/ 425456 w 6530351"/>
              <a:gd name="connsiteY1949" fmla="*/ 871366 h 6858285"/>
              <a:gd name="connsiteX1950" fmla="*/ 400691 w 6530351"/>
              <a:gd name="connsiteY1950" fmla="*/ 909323 h 6858285"/>
              <a:gd name="connsiteX1951" fmla="*/ 61596 w 6530351"/>
              <a:gd name="connsiteY1951" fmla="*/ 1066847 h 6858285"/>
              <a:gd name="connsiteX1952" fmla="*/ 6350 w 6530351"/>
              <a:gd name="connsiteY1952" fmla="*/ 1045967 h 6858285"/>
              <a:gd name="connsiteX1953" fmla="*/ 27305 w 6530351"/>
              <a:gd name="connsiteY1953" fmla="*/ 990930 h 6858285"/>
              <a:gd name="connsiteX1954" fmla="*/ 366400 w 6530351"/>
              <a:gd name="connsiteY1954" fmla="*/ 833409 h 6858285"/>
              <a:gd name="connsiteX1955" fmla="*/ 398309 w 6530351"/>
              <a:gd name="connsiteY1955" fmla="*/ 832461 h 6858285"/>
              <a:gd name="connsiteX1956" fmla="*/ 5410491 w 6530351"/>
              <a:gd name="connsiteY1956" fmla="*/ 824769 h 6858285"/>
              <a:gd name="connsiteX1957" fmla="*/ 5435035 w 6530351"/>
              <a:gd name="connsiteY1957" fmla="*/ 848252 h 6858285"/>
              <a:gd name="connsiteX1958" fmla="*/ 5438847 w 6530351"/>
              <a:gd name="connsiteY1958" fmla="*/ 865330 h 6858285"/>
              <a:gd name="connsiteX1959" fmla="*/ 5410251 w 6530351"/>
              <a:gd name="connsiteY1959" fmla="*/ 907076 h 6858285"/>
              <a:gd name="connsiteX1960" fmla="*/ 5070911 w 6530351"/>
              <a:gd name="connsiteY1960" fmla="*/ 1049392 h 6858285"/>
              <a:gd name="connsiteX1961" fmla="*/ 5011813 w 6530351"/>
              <a:gd name="connsiteY1961" fmla="*/ 1024725 h 6858285"/>
              <a:gd name="connsiteX1962" fmla="*/ 5034689 w 6530351"/>
              <a:gd name="connsiteY1962" fmla="*/ 967798 h 6858285"/>
              <a:gd name="connsiteX1963" fmla="*/ 5375937 w 6530351"/>
              <a:gd name="connsiteY1963" fmla="*/ 825481 h 6858285"/>
              <a:gd name="connsiteX1964" fmla="*/ 5410491 w 6530351"/>
              <a:gd name="connsiteY1964" fmla="*/ 824769 h 6858285"/>
              <a:gd name="connsiteX1965" fmla="*/ 944792 w 6530351"/>
              <a:gd name="connsiteY1965" fmla="*/ 824757 h 6858285"/>
              <a:gd name="connsiteX1966" fmla="*/ 969337 w 6530351"/>
              <a:gd name="connsiteY1966" fmla="*/ 848240 h 6858285"/>
              <a:gd name="connsiteX1967" fmla="*/ 973150 w 6530351"/>
              <a:gd name="connsiteY1967" fmla="*/ 865318 h 6858285"/>
              <a:gd name="connsiteX1968" fmla="*/ 946460 w 6530351"/>
              <a:gd name="connsiteY1968" fmla="*/ 907064 h 6858285"/>
              <a:gd name="connsiteX1969" fmla="*/ 605213 w 6530351"/>
              <a:gd name="connsiteY1969" fmla="*/ 1049381 h 6858285"/>
              <a:gd name="connsiteX1970" fmla="*/ 546114 w 6530351"/>
              <a:gd name="connsiteY1970" fmla="*/ 1024713 h 6858285"/>
              <a:gd name="connsiteX1971" fmla="*/ 570897 w 6530351"/>
              <a:gd name="connsiteY1971" fmla="*/ 967786 h 6858285"/>
              <a:gd name="connsiteX1972" fmla="*/ 910238 w 6530351"/>
              <a:gd name="connsiteY1972" fmla="*/ 825469 h 6858285"/>
              <a:gd name="connsiteX1973" fmla="*/ 944792 w 6530351"/>
              <a:gd name="connsiteY1973" fmla="*/ 824757 h 6858285"/>
              <a:gd name="connsiteX1974" fmla="*/ 4842191 w 6530351"/>
              <a:gd name="connsiteY1974" fmla="*/ 812936 h 6858285"/>
              <a:gd name="connsiteX1975" fmla="*/ 4884489 w 6530351"/>
              <a:gd name="connsiteY1975" fmla="*/ 842712 h 6858285"/>
              <a:gd name="connsiteX1976" fmla="*/ 4886391 w 6530351"/>
              <a:gd name="connsiteY1976" fmla="*/ 859880 h 6858285"/>
              <a:gd name="connsiteX1977" fmla="*/ 4855933 w 6530351"/>
              <a:gd name="connsiteY1977" fmla="*/ 903754 h 6858285"/>
              <a:gd name="connsiteX1978" fmla="*/ 4515179 w 6530351"/>
              <a:gd name="connsiteY1978" fmla="*/ 1033468 h 6858285"/>
              <a:gd name="connsiteX1979" fmla="*/ 4454263 w 6530351"/>
              <a:gd name="connsiteY1979" fmla="*/ 1006762 h 6858285"/>
              <a:gd name="connsiteX1980" fmla="*/ 4482817 w 6530351"/>
              <a:gd name="connsiteY1980" fmla="*/ 945720 h 6858285"/>
              <a:gd name="connsiteX1981" fmla="*/ 4823571 w 6530351"/>
              <a:gd name="connsiteY1981" fmla="*/ 816006 h 6858285"/>
              <a:gd name="connsiteX1982" fmla="*/ 4842191 w 6530351"/>
              <a:gd name="connsiteY1982" fmla="*/ 812936 h 6858285"/>
              <a:gd name="connsiteX1983" fmla="*/ 1476362 w 6530351"/>
              <a:gd name="connsiteY1983" fmla="*/ 812922 h 6858285"/>
              <a:gd name="connsiteX1984" fmla="*/ 1518628 w 6530351"/>
              <a:gd name="connsiteY1984" fmla="*/ 842698 h 6858285"/>
              <a:gd name="connsiteX1985" fmla="*/ 1522433 w 6530351"/>
              <a:gd name="connsiteY1985" fmla="*/ 859866 h 6858285"/>
              <a:gd name="connsiteX1986" fmla="*/ 1491996 w 6530351"/>
              <a:gd name="connsiteY1986" fmla="*/ 903740 h 6858285"/>
              <a:gd name="connsiteX1987" fmla="*/ 1151487 w 6530351"/>
              <a:gd name="connsiteY1987" fmla="*/ 1033454 h 6858285"/>
              <a:gd name="connsiteX1988" fmla="*/ 1090613 w 6530351"/>
              <a:gd name="connsiteY1988" fmla="*/ 1006748 h 6858285"/>
              <a:gd name="connsiteX1989" fmla="*/ 1117245 w 6530351"/>
              <a:gd name="connsiteY1989" fmla="*/ 945706 h 6858285"/>
              <a:gd name="connsiteX1990" fmla="*/ 1457755 w 6530351"/>
              <a:gd name="connsiteY1990" fmla="*/ 815992 h 6858285"/>
              <a:gd name="connsiteX1991" fmla="*/ 1476362 w 6530351"/>
              <a:gd name="connsiteY1991" fmla="*/ 812922 h 6858285"/>
              <a:gd name="connsiteX1992" fmla="*/ 4285673 w 6530351"/>
              <a:gd name="connsiteY1992" fmla="*/ 804253 h 6858285"/>
              <a:gd name="connsiteX1993" fmla="*/ 4328535 w 6530351"/>
              <a:gd name="connsiteY1993" fmla="*/ 838591 h 6858285"/>
              <a:gd name="connsiteX1994" fmla="*/ 4332347 w 6530351"/>
              <a:gd name="connsiteY1994" fmla="*/ 853852 h 6858285"/>
              <a:gd name="connsiteX1995" fmla="*/ 4298055 w 6530351"/>
              <a:gd name="connsiteY1995" fmla="*/ 901544 h 6858285"/>
              <a:gd name="connsiteX1996" fmla="*/ 3957055 w 6530351"/>
              <a:gd name="connsiteY1996" fmla="*/ 1017912 h 6858285"/>
              <a:gd name="connsiteX1997" fmla="*/ 3894191 w 6530351"/>
              <a:gd name="connsiteY1997" fmla="*/ 985481 h 6858285"/>
              <a:gd name="connsiteX1998" fmla="*/ 3924671 w 6530351"/>
              <a:gd name="connsiteY1998" fmla="*/ 922528 h 6858285"/>
              <a:gd name="connsiteX1999" fmla="*/ 4265671 w 6530351"/>
              <a:gd name="connsiteY1999" fmla="*/ 806161 h 6858285"/>
              <a:gd name="connsiteX2000" fmla="*/ 4285673 w 6530351"/>
              <a:gd name="connsiteY2000" fmla="*/ 804253 h 6858285"/>
              <a:gd name="connsiteX2001" fmla="*/ 2032225 w 6530351"/>
              <a:gd name="connsiteY2001" fmla="*/ 804237 h 6858285"/>
              <a:gd name="connsiteX2002" fmla="*/ 2076160 w 6530351"/>
              <a:gd name="connsiteY2002" fmla="*/ 838575 h 6858285"/>
              <a:gd name="connsiteX2003" fmla="*/ 2078065 w 6530351"/>
              <a:gd name="connsiteY2003" fmla="*/ 853837 h 6858285"/>
              <a:gd name="connsiteX2004" fmla="*/ 2043775 w 6530351"/>
              <a:gd name="connsiteY2004" fmla="*/ 901528 h 6858285"/>
              <a:gd name="connsiteX2005" fmla="*/ 1702775 w 6530351"/>
              <a:gd name="connsiteY2005" fmla="*/ 1017896 h 6858285"/>
              <a:gd name="connsiteX2006" fmla="*/ 1639909 w 6530351"/>
              <a:gd name="connsiteY2006" fmla="*/ 985466 h 6858285"/>
              <a:gd name="connsiteX2007" fmla="*/ 1670390 w 6530351"/>
              <a:gd name="connsiteY2007" fmla="*/ 922513 h 6858285"/>
              <a:gd name="connsiteX2008" fmla="*/ 2013294 w 6530351"/>
              <a:gd name="connsiteY2008" fmla="*/ 806145 h 6858285"/>
              <a:gd name="connsiteX2009" fmla="*/ 2032225 w 6530351"/>
              <a:gd name="connsiteY2009" fmla="*/ 804237 h 6858285"/>
              <a:gd name="connsiteX2010" fmla="*/ 3725241 w 6530351"/>
              <a:gd name="connsiteY2010" fmla="*/ 796615 h 6858285"/>
              <a:gd name="connsiteX2011" fmla="*/ 3770043 w 6530351"/>
              <a:gd name="connsiteY2011" fmla="*/ 832564 h 6858285"/>
              <a:gd name="connsiteX2012" fmla="*/ 3771951 w 6530351"/>
              <a:gd name="connsiteY2012" fmla="*/ 847826 h 6858285"/>
              <a:gd name="connsiteX2013" fmla="*/ 3733797 w 6530351"/>
              <a:gd name="connsiteY2013" fmla="*/ 897429 h 6858285"/>
              <a:gd name="connsiteX2014" fmla="*/ 3390412 w 6530351"/>
              <a:gd name="connsiteY2014" fmla="*/ 1000449 h 6858285"/>
              <a:gd name="connsiteX2015" fmla="*/ 3325551 w 6530351"/>
              <a:gd name="connsiteY2015" fmla="*/ 964201 h 6858285"/>
              <a:gd name="connsiteX2016" fmla="*/ 3361797 w 6530351"/>
              <a:gd name="connsiteY2016" fmla="*/ 899337 h 6858285"/>
              <a:gd name="connsiteX2017" fmla="*/ 3705181 w 6530351"/>
              <a:gd name="connsiteY2017" fmla="*/ 798224 h 6858285"/>
              <a:gd name="connsiteX2018" fmla="*/ 3725241 w 6530351"/>
              <a:gd name="connsiteY2018" fmla="*/ 796615 h 6858285"/>
              <a:gd name="connsiteX2019" fmla="*/ 2591752 w 6530351"/>
              <a:gd name="connsiteY2019" fmla="*/ 796597 h 6858285"/>
              <a:gd name="connsiteX2020" fmla="*/ 2636552 w 6530351"/>
              <a:gd name="connsiteY2020" fmla="*/ 832546 h 6858285"/>
              <a:gd name="connsiteX2021" fmla="*/ 2638460 w 6530351"/>
              <a:gd name="connsiteY2021" fmla="*/ 847809 h 6858285"/>
              <a:gd name="connsiteX2022" fmla="*/ 2600306 w 6530351"/>
              <a:gd name="connsiteY2022" fmla="*/ 897411 h 6858285"/>
              <a:gd name="connsiteX2023" fmla="*/ 2256921 w 6530351"/>
              <a:gd name="connsiteY2023" fmla="*/ 1000432 h 6858285"/>
              <a:gd name="connsiteX2024" fmla="*/ 2192060 w 6530351"/>
              <a:gd name="connsiteY2024" fmla="*/ 964184 h 6858285"/>
              <a:gd name="connsiteX2025" fmla="*/ 2228306 w 6530351"/>
              <a:gd name="connsiteY2025" fmla="*/ 899319 h 6858285"/>
              <a:gd name="connsiteX2026" fmla="*/ 2571691 w 6530351"/>
              <a:gd name="connsiteY2026" fmla="*/ 798206 h 6858285"/>
              <a:gd name="connsiteX2027" fmla="*/ 2591752 w 6530351"/>
              <a:gd name="connsiteY2027" fmla="*/ 796597 h 6858285"/>
              <a:gd name="connsiteX2028" fmla="*/ 3154884 w 6530351"/>
              <a:gd name="connsiteY2028" fmla="*/ 787706 h 6858285"/>
              <a:gd name="connsiteX2029" fmla="*/ 3200127 w 6530351"/>
              <a:gd name="connsiteY2029" fmla="*/ 828693 h 6858285"/>
              <a:gd name="connsiteX2030" fmla="*/ 3202031 w 6530351"/>
              <a:gd name="connsiteY2030" fmla="*/ 842028 h 6858285"/>
              <a:gd name="connsiteX2031" fmla="*/ 3160149 w 6530351"/>
              <a:gd name="connsiteY2031" fmla="*/ 895367 h 6858285"/>
              <a:gd name="connsiteX2032" fmla="*/ 2817482 w 6530351"/>
              <a:gd name="connsiteY2032" fmla="*/ 982997 h 6858285"/>
              <a:gd name="connsiteX2033" fmla="*/ 2750852 w 6530351"/>
              <a:gd name="connsiteY2033" fmla="*/ 944898 h 6858285"/>
              <a:gd name="connsiteX2034" fmla="*/ 2788926 w 6530351"/>
              <a:gd name="connsiteY2034" fmla="*/ 878223 h 6858285"/>
              <a:gd name="connsiteX2035" fmla="*/ 3133497 w 6530351"/>
              <a:gd name="connsiteY2035" fmla="*/ 788688 h 6858285"/>
              <a:gd name="connsiteX2036" fmla="*/ 3154884 w 6530351"/>
              <a:gd name="connsiteY2036" fmla="*/ 787706 h 6858285"/>
              <a:gd name="connsiteX2037" fmla="*/ 6500919 w 6530351"/>
              <a:gd name="connsiteY2037" fmla="*/ 517209 h 6858285"/>
              <a:gd name="connsiteX2038" fmla="*/ 6524069 w 6530351"/>
              <a:gd name="connsiteY2038" fmla="*/ 538113 h 6858285"/>
              <a:gd name="connsiteX2039" fmla="*/ 6527887 w 6530351"/>
              <a:gd name="connsiteY2039" fmla="*/ 555216 h 6858285"/>
              <a:gd name="connsiteX2040" fmla="*/ 6506885 w 6530351"/>
              <a:gd name="connsiteY2040" fmla="*/ 591323 h 6858285"/>
              <a:gd name="connsiteX2041" fmla="*/ 6167027 w 6530351"/>
              <a:gd name="connsiteY2041" fmla="*/ 760455 h 6858285"/>
              <a:gd name="connsiteX2042" fmla="*/ 6113567 w 6530351"/>
              <a:gd name="connsiteY2042" fmla="*/ 743352 h 6858285"/>
              <a:gd name="connsiteX2043" fmla="*/ 6130751 w 6530351"/>
              <a:gd name="connsiteY2043" fmla="*/ 690142 h 6858285"/>
              <a:gd name="connsiteX2044" fmla="*/ 6470609 w 6530351"/>
              <a:gd name="connsiteY2044" fmla="*/ 519109 h 6858285"/>
              <a:gd name="connsiteX2045" fmla="*/ 6500919 w 6530351"/>
              <a:gd name="connsiteY2045" fmla="*/ 517209 h 6858285"/>
              <a:gd name="connsiteX2046" fmla="*/ 5942035 w 6530351"/>
              <a:gd name="connsiteY2046" fmla="*/ 506688 h 6858285"/>
              <a:gd name="connsiteX2047" fmla="*/ 5981147 w 6530351"/>
              <a:gd name="connsiteY2047" fmla="*/ 530411 h 6858285"/>
              <a:gd name="connsiteX2048" fmla="*/ 5984957 w 6530351"/>
              <a:gd name="connsiteY2048" fmla="*/ 547470 h 6858285"/>
              <a:gd name="connsiteX2049" fmla="*/ 5962097 w 6530351"/>
              <a:gd name="connsiteY2049" fmla="*/ 585381 h 6858285"/>
              <a:gd name="connsiteX2050" fmla="*/ 5623001 w 6530351"/>
              <a:gd name="connsiteY2050" fmla="*/ 744604 h 6858285"/>
              <a:gd name="connsiteX2051" fmla="*/ 5565851 w 6530351"/>
              <a:gd name="connsiteY2051" fmla="*/ 723754 h 6858285"/>
              <a:gd name="connsiteX2052" fmla="*/ 5586807 w 6530351"/>
              <a:gd name="connsiteY2052" fmla="*/ 668784 h 6858285"/>
              <a:gd name="connsiteX2053" fmla="*/ 5925901 w 6530351"/>
              <a:gd name="connsiteY2053" fmla="*/ 511455 h 6858285"/>
              <a:gd name="connsiteX2054" fmla="*/ 5942035 w 6530351"/>
              <a:gd name="connsiteY2054" fmla="*/ 506688 h 6858285"/>
              <a:gd name="connsiteX2055" fmla="*/ 382533 w 6530351"/>
              <a:gd name="connsiteY2055" fmla="*/ 506676 h 6858285"/>
              <a:gd name="connsiteX2056" fmla="*/ 421646 w 6530351"/>
              <a:gd name="connsiteY2056" fmla="*/ 530400 h 6858285"/>
              <a:gd name="connsiteX2057" fmla="*/ 425456 w 6530351"/>
              <a:gd name="connsiteY2057" fmla="*/ 547459 h 6858285"/>
              <a:gd name="connsiteX2058" fmla="*/ 400691 w 6530351"/>
              <a:gd name="connsiteY2058" fmla="*/ 585369 h 6858285"/>
              <a:gd name="connsiteX2059" fmla="*/ 61596 w 6530351"/>
              <a:gd name="connsiteY2059" fmla="*/ 744593 h 6858285"/>
              <a:gd name="connsiteX2060" fmla="*/ 6350 w 6530351"/>
              <a:gd name="connsiteY2060" fmla="*/ 723742 h 6858285"/>
              <a:gd name="connsiteX2061" fmla="*/ 27305 w 6530351"/>
              <a:gd name="connsiteY2061" fmla="*/ 668772 h 6858285"/>
              <a:gd name="connsiteX2062" fmla="*/ 366400 w 6530351"/>
              <a:gd name="connsiteY2062" fmla="*/ 511444 h 6858285"/>
              <a:gd name="connsiteX2063" fmla="*/ 382533 w 6530351"/>
              <a:gd name="connsiteY2063" fmla="*/ 506676 h 6858285"/>
              <a:gd name="connsiteX2064" fmla="*/ 5409837 w 6530351"/>
              <a:gd name="connsiteY2064" fmla="*/ 500968 h 6858285"/>
              <a:gd name="connsiteX2065" fmla="*/ 5433445 w 6530351"/>
              <a:gd name="connsiteY2065" fmla="*/ 524572 h 6858285"/>
              <a:gd name="connsiteX2066" fmla="*/ 5437261 w 6530351"/>
              <a:gd name="connsiteY2066" fmla="*/ 541739 h 6858285"/>
              <a:gd name="connsiteX2067" fmla="*/ 5410551 w 6530351"/>
              <a:gd name="connsiteY2067" fmla="*/ 581796 h 6858285"/>
              <a:gd name="connsiteX2068" fmla="*/ 5070961 w 6530351"/>
              <a:gd name="connsiteY2068" fmla="*/ 728671 h 6858285"/>
              <a:gd name="connsiteX2069" fmla="*/ 5011819 w 6530351"/>
              <a:gd name="connsiteY2069" fmla="*/ 705781 h 6858285"/>
              <a:gd name="connsiteX2070" fmla="*/ 5034713 w 6530351"/>
              <a:gd name="connsiteY2070" fmla="*/ 648557 h 6858285"/>
              <a:gd name="connsiteX2071" fmla="*/ 5376211 w 6530351"/>
              <a:gd name="connsiteY2071" fmla="*/ 501683 h 6858285"/>
              <a:gd name="connsiteX2072" fmla="*/ 5409837 w 6530351"/>
              <a:gd name="connsiteY2072" fmla="*/ 500968 h 6858285"/>
              <a:gd name="connsiteX2073" fmla="*/ 943582 w 6530351"/>
              <a:gd name="connsiteY2073" fmla="*/ 500954 h 6858285"/>
              <a:gd name="connsiteX2074" fmla="*/ 968073 w 6530351"/>
              <a:gd name="connsiteY2074" fmla="*/ 524559 h 6858285"/>
              <a:gd name="connsiteX2075" fmla="*/ 969975 w 6530351"/>
              <a:gd name="connsiteY2075" fmla="*/ 541726 h 6858285"/>
              <a:gd name="connsiteX2076" fmla="*/ 945246 w 6530351"/>
              <a:gd name="connsiteY2076" fmla="*/ 581783 h 6858285"/>
              <a:gd name="connsiteX2077" fmla="*/ 604747 w 6530351"/>
              <a:gd name="connsiteY2077" fmla="*/ 728657 h 6858285"/>
              <a:gd name="connsiteX2078" fmla="*/ 547680 w 6530351"/>
              <a:gd name="connsiteY2078" fmla="*/ 705768 h 6858285"/>
              <a:gd name="connsiteX2079" fmla="*/ 570507 w 6530351"/>
              <a:gd name="connsiteY2079" fmla="*/ 648544 h 6858285"/>
              <a:gd name="connsiteX2080" fmla="*/ 909104 w 6530351"/>
              <a:gd name="connsiteY2080" fmla="*/ 501669 h 6858285"/>
              <a:gd name="connsiteX2081" fmla="*/ 943582 w 6530351"/>
              <a:gd name="connsiteY2081" fmla="*/ 500954 h 6858285"/>
              <a:gd name="connsiteX2082" fmla="*/ 4841091 w 6530351"/>
              <a:gd name="connsiteY2082" fmla="*/ 488774 h 6858285"/>
              <a:gd name="connsiteX2083" fmla="*/ 4882585 w 6530351"/>
              <a:gd name="connsiteY2083" fmla="*/ 516865 h 6858285"/>
              <a:gd name="connsiteX2084" fmla="*/ 4886391 w 6530351"/>
              <a:gd name="connsiteY2084" fmla="*/ 533988 h 6858285"/>
              <a:gd name="connsiteX2085" fmla="*/ 4855933 w 6530351"/>
              <a:gd name="connsiteY2085" fmla="*/ 577744 h 6858285"/>
              <a:gd name="connsiteX2086" fmla="*/ 4517083 w 6530351"/>
              <a:gd name="connsiteY2086" fmla="*/ 712820 h 6858285"/>
              <a:gd name="connsiteX2087" fmla="*/ 4456167 w 6530351"/>
              <a:gd name="connsiteY2087" fmla="*/ 686186 h 6858285"/>
              <a:gd name="connsiteX2088" fmla="*/ 4482817 w 6530351"/>
              <a:gd name="connsiteY2088" fmla="*/ 627209 h 6858285"/>
              <a:gd name="connsiteX2089" fmla="*/ 4823571 w 6530351"/>
              <a:gd name="connsiteY2089" fmla="*/ 492133 h 6858285"/>
              <a:gd name="connsiteX2090" fmla="*/ 4841091 w 6530351"/>
              <a:gd name="connsiteY2090" fmla="*/ 488774 h 6858285"/>
              <a:gd name="connsiteX2091" fmla="*/ 1475779 w 6530351"/>
              <a:gd name="connsiteY2091" fmla="*/ 488758 h 6858285"/>
              <a:gd name="connsiteX2092" fmla="*/ 1517035 w 6530351"/>
              <a:gd name="connsiteY2092" fmla="*/ 516849 h 6858285"/>
              <a:gd name="connsiteX2093" fmla="*/ 1520845 w 6530351"/>
              <a:gd name="connsiteY2093" fmla="*/ 533972 h 6858285"/>
              <a:gd name="connsiteX2094" fmla="*/ 1492270 w 6530351"/>
              <a:gd name="connsiteY2094" fmla="*/ 577729 h 6858285"/>
              <a:gd name="connsiteX2095" fmla="*/ 1151270 w 6530351"/>
              <a:gd name="connsiteY2095" fmla="*/ 712805 h 6858285"/>
              <a:gd name="connsiteX2096" fmla="*/ 1092214 w 6530351"/>
              <a:gd name="connsiteY2096" fmla="*/ 686170 h 6858285"/>
              <a:gd name="connsiteX2097" fmla="*/ 1116979 w 6530351"/>
              <a:gd name="connsiteY2097" fmla="*/ 627193 h 6858285"/>
              <a:gd name="connsiteX2098" fmla="*/ 1457979 w 6530351"/>
              <a:gd name="connsiteY2098" fmla="*/ 492117 h 6858285"/>
              <a:gd name="connsiteX2099" fmla="*/ 1475779 w 6530351"/>
              <a:gd name="connsiteY2099" fmla="*/ 488758 h 6858285"/>
              <a:gd name="connsiteX2100" fmla="*/ 4284555 w 6530351"/>
              <a:gd name="connsiteY2100" fmla="*/ 479567 h 6858285"/>
              <a:gd name="connsiteX2101" fmla="*/ 4326943 w 6530351"/>
              <a:gd name="connsiteY2101" fmla="*/ 511091 h 6858285"/>
              <a:gd name="connsiteX2102" fmla="*/ 4330759 w 6530351"/>
              <a:gd name="connsiteY2102" fmla="*/ 528189 h 6858285"/>
              <a:gd name="connsiteX2103" fmla="*/ 4298327 w 6530351"/>
              <a:gd name="connsiteY2103" fmla="*/ 571884 h 6858285"/>
              <a:gd name="connsiteX2104" fmla="*/ 3956839 w 6530351"/>
              <a:gd name="connsiteY2104" fmla="*/ 695371 h 6858285"/>
              <a:gd name="connsiteX2105" fmla="*/ 3895791 w 6530351"/>
              <a:gd name="connsiteY2105" fmla="*/ 666874 h 6858285"/>
              <a:gd name="connsiteX2106" fmla="*/ 3924409 w 6530351"/>
              <a:gd name="connsiteY2106" fmla="*/ 606080 h 6858285"/>
              <a:gd name="connsiteX2107" fmla="*/ 4265895 w 6530351"/>
              <a:gd name="connsiteY2107" fmla="*/ 482594 h 6858285"/>
              <a:gd name="connsiteX2108" fmla="*/ 4284555 w 6530351"/>
              <a:gd name="connsiteY2108" fmla="*/ 479567 h 6858285"/>
              <a:gd name="connsiteX2109" fmla="*/ 2030573 w 6530351"/>
              <a:gd name="connsiteY2109" fmla="*/ 479549 h 6858285"/>
              <a:gd name="connsiteX2110" fmla="*/ 2074570 w 6530351"/>
              <a:gd name="connsiteY2110" fmla="*/ 511073 h 6858285"/>
              <a:gd name="connsiteX2111" fmla="*/ 2076478 w 6530351"/>
              <a:gd name="connsiteY2111" fmla="*/ 528172 h 6858285"/>
              <a:gd name="connsiteX2112" fmla="*/ 2045954 w 6530351"/>
              <a:gd name="connsiteY2112" fmla="*/ 571867 h 6858285"/>
              <a:gd name="connsiteX2113" fmla="*/ 1702559 w 6530351"/>
              <a:gd name="connsiteY2113" fmla="*/ 695353 h 6858285"/>
              <a:gd name="connsiteX2114" fmla="*/ 1641511 w 6530351"/>
              <a:gd name="connsiteY2114" fmla="*/ 666857 h 6858285"/>
              <a:gd name="connsiteX2115" fmla="*/ 1670127 w 6530351"/>
              <a:gd name="connsiteY2115" fmla="*/ 606063 h 6858285"/>
              <a:gd name="connsiteX2116" fmla="*/ 2011614 w 6530351"/>
              <a:gd name="connsiteY2116" fmla="*/ 482577 h 6858285"/>
              <a:gd name="connsiteX2117" fmla="*/ 2030573 w 6530351"/>
              <a:gd name="connsiteY2117" fmla="*/ 479549 h 6858285"/>
              <a:gd name="connsiteX2118" fmla="*/ 3723559 w 6530351"/>
              <a:gd name="connsiteY2118" fmla="*/ 470397 h 6858285"/>
              <a:gd name="connsiteX2119" fmla="*/ 3766543 w 6530351"/>
              <a:gd name="connsiteY2119" fmla="*/ 505539 h 6858285"/>
              <a:gd name="connsiteX2120" fmla="*/ 3770363 w 6530351"/>
              <a:gd name="connsiteY2120" fmla="*/ 520800 h 6858285"/>
              <a:gd name="connsiteX2121" fmla="*/ 3734065 w 6530351"/>
              <a:gd name="connsiteY2121" fmla="*/ 568492 h 6858285"/>
              <a:gd name="connsiteX2122" fmla="*/ 3392102 w 6530351"/>
              <a:gd name="connsiteY2122" fmla="*/ 681044 h 6858285"/>
              <a:gd name="connsiteX2123" fmla="*/ 3329059 w 6530351"/>
              <a:gd name="connsiteY2123" fmla="*/ 648614 h 6858285"/>
              <a:gd name="connsiteX2124" fmla="*/ 3359626 w 6530351"/>
              <a:gd name="connsiteY2124" fmla="*/ 585661 h 6858285"/>
              <a:gd name="connsiteX2125" fmla="*/ 3703499 w 6530351"/>
              <a:gd name="connsiteY2125" fmla="*/ 473109 h 6858285"/>
              <a:gd name="connsiteX2126" fmla="*/ 3723559 w 6530351"/>
              <a:gd name="connsiteY2126" fmla="*/ 470397 h 6858285"/>
              <a:gd name="connsiteX2127" fmla="*/ 2590068 w 6530351"/>
              <a:gd name="connsiteY2127" fmla="*/ 470376 h 6858285"/>
              <a:gd name="connsiteX2128" fmla="*/ 2633052 w 6530351"/>
              <a:gd name="connsiteY2128" fmla="*/ 505519 h 6858285"/>
              <a:gd name="connsiteX2129" fmla="*/ 2636873 w 6530351"/>
              <a:gd name="connsiteY2129" fmla="*/ 520780 h 6858285"/>
              <a:gd name="connsiteX2130" fmla="*/ 2600575 w 6530351"/>
              <a:gd name="connsiteY2130" fmla="*/ 568472 h 6858285"/>
              <a:gd name="connsiteX2131" fmla="*/ 2258612 w 6530351"/>
              <a:gd name="connsiteY2131" fmla="*/ 681025 h 6858285"/>
              <a:gd name="connsiteX2132" fmla="*/ 2195569 w 6530351"/>
              <a:gd name="connsiteY2132" fmla="*/ 648594 h 6858285"/>
              <a:gd name="connsiteX2133" fmla="*/ 2226136 w 6530351"/>
              <a:gd name="connsiteY2133" fmla="*/ 585641 h 6858285"/>
              <a:gd name="connsiteX2134" fmla="*/ 2570009 w 6530351"/>
              <a:gd name="connsiteY2134" fmla="*/ 473089 h 6858285"/>
              <a:gd name="connsiteX2135" fmla="*/ 2590068 w 6530351"/>
              <a:gd name="connsiteY2135" fmla="*/ 470376 h 6858285"/>
              <a:gd name="connsiteX2136" fmla="*/ 3153221 w 6530351"/>
              <a:gd name="connsiteY2136" fmla="*/ 461684 h 6858285"/>
              <a:gd name="connsiteX2137" fmla="*/ 3196948 w 6530351"/>
              <a:gd name="connsiteY2137" fmla="*/ 499511 h 6858285"/>
              <a:gd name="connsiteX2138" fmla="*/ 3198856 w 6530351"/>
              <a:gd name="connsiteY2138" fmla="*/ 512866 h 6858285"/>
              <a:gd name="connsiteX2139" fmla="*/ 3162610 w 6530351"/>
              <a:gd name="connsiteY2139" fmla="*/ 564376 h 6858285"/>
              <a:gd name="connsiteX2140" fmla="*/ 2819225 w 6530351"/>
              <a:gd name="connsiteY2140" fmla="*/ 665488 h 6858285"/>
              <a:gd name="connsiteX2141" fmla="*/ 2754363 w 6530351"/>
              <a:gd name="connsiteY2141" fmla="*/ 629241 h 6858285"/>
              <a:gd name="connsiteX2142" fmla="*/ 2788702 w 6530351"/>
              <a:gd name="connsiteY2142" fmla="*/ 564376 h 6858285"/>
              <a:gd name="connsiteX2143" fmla="*/ 3132087 w 6530351"/>
              <a:gd name="connsiteY2143" fmla="*/ 463264 h 6858285"/>
              <a:gd name="connsiteX2144" fmla="*/ 3153221 w 6530351"/>
              <a:gd name="connsiteY2144" fmla="*/ 461684 h 6858285"/>
              <a:gd name="connsiteX2145" fmla="*/ 6500919 w 6530351"/>
              <a:gd name="connsiteY2145" fmla="*/ 194958 h 6858285"/>
              <a:gd name="connsiteX2146" fmla="*/ 6524069 w 6530351"/>
              <a:gd name="connsiteY2146" fmla="*/ 215887 h 6858285"/>
              <a:gd name="connsiteX2147" fmla="*/ 6527887 w 6530351"/>
              <a:gd name="connsiteY2147" fmla="*/ 233011 h 6858285"/>
              <a:gd name="connsiteX2148" fmla="*/ 6506885 w 6530351"/>
              <a:gd name="connsiteY2148" fmla="*/ 269161 h 6858285"/>
              <a:gd name="connsiteX2149" fmla="*/ 6167027 w 6530351"/>
              <a:gd name="connsiteY2149" fmla="*/ 436596 h 6858285"/>
              <a:gd name="connsiteX2150" fmla="*/ 6113567 w 6530351"/>
              <a:gd name="connsiteY2150" fmla="*/ 419472 h 6858285"/>
              <a:gd name="connsiteX2151" fmla="*/ 6130751 w 6530351"/>
              <a:gd name="connsiteY2151" fmla="*/ 366197 h 6858285"/>
              <a:gd name="connsiteX2152" fmla="*/ 6470609 w 6530351"/>
              <a:gd name="connsiteY2152" fmla="*/ 196860 h 6858285"/>
              <a:gd name="connsiteX2153" fmla="*/ 6500919 w 6530351"/>
              <a:gd name="connsiteY2153" fmla="*/ 194958 h 6858285"/>
              <a:gd name="connsiteX2154" fmla="*/ 5957811 w 6530351"/>
              <a:gd name="connsiteY2154" fmla="*/ 186362 h 6858285"/>
              <a:gd name="connsiteX2155" fmla="*/ 5981147 w 6530351"/>
              <a:gd name="connsiteY2155" fmla="*/ 208187 h 6858285"/>
              <a:gd name="connsiteX2156" fmla="*/ 5984957 w 6530351"/>
              <a:gd name="connsiteY2156" fmla="*/ 225268 h 6858285"/>
              <a:gd name="connsiteX2157" fmla="*/ 5962097 w 6530351"/>
              <a:gd name="connsiteY2157" fmla="*/ 263225 h 6858285"/>
              <a:gd name="connsiteX2158" fmla="*/ 5623001 w 6530351"/>
              <a:gd name="connsiteY2158" fmla="*/ 420745 h 6858285"/>
              <a:gd name="connsiteX2159" fmla="*/ 5567757 w 6530351"/>
              <a:gd name="connsiteY2159" fmla="*/ 401767 h 6858285"/>
              <a:gd name="connsiteX2160" fmla="*/ 5586807 w 6530351"/>
              <a:gd name="connsiteY2160" fmla="*/ 346729 h 6858285"/>
              <a:gd name="connsiteX2161" fmla="*/ 5925901 w 6530351"/>
              <a:gd name="connsiteY2161" fmla="*/ 187311 h 6858285"/>
              <a:gd name="connsiteX2162" fmla="*/ 5957811 w 6530351"/>
              <a:gd name="connsiteY2162" fmla="*/ 186362 h 6858285"/>
              <a:gd name="connsiteX2163" fmla="*/ 398309 w 6530351"/>
              <a:gd name="connsiteY2163" fmla="*/ 186349 h 6858285"/>
              <a:gd name="connsiteX2164" fmla="*/ 421646 w 6530351"/>
              <a:gd name="connsiteY2164" fmla="*/ 208174 h 6858285"/>
              <a:gd name="connsiteX2165" fmla="*/ 425456 w 6530351"/>
              <a:gd name="connsiteY2165" fmla="*/ 225255 h 6858285"/>
              <a:gd name="connsiteX2166" fmla="*/ 400691 w 6530351"/>
              <a:gd name="connsiteY2166" fmla="*/ 263212 h 6858285"/>
              <a:gd name="connsiteX2167" fmla="*/ 61596 w 6530351"/>
              <a:gd name="connsiteY2167" fmla="*/ 420733 h 6858285"/>
              <a:gd name="connsiteX2168" fmla="*/ 6350 w 6530351"/>
              <a:gd name="connsiteY2168" fmla="*/ 401754 h 6858285"/>
              <a:gd name="connsiteX2169" fmla="*/ 27305 w 6530351"/>
              <a:gd name="connsiteY2169" fmla="*/ 346717 h 6858285"/>
              <a:gd name="connsiteX2170" fmla="*/ 366400 w 6530351"/>
              <a:gd name="connsiteY2170" fmla="*/ 187298 h 6858285"/>
              <a:gd name="connsiteX2171" fmla="*/ 398309 w 6530351"/>
              <a:gd name="connsiteY2171" fmla="*/ 186349 h 6858285"/>
              <a:gd name="connsiteX2172" fmla="*/ 5409203 w 6530351"/>
              <a:gd name="connsiteY2172" fmla="*/ 176869 h 6858285"/>
              <a:gd name="connsiteX2173" fmla="*/ 5433457 w 6530351"/>
              <a:gd name="connsiteY2173" fmla="*/ 198777 h 6858285"/>
              <a:gd name="connsiteX2174" fmla="*/ 5437261 w 6530351"/>
              <a:gd name="connsiteY2174" fmla="*/ 217827 h 6858285"/>
              <a:gd name="connsiteX2175" fmla="*/ 5410629 w 6530351"/>
              <a:gd name="connsiteY2175" fmla="*/ 255927 h 6858285"/>
              <a:gd name="connsiteX2176" fmla="*/ 5072033 w 6530351"/>
              <a:gd name="connsiteY2176" fmla="*/ 406421 h 6858285"/>
              <a:gd name="connsiteX2177" fmla="*/ 5014967 w 6530351"/>
              <a:gd name="connsiteY2177" fmla="*/ 385466 h 6858285"/>
              <a:gd name="connsiteX2178" fmla="*/ 5035891 w 6530351"/>
              <a:gd name="connsiteY2178" fmla="*/ 328316 h 6858285"/>
              <a:gd name="connsiteX2179" fmla="*/ 5376389 w 6530351"/>
              <a:gd name="connsiteY2179" fmla="*/ 177822 h 6858285"/>
              <a:gd name="connsiteX2180" fmla="*/ 5409203 w 6530351"/>
              <a:gd name="connsiteY2180" fmla="*/ 176869 h 6858285"/>
              <a:gd name="connsiteX2181" fmla="*/ 942630 w 6530351"/>
              <a:gd name="connsiteY2181" fmla="*/ 176854 h 6858285"/>
              <a:gd name="connsiteX2182" fmla="*/ 966171 w 6530351"/>
              <a:gd name="connsiteY2182" fmla="*/ 198761 h 6858285"/>
              <a:gd name="connsiteX2183" fmla="*/ 969975 w 6530351"/>
              <a:gd name="connsiteY2183" fmla="*/ 217811 h 6858285"/>
              <a:gd name="connsiteX2184" fmla="*/ 945246 w 6530351"/>
              <a:gd name="connsiteY2184" fmla="*/ 255911 h 6858285"/>
              <a:gd name="connsiteX2185" fmla="*/ 604747 w 6530351"/>
              <a:gd name="connsiteY2185" fmla="*/ 406406 h 6858285"/>
              <a:gd name="connsiteX2186" fmla="*/ 547680 w 6530351"/>
              <a:gd name="connsiteY2186" fmla="*/ 385451 h 6858285"/>
              <a:gd name="connsiteX2187" fmla="*/ 570507 w 6530351"/>
              <a:gd name="connsiteY2187" fmla="*/ 328301 h 6858285"/>
              <a:gd name="connsiteX2188" fmla="*/ 909104 w 6530351"/>
              <a:gd name="connsiteY2188" fmla="*/ 177807 h 6858285"/>
              <a:gd name="connsiteX2189" fmla="*/ 942630 w 6530351"/>
              <a:gd name="connsiteY2189" fmla="*/ 176854 h 6858285"/>
              <a:gd name="connsiteX2190" fmla="*/ 4856445 w 6530351"/>
              <a:gd name="connsiteY2190" fmla="*/ 167559 h 6858285"/>
              <a:gd name="connsiteX2191" fmla="*/ 4880991 w 6530351"/>
              <a:gd name="connsiteY2191" fmla="*/ 191072 h 6858285"/>
              <a:gd name="connsiteX2192" fmla="*/ 4884803 w 6530351"/>
              <a:gd name="connsiteY2192" fmla="*/ 208171 h 6858285"/>
              <a:gd name="connsiteX2193" fmla="*/ 4856207 w 6530351"/>
              <a:gd name="connsiteY2193" fmla="*/ 249971 h 6858285"/>
              <a:gd name="connsiteX2194" fmla="*/ 4516865 w 6530351"/>
              <a:gd name="connsiteY2194" fmla="*/ 390571 h 6858285"/>
              <a:gd name="connsiteX2195" fmla="*/ 4457767 w 6530351"/>
              <a:gd name="connsiteY2195" fmla="*/ 367771 h 6858285"/>
              <a:gd name="connsiteX2196" fmla="*/ 4482551 w 6530351"/>
              <a:gd name="connsiteY2196" fmla="*/ 308871 h 6858285"/>
              <a:gd name="connsiteX2197" fmla="*/ 4821891 w 6530351"/>
              <a:gd name="connsiteY2197" fmla="*/ 168272 h 6858285"/>
              <a:gd name="connsiteX2198" fmla="*/ 4856445 w 6530351"/>
              <a:gd name="connsiteY2198" fmla="*/ 167559 h 6858285"/>
              <a:gd name="connsiteX2199" fmla="*/ 1492487 w 6530351"/>
              <a:gd name="connsiteY2199" fmla="*/ 167542 h 6858285"/>
              <a:gd name="connsiteX2200" fmla="*/ 1517032 w 6530351"/>
              <a:gd name="connsiteY2200" fmla="*/ 191054 h 6858285"/>
              <a:gd name="connsiteX2201" fmla="*/ 1520845 w 6530351"/>
              <a:gd name="connsiteY2201" fmla="*/ 208154 h 6858285"/>
              <a:gd name="connsiteX2202" fmla="*/ 1492249 w 6530351"/>
              <a:gd name="connsiteY2202" fmla="*/ 249954 h 6858285"/>
              <a:gd name="connsiteX2203" fmla="*/ 1151001 w 6530351"/>
              <a:gd name="connsiteY2203" fmla="*/ 390554 h 6858285"/>
              <a:gd name="connsiteX2204" fmla="*/ 1093809 w 6530351"/>
              <a:gd name="connsiteY2204" fmla="*/ 367754 h 6858285"/>
              <a:gd name="connsiteX2205" fmla="*/ 1116686 w 6530351"/>
              <a:gd name="connsiteY2205" fmla="*/ 308854 h 6858285"/>
              <a:gd name="connsiteX2206" fmla="*/ 1457933 w 6530351"/>
              <a:gd name="connsiteY2206" fmla="*/ 168254 h 6858285"/>
              <a:gd name="connsiteX2207" fmla="*/ 1492487 w 6530351"/>
              <a:gd name="connsiteY2207" fmla="*/ 167542 h 6858285"/>
              <a:gd name="connsiteX2208" fmla="*/ 4266123 w 6530351"/>
              <a:gd name="connsiteY2208" fmla="*/ 156877 h 6858285"/>
              <a:gd name="connsiteX2209" fmla="*/ 4325349 w 6530351"/>
              <a:gd name="connsiteY2209" fmla="*/ 183583 h 6858285"/>
              <a:gd name="connsiteX2210" fmla="*/ 4329171 w 6530351"/>
              <a:gd name="connsiteY2210" fmla="*/ 200751 h 6858285"/>
              <a:gd name="connsiteX2211" fmla="*/ 4298603 w 6530351"/>
              <a:gd name="connsiteY2211" fmla="*/ 244625 h 6858285"/>
              <a:gd name="connsiteX2212" fmla="*/ 3956619 w 6530351"/>
              <a:gd name="connsiteY2212" fmla="*/ 376246 h 6858285"/>
              <a:gd name="connsiteX2213" fmla="*/ 3897393 w 6530351"/>
              <a:gd name="connsiteY2213" fmla="*/ 349541 h 6858285"/>
              <a:gd name="connsiteX2214" fmla="*/ 3924139 w 6530351"/>
              <a:gd name="connsiteY2214" fmla="*/ 290406 h 6858285"/>
              <a:gd name="connsiteX2215" fmla="*/ 4266123 w 6530351"/>
              <a:gd name="connsiteY2215" fmla="*/ 156877 h 6858285"/>
              <a:gd name="connsiteX2216" fmla="*/ 2010482 w 6530351"/>
              <a:gd name="connsiteY2216" fmla="*/ 156857 h 6858285"/>
              <a:gd name="connsiteX2217" fmla="*/ 2071399 w 6530351"/>
              <a:gd name="connsiteY2217" fmla="*/ 183563 h 6858285"/>
              <a:gd name="connsiteX2218" fmla="*/ 2073303 w 6530351"/>
              <a:gd name="connsiteY2218" fmla="*/ 200731 h 6858285"/>
              <a:gd name="connsiteX2219" fmla="*/ 2044748 w 6530351"/>
              <a:gd name="connsiteY2219" fmla="*/ 244605 h 6858285"/>
              <a:gd name="connsiteX2220" fmla="*/ 1703994 w 6530351"/>
              <a:gd name="connsiteY2220" fmla="*/ 376227 h 6858285"/>
              <a:gd name="connsiteX2221" fmla="*/ 1643077 w 6530351"/>
              <a:gd name="connsiteY2221" fmla="*/ 349521 h 6858285"/>
              <a:gd name="connsiteX2222" fmla="*/ 1669728 w 6530351"/>
              <a:gd name="connsiteY2222" fmla="*/ 290387 h 6858285"/>
              <a:gd name="connsiteX2223" fmla="*/ 2010482 w 6530351"/>
              <a:gd name="connsiteY2223" fmla="*/ 156857 h 6858285"/>
              <a:gd name="connsiteX2224" fmla="*/ 3720661 w 6530351"/>
              <a:gd name="connsiteY2224" fmla="*/ 144606 h 6858285"/>
              <a:gd name="connsiteX2225" fmla="*/ 3763701 w 6530351"/>
              <a:gd name="connsiteY2225" fmla="*/ 176130 h 6858285"/>
              <a:gd name="connsiteX2226" fmla="*/ 3765601 w 6530351"/>
              <a:gd name="connsiteY2226" fmla="*/ 193228 h 6858285"/>
              <a:gd name="connsiteX2227" fmla="*/ 3735185 w 6530351"/>
              <a:gd name="connsiteY2227" fmla="*/ 238823 h 6858285"/>
              <a:gd name="connsiteX2228" fmla="*/ 3393017 w 6530351"/>
              <a:gd name="connsiteY2228" fmla="*/ 360410 h 6858285"/>
              <a:gd name="connsiteX2229" fmla="*/ 3332187 w 6530351"/>
              <a:gd name="connsiteY2229" fmla="*/ 331913 h 6858285"/>
              <a:gd name="connsiteX2230" fmla="*/ 3360701 w 6530351"/>
              <a:gd name="connsiteY2230" fmla="*/ 271120 h 6858285"/>
              <a:gd name="connsiteX2231" fmla="*/ 3700969 w 6530351"/>
              <a:gd name="connsiteY2231" fmla="*/ 147634 h 6858285"/>
              <a:gd name="connsiteX2232" fmla="*/ 3720661 w 6530351"/>
              <a:gd name="connsiteY2232" fmla="*/ 144606 h 6858285"/>
              <a:gd name="connsiteX2233" fmla="*/ 2587010 w 6530351"/>
              <a:gd name="connsiteY2233" fmla="*/ 144584 h 6858285"/>
              <a:gd name="connsiteX2234" fmla="*/ 2630202 w 6530351"/>
              <a:gd name="connsiteY2234" fmla="*/ 176109 h 6858285"/>
              <a:gd name="connsiteX2235" fmla="*/ 2632110 w 6530351"/>
              <a:gd name="connsiteY2235" fmla="*/ 193207 h 6858285"/>
              <a:gd name="connsiteX2236" fmla="*/ 2601586 w 6530351"/>
              <a:gd name="connsiteY2236" fmla="*/ 238802 h 6858285"/>
              <a:gd name="connsiteX2237" fmla="*/ 2258191 w 6530351"/>
              <a:gd name="connsiteY2237" fmla="*/ 360389 h 6858285"/>
              <a:gd name="connsiteX2238" fmla="*/ 2197143 w 6530351"/>
              <a:gd name="connsiteY2238" fmla="*/ 331892 h 6858285"/>
              <a:gd name="connsiteX2239" fmla="*/ 2225759 w 6530351"/>
              <a:gd name="connsiteY2239" fmla="*/ 271098 h 6858285"/>
              <a:gd name="connsiteX2240" fmla="*/ 2567246 w 6530351"/>
              <a:gd name="connsiteY2240" fmla="*/ 147612 h 6858285"/>
              <a:gd name="connsiteX2241" fmla="*/ 2587010 w 6530351"/>
              <a:gd name="connsiteY2241" fmla="*/ 144584 h 6858285"/>
              <a:gd name="connsiteX2242" fmla="*/ 3149041 w 6530351"/>
              <a:gd name="connsiteY2242" fmla="*/ 135359 h 6858285"/>
              <a:gd name="connsiteX2243" fmla="*/ 3191874 w 6530351"/>
              <a:gd name="connsiteY2243" fmla="*/ 168391 h 6858285"/>
              <a:gd name="connsiteX2244" fmla="*/ 3195681 w 6530351"/>
              <a:gd name="connsiteY2244" fmla="*/ 185439 h 6858285"/>
              <a:gd name="connsiteX2245" fmla="*/ 3161415 w 6530351"/>
              <a:gd name="connsiteY2245" fmla="*/ 232797 h 6858285"/>
              <a:gd name="connsiteX2246" fmla="*/ 2818752 w 6530351"/>
              <a:gd name="connsiteY2246" fmla="*/ 344562 h 6858285"/>
              <a:gd name="connsiteX2247" fmla="*/ 2755930 w 6530351"/>
              <a:gd name="connsiteY2247" fmla="*/ 314253 h 6858285"/>
              <a:gd name="connsiteX2248" fmla="*/ 2788293 w 6530351"/>
              <a:gd name="connsiteY2248" fmla="*/ 249846 h 6858285"/>
              <a:gd name="connsiteX2249" fmla="*/ 3129052 w 6530351"/>
              <a:gd name="connsiteY2249" fmla="*/ 138082 h 6858285"/>
              <a:gd name="connsiteX2250" fmla="*/ 3149041 w 6530351"/>
              <a:gd name="connsiteY2250" fmla="*/ 135359 h 6858285"/>
              <a:gd name="connsiteX2251" fmla="*/ 6214753 w 6530351"/>
              <a:gd name="connsiteY2251" fmla="*/ 24 h 6858285"/>
              <a:gd name="connsiteX2252" fmla="*/ 6396123 w 6530351"/>
              <a:gd name="connsiteY2252" fmla="*/ 24 h 6858285"/>
              <a:gd name="connsiteX2253" fmla="*/ 6167023 w 6530351"/>
              <a:gd name="connsiteY2253" fmla="*/ 114324 h 6858285"/>
              <a:gd name="connsiteX2254" fmla="*/ 6113565 w 6530351"/>
              <a:gd name="connsiteY2254" fmla="*/ 95274 h 6858285"/>
              <a:gd name="connsiteX2255" fmla="*/ 6130749 w 6530351"/>
              <a:gd name="connsiteY2255" fmla="*/ 41934 h 6858285"/>
              <a:gd name="connsiteX2256" fmla="*/ 6214753 w 6530351"/>
              <a:gd name="connsiteY2256" fmla="*/ 24 h 6858285"/>
              <a:gd name="connsiteX2257" fmla="*/ 5637645 w 6530351"/>
              <a:gd name="connsiteY2257" fmla="*/ 24 h 6858285"/>
              <a:gd name="connsiteX2258" fmla="*/ 5829379 w 6530351"/>
              <a:gd name="connsiteY2258" fmla="*/ 24 h 6858285"/>
              <a:gd name="connsiteX2259" fmla="*/ 5622457 w 6530351"/>
              <a:gd name="connsiteY2259" fmla="*/ 99953 h 6858285"/>
              <a:gd name="connsiteX2260" fmla="*/ 5567405 w 6530351"/>
              <a:gd name="connsiteY2260" fmla="*/ 80736 h 6858285"/>
              <a:gd name="connsiteX2261" fmla="*/ 5586389 w 6530351"/>
              <a:gd name="connsiteY2261" fmla="*/ 25006 h 6858285"/>
              <a:gd name="connsiteX2262" fmla="*/ 5637645 w 6530351"/>
              <a:gd name="connsiteY2262" fmla="*/ 24 h 6858285"/>
              <a:gd name="connsiteX2263" fmla="*/ 5051003 w 6530351"/>
              <a:gd name="connsiteY2263" fmla="*/ 24 h 6858285"/>
              <a:gd name="connsiteX2264" fmla="*/ 5257871 w 6530351"/>
              <a:gd name="connsiteY2264" fmla="*/ 24 h 6858285"/>
              <a:gd name="connsiteX2265" fmla="*/ 5071881 w 6530351"/>
              <a:gd name="connsiteY2265" fmla="*/ 83844 h 6858285"/>
              <a:gd name="connsiteX2266" fmla="*/ 5014945 w 6530351"/>
              <a:gd name="connsiteY2266" fmla="*/ 62889 h 6858285"/>
              <a:gd name="connsiteX2267" fmla="*/ 5037719 w 6530351"/>
              <a:gd name="connsiteY2267" fmla="*/ 7644 h 6858285"/>
              <a:gd name="connsiteX2268" fmla="*/ 5051003 w 6530351"/>
              <a:gd name="connsiteY2268" fmla="*/ 24 h 6858285"/>
              <a:gd name="connsiteX2269" fmla="*/ 4468153 w 6530351"/>
              <a:gd name="connsiteY2269" fmla="*/ 24 h 6858285"/>
              <a:gd name="connsiteX2270" fmla="*/ 4678427 w 6530351"/>
              <a:gd name="connsiteY2270" fmla="*/ 24 h 6858285"/>
              <a:gd name="connsiteX2271" fmla="*/ 4517407 w 6530351"/>
              <a:gd name="connsiteY2271" fmla="*/ 71348 h 6858285"/>
              <a:gd name="connsiteX2272" fmla="*/ 4460575 w 6530351"/>
              <a:gd name="connsiteY2272" fmla="*/ 48216 h 6858285"/>
              <a:gd name="connsiteX2273" fmla="*/ 4468153 w 6530351"/>
              <a:gd name="connsiteY2273" fmla="*/ 24 h 6858285"/>
              <a:gd name="connsiteX2274" fmla="*/ 3898007 w 6530351"/>
              <a:gd name="connsiteY2274" fmla="*/ 24 h 6858285"/>
              <a:gd name="connsiteX2275" fmla="*/ 4092631 w 6530351"/>
              <a:gd name="connsiteY2275" fmla="*/ 24 h 6858285"/>
              <a:gd name="connsiteX2276" fmla="*/ 3959065 w 6530351"/>
              <a:gd name="connsiteY2276" fmla="*/ 55540 h 6858285"/>
              <a:gd name="connsiteX2277" fmla="*/ 3899915 w 6530351"/>
              <a:gd name="connsiteY2277" fmla="*/ 30653 h 6858285"/>
              <a:gd name="connsiteX2278" fmla="*/ 3898007 w 6530351"/>
              <a:gd name="connsiteY2278" fmla="*/ 24 h 6858285"/>
              <a:gd name="connsiteX2279" fmla="*/ 3332207 w 6530351"/>
              <a:gd name="connsiteY2279" fmla="*/ 24 h 6858285"/>
              <a:gd name="connsiteX2280" fmla="*/ 3497309 w 6530351"/>
              <a:gd name="connsiteY2280" fmla="*/ 24 h 6858285"/>
              <a:gd name="connsiteX2281" fmla="*/ 3394832 w 6530351"/>
              <a:gd name="connsiteY2281" fmla="*/ 41665 h 6858285"/>
              <a:gd name="connsiteX2282" fmla="*/ 3334105 w 6530351"/>
              <a:gd name="connsiteY2282" fmla="*/ 15166 h 6858285"/>
              <a:gd name="connsiteX2283" fmla="*/ 3332207 w 6530351"/>
              <a:gd name="connsiteY2283" fmla="*/ 24 h 6858285"/>
              <a:gd name="connsiteX2284" fmla="*/ 2760700 w 6530351"/>
              <a:gd name="connsiteY2284" fmla="*/ 23 h 6858285"/>
              <a:gd name="connsiteX2285" fmla="*/ 2890877 w 6530351"/>
              <a:gd name="connsiteY2285" fmla="*/ 23 h 6858285"/>
              <a:gd name="connsiteX2286" fmla="*/ 2821072 w 6530351"/>
              <a:gd name="connsiteY2286" fmla="*/ 27187 h 6858285"/>
              <a:gd name="connsiteX2287" fmla="*/ 2760700 w 6530351"/>
              <a:gd name="connsiteY2287" fmla="*/ 23 h 6858285"/>
              <a:gd name="connsiteX2288" fmla="*/ 76929 w 6530351"/>
              <a:gd name="connsiteY2288" fmla="*/ 9 h 6858285"/>
              <a:gd name="connsiteX2289" fmla="*/ 271466 w 6530351"/>
              <a:gd name="connsiteY2289" fmla="*/ 9 h 6858285"/>
              <a:gd name="connsiteX2290" fmla="*/ 63578 w 6530351"/>
              <a:gd name="connsiteY2290" fmla="*/ 99939 h 6858285"/>
              <a:gd name="connsiteX2291" fmla="*/ 8268 w 6530351"/>
              <a:gd name="connsiteY2291" fmla="*/ 80722 h 6858285"/>
              <a:gd name="connsiteX2292" fmla="*/ 27341 w 6530351"/>
              <a:gd name="connsiteY2292" fmla="*/ 24992 h 6858285"/>
              <a:gd name="connsiteX2293" fmla="*/ 76929 w 6530351"/>
              <a:gd name="connsiteY2293" fmla="*/ 9 h 6858285"/>
              <a:gd name="connsiteX2294" fmla="*/ 583739 w 6530351"/>
              <a:gd name="connsiteY2294" fmla="*/ 7 h 6858285"/>
              <a:gd name="connsiteX2295" fmla="*/ 792173 w 6530351"/>
              <a:gd name="connsiteY2295" fmla="*/ 7 h 6858285"/>
              <a:gd name="connsiteX2296" fmla="*/ 604773 w 6530351"/>
              <a:gd name="connsiteY2296" fmla="*/ 83827 h 6858285"/>
              <a:gd name="connsiteX2297" fmla="*/ 549318 w 6530351"/>
              <a:gd name="connsiteY2297" fmla="*/ 62872 h 6858285"/>
              <a:gd name="connsiteX2298" fmla="*/ 570353 w 6530351"/>
              <a:gd name="connsiteY2298" fmla="*/ 7627 h 6858285"/>
              <a:gd name="connsiteX2299" fmla="*/ 583739 w 6530351"/>
              <a:gd name="connsiteY2299" fmla="*/ 7 h 6858285"/>
              <a:gd name="connsiteX2300" fmla="*/ 1102318 w 6530351"/>
              <a:gd name="connsiteY2300" fmla="*/ 5 h 6858285"/>
              <a:gd name="connsiteX2301" fmla="*/ 1312880 w 6530351"/>
              <a:gd name="connsiteY2301" fmla="*/ 5 h 6858285"/>
              <a:gd name="connsiteX2302" fmla="*/ 1153536 w 6530351"/>
              <a:gd name="connsiteY2302" fmla="*/ 71329 h 6858285"/>
              <a:gd name="connsiteX2303" fmla="*/ 1094730 w 6530351"/>
              <a:gd name="connsiteY2303" fmla="*/ 48197 h 6858285"/>
              <a:gd name="connsiteX2304" fmla="*/ 1102318 w 6530351"/>
              <a:gd name="connsiteY2304" fmla="*/ 5 h 6858285"/>
              <a:gd name="connsiteX2305" fmla="*/ 1643408 w 6530351"/>
              <a:gd name="connsiteY2305" fmla="*/ 2 h 6858285"/>
              <a:gd name="connsiteX2306" fmla="*/ 1838350 w 6530351"/>
              <a:gd name="connsiteY2306" fmla="*/ 2 h 6858285"/>
              <a:gd name="connsiteX2307" fmla="*/ 1704566 w 6530351"/>
              <a:gd name="connsiteY2307" fmla="*/ 55519 h 6858285"/>
              <a:gd name="connsiteX2308" fmla="*/ 1645319 w 6530351"/>
              <a:gd name="connsiteY2308" fmla="*/ 30632 h 6858285"/>
              <a:gd name="connsiteX2309" fmla="*/ 1643408 w 6530351"/>
              <a:gd name="connsiteY2309" fmla="*/ 2 h 6858285"/>
              <a:gd name="connsiteX2310" fmla="*/ 2197129 w 6530351"/>
              <a:gd name="connsiteY2310" fmla="*/ 0 h 6858285"/>
              <a:gd name="connsiteX2311" fmla="*/ 2363819 w 6530351"/>
              <a:gd name="connsiteY2311" fmla="*/ 0 h 6858285"/>
              <a:gd name="connsiteX2312" fmla="*/ 2260356 w 6530351"/>
              <a:gd name="connsiteY2312" fmla="*/ 41642 h 6858285"/>
              <a:gd name="connsiteX2313" fmla="*/ 2199045 w 6530351"/>
              <a:gd name="connsiteY2313" fmla="*/ 15142 h 6858285"/>
              <a:gd name="connsiteX2314" fmla="*/ 2197129 w 6530351"/>
              <a:gd name="connsiteY2314" fmla="*/ 0 h 6858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</a:cxnLst>
            <a:rect l="l" t="t" r="r" b="b"/>
            <a:pathLst>
              <a:path w="6530351" h="6858285">
                <a:moveTo>
                  <a:pt x="6502939" y="6648860"/>
                </a:moveTo>
                <a:cubicBezTo>
                  <a:pt x="6512949" y="6652438"/>
                  <a:pt x="6521527" y="6659592"/>
                  <a:pt x="6526293" y="6669131"/>
                </a:cubicBezTo>
                <a:cubicBezTo>
                  <a:pt x="6535827" y="6690116"/>
                  <a:pt x="6528201" y="6714918"/>
                  <a:pt x="6507229" y="6724457"/>
                </a:cubicBezTo>
                <a:cubicBezTo>
                  <a:pt x="6507229" y="6724457"/>
                  <a:pt x="6507229" y="6724457"/>
                  <a:pt x="6226983" y="6858002"/>
                </a:cubicBezTo>
                <a:cubicBezTo>
                  <a:pt x="6226983" y="6858002"/>
                  <a:pt x="6226983" y="6858002"/>
                  <a:pt x="6108783" y="6858002"/>
                </a:cubicBezTo>
                <a:cubicBezTo>
                  <a:pt x="6108783" y="6856094"/>
                  <a:pt x="6108783" y="6852279"/>
                  <a:pt x="6108783" y="6850371"/>
                </a:cubicBezTo>
                <a:cubicBezTo>
                  <a:pt x="6108783" y="6835109"/>
                  <a:pt x="6118315" y="6819846"/>
                  <a:pt x="6131661" y="6812215"/>
                </a:cubicBezTo>
                <a:cubicBezTo>
                  <a:pt x="6131661" y="6812215"/>
                  <a:pt x="6131661" y="6812215"/>
                  <a:pt x="6471007" y="6650053"/>
                </a:cubicBezTo>
                <a:cubicBezTo>
                  <a:pt x="6481493" y="6645283"/>
                  <a:pt x="6492931" y="6645283"/>
                  <a:pt x="6502939" y="6648860"/>
                </a:cubicBezTo>
                <a:close/>
                <a:moveTo>
                  <a:pt x="5955459" y="6635423"/>
                </a:moveTo>
                <a:cubicBezTo>
                  <a:pt x="5965237" y="6638752"/>
                  <a:pt x="5973823" y="6645886"/>
                  <a:pt x="5978591" y="6656349"/>
                </a:cubicBezTo>
                <a:cubicBezTo>
                  <a:pt x="5988131" y="6675373"/>
                  <a:pt x="5980499" y="6700104"/>
                  <a:pt x="5961421" y="6709616"/>
                </a:cubicBezTo>
                <a:cubicBezTo>
                  <a:pt x="5961421" y="6709616"/>
                  <a:pt x="5961421" y="6709616"/>
                  <a:pt x="5656161" y="6858002"/>
                </a:cubicBezTo>
                <a:cubicBezTo>
                  <a:pt x="5656161" y="6858002"/>
                  <a:pt x="5656161" y="6858002"/>
                  <a:pt x="5568399" y="6858002"/>
                </a:cubicBezTo>
                <a:cubicBezTo>
                  <a:pt x="5568399" y="6858002"/>
                  <a:pt x="5568399" y="6858002"/>
                  <a:pt x="5566491" y="6858002"/>
                </a:cubicBezTo>
                <a:cubicBezTo>
                  <a:pt x="5564583" y="6852295"/>
                  <a:pt x="5562675" y="6844686"/>
                  <a:pt x="5562675" y="6838978"/>
                </a:cubicBezTo>
                <a:cubicBezTo>
                  <a:pt x="5562675" y="6823759"/>
                  <a:pt x="5572215" y="6810443"/>
                  <a:pt x="5585569" y="6802833"/>
                </a:cubicBezTo>
                <a:cubicBezTo>
                  <a:pt x="5585569" y="6802833"/>
                  <a:pt x="5585569" y="6802833"/>
                  <a:pt x="5925171" y="6637326"/>
                </a:cubicBezTo>
                <a:cubicBezTo>
                  <a:pt x="5934711" y="6632570"/>
                  <a:pt x="5945681" y="6632094"/>
                  <a:pt x="5955459" y="6635423"/>
                </a:cubicBezTo>
                <a:close/>
                <a:moveTo>
                  <a:pt x="396080" y="6635423"/>
                </a:moveTo>
                <a:cubicBezTo>
                  <a:pt x="405821" y="6638752"/>
                  <a:pt x="414374" y="6645886"/>
                  <a:pt x="419126" y="6656349"/>
                </a:cubicBezTo>
                <a:cubicBezTo>
                  <a:pt x="428630" y="6675373"/>
                  <a:pt x="421027" y="6700104"/>
                  <a:pt x="400119" y="6709616"/>
                </a:cubicBezTo>
                <a:cubicBezTo>
                  <a:pt x="400119" y="6709616"/>
                  <a:pt x="400119" y="6709616"/>
                  <a:pt x="97899" y="6858002"/>
                </a:cubicBezTo>
                <a:cubicBezTo>
                  <a:pt x="97899" y="6858002"/>
                  <a:pt x="97899" y="6858002"/>
                  <a:pt x="10464" y="6858002"/>
                </a:cubicBezTo>
                <a:cubicBezTo>
                  <a:pt x="10464" y="6858002"/>
                  <a:pt x="8564" y="6858002"/>
                  <a:pt x="8564" y="6858002"/>
                </a:cubicBezTo>
                <a:cubicBezTo>
                  <a:pt x="6663" y="6852295"/>
                  <a:pt x="4762" y="6844686"/>
                  <a:pt x="4762" y="6838978"/>
                </a:cubicBezTo>
                <a:cubicBezTo>
                  <a:pt x="4762" y="6823759"/>
                  <a:pt x="12365" y="6810443"/>
                  <a:pt x="27571" y="6802833"/>
                </a:cubicBezTo>
                <a:cubicBezTo>
                  <a:pt x="27571" y="6802833"/>
                  <a:pt x="27571" y="6802833"/>
                  <a:pt x="365905" y="6637326"/>
                </a:cubicBezTo>
                <a:cubicBezTo>
                  <a:pt x="375409" y="6632570"/>
                  <a:pt x="386338" y="6632094"/>
                  <a:pt x="396080" y="6635423"/>
                </a:cubicBezTo>
                <a:close/>
                <a:moveTo>
                  <a:pt x="5405399" y="6619807"/>
                </a:moveTo>
                <a:cubicBezTo>
                  <a:pt x="5414911" y="6622907"/>
                  <a:pt x="5422995" y="6630060"/>
                  <a:pt x="5427751" y="6640551"/>
                </a:cubicBezTo>
                <a:cubicBezTo>
                  <a:pt x="5437261" y="6659625"/>
                  <a:pt x="5429653" y="6682515"/>
                  <a:pt x="5410631" y="6693960"/>
                </a:cubicBezTo>
                <a:cubicBezTo>
                  <a:pt x="5410631" y="6693960"/>
                  <a:pt x="5410631" y="6693960"/>
                  <a:pt x="5083459" y="6858002"/>
                </a:cubicBezTo>
                <a:cubicBezTo>
                  <a:pt x="5083459" y="6858002"/>
                  <a:pt x="5083459" y="6858002"/>
                  <a:pt x="5028295" y="6858002"/>
                </a:cubicBezTo>
                <a:cubicBezTo>
                  <a:pt x="5024491" y="6856095"/>
                  <a:pt x="5022589" y="6852280"/>
                  <a:pt x="5020687" y="6846557"/>
                </a:cubicBezTo>
                <a:cubicBezTo>
                  <a:pt x="5016883" y="6840835"/>
                  <a:pt x="5014979" y="6835113"/>
                  <a:pt x="5014979" y="6829390"/>
                </a:cubicBezTo>
                <a:cubicBezTo>
                  <a:pt x="5014979" y="6814131"/>
                  <a:pt x="5024491" y="6800778"/>
                  <a:pt x="5037807" y="6793148"/>
                </a:cubicBezTo>
                <a:cubicBezTo>
                  <a:pt x="5037807" y="6793148"/>
                  <a:pt x="5037807" y="6793148"/>
                  <a:pt x="5374489" y="6623384"/>
                </a:cubicBezTo>
                <a:cubicBezTo>
                  <a:pt x="5384951" y="6617661"/>
                  <a:pt x="5395889" y="6616708"/>
                  <a:pt x="5405399" y="6619807"/>
                </a:cubicBezTo>
                <a:close/>
                <a:moveTo>
                  <a:pt x="939737" y="6619807"/>
                </a:moveTo>
                <a:cubicBezTo>
                  <a:pt x="949284" y="6622907"/>
                  <a:pt x="957876" y="6630060"/>
                  <a:pt x="963603" y="6640551"/>
                </a:cubicBezTo>
                <a:cubicBezTo>
                  <a:pt x="973150" y="6659625"/>
                  <a:pt x="965513" y="6682515"/>
                  <a:pt x="944510" y="6693960"/>
                </a:cubicBezTo>
                <a:cubicBezTo>
                  <a:pt x="944510" y="6693960"/>
                  <a:pt x="944510" y="6693960"/>
                  <a:pt x="618017" y="6858002"/>
                </a:cubicBezTo>
                <a:cubicBezTo>
                  <a:pt x="618017" y="6858002"/>
                  <a:pt x="618017" y="6858002"/>
                  <a:pt x="562647" y="6858002"/>
                </a:cubicBezTo>
                <a:cubicBezTo>
                  <a:pt x="558829" y="6856095"/>
                  <a:pt x="555010" y="6852280"/>
                  <a:pt x="553101" y="6846557"/>
                </a:cubicBezTo>
                <a:cubicBezTo>
                  <a:pt x="549282" y="6840835"/>
                  <a:pt x="549282" y="6835113"/>
                  <a:pt x="549282" y="6829390"/>
                </a:cubicBezTo>
                <a:cubicBezTo>
                  <a:pt x="549282" y="6814131"/>
                  <a:pt x="556919" y="6800778"/>
                  <a:pt x="570284" y="6793148"/>
                </a:cubicBezTo>
                <a:cubicBezTo>
                  <a:pt x="570284" y="6793148"/>
                  <a:pt x="570284" y="6793148"/>
                  <a:pt x="910143" y="6623384"/>
                </a:cubicBezTo>
                <a:cubicBezTo>
                  <a:pt x="919690" y="6617661"/>
                  <a:pt x="930191" y="6616707"/>
                  <a:pt x="939737" y="6619807"/>
                </a:cubicBezTo>
                <a:close/>
                <a:moveTo>
                  <a:pt x="4850617" y="6606629"/>
                </a:moveTo>
                <a:cubicBezTo>
                  <a:pt x="4860373" y="6609729"/>
                  <a:pt x="4868941" y="6616404"/>
                  <a:pt x="4873699" y="6625941"/>
                </a:cubicBezTo>
                <a:cubicBezTo>
                  <a:pt x="4883215" y="6645014"/>
                  <a:pt x="4875601" y="6667901"/>
                  <a:pt x="4856565" y="6677438"/>
                </a:cubicBezTo>
                <a:cubicBezTo>
                  <a:pt x="4856565" y="6677438"/>
                  <a:pt x="4856565" y="6677438"/>
                  <a:pt x="4519631" y="6852909"/>
                </a:cubicBezTo>
                <a:cubicBezTo>
                  <a:pt x="4500595" y="6864352"/>
                  <a:pt x="4477751" y="6856723"/>
                  <a:pt x="4466331" y="6837650"/>
                </a:cubicBezTo>
                <a:cubicBezTo>
                  <a:pt x="4464427" y="6831928"/>
                  <a:pt x="4462523" y="6824299"/>
                  <a:pt x="4462523" y="6818577"/>
                </a:cubicBezTo>
                <a:cubicBezTo>
                  <a:pt x="4462523" y="6805226"/>
                  <a:pt x="4470137" y="6791875"/>
                  <a:pt x="4483463" y="6784246"/>
                </a:cubicBezTo>
                <a:cubicBezTo>
                  <a:pt x="4483463" y="6784246"/>
                  <a:pt x="4483463" y="6784246"/>
                  <a:pt x="4820397" y="6608775"/>
                </a:cubicBezTo>
                <a:cubicBezTo>
                  <a:pt x="4829915" y="6604007"/>
                  <a:pt x="4840861" y="6603530"/>
                  <a:pt x="4850617" y="6606629"/>
                </a:cubicBezTo>
                <a:close/>
                <a:moveTo>
                  <a:pt x="1485707" y="6606629"/>
                </a:moveTo>
                <a:cubicBezTo>
                  <a:pt x="1494987" y="6609729"/>
                  <a:pt x="1503078" y="6616404"/>
                  <a:pt x="1507836" y="6625941"/>
                </a:cubicBezTo>
                <a:cubicBezTo>
                  <a:pt x="1519258" y="6645014"/>
                  <a:pt x="1511644" y="6667901"/>
                  <a:pt x="1492608" y="6677438"/>
                </a:cubicBezTo>
                <a:cubicBezTo>
                  <a:pt x="1492608" y="6677438"/>
                  <a:pt x="1492608" y="6677438"/>
                  <a:pt x="1153769" y="6852909"/>
                </a:cubicBezTo>
                <a:cubicBezTo>
                  <a:pt x="1134733" y="6864352"/>
                  <a:pt x="1111890" y="6856723"/>
                  <a:pt x="1102372" y="6837650"/>
                </a:cubicBezTo>
                <a:cubicBezTo>
                  <a:pt x="1098565" y="6831928"/>
                  <a:pt x="1098565" y="6824299"/>
                  <a:pt x="1098565" y="6818577"/>
                </a:cubicBezTo>
                <a:cubicBezTo>
                  <a:pt x="1098565" y="6805226"/>
                  <a:pt x="1106179" y="6791875"/>
                  <a:pt x="1119504" y="6784246"/>
                </a:cubicBezTo>
                <a:cubicBezTo>
                  <a:pt x="1119504" y="6784246"/>
                  <a:pt x="1119504" y="6784246"/>
                  <a:pt x="1456440" y="6608775"/>
                </a:cubicBezTo>
                <a:cubicBezTo>
                  <a:pt x="1465958" y="6604007"/>
                  <a:pt x="1476427" y="6603530"/>
                  <a:pt x="1485707" y="6606629"/>
                </a:cubicBezTo>
                <a:close/>
                <a:moveTo>
                  <a:pt x="4291151" y="6592968"/>
                </a:moveTo>
                <a:cubicBezTo>
                  <a:pt x="4300437" y="6595588"/>
                  <a:pt x="4308533" y="6601779"/>
                  <a:pt x="4313295" y="6611304"/>
                </a:cubicBezTo>
                <a:cubicBezTo>
                  <a:pt x="4322821" y="6630354"/>
                  <a:pt x="4317105" y="6653214"/>
                  <a:pt x="4298055" y="6662739"/>
                </a:cubicBezTo>
                <a:cubicBezTo>
                  <a:pt x="4298055" y="6662739"/>
                  <a:pt x="4298055" y="6662739"/>
                  <a:pt x="3960865" y="6841809"/>
                </a:cubicBezTo>
                <a:cubicBezTo>
                  <a:pt x="3941815" y="6853239"/>
                  <a:pt x="3918955" y="6845619"/>
                  <a:pt x="3909431" y="6826569"/>
                </a:cubicBezTo>
                <a:cubicBezTo>
                  <a:pt x="3905621" y="6820854"/>
                  <a:pt x="3903715" y="6815139"/>
                  <a:pt x="3903715" y="6809424"/>
                </a:cubicBezTo>
                <a:cubicBezTo>
                  <a:pt x="3903715" y="6796089"/>
                  <a:pt x="3911335" y="6782754"/>
                  <a:pt x="3924671" y="6775134"/>
                </a:cubicBezTo>
                <a:cubicBezTo>
                  <a:pt x="3924671" y="6775134"/>
                  <a:pt x="3924671" y="6775134"/>
                  <a:pt x="4261861" y="6596064"/>
                </a:cubicBezTo>
                <a:cubicBezTo>
                  <a:pt x="4271387" y="6591301"/>
                  <a:pt x="4281863" y="6590349"/>
                  <a:pt x="4291151" y="6592968"/>
                </a:cubicBezTo>
                <a:close/>
                <a:moveTo>
                  <a:pt x="2037028" y="6592968"/>
                </a:moveTo>
                <a:cubicBezTo>
                  <a:pt x="2046315" y="6595587"/>
                  <a:pt x="2054888" y="6601779"/>
                  <a:pt x="2060603" y="6611304"/>
                </a:cubicBezTo>
                <a:cubicBezTo>
                  <a:pt x="2070128" y="6630354"/>
                  <a:pt x="2062508" y="6653214"/>
                  <a:pt x="2043458" y="6662739"/>
                </a:cubicBezTo>
                <a:cubicBezTo>
                  <a:pt x="2043458" y="6662739"/>
                  <a:pt x="2043458" y="6662739"/>
                  <a:pt x="1706268" y="6841809"/>
                </a:cubicBezTo>
                <a:cubicBezTo>
                  <a:pt x="1687218" y="6853239"/>
                  <a:pt x="1664357" y="6845619"/>
                  <a:pt x="1654832" y="6826569"/>
                </a:cubicBezTo>
                <a:cubicBezTo>
                  <a:pt x="1652927" y="6820854"/>
                  <a:pt x="1651022" y="6815139"/>
                  <a:pt x="1651022" y="6809424"/>
                </a:cubicBezTo>
                <a:cubicBezTo>
                  <a:pt x="1651022" y="6796089"/>
                  <a:pt x="1658642" y="6782754"/>
                  <a:pt x="1670072" y="6775134"/>
                </a:cubicBezTo>
                <a:cubicBezTo>
                  <a:pt x="1670072" y="6775134"/>
                  <a:pt x="1670072" y="6775134"/>
                  <a:pt x="2009167" y="6596064"/>
                </a:cubicBezTo>
                <a:cubicBezTo>
                  <a:pt x="2017740" y="6591301"/>
                  <a:pt x="2027741" y="6590349"/>
                  <a:pt x="2037028" y="6592968"/>
                </a:cubicBezTo>
                <a:close/>
                <a:moveTo>
                  <a:pt x="3727793" y="6578028"/>
                </a:moveTo>
                <a:cubicBezTo>
                  <a:pt x="3736849" y="6580642"/>
                  <a:pt x="3744951" y="6586818"/>
                  <a:pt x="3749717" y="6595371"/>
                </a:cubicBezTo>
                <a:cubicBezTo>
                  <a:pt x="3759251" y="6614376"/>
                  <a:pt x="3753531" y="6635282"/>
                  <a:pt x="3734465" y="6646685"/>
                </a:cubicBezTo>
                <a:cubicBezTo>
                  <a:pt x="3734465" y="6646685"/>
                  <a:pt x="3734465" y="6646685"/>
                  <a:pt x="3397020" y="6831037"/>
                </a:cubicBezTo>
                <a:cubicBezTo>
                  <a:pt x="3379861" y="6840539"/>
                  <a:pt x="3356984" y="6832937"/>
                  <a:pt x="3347451" y="6815832"/>
                </a:cubicBezTo>
                <a:cubicBezTo>
                  <a:pt x="3343638" y="6810131"/>
                  <a:pt x="3341732" y="6804429"/>
                  <a:pt x="3341732" y="6798728"/>
                </a:cubicBezTo>
                <a:cubicBezTo>
                  <a:pt x="3341732" y="6785424"/>
                  <a:pt x="3349358" y="6772120"/>
                  <a:pt x="3362703" y="6764518"/>
                </a:cubicBezTo>
                <a:cubicBezTo>
                  <a:pt x="3362703" y="6764518"/>
                  <a:pt x="3362703" y="6764518"/>
                  <a:pt x="3700149" y="6582067"/>
                </a:cubicBezTo>
                <a:cubicBezTo>
                  <a:pt x="3708729" y="6576365"/>
                  <a:pt x="3718737" y="6575415"/>
                  <a:pt x="3727793" y="6578028"/>
                </a:cubicBezTo>
                <a:close/>
                <a:moveTo>
                  <a:pt x="2592715" y="6578028"/>
                </a:moveTo>
                <a:cubicBezTo>
                  <a:pt x="2601771" y="6580641"/>
                  <a:pt x="2609874" y="6586818"/>
                  <a:pt x="2614640" y="6595371"/>
                </a:cubicBezTo>
                <a:cubicBezTo>
                  <a:pt x="2624172" y="6614376"/>
                  <a:pt x="2618453" y="6635282"/>
                  <a:pt x="2599388" y="6646685"/>
                </a:cubicBezTo>
                <a:cubicBezTo>
                  <a:pt x="2599388" y="6646685"/>
                  <a:pt x="2599388" y="6646685"/>
                  <a:pt x="2261942" y="6831037"/>
                </a:cubicBezTo>
                <a:cubicBezTo>
                  <a:pt x="2244783" y="6840539"/>
                  <a:pt x="2221906" y="6832937"/>
                  <a:pt x="2212373" y="6815832"/>
                </a:cubicBezTo>
                <a:cubicBezTo>
                  <a:pt x="2208560" y="6810131"/>
                  <a:pt x="2206654" y="6804429"/>
                  <a:pt x="2206654" y="6798728"/>
                </a:cubicBezTo>
                <a:cubicBezTo>
                  <a:pt x="2206654" y="6785424"/>
                  <a:pt x="2214280" y="6772120"/>
                  <a:pt x="2225719" y="6764518"/>
                </a:cubicBezTo>
                <a:cubicBezTo>
                  <a:pt x="2225719" y="6764518"/>
                  <a:pt x="2225719" y="6764518"/>
                  <a:pt x="2565071" y="6582067"/>
                </a:cubicBezTo>
                <a:cubicBezTo>
                  <a:pt x="2573651" y="6576365"/>
                  <a:pt x="2583660" y="6575415"/>
                  <a:pt x="2592715" y="6578028"/>
                </a:cubicBezTo>
                <a:close/>
                <a:moveTo>
                  <a:pt x="3153207" y="6564133"/>
                </a:moveTo>
                <a:cubicBezTo>
                  <a:pt x="3162235" y="6566506"/>
                  <a:pt x="3170313" y="6572201"/>
                  <a:pt x="3175065" y="6580744"/>
                </a:cubicBezTo>
                <a:cubicBezTo>
                  <a:pt x="3184568" y="6599727"/>
                  <a:pt x="3178866" y="6620609"/>
                  <a:pt x="3161760" y="6630101"/>
                </a:cubicBezTo>
                <a:cubicBezTo>
                  <a:pt x="3161760" y="6630101"/>
                  <a:pt x="3161760" y="6630101"/>
                  <a:pt x="2825344" y="6819936"/>
                </a:cubicBezTo>
                <a:cubicBezTo>
                  <a:pt x="2808238" y="6829427"/>
                  <a:pt x="2785430" y="6823732"/>
                  <a:pt x="2775927" y="6804749"/>
                </a:cubicBezTo>
                <a:cubicBezTo>
                  <a:pt x="2772126" y="6799054"/>
                  <a:pt x="2770225" y="6793359"/>
                  <a:pt x="2770225" y="6787664"/>
                </a:cubicBezTo>
                <a:cubicBezTo>
                  <a:pt x="2770225" y="6774375"/>
                  <a:pt x="2777828" y="6762985"/>
                  <a:pt x="2789232" y="6757290"/>
                </a:cubicBezTo>
                <a:cubicBezTo>
                  <a:pt x="2789232" y="6757290"/>
                  <a:pt x="2789232" y="6757290"/>
                  <a:pt x="3125648" y="6567455"/>
                </a:cubicBezTo>
                <a:cubicBezTo>
                  <a:pt x="3134201" y="6562710"/>
                  <a:pt x="3144179" y="6561760"/>
                  <a:pt x="3153207" y="6564133"/>
                </a:cubicBezTo>
                <a:close/>
                <a:moveTo>
                  <a:pt x="6502939" y="6327421"/>
                </a:moveTo>
                <a:cubicBezTo>
                  <a:pt x="6512949" y="6330738"/>
                  <a:pt x="6521527" y="6337846"/>
                  <a:pt x="6526293" y="6348272"/>
                </a:cubicBezTo>
                <a:cubicBezTo>
                  <a:pt x="6535827" y="6367227"/>
                  <a:pt x="6528201" y="6391869"/>
                  <a:pt x="6507229" y="6401346"/>
                </a:cubicBezTo>
                <a:cubicBezTo>
                  <a:pt x="6507229" y="6401346"/>
                  <a:pt x="6507229" y="6401346"/>
                  <a:pt x="6167883" y="6564361"/>
                </a:cubicBezTo>
                <a:cubicBezTo>
                  <a:pt x="6146911" y="6573839"/>
                  <a:pt x="6122129" y="6566257"/>
                  <a:pt x="6112595" y="6545406"/>
                </a:cubicBezTo>
                <a:cubicBezTo>
                  <a:pt x="6110689" y="6539719"/>
                  <a:pt x="6108783" y="6534033"/>
                  <a:pt x="6108783" y="6528346"/>
                </a:cubicBezTo>
                <a:cubicBezTo>
                  <a:pt x="6108783" y="6513182"/>
                  <a:pt x="6118315" y="6498018"/>
                  <a:pt x="6131661" y="6490436"/>
                </a:cubicBezTo>
                <a:cubicBezTo>
                  <a:pt x="6131661" y="6490436"/>
                  <a:pt x="6131661" y="6490436"/>
                  <a:pt x="6471007" y="6329316"/>
                </a:cubicBezTo>
                <a:cubicBezTo>
                  <a:pt x="6481493" y="6324578"/>
                  <a:pt x="6492931" y="6324104"/>
                  <a:pt x="6502939" y="6327421"/>
                </a:cubicBezTo>
                <a:close/>
                <a:moveTo>
                  <a:pt x="5955879" y="6313171"/>
                </a:moveTo>
                <a:cubicBezTo>
                  <a:pt x="5965411" y="6316505"/>
                  <a:pt x="5973513" y="6323648"/>
                  <a:pt x="5978279" y="6334126"/>
                </a:cubicBezTo>
                <a:cubicBezTo>
                  <a:pt x="5989719" y="6353176"/>
                  <a:pt x="5980185" y="6377941"/>
                  <a:pt x="5961121" y="6387466"/>
                </a:cubicBezTo>
                <a:cubicBezTo>
                  <a:pt x="5961121" y="6387466"/>
                  <a:pt x="5961121" y="6387466"/>
                  <a:pt x="5621775" y="6553201"/>
                </a:cubicBezTo>
                <a:cubicBezTo>
                  <a:pt x="5600803" y="6562726"/>
                  <a:pt x="5576021" y="6553201"/>
                  <a:pt x="5566487" y="6534151"/>
                </a:cubicBezTo>
                <a:cubicBezTo>
                  <a:pt x="5564581" y="6528436"/>
                  <a:pt x="5562675" y="6522721"/>
                  <a:pt x="5562675" y="6517006"/>
                </a:cubicBezTo>
                <a:cubicBezTo>
                  <a:pt x="5562675" y="6501766"/>
                  <a:pt x="5572207" y="6486526"/>
                  <a:pt x="5585553" y="6478906"/>
                </a:cubicBezTo>
                <a:cubicBezTo>
                  <a:pt x="5585553" y="6478906"/>
                  <a:pt x="5585553" y="6478906"/>
                  <a:pt x="5924899" y="6315076"/>
                </a:cubicBezTo>
                <a:cubicBezTo>
                  <a:pt x="5935385" y="6310313"/>
                  <a:pt x="5946347" y="6309837"/>
                  <a:pt x="5955879" y="6313171"/>
                </a:cubicBezTo>
                <a:close/>
                <a:moveTo>
                  <a:pt x="396080" y="6313171"/>
                </a:moveTo>
                <a:cubicBezTo>
                  <a:pt x="405821" y="6316504"/>
                  <a:pt x="414374" y="6323648"/>
                  <a:pt x="419126" y="6334126"/>
                </a:cubicBezTo>
                <a:cubicBezTo>
                  <a:pt x="428630" y="6353176"/>
                  <a:pt x="421027" y="6377941"/>
                  <a:pt x="400119" y="6387466"/>
                </a:cubicBezTo>
                <a:cubicBezTo>
                  <a:pt x="400119" y="6387466"/>
                  <a:pt x="400119" y="6387466"/>
                  <a:pt x="63685" y="6553201"/>
                </a:cubicBezTo>
                <a:cubicBezTo>
                  <a:pt x="42777" y="6562726"/>
                  <a:pt x="18067" y="6553201"/>
                  <a:pt x="8564" y="6534151"/>
                </a:cubicBezTo>
                <a:cubicBezTo>
                  <a:pt x="6663" y="6528436"/>
                  <a:pt x="4762" y="6522721"/>
                  <a:pt x="4762" y="6517006"/>
                </a:cubicBezTo>
                <a:cubicBezTo>
                  <a:pt x="4762" y="6501766"/>
                  <a:pt x="12365" y="6486526"/>
                  <a:pt x="27571" y="6478906"/>
                </a:cubicBezTo>
                <a:cubicBezTo>
                  <a:pt x="27571" y="6478906"/>
                  <a:pt x="27571" y="6478906"/>
                  <a:pt x="365905" y="6315076"/>
                </a:cubicBezTo>
                <a:cubicBezTo>
                  <a:pt x="375409" y="6310313"/>
                  <a:pt x="386338" y="6309837"/>
                  <a:pt x="396080" y="6313171"/>
                </a:cubicBezTo>
                <a:close/>
                <a:moveTo>
                  <a:pt x="5405347" y="6300224"/>
                </a:moveTo>
                <a:cubicBezTo>
                  <a:pt x="5415089" y="6303315"/>
                  <a:pt x="5423643" y="6309975"/>
                  <a:pt x="5429345" y="6319488"/>
                </a:cubicBezTo>
                <a:cubicBezTo>
                  <a:pt x="5438847" y="6340417"/>
                  <a:pt x="5431245" y="6363250"/>
                  <a:pt x="5410337" y="6372763"/>
                </a:cubicBezTo>
                <a:cubicBezTo>
                  <a:pt x="5410337" y="6372763"/>
                  <a:pt x="5410337" y="6372763"/>
                  <a:pt x="5072003" y="6540198"/>
                </a:cubicBezTo>
                <a:cubicBezTo>
                  <a:pt x="5052995" y="6551614"/>
                  <a:pt x="5028285" y="6542100"/>
                  <a:pt x="5018781" y="6523074"/>
                </a:cubicBezTo>
                <a:cubicBezTo>
                  <a:pt x="5016881" y="6517366"/>
                  <a:pt x="5014979" y="6511658"/>
                  <a:pt x="5014979" y="6505950"/>
                </a:cubicBezTo>
                <a:cubicBezTo>
                  <a:pt x="5014979" y="6490728"/>
                  <a:pt x="5022583" y="6475507"/>
                  <a:pt x="5037789" y="6469799"/>
                </a:cubicBezTo>
                <a:cubicBezTo>
                  <a:pt x="5037789" y="6469799"/>
                  <a:pt x="5037789" y="6469799"/>
                  <a:pt x="5374223" y="6302364"/>
                </a:cubicBezTo>
                <a:cubicBezTo>
                  <a:pt x="5384677" y="6297608"/>
                  <a:pt x="5395607" y="6297132"/>
                  <a:pt x="5405347" y="6300224"/>
                </a:cubicBezTo>
                <a:close/>
                <a:moveTo>
                  <a:pt x="940479" y="6300224"/>
                </a:moveTo>
                <a:cubicBezTo>
                  <a:pt x="950257" y="6303315"/>
                  <a:pt x="958842" y="6309975"/>
                  <a:pt x="963612" y="6319488"/>
                </a:cubicBezTo>
                <a:cubicBezTo>
                  <a:pt x="973151" y="6340417"/>
                  <a:pt x="965519" y="6363250"/>
                  <a:pt x="944533" y="6372763"/>
                </a:cubicBezTo>
                <a:cubicBezTo>
                  <a:pt x="944533" y="6372763"/>
                  <a:pt x="944533" y="6372763"/>
                  <a:pt x="606839" y="6540198"/>
                </a:cubicBezTo>
                <a:cubicBezTo>
                  <a:pt x="585852" y="6551614"/>
                  <a:pt x="562958" y="6542100"/>
                  <a:pt x="551511" y="6523074"/>
                </a:cubicBezTo>
                <a:cubicBezTo>
                  <a:pt x="549603" y="6517366"/>
                  <a:pt x="547695" y="6511658"/>
                  <a:pt x="547695" y="6505950"/>
                </a:cubicBezTo>
                <a:cubicBezTo>
                  <a:pt x="547695" y="6490728"/>
                  <a:pt x="557234" y="6475507"/>
                  <a:pt x="570589" y="6469799"/>
                </a:cubicBezTo>
                <a:cubicBezTo>
                  <a:pt x="570589" y="6469799"/>
                  <a:pt x="570589" y="6469799"/>
                  <a:pt x="910191" y="6302364"/>
                </a:cubicBezTo>
                <a:cubicBezTo>
                  <a:pt x="919731" y="6297608"/>
                  <a:pt x="930701" y="6297132"/>
                  <a:pt x="940479" y="6300224"/>
                </a:cubicBezTo>
                <a:close/>
                <a:moveTo>
                  <a:pt x="4851417" y="6285982"/>
                </a:moveTo>
                <a:cubicBezTo>
                  <a:pt x="4860955" y="6289093"/>
                  <a:pt x="4869541" y="6295793"/>
                  <a:pt x="4875265" y="6305364"/>
                </a:cubicBezTo>
                <a:cubicBezTo>
                  <a:pt x="4884803" y="6324508"/>
                  <a:pt x="4877173" y="6349394"/>
                  <a:pt x="4856185" y="6358966"/>
                </a:cubicBezTo>
                <a:cubicBezTo>
                  <a:pt x="4856185" y="6358966"/>
                  <a:pt x="4856185" y="6358966"/>
                  <a:pt x="4518493" y="6529342"/>
                </a:cubicBezTo>
                <a:cubicBezTo>
                  <a:pt x="4497505" y="6538914"/>
                  <a:pt x="4474611" y="6531256"/>
                  <a:pt x="4465071" y="6512113"/>
                </a:cubicBezTo>
                <a:cubicBezTo>
                  <a:pt x="4461255" y="6506370"/>
                  <a:pt x="4459347" y="6500627"/>
                  <a:pt x="4459347" y="6494884"/>
                </a:cubicBezTo>
                <a:cubicBezTo>
                  <a:pt x="4459347" y="6479569"/>
                  <a:pt x="4468887" y="6466169"/>
                  <a:pt x="4482243" y="6458512"/>
                </a:cubicBezTo>
                <a:cubicBezTo>
                  <a:pt x="4482243" y="6458512"/>
                  <a:pt x="4482243" y="6458512"/>
                  <a:pt x="4821845" y="6288135"/>
                </a:cubicBezTo>
                <a:cubicBezTo>
                  <a:pt x="4831385" y="6283350"/>
                  <a:pt x="4841877" y="6282871"/>
                  <a:pt x="4851417" y="6285982"/>
                </a:cubicBezTo>
                <a:close/>
                <a:moveTo>
                  <a:pt x="1486683" y="6285982"/>
                </a:moveTo>
                <a:cubicBezTo>
                  <a:pt x="1496432" y="6289093"/>
                  <a:pt x="1504992" y="6295793"/>
                  <a:pt x="1509747" y="6305364"/>
                </a:cubicBezTo>
                <a:cubicBezTo>
                  <a:pt x="1519258" y="6324508"/>
                  <a:pt x="1511649" y="6349394"/>
                  <a:pt x="1492628" y="6358966"/>
                </a:cubicBezTo>
                <a:cubicBezTo>
                  <a:pt x="1492628" y="6358966"/>
                  <a:pt x="1492628" y="6358966"/>
                  <a:pt x="1154042" y="6529342"/>
                </a:cubicBezTo>
                <a:cubicBezTo>
                  <a:pt x="1135020" y="6538914"/>
                  <a:pt x="1110292" y="6531256"/>
                  <a:pt x="1100781" y="6512113"/>
                </a:cubicBezTo>
                <a:cubicBezTo>
                  <a:pt x="1098879" y="6506370"/>
                  <a:pt x="1096977" y="6500627"/>
                  <a:pt x="1096977" y="6494884"/>
                </a:cubicBezTo>
                <a:cubicBezTo>
                  <a:pt x="1096977" y="6479569"/>
                  <a:pt x="1104586" y="6466169"/>
                  <a:pt x="1117901" y="6458512"/>
                </a:cubicBezTo>
                <a:cubicBezTo>
                  <a:pt x="1117901" y="6458512"/>
                  <a:pt x="1117901" y="6458512"/>
                  <a:pt x="1456487" y="6288135"/>
                </a:cubicBezTo>
                <a:cubicBezTo>
                  <a:pt x="1465998" y="6283350"/>
                  <a:pt x="1476935" y="6282871"/>
                  <a:pt x="1486683" y="6285982"/>
                </a:cubicBezTo>
                <a:close/>
                <a:moveTo>
                  <a:pt x="4292547" y="6273228"/>
                </a:moveTo>
                <a:cubicBezTo>
                  <a:pt x="4302059" y="6276316"/>
                  <a:pt x="4310143" y="6282967"/>
                  <a:pt x="4314899" y="6292469"/>
                </a:cubicBezTo>
                <a:cubicBezTo>
                  <a:pt x="4324409" y="6311473"/>
                  <a:pt x="4316801" y="6334277"/>
                  <a:pt x="4297779" y="6345679"/>
                </a:cubicBezTo>
                <a:cubicBezTo>
                  <a:pt x="4297779" y="6345679"/>
                  <a:pt x="4297779" y="6345679"/>
                  <a:pt x="3961095" y="6516712"/>
                </a:cubicBezTo>
                <a:cubicBezTo>
                  <a:pt x="3940171" y="6526214"/>
                  <a:pt x="3917345" y="6518612"/>
                  <a:pt x="3907835" y="6499609"/>
                </a:cubicBezTo>
                <a:cubicBezTo>
                  <a:pt x="3904031" y="6493908"/>
                  <a:pt x="3902127" y="6488206"/>
                  <a:pt x="3902127" y="6482505"/>
                </a:cubicBezTo>
                <a:cubicBezTo>
                  <a:pt x="3902127" y="6467302"/>
                  <a:pt x="3911639" y="6454000"/>
                  <a:pt x="3924955" y="6446398"/>
                </a:cubicBezTo>
                <a:cubicBezTo>
                  <a:pt x="3924955" y="6446398"/>
                  <a:pt x="3924955" y="6446398"/>
                  <a:pt x="4261637" y="6275366"/>
                </a:cubicBezTo>
                <a:cubicBezTo>
                  <a:pt x="4272099" y="6270615"/>
                  <a:pt x="4283037" y="6270140"/>
                  <a:pt x="4292547" y="6273228"/>
                </a:cubicBezTo>
                <a:close/>
                <a:moveTo>
                  <a:pt x="2038428" y="6273228"/>
                </a:moveTo>
                <a:cubicBezTo>
                  <a:pt x="2047939" y="6276316"/>
                  <a:pt x="2056499" y="6282967"/>
                  <a:pt x="2062205" y="6292469"/>
                </a:cubicBezTo>
                <a:cubicBezTo>
                  <a:pt x="2071716" y="6311473"/>
                  <a:pt x="2064107" y="6334277"/>
                  <a:pt x="2045086" y="6345679"/>
                </a:cubicBezTo>
                <a:cubicBezTo>
                  <a:pt x="2045086" y="6345679"/>
                  <a:pt x="2045086" y="6345679"/>
                  <a:pt x="1706500" y="6516712"/>
                </a:cubicBezTo>
                <a:cubicBezTo>
                  <a:pt x="1687478" y="6526214"/>
                  <a:pt x="1662750" y="6518612"/>
                  <a:pt x="1653239" y="6499609"/>
                </a:cubicBezTo>
                <a:cubicBezTo>
                  <a:pt x="1651337" y="6493908"/>
                  <a:pt x="1649435" y="6488206"/>
                  <a:pt x="1649435" y="6482505"/>
                </a:cubicBezTo>
                <a:cubicBezTo>
                  <a:pt x="1649435" y="6467302"/>
                  <a:pt x="1657044" y="6454000"/>
                  <a:pt x="1670359" y="6446398"/>
                </a:cubicBezTo>
                <a:cubicBezTo>
                  <a:pt x="1670359" y="6446398"/>
                  <a:pt x="1670359" y="6446398"/>
                  <a:pt x="2008945" y="6275366"/>
                </a:cubicBezTo>
                <a:cubicBezTo>
                  <a:pt x="2018456" y="6270615"/>
                  <a:pt x="2028917" y="6270140"/>
                  <a:pt x="2038428" y="6273228"/>
                </a:cubicBezTo>
                <a:close/>
                <a:moveTo>
                  <a:pt x="3729191" y="6260519"/>
                </a:moveTo>
                <a:cubicBezTo>
                  <a:pt x="3738471" y="6263603"/>
                  <a:pt x="3746563" y="6270247"/>
                  <a:pt x="3751321" y="6279737"/>
                </a:cubicBezTo>
                <a:cubicBezTo>
                  <a:pt x="3760839" y="6298718"/>
                  <a:pt x="3755127" y="6321495"/>
                  <a:pt x="3736091" y="6330986"/>
                </a:cubicBezTo>
                <a:cubicBezTo>
                  <a:pt x="3736091" y="6330986"/>
                  <a:pt x="3736091" y="6330986"/>
                  <a:pt x="3397253" y="6505611"/>
                </a:cubicBezTo>
                <a:cubicBezTo>
                  <a:pt x="3378217" y="6515102"/>
                  <a:pt x="3355374" y="6507509"/>
                  <a:pt x="3345856" y="6488528"/>
                </a:cubicBezTo>
                <a:cubicBezTo>
                  <a:pt x="3342049" y="6482834"/>
                  <a:pt x="3340145" y="6477140"/>
                  <a:pt x="3340145" y="6469547"/>
                </a:cubicBezTo>
                <a:cubicBezTo>
                  <a:pt x="3340145" y="6456261"/>
                  <a:pt x="3347759" y="6442974"/>
                  <a:pt x="3361084" y="6435381"/>
                </a:cubicBezTo>
                <a:cubicBezTo>
                  <a:pt x="3361084" y="6435381"/>
                  <a:pt x="3361084" y="6435381"/>
                  <a:pt x="3699923" y="6262654"/>
                </a:cubicBezTo>
                <a:cubicBezTo>
                  <a:pt x="3709441" y="6257909"/>
                  <a:pt x="3719911" y="6257435"/>
                  <a:pt x="3729191" y="6260519"/>
                </a:cubicBezTo>
                <a:close/>
                <a:moveTo>
                  <a:pt x="2595581" y="6260519"/>
                </a:moveTo>
                <a:cubicBezTo>
                  <a:pt x="2604896" y="6263603"/>
                  <a:pt x="2613017" y="6270247"/>
                  <a:pt x="2617794" y="6279737"/>
                </a:cubicBezTo>
                <a:cubicBezTo>
                  <a:pt x="2627348" y="6298718"/>
                  <a:pt x="2621616" y="6321495"/>
                  <a:pt x="2600597" y="6330986"/>
                </a:cubicBezTo>
                <a:cubicBezTo>
                  <a:pt x="2600597" y="6330986"/>
                  <a:pt x="2600597" y="6330986"/>
                  <a:pt x="2262390" y="6505611"/>
                </a:cubicBezTo>
                <a:cubicBezTo>
                  <a:pt x="2243282" y="6515102"/>
                  <a:pt x="2220353" y="6507509"/>
                  <a:pt x="2210799" y="6488528"/>
                </a:cubicBezTo>
                <a:cubicBezTo>
                  <a:pt x="2206978" y="6482834"/>
                  <a:pt x="2205067" y="6477140"/>
                  <a:pt x="2205067" y="6469547"/>
                </a:cubicBezTo>
                <a:cubicBezTo>
                  <a:pt x="2205067" y="6456261"/>
                  <a:pt x="2212710" y="6442974"/>
                  <a:pt x="2226086" y="6435381"/>
                </a:cubicBezTo>
                <a:cubicBezTo>
                  <a:pt x="2226086" y="6435381"/>
                  <a:pt x="2226086" y="6435381"/>
                  <a:pt x="2566203" y="6262654"/>
                </a:cubicBezTo>
                <a:cubicBezTo>
                  <a:pt x="2575757" y="6257909"/>
                  <a:pt x="2586266" y="6257435"/>
                  <a:pt x="2595581" y="6260519"/>
                </a:cubicBezTo>
                <a:close/>
                <a:moveTo>
                  <a:pt x="3155654" y="6245321"/>
                </a:moveTo>
                <a:cubicBezTo>
                  <a:pt x="3164969" y="6247947"/>
                  <a:pt x="3173090" y="6254153"/>
                  <a:pt x="3177866" y="6263701"/>
                </a:cubicBezTo>
                <a:cubicBezTo>
                  <a:pt x="3189331" y="6282797"/>
                  <a:pt x="3181688" y="6305712"/>
                  <a:pt x="3162580" y="6317169"/>
                </a:cubicBezTo>
                <a:cubicBezTo>
                  <a:pt x="3162580" y="6317169"/>
                  <a:pt x="3162580" y="6317169"/>
                  <a:pt x="2822462" y="6492853"/>
                </a:cubicBezTo>
                <a:cubicBezTo>
                  <a:pt x="2805265" y="6502401"/>
                  <a:pt x="2780425" y="6496672"/>
                  <a:pt x="2770872" y="6477576"/>
                </a:cubicBezTo>
                <a:cubicBezTo>
                  <a:pt x="2768961" y="6471847"/>
                  <a:pt x="2767050" y="6466118"/>
                  <a:pt x="2767050" y="6458480"/>
                </a:cubicBezTo>
                <a:cubicBezTo>
                  <a:pt x="2767050" y="6445113"/>
                  <a:pt x="2774693" y="6431746"/>
                  <a:pt x="2788069" y="6426017"/>
                </a:cubicBezTo>
                <a:cubicBezTo>
                  <a:pt x="2788069" y="6426017"/>
                  <a:pt x="2788069" y="6426017"/>
                  <a:pt x="3126275" y="6248424"/>
                </a:cubicBezTo>
                <a:cubicBezTo>
                  <a:pt x="3135829" y="6243650"/>
                  <a:pt x="3146339" y="6242695"/>
                  <a:pt x="3155654" y="6245321"/>
                </a:cubicBezTo>
                <a:close/>
                <a:moveTo>
                  <a:pt x="6502939" y="6003608"/>
                </a:moveTo>
                <a:cubicBezTo>
                  <a:pt x="6512947" y="6006942"/>
                  <a:pt x="6521527" y="6014085"/>
                  <a:pt x="6526293" y="6024563"/>
                </a:cubicBezTo>
                <a:cubicBezTo>
                  <a:pt x="6535827" y="6045518"/>
                  <a:pt x="6526293" y="6070283"/>
                  <a:pt x="6507229" y="6079808"/>
                </a:cubicBezTo>
                <a:cubicBezTo>
                  <a:pt x="6507229" y="6079808"/>
                  <a:pt x="6507229" y="6079808"/>
                  <a:pt x="6167883" y="6243638"/>
                </a:cubicBezTo>
                <a:cubicBezTo>
                  <a:pt x="6146911" y="6253163"/>
                  <a:pt x="6124035" y="6243638"/>
                  <a:pt x="6112595" y="6224588"/>
                </a:cubicBezTo>
                <a:cubicBezTo>
                  <a:pt x="6110689" y="6218873"/>
                  <a:pt x="6108783" y="6213158"/>
                  <a:pt x="6108783" y="6207443"/>
                </a:cubicBezTo>
                <a:cubicBezTo>
                  <a:pt x="6108783" y="6192203"/>
                  <a:pt x="6118315" y="6176963"/>
                  <a:pt x="6131661" y="6169343"/>
                </a:cubicBezTo>
                <a:cubicBezTo>
                  <a:pt x="6131661" y="6169343"/>
                  <a:pt x="6131661" y="6169343"/>
                  <a:pt x="6471007" y="6005513"/>
                </a:cubicBezTo>
                <a:cubicBezTo>
                  <a:pt x="6481493" y="6000750"/>
                  <a:pt x="6492931" y="6000274"/>
                  <a:pt x="6502939" y="6003608"/>
                </a:cubicBezTo>
                <a:close/>
                <a:moveTo>
                  <a:pt x="5940775" y="5988309"/>
                </a:moveTo>
                <a:cubicBezTo>
                  <a:pt x="5956593" y="5987059"/>
                  <a:pt x="5971607" y="5995988"/>
                  <a:pt x="5980185" y="6010276"/>
                </a:cubicBezTo>
                <a:cubicBezTo>
                  <a:pt x="5989719" y="6031231"/>
                  <a:pt x="5980185" y="6055996"/>
                  <a:pt x="5961121" y="6065521"/>
                </a:cubicBezTo>
                <a:cubicBezTo>
                  <a:pt x="5961121" y="6065521"/>
                  <a:pt x="5961121" y="6065521"/>
                  <a:pt x="5621775" y="6229351"/>
                </a:cubicBezTo>
                <a:cubicBezTo>
                  <a:pt x="5600803" y="6238876"/>
                  <a:pt x="5576021" y="6231256"/>
                  <a:pt x="5566487" y="6210301"/>
                </a:cubicBezTo>
                <a:cubicBezTo>
                  <a:pt x="5564581" y="6204586"/>
                  <a:pt x="5562675" y="6198871"/>
                  <a:pt x="5562675" y="6193156"/>
                </a:cubicBezTo>
                <a:cubicBezTo>
                  <a:pt x="5562675" y="6177916"/>
                  <a:pt x="5570301" y="6162676"/>
                  <a:pt x="5585553" y="6156961"/>
                </a:cubicBezTo>
                <a:cubicBezTo>
                  <a:pt x="5585553" y="6156961"/>
                  <a:pt x="5585553" y="6156961"/>
                  <a:pt x="5924899" y="5993131"/>
                </a:cubicBezTo>
                <a:cubicBezTo>
                  <a:pt x="5930141" y="5990273"/>
                  <a:pt x="5935503" y="5988725"/>
                  <a:pt x="5940775" y="5988309"/>
                </a:cubicBezTo>
                <a:close/>
                <a:moveTo>
                  <a:pt x="380903" y="5988309"/>
                </a:moveTo>
                <a:cubicBezTo>
                  <a:pt x="396317" y="5987059"/>
                  <a:pt x="411998" y="5995988"/>
                  <a:pt x="419126" y="6010276"/>
                </a:cubicBezTo>
                <a:cubicBezTo>
                  <a:pt x="428630" y="6031231"/>
                  <a:pt x="421027" y="6055996"/>
                  <a:pt x="400119" y="6065521"/>
                </a:cubicBezTo>
                <a:cubicBezTo>
                  <a:pt x="400119" y="6065521"/>
                  <a:pt x="400119" y="6065521"/>
                  <a:pt x="63685" y="6229351"/>
                </a:cubicBezTo>
                <a:cubicBezTo>
                  <a:pt x="42777" y="6238876"/>
                  <a:pt x="18067" y="6231256"/>
                  <a:pt x="8564" y="6210301"/>
                </a:cubicBezTo>
                <a:cubicBezTo>
                  <a:pt x="6663" y="6204586"/>
                  <a:pt x="4762" y="6198871"/>
                  <a:pt x="4762" y="6193156"/>
                </a:cubicBezTo>
                <a:cubicBezTo>
                  <a:pt x="4762" y="6177916"/>
                  <a:pt x="12365" y="6162676"/>
                  <a:pt x="27571" y="6156961"/>
                </a:cubicBezTo>
                <a:cubicBezTo>
                  <a:pt x="27571" y="6156961"/>
                  <a:pt x="27571" y="6156961"/>
                  <a:pt x="365905" y="5993131"/>
                </a:cubicBezTo>
                <a:cubicBezTo>
                  <a:pt x="370657" y="5990273"/>
                  <a:pt x="375765" y="5988725"/>
                  <a:pt x="380903" y="5988309"/>
                </a:cubicBezTo>
                <a:close/>
                <a:moveTo>
                  <a:pt x="5406299" y="5978208"/>
                </a:moveTo>
                <a:cubicBezTo>
                  <a:pt x="5416039" y="5981542"/>
                  <a:pt x="5424593" y="5988685"/>
                  <a:pt x="5429345" y="5999163"/>
                </a:cubicBezTo>
                <a:cubicBezTo>
                  <a:pt x="5438847" y="6018213"/>
                  <a:pt x="5431245" y="6042978"/>
                  <a:pt x="5410337" y="6052503"/>
                </a:cubicBezTo>
                <a:cubicBezTo>
                  <a:pt x="5410337" y="6052503"/>
                  <a:pt x="5410337" y="6052503"/>
                  <a:pt x="5072003" y="6218238"/>
                </a:cubicBezTo>
                <a:cubicBezTo>
                  <a:pt x="5052995" y="6227763"/>
                  <a:pt x="5028285" y="6218238"/>
                  <a:pt x="5018781" y="6199188"/>
                </a:cubicBezTo>
                <a:cubicBezTo>
                  <a:pt x="5014979" y="6193473"/>
                  <a:pt x="5014979" y="6185853"/>
                  <a:pt x="5014979" y="6180138"/>
                </a:cubicBezTo>
                <a:cubicBezTo>
                  <a:pt x="5014979" y="6164898"/>
                  <a:pt x="5022583" y="6151563"/>
                  <a:pt x="5037789" y="6143943"/>
                </a:cubicBezTo>
                <a:cubicBezTo>
                  <a:pt x="5037789" y="6143943"/>
                  <a:pt x="5037789" y="6143943"/>
                  <a:pt x="5376123" y="5980113"/>
                </a:cubicBezTo>
                <a:cubicBezTo>
                  <a:pt x="5385627" y="5975350"/>
                  <a:pt x="5396557" y="5974874"/>
                  <a:pt x="5406299" y="5978208"/>
                </a:cubicBezTo>
                <a:close/>
                <a:moveTo>
                  <a:pt x="940184" y="5978208"/>
                </a:moveTo>
                <a:cubicBezTo>
                  <a:pt x="949954" y="5981541"/>
                  <a:pt x="958533" y="5988685"/>
                  <a:pt x="963299" y="5999163"/>
                </a:cubicBezTo>
                <a:cubicBezTo>
                  <a:pt x="974738" y="6018213"/>
                  <a:pt x="965206" y="6042978"/>
                  <a:pt x="944235" y="6052503"/>
                </a:cubicBezTo>
                <a:cubicBezTo>
                  <a:pt x="944235" y="6052503"/>
                  <a:pt x="944235" y="6052503"/>
                  <a:pt x="606795" y="6218238"/>
                </a:cubicBezTo>
                <a:cubicBezTo>
                  <a:pt x="585824" y="6227763"/>
                  <a:pt x="561040" y="6218238"/>
                  <a:pt x="551508" y="6199188"/>
                </a:cubicBezTo>
                <a:cubicBezTo>
                  <a:pt x="549601" y="6193473"/>
                  <a:pt x="547695" y="6185853"/>
                  <a:pt x="547695" y="6180138"/>
                </a:cubicBezTo>
                <a:cubicBezTo>
                  <a:pt x="547695" y="6164898"/>
                  <a:pt x="555321" y="6151563"/>
                  <a:pt x="570572" y="6143943"/>
                </a:cubicBezTo>
                <a:cubicBezTo>
                  <a:pt x="570572" y="6143943"/>
                  <a:pt x="570572" y="6143943"/>
                  <a:pt x="909919" y="5980113"/>
                </a:cubicBezTo>
                <a:cubicBezTo>
                  <a:pt x="919451" y="5975350"/>
                  <a:pt x="930413" y="5974874"/>
                  <a:pt x="940184" y="5978208"/>
                </a:cubicBezTo>
                <a:close/>
                <a:moveTo>
                  <a:pt x="4852131" y="5966222"/>
                </a:moveTo>
                <a:cubicBezTo>
                  <a:pt x="4861909" y="5969794"/>
                  <a:pt x="4870495" y="5976938"/>
                  <a:pt x="4875265" y="5986463"/>
                </a:cubicBezTo>
                <a:cubicBezTo>
                  <a:pt x="4884803" y="6007418"/>
                  <a:pt x="4877173" y="6032183"/>
                  <a:pt x="4856185" y="6041708"/>
                </a:cubicBezTo>
                <a:cubicBezTo>
                  <a:pt x="4856185" y="6041708"/>
                  <a:pt x="4856185" y="6041708"/>
                  <a:pt x="4516585" y="6205538"/>
                </a:cubicBezTo>
                <a:cubicBezTo>
                  <a:pt x="4497505" y="6215063"/>
                  <a:pt x="4472703" y="6207443"/>
                  <a:pt x="4463163" y="6186488"/>
                </a:cubicBezTo>
                <a:cubicBezTo>
                  <a:pt x="4459347" y="6180773"/>
                  <a:pt x="4459347" y="6175058"/>
                  <a:pt x="4459347" y="6169343"/>
                </a:cubicBezTo>
                <a:cubicBezTo>
                  <a:pt x="4459347" y="6154103"/>
                  <a:pt x="4466979" y="6138863"/>
                  <a:pt x="4482243" y="6131243"/>
                </a:cubicBezTo>
                <a:cubicBezTo>
                  <a:pt x="4482243" y="6131243"/>
                  <a:pt x="4482243" y="6131243"/>
                  <a:pt x="4821845" y="5967413"/>
                </a:cubicBezTo>
                <a:cubicBezTo>
                  <a:pt x="4831385" y="5962650"/>
                  <a:pt x="4842355" y="5962650"/>
                  <a:pt x="4852131" y="5966222"/>
                </a:cubicBezTo>
                <a:close/>
                <a:moveTo>
                  <a:pt x="1487959" y="5966222"/>
                </a:moveTo>
                <a:cubicBezTo>
                  <a:pt x="1497968" y="5969794"/>
                  <a:pt x="1506547" y="5976938"/>
                  <a:pt x="1511313" y="5986463"/>
                </a:cubicBezTo>
                <a:cubicBezTo>
                  <a:pt x="1520845" y="6007418"/>
                  <a:pt x="1513219" y="6032183"/>
                  <a:pt x="1492248" y="6041708"/>
                </a:cubicBezTo>
                <a:cubicBezTo>
                  <a:pt x="1492248" y="6041708"/>
                  <a:pt x="1492248" y="6041708"/>
                  <a:pt x="1152902" y="6205538"/>
                </a:cubicBezTo>
                <a:cubicBezTo>
                  <a:pt x="1131931" y="6215063"/>
                  <a:pt x="1109054" y="6207443"/>
                  <a:pt x="1097615" y="6186488"/>
                </a:cubicBezTo>
                <a:cubicBezTo>
                  <a:pt x="1095708" y="6180773"/>
                  <a:pt x="1093802" y="6175058"/>
                  <a:pt x="1093802" y="6169343"/>
                </a:cubicBezTo>
                <a:cubicBezTo>
                  <a:pt x="1093802" y="6154103"/>
                  <a:pt x="1103334" y="6138863"/>
                  <a:pt x="1116679" y="6131243"/>
                </a:cubicBezTo>
                <a:cubicBezTo>
                  <a:pt x="1116679" y="6131243"/>
                  <a:pt x="1116679" y="6131243"/>
                  <a:pt x="1456026" y="5967413"/>
                </a:cubicBezTo>
                <a:cubicBezTo>
                  <a:pt x="1466512" y="5962650"/>
                  <a:pt x="1477950" y="5962650"/>
                  <a:pt x="1487959" y="5966222"/>
                </a:cubicBezTo>
                <a:close/>
                <a:moveTo>
                  <a:pt x="4293447" y="5952817"/>
                </a:moveTo>
                <a:cubicBezTo>
                  <a:pt x="4303187" y="5956155"/>
                  <a:pt x="4311741" y="5963308"/>
                  <a:pt x="4316493" y="5973798"/>
                </a:cubicBezTo>
                <a:cubicBezTo>
                  <a:pt x="4325995" y="5992872"/>
                  <a:pt x="4318393" y="6017668"/>
                  <a:pt x="4297485" y="6027205"/>
                </a:cubicBezTo>
                <a:cubicBezTo>
                  <a:pt x="4297485" y="6027205"/>
                  <a:pt x="4297485" y="6027205"/>
                  <a:pt x="3959151" y="6191239"/>
                </a:cubicBezTo>
                <a:cubicBezTo>
                  <a:pt x="3940143" y="6200776"/>
                  <a:pt x="3915433" y="6193146"/>
                  <a:pt x="3905929" y="6172165"/>
                </a:cubicBezTo>
                <a:cubicBezTo>
                  <a:pt x="3902127" y="6166443"/>
                  <a:pt x="3902127" y="6160721"/>
                  <a:pt x="3902127" y="6154999"/>
                </a:cubicBezTo>
                <a:cubicBezTo>
                  <a:pt x="3902127" y="6139740"/>
                  <a:pt x="3909731" y="6124481"/>
                  <a:pt x="3924937" y="6118759"/>
                </a:cubicBezTo>
                <a:cubicBezTo>
                  <a:pt x="3924937" y="6118759"/>
                  <a:pt x="3924937" y="6118759"/>
                  <a:pt x="4263271" y="5954725"/>
                </a:cubicBezTo>
                <a:cubicBezTo>
                  <a:pt x="4272775" y="5949956"/>
                  <a:pt x="4283705" y="5949479"/>
                  <a:pt x="4293447" y="5952817"/>
                </a:cubicBezTo>
                <a:close/>
                <a:moveTo>
                  <a:pt x="2039827" y="5952817"/>
                </a:moveTo>
                <a:cubicBezTo>
                  <a:pt x="2049561" y="5956155"/>
                  <a:pt x="2058108" y="5963308"/>
                  <a:pt x="2063806" y="5973798"/>
                </a:cubicBezTo>
                <a:cubicBezTo>
                  <a:pt x="2073303" y="5992872"/>
                  <a:pt x="2063806" y="6017668"/>
                  <a:pt x="2044813" y="6027205"/>
                </a:cubicBezTo>
                <a:cubicBezTo>
                  <a:pt x="2044813" y="6027205"/>
                  <a:pt x="2044813" y="6027205"/>
                  <a:pt x="1706727" y="6191239"/>
                </a:cubicBezTo>
                <a:cubicBezTo>
                  <a:pt x="1685834" y="6200776"/>
                  <a:pt x="1661143" y="6193146"/>
                  <a:pt x="1651646" y="6172165"/>
                </a:cubicBezTo>
                <a:cubicBezTo>
                  <a:pt x="1649746" y="6166443"/>
                  <a:pt x="1647847" y="6160721"/>
                  <a:pt x="1647847" y="6154999"/>
                </a:cubicBezTo>
                <a:cubicBezTo>
                  <a:pt x="1647847" y="6139740"/>
                  <a:pt x="1655444" y="6124481"/>
                  <a:pt x="1670639" y="6118759"/>
                </a:cubicBezTo>
                <a:cubicBezTo>
                  <a:pt x="1670639" y="6118759"/>
                  <a:pt x="1670639" y="6118759"/>
                  <a:pt x="2008725" y="5954725"/>
                </a:cubicBezTo>
                <a:cubicBezTo>
                  <a:pt x="2019172" y="5949956"/>
                  <a:pt x="2030093" y="5949479"/>
                  <a:pt x="2039827" y="5952817"/>
                </a:cubicBezTo>
                <a:close/>
                <a:moveTo>
                  <a:pt x="3730413" y="5940108"/>
                </a:moveTo>
                <a:cubicBezTo>
                  <a:pt x="3740183" y="5943442"/>
                  <a:pt x="3748763" y="5950585"/>
                  <a:pt x="3754481" y="5961063"/>
                </a:cubicBezTo>
                <a:cubicBezTo>
                  <a:pt x="3764013" y="5982018"/>
                  <a:pt x="3754481" y="6004878"/>
                  <a:pt x="3735417" y="6016308"/>
                </a:cubicBezTo>
                <a:cubicBezTo>
                  <a:pt x="3735417" y="6016308"/>
                  <a:pt x="3735417" y="6016308"/>
                  <a:pt x="3396070" y="6180138"/>
                </a:cubicBezTo>
                <a:cubicBezTo>
                  <a:pt x="3375099" y="6189663"/>
                  <a:pt x="3350315" y="6180138"/>
                  <a:pt x="3340783" y="6161088"/>
                </a:cubicBezTo>
                <a:cubicBezTo>
                  <a:pt x="3338876" y="6155373"/>
                  <a:pt x="3336970" y="6149658"/>
                  <a:pt x="3336970" y="6142038"/>
                </a:cubicBezTo>
                <a:cubicBezTo>
                  <a:pt x="3336970" y="6126798"/>
                  <a:pt x="3346502" y="6113463"/>
                  <a:pt x="3359847" y="6105843"/>
                </a:cubicBezTo>
                <a:cubicBezTo>
                  <a:pt x="3359847" y="6105843"/>
                  <a:pt x="3359847" y="6105843"/>
                  <a:pt x="3699193" y="5942013"/>
                </a:cubicBezTo>
                <a:cubicBezTo>
                  <a:pt x="3709679" y="5937250"/>
                  <a:pt x="3720641" y="5936774"/>
                  <a:pt x="3730413" y="5940108"/>
                </a:cubicBezTo>
                <a:close/>
                <a:moveTo>
                  <a:pt x="2596921" y="5940108"/>
                </a:moveTo>
                <a:cubicBezTo>
                  <a:pt x="2606692" y="5943442"/>
                  <a:pt x="2615271" y="5950585"/>
                  <a:pt x="2620990" y="5961063"/>
                </a:cubicBezTo>
                <a:cubicBezTo>
                  <a:pt x="2630522" y="5982018"/>
                  <a:pt x="2620990" y="6004878"/>
                  <a:pt x="2601925" y="6016308"/>
                </a:cubicBezTo>
                <a:cubicBezTo>
                  <a:pt x="2601925" y="6016308"/>
                  <a:pt x="2601925" y="6016308"/>
                  <a:pt x="2262579" y="6180138"/>
                </a:cubicBezTo>
                <a:cubicBezTo>
                  <a:pt x="2241608" y="6189663"/>
                  <a:pt x="2216824" y="6180138"/>
                  <a:pt x="2207292" y="6161088"/>
                </a:cubicBezTo>
                <a:cubicBezTo>
                  <a:pt x="2205385" y="6155373"/>
                  <a:pt x="2203479" y="6149658"/>
                  <a:pt x="2203479" y="6142038"/>
                </a:cubicBezTo>
                <a:cubicBezTo>
                  <a:pt x="2203479" y="6126798"/>
                  <a:pt x="2211105" y="6113463"/>
                  <a:pt x="2226356" y="6105843"/>
                </a:cubicBezTo>
                <a:cubicBezTo>
                  <a:pt x="2226356" y="6105843"/>
                  <a:pt x="2226356" y="6105843"/>
                  <a:pt x="2565703" y="5942013"/>
                </a:cubicBezTo>
                <a:cubicBezTo>
                  <a:pt x="2576189" y="5937250"/>
                  <a:pt x="2587151" y="5936774"/>
                  <a:pt x="2596921" y="5940108"/>
                </a:cubicBezTo>
                <a:close/>
                <a:moveTo>
                  <a:pt x="3158032" y="5928122"/>
                </a:moveTo>
                <a:cubicBezTo>
                  <a:pt x="3168041" y="5931694"/>
                  <a:pt x="3176620" y="5938838"/>
                  <a:pt x="3181386" y="5948363"/>
                </a:cubicBezTo>
                <a:cubicBezTo>
                  <a:pt x="3190918" y="5969318"/>
                  <a:pt x="3183292" y="5994083"/>
                  <a:pt x="3162321" y="6003608"/>
                </a:cubicBezTo>
                <a:cubicBezTo>
                  <a:pt x="3162321" y="6003608"/>
                  <a:pt x="3162321" y="6003608"/>
                  <a:pt x="2822975" y="6167438"/>
                </a:cubicBezTo>
                <a:cubicBezTo>
                  <a:pt x="2803910" y="6176963"/>
                  <a:pt x="2779127" y="6169343"/>
                  <a:pt x="2769594" y="6148388"/>
                </a:cubicBezTo>
                <a:cubicBezTo>
                  <a:pt x="2765781" y="6142673"/>
                  <a:pt x="2763875" y="6136958"/>
                  <a:pt x="2763875" y="6131243"/>
                </a:cubicBezTo>
                <a:cubicBezTo>
                  <a:pt x="2763875" y="6116003"/>
                  <a:pt x="2773407" y="6100763"/>
                  <a:pt x="2788659" y="6093143"/>
                </a:cubicBezTo>
                <a:cubicBezTo>
                  <a:pt x="2788659" y="6093143"/>
                  <a:pt x="2788659" y="6093143"/>
                  <a:pt x="3126099" y="5929313"/>
                </a:cubicBezTo>
                <a:cubicBezTo>
                  <a:pt x="3136585" y="5924550"/>
                  <a:pt x="3148023" y="5924550"/>
                  <a:pt x="3158032" y="5928122"/>
                </a:cubicBezTo>
                <a:close/>
                <a:moveTo>
                  <a:pt x="6486883" y="5678738"/>
                </a:moveTo>
                <a:cubicBezTo>
                  <a:pt x="6502701" y="5677489"/>
                  <a:pt x="6517715" y="5686408"/>
                  <a:pt x="6526293" y="5700678"/>
                </a:cubicBezTo>
                <a:cubicBezTo>
                  <a:pt x="6535827" y="5721607"/>
                  <a:pt x="6526293" y="5746342"/>
                  <a:pt x="6507229" y="5755855"/>
                </a:cubicBezTo>
                <a:cubicBezTo>
                  <a:pt x="6507229" y="5755855"/>
                  <a:pt x="6507229" y="5755855"/>
                  <a:pt x="6167883" y="5921387"/>
                </a:cubicBezTo>
                <a:cubicBezTo>
                  <a:pt x="6146911" y="5930901"/>
                  <a:pt x="6124035" y="5921387"/>
                  <a:pt x="6114503" y="5902361"/>
                </a:cubicBezTo>
                <a:cubicBezTo>
                  <a:pt x="6110689" y="5896653"/>
                  <a:pt x="6108783" y="5890945"/>
                  <a:pt x="6108783" y="5883334"/>
                </a:cubicBezTo>
                <a:cubicBezTo>
                  <a:pt x="6108783" y="5870015"/>
                  <a:pt x="6118315" y="5854794"/>
                  <a:pt x="6131661" y="5847183"/>
                </a:cubicBezTo>
                <a:cubicBezTo>
                  <a:pt x="6131661" y="5847183"/>
                  <a:pt x="6131661" y="5847183"/>
                  <a:pt x="6471007" y="5683554"/>
                </a:cubicBezTo>
                <a:cubicBezTo>
                  <a:pt x="6476249" y="5680700"/>
                  <a:pt x="6481611" y="5679154"/>
                  <a:pt x="6486883" y="5678738"/>
                </a:cubicBezTo>
                <a:close/>
                <a:moveTo>
                  <a:pt x="5956831" y="5667772"/>
                </a:moveTo>
                <a:cubicBezTo>
                  <a:pt x="5966841" y="5671344"/>
                  <a:pt x="5975419" y="5678488"/>
                  <a:pt x="5980185" y="5688013"/>
                </a:cubicBezTo>
                <a:cubicBezTo>
                  <a:pt x="5989719" y="5708968"/>
                  <a:pt x="5980185" y="5733733"/>
                  <a:pt x="5961121" y="5743258"/>
                </a:cubicBezTo>
                <a:cubicBezTo>
                  <a:pt x="5961121" y="5743258"/>
                  <a:pt x="5961121" y="5743258"/>
                  <a:pt x="5621775" y="5907088"/>
                </a:cubicBezTo>
                <a:cubicBezTo>
                  <a:pt x="5600803" y="5916613"/>
                  <a:pt x="5576021" y="5907088"/>
                  <a:pt x="5566487" y="5888038"/>
                </a:cubicBezTo>
                <a:cubicBezTo>
                  <a:pt x="5564581" y="5882323"/>
                  <a:pt x="5562675" y="5874703"/>
                  <a:pt x="5562675" y="5868988"/>
                </a:cubicBezTo>
                <a:cubicBezTo>
                  <a:pt x="5562675" y="5853748"/>
                  <a:pt x="5570301" y="5840413"/>
                  <a:pt x="5585553" y="5832793"/>
                </a:cubicBezTo>
                <a:cubicBezTo>
                  <a:pt x="5585553" y="5832793"/>
                  <a:pt x="5585553" y="5832793"/>
                  <a:pt x="5924899" y="5668963"/>
                </a:cubicBezTo>
                <a:cubicBezTo>
                  <a:pt x="5935385" y="5664200"/>
                  <a:pt x="5946823" y="5664200"/>
                  <a:pt x="5956831" y="5667772"/>
                </a:cubicBezTo>
                <a:close/>
                <a:moveTo>
                  <a:pt x="397251" y="5667772"/>
                </a:moveTo>
                <a:cubicBezTo>
                  <a:pt x="407021" y="5671344"/>
                  <a:pt x="415600" y="5678488"/>
                  <a:pt x="420366" y="5688013"/>
                </a:cubicBezTo>
                <a:cubicBezTo>
                  <a:pt x="431805" y="5708968"/>
                  <a:pt x="422273" y="5733733"/>
                  <a:pt x="401302" y="5743258"/>
                </a:cubicBezTo>
                <a:cubicBezTo>
                  <a:pt x="401302" y="5743258"/>
                  <a:pt x="401302" y="5743258"/>
                  <a:pt x="63862" y="5907088"/>
                </a:cubicBezTo>
                <a:cubicBezTo>
                  <a:pt x="42891" y="5916613"/>
                  <a:pt x="18107" y="5907088"/>
                  <a:pt x="8575" y="5888038"/>
                </a:cubicBezTo>
                <a:cubicBezTo>
                  <a:pt x="4762" y="5882323"/>
                  <a:pt x="4762" y="5874703"/>
                  <a:pt x="4762" y="5868988"/>
                </a:cubicBezTo>
                <a:cubicBezTo>
                  <a:pt x="4762" y="5853748"/>
                  <a:pt x="12388" y="5840413"/>
                  <a:pt x="27639" y="5832793"/>
                </a:cubicBezTo>
                <a:cubicBezTo>
                  <a:pt x="27639" y="5832793"/>
                  <a:pt x="27639" y="5832793"/>
                  <a:pt x="366986" y="5668963"/>
                </a:cubicBezTo>
                <a:cubicBezTo>
                  <a:pt x="376518" y="5664200"/>
                  <a:pt x="387480" y="5664200"/>
                  <a:pt x="397251" y="5667772"/>
                </a:cubicBezTo>
                <a:close/>
                <a:moveTo>
                  <a:pt x="5407607" y="5656671"/>
                </a:moveTo>
                <a:cubicBezTo>
                  <a:pt x="5417645" y="5660247"/>
                  <a:pt x="5426727" y="5667400"/>
                  <a:pt x="5432463" y="5676936"/>
                </a:cubicBezTo>
                <a:cubicBezTo>
                  <a:pt x="5442023" y="5697917"/>
                  <a:pt x="5432463" y="5722713"/>
                  <a:pt x="5411429" y="5732250"/>
                </a:cubicBezTo>
                <a:cubicBezTo>
                  <a:pt x="5411429" y="5732250"/>
                  <a:pt x="5411429" y="5732250"/>
                  <a:pt x="5071079" y="5894377"/>
                </a:cubicBezTo>
                <a:cubicBezTo>
                  <a:pt x="5050047" y="5903914"/>
                  <a:pt x="5025189" y="5894377"/>
                  <a:pt x="5015629" y="5873396"/>
                </a:cubicBezTo>
                <a:cubicBezTo>
                  <a:pt x="5013717" y="5867674"/>
                  <a:pt x="5011805" y="5861952"/>
                  <a:pt x="5011805" y="5856229"/>
                </a:cubicBezTo>
                <a:cubicBezTo>
                  <a:pt x="5011805" y="5840970"/>
                  <a:pt x="5021365" y="5825711"/>
                  <a:pt x="5036663" y="5818082"/>
                </a:cubicBezTo>
                <a:cubicBezTo>
                  <a:pt x="5036663" y="5818082"/>
                  <a:pt x="5036663" y="5818082"/>
                  <a:pt x="5377013" y="5657863"/>
                </a:cubicBezTo>
                <a:cubicBezTo>
                  <a:pt x="5386573" y="5653094"/>
                  <a:pt x="5397567" y="5653094"/>
                  <a:pt x="5407607" y="5656671"/>
                </a:cubicBezTo>
                <a:close/>
                <a:moveTo>
                  <a:pt x="941852" y="5656671"/>
                </a:moveTo>
                <a:cubicBezTo>
                  <a:pt x="951861" y="5660247"/>
                  <a:pt x="960440" y="5667400"/>
                  <a:pt x="965206" y="5676936"/>
                </a:cubicBezTo>
                <a:cubicBezTo>
                  <a:pt x="974738" y="5697917"/>
                  <a:pt x="965206" y="5722713"/>
                  <a:pt x="946141" y="5732250"/>
                </a:cubicBezTo>
                <a:cubicBezTo>
                  <a:pt x="946141" y="5732250"/>
                  <a:pt x="946141" y="5732250"/>
                  <a:pt x="606795" y="5894377"/>
                </a:cubicBezTo>
                <a:cubicBezTo>
                  <a:pt x="585824" y="5903914"/>
                  <a:pt x="561040" y="5894377"/>
                  <a:pt x="551508" y="5873396"/>
                </a:cubicBezTo>
                <a:cubicBezTo>
                  <a:pt x="547695" y="5867674"/>
                  <a:pt x="547695" y="5861952"/>
                  <a:pt x="547695" y="5856229"/>
                </a:cubicBezTo>
                <a:cubicBezTo>
                  <a:pt x="547695" y="5840970"/>
                  <a:pt x="555321" y="5825711"/>
                  <a:pt x="570572" y="5818082"/>
                </a:cubicBezTo>
                <a:cubicBezTo>
                  <a:pt x="570572" y="5818082"/>
                  <a:pt x="570572" y="5818082"/>
                  <a:pt x="909919" y="5657863"/>
                </a:cubicBezTo>
                <a:cubicBezTo>
                  <a:pt x="920405" y="5653094"/>
                  <a:pt x="931843" y="5653094"/>
                  <a:pt x="941852" y="5656671"/>
                </a:cubicBezTo>
                <a:close/>
                <a:moveTo>
                  <a:pt x="4853529" y="5644852"/>
                </a:moveTo>
                <a:cubicBezTo>
                  <a:pt x="4863531" y="5648194"/>
                  <a:pt x="4872103" y="5655356"/>
                  <a:pt x="4876865" y="5665859"/>
                </a:cubicBezTo>
                <a:cubicBezTo>
                  <a:pt x="4886391" y="5686867"/>
                  <a:pt x="4876865" y="5711694"/>
                  <a:pt x="4855911" y="5723153"/>
                </a:cubicBezTo>
                <a:cubicBezTo>
                  <a:pt x="4855911" y="5723153"/>
                  <a:pt x="4855911" y="5723153"/>
                  <a:pt x="4516815" y="5881664"/>
                </a:cubicBezTo>
                <a:cubicBezTo>
                  <a:pt x="4495861" y="5891213"/>
                  <a:pt x="4471095" y="5881664"/>
                  <a:pt x="4461571" y="5860656"/>
                </a:cubicBezTo>
                <a:cubicBezTo>
                  <a:pt x="4459665" y="5854927"/>
                  <a:pt x="4457759" y="5849198"/>
                  <a:pt x="4457759" y="5843468"/>
                </a:cubicBezTo>
                <a:cubicBezTo>
                  <a:pt x="4457759" y="5828190"/>
                  <a:pt x="4467285" y="5812912"/>
                  <a:pt x="4482525" y="5805273"/>
                </a:cubicBezTo>
                <a:cubicBezTo>
                  <a:pt x="4482525" y="5805273"/>
                  <a:pt x="4482525" y="5805273"/>
                  <a:pt x="4821621" y="5646762"/>
                </a:cubicBezTo>
                <a:cubicBezTo>
                  <a:pt x="4832099" y="5641987"/>
                  <a:pt x="4843529" y="5641510"/>
                  <a:pt x="4853529" y="5644852"/>
                </a:cubicBezTo>
                <a:close/>
                <a:moveTo>
                  <a:pt x="1487905" y="5644852"/>
                </a:moveTo>
                <a:cubicBezTo>
                  <a:pt x="1498144" y="5648194"/>
                  <a:pt x="1507193" y="5655356"/>
                  <a:pt x="1512908" y="5665859"/>
                </a:cubicBezTo>
                <a:cubicBezTo>
                  <a:pt x="1522433" y="5686867"/>
                  <a:pt x="1512908" y="5711694"/>
                  <a:pt x="1491953" y="5723153"/>
                </a:cubicBezTo>
                <a:cubicBezTo>
                  <a:pt x="1491953" y="5723153"/>
                  <a:pt x="1491953" y="5723153"/>
                  <a:pt x="1152858" y="5881664"/>
                </a:cubicBezTo>
                <a:cubicBezTo>
                  <a:pt x="1131903" y="5891213"/>
                  <a:pt x="1107137" y="5881664"/>
                  <a:pt x="1097612" y="5860656"/>
                </a:cubicBezTo>
                <a:cubicBezTo>
                  <a:pt x="1093802" y="5854927"/>
                  <a:pt x="1093802" y="5849198"/>
                  <a:pt x="1093802" y="5843468"/>
                </a:cubicBezTo>
                <a:cubicBezTo>
                  <a:pt x="1093802" y="5828190"/>
                  <a:pt x="1101422" y="5812912"/>
                  <a:pt x="1116662" y="5805273"/>
                </a:cubicBezTo>
                <a:cubicBezTo>
                  <a:pt x="1116662" y="5805273"/>
                  <a:pt x="1116662" y="5805273"/>
                  <a:pt x="1455757" y="5646762"/>
                </a:cubicBezTo>
                <a:cubicBezTo>
                  <a:pt x="1466235" y="5641987"/>
                  <a:pt x="1477665" y="5641510"/>
                  <a:pt x="1487905" y="5644852"/>
                </a:cubicBezTo>
                <a:close/>
                <a:moveTo>
                  <a:pt x="4280353" y="5631126"/>
                </a:moveTo>
                <a:cubicBezTo>
                  <a:pt x="4296665" y="5629969"/>
                  <a:pt x="4312441" y="5639221"/>
                  <a:pt x="4319611" y="5654878"/>
                </a:cubicBezTo>
                <a:cubicBezTo>
                  <a:pt x="4329171" y="5677652"/>
                  <a:pt x="4319611" y="5702324"/>
                  <a:pt x="4298577" y="5711813"/>
                </a:cubicBezTo>
                <a:cubicBezTo>
                  <a:pt x="4298577" y="5711813"/>
                  <a:pt x="4298577" y="5711813"/>
                  <a:pt x="3958227" y="5867437"/>
                </a:cubicBezTo>
                <a:cubicBezTo>
                  <a:pt x="3937195" y="5876926"/>
                  <a:pt x="3912337" y="5867437"/>
                  <a:pt x="3902777" y="5846560"/>
                </a:cubicBezTo>
                <a:cubicBezTo>
                  <a:pt x="3898953" y="5840867"/>
                  <a:pt x="3898953" y="5835173"/>
                  <a:pt x="3898953" y="5829480"/>
                </a:cubicBezTo>
                <a:cubicBezTo>
                  <a:pt x="3898953" y="5812399"/>
                  <a:pt x="3906601" y="5797216"/>
                  <a:pt x="3923811" y="5789625"/>
                </a:cubicBezTo>
                <a:cubicBezTo>
                  <a:pt x="3923811" y="5789625"/>
                  <a:pt x="3923811" y="5789625"/>
                  <a:pt x="4264161" y="5635900"/>
                </a:cubicBezTo>
                <a:cubicBezTo>
                  <a:pt x="4269419" y="5633053"/>
                  <a:pt x="4274917" y="5631511"/>
                  <a:pt x="4280353" y="5631126"/>
                </a:cubicBezTo>
                <a:close/>
                <a:moveTo>
                  <a:pt x="2025816" y="5631125"/>
                </a:moveTo>
                <a:cubicBezTo>
                  <a:pt x="2042206" y="5629969"/>
                  <a:pt x="2058327" y="5639221"/>
                  <a:pt x="2066925" y="5654878"/>
                </a:cubicBezTo>
                <a:cubicBezTo>
                  <a:pt x="2076478" y="5677652"/>
                  <a:pt x="2066925" y="5702324"/>
                  <a:pt x="2045908" y="5711813"/>
                </a:cubicBezTo>
                <a:cubicBezTo>
                  <a:pt x="2045908" y="5711813"/>
                  <a:pt x="2045908" y="5711813"/>
                  <a:pt x="1705813" y="5867437"/>
                </a:cubicBezTo>
                <a:cubicBezTo>
                  <a:pt x="1682885" y="5876926"/>
                  <a:pt x="1658047" y="5867437"/>
                  <a:pt x="1648493" y="5846560"/>
                </a:cubicBezTo>
                <a:cubicBezTo>
                  <a:pt x="1646583" y="5840867"/>
                  <a:pt x="1644672" y="5835173"/>
                  <a:pt x="1644672" y="5829480"/>
                </a:cubicBezTo>
                <a:cubicBezTo>
                  <a:pt x="1644672" y="5812399"/>
                  <a:pt x="1654225" y="5797216"/>
                  <a:pt x="1669510" y="5789625"/>
                </a:cubicBezTo>
                <a:cubicBezTo>
                  <a:pt x="1669510" y="5789625"/>
                  <a:pt x="1669510" y="5789625"/>
                  <a:pt x="2009605" y="5635900"/>
                </a:cubicBezTo>
                <a:cubicBezTo>
                  <a:pt x="2014860" y="5633053"/>
                  <a:pt x="2020353" y="5631511"/>
                  <a:pt x="2025816" y="5631125"/>
                </a:cubicBezTo>
                <a:close/>
                <a:moveTo>
                  <a:pt x="3732525" y="5620418"/>
                </a:moveTo>
                <a:cubicBezTo>
                  <a:pt x="3742757" y="5624242"/>
                  <a:pt x="3751323" y="5631891"/>
                  <a:pt x="3756081" y="5642408"/>
                </a:cubicBezTo>
                <a:cubicBezTo>
                  <a:pt x="3765599" y="5665355"/>
                  <a:pt x="3756081" y="5690214"/>
                  <a:pt x="3735143" y="5699775"/>
                </a:cubicBezTo>
                <a:cubicBezTo>
                  <a:pt x="3735143" y="5699775"/>
                  <a:pt x="3735143" y="5699775"/>
                  <a:pt x="3396298" y="5854665"/>
                </a:cubicBezTo>
                <a:cubicBezTo>
                  <a:pt x="3373454" y="5864226"/>
                  <a:pt x="3348707" y="5854665"/>
                  <a:pt x="3339189" y="5833630"/>
                </a:cubicBezTo>
                <a:cubicBezTo>
                  <a:pt x="3337286" y="5827894"/>
                  <a:pt x="3335382" y="5820245"/>
                  <a:pt x="3335382" y="5814508"/>
                </a:cubicBezTo>
                <a:cubicBezTo>
                  <a:pt x="3335382" y="5799210"/>
                  <a:pt x="3344900" y="5783913"/>
                  <a:pt x="3360129" y="5776264"/>
                </a:cubicBezTo>
                <a:cubicBezTo>
                  <a:pt x="3360129" y="5776264"/>
                  <a:pt x="3360129" y="5776264"/>
                  <a:pt x="3698973" y="5621374"/>
                </a:cubicBezTo>
                <a:cubicBezTo>
                  <a:pt x="3710395" y="5616593"/>
                  <a:pt x="3722293" y="5616593"/>
                  <a:pt x="3732525" y="5620418"/>
                </a:cubicBezTo>
                <a:close/>
                <a:moveTo>
                  <a:pt x="2598321" y="5620418"/>
                </a:moveTo>
                <a:cubicBezTo>
                  <a:pt x="2608791" y="5624242"/>
                  <a:pt x="2617833" y="5631891"/>
                  <a:pt x="2622592" y="5642408"/>
                </a:cubicBezTo>
                <a:cubicBezTo>
                  <a:pt x="2632110" y="5665355"/>
                  <a:pt x="2622592" y="5690214"/>
                  <a:pt x="2601652" y="5699775"/>
                </a:cubicBezTo>
                <a:cubicBezTo>
                  <a:pt x="2601652" y="5699775"/>
                  <a:pt x="2601652" y="5699775"/>
                  <a:pt x="2262808" y="5854665"/>
                </a:cubicBezTo>
                <a:cubicBezTo>
                  <a:pt x="2239964" y="5864226"/>
                  <a:pt x="2215217" y="5854665"/>
                  <a:pt x="2205699" y="5833630"/>
                </a:cubicBezTo>
                <a:cubicBezTo>
                  <a:pt x="2203796" y="5827894"/>
                  <a:pt x="2201892" y="5820245"/>
                  <a:pt x="2201892" y="5814508"/>
                </a:cubicBezTo>
                <a:cubicBezTo>
                  <a:pt x="2201892" y="5799210"/>
                  <a:pt x="2211410" y="5783913"/>
                  <a:pt x="2226639" y="5776264"/>
                </a:cubicBezTo>
                <a:cubicBezTo>
                  <a:pt x="2226639" y="5776264"/>
                  <a:pt x="2226639" y="5776264"/>
                  <a:pt x="2565483" y="5621374"/>
                </a:cubicBezTo>
                <a:cubicBezTo>
                  <a:pt x="2575953" y="5616593"/>
                  <a:pt x="2587851" y="5616593"/>
                  <a:pt x="2598321" y="5620418"/>
                </a:cubicBezTo>
                <a:close/>
                <a:moveTo>
                  <a:pt x="3160328" y="5609262"/>
                </a:moveTo>
                <a:cubicBezTo>
                  <a:pt x="3170791" y="5613068"/>
                  <a:pt x="3179827" y="5620678"/>
                  <a:pt x="3184582" y="5631142"/>
                </a:cubicBezTo>
                <a:cubicBezTo>
                  <a:pt x="3194093" y="5653973"/>
                  <a:pt x="3184582" y="5678707"/>
                  <a:pt x="3161755" y="5688219"/>
                </a:cubicBezTo>
                <a:cubicBezTo>
                  <a:pt x="3161755" y="5688219"/>
                  <a:pt x="3161755" y="5688219"/>
                  <a:pt x="2823158" y="5840426"/>
                </a:cubicBezTo>
                <a:cubicBezTo>
                  <a:pt x="2800332" y="5849939"/>
                  <a:pt x="2775603" y="5840426"/>
                  <a:pt x="2766091" y="5817595"/>
                </a:cubicBezTo>
                <a:cubicBezTo>
                  <a:pt x="2764189" y="5811887"/>
                  <a:pt x="2762287" y="5806179"/>
                  <a:pt x="2762287" y="5800472"/>
                </a:cubicBezTo>
                <a:cubicBezTo>
                  <a:pt x="2762287" y="5783348"/>
                  <a:pt x="2771798" y="5768128"/>
                  <a:pt x="2787016" y="5760517"/>
                </a:cubicBezTo>
                <a:cubicBezTo>
                  <a:pt x="2787016" y="5760517"/>
                  <a:pt x="2787016" y="5760517"/>
                  <a:pt x="3127515" y="5610214"/>
                </a:cubicBezTo>
                <a:cubicBezTo>
                  <a:pt x="3137977" y="5605457"/>
                  <a:pt x="3149866" y="5605457"/>
                  <a:pt x="3160328" y="5609262"/>
                </a:cubicBezTo>
                <a:close/>
                <a:moveTo>
                  <a:pt x="6501987" y="5357485"/>
                </a:moveTo>
                <a:cubicBezTo>
                  <a:pt x="6511519" y="5360815"/>
                  <a:pt x="6519621" y="5367950"/>
                  <a:pt x="6524387" y="5378415"/>
                </a:cubicBezTo>
                <a:cubicBezTo>
                  <a:pt x="6535827" y="5397441"/>
                  <a:pt x="6526293" y="5422176"/>
                  <a:pt x="6507229" y="5431690"/>
                </a:cubicBezTo>
                <a:cubicBezTo>
                  <a:pt x="6507229" y="5431690"/>
                  <a:pt x="6507229" y="5431690"/>
                  <a:pt x="6167883" y="5597222"/>
                </a:cubicBezTo>
                <a:cubicBezTo>
                  <a:pt x="6148819" y="5608638"/>
                  <a:pt x="6124035" y="5599124"/>
                  <a:pt x="6114503" y="5580098"/>
                </a:cubicBezTo>
                <a:cubicBezTo>
                  <a:pt x="6110689" y="5574390"/>
                  <a:pt x="6108783" y="5568682"/>
                  <a:pt x="6108783" y="5561071"/>
                </a:cubicBezTo>
                <a:cubicBezTo>
                  <a:pt x="6108783" y="5547752"/>
                  <a:pt x="6118315" y="5532531"/>
                  <a:pt x="6131661" y="5524920"/>
                </a:cubicBezTo>
                <a:cubicBezTo>
                  <a:pt x="6131661" y="5524920"/>
                  <a:pt x="6131661" y="5524920"/>
                  <a:pt x="6471007" y="5359388"/>
                </a:cubicBezTo>
                <a:cubicBezTo>
                  <a:pt x="6481493" y="5354632"/>
                  <a:pt x="6492455" y="5354156"/>
                  <a:pt x="6501987" y="5357485"/>
                </a:cubicBezTo>
                <a:close/>
                <a:moveTo>
                  <a:pt x="5956831" y="5347056"/>
                </a:moveTo>
                <a:cubicBezTo>
                  <a:pt x="5966841" y="5350610"/>
                  <a:pt x="5975419" y="5357718"/>
                  <a:pt x="5980185" y="5367196"/>
                </a:cubicBezTo>
                <a:cubicBezTo>
                  <a:pt x="5989719" y="5388046"/>
                  <a:pt x="5980185" y="5412688"/>
                  <a:pt x="5961121" y="5422166"/>
                </a:cubicBezTo>
                <a:cubicBezTo>
                  <a:pt x="5961121" y="5422166"/>
                  <a:pt x="5961121" y="5422166"/>
                  <a:pt x="5621775" y="5583285"/>
                </a:cubicBezTo>
                <a:cubicBezTo>
                  <a:pt x="5600803" y="5592763"/>
                  <a:pt x="5576021" y="5585181"/>
                  <a:pt x="5566487" y="5564330"/>
                </a:cubicBezTo>
                <a:cubicBezTo>
                  <a:pt x="5562675" y="5558643"/>
                  <a:pt x="5562675" y="5552957"/>
                  <a:pt x="5562675" y="5547270"/>
                </a:cubicBezTo>
                <a:cubicBezTo>
                  <a:pt x="5562675" y="5532106"/>
                  <a:pt x="5570301" y="5516942"/>
                  <a:pt x="5585553" y="5509360"/>
                </a:cubicBezTo>
                <a:cubicBezTo>
                  <a:pt x="5585553" y="5509360"/>
                  <a:pt x="5585553" y="5509360"/>
                  <a:pt x="5924899" y="5348240"/>
                </a:cubicBezTo>
                <a:cubicBezTo>
                  <a:pt x="5935385" y="5343502"/>
                  <a:pt x="5946823" y="5343502"/>
                  <a:pt x="5956831" y="5347056"/>
                </a:cubicBezTo>
                <a:close/>
                <a:moveTo>
                  <a:pt x="398204" y="5347056"/>
                </a:moveTo>
                <a:cubicBezTo>
                  <a:pt x="407975" y="5350610"/>
                  <a:pt x="416554" y="5357718"/>
                  <a:pt x="422273" y="5367196"/>
                </a:cubicBezTo>
                <a:cubicBezTo>
                  <a:pt x="431805" y="5388046"/>
                  <a:pt x="422273" y="5412688"/>
                  <a:pt x="401302" y="5422166"/>
                </a:cubicBezTo>
                <a:cubicBezTo>
                  <a:pt x="401302" y="5422166"/>
                  <a:pt x="401302" y="5422166"/>
                  <a:pt x="63862" y="5583285"/>
                </a:cubicBezTo>
                <a:cubicBezTo>
                  <a:pt x="42891" y="5592763"/>
                  <a:pt x="18107" y="5585181"/>
                  <a:pt x="8575" y="5564330"/>
                </a:cubicBezTo>
                <a:cubicBezTo>
                  <a:pt x="4762" y="5558643"/>
                  <a:pt x="4762" y="5552957"/>
                  <a:pt x="4762" y="5547270"/>
                </a:cubicBezTo>
                <a:cubicBezTo>
                  <a:pt x="4762" y="5532106"/>
                  <a:pt x="12388" y="5516942"/>
                  <a:pt x="27639" y="5509360"/>
                </a:cubicBezTo>
                <a:cubicBezTo>
                  <a:pt x="27639" y="5509360"/>
                  <a:pt x="27639" y="5509360"/>
                  <a:pt x="366986" y="5348240"/>
                </a:cubicBezTo>
                <a:cubicBezTo>
                  <a:pt x="377472" y="5343502"/>
                  <a:pt x="388434" y="5343502"/>
                  <a:pt x="398204" y="5347056"/>
                </a:cubicBezTo>
                <a:close/>
                <a:moveTo>
                  <a:pt x="5409041" y="5334657"/>
                </a:moveTo>
                <a:cubicBezTo>
                  <a:pt x="5419079" y="5338476"/>
                  <a:pt x="5427683" y="5346116"/>
                  <a:pt x="5432463" y="5356619"/>
                </a:cubicBezTo>
                <a:cubicBezTo>
                  <a:pt x="5442023" y="5377627"/>
                  <a:pt x="5432463" y="5402454"/>
                  <a:pt x="5411429" y="5412003"/>
                </a:cubicBezTo>
                <a:cubicBezTo>
                  <a:pt x="5411429" y="5412003"/>
                  <a:pt x="5411429" y="5412003"/>
                  <a:pt x="5071079" y="5570514"/>
                </a:cubicBezTo>
                <a:cubicBezTo>
                  <a:pt x="5050047" y="5580063"/>
                  <a:pt x="5025189" y="5570514"/>
                  <a:pt x="5015629" y="5549506"/>
                </a:cubicBezTo>
                <a:cubicBezTo>
                  <a:pt x="5011805" y="5543777"/>
                  <a:pt x="5011805" y="5538048"/>
                  <a:pt x="5011805" y="5532318"/>
                </a:cubicBezTo>
                <a:cubicBezTo>
                  <a:pt x="5011805" y="5515130"/>
                  <a:pt x="5021365" y="5499852"/>
                  <a:pt x="5036663" y="5494123"/>
                </a:cubicBezTo>
                <a:cubicBezTo>
                  <a:pt x="5036663" y="5494123"/>
                  <a:pt x="5036663" y="5494123"/>
                  <a:pt x="5377013" y="5335612"/>
                </a:cubicBezTo>
                <a:cubicBezTo>
                  <a:pt x="5387529" y="5330837"/>
                  <a:pt x="5399001" y="5330837"/>
                  <a:pt x="5409041" y="5334657"/>
                </a:cubicBezTo>
                <a:close/>
                <a:moveTo>
                  <a:pt x="941876" y="5334657"/>
                </a:moveTo>
                <a:cubicBezTo>
                  <a:pt x="951878" y="5338476"/>
                  <a:pt x="960451" y="5346116"/>
                  <a:pt x="965213" y="5356619"/>
                </a:cubicBezTo>
                <a:cubicBezTo>
                  <a:pt x="974738" y="5377627"/>
                  <a:pt x="967118" y="5402454"/>
                  <a:pt x="946163" y="5412003"/>
                </a:cubicBezTo>
                <a:cubicBezTo>
                  <a:pt x="946163" y="5412003"/>
                  <a:pt x="946163" y="5412003"/>
                  <a:pt x="605163" y="5570514"/>
                </a:cubicBezTo>
                <a:cubicBezTo>
                  <a:pt x="584208" y="5580063"/>
                  <a:pt x="559442" y="5570514"/>
                  <a:pt x="549917" y="5549506"/>
                </a:cubicBezTo>
                <a:cubicBezTo>
                  <a:pt x="548012" y="5543777"/>
                  <a:pt x="546107" y="5538048"/>
                  <a:pt x="546107" y="5532318"/>
                </a:cubicBezTo>
                <a:cubicBezTo>
                  <a:pt x="546107" y="5515130"/>
                  <a:pt x="555632" y="5499852"/>
                  <a:pt x="570872" y="5494123"/>
                </a:cubicBezTo>
                <a:cubicBezTo>
                  <a:pt x="570872" y="5494123"/>
                  <a:pt x="570872" y="5494123"/>
                  <a:pt x="909967" y="5335612"/>
                </a:cubicBezTo>
                <a:cubicBezTo>
                  <a:pt x="920445" y="5330837"/>
                  <a:pt x="931875" y="5330837"/>
                  <a:pt x="941876" y="5334657"/>
                </a:cubicBezTo>
                <a:close/>
                <a:moveTo>
                  <a:pt x="4854215" y="5323794"/>
                </a:moveTo>
                <a:cubicBezTo>
                  <a:pt x="4864677" y="5327857"/>
                  <a:pt x="4873713" y="5335984"/>
                  <a:pt x="4878467" y="5347457"/>
                </a:cubicBezTo>
                <a:cubicBezTo>
                  <a:pt x="4887979" y="5368492"/>
                  <a:pt x="4878467" y="5393351"/>
                  <a:pt x="4855641" y="5402912"/>
                </a:cubicBezTo>
                <a:cubicBezTo>
                  <a:pt x="4855641" y="5402912"/>
                  <a:pt x="4855641" y="5402912"/>
                  <a:pt x="4517045" y="5555889"/>
                </a:cubicBezTo>
                <a:cubicBezTo>
                  <a:pt x="4496119" y="5567363"/>
                  <a:pt x="4471391" y="5557802"/>
                  <a:pt x="4459977" y="5534855"/>
                </a:cubicBezTo>
                <a:cubicBezTo>
                  <a:pt x="4458075" y="5529118"/>
                  <a:pt x="4456173" y="5523382"/>
                  <a:pt x="4456173" y="5517645"/>
                </a:cubicBezTo>
                <a:cubicBezTo>
                  <a:pt x="4456173" y="5500435"/>
                  <a:pt x="4465685" y="5485137"/>
                  <a:pt x="4482805" y="5477488"/>
                </a:cubicBezTo>
                <a:cubicBezTo>
                  <a:pt x="4482805" y="5477488"/>
                  <a:pt x="4482805" y="5477488"/>
                  <a:pt x="4821401" y="5324511"/>
                </a:cubicBezTo>
                <a:cubicBezTo>
                  <a:pt x="4831863" y="5319730"/>
                  <a:pt x="4843753" y="5319730"/>
                  <a:pt x="4854215" y="5323794"/>
                </a:cubicBezTo>
                <a:close/>
                <a:moveTo>
                  <a:pt x="1489595" y="5323794"/>
                </a:moveTo>
                <a:cubicBezTo>
                  <a:pt x="1499589" y="5327857"/>
                  <a:pt x="1508155" y="5335984"/>
                  <a:pt x="1512914" y="5347457"/>
                </a:cubicBezTo>
                <a:cubicBezTo>
                  <a:pt x="1522432" y="5368492"/>
                  <a:pt x="1512914" y="5393351"/>
                  <a:pt x="1491974" y="5402912"/>
                </a:cubicBezTo>
                <a:cubicBezTo>
                  <a:pt x="1491974" y="5402912"/>
                  <a:pt x="1491974" y="5402912"/>
                  <a:pt x="1153130" y="5555889"/>
                </a:cubicBezTo>
                <a:cubicBezTo>
                  <a:pt x="1130286" y="5567363"/>
                  <a:pt x="1105539" y="5557802"/>
                  <a:pt x="1096021" y="5534855"/>
                </a:cubicBezTo>
                <a:cubicBezTo>
                  <a:pt x="1094118" y="5529118"/>
                  <a:pt x="1092214" y="5523382"/>
                  <a:pt x="1092214" y="5517645"/>
                </a:cubicBezTo>
                <a:cubicBezTo>
                  <a:pt x="1092214" y="5500435"/>
                  <a:pt x="1101732" y="5485137"/>
                  <a:pt x="1116961" y="5477488"/>
                </a:cubicBezTo>
                <a:cubicBezTo>
                  <a:pt x="1116961" y="5477488"/>
                  <a:pt x="1116961" y="5477488"/>
                  <a:pt x="1457709" y="5324511"/>
                </a:cubicBezTo>
                <a:cubicBezTo>
                  <a:pt x="1468179" y="5319730"/>
                  <a:pt x="1479601" y="5319730"/>
                  <a:pt x="1489595" y="5323794"/>
                </a:cubicBezTo>
                <a:close/>
                <a:moveTo>
                  <a:pt x="4281207" y="5309970"/>
                </a:moveTo>
                <a:cubicBezTo>
                  <a:pt x="4298301" y="5310148"/>
                  <a:pt x="4314051" y="5320507"/>
                  <a:pt x="4321211" y="5336223"/>
                </a:cubicBezTo>
                <a:cubicBezTo>
                  <a:pt x="4330759" y="5359083"/>
                  <a:pt x="4321211" y="5383848"/>
                  <a:pt x="4298301" y="5395278"/>
                </a:cubicBezTo>
                <a:cubicBezTo>
                  <a:pt x="4298301" y="5395278"/>
                  <a:pt x="4298301" y="5395278"/>
                  <a:pt x="3958461" y="5541963"/>
                </a:cubicBezTo>
                <a:cubicBezTo>
                  <a:pt x="3935549" y="5551488"/>
                  <a:pt x="3910729" y="5541963"/>
                  <a:pt x="3901183" y="5519103"/>
                </a:cubicBezTo>
                <a:cubicBezTo>
                  <a:pt x="3897365" y="5513388"/>
                  <a:pt x="3897365" y="5507673"/>
                  <a:pt x="3897365" y="5501958"/>
                </a:cubicBezTo>
                <a:cubicBezTo>
                  <a:pt x="3897365" y="5484813"/>
                  <a:pt x="3906911" y="5469573"/>
                  <a:pt x="3924095" y="5461953"/>
                </a:cubicBezTo>
                <a:cubicBezTo>
                  <a:pt x="3924095" y="5461953"/>
                  <a:pt x="3924095" y="5461953"/>
                  <a:pt x="4263935" y="5313363"/>
                </a:cubicBezTo>
                <a:cubicBezTo>
                  <a:pt x="4269663" y="5310982"/>
                  <a:pt x="4275509" y="5309910"/>
                  <a:pt x="4281207" y="5309970"/>
                </a:cubicBezTo>
                <a:close/>
                <a:moveTo>
                  <a:pt x="2026943" y="5309969"/>
                </a:moveTo>
                <a:cubicBezTo>
                  <a:pt x="2044561" y="5310148"/>
                  <a:pt x="2061373" y="5320506"/>
                  <a:pt x="2068527" y="5336223"/>
                </a:cubicBezTo>
                <a:cubicBezTo>
                  <a:pt x="2078066" y="5359083"/>
                  <a:pt x="2066619" y="5383848"/>
                  <a:pt x="2045633" y="5395278"/>
                </a:cubicBezTo>
                <a:cubicBezTo>
                  <a:pt x="2045633" y="5395278"/>
                  <a:pt x="2045633" y="5395278"/>
                  <a:pt x="1704135" y="5541963"/>
                </a:cubicBezTo>
                <a:cubicBezTo>
                  <a:pt x="1683149" y="5551488"/>
                  <a:pt x="1656440" y="5541963"/>
                  <a:pt x="1646901" y="5519103"/>
                </a:cubicBezTo>
                <a:cubicBezTo>
                  <a:pt x="1644993" y="5513388"/>
                  <a:pt x="1643085" y="5507673"/>
                  <a:pt x="1643085" y="5501958"/>
                </a:cubicBezTo>
                <a:cubicBezTo>
                  <a:pt x="1643085" y="5484813"/>
                  <a:pt x="1652624" y="5469573"/>
                  <a:pt x="1669794" y="5461953"/>
                </a:cubicBezTo>
                <a:cubicBezTo>
                  <a:pt x="1669794" y="5461953"/>
                  <a:pt x="1669794" y="5461953"/>
                  <a:pt x="2009385" y="5313363"/>
                </a:cubicBezTo>
                <a:cubicBezTo>
                  <a:pt x="2015109" y="5310981"/>
                  <a:pt x="2021071" y="5309910"/>
                  <a:pt x="2026943" y="5309969"/>
                </a:cubicBezTo>
                <a:close/>
                <a:moveTo>
                  <a:pt x="3719263" y="5298894"/>
                </a:moveTo>
                <a:cubicBezTo>
                  <a:pt x="3736343" y="5299163"/>
                  <a:pt x="3752083" y="5309892"/>
                  <a:pt x="3759237" y="5327059"/>
                </a:cubicBezTo>
                <a:cubicBezTo>
                  <a:pt x="3768775" y="5349949"/>
                  <a:pt x="3759237" y="5376653"/>
                  <a:pt x="3736343" y="5386191"/>
                </a:cubicBezTo>
                <a:cubicBezTo>
                  <a:pt x="3736343" y="5386191"/>
                  <a:pt x="3736343" y="5386191"/>
                  <a:pt x="3394845" y="5529250"/>
                </a:cubicBezTo>
                <a:cubicBezTo>
                  <a:pt x="3371951" y="5538788"/>
                  <a:pt x="3347150" y="5527343"/>
                  <a:pt x="3337611" y="5504453"/>
                </a:cubicBezTo>
                <a:cubicBezTo>
                  <a:pt x="3333795" y="5498731"/>
                  <a:pt x="3333795" y="5493009"/>
                  <a:pt x="3333795" y="5487286"/>
                </a:cubicBezTo>
                <a:cubicBezTo>
                  <a:pt x="3333795" y="5470119"/>
                  <a:pt x="3343334" y="5454859"/>
                  <a:pt x="3360504" y="5447229"/>
                </a:cubicBezTo>
                <a:cubicBezTo>
                  <a:pt x="3360504" y="5447229"/>
                  <a:pt x="3360504" y="5447229"/>
                  <a:pt x="3702003" y="5302262"/>
                </a:cubicBezTo>
                <a:cubicBezTo>
                  <a:pt x="3707727" y="5299878"/>
                  <a:pt x="3713569" y="5298805"/>
                  <a:pt x="3719263" y="5298894"/>
                </a:cubicBezTo>
                <a:close/>
                <a:moveTo>
                  <a:pt x="2583562" y="5298894"/>
                </a:moveTo>
                <a:cubicBezTo>
                  <a:pt x="2600314" y="5299163"/>
                  <a:pt x="2617065" y="5309892"/>
                  <a:pt x="2624193" y="5327059"/>
                </a:cubicBezTo>
                <a:cubicBezTo>
                  <a:pt x="2633697" y="5349949"/>
                  <a:pt x="2624193" y="5376653"/>
                  <a:pt x="2601383" y="5386191"/>
                </a:cubicBezTo>
                <a:cubicBezTo>
                  <a:pt x="2601383" y="5386191"/>
                  <a:pt x="2601383" y="5386191"/>
                  <a:pt x="2261131" y="5529250"/>
                </a:cubicBezTo>
                <a:cubicBezTo>
                  <a:pt x="2238321" y="5538788"/>
                  <a:pt x="2213610" y="5527343"/>
                  <a:pt x="2204106" y="5504453"/>
                </a:cubicBezTo>
                <a:cubicBezTo>
                  <a:pt x="2200304" y="5498731"/>
                  <a:pt x="2200304" y="5493009"/>
                  <a:pt x="2200304" y="5487286"/>
                </a:cubicBezTo>
                <a:cubicBezTo>
                  <a:pt x="2200304" y="5470119"/>
                  <a:pt x="2209808" y="5454859"/>
                  <a:pt x="2226916" y="5447229"/>
                </a:cubicBezTo>
                <a:cubicBezTo>
                  <a:pt x="2226916" y="5447229"/>
                  <a:pt x="2226916" y="5447229"/>
                  <a:pt x="2567167" y="5302262"/>
                </a:cubicBezTo>
                <a:cubicBezTo>
                  <a:pt x="2572395" y="5299878"/>
                  <a:pt x="2577979" y="5298805"/>
                  <a:pt x="2583562" y="5298894"/>
                </a:cubicBezTo>
                <a:close/>
                <a:moveTo>
                  <a:pt x="3161728" y="5292225"/>
                </a:moveTo>
                <a:cubicBezTo>
                  <a:pt x="3172412" y="5296500"/>
                  <a:pt x="3181435" y="5305050"/>
                  <a:pt x="3186184" y="5317400"/>
                </a:cubicBezTo>
                <a:cubicBezTo>
                  <a:pt x="3195681" y="5340200"/>
                  <a:pt x="3184284" y="5366800"/>
                  <a:pt x="3161490" y="5376300"/>
                </a:cubicBezTo>
                <a:cubicBezTo>
                  <a:pt x="3161490" y="5376300"/>
                  <a:pt x="3161490" y="5376300"/>
                  <a:pt x="2821483" y="5515000"/>
                </a:cubicBezTo>
                <a:cubicBezTo>
                  <a:pt x="2798690" y="5524500"/>
                  <a:pt x="2772097" y="5513100"/>
                  <a:pt x="2762599" y="5488400"/>
                </a:cubicBezTo>
                <a:cubicBezTo>
                  <a:pt x="2760700" y="5484600"/>
                  <a:pt x="2760700" y="5477000"/>
                  <a:pt x="2760700" y="5471300"/>
                </a:cubicBezTo>
                <a:cubicBezTo>
                  <a:pt x="2760700" y="5454200"/>
                  <a:pt x="2770197" y="5437100"/>
                  <a:pt x="2787293" y="5429500"/>
                </a:cubicBezTo>
                <a:cubicBezTo>
                  <a:pt x="2787293" y="5429500"/>
                  <a:pt x="2787293" y="5429500"/>
                  <a:pt x="3127300" y="5292700"/>
                </a:cubicBezTo>
                <a:cubicBezTo>
                  <a:pt x="3138697" y="5287950"/>
                  <a:pt x="3151043" y="5287950"/>
                  <a:pt x="3161728" y="5292225"/>
                </a:cubicBezTo>
                <a:close/>
                <a:moveTo>
                  <a:pt x="6485691" y="5032625"/>
                </a:moveTo>
                <a:cubicBezTo>
                  <a:pt x="6501383" y="5031376"/>
                  <a:pt x="6516007" y="5040295"/>
                  <a:pt x="6523141" y="5054565"/>
                </a:cubicBezTo>
                <a:cubicBezTo>
                  <a:pt x="6532651" y="5075494"/>
                  <a:pt x="6525043" y="5098326"/>
                  <a:pt x="6506021" y="5107840"/>
                </a:cubicBezTo>
                <a:cubicBezTo>
                  <a:pt x="6506021" y="5107840"/>
                  <a:pt x="6506021" y="5107840"/>
                  <a:pt x="6167435" y="5275274"/>
                </a:cubicBezTo>
                <a:cubicBezTo>
                  <a:pt x="6148413" y="5284788"/>
                  <a:pt x="6123685" y="5277177"/>
                  <a:pt x="6114175" y="5258150"/>
                </a:cubicBezTo>
                <a:cubicBezTo>
                  <a:pt x="6110371" y="5252442"/>
                  <a:pt x="6110371" y="5246734"/>
                  <a:pt x="6110371" y="5239124"/>
                </a:cubicBezTo>
                <a:cubicBezTo>
                  <a:pt x="6110371" y="5225805"/>
                  <a:pt x="6117979" y="5210584"/>
                  <a:pt x="6131293" y="5202973"/>
                </a:cubicBezTo>
                <a:cubicBezTo>
                  <a:pt x="6131293" y="5202973"/>
                  <a:pt x="6131293" y="5202973"/>
                  <a:pt x="6469879" y="5037441"/>
                </a:cubicBezTo>
                <a:cubicBezTo>
                  <a:pt x="6475111" y="5034587"/>
                  <a:pt x="6480459" y="5033041"/>
                  <a:pt x="6485691" y="5032625"/>
                </a:cubicBezTo>
                <a:close/>
                <a:moveTo>
                  <a:pt x="5956831" y="5024845"/>
                </a:moveTo>
                <a:cubicBezTo>
                  <a:pt x="5966841" y="5028421"/>
                  <a:pt x="5975419" y="5035574"/>
                  <a:pt x="5980185" y="5045110"/>
                </a:cubicBezTo>
                <a:cubicBezTo>
                  <a:pt x="5989719" y="5066091"/>
                  <a:pt x="5980185" y="5090887"/>
                  <a:pt x="5961121" y="5100424"/>
                </a:cubicBezTo>
                <a:cubicBezTo>
                  <a:pt x="5961121" y="5100424"/>
                  <a:pt x="5961121" y="5100424"/>
                  <a:pt x="5621775" y="5262551"/>
                </a:cubicBezTo>
                <a:cubicBezTo>
                  <a:pt x="5600803" y="5272088"/>
                  <a:pt x="5576021" y="5262551"/>
                  <a:pt x="5566487" y="5241570"/>
                </a:cubicBezTo>
                <a:cubicBezTo>
                  <a:pt x="5562675" y="5235848"/>
                  <a:pt x="5562675" y="5230126"/>
                  <a:pt x="5562675" y="5224403"/>
                </a:cubicBezTo>
                <a:cubicBezTo>
                  <a:pt x="5562675" y="5209144"/>
                  <a:pt x="5570301" y="5193885"/>
                  <a:pt x="5585553" y="5186256"/>
                </a:cubicBezTo>
                <a:cubicBezTo>
                  <a:pt x="5585553" y="5186256"/>
                  <a:pt x="5585553" y="5186256"/>
                  <a:pt x="5924899" y="5026037"/>
                </a:cubicBezTo>
                <a:cubicBezTo>
                  <a:pt x="5935385" y="5021268"/>
                  <a:pt x="5946823" y="5021268"/>
                  <a:pt x="5956831" y="5024845"/>
                </a:cubicBezTo>
                <a:close/>
                <a:moveTo>
                  <a:pt x="398944" y="5024845"/>
                </a:moveTo>
                <a:cubicBezTo>
                  <a:pt x="408946" y="5028421"/>
                  <a:pt x="417519" y="5035573"/>
                  <a:pt x="422281" y="5045110"/>
                </a:cubicBezTo>
                <a:cubicBezTo>
                  <a:pt x="431806" y="5066091"/>
                  <a:pt x="422281" y="5090887"/>
                  <a:pt x="401326" y="5100424"/>
                </a:cubicBezTo>
                <a:cubicBezTo>
                  <a:pt x="401326" y="5100424"/>
                  <a:pt x="401326" y="5100424"/>
                  <a:pt x="62231" y="5262551"/>
                </a:cubicBezTo>
                <a:cubicBezTo>
                  <a:pt x="43181" y="5272088"/>
                  <a:pt x="18415" y="5262551"/>
                  <a:pt x="8890" y="5241570"/>
                </a:cubicBezTo>
                <a:cubicBezTo>
                  <a:pt x="5080" y="5235848"/>
                  <a:pt x="3175" y="5230126"/>
                  <a:pt x="3175" y="5224403"/>
                </a:cubicBezTo>
                <a:cubicBezTo>
                  <a:pt x="3175" y="5209144"/>
                  <a:pt x="12700" y="5193885"/>
                  <a:pt x="27940" y="5186256"/>
                </a:cubicBezTo>
                <a:cubicBezTo>
                  <a:pt x="27940" y="5186256"/>
                  <a:pt x="27940" y="5186256"/>
                  <a:pt x="367035" y="5026037"/>
                </a:cubicBezTo>
                <a:cubicBezTo>
                  <a:pt x="377513" y="5021268"/>
                  <a:pt x="388943" y="5021268"/>
                  <a:pt x="398944" y="5024845"/>
                </a:cubicBezTo>
                <a:close/>
                <a:moveTo>
                  <a:pt x="5409065" y="5014175"/>
                </a:moveTo>
                <a:cubicBezTo>
                  <a:pt x="5419097" y="5018213"/>
                  <a:pt x="5427695" y="5026289"/>
                  <a:pt x="5432471" y="5037690"/>
                </a:cubicBezTo>
                <a:cubicBezTo>
                  <a:pt x="5442023" y="5058592"/>
                  <a:pt x="5434381" y="5083295"/>
                  <a:pt x="5411453" y="5092795"/>
                </a:cubicBezTo>
                <a:cubicBezTo>
                  <a:pt x="5411453" y="5092795"/>
                  <a:pt x="5411453" y="5092795"/>
                  <a:pt x="5071359" y="5246711"/>
                </a:cubicBezTo>
                <a:cubicBezTo>
                  <a:pt x="5050341" y="5256212"/>
                  <a:pt x="5025503" y="5246711"/>
                  <a:pt x="5014039" y="5225809"/>
                </a:cubicBezTo>
                <a:cubicBezTo>
                  <a:pt x="5012129" y="5220108"/>
                  <a:pt x="5010219" y="5214408"/>
                  <a:pt x="5010219" y="5208707"/>
                </a:cubicBezTo>
                <a:cubicBezTo>
                  <a:pt x="5010219" y="5191605"/>
                  <a:pt x="5019771" y="5176404"/>
                  <a:pt x="5036967" y="5168803"/>
                </a:cubicBezTo>
                <a:cubicBezTo>
                  <a:pt x="5036967" y="5168803"/>
                  <a:pt x="5036967" y="5168803"/>
                  <a:pt x="5377063" y="5014888"/>
                </a:cubicBezTo>
                <a:cubicBezTo>
                  <a:pt x="5387571" y="5010137"/>
                  <a:pt x="5399035" y="5010137"/>
                  <a:pt x="5409065" y="5014175"/>
                </a:cubicBezTo>
                <a:close/>
                <a:moveTo>
                  <a:pt x="942536" y="5014175"/>
                </a:moveTo>
                <a:cubicBezTo>
                  <a:pt x="953006" y="5018213"/>
                  <a:pt x="962048" y="5026289"/>
                  <a:pt x="966807" y="5037690"/>
                </a:cubicBezTo>
                <a:cubicBezTo>
                  <a:pt x="976325" y="5058592"/>
                  <a:pt x="966807" y="5083295"/>
                  <a:pt x="945867" y="5092795"/>
                </a:cubicBezTo>
                <a:cubicBezTo>
                  <a:pt x="945867" y="5092795"/>
                  <a:pt x="945867" y="5092795"/>
                  <a:pt x="605119" y="5246711"/>
                </a:cubicBezTo>
                <a:cubicBezTo>
                  <a:pt x="584179" y="5256212"/>
                  <a:pt x="559432" y="5246711"/>
                  <a:pt x="549914" y="5225809"/>
                </a:cubicBezTo>
                <a:cubicBezTo>
                  <a:pt x="546107" y="5220108"/>
                  <a:pt x="546107" y="5214408"/>
                  <a:pt x="546107" y="5208707"/>
                </a:cubicBezTo>
                <a:cubicBezTo>
                  <a:pt x="546107" y="5191605"/>
                  <a:pt x="555625" y="5176404"/>
                  <a:pt x="570854" y="5168803"/>
                </a:cubicBezTo>
                <a:cubicBezTo>
                  <a:pt x="570854" y="5168803"/>
                  <a:pt x="570854" y="5168803"/>
                  <a:pt x="909698" y="5014888"/>
                </a:cubicBezTo>
                <a:cubicBezTo>
                  <a:pt x="920168" y="5010137"/>
                  <a:pt x="932066" y="5010137"/>
                  <a:pt x="942536" y="5014175"/>
                </a:cubicBezTo>
                <a:close/>
                <a:moveTo>
                  <a:pt x="4856099" y="5004627"/>
                </a:moveTo>
                <a:cubicBezTo>
                  <a:pt x="4866353" y="5008654"/>
                  <a:pt x="4874939" y="5016709"/>
                  <a:pt x="4879707" y="5028079"/>
                </a:cubicBezTo>
                <a:cubicBezTo>
                  <a:pt x="4891155" y="5050821"/>
                  <a:pt x="4879707" y="5075458"/>
                  <a:pt x="4856813" y="5084934"/>
                </a:cubicBezTo>
                <a:cubicBezTo>
                  <a:pt x="4856813" y="5084934"/>
                  <a:pt x="4856813" y="5084934"/>
                  <a:pt x="4517223" y="5230861"/>
                </a:cubicBezTo>
                <a:cubicBezTo>
                  <a:pt x="4494329" y="5240337"/>
                  <a:pt x="4469527" y="5230861"/>
                  <a:pt x="4459989" y="5208119"/>
                </a:cubicBezTo>
                <a:cubicBezTo>
                  <a:pt x="4456173" y="5202434"/>
                  <a:pt x="4456173" y="5196748"/>
                  <a:pt x="4456173" y="5191063"/>
                </a:cubicBezTo>
                <a:cubicBezTo>
                  <a:pt x="4456173" y="5174006"/>
                  <a:pt x="4465713" y="5158845"/>
                  <a:pt x="4482883" y="5151264"/>
                </a:cubicBezTo>
                <a:cubicBezTo>
                  <a:pt x="4482883" y="5151264"/>
                  <a:pt x="4482883" y="5151264"/>
                  <a:pt x="4822473" y="5005338"/>
                </a:cubicBezTo>
                <a:cubicBezTo>
                  <a:pt x="4833921" y="5000600"/>
                  <a:pt x="4845845" y="5000600"/>
                  <a:pt x="4856099" y="5004627"/>
                </a:cubicBezTo>
                <a:close/>
                <a:moveTo>
                  <a:pt x="1491745" y="5004627"/>
                </a:moveTo>
                <a:cubicBezTo>
                  <a:pt x="1502238" y="5008654"/>
                  <a:pt x="1511300" y="5016708"/>
                  <a:pt x="1516069" y="5028079"/>
                </a:cubicBezTo>
                <a:cubicBezTo>
                  <a:pt x="1525608" y="5050821"/>
                  <a:pt x="1516069" y="5075458"/>
                  <a:pt x="1493175" y="5084934"/>
                </a:cubicBezTo>
                <a:cubicBezTo>
                  <a:pt x="1493175" y="5084934"/>
                  <a:pt x="1493175" y="5084934"/>
                  <a:pt x="1153585" y="5230861"/>
                </a:cubicBezTo>
                <a:cubicBezTo>
                  <a:pt x="1130691" y="5240337"/>
                  <a:pt x="1103982" y="5230861"/>
                  <a:pt x="1094443" y="5208119"/>
                </a:cubicBezTo>
                <a:cubicBezTo>
                  <a:pt x="1092535" y="5202434"/>
                  <a:pt x="1090627" y="5196748"/>
                  <a:pt x="1090627" y="5191063"/>
                </a:cubicBezTo>
                <a:cubicBezTo>
                  <a:pt x="1090627" y="5174006"/>
                  <a:pt x="1102074" y="5158845"/>
                  <a:pt x="1117336" y="5151264"/>
                </a:cubicBezTo>
                <a:cubicBezTo>
                  <a:pt x="1117336" y="5151264"/>
                  <a:pt x="1117336" y="5151264"/>
                  <a:pt x="1458835" y="5005338"/>
                </a:cubicBezTo>
                <a:cubicBezTo>
                  <a:pt x="1469328" y="5000600"/>
                  <a:pt x="1481252" y="5000600"/>
                  <a:pt x="1491745" y="5004627"/>
                </a:cubicBezTo>
                <a:close/>
                <a:moveTo>
                  <a:pt x="4281261" y="4989339"/>
                </a:moveTo>
                <a:cubicBezTo>
                  <a:pt x="4298865" y="4989608"/>
                  <a:pt x="4315665" y="5000352"/>
                  <a:pt x="4322813" y="5017541"/>
                </a:cubicBezTo>
                <a:cubicBezTo>
                  <a:pt x="4332347" y="5040461"/>
                  <a:pt x="4320907" y="5067200"/>
                  <a:pt x="4298031" y="5076750"/>
                </a:cubicBezTo>
                <a:cubicBezTo>
                  <a:pt x="4298031" y="5076750"/>
                  <a:pt x="4298031" y="5076750"/>
                  <a:pt x="3958689" y="5218087"/>
                </a:cubicBezTo>
                <a:cubicBezTo>
                  <a:pt x="3933907" y="5227637"/>
                  <a:pt x="3909123" y="5216177"/>
                  <a:pt x="3899591" y="5193257"/>
                </a:cubicBezTo>
                <a:cubicBezTo>
                  <a:pt x="3895779" y="5187528"/>
                  <a:pt x="3895779" y="5181798"/>
                  <a:pt x="3895779" y="5176068"/>
                </a:cubicBezTo>
                <a:cubicBezTo>
                  <a:pt x="3895779" y="5156968"/>
                  <a:pt x="3905311" y="5141689"/>
                  <a:pt x="3924375" y="5134049"/>
                </a:cubicBezTo>
                <a:cubicBezTo>
                  <a:pt x="3924375" y="5134049"/>
                  <a:pt x="3924375" y="5134049"/>
                  <a:pt x="4263715" y="4992712"/>
                </a:cubicBezTo>
                <a:cubicBezTo>
                  <a:pt x="4269435" y="4990324"/>
                  <a:pt x="4275393" y="4989250"/>
                  <a:pt x="4281261" y="4989339"/>
                </a:cubicBezTo>
                <a:close/>
                <a:moveTo>
                  <a:pt x="2028604" y="4989339"/>
                </a:moveTo>
                <a:cubicBezTo>
                  <a:pt x="2046196" y="4989608"/>
                  <a:pt x="2062984" y="5000352"/>
                  <a:pt x="2070128" y="5017541"/>
                </a:cubicBezTo>
                <a:cubicBezTo>
                  <a:pt x="2079653" y="5040461"/>
                  <a:pt x="2068223" y="5067200"/>
                  <a:pt x="2045363" y="5076750"/>
                </a:cubicBezTo>
                <a:cubicBezTo>
                  <a:pt x="2045363" y="5076750"/>
                  <a:pt x="2045363" y="5076750"/>
                  <a:pt x="1704363" y="5218087"/>
                </a:cubicBezTo>
                <a:cubicBezTo>
                  <a:pt x="1681503" y="5227637"/>
                  <a:pt x="1654832" y="5216177"/>
                  <a:pt x="1645307" y="5193257"/>
                </a:cubicBezTo>
                <a:cubicBezTo>
                  <a:pt x="1643402" y="5187528"/>
                  <a:pt x="1641497" y="5181798"/>
                  <a:pt x="1641497" y="5176068"/>
                </a:cubicBezTo>
                <a:cubicBezTo>
                  <a:pt x="1641497" y="5156968"/>
                  <a:pt x="1652927" y="5141689"/>
                  <a:pt x="1670072" y="5134049"/>
                </a:cubicBezTo>
                <a:cubicBezTo>
                  <a:pt x="1670072" y="5134049"/>
                  <a:pt x="1670072" y="5134049"/>
                  <a:pt x="2011072" y="4992712"/>
                </a:cubicBezTo>
                <a:cubicBezTo>
                  <a:pt x="2016787" y="4990324"/>
                  <a:pt x="2022740" y="4989250"/>
                  <a:pt x="2028604" y="4989339"/>
                </a:cubicBezTo>
                <a:close/>
                <a:moveTo>
                  <a:pt x="3720415" y="4979828"/>
                </a:moveTo>
                <a:cubicBezTo>
                  <a:pt x="3738811" y="4980185"/>
                  <a:pt x="3755599" y="4991258"/>
                  <a:pt x="3762743" y="5009832"/>
                </a:cubicBezTo>
                <a:cubicBezTo>
                  <a:pt x="3770363" y="5032692"/>
                  <a:pt x="3758933" y="5059362"/>
                  <a:pt x="3736073" y="5068887"/>
                </a:cubicBezTo>
                <a:cubicBezTo>
                  <a:pt x="3736073" y="5068887"/>
                  <a:pt x="3736073" y="5068887"/>
                  <a:pt x="3395073" y="5202237"/>
                </a:cubicBezTo>
                <a:cubicBezTo>
                  <a:pt x="3370308" y="5211762"/>
                  <a:pt x="3343637" y="5200332"/>
                  <a:pt x="3334112" y="5175567"/>
                </a:cubicBezTo>
                <a:cubicBezTo>
                  <a:pt x="3332207" y="5169852"/>
                  <a:pt x="3332207" y="5164137"/>
                  <a:pt x="3332207" y="5158422"/>
                </a:cubicBezTo>
                <a:cubicBezTo>
                  <a:pt x="3332207" y="5141277"/>
                  <a:pt x="3343637" y="5122227"/>
                  <a:pt x="3360782" y="5116512"/>
                </a:cubicBezTo>
                <a:cubicBezTo>
                  <a:pt x="3360782" y="5116512"/>
                  <a:pt x="3360782" y="5116512"/>
                  <a:pt x="3701783" y="4983162"/>
                </a:cubicBezTo>
                <a:cubicBezTo>
                  <a:pt x="3707975" y="4980781"/>
                  <a:pt x="3714285" y="4979709"/>
                  <a:pt x="3720415" y="4979828"/>
                </a:cubicBezTo>
                <a:close/>
                <a:moveTo>
                  <a:pt x="2585938" y="4979828"/>
                </a:moveTo>
                <a:cubicBezTo>
                  <a:pt x="2604132" y="4980185"/>
                  <a:pt x="2622056" y="4991258"/>
                  <a:pt x="2629225" y="5009832"/>
                </a:cubicBezTo>
                <a:cubicBezTo>
                  <a:pt x="2636873" y="5032692"/>
                  <a:pt x="2625401" y="5059362"/>
                  <a:pt x="2602458" y="5068887"/>
                </a:cubicBezTo>
                <a:cubicBezTo>
                  <a:pt x="2602458" y="5068887"/>
                  <a:pt x="2602458" y="5068887"/>
                  <a:pt x="2260223" y="5202237"/>
                </a:cubicBezTo>
                <a:cubicBezTo>
                  <a:pt x="2235368" y="5211762"/>
                  <a:pt x="2208601" y="5200332"/>
                  <a:pt x="2199041" y="5175567"/>
                </a:cubicBezTo>
                <a:cubicBezTo>
                  <a:pt x="2197129" y="5169852"/>
                  <a:pt x="2197129" y="5164137"/>
                  <a:pt x="2197129" y="5158422"/>
                </a:cubicBezTo>
                <a:cubicBezTo>
                  <a:pt x="2197129" y="5141277"/>
                  <a:pt x="2206689" y="5122227"/>
                  <a:pt x="2225808" y="5116512"/>
                </a:cubicBezTo>
                <a:cubicBezTo>
                  <a:pt x="2225808" y="5116512"/>
                  <a:pt x="2225808" y="5116512"/>
                  <a:pt x="2568043" y="4983162"/>
                </a:cubicBezTo>
                <a:cubicBezTo>
                  <a:pt x="2573779" y="4980780"/>
                  <a:pt x="2579874" y="4979709"/>
                  <a:pt x="2585938" y="4979828"/>
                </a:cubicBezTo>
                <a:close/>
                <a:moveTo>
                  <a:pt x="3148516" y="4969031"/>
                </a:moveTo>
                <a:cubicBezTo>
                  <a:pt x="3166938" y="4969927"/>
                  <a:pt x="3183750" y="4982104"/>
                  <a:pt x="3190904" y="5000728"/>
                </a:cubicBezTo>
                <a:cubicBezTo>
                  <a:pt x="3200443" y="5025560"/>
                  <a:pt x="3187089" y="5052302"/>
                  <a:pt x="3162288" y="5061853"/>
                </a:cubicBezTo>
                <a:cubicBezTo>
                  <a:pt x="3162288" y="5061853"/>
                  <a:pt x="3162288" y="5061853"/>
                  <a:pt x="2820801" y="5187924"/>
                </a:cubicBezTo>
                <a:cubicBezTo>
                  <a:pt x="2796000" y="5197475"/>
                  <a:pt x="2769291" y="5184104"/>
                  <a:pt x="2759753" y="5161182"/>
                </a:cubicBezTo>
                <a:cubicBezTo>
                  <a:pt x="2757845" y="5155451"/>
                  <a:pt x="2755937" y="5149721"/>
                  <a:pt x="2755937" y="5143990"/>
                </a:cubicBezTo>
                <a:cubicBezTo>
                  <a:pt x="2755937" y="5124889"/>
                  <a:pt x="2767384" y="5105787"/>
                  <a:pt x="2788369" y="5098146"/>
                </a:cubicBezTo>
                <a:cubicBezTo>
                  <a:pt x="2788369" y="5098146"/>
                  <a:pt x="2788369" y="5098146"/>
                  <a:pt x="3129856" y="4972076"/>
                </a:cubicBezTo>
                <a:cubicBezTo>
                  <a:pt x="3136056" y="4969688"/>
                  <a:pt x="3142376" y="4968733"/>
                  <a:pt x="3148516" y="4969031"/>
                </a:cubicBezTo>
                <a:close/>
                <a:moveTo>
                  <a:pt x="6500077" y="4711372"/>
                </a:moveTo>
                <a:cubicBezTo>
                  <a:pt x="6509825" y="4714702"/>
                  <a:pt x="6518385" y="4721837"/>
                  <a:pt x="6523141" y="4732302"/>
                </a:cubicBezTo>
                <a:cubicBezTo>
                  <a:pt x="6532651" y="4751328"/>
                  <a:pt x="6525043" y="4774161"/>
                  <a:pt x="6506021" y="4785577"/>
                </a:cubicBezTo>
                <a:cubicBezTo>
                  <a:pt x="6506021" y="4785577"/>
                  <a:pt x="6506021" y="4785577"/>
                  <a:pt x="6167435" y="4953011"/>
                </a:cubicBezTo>
                <a:cubicBezTo>
                  <a:pt x="6148413" y="4962525"/>
                  <a:pt x="6123685" y="4954914"/>
                  <a:pt x="6114175" y="4935887"/>
                </a:cubicBezTo>
                <a:cubicBezTo>
                  <a:pt x="6110371" y="4930179"/>
                  <a:pt x="6110371" y="4924471"/>
                  <a:pt x="6110371" y="4916861"/>
                </a:cubicBezTo>
                <a:cubicBezTo>
                  <a:pt x="6110371" y="4903542"/>
                  <a:pt x="6117979" y="4888321"/>
                  <a:pt x="6131293" y="4882613"/>
                </a:cubicBezTo>
                <a:cubicBezTo>
                  <a:pt x="6131293" y="4882613"/>
                  <a:pt x="6131293" y="4882613"/>
                  <a:pt x="6469879" y="4713275"/>
                </a:cubicBezTo>
                <a:cubicBezTo>
                  <a:pt x="6479389" y="4708519"/>
                  <a:pt x="6490327" y="4708043"/>
                  <a:pt x="6500077" y="4711372"/>
                </a:cubicBezTo>
                <a:close/>
                <a:moveTo>
                  <a:pt x="5956831" y="4701876"/>
                </a:moveTo>
                <a:cubicBezTo>
                  <a:pt x="5966841" y="4705218"/>
                  <a:pt x="5975419" y="4712380"/>
                  <a:pt x="5980185" y="4722883"/>
                </a:cubicBezTo>
                <a:cubicBezTo>
                  <a:pt x="5989719" y="4743891"/>
                  <a:pt x="5982093" y="4768718"/>
                  <a:pt x="5961121" y="4778267"/>
                </a:cubicBezTo>
                <a:cubicBezTo>
                  <a:pt x="5961121" y="4778267"/>
                  <a:pt x="5961121" y="4778267"/>
                  <a:pt x="5621775" y="4938688"/>
                </a:cubicBezTo>
                <a:cubicBezTo>
                  <a:pt x="5600803" y="4948237"/>
                  <a:pt x="5576021" y="4940598"/>
                  <a:pt x="5566487" y="4919590"/>
                </a:cubicBezTo>
                <a:cubicBezTo>
                  <a:pt x="5562675" y="4913861"/>
                  <a:pt x="5562675" y="4906222"/>
                  <a:pt x="5562675" y="4900492"/>
                </a:cubicBezTo>
                <a:cubicBezTo>
                  <a:pt x="5562675" y="4885214"/>
                  <a:pt x="5570301" y="4869936"/>
                  <a:pt x="5585553" y="4864207"/>
                </a:cubicBezTo>
                <a:cubicBezTo>
                  <a:pt x="5585553" y="4864207"/>
                  <a:pt x="5585553" y="4864207"/>
                  <a:pt x="5924899" y="4703786"/>
                </a:cubicBezTo>
                <a:cubicBezTo>
                  <a:pt x="5935385" y="4699011"/>
                  <a:pt x="5946823" y="4698534"/>
                  <a:pt x="5956831" y="4701876"/>
                </a:cubicBezTo>
                <a:close/>
                <a:moveTo>
                  <a:pt x="398944" y="4701876"/>
                </a:moveTo>
                <a:cubicBezTo>
                  <a:pt x="408946" y="4705218"/>
                  <a:pt x="417519" y="4712380"/>
                  <a:pt x="422281" y="4722883"/>
                </a:cubicBezTo>
                <a:cubicBezTo>
                  <a:pt x="431806" y="4743891"/>
                  <a:pt x="422281" y="4768718"/>
                  <a:pt x="401326" y="4778267"/>
                </a:cubicBezTo>
                <a:cubicBezTo>
                  <a:pt x="401326" y="4778267"/>
                  <a:pt x="401326" y="4778267"/>
                  <a:pt x="62231" y="4938688"/>
                </a:cubicBezTo>
                <a:cubicBezTo>
                  <a:pt x="43181" y="4948237"/>
                  <a:pt x="16510" y="4940598"/>
                  <a:pt x="6985" y="4919590"/>
                </a:cubicBezTo>
                <a:cubicBezTo>
                  <a:pt x="5080" y="4913861"/>
                  <a:pt x="3175" y="4906222"/>
                  <a:pt x="3175" y="4900492"/>
                </a:cubicBezTo>
                <a:cubicBezTo>
                  <a:pt x="3175" y="4885214"/>
                  <a:pt x="12700" y="4869936"/>
                  <a:pt x="27940" y="4864207"/>
                </a:cubicBezTo>
                <a:cubicBezTo>
                  <a:pt x="27940" y="4864207"/>
                  <a:pt x="27940" y="4864207"/>
                  <a:pt x="367035" y="4703786"/>
                </a:cubicBezTo>
                <a:cubicBezTo>
                  <a:pt x="377513" y="4699011"/>
                  <a:pt x="388943" y="4698534"/>
                  <a:pt x="398944" y="4701876"/>
                </a:cubicBezTo>
                <a:close/>
                <a:moveTo>
                  <a:pt x="5409723" y="4693284"/>
                </a:moveTo>
                <a:cubicBezTo>
                  <a:pt x="5420223" y="4697094"/>
                  <a:pt x="5429293" y="4704714"/>
                  <a:pt x="5434065" y="4715192"/>
                </a:cubicBezTo>
                <a:cubicBezTo>
                  <a:pt x="5443611" y="4738052"/>
                  <a:pt x="5434065" y="4762817"/>
                  <a:pt x="5411155" y="4772342"/>
                </a:cubicBezTo>
                <a:cubicBezTo>
                  <a:pt x="5411155" y="4772342"/>
                  <a:pt x="5411155" y="4772342"/>
                  <a:pt x="5071313" y="4922837"/>
                </a:cubicBezTo>
                <a:cubicBezTo>
                  <a:pt x="5048403" y="4932362"/>
                  <a:pt x="5023583" y="4922837"/>
                  <a:pt x="5014037" y="4901882"/>
                </a:cubicBezTo>
                <a:cubicBezTo>
                  <a:pt x="5012127" y="4894262"/>
                  <a:pt x="5010219" y="4888547"/>
                  <a:pt x="5010219" y="4882832"/>
                </a:cubicBezTo>
                <a:cubicBezTo>
                  <a:pt x="5010219" y="4867592"/>
                  <a:pt x="5019765" y="4850447"/>
                  <a:pt x="5036947" y="4842827"/>
                </a:cubicBezTo>
                <a:cubicBezTo>
                  <a:pt x="5036947" y="4842827"/>
                  <a:pt x="5036947" y="4842827"/>
                  <a:pt x="5376789" y="4694237"/>
                </a:cubicBezTo>
                <a:cubicBezTo>
                  <a:pt x="5387289" y="4689474"/>
                  <a:pt x="5399221" y="4689474"/>
                  <a:pt x="5409723" y="4693284"/>
                </a:cubicBezTo>
                <a:close/>
                <a:moveTo>
                  <a:pt x="943153" y="4693284"/>
                </a:moveTo>
                <a:cubicBezTo>
                  <a:pt x="953415" y="4697094"/>
                  <a:pt x="962006" y="4704714"/>
                  <a:pt x="966779" y="4715192"/>
                </a:cubicBezTo>
                <a:cubicBezTo>
                  <a:pt x="976325" y="4738052"/>
                  <a:pt x="966779" y="4762817"/>
                  <a:pt x="945777" y="4772342"/>
                </a:cubicBezTo>
                <a:cubicBezTo>
                  <a:pt x="945777" y="4772342"/>
                  <a:pt x="945777" y="4772342"/>
                  <a:pt x="604027" y="4922837"/>
                </a:cubicBezTo>
                <a:cubicBezTo>
                  <a:pt x="583026" y="4932362"/>
                  <a:pt x="556297" y="4922837"/>
                  <a:pt x="546750" y="4901882"/>
                </a:cubicBezTo>
                <a:cubicBezTo>
                  <a:pt x="544841" y="4894262"/>
                  <a:pt x="542932" y="4888547"/>
                  <a:pt x="542932" y="4882832"/>
                </a:cubicBezTo>
                <a:cubicBezTo>
                  <a:pt x="542932" y="4867592"/>
                  <a:pt x="552478" y="4850447"/>
                  <a:pt x="569661" y="4842827"/>
                </a:cubicBezTo>
                <a:cubicBezTo>
                  <a:pt x="569661" y="4842827"/>
                  <a:pt x="569661" y="4842827"/>
                  <a:pt x="909502" y="4694237"/>
                </a:cubicBezTo>
                <a:cubicBezTo>
                  <a:pt x="920958" y="4689474"/>
                  <a:pt x="932890" y="4689474"/>
                  <a:pt x="943153" y="4693284"/>
                </a:cubicBezTo>
                <a:close/>
                <a:moveTo>
                  <a:pt x="4840067" y="4679736"/>
                </a:moveTo>
                <a:cubicBezTo>
                  <a:pt x="4857671" y="4680003"/>
                  <a:pt x="4874473" y="4690677"/>
                  <a:pt x="4881621" y="4707755"/>
                </a:cubicBezTo>
                <a:cubicBezTo>
                  <a:pt x="4891153" y="4730526"/>
                  <a:pt x="4879715" y="4757092"/>
                  <a:pt x="4856837" y="4766579"/>
                </a:cubicBezTo>
                <a:cubicBezTo>
                  <a:pt x="4856837" y="4766579"/>
                  <a:pt x="4856837" y="4766579"/>
                  <a:pt x="4517497" y="4906999"/>
                </a:cubicBezTo>
                <a:cubicBezTo>
                  <a:pt x="4494619" y="4916487"/>
                  <a:pt x="4467929" y="4905101"/>
                  <a:pt x="4458397" y="4882331"/>
                </a:cubicBezTo>
                <a:cubicBezTo>
                  <a:pt x="4456491" y="4876638"/>
                  <a:pt x="4454585" y="4870945"/>
                  <a:pt x="4454585" y="4865253"/>
                </a:cubicBezTo>
                <a:cubicBezTo>
                  <a:pt x="4454585" y="4848175"/>
                  <a:pt x="4466023" y="4831096"/>
                  <a:pt x="4483181" y="4823506"/>
                </a:cubicBezTo>
                <a:cubicBezTo>
                  <a:pt x="4483181" y="4823506"/>
                  <a:pt x="4483181" y="4823506"/>
                  <a:pt x="4822523" y="4683087"/>
                </a:cubicBezTo>
                <a:cubicBezTo>
                  <a:pt x="4828243" y="4680715"/>
                  <a:pt x="4834199" y="4679647"/>
                  <a:pt x="4840067" y="4679736"/>
                </a:cubicBezTo>
                <a:close/>
                <a:moveTo>
                  <a:pt x="1476109" y="4679736"/>
                </a:moveTo>
                <a:cubicBezTo>
                  <a:pt x="1493714" y="4680003"/>
                  <a:pt x="1510514" y="4690677"/>
                  <a:pt x="1517663" y="4707755"/>
                </a:cubicBezTo>
                <a:cubicBezTo>
                  <a:pt x="1527195" y="4730526"/>
                  <a:pt x="1515757" y="4757092"/>
                  <a:pt x="1492880" y="4766579"/>
                </a:cubicBezTo>
                <a:cubicBezTo>
                  <a:pt x="1492880" y="4766579"/>
                  <a:pt x="1492880" y="4766579"/>
                  <a:pt x="1151632" y="4906999"/>
                </a:cubicBezTo>
                <a:cubicBezTo>
                  <a:pt x="1128755" y="4916487"/>
                  <a:pt x="1102065" y="4905101"/>
                  <a:pt x="1094440" y="4882331"/>
                </a:cubicBezTo>
                <a:cubicBezTo>
                  <a:pt x="1090627" y="4876638"/>
                  <a:pt x="1090627" y="4870945"/>
                  <a:pt x="1090627" y="4865253"/>
                </a:cubicBezTo>
                <a:cubicBezTo>
                  <a:pt x="1090627" y="4848175"/>
                  <a:pt x="1100159" y="4831096"/>
                  <a:pt x="1117317" y="4823506"/>
                </a:cubicBezTo>
                <a:cubicBezTo>
                  <a:pt x="1117317" y="4823506"/>
                  <a:pt x="1117317" y="4823506"/>
                  <a:pt x="1458564" y="4683087"/>
                </a:cubicBezTo>
                <a:cubicBezTo>
                  <a:pt x="1464283" y="4680715"/>
                  <a:pt x="1470241" y="4679647"/>
                  <a:pt x="1476109" y="4679736"/>
                </a:cubicBezTo>
                <a:close/>
                <a:moveTo>
                  <a:pt x="4282923" y="4670533"/>
                </a:moveTo>
                <a:cubicBezTo>
                  <a:pt x="4300501" y="4671337"/>
                  <a:pt x="4317277" y="4683124"/>
                  <a:pt x="4324415" y="4700269"/>
                </a:cubicBezTo>
                <a:cubicBezTo>
                  <a:pt x="4333935" y="4725034"/>
                  <a:pt x="4322513" y="4751704"/>
                  <a:pt x="4297765" y="4761229"/>
                </a:cubicBezTo>
                <a:cubicBezTo>
                  <a:pt x="4297765" y="4761229"/>
                  <a:pt x="4297765" y="4761229"/>
                  <a:pt x="3957011" y="4892674"/>
                </a:cubicBezTo>
                <a:cubicBezTo>
                  <a:pt x="3934167" y="4902199"/>
                  <a:pt x="3907515" y="4890769"/>
                  <a:pt x="3897997" y="4866004"/>
                </a:cubicBezTo>
                <a:cubicBezTo>
                  <a:pt x="3896093" y="4860289"/>
                  <a:pt x="3894191" y="4854574"/>
                  <a:pt x="3894191" y="4848859"/>
                </a:cubicBezTo>
                <a:cubicBezTo>
                  <a:pt x="3894191" y="4829809"/>
                  <a:pt x="3905611" y="4812664"/>
                  <a:pt x="3924649" y="4805044"/>
                </a:cubicBezTo>
                <a:cubicBezTo>
                  <a:pt x="3924649" y="4805044"/>
                  <a:pt x="3924649" y="4805044"/>
                  <a:pt x="4265403" y="4673599"/>
                </a:cubicBezTo>
                <a:cubicBezTo>
                  <a:pt x="4271115" y="4671218"/>
                  <a:pt x="4277063" y="4670265"/>
                  <a:pt x="4282923" y="4670533"/>
                </a:cubicBezTo>
                <a:close/>
                <a:moveTo>
                  <a:pt x="2029462" y="4670533"/>
                </a:moveTo>
                <a:cubicBezTo>
                  <a:pt x="2047831" y="4671337"/>
                  <a:pt x="2064595" y="4683124"/>
                  <a:pt x="2071729" y="4700269"/>
                </a:cubicBezTo>
                <a:cubicBezTo>
                  <a:pt x="2081240" y="4725034"/>
                  <a:pt x="2067924" y="4751704"/>
                  <a:pt x="2045097" y="4761229"/>
                </a:cubicBezTo>
                <a:cubicBezTo>
                  <a:pt x="2045097" y="4761229"/>
                  <a:pt x="2045097" y="4761229"/>
                  <a:pt x="1704587" y="4892674"/>
                </a:cubicBezTo>
                <a:cubicBezTo>
                  <a:pt x="1679857" y="4902199"/>
                  <a:pt x="1653225" y="4890769"/>
                  <a:pt x="1643714" y="4866004"/>
                </a:cubicBezTo>
                <a:cubicBezTo>
                  <a:pt x="1641811" y="4860289"/>
                  <a:pt x="1639909" y="4854574"/>
                  <a:pt x="1639909" y="4848859"/>
                </a:cubicBezTo>
                <a:cubicBezTo>
                  <a:pt x="1639909" y="4829809"/>
                  <a:pt x="1651323" y="4812664"/>
                  <a:pt x="1670346" y="4805044"/>
                </a:cubicBezTo>
                <a:cubicBezTo>
                  <a:pt x="1670346" y="4805044"/>
                  <a:pt x="1670346" y="4805044"/>
                  <a:pt x="2010855" y="4673599"/>
                </a:cubicBezTo>
                <a:cubicBezTo>
                  <a:pt x="2017038" y="4671218"/>
                  <a:pt x="2023339" y="4670265"/>
                  <a:pt x="2029462" y="4670533"/>
                </a:cubicBezTo>
                <a:close/>
                <a:moveTo>
                  <a:pt x="3720845" y="4661020"/>
                </a:moveTo>
                <a:cubicBezTo>
                  <a:pt x="3740057" y="4661910"/>
                  <a:pt x="3756859" y="4674022"/>
                  <a:pt x="3764007" y="4692545"/>
                </a:cubicBezTo>
                <a:cubicBezTo>
                  <a:pt x="3773539" y="4717242"/>
                  <a:pt x="3760195" y="4745739"/>
                  <a:pt x="3735411" y="4755238"/>
                </a:cubicBezTo>
                <a:cubicBezTo>
                  <a:pt x="3735411" y="4755238"/>
                  <a:pt x="3735411" y="4755238"/>
                  <a:pt x="3392262" y="4876825"/>
                </a:cubicBezTo>
                <a:cubicBezTo>
                  <a:pt x="3367479" y="4886324"/>
                  <a:pt x="3340790" y="4873025"/>
                  <a:pt x="3331258" y="4848328"/>
                </a:cubicBezTo>
                <a:cubicBezTo>
                  <a:pt x="3329351" y="4842628"/>
                  <a:pt x="3327445" y="4836929"/>
                  <a:pt x="3327445" y="4831230"/>
                </a:cubicBezTo>
                <a:cubicBezTo>
                  <a:pt x="3327445" y="4812232"/>
                  <a:pt x="3340790" y="4793234"/>
                  <a:pt x="3359854" y="4785635"/>
                </a:cubicBezTo>
                <a:cubicBezTo>
                  <a:pt x="3359854" y="4785635"/>
                  <a:pt x="3359854" y="4785635"/>
                  <a:pt x="3701097" y="4664048"/>
                </a:cubicBezTo>
                <a:cubicBezTo>
                  <a:pt x="3707769" y="4661673"/>
                  <a:pt x="3714441" y="4660723"/>
                  <a:pt x="3720845" y="4661020"/>
                </a:cubicBezTo>
                <a:close/>
                <a:moveTo>
                  <a:pt x="2587354" y="4661020"/>
                </a:moveTo>
                <a:cubicBezTo>
                  <a:pt x="2606567" y="4661910"/>
                  <a:pt x="2623367" y="4674022"/>
                  <a:pt x="2630516" y="4692545"/>
                </a:cubicBezTo>
                <a:cubicBezTo>
                  <a:pt x="2640048" y="4717242"/>
                  <a:pt x="2626703" y="4745739"/>
                  <a:pt x="2601920" y="4755238"/>
                </a:cubicBezTo>
                <a:cubicBezTo>
                  <a:pt x="2601920" y="4755238"/>
                  <a:pt x="2601920" y="4755238"/>
                  <a:pt x="2258771" y="4876825"/>
                </a:cubicBezTo>
                <a:cubicBezTo>
                  <a:pt x="2233988" y="4886324"/>
                  <a:pt x="2207299" y="4873025"/>
                  <a:pt x="2197767" y="4848328"/>
                </a:cubicBezTo>
                <a:cubicBezTo>
                  <a:pt x="2195860" y="4842628"/>
                  <a:pt x="2193954" y="4836929"/>
                  <a:pt x="2193954" y="4831230"/>
                </a:cubicBezTo>
                <a:cubicBezTo>
                  <a:pt x="2193954" y="4812232"/>
                  <a:pt x="2207299" y="4793234"/>
                  <a:pt x="2226363" y="4785635"/>
                </a:cubicBezTo>
                <a:cubicBezTo>
                  <a:pt x="2226363" y="4785635"/>
                  <a:pt x="2226363" y="4785635"/>
                  <a:pt x="2567605" y="4664048"/>
                </a:cubicBezTo>
                <a:cubicBezTo>
                  <a:pt x="2574278" y="4661673"/>
                  <a:pt x="2580950" y="4660723"/>
                  <a:pt x="2587354" y="4661020"/>
                </a:cubicBezTo>
                <a:close/>
                <a:moveTo>
                  <a:pt x="3149672" y="4651820"/>
                </a:moveTo>
                <a:cubicBezTo>
                  <a:pt x="3169406" y="4653251"/>
                  <a:pt x="3187266" y="4666485"/>
                  <a:pt x="3194410" y="4685085"/>
                </a:cubicBezTo>
                <a:cubicBezTo>
                  <a:pt x="3202030" y="4711792"/>
                  <a:pt x="3188695" y="4740407"/>
                  <a:pt x="3162024" y="4748038"/>
                </a:cubicBezTo>
                <a:cubicBezTo>
                  <a:pt x="3162024" y="4748038"/>
                  <a:pt x="3162024" y="4748038"/>
                  <a:pt x="2819120" y="4862498"/>
                </a:cubicBezTo>
                <a:cubicBezTo>
                  <a:pt x="2794355" y="4872037"/>
                  <a:pt x="2765779" y="4856775"/>
                  <a:pt x="2756254" y="4830068"/>
                </a:cubicBezTo>
                <a:cubicBezTo>
                  <a:pt x="2754349" y="4826253"/>
                  <a:pt x="2754349" y="4820530"/>
                  <a:pt x="2754349" y="4814807"/>
                </a:cubicBezTo>
                <a:cubicBezTo>
                  <a:pt x="2754349" y="4793822"/>
                  <a:pt x="2767684" y="4774745"/>
                  <a:pt x="2788639" y="4767115"/>
                </a:cubicBezTo>
                <a:cubicBezTo>
                  <a:pt x="2788639" y="4767115"/>
                  <a:pt x="2788639" y="4767115"/>
                  <a:pt x="3129639" y="4654562"/>
                </a:cubicBezTo>
                <a:cubicBezTo>
                  <a:pt x="3136307" y="4652178"/>
                  <a:pt x="3143093" y="4651343"/>
                  <a:pt x="3149672" y="4651820"/>
                </a:cubicBezTo>
                <a:close/>
                <a:moveTo>
                  <a:pt x="6484889" y="4386504"/>
                </a:moveTo>
                <a:cubicBezTo>
                  <a:pt x="6500315" y="4385257"/>
                  <a:pt x="6516007" y="4394165"/>
                  <a:pt x="6523141" y="4408417"/>
                </a:cubicBezTo>
                <a:cubicBezTo>
                  <a:pt x="6532651" y="4427421"/>
                  <a:pt x="6525043" y="4452126"/>
                  <a:pt x="6506021" y="4461627"/>
                </a:cubicBezTo>
                <a:cubicBezTo>
                  <a:pt x="6506021" y="4461627"/>
                  <a:pt x="6506021" y="4461627"/>
                  <a:pt x="6167435" y="4630760"/>
                </a:cubicBezTo>
                <a:cubicBezTo>
                  <a:pt x="6148413" y="4640262"/>
                  <a:pt x="6123685" y="4632660"/>
                  <a:pt x="6114175" y="4613657"/>
                </a:cubicBezTo>
                <a:cubicBezTo>
                  <a:pt x="6112273" y="4607956"/>
                  <a:pt x="6110371" y="4600354"/>
                  <a:pt x="6110371" y="4594653"/>
                </a:cubicBezTo>
                <a:cubicBezTo>
                  <a:pt x="6110371" y="4581350"/>
                  <a:pt x="6117979" y="4566148"/>
                  <a:pt x="6131293" y="4560446"/>
                </a:cubicBezTo>
                <a:cubicBezTo>
                  <a:pt x="6131293" y="4560446"/>
                  <a:pt x="6131293" y="4560446"/>
                  <a:pt x="6469879" y="4391314"/>
                </a:cubicBezTo>
                <a:cubicBezTo>
                  <a:pt x="6474635" y="4388463"/>
                  <a:pt x="6479747" y="4386919"/>
                  <a:pt x="6484889" y="4386504"/>
                </a:cubicBezTo>
                <a:close/>
                <a:moveTo>
                  <a:pt x="5956857" y="4379613"/>
                </a:moveTo>
                <a:cubicBezTo>
                  <a:pt x="5966859" y="4382955"/>
                  <a:pt x="5975431" y="4390117"/>
                  <a:pt x="5980193" y="4400620"/>
                </a:cubicBezTo>
                <a:cubicBezTo>
                  <a:pt x="5989719" y="4421628"/>
                  <a:pt x="5982099" y="4446455"/>
                  <a:pt x="5961143" y="4456004"/>
                </a:cubicBezTo>
                <a:cubicBezTo>
                  <a:pt x="5961143" y="4456004"/>
                  <a:pt x="5961143" y="4456004"/>
                  <a:pt x="5622049" y="4616425"/>
                </a:cubicBezTo>
                <a:cubicBezTo>
                  <a:pt x="5601093" y="4625974"/>
                  <a:pt x="5576329" y="4616425"/>
                  <a:pt x="5564899" y="4595417"/>
                </a:cubicBezTo>
                <a:cubicBezTo>
                  <a:pt x="5562993" y="4589688"/>
                  <a:pt x="5561087" y="4583959"/>
                  <a:pt x="5561087" y="4578229"/>
                </a:cubicBezTo>
                <a:cubicBezTo>
                  <a:pt x="5561087" y="4561041"/>
                  <a:pt x="5570613" y="4547673"/>
                  <a:pt x="5585853" y="4540034"/>
                </a:cubicBezTo>
                <a:cubicBezTo>
                  <a:pt x="5585853" y="4540034"/>
                  <a:pt x="5585853" y="4540034"/>
                  <a:pt x="5924949" y="4381523"/>
                </a:cubicBezTo>
                <a:cubicBezTo>
                  <a:pt x="5935427" y="4376748"/>
                  <a:pt x="5946857" y="4376271"/>
                  <a:pt x="5956857" y="4379613"/>
                </a:cubicBezTo>
                <a:close/>
                <a:moveTo>
                  <a:pt x="398944" y="4379613"/>
                </a:moveTo>
                <a:cubicBezTo>
                  <a:pt x="408946" y="4382955"/>
                  <a:pt x="417519" y="4390116"/>
                  <a:pt x="422281" y="4400620"/>
                </a:cubicBezTo>
                <a:cubicBezTo>
                  <a:pt x="431806" y="4421628"/>
                  <a:pt x="422281" y="4446455"/>
                  <a:pt x="401326" y="4456004"/>
                </a:cubicBezTo>
                <a:cubicBezTo>
                  <a:pt x="401326" y="4456004"/>
                  <a:pt x="401326" y="4456004"/>
                  <a:pt x="62231" y="4616425"/>
                </a:cubicBezTo>
                <a:cubicBezTo>
                  <a:pt x="41276" y="4625974"/>
                  <a:pt x="16510" y="4616425"/>
                  <a:pt x="6985" y="4595417"/>
                </a:cubicBezTo>
                <a:cubicBezTo>
                  <a:pt x="5080" y="4589688"/>
                  <a:pt x="3175" y="4583959"/>
                  <a:pt x="3175" y="4578229"/>
                </a:cubicBezTo>
                <a:cubicBezTo>
                  <a:pt x="3175" y="4561041"/>
                  <a:pt x="12700" y="4547673"/>
                  <a:pt x="27940" y="4540034"/>
                </a:cubicBezTo>
                <a:cubicBezTo>
                  <a:pt x="27940" y="4540034"/>
                  <a:pt x="27940" y="4540034"/>
                  <a:pt x="367035" y="4381523"/>
                </a:cubicBezTo>
                <a:cubicBezTo>
                  <a:pt x="377513" y="4376748"/>
                  <a:pt x="388943" y="4376271"/>
                  <a:pt x="398944" y="4379613"/>
                </a:cubicBezTo>
                <a:close/>
                <a:moveTo>
                  <a:pt x="5410439" y="4371271"/>
                </a:moveTo>
                <a:cubicBezTo>
                  <a:pt x="5420701" y="4375324"/>
                  <a:pt x="5429293" y="4383431"/>
                  <a:pt x="5434065" y="4394876"/>
                </a:cubicBezTo>
                <a:cubicBezTo>
                  <a:pt x="5443611" y="4415858"/>
                  <a:pt x="5434065" y="4442562"/>
                  <a:pt x="5411155" y="4452100"/>
                </a:cubicBezTo>
                <a:cubicBezTo>
                  <a:pt x="5411155" y="4452100"/>
                  <a:pt x="5411155" y="4452100"/>
                  <a:pt x="5071313" y="4598974"/>
                </a:cubicBezTo>
                <a:cubicBezTo>
                  <a:pt x="5048403" y="4608512"/>
                  <a:pt x="5023583" y="4598974"/>
                  <a:pt x="5014037" y="4576085"/>
                </a:cubicBezTo>
                <a:cubicBezTo>
                  <a:pt x="5010219" y="4570362"/>
                  <a:pt x="5010219" y="4564640"/>
                  <a:pt x="5010219" y="4558918"/>
                </a:cubicBezTo>
                <a:cubicBezTo>
                  <a:pt x="5010219" y="4541750"/>
                  <a:pt x="5019765" y="4526491"/>
                  <a:pt x="5036947" y="4518861"/>
                </a:cubicBezTo>
                <a:cubicBezTo>
                  <a:pt x="5036947" y="4518861"/>
                  <a:pt x="5036947" y="4518861"/>
                  <a:pt x="5376789" y="4371986"/>
                </a:cubicBezTo>
                <a:cubicBezTo>
                  <a:pt x="5388245" y="4367218"/>
                  <a:pt x="5400177" y="4367218"/>
                  <a:pt x="5410439" y="4371271"/>
                </a:cubicBezTo>
                <a:close/>
                <a:moveTo>
                  <a:pt x="943811" y="4371271"/>
                </a:moveTo>
                <a:cubicBezTo>
                  <a:pt x="954543" y="4375324"/>
                  <a:pt x="963605" y="4383431"/>
                  <a:pt x="968374" y="4394876"/>
                </a:cubicBezTo>
                <a:cubicBezTo>
                  <a:pt x="977913" y="4415858"/>
                  <a:pt x="966466" y="4442562"/>
                  <a:pt x="945480" y="4452100"/>
                </a:cubicBezTo>
                <a:cubicBezTo>
                  <a:pt x="945480" y="4452100"/>
                  <a:pt x="945480" y="4452100"/>
                  <a:pt x="603982" y="4598974"/>
                </a:cubicBezTo>
                <a:cubicBezTo>
                  <a:pt x="581088" y="4608512"/>
                  <a:pt x="556287" y="4598974"/>
                  <a:pt x="546748" y="4576085"/>
                </a:cubicBezTo>
                <a:cubicBezTo>
                  <a:pt x="544840" y="4570362"/>
                  <a:pt x="542932" y="4564640"/>
                  <a:pt x="542932" y="4558918"/>
                </a:cubicBezTo>
                <a:cubicBezTo>
                  <a:pt x="542932" y="4541750"/>
                  <a:pt x="552471" y="4526491"/>
                  <a:pt x="569641" y="4518861"/>
                </a:cubicBezTo>
                <a:cubicBezTo>
                  <a:pt x="569641" y="4518861"/>
                  <a:pt x="569641" y="4518861"/>
                  <a:pt x="909232" y="4371986"/>
                </a:cubicBezTo>
                <a:cubicBezTo>
                  <a:pt x="920679" y="4367218"/>
                  <a:pt x="933080" y="4367218"/>
                  <a:pt x="943811" y="4371271"/>
                </a:cubicBezTo>
                <a:close/>
                <a:moveTo>
                  <a:pt x="4841693" y="4359077"/>
                </a:moveTo>
                <a:cubicBezTo>
                  <a:pt x="4859285" y="4359345"/>
                  <a:pt x="4876073" y="4370046"/>
                  <a:pt x="4883215" y="4387168"/>
                </a:cubicBezTo>
                <a:cubicBezTo>
                  <a:pt x="4892741" y="4411901"/>
                  <a:pt x="4881311" y="4438536"/>
                  <a:pt x="4856545" y="4448048"/>
                </a:cubicBezTo>
                <a:cubicBezTo>
                  <a:pt x="4856545" y="4448048"/>
                  <a:pt x="4856545" y="4448048"/>
                  <a:pt x="4517451" y="4583124"/>
                </a:cubicBezTo>
                <a:cubicBezTo>
                  <a:pt x="4492685" y="4592637"/>
                  <a:pt x="4466015" y="4581222"/>
                  <a:pt x="4456491" y="4556490"/>
                </a:cubicBezTo>
                <a:cubicBezTo>
                  <a:pt x="4454585" y="4550782"/>
                  <a:pt x="4454585" y="4545075"/>
                  <a:pt x="4454585" y="4539367"/>
                </a:cubicBezTo>
                <a:cubicBezTo>
                  <a:pt x="4454585" y="4522245"/>
                  <a:pt x="4464111" y="4505122"/>
                  <a:pt x="4483161" y="4497513"/>
                </a:cubicBezTo>
                <a:cubicBezTo>
                  <a:pt x="4483161" y="4497513"/>
                  <a:pt x="4483161" y="4497513"/>
                  <a:pt x="4824161" y="4362436"/>
                </a:cubicBezTo>
                <a:cubicBezTo>
                  <a:pt x="4829877" y="4360058"/>
                  <a:pt x="4835829" y="4358988"/>
                  <a:pt x="4841693" y="4359077"/>
                </a:cubicBezTo>
                <a:close/>
                <a:moveTo>
                  <a:pt x="1477218" y="4359077"/>
                </a:moveTo>
                <a:cubicBezTo>
                  <a:pt x="1495524" y="4359345"/>
                  <a:pt x="1511955" y="4370046"/>
                  <a:pt x="1517670" y="4387168"/>
                </a:cubicBezTo>
                <a:cubicBezTo>
                  <a:pt x="1527195" y="4411901"/>
                  <a:pt x="1515765" y="4438536"/>
                  <a:pt x="1492905" y="4448048"/>
                </a:cubicBezTo>
                <a:cubicBezTo>
                  <a:pt x="1492905" y="4448048"/>
                  <a:pt x="1492905" y="4448048"/>
                  <a:pt x="1151905" y="4583124"/>
                </a:cubicBezTo>
                <a:cubicBezTo>
                  <a:pt x="1129045" y="4592637"/>
                  <a:pt x="1102374" y="4581222"/>
                  <a:pt x="1092849" y="4556490"/>
                </a:cubicBezTo>
                <a:cubicBezTo>
                  <a:pt x="1090944" y="4550782"/>
                  <a:pt x="1089039" y="4545075"/>
                  <a:pt x="1089039" y="4539367"/>
                </a:cubicBezTo>
                <a:cubicBezTo>
                  <a:pt x="1089039" y="4522245"/>
                  <a:pt x="1100469" y="4505122"/>
                  <a:pt x="1117614" y="4497513"/>
                </a:cubicBezTo>
                <a:cubicBezTo>
                  <a:pt x="1117614" y="4497513"/>
                  <a:pt x="1117614" y="4497513"/>
                  <a:pt x="1458614" y="4362436"/>
                </a:cubicBezTo>
                <a:cubicBezTo>
                  <a:pt x="1464805" y="4360058"/>
                  <a:pt x="1471116" y="4358988"/>
                  <a:pt x="1477218" y="4359077"/>
                </a:cubicBezTo>
                <a:close/>
                <a:moveTo>
                  <a:pt x="4284047" y="4349914"/>
                </a:moveTo>
                <a:cubicBezTo>
                  <a:pt x="4302849" y="4350811"/>
                  <a:pt x="4320315" y="4363005"/>
                  <a:pt x="4326017" y="4381655"/>
                </a:cubicBezTo>
                <a:cubicBezTo>
                  <a:pt x="4335523" y="4406522"/>
                  <a:pt x="4322215" y="4435214"/>
                  <a:pt x="4297503" y="4442865"/>
                </a:cubicBezTo>
                <a:cubicBezTo>
                  <a:pt x="4297503" y="4442865"/>
                  <a:pt x="4297503" y="4442865"/>
                  <a:pt x="3957235" y="4569111"/>
                </a:cubicBezTo>
                <a:cubicBezTo>
                  <a:pt x="3932523" y="4576762"/>
                  <a:pt x="3904009" y="4565285"/>
                  <a:pt x="3896405" y="4538506"/>
                </a:cubicBezTo>
                <a:cubicBezTo>
                  <a:pt x="3894503" y="4534680"/>
                  <a:pt x="3892603" y="4528941"/>
                  <a:pt x="3892603" y="4523203"/>
                </a:cubicBezTo>
                <a:cubicBezTo>
                  <a:pt x="3892603" y="4502162"/>
                  <a:pt x="3904009" y="4484947"/>
                  <a:pt x="3924919" y="4477296"/>
                </a:cubicBezTo>
                <a:cubicBezTo>
                  <a:pt x="3924919" y="4477296"/>
                  <a:pt x="3924919" y="4477296"/>
                  <a:pt x="4265187" y="4352963"/>
                </a:cubicBezTo>
                <a:cubicBezTo>
                  <a:pt x="4271365" y="4350572"/>
                  <a:pt x="4277781" y="4349615"/>
                  <a:pt x="4284047" y="4349914"/>
                </a:cubicBezTo>
                <a:close/>
                <a:moveTo>
                  <a:pt x="2029797" y="4349914"/>
                </a:moveTo>
                <a:cubicBezTo>
                  <a:pt x="2048687" y="4350811"/>
                  <a:pt x="2066509" y="4363005"/>
                  <a:pt x="2073637" y="4381655"/>
                </a:cubicBezTo>
                <a:cubicBezTo>
                  <a:pt x="2081241" y="4406522"/>
                  <a:pt x="2069835" y="4435214"/>
                  <a:pt x="2045123" y="4442865"/>
                </a:cubicBezTo>
                <a:cubicBezTo>
                  <a:pt x="2045123" y="4442865"/>
                  <a:pt x="2045123" y="4442865"/>
                  <a:pt x="1702954" y="4569111"/>
                </a:cubicBezTo>
                <a:cubicBezTo>
                  <a:pt x="1678242" y="4576762"/>
                  <a:pt x="1651629" y="4565285"/>
                  <a:pt x="1642124" y="4538506"/>
                </a:cubicBezTo>
                <a:cubicBezTo>
                  <a:pt x="1640223" y="4534680"/>
                  <a:pt x="1638322" y="4528941"/>
                  <a:pt x="1638322" y="4523203"/>
                </a:cubicBezTo>
                <a:cubicBezTo>
                  <a:pt x="1638322" y="4502162"/>
                  <a:pt x="1651629" y="4484947"/>
                  <a:pt x="1670638" y="4477296"/>
                </a:cubicBezTo>
                <a:cubicBezTo>
                  <a:pt x="1670638" y="4477296"/>
                  <a:pt x="1670638" y="4477296"/>
                  <a:pt x="2010906" y="4352963"/>
                </a:cubicBezTo>
                <a:cubicBezTo>
                  <a:pt x="2017084" y="4350572"/>
                  <a:pt x="2023500" y="4349615"/>
                  <a:pt x="2029797" y="4349914"/>
                </a:cubicBezTo>
                <a:close/>
                <a:moveTo>
                  <a:pt x="3722775" y="4341193"/>
                </a:moveTo>
                <a:cubicBezTo>
                  <a:pt x="3742407" y="4342984"/>
                  <a:pt x="3759897" y="4355521"/>
                  <a:pt x="3765607" y="4375580"/>
                </a:cubicBezTo>
                <a:cubicBezTo>
                  <a:pt x="3775127" y="4402325"/>
                  <a:pt x="3759897" y="4430981"/>
                  <a:pt x="3733245" y="4438622"/>
                </a:cubicBezTo>
                <a:cubicBezTo>
                  <a:pt x="3733245" y="4438622"/>
                  <a:pt x="3733245" y="4438622"/>
                  <a:pt x="3392486" y="4551335"/>
                </a:cubicBezTo>
                <a:cubicBezTo>
                  <a:pt x="3365834" y="4560887"/>
                  <a:pt x="3337279" y="4545604"/>
                  <a:pt x="3329664" y="4518858"/>
                </a:cubicBezTo>
                <a:cubicBezTo>
                  <a:pt x="3327761" y="4515038"/>
                  <a:pt x="3325857" y="4509306"/>
                  <a:pt x="3325857" y="4503575"/>
                </a:cubicBezTo>
                <a:cubicBezTo>
                  <a:pt x="3325857" y="4482561"/>
                  <a:pt x="3339183" y="4463457"/>
                  <a:pt x="3360123" y="4455816"/>
                </a:cubicBezTo>
                <a:cubicBezTo>
                  <a:pt x="3360123" y="4455816"/>
                  <a:pt x="3360123" y="4455816"/>
                  <a:pt x="3702787" y="4343103"/>
                </a:cubicBezTo>
                <a:cubicBezTo>
                  <a:pt x="3709449" y="4341193"/>
                  <a:pt x="3716231" y="4340596"/>
                  <a:pt x="3722775" y="4341193"/>
                </a:cubicBezTo>
                <a:close/>
                <a:moveTo>
                  <a:pt x="2589285" y="4341193"/>
                </a:moveTo>
                <a:cubicBezTo>
                  <a:pt x="2608917" y="4342984"/>
                  <a:pt x="2626407" y="4355521"/>
                  <a:pt x="2632118" y="4375580"/>
                </a:cubicBezTo>
                <a:cubicBezTo>
                  <a:pt x="2641636" y="4402325"/>
                  <a:pt x="2626407" y="4430981"/>
                  <a:pt x="2599755" y="4438622"/>
                </a:cubicBezTo>
                <a:cubicBezTo>
                  <a:pt x="2599755" y="4438622"/>
                  <a:pt x="2599755" y="4438622"/>
                  <a:pt x="2258996" y="4551335"/>
                </a:cubicBezTo>
                <a:cubicBezTo>
                  <a:pt x="2232344" y="4560887"/>
                  <a:pt x="2203789" y="4545604"/>
                  <a:pt x="2196174" y="4518858"/>
                </a:cubicBezTo>
                <a:cubicBezTo>
                  <a:pt x="2194271" y="4515038"/>
                  <a:pt x="2192367" y="4509306"/>
                  <a:pt x="2192367" y="4503575"/>
                </a:cubicBezTo>
                <a:cubicBezTo>
                  <a:pt x="2192367" y="4482561"/>
                  <a:pt x="2205693" y="4463457"/>
                  <a:pt x="2226633" y="4455816"/>
                </a:cubicBezTo>
                <a:cubicBezTo>
                  <a:pt x="2226633" y="4455816"/>
                  <a:pt x="2226633" y="4455816"/>
                  <a:pt x="2569296" y="4343103"/>
                </a:cubicBezTo>
                <a:cubicBezTo>
                  <a:pt x="2575959" y="4341193"/>
                  <a:pt x="2582741" y="4340596"/>
                  <a:pt x="2589285" y="4341193"/>
                </a:cubicBezTo>
                <a:close/>
                <a:moveTo>
                  <a:pt x="3152162" y="4331988"/>
                </a:moveTo>
                <a:cubicBezTo>
                  <a:pt x="3172554" y="4334403"/>
                  <a:pt x="3190008" y="4348353"/>
                  <a:pt x="3195706" y="4369816"/>
                </a:cubicBezTo>
                <a:cubicBezTo>
                  <a:pt x="3205205" y="4396525"/>
                  <a:pt x="3188108" y="4427050"/>
                  <a:pt x="3161512" y="4434681"/>
                </a:cubicBezTo>
                <a:cubicBezTo>
                  <a:pt x="3161512" y="4434681"/>
                  <a:pt x="3161512" y="4434681"/>
                  <a:pt x="2819564" y="4535794"/>
                </a:cubicBezTo>
                <a:cubicBezTo>
                  <a:pt x="2791068" y="4543425"/>
                  <a:pt x="2762572" y="4528162"/>
                  <a:pt x="2753074" y="4499546"/>
                </a:cubicBezTo>
                <a:cubicBezTo>
                  <a:pt x="2753074" y="4495730"/>
                  <a:pt x="2751174" y="4490007"/>
                  <a:pt x="2751174" y="4486191"/>
                </a:cubicBezTo>
                <a:cubicBezTo>
                  <a:pt x="2751174" y="4463298"/>
                  <a:pt x="2766372" y="4442312"/>
                  <a:pt x="2789168" y="4434681"/>
                </a:cubicBezTo>
                <a:cubicBezTo>
                  <a:pt x="2789168" y="4434681"/>
                  <a:pt x="2789168" y="4434681"/>
                  <a:pt x="3131116" y="4333568"/>
                </a:cubicBezTo>
                <a:cubicBezTo>
                  <a:pt x="3138240" y="4331660"/>
                  <a:pt x="3145364" y="4331183"/>
                  <a:pt x="3152162" y="4331988"/>
                </a:cubicBezTo>
                <a:close/>
                <a:moveTo>
                  <a:pt x="6500077" y="4065058"/>
                </a:moveTo>
                <a:cubicBezTo>
                  <a:pt x="6509825" y="4068165"/>
                  <a:pt x="6518385" y="4074857"/>
                  <a:pt x="6523141" y="4084416"/>
                </a:cubicBezTo>
                <a:cubicBezTo>
                  <a:pt x="6532651" y="4103536"/>
                  <a:pt x="6525043" y="4128391"/>
                  <a:pt x="6506021" y="4137951"/>
                </a:cubicBezTo>
                <a:cubicBezTo>
                  <a:pt x="6506021" y="4137951"/>
                  <a:pt x="6506021" y="4137951"/>
                  <a:pt x="6167435" y="4310027"/>
                </a:cubicBezTo>
                <a:cubicBezTo>
                  <a:pt x="6148413" y="4319587"/>
                  <a:pt x="6123685" y="4311939"/>
                  <a:pt x="6114175" y="4292819"/>
                </a:cubicBezTo>
                <a:cubicBezTo>
                  <a:pt x="6112273" y="4287084"/>
                  <a:pt x="6110371" y="4279436"/>
                  <a:pt x="6110371" y="4273700"/>
                </a:cubicBezTo>
                <a:cubicBezTo>
                  <a:pt x="6110371" y="4260316"/>
                  <a:pt x="6117979" y="4245020"/>
                  <a:pt x="6131293" y="4239285"/>
                </a:cubicBezTo>
                <a:cubicBezTo>
                  <a:pt x="6131293" y="4239285"/>
                  <a:pt x="6131293" y="4239285"/>
                  <a:pt x="6469879" y="4067209"/>
                </a:cubicBezTo>
                <a:cubicBezTo>
                  <a:pt x="6479389" y="4062429"/>
                  <a:pt x="6490327" y="4061951"/>
                  <a:pt x="6500077" y="4065058"/>
                </a:cubicBezTo>
                <a:close/>
                <a:moveTo>
                  <a:pt x="5941081" y="4054778"/>
                </a:moveTo>
                <a:cubicBezTo>
                  <a:pt x="5957333" y="4053614"/>
                  <a:pt x="5973051" y="4062925"/>
                  <a:pt x="5980193" y="4078680"/>
                </a:cubicBezTo>
                <a:cubicBezTo>
                  <a:pt x="5989719" y="4099688"/>
                  <a:pt x="5982099" y="4124515"/>
                  <a:pt x="5961143" y="4135973"/>
                </a:cubicBezTo>
                <a:cubicBezTo>
                  <a:pt x="5961143" y="4135973"/>
                  <a:pt x="5961143" y="4135973"/>
                  <a:pt x="5622049" y="4292575"/>
                </a:cubicBezTo>
                <a:cubicBezTo>
                  <a:pt x="5601093" y="4302124"/>
                  <a:pt x="5574423" y="4292575"/>
                  <a:pt x="5564899" y="4271567"/>
                </a:cubicBezTo>
                <a:cubicBezTo>
                  <a:pt x="5562993" y="4265838"/>
                  <a:pt x="5561087" y="4260109"/>
                  <a:pt x="5561087" y="4254379"/>
                </a:cubicBezTo>
                <a:cubicBezTo>
                  <a:pt x="5561087" y="4239101"/>
                  <a:pt x="5570613" y="4223823"/>
                  <a:pt x="5585853" y="4216184"/>
                </a:cubicBezTo>
                <a:cubicBezTo>
                  <a:pt x="5585853" y="4216184"/>
                  <a:pt x="5585853" y="4216184"/>
                  <a:pt x="5924949" y="4059583"/>
                </a:cubicBezTo>
                <a:cubicBezTo>
                  <a:pt x="5930187" y="4056718"/>
                  <a:pt x="5935665" y="4055166"/>
                  <a:pt x="5941081" y="4054778"/>
                </a:cubicBezTo>
                <a:close/>
                <a:moveTo>
                  <a:pt x="383168" y="4054778"/>
                </a:moveTo>
                <a:cubicBezTo>
                  <a:pt x="399421" y="4053614"/>
                  <a:pt x="415137" y="4062925"/>
                  <a:pt x="422281" y="4078680"/>
                </a:cubicBezTo>
                <a:cubicBezTo>
                  <a:pt x="431806" y="4099688"/>
                  <a:pt x="424186" y="4124515"/>
                  <a:pt x="401326" y="4135973"/>
                </a:cubicBezTo>
                <a:cubicBezTo>
                  <a:pt x="401326" y="4135973"/>
                  <a:pt x="401326" y="4135973"/>
                  <a:pt x="62231" y="4292575"/>
                </a:cubicBezTo>
                <a:cubicBezTo>
                  <a:pt x="41276" y="4302124"/>
                  <a:pt x="16510" y="4292575"/>
                  <a:pt x="6985" y="4271567"/>
                </a:cubicBezTo>
                <a:cubicBezTo>
                  <a:pt x="5080" y="4265838"/>
                  <a:pt x="3175" y="4260109"/>
                  <a:pt x="3175" y="4254379"/>
                </a:cubicBezTo>
                <a:cubicBezTo>
                  <a:pt x="3175" y="4239101"/>
                  <a:pt x="12700" y="4223823"/>
                  <a:pt x="27940" y="4216184"/>
                </a:cubicBezTo>
                <a:cubicBezTo>
                  <a:pt x="27940" y="4216184"/>
                  <a:pt x="27940" y="4216184"/>
                  <a:pt x="367035" y="4059583"/>
                </a:cubicBezTo>
                <a:cubicBezTo>
                  <a:pt x="372274" y="4056718"/>
                  <a:pt x="377751" y="4055166"/>
                  <a:pt x="383168" y="4054778"/>
                </a:cubicBezTo>
                <a:close/>
                <a:moveTo>
                  <a:pt x="5394113" y="4046334"/>
                </a:moveTo>
                <a:cubicBezTo>
                  <a:pt x="5411717" y="4046513"/>
                  <a:pt x="5428517" y="4056898"/>
                  <a:pt x="5435665" y="4072655"/>
                </a:cubicBezTo>
                <a:cubicBezTo>
                  <a:pt x="5445199" y="4095575"/>
                  <a:pt x="5433759" y="4122314"/>
                  <a:pt x="5410883" y="4131864"/>
                </a:cubicBezTo>
                <a:cubicBezTo>
                  <a:pt x="5410883" y="4131864"/>
                  <a:pt x="5410883" y="4131864"/>
                  <a:pt x="5071541" y="4275111"/>
                </a:cubicBezTo>
                <a:cubicBezTo>
                  <a:pt x="5048665" y="4284661"/>
                  <a:pt x="5021975" y="4275111"/>
                  <a:pt x="5012443" y="4252191"/>
                </a:cubicBezTo>
                <a:cubicBezTo>
                  <a:pt x="5010537" y="4246462"/>
                  <a:pt x="5008631" y="4240732"/>
                  <a:pt x="5008631" y="4235002"/>
                </a:cubicBezTo>
                <a:cubicBezTo>
                  <a:pt x="5008631" y="4217812"/>
                  <a:pt x="5020069" y="4200622"/>
                  <a:pt x="5037227" y="4192983"/>
                </a:cubicBezTo>
                <a:cubicBezTo>
                  <a:pt x="5037227" y="4192983"/>
                  <a:pt x="5037227" y="4192983"/>
                  <a:pt x="5376567" y="4049736"/>
                </a:cubicBezTo>
                <a:cubicBezTo>
                  <a:pt x="5382287" y="4047348"/>
                  <a:pt x="5388245" y="4046274"/>
                  <a:pt x="5394113" y="4046334"/>
                </a:cubicBezTo>
                <a:close/>
                <a:moveTo>
                  <a:pt x="926790" y="4046333"/>
                </a:moveTo>
                <a:cubicBezTo>
                  <a:pt x="944408" y="4046513"/>
                  <a:pt x="961220" y="4056898"/>
                  <a:pt x="968374" y="4072655"/>
                </a:cubicBezTo>
                <a:cubicBezTo>
                  <a:pt x="977913" y="4095575"/>
                  <a:pt x="966466" y="4122314"/>
                  <a:pt x="945480" y="4131864"/>
                </a:cubicBezTo>
                <a:cubicBezTo>
                  <a:pt x="945480" y="4131864"/>
                  <a:pt x="945480" y="4131864"/>
                  <a:pt x="603982" y="4275111"/>
                </a:cubicBezTo>
                <a:cubicBezTo>
                  <a:pt x="581088" y="4284661"/>
                  <a:pt x="554379" y="4275111"/>
                  <a:pt x="544840" y="4252191"/>
                </a:cubicBezTo>
                <a:cubicBezTo>
                  <a:pt x="542932" y="4246462"/>
                  <a:pt x="542932" y="4240732"/>
                  <a:pt x="542932" y="4235002"/>
                </a:cubicBezTo>
                <a:cubicBezTo>
                  <a:pt x="542932" y="4217812"/>
                  <a:pt x="552471" y="4200622"/>
                  <a:pt x="569641" y="4192983"/>
                </a:cubicBezTo>
                <a:cubicBezTo>
                  <a:pt x="569641" y="4192983"/>
                  <a:pt x="569641" y="4192983"/>
                  <a:pt x="909232" y="4049736"/>
                </a:cubicBezTo>
                <a:cubicBezTo>
                  <a:pt x="914956" y="4047348"/>
                  <a:pt x="920918" y="4046274"/>
                  <a:pt x="926790" y="4046333"/>
                </a:cubicBezTo>
                <a:close/>
                <a:moveTo>
                  <a:pt x="4823945" y="4041415"/>
                </a:moveTo>
                <a:cubicBezTo>
                  <a:pt x="4848675" y="4033836"/>
                  <a:pt x="4875307" y="4045204"/>
                  <a:pt x="4884817" y="4069836"/>
                </a:cubicBezTo>
                <a:cubicBezTo>
                  <a:pt x="4894329" y="4092573"/>
                  <a:pt x="4881013" y="4120995"/>
                  <a:pt x="4856283" y="4130469"/>
                </a:cubicBezTo>
                <a:cubicBezTo>
                  <a:pt x="4856283" y="4130469"/>
                  <a:pt x="4856283" y="4130469"/>
                  <a:pt x="4515773" y="4259312"/>
                </a:cubicBezTo>
                <a:cubicBezTo>
                  <a:pt x="4492947" y="4268786"/>
                  <a:pt x="4464411" y="4255522"/>
                  <a:pt x="4454901" y="4230891"/>
                </a:cubicBezTo>
                <a:cubicBezTo>
                  <a:pt x="4452999" y="4225206"/>
                  <a:pt x="4452999" y="4219522"/>
                  <a:pt x="4452999" y="4215733"/>
                </a:cubicBezTo>
                <a:cubicBezTo>
                  <a:pt x="4452999" y="4196785"/>
                  <a:pt x="4464411" y="4177837"/>
                  <a:pt x="4483435" y="4170258"/>
                </a:cubicBezTo>
                <a:cubicBezTo>
                  <a:pt x="4483435" y="4170258"/>
                  <a:pt x="4483435" y="4170258"/>
                  <a:pt x="4823945" y="4041415"/>
                </a:cubicBezTo>
                <a:close/>
                <a:moveTo>
                  <a:pt x="1458398" y="4041415"/>
                </a:moveTo>
                <a:cubicBezTo>
                  <a:pt x="1483128" y="4033836"/>
                  <a:pt x="1509760" y="4045204"/>
                  <a:pt x="1519272" y="4069836"/>
                </a:cubicBezTo>
                <a:cubicBezTo>
                  <a:pt x="1528783" y="4092573"/>
                  <a:pt x="1517369" y="4120995"/>
                  <a:pt x="1492639" y="4130469"/>
                </a:cubicBezTo>
                <a:cubicBezTo>
                  <a:pt x="1492639" y="4130469"/>
                  <a:pt x="1492639" y="4130469"/>
                  <a:pt x="1152130" y="4259312"/>
                </a:cubicBezTo>
                <a:cubicBezTo>
                  <a:pt x="1127400" y="4268786"/>
                  <a:pt x="1100768" y="4255522"/>
                  <a:pt x="1091257" y="4230891"/>
                </a:cubicBezTo>
                <a:cubicBezTo>
                  <a:pt x="1089354" y="4225206"/>
                  <a:pt x="1087452" y="4219522"/>
                  <a:pt x="1087452" y="4215733"/>
                </a:cubicBezTo>
                <a:cubicBezTo>
                  <a:pt x="1087452" y="4196785"/>
                  <a:pt x="1098866" y="4177837"/>
                  <a:pt x="1117889" y="4170258"/>
                </a:cubicBezTo>
                <a:cubicBezTo>
                  <a:pt x="1117889" y="4170258"/>
                  <a:pt x="1117889" y="4170258"/>
                  <a:pt x="1458398" y="4041415"/>
                </a:cubicBezTo>
                <a:close/>
                <a:moveTo>
                  <a:pt x="4286123" y="4031097"/>
                </a:moveTo>
                <a:cubicBezTo>
                  <a:pt x="4305837" y="4032526"/>
                  <a:pt x="4323401" y="4045742"/>
                  <a:pt x="4329137" y="4064316"/>
                </a:cubicBezTo>
                <a:cubicBezTo>
                  <a:pt x="4338695" y="4090986"/>
                  <a:pt x="4325313" y="4119561"/>
                  <a:pt x="4298549" y="4127181"/>
                </a:cubicBezTo>
                <a:cubicBezTo>
                  <a:pt x="4298549" y="4127181"/>
                  <a:pt x="4298549" y="4127181"/>
                  <a:pt x="3956339" y="4243386"/>
                </a:cubicBezTo>
                <a:cubicBezTo>
                  <a:pt x="3929575" y="4252911"/>
                  <a:pt x="3900897" y="4237671"/>
                  <a:pt x="3893251" y="4212906"/>
                </a:cubicBezTo>
                <a:cubicBezTo>
                  <a:pt x="3891339" y="4207191"/>
                  <a:pt x="3889427" y="4201476"/>
                  <a:pt x="3889427" y="4195761"/>
                </a:cubicBezTo>
                <a:cubicBezTo>
                  <a:pt x="3889427" y="4174806"/>
                  <a:pt x="3902809" y="4155756"/>
                  <a:pt x="3923839" y="4150041"/>
                </a:cubicBezTo>
                <a:cubicBezTo>
                  <a:pt x="3923839" y="4150041"/>
                  <a:pt x="3923839" y="4150041"/>
                  <a:pt x="4266049" y="4033836"/>
                </a:cubicBezTo>
                <a:cubicBezTo>
                  <a:pt x="4272741" y="4031455"/>
                  <a:pt x="4279551" y="4030621"/>
                  <a:pt x="4286123" y="4031097"/>
                </a:cubicBezTo>
                <a:close/>
                <a:moveTo>
                  <a:pt x="2031420" y="4031097"/>
                </a:moveTo>
                <a:cubicBezTo>
                  <a:pt x="2050298" y="4032526"/>
                  <a:pt x="2068107" y="4045742"/>
                  <a:pt x="2075230" y="4064316"/>
                </a:cubicBezTo>
                <a:cubicBezTo>
                  <a:pt x="2082828" y="4090986"/>
                  <a:pt x="2069531" y="4119561"/>
                  <a:pt x="2042936" y="4127181"/>
                </a:cubicBezTo>
                <a:cubicBezTo>
                  <a:pt x="2042936" y="4127181"/>
                  <a:pt x="2042936" y="4127181"/>
                  <a:pt x="1702908" y="4243386"/>
                </a:cubicBezTo>
                <a:cubicBezTo>
                  <a:pt x="1676314" y="4252911"/>
                  <a:pt x="1649720" y="4237671"/>
                  <a:pt x="1640222" y="4212906"/>
                </a:cubicBezTo>
                <a:cubicBezTo>
                  <a:pt x="1638322" y="4207191"/>
                  <a:pt x="1638322" y="4201476"/>
                  <a:pt x="1638322" y="4195761"/>
                </a:cubicBezTo>
                <a:cubicBezTo>
                  <a:pt x="1638322" y="4174806"/>
                  <a:pt x="1649720" y="4155756"/>
                  <a:pt x="1670615" y="4150041"/>
                </a:cubicBezTo>
                <a:cubicBezTo>
                  <a:pt x="1670615" y="4150041"/>
                  <a:pt x="1670615" y="4150041"/>
                  <a:pt x="2012543" y="4033836"/>
                </a:cubicBezTo>
                <a:cubicBezTo>
                  <a:pt x="2018717" y="4031455"/>
                  <a:pt x="2025128" y="4030621"/>
                  <a:pt x="2031420" y="4031097"/>
                </a:cubicBezTo>
                <a:close/>
                <a:moveTo>
                  <a:pt x="3725869" y="4022416"/>
                </a:moveTo>
                <a:cubicBezTo>
                  <a:pt x="3745631" y="4024827"/>
                  <a:pt x="3763517" y="4038758"/>
                  <a:pt x="3770671" y="4060189"/>
                </a:cubicBezTo>
                <a:cubicBezTo>
                  <a:pt x="3778301" y="4086859"/>
                  <a:pt x="3763039" y="4115434"/>
                  <a:pt x="3734425" y="4124959"/>
                </a:cubicBezTo>
                <a:cubicBezTo>
                  <a:pt x="3734425" y="4124959"/>
                  <a:pt x="3734425" y="4124959"/>
                  <a:pt x="3391039" y="4225924"/>
                </a:cubicBezTo>
                <a:cubicBezTo>
                  <a:pt x="3364332" y="4235449"/>
                  <a:pt x="3335716" y="4218304"/>
                  <a:pt x="3326178" y="4191634"/>
                </a:cubicBezTo>
                <a:cubicBezTo>
                  <a:pt x="3326178" y="4185919"/>
                  <a:pt x="3324270" y="4182109"/>
                  <a:pt x="3324270" y="4176394"/>
                </a:cubicBezTo>
                <a:cubicBezTo>
                  <a:pt x="3324270" y="4153534"/>
                  <a:pt x="3339532" y="4132579"/>
                  <a:pt x="3362424" y="4126864"/>
                </a:cubicBezTo>
                <a:cubicBezTo>
                  <a:pt x="3362424" y="4126864"/>
                  <a:pt x="3362424" y="4126864"/>
                  <a:pt x="3705809" y="4023994"/>
                </a:cubicBezTo>
                <a:cubicBezTo>
                  <a:pt x="3712487" y="4022089"/>
                  <a:pt x="3719283" y="4021613"/>
                  <a:pt x="3725869" y="4022416"/>
                </a:cubicBezTo>
                <a:close/>
                <a:moveTo>
                  <a:pt x="2590975" y="4022416"/>
                </a:moveTo>
                <a:cubicBezTo>
                  <a:pt x="2610668" y="4024827"/>
                  <a:pt x="2628490" y="4038758"/>
                  <a:pt x="2635619" y="4060189"/>
                </a:cubicBezTo>
                <a:cubicBezTo>
                  <a:pt x="2643223" y="4086859"/>
                  <a:pt x="2628015" y="4115434"/>
                  <a:pt x="2599499" y="4124959"/>
                </a:cubicBezTo>
                <a:cubicBezTo>
                  <a:pt x="2599499" y="4124959"/>
                  <a:pt x="2599499" y="4124959"/>
                  <a:pt x="2257315" y="4225924"/>
                </a:cubicBezTo>
                <a:cubicBezTo>
                  <a:pt x="2230701" y="4235449"/>
                  <a:pt x="2202185" y="4218304"/>
                  <a:pt x="2192680" y="4191634"/>
                </a:cubicBezTo>
                <a:cubicBezTo>
                  <a:pt x="2190779" y="4185919"/>
                  <a:pt x="2190779" y="4182109"/>
                  <a:pt x="2190779" y="4176394"/>
                </a:cubicBezTo>
                <a:cubicBezTo>
                  <a:pt x="2190779" y="4153534"/>
                  <a:pt x="2205987" y="4132579"/>
                  <a:pt x="2228800" y="4126864"/>
                </a:cubicBezTo>
                <a:cubicBezTo>
                  <a:pt x="2228800" y="4126864"/>
                  <a:pt x="2228800" y="4126864"/>
                  <a:pt x="2570984" y="4023994"/>
                </a:cubicBezTo>
                <a:cubicBezTo>
                  <a:pt x="2577638" y="4022089"/>
                  <a:pt x="2584410" y="4021613"/>
                  <a:pt x="2590975" y="4022416"/>
                </a:cubicBezTo>
                <a:close/>
                <a:moveTo>
                  <a:pt x="3155340" y="4014776"/>
                </a:moveTo>
                <a:cubicBezTo>
                  <a:pt x="3176383" y="4017723"/>
                  <a:pt x="3195008" y="4032725"/>
                  <a:pt x="3200739" y="4054156"/>
                </a:cubicBezTo>
                <a:cubicBezTo>
                  <a:pt x="3208380" y="4084636"/>
                  <a:pt x="3189277" y="4113211"/>
                  <a:pt x="3160623" y="4120831"/>
                </a:cubicBezTo>
                <a:cubicBezTo>
                  <a:pt x="3160623" y="4120831"/>
                  <a:pt x="3160623" y="4120831"/>
                  <a:pt x="2816770" y="4210366"/>
                </a:cubicBezTo>
                <a:cubicBezTo>
                  <a:pt x="2786205" y="4217986"/>
                  <a:pt x="2757550" y="4198936"/>
                  <a:pt x="2749909" y="4170361"/>
                </a:cubicBezTo>
                <a:cubicBezTo>
                  <a:pt x="2747999" y="4166551"/>
                  <a:pt x="2747999" y="4160836"/>
                  <a:pt x="2747999" y="4157026"/>
                </a:cubicBezTo>
                <a:cubicBezTo>
                  <a:pt x="2747999" y="4132261"/>
                  <a:pt x="2765192" y="4109401"/>
                  <a:pt x="2788115" y="4103686"/>
                </a:cubicBezTo>
                <a:cubicBezTo>
                  <a:pt x="2788115" y="4103686"/>
                  <a:pt x="2788115" y="4103686"/>
                  <a:pt x="3133879" y="4016056"/>
                </a:cubicBezTo>
                <a:cubicBezTo>
                  <a:pt x="3141043" y="4014151"/>
                  <a:pt x="3148326" y="4013794"/>
                  <a:pt x="3155340" y="4014776"/>
                </a:cubicBezTo>
                <a:close/>
                <a:moveTo>
                  <a:pt x="6500077" y="3741436"/>
                </a:moveTo>
                <a:cubicBezTo>
                  <a:pt x="6509825" y="3744778"/>
                  <a:pt x="6518385" y="3751939"/>
                  <a:pt x="6523141" y="3762442"/>
                </a:cubicBezTo>
                <a:cubicBezTo>
                  <a:pt x="6532651" y="3781538"/>
                  <a:pt x="6525043" y="3804453"/>
                  <a:pt x="6506021" y="3814001"/>
                </a:cubicBezTo>
                <a:cubicBezTo>
                  <a:pt x="6506021" y="3814001"/>
                  <a:pt x="6506021" y="3814001"/>
                  <a:pt x="6167435" y="3987775"/>
                </a:cubicBezTo>
                <a:cubicBezTo>
                  <a:pt x="6148413" y="3997323"/>
                  <a:pt x="6125587" y="3989684"/>
                  <a:pt x="6114175" y="3970588"/>
                </a:cubicBezTo>
                <a:cubicBezTo>
                  <a:pt x="6112273" y="3964860"/>
                  <a:pt x="6110371" y="3957221"/>
                  <a:pt x="6110371" y="3951492"/>
                </a:cubicBezTo>
                <a:cubicBezTo>
                  <a:pt x="6110371" y="3938125"/>
                  <a:pt x="6117979" y="3922848"/>
                  <a:pt x="6131293" y="3917120"/>
                </a:cubicBezTo>
                <a:cubicBezTo>
                  <a:pt x="6131293" y="3917120"/>
                  <a:pt x="6131293" y="3917120"/>
                  <a:pt x="6469879" y="3743346"/>
                </a:cubicBezTo>
                <a:cubicBezTo>
                  <a:pt x="6479391" y="3738572"/>
                  <a:pt x="6490327" y="3738095"/>
                  <a:pt x="6500077" y="3741436"/>
                </a:cubicBezTo>
                <a:close/>
                <a:moveTo>
                  <a:pt x="5958263" y="3734455"/>
                </a:moveTo>
                <a:cubicBezTo>
                  <a:pt x="5968533" y="3738274"/>
                  <a:pt x="5977609" y="3745914"/>
                  <a:pt x="5983341" y="3756417"/>
                </a:cubicBezTo>
                <a:cubicBezTo>
                  <a:pt x="5992895" y="3777425"/>
                  <a:pt x="5983341" y="3804162"/>
                  <a:pt x="5962323" y="3813710"/>
                </a:cubicBezTo>
                <a:cubicBezTo>
                  <a:pt x="5962323" y="3813710"/>
                  <a:pt x="5962323" y="3813710"/>
                  <a:pt x="5622229" y="3970312"/>
                </a:cubicBezTo>
                <a:cubicBezTo>
                  <a:pt x="5599301" y="3979861"/>
                  <a:pt x="5574463" y="3970312"/>
                  <a:pt x="5564909" y="3949304"/>
                </a:cubicBezTo>
                <a:cubicBezTo>
                  <a:pt x="5562999" y="3943575"/>
                  <a:pt x="5561087" y="3935936"/>
                  <a:pt x="5561087" y="3930207"/>
                </a:cubicBezTo>
                <a:cubicBezTo>
                  <a:pt x="5561087" y="3914929"/>
                  <a:pt x="5570641" y="3899650"/>
                  <a:pt x="5585927" y="3892011"/>
                </a:cubicBezTo>
                <a:cubicBezTo>
                  <a:pt x="5585927" y="3892011"/>
                  <a:pt x="5585927" y="3892011"/>
                  <a:pt x="5926021" y="3735410"/>
                </a:cubicBezTo>
                <a:cubicBezTo>
                  <a:pt x="5936531" y="3730635"/>
                  <a:pt x="5947995" y="3730635"/>
                  <a:pt x="5958263" y="3734455"/>
                </a:cubicBezTo>
                <a:close/>
                <a:moveTo>
                  <a:pt x="398944" y="3734455"/>
                </a:moveTo>
                <a:cubicBezTo>
                  <a:pt x="408946" y="3738274"/>
                  <a:pt x="417519" y="3745914"/>
                  <a:pt x="422281" y="3756417"/>
                </a:cubicBezTo>
                <a:cubicBezTo>
                  <a:pt x="431806" y="3777425"/>
                  <a:pt x="424186" y="3804162"/>
                  <a:pt x="401326" y="3813710"/>
                </a:cubicBezTo>
                <a:cubicBezTo>
                  <a:pt x="401326" y="3813710"/>
                  <a:pt x="401326" y="3813710"/>
                  <a:pt x="62231" y="3970312"/>
                </a:cubicBezTo>
                <a:cubicBezTo>
                  <a:pt x="41276" y="3979861"/>
                  <a:pt x="16510" y="3970312"/>
                  <a:pt x="6985" y="3949304"/>
                </a:cubicBezTo>
                <a:cubicBezTo>
                  <a:pt x="5080" y="3943575"/>
                  <a:pt x="3175" y="3935936"/>
                  <a:pt x="3175" y="3930207"/>
                </a:cubicBezTo>
                <a:cubicBezTo>
                  <a:pt x="3175" y="3914929"/>
                  <a:pt x="12700" y="3899650"/>
                  <a:pt x="27940" y="3892011"/>
                </a:cubicBezTo>
                <a:cubicBezTo>
                  <a:pt x="27940" y="3892011"/>
                  <a:pt x="27940" y="3892011"/>
                  <a:pt x="367035" y="3735410"/>
                </a:cubicBezTo>
                <a:cubicBezTo>
                  <a:pt x="377513" y="3730635"/>
                  <a:pt x="388943" y="3730635"/>
                  <a:pt x="398944" y="3734455"/>
                </a:cubicBezTo>
                <a:close/>
                <a:moveTo>
                  <a:pt x="5394113" y="3725656"/>
                </a:moveTo>
                <a:cubicBezTo>
                  <a:pt x="5411717" y="3725923"/>
                  <a:pt x="5428517" y="3736611"/>
                  <a:pt x="5435665" y="3753711"/>
                </a:cubicBezTo>
                <a:cubicBezTo>
                  <a:pt x="5445199" y="3776511"/>
                  <a:pt x="5433759" y="3803111"/>
                  <a:pt x="5410883" y="3812611"/>
                </a:cubicBezTo>
                <a:cubicBezTo>
                  <a:pt x="5410883" y="3812611"/>
                  <a:pt x="5410883" y="3812611"/>
                  <a:pt x="5071541" y="3951311"/>
                </a:cubicBezTo>
                <a:cubicBezTo>
                  <a:pt x="5046759" y="3960811"/>
                  <a:pt x="5021975" y="3951311"/>
                  <a:pt x="5012443" y="3928511"/>
                </a:cubicBezTo>
                <a:cubicBezTo>
                  <a:pt x="5008631" y="3922811"/>
                  <a:pt x="5008631" y="3917111"/>
                  <a:pt x="5008631" y="3911411"/>
                </a:cubicBezTo>
                <a:cubicBezTo>
                  <a:pt x="5008631" y="3892411"/>
                  <a:pt x="5018163" y="3875311"/>
                  <a:pt x="5037227" y="3869611"/>
                </a:cubicBezTo>
                <a:cubicBezTo>
                  <a:pt x="5037227" y="3869611"/>
                  <a:pt x="5037227" y="3869611"/>
                  <a:pt x="5376567" y="3729011"/>
                </a:cubicBezTo>
                <a:cubicBezTo>
                  <a:pt x="5382287" y="3726636"/>
                  <a:pt x="5388245" y="3725567"/>
                  <a:pt x="5394113" y="3725656"/>
                </a:cubicBezTo>
                <a:close/>
                <a:moveTo>
                  <a:pt x="927631" y="3725656"/>
                </a:moveTo>
                <a:cubicBezTo>
                  <a:pt x="945504" y="3725923"/>
                  <a:pt x="961231" y="3736611"/>
                  <a:pt x="968380" y="3753711"/>
                </a:cubicBezTo>
                <a:cubicBezTo>
                  <a:pt x="977912" y="3776511"/>
                  <a:pt x="968380" y="3803111"/>
                  <a:pt x="945503" y="3812611"/>
                </a:cubicBezTo>
                <a:cubicBezTo>
                  <a:pt x="945503" y="3812611"/>
                  <a:pt x="945503" y="3812611"/>
                  <a:pt x="604256" y="3951311"/>
                </a:cubicBezTo>
                <a:cubicBezTo>
                  <a:pt x="581379" y="3960811"/>
                  <a:pt x="554689" y="3951311"/>
                  <a:pt x="545157" y="3928511"/>
                </a:cubicBezTo>
                <a:cubicBezTo>
                  <a:pt x="543250" y="3922811"/>
                  <a:pt x="541344" y="3917111"/>
                  <a:pt x="541344" y="3911411"/>
                </a:cubicBezTo>
                <a:cubicBezTo>
                  <a:pt x="541344" y="3892411"/>
                  <a:pt x="552782" y="3875311"/>
                  <a:pt x="569940" y="3869611"/>
                </a:cubicBezTo>
                <a:cubicBezTo>
                  <a:pt x="569940" y="3869611"/>
                  <a:pt x="569940" y="3869611"/>
                  <a:pt x="909281" y="3729011"/>
                </a:cubicBezTo>
                <a:cubicBezTo>
                  <a:pt x="915477" y="3726636"/>
                  <a:pt x="921673" y="3725567"/>
                  <a:pt x="927631" y="3725656"/>
                </a:cubicBezTo>
                <a:close/>
                <a:moveTo>
                  <a:pt x="4842671" y="3718044"/>
                </a:moveTo>
                <a:cubicBezTo>
                  <a:pt x="4861539" y="3718935"/>
                  <a:pt x="4879067" y="3731046"/>
                  <a:pt x="4884791" y="3749569"/>
                </a:cubicBezTo>
                <a:cubicBezTo>
                  <a:pt x="4894329" y="3774266"/>
                  <a:pt x="4880975" y="3802763"/>
                  <a:pt x="4856173" y="3810362"/>
                </a:cubicBezTo>
                <a:cubicBezTo>
                  <a:pt x="4856173" y="3810362"/>
                  <a:pt x="4856173" y="3810362"/>
                  <a:pt x="4514687" y="3933849"/>
                </a:cubicBezTo>
                <a:cubicBezTo>
                  <a:pt x="4489885" y="3943348"/>
                  <a:pt x="4463177" y="3930049"/>
                  <a:pt x="4453639" y="3905352"/>
                </a:cubicBezTo>
                <a:cubicBezTo>
                  <a:pt x="4451731" y="3901552"/>
                  <a:pt x="4449823" y="3895853"/>
                  <a:pt x="4449823" y="3890154"/>
                </a:cubicBezTo>
                <a:cubicBezTo>
                  <a:pt x="4449823" y="3869256"/>
                  <a:pt x="4463177" y="3852158"/>
                  <a:pt x="4482255" y="3844559"/>
                </a:cubicBezTo>
                <a:cubicBezTo>
                  <a:pt x="4482255" y="3844559"/>
                  <a:pt x="4482255" y="3844559"/>
                  <a:pt x="4823743" y="3721072"/>
                </a:cubicBezTo>
                <a:cubicBezTo>
                  <a:pt x="4829943" y="3718697"/>
                  <a:pt x="4836381" y="3717747"/>
                  <a:pt x="4842671" y="3718044"/>
                </a:cubicBezTo>
                <a:close/>
                <a:moveTo>
                  <a:pt x="1478630" y="3718044"/>
                </a:moveTo>
                <a:cubicBezTo>
                  <a:pt x="1496986" y="3718935"/>
                  <a:pt x="1513738" y="3731046"/>
                  <a:pt x="1520866" y="3749569"/>
                </a:cubicBezTo>
                <a:cubicBezTo>
                  <a:pt x="1530371" y="3774266"/>
                  <a:pt x="1517064" y="3802763"/>
                  <a:pt x="1492352" y="3810362"/>
                </a:cubicBezTo>
                <a:cubicBezTo>
                  <a:pt x="1492352" y="3810362"/>
                  <a:pt x="1492352" y="3810362"/>
                  <a:pt x="1152084" y="3933849"/>
                </a:cubicBezTo>
                <a:cubicBezTo>
                  <a:pt x="1127372" y="3943348"/>
                  <a:pt x="1098858" y="3930049"/>
                  <a:pt x="1089353" y="3905352"/>
                </a:cubicBezTo>
                <a:cubicBezTo>
                  <a:pt x="1087452" y="3901552"/>
                  <a:pt x="1087452" y="3895853"/>
                  <a:pt x="1087452" y="3890154"/>
                </a:cubicBezTo>
                <a:cubicBezTo>
                  <a:pt x="1087452" y="3869256"/>
                  <a:pt x="1098858" y="3852158"/>
                  <a:pt x="1117867" y="3844559"/>
                </a:cubicBezTo>
                <a:cubicBezTo>
                  <a:pt x="1117867" y="3844559"/>
                  <a:pt x="1117867" y="3844559"/>
                  <a:pt x="1460036" y="3721072"/>
                </a:cubicBezTo>
                <a:cubicBezTo>
                  <a:pt x="1466214" y="3718697"/>
                  <a:pt x="1472511" y="3717747"/>
                  <a:pt x="1478630" y="3718044"/>
                </a:cubicBezTo>
                <a:close/>
                <a:moveTo>
                  <a:pt x="4287785" y="3710433"/>
                </a:moveTo>
                <a:cubicBezTo>
                  <a:pt x="4307473" y="3711947"/>
                  <a:pt x="4325013" y="3725481"/>
                  <a:pt x="4330739" y="3745426"/>
                </a:cubicBezTo>
                <a:cubicBezTo>
                  <a:pt x="4340283" y="3772020"/>
                  <a:pt x="4325011" y="3800514"/>
                  <a:pt x="4298285" y="3810012"/>
                </a:cubicBezTo>
                <a:cubicBezTo>
                  <a:pt x="4298285" y="3810012"/>
                  <a:pt x="4298285" y="3810012"/>
                  <a:pt x="3954657" y="3916388"/>
                </a:cubicBezTo>
                <a:cubicBezTo>
                  <a:pt x="3927929" y="3925886"/>
                  <a:pt x="3899295" y="3910689"/>
                  <a:pt x="3891659" y="3884095"/>
                </a:cubicBezTo>
                <a:cubicBezTo>
                  <a:pt x="3889749" y="3878397"/>
                  <a:pt x="3887839" y="3874597"/>
                  <a:pt x="3887839" y="3868899"/>
                </a:cubicBezTo>
                <a:cubicBezTo>
                  <a:pt x="3887839" y="3846104"/>
                  <a:pt x="3903113" y="3827108"/>
                  <a:pt x="3924111" y="3819510"/>
                </a:cubicBezTo>
                <a:cubicBezTo>
                  <a:pt x="3924111" y="3819510"/>
                  <a:pt x="3924111" y="3819510"/>
                  <a:pt x="4267741" y="3713134"/>
                </a:cubicBezTo>
                <a:cubicBezTo>
                  <a:pt x="4274423" y="3710759"/>
                  <a:pt x="4281223" y="3709928"/>
                  <a:pt x="4287785" y="3710433"/>
                </a:cubicBezTo>
                <a:close/>
                <a:moveTo>
                  <a:pt x="2033497" y="3710433"/>
                </a:moveTo>
                <a:cubicBezTo>
                  <a:pt x="2053287" y="3711947"/>
                  <a:pt x="2071197" y="3725481"/>
                  <a:pt x="2078361" y="3745426"/>
                </a:cubicBezTo>
                <a:cubicBezTo>
                  <a:pt x="2086003" y="3772020"/>
                  <a:pt x="2070720" y="3800514"/>
                  <a:pt x="2043974" y="3810012"/>
                </a:cubicBezTo>
                <a:cubicBezTo>
                  <a:pt x="2043974" y="3810012"/>
                  <a:pt x="2043974" y="3810012"/>
                  <a:pt x="1702011" y="3916388"/>
                </a:cubicBezTo>
                <a:cubicBezTo>
                  <a:pt x="1673355" y="3925886"/>
                  <a:pt x="1644699" y="3910689"/>
                  <a:pt x="1637057" y="3884095"/>
                </a:cubicBezTo>
                <a:cubicBezTo>
                  <a:pt x="1635147" y="3878397"/>
                  <a:pt x="1635147" y="3874597"/>
                  <a:pt x="1635147" y="3868899"/>
                </a:cubicBezTo>
                <a:cubicBezTo>
                  <a:pt x="1635147" y="3846104"/>
                  <a:pt x="1648520" y="3827108"/>
                  <a:pt x="1669534" y="3819510"/>
                </a:cubicBezTo>
                <a:cubicBezTo>
                  <a:pt x="1669534" y="3819510"/>
                  <a:pt x="1669534" y="3819510"/>
                  <a:pt x="2013408" y="3713134"/>
                </a:cubicBezTo>
                <a:cubicBezTo>
                  <a:pt x="2020094" y="3710759"/>
                  <a:pt x="2026900" y="3709928"/>
                  <a:pt x="2033497" y="3710433"/>
                </a:cubicBezTo>
                <a:close/>
                <a:moveTo>
                  <a:pt x="3726993" y="3702861"/>
                </a:moveTo>
                <a:cubicBezTo>
                  <a:pt x="3747979" y="3705090"/>
                  <a:pt x="3766553" y="3720426"/>
                  <a:pt x="3772267" y="3743251"/>
                </a:cubicBezTo>
                <a:cubicBezTo>
                  <a:pt x="3779887" y="3771784"/>
                  <a:pt x="3762743" y="3800316"/>
                  <a:pt x="3734167" y="3807924"/>
                </a:cubicBezTo>
                <a:cubicBezTo>
                  <a:pt x="3734167" y="3807924"/>
                  <a:pt x="3734167" y="3807924"/>
                  <a:pt x="3391263" y="3899227"/>
                </a:cubicBezTo>
                <a:cubicBezTo>
                  <a:pt x="3360783" y="3906836"/>
                  <a:pt x="3332207" y="3889717"/>
                  <a:pt x="3324587" y="3861184"/>
                </a:cubicBezTo>
                <a:cubicBezTo>
                  <a:pt x="3322682" y="3857380"/>
                  <a:pt x="3322682" y="3851674"/>
                  <a:pt x="3322682" y="3847869"/>
                </a:cubicBezTo>
                <a:cubicBezTo>
                  <a:pt x="3322682" y="3823142"/>
                  <a:pt x="3337922" y="3802218"/>
                  <a:pt x="3362688" y="3796512"/>
                </a:cubicBezTo>
                <a:cubicBezTo>
                  <a:pt x="3362688" y="3796512"/>
                  <a:pt x="3362688" y="3796512"/>
                  <a:pt x="3705593" y="3705209"/>
                </a:cubicBezTo>
                <a:cubicBezTo>
                  <a:pt x="3712737" y="3702831"/>
                  <a:pt x="3719999" y="3702118"/>
                  <a:pt x="3726993" y="3702861"/>
                </a:cubicBezTo>
                <a:close/>
                <a:moveTo>
                  <a:pt x="2593320" y="3702861"/>
                </a:moveTo>
                <a:cubicBezTo>
                  <a:pt x="2614378" y="3705090"/>
                  <a:pt x="2633017" y="3720426"/>
                  <a:pt x="2638751" y="3743251"/>
                </a:cubicBezTo>
                <a:cubicBezTo>
                  <a:pt x="2646398" y="3771784"/>
                  <a:pt x="2629193" y="3800316"/>
                  <a:pt x="2600519" y="3807924"/>
                </a:cubicBezTo>
                <a:cubicBezTo>
                  <a:pt x="2600519" y="3807924"/>
                  <a:pt x="2600519" y="3807924"/>
                  <a:pt x="2256423" y="3899227"/>
                </a:cubicBezTo>
                <a:cubicBezTo>
                  <a:pt x="2225837" y="3906836"/>
                  <a:pt x="2197162" y="3889717"/>
                  <a:pt x="2189516" y="3861184"/>
                </a:cubicBezTo>
                <a:cubicBezTo>
                  <a:pt x="2187604" y="3857380"/>
                  <a:pt x="2187604" y="3851674"/>
                  <a:pt x="2187604" y="3847869"/>
                </a:cubicBezTo>
                <a:cubicBezTo>
                  <a:pt x="2187604" y="3823142"/>
                  <a:pt x="2202897" y="3802218"/>
                  <a:pt x="2227748" y="3796512"/>
                </a:cubicBezTo>
                <a:cubicBezTo>
                  <a:pt x="2227748" y="3796512"/>
                  <a:pt x="2227748" y="3796512"/>
                  <a:pt x="2571844" y="3705209"/>
                </a:cubicBezTo>
                <a:cubicBezTo>
                  <a:pt x="2579013" y="3702831"/>
                  <a:pt x="2586301" y="3702118"/>
                  <a:pt x="2593320" y="3702861"/>
                </a:cubicBezTo>
                <a:close/>
                <a:moveTo>
                  <a:pt x="3135570" y="3696651"/>
                </a:moveTo>
                <a:cubicBezTo>
                  <a:pt x="3166092" y="3690936"/>
                  <a:pt x="3196615" y="3709986"/>
                  <a:pt x="3202337" y="3740466"/>
                </a:cubicBezTo>
                <a:cubicBezTo>
                  <a:pt x="3209968" y="3770946"/>
                  <a:pt x="3190892" y="3801426"/>
                  <a:pt x="3160369" y="3809046"/>
                </a:cubicBezTo>
                <a:cubicBezTo>
                  <a:pt x="3160369" y="3809046"/>
                  <a:pt x="3160369" y="3809046"/>
                  <a:pt x="2815087" y="3883341"/>
                </a:cubicBezTo>
                <a:cubicBezTo>
                  <a:pt x="2784565" y="3890961"/>
                  <a:pt x="2754043" y="3871911"/>
                  <a:pt x="2746412" y="3841431"/>
                </a:cubicBezTo>
                <a:cubicBezTo>
                  <a:pt x="2746412" y="3835716"/>
                  <a:pt x="2746412" y="3831906"/>
                  <a:pt x="2746412" y="3828096"/>
                </a:cubicBezTo>
                <a:cubicBezTo>
                  <a:pt x="2746412" y="3801426"/>
                  <a:pt x="2763581" y="3778566"/>
                  <a:pt x="2790288" y="3772851"/>
                </a:cubicBezTo>
                <a:cubicBezTo>
                  <a:pt x="2790288" y="3772851"/>
                  <a:pt x="2790288" y="3772851"/>
                  <a:pt x="3135570" y="3696651"/>
                </a:cubicBezTo>
                <a:close/>
                <a:moveTo>
                  <a:pt x="6499363" y="3418935"/>
                </a:moveTo>
                <a:cubicBezTo>
                  <a:pt x="6508873" y="3422039"/>
                  <a:pt x="6517433" y="3428722"/>
                  <a:pt x="6523141" y="3438269"/>
                </a:cubicBezTo>
                <a:cubicBezTo>
                  <a:pt x="6532651" y="3457365"/>
                  <a:pt x="6525043" y="3480281"/>
                  <a:pt x="6506021" y="3491738"/>
                </a:cubicBezTo>
                <a:cubicBezTo>
                  <a:pt x="6506021" y="3491738"/>
                  <a:pt x="6506021" y="3491738"/>
                  <a:pt x="6167435" y="3663602"/>
                </a:cubicBezTo>
                <a:cubicBezTo>
                  <a:pt x="6148413" y="3675060"/>
                  <a:pt x="6125587" y="3667421"/>
                  <a:pt x="6116077" y="3648325"/>
                </a:cubicBezTo>
                <a:cubicBezTo>
                  <a:pt x="6112273" y="3642597"/>
                  <a:pt x="6110371" y="3634958"/>
                  <a:pt x="6110371" y="3629229"/>
                </a:cubicBezTo>
                <a:cubicBezTo>
                  <a:pt x="6110371" y="3615862"/>
                  <a:pt x="6117979" y="3602495"/>
                  <a:pt x="6131293" y="3594857"/>
                </a:cubicBezTo>
                <a:cubicBezTo>
                  <a:pt x="6131293" y="3594857"/>
                  <a:pt x="6131293" y="3594857"/>
                  <a:pt x="6469879" y="3421085"/>
                </a:cubicBezTo>
                <a:cubicBezTo>
                  <a:pt x="6479391" y="3416311"/>
                  <a:pt x="6489853" y="3415834"/>
                  <a:pt x="6499363" y="3418935"/>
                </a:cubicBezTo>
                <a:close/>
                <a:moveTo>
                  <a:pt x="5958981" y="3413738"/>
                </a:moveTo>
                <a:cubicBezTo>
                  <a:pt x="5969489" y="3417537"/>
                  <a:pt x="5978565" y="3425137"/>
                  <a:pt x="5983341" y="3435588"/>
                </a:cubicBezTo>
                <a:cubicBezTo>
                  <a:pt x="5992895" y="3456490"/>
                  <a:pt x="5983341" y="3483093"/>
                  <a:pt x="5962323" y="3492594"/>
                </a:cubicBezTo>
                <a:cubicBezTo>
                  <a:pt x="5962323" y="3492594"/>
                  <a:pt x="5962323" y="3492594"/>
                  <a:pt x="5622229" y="3646509"/>
                </a:cubicBezTo>
                <a:cubicBezTo>
                  <a:pt x="5599301" y="3656010"/>
                  <a:pt x="5574463" y="3646509"/>
                  <a:pt x="5564909" y="3625607"/>
                </a:cubicBezTo>
                <a:cubicBezTo>
                  <a:pt x="5562999" y="3619906"/>
                  <a:pt x="5561087" y="3614206"/>
                  <a:pt x="5561087" y="3608505"/>
                </a:cubicBezTo>
                <a:cubicBezTo>
                  <a:pt x="5561087" y="3591403"/>
                  <a:pt x="5570641" y="3576202"/>
                  <a:pt x="5585927" y="3568601"/>
                </a:cubicBezTo>
                <a:cubicBezTo>
                  <a:pt x="5585927" y="3568601"/>
                  <a:pt x="5585927" y="3568601"/>
                  <a:pt x="5926021" y="3414687"/>
                </a:cubicBezTo>
                <a:cubicBezTo>
                  <a:pt x="5936531" y="3409939"/>
                  <a:pt x="5948471" y="3409939"/>
                  <a:pt x="5958981" y="3413738"/>
                </a:cubicBezTo>
                <a:close/>
                <a:moveTo>
                  <a:pt x="398652" y="3413736"/>
                </a:moveTo>
                <a:cubicBezTo>
                  <a:pt x="408646" y="3417537"/>
                  <a:pt x="417212" y="3425137"/>
                  <a:pt x="421971" y="3435588"/>
                </a:cubicBezTo>
                <a:cubicBezTo>
                  <a:pt x="433393" y="3456490"/>
                  <a:pt x="423875" y="3483093"/>
                  <a:pt x="401031" y="3492594"/>
                </a:cubicBezTo>
                <a:cubicBezTo>
                  <a:pt x="401031" y="3492594"/>
                  <a:pt x="401031" y="3492594"/>
                  <a:pt x="62187" y="3646509"/>
                </a:cubicBezTo>
                <a:cubicBezTo>
                  <a:pt x="41247" y="3656010"/>
                  <a:pt x="16500" y="3646509"/>
                  <a:pt x="6982" y="3625607"/>
                </a:cubicBezTo>
                <a:cubicBezTo>
                  <a:pt x="3175" y="3619906"/>
                  <a:pt x="3175" y="3614206"/>
                  <a:pt x="3175" y="3608505"/>
                </a:cubicBezTo>
                <a:cubicBezTo>
                  <a:pt x="3175" y="3591403"/>
                  <a:pt x="12693" y="3576202"/>
                  <a:pt x="27922" y="3568601"/>
                </a:cubicBezTo>
                <a:cubicBezTo>
                  <a:pt x="27922" y="3568601"/>
                  <a:pt x="27922" y="3568601"/>
                  <a:pt x="366766" y="3414687"/>
                </a:cubicBezTo>
                <a:cubicBezTo>
                  <a:pt x="377236" y="3409937"/>
                  <a:pt x="388658" y="3409937"/>
                  <a:pt x="398652" y="3413736"/>
                </a:cubicBezTo>
                <a:close/>
                <a:moveTo>
                  <a:pt x="5394971" y="3403425"/>
                </a:moveTo>
                <a:cubicBezTo>
                  <a:pt x="5413355" y="3403782"/>
                  <a:pt x="5430131" y="3414824"/>
                  <a:pt x="5437269" y="3433348"/>
                </a:cubicBezTo>
                <a:cubicBezTo>
                  <a:pt x="5446787" y="3456148"/>
                  <a:pt x="5435365" y="3482748"/>
                  <a:pt x="5410617" y="3492248"/>
                </a:cubicBezTo>
                <a:cubicBezTo>
                  <a:pt x="5410617" y="3492248"/>
                  <a:pt x="5410617" y="3492248"/>
                  <a:pt x="5069863" y="3629048"/>
                </a:cubicBezTo>
                <a:cubicBezTo>
                  <a:pt x="5047019" y="3638548"/>
                  <a:pt x="5020369" y="3627148"/>
                  <a:pt x="5010851" y="3602448"/>
                </a:cubicBezTo>
                <a:cubicBezTo>
                  <a:pt x="5008947" y="3596748"/>
                  <a:pt x="5007043" y="3591048"/>
                  <a:pt x="5007043" y="3585348"/>
                </a:cubicBezTo>
                <a:cubicBezTo>
                  <a:pt x="5007043" y="3568248"/>
                  <a:pt x="5018465" y="3551148"/>
                  <a:pt x="5037501" y="3543548"/>
                </a:cubicBezTo>
                <a:cubicBezTo>
                  <a:pt x="5037501" y="3543548"/>
                  <a:pt x="5037501" y="3543548"/>
                  <a:pt x="5376351" y="3406750"/>
                </a:cubicBezTo>
                <a:cubicBezTo>
                  <a:pt x="5382539" y="3404377"/>
                  <a:pt x="5388845" y="3403307"/>
                  <a:pt x="5394971" y="3403425"/>
                </a:cubicBezTo>
                <a:close/>
                <a:moveTo>
                  <a:pt x="928451" y="3403423"/>
                </a:moveTo>
                <a:cubicBezTo>
                  <a:pt x="946043" y="3403779"/>
                  <a:pt x="962831" y="3414824"/>
                  <a:pt x="969975" y="3433348"/>
                </a:cubicBezTo>
                <a:cubicBezTo>
                  <a:pt x="979500" y="3456148"/>
                  <a:pt x="968070" y="3482748"/>
                  <a:pt x="945210" y="3492248"/>
                </a:cubicBezTo>
                <a:cubicBezTo>
                  <a:pt x="945210" y="3492248"/>
                  <a:pt x="945210" y="3492248"/>
                  <a:pt x="604210" y="3629048"/>
                </a:cubicBezTo>
                <a:cubicBezTo>
                  <a:pt x="579445" y="3638548"/>
                  <a:pt x="552774" y="3627148"/>
                  <a:pt x="543249" y="3602448"/>
                </a:cubicBezTo>
                <a:cubicBezTo>
                  <a:pt x="541344" y="3596748"/>
                  <a:pt x="541344" y="3591048"/>
                  <a:pt x="541344" y="3585348"/>
                </a:cubicBezTo>
                <a:cubicBezTo>
                  <a:pt x="541344" y="3568248"/>
                  <a:pt x="550869" y="3551148"/>
                  <a:pt x="569919" y="3543548"/>
                </a:cubicBezTo>
                <a:cubicBezTo>
                  <a:pt x="569919" y="3543548"/>
                  <a:pt x="569919" y="3543548"/>
                  <a:pt x="910919" y="3406748"/>
                </a:cubicBezTo>
                <a:cubicBezTo>
                  <a:pt x="916634" y="3404375"/>
                  <a:pt x="922587" y="3403304"/>
                  <a:pt x="928451" y="3403423"/>
                </a:cubicBezTo>
                <a:close/>
                <a:moveTo>
                  <a:pt x="4843491" y="3396586"/>
                </a:moveTo>
                <a:cubicBezTo>
                  <a:pt x="4863151" y="3398284"/>
                  <a:pt x="4880665" y="3410428"/>
                  <a:pt x="4886385" y="3428999"/>
                </a:cubicBezTo>
                <a:cubicBezTo>
                  <a:pt x="4895917" y="3455668"/>
                  <a:pt x="4882573" y="3484243"/>
                  <a:pt x="4855883" y="3491863"/>
                </a:cubicBezTo>
                <a:cubicBezTo>
                  <a:pt x="4855883" y="3491863"/>
                  <a:pt x="4855883" y="3491863"/>
                  <a:pt x="4514641" y="3609973"/>
                </a:cubicBezTo>
                <a:cubicBezTo>
                  <a:pt x="4487951" y="3619498"/>
                  <a:pt x="4461261" y="3606163"/>
                  <a:pt x="4451729" y="3579493"/>
                </a:cubicBezTo>
                <a:cubicBezTo>
                  <a:pt x="4449823" y="3575683"/>
                  <a:pt x="4449823" y="3569968"/>
                  <a:pt x="4449823" y="3564253"/>
                </a:cubicBezTo>
                <a:cubicBezTo>
                  <a:pt x="4449823" y="3543298"/>
                  <a:pt x="4461261" y="3524248"/>
                  <a:pt x="4482231" y="3518533"/>
                </a:cubicBezTo>
                <a:cubicBezTo>
                  <a:pt x="4482231" y="3518533"/>
                  <a:pt x="4482231" y="3518533"/>
                  <a:pt x="4823475" y="3398521"/>
                </a:cubicBezTo>
                <a:cubicBezTo>
                  <a:pt x="4830147" y="3396616"/>
                  <a:pt x="4836939" y="3396021"/>
                  <a:pt x="4843491" y="3396586"/>
                </a:cubicBezTo>
                <a:close/>
                <a:moveTo>
                  <a:pt x="1478780" y="3396584"/>
                </a:moveTo>
                <a:cubicBezTo>
                  <a:pt x="1497725" y="3398280"/>
                  <a:pt x="1515597" y="3410426"/>
                  <a:pt x="1522745" y="3428999"/>
                </a:cubicBezTo>
                <a:cubicBezTo>
                  <a:pt x="1530371" y="3455668"/>
                  <a:pt x="1517026" y="3484243"/>
                  <a:pt x="1492243" y="3491863"/>
                </a:cubicBezTo>
                <a:cubicBezTo>
                  <a:pt x="1492243" y="3491863"/>
                  <a:pt x="1492243" y="3491863"/>
                  <a:pt x="1149094" y="3609973"/>
                </a:cubicBezTo>
                <a:cubicBezTo>
                  <a:pt x="1124311" y="3619498"/>
                  <a:pt x="1095715" y="3606163"/>
                  <a:pt x="1088090" y="3579493"/>
                </a:cubicBezTo>
                <a:cubicBezTo>
                  <a:pt x="1086183" y="3575683"/>
                  <a:pt x="1084277" y="3569968"/>
                  <a:pt x="1084277" y="3564253"/>
                </a:cubicBezTo>
                <a:cubicBezTo>
                  <a:pt x="1084277" y="3543298"/>
                  <a:pt x="1097622" y="3524248"/>
                  <a:pt x="1116686" y="3518533"/>
                </a:cubicBezTo>
                <a:cubicBezTo>
                  <a:pt x="1116686" y="3518533"/>
                  <a:pt x="1116686" y="3518533"/>
                  <a:pt x="1459835" y="3398519"/>
                </a:cubicBezTo>
                <a:cubicBezTo>
                  <a:pt x="1466031" y="3396614"/>
                  <a:pt x="1472465" y="3396018"/>
                  <a:pt x="1478780" y="3396584"/>
                </a:cubicBezTo>
                <a:close/>
                <a:moveTo>
                  <a:pt x="4288643" y="3390089"/>
                </a:moveTo>
                <a:cubicBezTo>
                  <a:pt x="4309105" y="3392145"/>
                  <a:pt x="4326619" y="3406810"/>
                  <a:pt x="4332339" y="3426840"/>
                </a:cubicBezTo>
                <a:cubicBezTo>
                  <a:pt x="4341871" y="3455456"/>
                  <a:pt x="4324713" y="3484073"/>
                  <a:pt x="4298025" y="3491704"/>
                </a:cubicBezTo>
                <a:cubicBezTo>
                  <a:pt x="4298025" y="3491704"/>
                  <a:pt x="4298025" y="3491704"/>
                  <a:pt x="3954881" y="3592817"/>
                </a:cubicBezTo>
                <a:cubicBezTo>
                  <a:pt x="3926285" y="3600448"/>
                  <a:pt x="3897691" y="3585186"/>
                  <a:pt x="3888159" y="3556569"/>
                </a:cubicBezTo>
                <a:cubicBezTo>
                  <a:pt x="3888159" y="3552753"/>
                  <a:pt x="3886251" y="3547030"/>
                  <a:pt x="3886251" y="3541306"/>
                </a:cubicBezTo>
                <a:cubicBezTo>
                  <a:pt x="3886251" y="3518413"/>
                  <a:pt x="3901503" y="3497427"/>
                  <a:pt x="3924379" y="3491704"/>
                </a:cubicBezTo>
                <a:cubicBezTo>
                  <a:pt x="3924379" y="3491704"/>
                  <a:pt x="3924379" y="3491704"/>
                  <a:pt x="4267523" y="3392503"/>
                </a:cubicBezTo>
                <a:cubicBezTo>
                  <a:pt x="4274673" y="3390119"/>
                  <a:pt x="4281821" y="3389402"/>
                  <a:pt x="4288643" y="3390089"/>
                </a:cubicBezTo>
                <a:close/>
                <a:moveTo>
                  <a:pt x="2035427" y="3390086"/>
                </a:moveTo>
                <a:cubicBezTo>
                  <a:pt x="2055636" y="3392143"/>
                  <a:pt x="2074236" y="3406808"/>
                  <a:pt x="2079959" y="3426840"/>
                </a:cubicBezTo>
                <a:cubicBezTo>
                  <a:pt x="2087590" y="3455456"/>
                  <a:pt x="2072328" y="3484073"/>
                  <a:pt x="2043713" y="3491704"/>
                </a:cubicBezTo>
                <a:cubicBezTo>
                  <a:pt x="2043713" y="3491704"/>
                  <a:pt x="2043713" y="3491704"/>
                  <a:pt x="1700328" y="3592817"/>
                </a:cubicBezTo>
                <a:cubicBezTo>
                  <a:pt x="1671713" y="3600448"/>
                  <a:pt x="1643097" y="3585186"/>
                  <a:pt x="1635467" y="3556569"/>
                </a:cubicBezTo>
                <a:cubicBezTo>
                  <a:pt x="1633559" y="3552753"/>
                  <a:pt x="1633559" y="3547030"/>
                  <a:pt x="1633559" y="3541306"/>
                </a:cubicBezTo>
                <a:cubicBezTo>
                  <a:pt x="1633559" y="3518413"/>
                  <a:pt x="1648821" y="3497427"/>
                  <a:pt x="1671713" y="3491704"/>
                </a:cubicBezTo>
                <a:cubicBezTo>
                  <a:pt x="1671713" y="3491704"/>
                  <a:pt x="1671713" y="3491704"/>
                  <a:pt x="2015098" y="3392501"/>
                </a:cubicBezTo>
                <a:cubicBezTo>
                  <a:pt x="2021775" y="3390117"/>
                  <a:pt x="2028690" y="3389400"/>
                  <a:pt x="2035427" y="3390086"/>
                </a:cubicBezTo>
                <a:close/>
                <a:moveTo>
                  <a:pt x="3729547" y="3384850"/>
                </a:moveTo>
                <a:cubicBezTo>
                  <a:pt x="3751291" y="3388411"/>
                  <a:pt x="3769545" y="3404789"/>
                  <a:pt x="3773841" y="3427575"/>
                </a:cubicBezTo>
                <a:cubicBezTo>
                  <a:pt x="3781475" y="3456060"/>
                  <a:pt x="3762387" y="3486445"/>
                  <a:pt x="3733751" y="3494041"/>
                </a:cubicBezTo>
                <a:cubicBezTo>
                  <a:pt x="3733751" y="3494041"/>
                  <a:pt x="3733751" y="3494041"/>
                  <a:pt x="3388230" y="3575701"/>
                </a:cubicBezTo>
                <a:cubicBezTo>
                  <a:pt x="3357686" y="3581398"/>
                  <a:pt x="3327143" y="3564306"/>
                  <a:pt x="3321416" y="3533921"/>
                </a:cubicBezTo>
                <a:cubicBezTo>
                  <a:pt x="3319507" y="3528224"/>
                  <a:pt x="3319507" y="3524426"/>
                  <a:pt x="3319507" y="3520628"/>
                </a:cubicBezTo>
                <a:cubicBezTo>
                  <a:pt x="3319507" y="3495940"/>
                  <a:pt x="3336688" y="3473151"/>
                  <a:pt x="3361504" y="3465555"/>
                </a:cubicBezTo>
                <a:cubicBezTo>
                  <a:pt x="3361504" y="3465555"/>
                  <a:pt x="3361504" y="3465555"/>
                  <a:pt x="3707027" y="3385799"/>
                </a:cubicBezTo>
                <a:cubicBezTo>
                  <a:pt x="3714663" y="3383903"/>
                  <a:pt x="3722299" y="3383661"/>
                  <a:pt x="3729547" y="3384850"/>
                </a:cubicBezTo>
                <a:close/>
                <a:moveTo>
                  <a:pt x="2596056" y="3384845"/>
                </a:moveTo>
                <a:cubicBezTo>
                  <a:pt x="2617801" y="3388406"/>
                  <a:pt x="2636055" y="3404787"/>
                  <a:pt x="2640350" y="3427574"/>
                </a:cubicBezTo>
                <a:cubicBezTo>
                  <a:pt x="2647986" y="3456060"/>
                  <a:pt x="2628896" y="3486445"/>
                  <a:pt x="2598353" y="3494041"/>
                </a:cubicBezTo>
                <a:cubicBezTo>
                  <a:pt x="2598353" y="3494041"/>
                  <a:pt x="2598353" y="3494041"/>
                  <a:pt x="2254740" y="3575701"/>
                </a:cubicBezTo>
                <a:cubicBezTo>
                  <a:pt x="2224196" y="3581398"/>
                  <a:pt x="2193653" y="3564306"/>
                  <a:pt x="2187926" y="3533921"/>
                </a:cubicBezTo>
                <a:cubicBezTo>
                  <a:pt x="2186017" y="3528224"/>
                  <a:pt x="2186017" y="3524426"/>
                  <a:pt x="2186017" y="3520628"/>
                </a:cubicBezTo>
                <a:cubicBezTo>
                  <a:pt x="2186017" y="3495940"/>
                  <a:pt x="2203198" y="3473151"/>
                  <a:pt x="2228014" y="3465555"/>
                </a:cubicBezTo>
                <a:cubicBezTo>
                  <a:pt x="2228014" y="3465555"/>
                  <a:pt x="2228014" y="3465555"/>
                  <a:pt x="2573536" y="3385794"/>
                </a:cubicBezTo>
                <a:cubicBezTo>
                  <a:pt x="2581172" y="3383896"/>
                  <a:pt x="2588808" y="3383659"/>
                  <a:pt x="2596056" y="3384845"/>
                </a:cubicBezTo>
                <a:close/>
                <a:moveTo>
                  <a:pt x="3137310" y="3377570"/>
                </a:moveTo>
                <a:cubicBezTo>
                  <a:pt x="3169674" y="3371857"/>
                  <a:pt x="3200134" y="3392806"/>
                  <a:pt x="3205845" y="3425189"/>
                </a:cubicBezTo>
                <a:cubicBezTo>
                  <a:pt x="3211556" y="3457573"/>
                  <a:pt x="3190615" y="3488053"/>
                  <a:pt x="3158251" y="3493768"/>
                </a:cubicBezTo>
                <a:cubicBezTo>
                  <a:pt x="3158251" y="3493768"/>
                  <a:pt x="3158251" y="3493768"/>
                  <a:pt x="2813675" y="3556633"/>
                </a:cubicBezTo>
                <a:cubicBezTo>
                  <a:pt x="2781312" y="3562348"/>
                  <a:pt x="2750852" y="3541393"/>
                  <a:pt x="2745141" y="3509008"/>
                </a:cubicBezTo>
                <a:cubicBezTo>
                  <a:pt x="2743237" y="3505198"/>
                  <a:pt x="2743237" y="3501388"/>
                  <a:pt x="2743237" y="3497578"/>
                </a:cubicBezTo>
                <a:cubicBezTo>
                  <a:pt x="2743237" y="3470908"/>
                  <a:pt x="2764178" y="3446143"/>
                  <a:pt x="2792734" y="3440428"/>
                </a:cubicBezTo>
                <a:cubicBezTo>
                  <a:pt x="2792734" y="3440428"/>
                  <a:pt x="2792734" y="3440428"/>
                  <a:pt x="3137310" y="3377570"/>
                </a:cubicBezTo>
                <a:close/>
                <a:moveTo>
                  <a:pt x="6499125" y="3095110"/>
                </a:moveTo>
                <a:cubicBezTo>
                  <a:pt x="6508399" y="3098216"/>
                  <a:pt x="6516483" y="3104898"/>
                  <a:pt x="6521239" y="3114446"/>
                </a:cubicBezTo>
                <a:cubicBezTo>
                  <a:pt x="6532651" y="3133543"/>
                  <a:pt x="6525043" y="3158365"/>
                  <a:pt x="6506021" y="3167912"/>
                </a:cubicBezTo>
                <a:cubicBezTo>
                  <a:pt x="6506021" y="3167912"/>
                  <a:pt x="6506021" y="3167912"/>
                  <a:pt x="6167435" y="3341681"/>
                </a:cubicBezTo>
                <a:cubicBezTo>
                  <a:pt x="6148413" y="3351227"/>
                  <a:pt x="6125587" y="3345496"/>
                  <a:pt x="6116077" y="3326402"/>
                </a:cubicBezTo>
                <a:cubicBezTo>
                  <a:pt x="6112273" y="3320675"/>
                  <a:pt x="6110371" y="3313037"/>
                  <a:pt x="6110371" y="3307308"/>
                </a:cubicBezTo>
                <a:cubicBezTo>
                  <a:pt x="6110371" y="3293942"/>
                  <a:pt x="6117979" y="3280578"/>
                  <a:pt x="6131293" y="3272939"/>
                </a:cubicBezTo>
                <a:cubicBezTo>
                  <a:pt x="6131293" y="3272939"/>
                  <a:pt x="6131293" y="3272939"/>
                  <a:pt x="6469879" y="3097261"/>
                </a:cubicBezTo>
                <a:cubicBezTo>
                  <a:pt x="6479389" y="3092485"/>
                  <a:pt x="6489851" y="3092008"/>
                  <a:pt x="6499125" y="3095110"/>
                </a:cubicBezTo>
                <a:close/>
                <a:moveTo>
                  <a:pt x="5958981" y="3091501"/>
                </a:moveTo>
                <a:cubicBezTo>
                  <a:pt x="5969489" y="3095300"/>
                  <a:pt x="5978565" y="3102902"/>
                  <a:pt x="5983341" y="3113352"/>
                </a:cubicBezTo>
                <a:cubicBezTo>
                  <a:pt x="5992895" y="3134255"/>
                  <a:pt x="5983341" y="3160857"/>
                  <a:pt x="5962323" y="3170357"/>
                </a:cubicBezTo>
                <a:cubicBezTo>
                  <a:pt x="5962323" y="3170357"/>
                  <a:pt x="5962323" y="3170357"/>
                  <a:pt x="5620319" y="3324265"/>
                </a:cubicBezTo>
                <a:cubicBezTo>
                  <a:pt x="5599301" y="3333765"/>
                  <a:pt x="5574463" y="3324265"/>
                  <a:pt x="5564909" y="3301466"/>
                </a:cubicBezTo>
                <a:cubicBezTo>
                  <a:pt x="5562999" y="3295766"/>
                  <a:pt x="5561087" y="3290066"/>
                  <a:pt x="5561087" y="3284366"/>
                </a:cubicBezTo>
                <a:cubicBezTo>
                  <a:pt x="5561087" y="3269165"/>
                  <a:pt x="5570641" y="3252063"/>
                  <a:pt x="5585927" y="3246361"/>
                </a:cubicBezTo>
                <a:cubicBezTo>
                  <a:pt x="5585927" y="3246361"/>
                  <a:pt x="5585927" y="3246361"/>
                  <a:pt x="5926021" y="3092452"/>
                </a:cubicBezTo>
                <a:cubicBezTo>
                  <a:pt x="5936531" y="3087702"/>
                  <a:pt x="5948471" y="3087702"/>
                  <a:pt x="5958981" y="3091501"/>
                </a:cubicBezTo>
                <a:close/>
                <a:moveTo>
                  <a:pt x="399604" y="3091489"/>
                </a:moveTo>
                <a:cubicBezTo>
                  <a:pt x="410074" y="3095288"/>
                  <a:pt x="419116" y="3102890"/>
                  <a:pt x="423875" y="3113341"/>
                </a:cubicBezTo>
                <a:cubicBezTo>
                  <a:pt x="433393" y="3134243"/>
                  <a:pt x="423875" y="3160845"/>
                  <a:pt x="401031" y="3170346"/>
                </a:cubicBezTo>
                <a:cubicBezTo>
                  <a:pt x="401031" y="3170346"/>
                  <a:pt x="401031" y="3170346"/>
                  <a:pt x="62187" y="3324257"/>
                </a:cubicBezTo>
                <a:cubicBezTo>
                  <a:pt x="41247" y="3333758"/>
                  <a:pt x="16500" y="3324257"/>
                  <a:pt x="6982" y="3301458"/>
                </a:cubicBezTo>
                <a:cubicBezTo>
                  <a:pt x="3175" y="3295756"/>
                  <a:pt x="3175" y="3290055"/>
                  <a:pt x="3175" y="3284355"/>
                </a:cubicBezTo>
                <a:cubicBezTo>
                  <a:pt x="3175" y="3269153"/>
                  <a:pt x="12693" y="3252053"/>
                  <a:pt x="27922" y="3246351"/>
                </a:cubicBezTo>
                <a:cubicBezTo>
                  <a:pt x="27922" y="3246351"/>
                  <a:pt x="27922" y="3246351"/>
                  <a:pt x="366766" y="3092440"/>
                </a:cubicBezTo>
                <a:cubicBezTo>
                  <a:pt x="377236" y="3087688"/>
                  <a:pt x="389134" y="3087688"/>
                  <a:pt x="399604" y="3091489"/>
                </a:cubicBezTo>
                <a:close/>
                <a:moveTo>
                  <a:pt x="5376351" y="3084221"/>
                </a:moveTo>
                <a:cubicBezTo>
                  <a:pt x="5401099" y="3076602"/>
                  <a:pt x="5427751" y="3088030"/>
                  <a:pt x="5437269" y="3110889"/>
                </a:cubicBezTo>
                <a:cubicBezTo>
                  <a:pt x="5446787" y="3135655"/>
                  <a:pt x="5435365" y="3162324"/>
                  <a:pt x="5410617" y="3171849"/>
                </a:cubicBezTo>
                <a:cubicBezTo>
                  <a:pt x="5410617" y="3171849"/>
                  <a:pt x="5410617" y="3171849"/>
                  <a:pt x="5069863" y="3305194"/>
                </a:cubicBezTo>
                <a:cubicBezTo>
                  <a:pt x="5047019" y="3314717"/>
                  <a:pt x="5020369" y="3301384"/>
                  <a:pt x="5010851" y="3278527"/>
                </a:cubicBezTo>
                <a:cubicBezTo>
                  <a:pt x="5008947" y="3272812"/>
                  <a:pt x="5007043" y="3267095"/>
                  <a:pt x="5007043" y="3261383"/>
                </a:cubicBezTo>
                <a:cubicBezTo>
                  <a:pt x="5007043" y="3242330"/>
                  <a:pt x="5018465" y="3225187"/>
                  <a:pt x="5037501" y="3217569"/>
                </a:cubicBezTo>
                <a:cubicBezTo>
                  <a:pt x="5037501" y="3217569"/>
                  <a:pt x="5037501" y="3217569"/>
                  <a:pt x="5376351" y="3084221"/>
                </a:cubicBezTo>
                <a:close/>
                <a:moveTo>
                  <a:pt x="910969" y="3084205"/>
                </a:moveTo>
                <a:cubicBezTo>
                  <a:pt x="933813" y="3076586"/>
                  <a:pt x="960464" y="3088016"/>
                  <a:pt x="969983" y="3110874"/>
                </a:cubicBezTo>
                <a:cubicBezTo>
                  <a:pt x="979501" y="3135641"/>
                  <a:pt x="968079" y="3162310"/>
                  <a:pt x="945235" y="3171835"/>
                </a:cubicBezTo>
                <a:cubicBezTo>
                  <a:pt x="945235" y="3171835"/>
                  <a:pt x="945235" y="3171835"/>
                  <a:pt x="604481" y="3305182"/>
                </a:cubicBezTo>
                <a:cubicBezTo>
                  <a:pt x="579734" y="3314707"/>
                  <a:pt x="553083" y="3301372"/>
                  <a:pt x="543564" y="3278513"/>
                </a:cubicBezTo>
                <a:cubicBezTo>
                  <a:pt x="541661" y="3272798"/>
                  <a:pt x="539757" y="3267083"/>
                  <a:pt x="539757" y="3261369"/>
                </a:cubicBezTo>
                <a:cubicBezTo>
                  <a:pt x="539757" y="3242317"/>
                  <a:pt x="551179" y="3225173"/>
                  <a:pt x="570215" y="3217554"/>
                </a:cubicBezTo>
                <a:cubicBezTo>
                  <a:pt x="570215" y="3217554"/>
                  <a:pt x="570215" y="3217554"/>
                  <a:pt x="910969" y="3084205"/>
                </a:cubicBezTo>
                <a:close/>
                <a:moveTo>
                  <a:pt x="4845165" y="3075490"/>
                </a:moveTo>
                <a:cubicBezTo>
                  <a:pt x="4864365" y="3077010"/>
                  <a:pt x="4881153" y="3090600"/>
                  <a:pt x="4888295" y="3110630"/>
                </a:cubicBezTo>
                <a:cubicBezTo>
                  <a:pt x="4895915" y="3137339"/>
                  <a:pt x="4882581" y="3165951"/>
                  <a:pt x="4855911" y="3173582"/>
                </a:cubicBezTo>
                <a:cubicBezTo>
                  <a:pt x="4855911" y="3173582"/>
                  <a:pt x="4855911" y="3173582"/>
                  <a:pt x="4514911" y="3286132"/>
                </a:cubicBezTo>
                <a:cubicBezTo>
                  <a:pt x="4488241" y="3295669"/>
                  <a:pt x="4459665" y="3280410"/>
                  <a:pt x="4450141" y="3253702"/>
                </a:cubicBezTo>
                <a:cubicBezTo>
                  <a:pt x="4448235" y="3249887"/>
                  <a:pt x="4448235" y="3244162"/>
                  <a:pt x="4448235" y="3238438"/>
                </a:cubicBezTo>
                <a:cubicBezTo>
                  <a:pt x="4448235" y="3217457"/>
                  <a:pt x="4461571" y="3198380"/>
                  <a:pt x="4482525" y="3190752"/>
                </a:cubicBezTo>
                <a:cubicBezTo>
                  <a:pt x="4482525" y="3190752"/>
                  <a:pt x="4482525" y="3190752"/>
                  <a:pt x="4825431" y="3078201"/>
                </a:cubicBezTo>
                <a:cubicBezTo>
                  <a:pt x="4832099" y="3075817"/>
                  <a:pt x="4838767" y="3074983"/>
                  <a:pt x="4845165" y="3075490"/>
                </a:cubicBezTo>
                <a:close/>
                <a:moveTo>
                  <a:pt x="1479607" y="3075472"/>
                </a:moveTo>
                <a:cubicBezTo>
                  <a:pt x="1499239" y="3076991"/>
                  <a:pt x="1516729" y="3090584"/>
                  <a:pt x="1522440" y="3110614"/>
                </a:cubicBezTo>
                <a:cubicBezTo>
                  <a:pt x="1531958" y="3137321"/>
                  <a:pt x="1516729" y="3165935"/>
                  <a:pt x="1491981" y="3173568"/>
                </a:cubicBezTo>
                <a:cubicBezTo>
                  <a:pt x="1491981" y="3173568"/>
                  <a:pt x="1491981" y="3173568"/>
                  <a:pt x="1149318" y="3286117"/>
                </a:cubicBezTo>
                <a:cubicBezTo>
                  <a:pt x="1122666" y="3295656"/>
                  <a:pt x="1094111" y="3280396"/>
                  <a:pt x="1086496" y="3253688"/>
                </a:cubicBezTo>
                <a:cubicBezTo>
                  <a:pt x="1084593" y="3249872"/>
                  <a:pt x="1082689" y="3244148"/>
                  <a:pt x="1082689" y="3238426"/>
                </a:cubicBezTo>
                <a:cubicBezTo>
                  <a:pt x="1082689" y="3217441"/>
                  <a:pt x="1097918" y="3198366"/>
                  <a:pt x="1118859" y="3190736"/>
                </a:cubicBezTo>
                <a:cubicBezTo>
                  <a:pt x="1118859" y="3190736"/>
                  <a:pt x="1118859" y="3190736"/>
                  <a:pt x="1459618" y="3078184"/>
                </a:cubicBezTo>
                <a:cubicBezTo>
                  <a:pt x="1466281" y="3075800"/>
                  <a:pt x="1473063" y="3074965"/>
                  <a:pt x="1479607" y="3075472"/>
                </a:cubicBezTo>
                <a:close/>
                <a:moveTo>
                  <a:pt x="4290303" y="3070230"/>
                </a:moveTo>
                <a:cubicBezTo>
                  <a:pt x="4310739" y="3073173"/>
                  <a:pt x="4328229" y="3088153"/>
                  <a:pt x="4333941" y="3109551"/>
                </a:cubicBezTo>
                <a:cubicBezTo>
                  <a:pt x="4343459" y="3139987"/>
                  <a:pt x="4326325" y="3168517"/>
                  <a:pt x="4295867" y="3176122"/>
                </a:cubicBezTo>
                <a:cubicBezTo>
                  <a:pt x="4295867" y="3176122"/>
                  <a:pt x="4295867" y="3176122"/>
                  <a:pt x="3953199" y="3267426"/>
                </a:cubicBezTo>
                <a:cubicBezTo>
                  <a:pt x="3924643" y="3275036"/>
                  <a:pt x="3894183" y="3257916"/>
                  <a:pt x="3886569" y="3229382"/>
                </a:cubicBezTo>
                <a:cubicBezTo>
                  <a:pt x="3886569" y="3225578"/>
                  <a:pt x="3884665" y="3219872"/>
                  <a:pt x="3884665" y="3216071"/>
                </a:cubicBezTo>
                <a:cubicBezTo>
                  <a:pt x="3884665" y="3191341"/>
                  <a:pt x="3901799" y="3170420"/>
                  <a:pt x="3924643" y="3164714"/>
                </a:cubicBezTo>
                <a:cubicBezTo>
                  <a:pt x="3924643" y="3164714"/>
                  <a:pt x="3924643" y="3164714"/>
                  <a:pt x="4269215" y="3071510"/>
                </a:cubicBezTo>
                <a:cubicBezTo>
                  <a:pt x="4276353" y="3069607"/>
                  <a:pt x="4283493" y="3069251"/>
                  <a:pt x="4290303" y="3070230"/>
                </a:cubicBezTo>
                <a:close/>
                <a:moveTo>
                  <a:pt x="2036284" y="3070212"/>
                </a:moveTo>
                <a:cubicBezTo>
                  <a:pt x="2057269" y="3073154"/>
                  <a:pt x="2075843" y="3088134"/>
                  <a:pt x="2081558" y="3109532"/>
                </a:cubicBezTo>
                <a:cubicBezTo>
                  <a:pt x="2089178" y="3139966"/>
                  <a:pt x="2072033" y="3168499"/>
                  <a:pt x="2043457" y="3176106"/>
                </a:cubicBezTo>
                <a:cubicBezTo>
                  <a:pt x="2043457" y="3176106"/>
                  <a:pt x="2043457" y="3176106"/>
                  <a:pt x="1700553" y="3267409"/>
                </a:cubicBezTo>
                <a:cubicBezTo>
                  <a:pt x="1670073" y="3275018"/>
                  <a:pt x="1641497" y="3257898"/>
                  <a:pt x="1633877" y="3229366"/>
                </a:cubicBezTo>
                <a:cubicBezTo>
                  <a:pt x="1631972" y="3225562"/>
                  <a:pt x="1631972" y="3219855"/>
                  <a:pt x="1631972" y="3216051"/>
                </a:cubicBezTo>
                <a:cubicBezTo>
                  <a:pt x="1631972" y="3191325"/>
                  <a:pt x="1647212" y="3170401"/>
                  <a:pt x="1671978" y="3164695"/>
                </a:cubicBezTo>
                <a:cubicBezTo>
                  <a:pt x="1671978" y="3164695"/>
                  <a:pt x="1671978" y="3164695"/>
                  <a:pt x="2014882" y="3071490"/>
                </a:cubicBezTo>
                <a:cubicBezTo>
                  <a:pt x="2022026" y="3069588"/>
                  <a:pt x="2029289" y="3069230"/>
                  <a:pt x="2036284" y="3070212"/>
                </a:cubicBezTo>
                <a:close/>
                <a:moveTo>
                  <a:pt x="3731235" y="3064526"/>
                </a:moveTo>
                <a:cubicBezTo>
                  <a:pt x="3753039" y="3068642"/>
                  <a:pt x="3771625" y="3086171"/>
                  <a:pt x="3777345" y="3109067"/>
                </a:cubicBezTo>
                <a:cubicBezTo>
                  <a:pt x="3783063" y="3141504"/>
                  <a:pt x="3762095" y="3172032"/>
                  <a:pt x="3731593" y="3177757"/>
                </a:cubicBezTo>
                <a:cubicBezTo>
                  <a:pt x="3731593" y="3177757"/>
                  <a:pt x="3731593" y="3177757"/>
                  <a:pt x="3386548" y="3250258"/>
                </a:cubicBezTo>
                <a:cubicBezTo>
                  <a:pt x="3356047" y="3255985"/>
                  <a:pt x="3325545" y="3234992"/>
                  <a:pt x="3317920" y="3204467"/>
                </a:cubicBezTo>
                <a:cubicBezTo>
                  <a:pt x="3317920" y="3200651"/>
                  <a:pt x="3317920" y="3196834"/>
                  <a:pt x="3317920" y="3193018"/>
                </a:cubicBezTo>
                <a:cubicBezTo>
                  <a:pt x="3317920" y="3166307"/>
                  <a:pt x="3335077" y="3141504"/>
                  <a:pt x="3363672" y="3135781"/>
                </a:cubicBezTo>
                <a:cubicBezTo>
                  <a:pt x="3363672" y="3135781"/>
                  <a:pt x="3363672" y="3135781"/>
                  <a:pt x="3708717" y="3065182"/>
                </a:cubicBezTo>
                <a:cubicBezTo>
                  <a:pt x="3716343" y="3063275"/>
                  <a:pt x="3723967" y="3063157"/>
                  <a:pt x="3731235" y="3064526"/>
                </a:cubicBezTo>
                <a:close/>
                <a:moveTo>
                  <a:pt x="2597745" y="3064505"/>
                </a:moveTo>
                <a:cubicBezTo>
                  <a:pt x="2619548" y="3068620"/>
                  <a:pt x="2638135" y="3086150"/>
                  <a:pt x="2643854" y="3109046"/>
                </a:cubicBezTo>
                <a:cubicBezTo>
                  <a:pt x="2649573" y="3141483"/>
                  <a:pt x="2628603" y="3172011"/>
                  <a:pt x="2598102" y="3177737"/>
                </a:cubicBezTo>
                <a:cubicBezTo>
                  <a:pt x="2598102" y="3177737"/>
                  <a:pt x="2598102" y="3177737"/>
                  <a:pt x="2253057" y="3250241"/>
                </a:cubicBezTo>
                <a:cubicBezTo>
                  <a:pt x="2222556" y="3255966"/>
                  <a:pt x="2192054" y="3234975"/>
                  <a:pt x="2184429" y="3204449"/>
                </a:cubicBezTo>
                <a:cubicBezTo>
                  <a:pt x="2184429" y="3200633"/>
                  <a:pt x="2184429" y="3196817"/>
                  <a:pt x="2184429" y="3193000"/>
                </a:cubicBezTo>
                <a:cubicBezTo>
                  <a:pt x="2184429" y="3166289"/>
                  <a:pt x="2201586" y="3141483"/>
                  <a:pt x="2230181" y="3135760"/>
                </a:cubicBezTo>
                <a:cubicBezTo>
                  <a:pt x="2230181" y="3135760"/>
                  <a:pt x="2230181" y="3135760"/>
                  <a:pt x="2575226" y="3065161"/>
                </a:cubicBezTo>
                <a:cubicBezTo>
                  <a:pt x="2582851" y="3063252"/>
                  <a:pt x="2590477" y="3063132"/>
                  <a:pt x="2597745" y="3064505"/>
                </a:cubicBezTo>
                <a:close/>
                <a:moveTo>
                  <a:pt x="3138997" y="3058185"/>
                </a:moveTo>
                <a:cubicBezTo>
                  <a:pt x="3173218" y="3054375"/>
                  <a:pt x="3203637" y="3077235"/>
                  <a:pt x="3209341" y="3111524"/>
                </a:cubicBezTo>
                <a:cubicBezTo>
                  <a:pt x="3213143" y="3143909"/>
                  <a:pt x="3190329" y="3176294"/>
                  <a:pt x="3156107" y="3180105"/>
                </a:cubicBezTo>
                <a:cubicBezTo>
                  <a:pt x="3156107" y="3180105"/>
                  <a:pt x="3156107" y="3180105"/>
                  <a:pt x="2811993" y="3231532"/>
                </a:cubicBezTo>
                <a:cubicBezTo>
                  <a:pt x="2777772" y="3235344"/>
                  <a:pt x="2747353" y="3212490"/>
                  <a:pt x="2741649" y="3180105"/>
                </a:cubicBezTo>
                <a:cubicBezTo>
                  <a:pt x="2741649" y="3176294"/>
                  <a:pt x="2741649" y="3172482"/>
                  <a:pt x="2741649" y="3170578"/>
                </a:cubicBezTo>
                <a:cubicBezTo>
                  <a:pt x="2741649" y="3140101"/>
                  <a:pt x="2762562" y="3113431"/>
                  <a:pt x="2792981" y="3109621"/>
                </a:cubicBezTo>
                <a:cubicBezTo>
                  <a:pt x="2792981" y="3109621"/>
                  <a:pt x="2792981" y="3109621"/>
                  <a:pt x="3138997" y="3058185"/>
                </a:cubicBezTo>
                <a:close/>
                <a:moveTo>
                  <a:pt x="6499417" y="2774395"/>
                </a:moveTo>
                <a:cubicBezTo>
                  <a:pt x="6508695" y="2777477"/>
                  <a:pt x="6516785" y="2784121"/>
                  <a:pt x="6521545" y="2793610"/>
                </a:cubicBezTo>
                <a:cubicBezTo>
                  <a:pt x="6531063" y="2812591"/>
                  <a:pt x="6525353" y="2835368"/>
                  <a:pt x="6506317" y="2844860"/>
                </a:cubicBezTo>
                <a:cubicBezTo>
                  <a:pt x="6506317" y="2844860"/>
                  <a:pt x="6506317" y="2844860"/>
                  <a:pt x="6167477" y="3019485"/>
                </a:cubicBezTo>
                <a:cubicBezTo>
                  <a:pt x="6148441" y="3028977"/>
                  <a:pt x="6125599" y="3021384"/>
                  <a:pt x="6116081" y="3002403"/>
                </a:cubicBezTo>
                <a:cubicBezTo>
                  <a:pt x="6112273" y="2996707"/>
                  <a:pt x="6110371" y="2991015"/>
                  <a:pt x="6110371" y="2985319"/>
                </a:cubicBezTo>
                <a:cubicBezTo>
                  <a:pt x="6110371" y="2972034"/>
                  <a:pt x="6117985" y="2958746"/>
                  <a:pt x="6131309" y="2951155"/>
                </a:cubicBezTo>
                <a:cubicBezTo>
                  <a:pt x="6131309" y="2951155"/>
                  <a:pt x="6131309" y="2951155"/>
                  <a:pt x="6470149" y="2776528"/>
                </a:cubicBezTo>
                <a:cubicBezTo>
                  <a:pt x="6479667" y="2771783"/>
                  <a:pt x="6490137" y="2771307"/>
                  <a:pt x="6499417" y="2774395"/>
                </a:cubicBezTo>
                <a:close/>
                <a:moveTo>
                  <a:pt x="5959697" y="2769251"/>
                </a:moveTo>
                <a:cubicBezTo>
                  <a:pt x="5969967" y="2773057"/>
                  <a:pt x="5978565" y="2780664"/>
                  <a:pt x="5983341" y="2791128"/>
                </a:cubicBezTo>
                <a:cubicBezTo>
                  <a:pt x="5992895" y="2812056"/>
                  <a:pt x="5983341" y="2838693"/>
                  <a:pt x="5962323" y="2848205"/>
                </a:cubicBezTo>
                <a:cubicBezTo>
                  <a:pt x="5962323" y="2848205"/>
                  <a:pt x="5962323" y="2848205"/>
                  <a:pt x="5620319" y="3000413"/>
                </a:cubicBezTo>
                <a:cubicBezTo>
                  <a:pt x="5599301" y="3009926"/>
                  <a:pt x="5574463" y="3000413"/>
                  <a:pt x="5564909" y="2979484"/>
                </a:cubicBezTo>
                <a:cubicBezTo>
                  <a:pt x="5561087" y="2973778"/>
                  <a:pt x="5561087" y="2968070"/>
                  <a:pt x="5561087" y="2960461"/>
                </a:cubicBezTo>
                <a:cubicBezTo>
                  <a:pt x="5561087" y="2945239"/>
                  <a:pt x="5570641" y="2930017"/>
                  <a:pt x="5585927" y="2922407"/>
                </a:cubicBezTo>
                <a:cubicBezTo>
                  <a:pt x="5585927" y="2922407"/>
                  <a:pt x="5585927" y="2922407"/>
                  <a:pt x="5926021" y="2770203"/>
                </a:cubicBezTo>
                <a:cubicBezTo>
                  <a:pt x="5937485" y="2765445"/>
                  <a:pt x="5949427" y="2765445"/>
                  <a:pt x="5959697" y="2769251"/>
                </a:cubicBezTo>
                <a:close/>
                <a:moveTo>
                  <a:pt x="399604" y="2769236"/>
                </a:moveTo>
                <a:cubicBezTo>
                  <a:pt x="410074" y="2773041"/>
                  <a:pt x="419116" y="2780652"/>
                  <a:pt x="423875" y="2791116"/>
                </a:cubicBezTo>
                <a:cubicBezTo>
                  <a:pt x="433393" y="2812044"/>
                  <a:pt x="423875" y="2838680"/>
                  <a:pt x="401031" y="2848194"/>
                </a:cubicBezTo>
                <a:cubicBezTo>
                  <a:pt x="401031" y="2848194"/>
                  <a:pt x="401031" y="2848194"/>
                  <a:pt x="62187" y="3000399"/>
                </a:cubicBezTo>
                <a:cubicBezTo>
                  <a:pt x="41247" y="3009914"/>
                  <a:pt x="16500" y="3000399"/>
                  <a:pt x="6982" y="2979471"/>
                </a:cubicBezTo>
                <a:cubicBezTo>
                  <a:pt x="3175" y="2973763"/>
                  <a:pt x="3175" y="2968056"/>
                  <a:pt x="3175" y="2960446"/>
                </a:cubicBezTo>
                <a:cubicBezTo>
                  <a:pt x="3175" y="2945225"/>
                  <a:pt x="10789" y="2930005"/>
                  <a:pt x="27922" y="2922394"/>
                </a:cubicBezTo>
                <a:cubicBezTo>
                  <a:pt x="27922" y="2922394"/>
                  <a:pt x="27922" y="2922394"/>
                  <a:pt x="366766" y="2770189"/>
                </a:cubicBezTo>
                <a:cubicBezTo>
                  <a:pt x="377236" y="2765431"/>
                  <a:pt x="389134" y="2765431"/>
                  <a:pt x="399604" y="2769236"/>
                </a:cubicBezTo>
                <a:close/>
                <a:moveTo>
                  <a:pt x="5396043" y="2760541"/>
                </a:moveTo>
                <a:cubicBezTo>
                  <a:pt x="5414069" y="2760897"/>
                  <a:pt x="5431559" y="2771982"/>
                  <a:pt x="5437269" y="2790581"/>
                </a:cubicBezTo>
                <a:cubicBezTo>
                  <a:pt x="5446787" y="2815378"/>
                  <a:pt x="5435365" y="2842085"/>
                  <a:pt x="5410617" y="2851623"/>
                </a:cubicBezTo>
                <a:cubicBezTo>
                  <a:pt x="5410617" y="2851623"/>
                  <a:pt x="5410617" y="2851623"/>
                  <a:pt x="5069863" y="2981339"/>
                </a:cubicBezTo>
                <a:cubicBezTo>
                  <a:pt x="5045117" y="2990875"/>
                  <a:pt x="5018465" y="2977522"/>
                  <a:pt x="5008947" y="2954633"/>
                </a:cubicBezTo>
                <a:cubicBezTo>
                  <a:pt x="5007043" y="2948910"/>
                  <a:pt x="5007043" y="2943188"/>
                  <a:pt x="5007043" y="2937464"/>
                </a:cubicBezTo>
                <a:cubicBezTo>
                  <a:pt x="5007043" y="2918390"/>
                  <a:pt x="5018465" y="2899314"/>
                  <a:pt x="5037501" y="2893591"/>
                </a:cubicBezTo>
                <a:cubicBezTo>
                  <a:pt x="5037501" y="2893591"/>
                  <a:pt x="5037501" y="2893591"/>
                  <a:pt x="5378255" y="2763877"/>
                </a:cubicBezTo>
                <a:cubicBezTo>
                  <a:pt x="5383967" y="2761495"/>
                  <a:pt x="5390035" y="2760420"/>
                  <a:pt x="5396043" y="2760541"/>
                </a:cubicBezTo>
                <a:close/>
                <a:moveTo>
                  <a:pt x="930712" y="2760523"/>
                </a:moveTo>
                <a:cubicBezTo>
                  <a:pt x="949147" y="2760880"/>
                  <a:pt x="965971" y="2771968"/>
                  <a:pt x="973130" y="2790565"/>
                </a:cubicBezTo>
                <a:cubicBezTo>
                  <a:pt x="982676" y="2815364"/>
                  <a:pt x="969312" y="2842071"/>
                  <a:pt x="946402" y="2851609"/>
                </a:cubicBezTo>
                <a:cubicBezTo>
                  <a:pt x="946402" y="2851609"/>
                  <a:pt x="946402" y="2851609"/>
                  <a:pt x="604668" y="2981323"/>
                </a:cubicBezTo>
                <a:cubicBezTo>
                  <a:pt x="579849" y="2990862"/>
                  <a:pt x="551212" y="2977508"/>
                  <a:pt x="543575" y="2954616"/>
                </a:cubicBezTo>
                <a:cubicBezTo>
                  <a:pt x="541666" y="2948894"/>
                  <a:pt x="539757" y="2943172"/>
                  <a:pt x="539757" y="2937448"/>
                </a:cubicBezTo>
                <a:cubicBezTo>
                  <a:pt x="539757" y="2918374"/>
                  <a:pt x="551212" y="2899297"/>
                  <a:pt x="570303" y="2893575"/>
                </a:cubicBezTo>
                <a:cubicBezTo>
                  <a:pt x="570303" y="2893575"/>
                  <a:pt x="570303" y="2893575"/>
                  <a:pt x="912038" y="2763862"/>
                </a:cubicBezTo>
                <a:cubicBezTo>
                  <a:pt x="918243" y="2761479"/>
                  <a:pt x="924567" y="2760403"/>
                  <a:pt x="930712" y="2760523"/>
                </a:cubicBezTo>
                <a:close/>
                <a:moveTo>
                  <a:pt x="4845219" y="2755581"/>
                </a:moveTo>
                <a:cubicBezTo>
                  <a:pt x="4864927" y="2757900"/>
                  <a:pt x="4882761" y="2771451"/>
                  <a:pt x="4889895" y="2791423"/>
                </a:cubicBezTo>
                <a:cubicBezTo>
                  <a:pt x="4897503" y="2818056"/>
                  <a:pt x="4882285" y="2846591"/>
                  <a:pt x="4855653" y="2856101"/>
                </a:cubicBezTo>
                <a:cubicBezTo>
                  <a:pt x="4855653" y="2856101"/>
                  <a:pt x="4855653" y="2856101"/>
                  <a:pt x="4513231" y="2962630"/>
                </a:cubicBezTo>
                <a:cubicBezTo>
                  <a:pt x="4486597" y="2970238"/>
                  <a:pt x="4458063" y="2955019"/>
                  <a:pt x="4448551" y="2928389"/>
                </a:cubicBezTo>
                <a:cubicBezTo>
                  <a:pt x="4448551" y="2924585"/>
                  <a:pt x="4446647" y="2918879"/>
                  <a:pt x="4446647" y="2913171"/>
                </a:cubicBezTo>
                <a:cubicBezTo>
                  <a:pt x="4446647" y="2892246"/>
                  <a:pt x="4461867" y="2871320"/>
                  <a:pt x="4482793" y="2863710"/>
                </a:cubicBezTo>
                <a:cubicBezTo>
                  <a:pt x="4482793" y="2863710"/>
                  <a:pt x="4482793" y="2863710"/>
                  <a:pt x="4825215" y="2757187"/>
                </a:cubicBezTo>
                <a:cubicBezTo>
                  <a:pt x="4831873" y="2755282"/>
                  <a:pt x="4838651" y="2754807"/>
                  <a:pt x="4845219" y="2755581"/>
                </a:cubicBezTo>
                <a:close/>
                <a:moveTo>
                  <a:pt x="1482634" y="2755562"/>
                </a:moveTo>
                <a:cubicBezTo>
                  <a:pt x="1502322" y="2757882"/>
                  <a:pt x="1519861" y="2771434"/>
                  <a:pt x="1525588" y="2791407"/>
                </a:cubicBezTo>
                <a:cubicBezTo>
                  <a:pt x="1535133" y="2818039"/>
                  <a:pt x="1519861" y="2846572"/>
                  <a:pt x="1493134" y="2856085"/>
                </a:cubicBezTo>
                <a:cubicBezTo>
                  <a:pt x="1493134" y="2856085"/>
                  <a:pt x="1493134" y="2856085"/>
                  <a:pt x="1149506" y="2962612"/>
                </a:cubicBezTo>
                <a:cubicBezTo>
                  <a:pt x="1122779" y="2970220"/>
                  <a:pt x="1092234" y="2955002"/>
                  <a:pt x="1084598" y="2928370"/>
                </a:cubicBezTo>
                <a:cubicBezTo>
                  <a:pt x="1082689" y="2924566"/>
                  <a:pt x="1082689" y="2918859"/>
                  <a:pt x="1082689" y="2913153"/>
                </a:cubicBezTo>
                <a:cubicBezTo>
                  <a:pt x="1082689" y="2892227"/>
                  <a:pt x="1096052" y="2871303"/>
                  <a:pt x="1118961" y="2863693"/>
                </a:cubicBezTo>
                <a:cubicBezTo>
                  <a:pt x="1118961" y="2863693"/>
                  <a:pt x="1118961" y="2863693"/>
                  <a:pt x="1462589" y="2757168"/>
                </a:cubicBezTo>
                <a:cubicBezTo>
                  <a:pt x="1469271" y="2755265"/>
                  <a:pt x="1476072" y="2754790"/>
                  <a:pt x="1482634" y="2755562"/>
                </a:cubicBezTo>
                <a:close/>
                <a:moveTo>
                  <a:pt x="4291673" y="2750396"/>
                </a:moveTo>
                <a:cubicBezTo>
                  <a:pt x="4313357" y="2754247"/>
                  <a:pt x="4331561" y="2769654"/>
                  <a:pt x="4335845" y="2792582"/>
                </a:cubicBezTo>
                <a:cubicBezTo>
                  <a:pt x="4343459" y="2821247"/>
                  <a:pt x="4326325" y="2851820"/>
                  <a:pt x="4295867" y="2859465"/>
                </a:cubicBezTo>
                <a:cubicBezTo>
                  <a:pt x="4295867" y="2859465"/>
                  <a:pt x="4295867" y="2859465"/>
                  <a:pt x="3953199" y="2943545"/>
                </a:cubicBezTo>
                <a:cubicBezTo>
                  <a:pt x="3922739" y="2951190"/>
                  <a:pt x="3892279" y="2932080"/>
                  <a:pt x="3884665" y="2901507"/>
                </a:cubicBezTo>
                <a:cubicBezTo>
                  <a:pt x="3884665" y="2897685"/>
                  <a:pt x="3884665" y="2893863"/>
                  <a:pt x="3884665" y="2888131"/>
                </a:cubicBezTo>
                <a:cubicBezTo>
                  <a:pt x="3884665" y="2863287"/>
                  <a:pt x="3899895" y="2840356"/>
                  <a:pt x="3926547" y="2834624"/>
                </a:cubicBezTo>
                <a:cubicBezTo>
                  <a:pt x="3926547" y="2834624"/>
                  <a:pt x="3926547" y="2834624"/>
                  <a:pt x="4269215" y="2750546"/>
                </a:cubicBezTo>
                <a:cubicBezTo>
                  <a:pt x="4276829" y="2749112"/>
                  <a:pt x="4284445" y="2749112"/>
                  <a:pt x="4291673" y="2750396"/>
                </a:cubicBezTo>
                <a:close/>
                <a:moveTo>
                  <a:pt x="2037944" y="2750376"/>
                </a:moveTo>
                <a:cubicBezTo>
                  <a:pt x="2058900" y="2754227"/>
                  <a:pt x="2077448" y="2769633"/>
                  <a:pt x="2083155" y="2792565"/>
                </a:cubicBezTo>
                <a:cubicBezTo>
                  <a:pt x="2090765" y="2821228"/>
                  <a:pt x="2071741" y="2851802"/>
                  <a:pt x="2043205" y="2859446"/>
                </a:cubicBezTo>
                <a:cubicBezTo>
                  <a:pt x="2043205" y="2859446"/>
                  <a:pt x="2043205" y="2859446"/>
                  <a:pt x="1698870" y="2943524"/>
                </a:cubicBezTo>
                <a:cubicBezTo>
                  <a:pt x="1668432" y="2951168"/>
                  <a:pt x="1639896" y="2932060"/>
                  <a:pt x="1632286" y="2901486"/>
                </a:cubicBezTo>
                <a:cubicBezTo>
                  <a:pt x="1630384" y="2897664"/>
                  <a:pt x="1630384" y="2893842"/>
                  <a:pt x="1630384" y="2888109"/>
                </a:cubicBezTo>
                <a:cubicBezTo>
                  <a:pt x="1630384" y="2863268"/>
                  <a:pt x="1647506" y="2840337"/>
                  <a:pt x="1672237" y="2834604"/>
                </a:cubicBezTo>
                <a:cubicBezTo>
                  <a:pt x="1672237" y="2834604"/>
                  <a:pt x="1672237" y="2834604"/>
                  <a:pt x="2016571" y="2750526"/>
                </a:cubicBezTo>
                <a:cubicBezTo>
                  <a:pt x="2023705" y="2749093"/>
                  <a:pt x="2030958" y="2749093"/>
                  <a:pt x="2037944" y="2750376"/>
                </a:cubicBezTo>
                <a:close/>
                <a:moveTo>
                  <a:pt x="3710455" y="2745765"/>
                </a:moveTo>
                <a:cubicBezTo>
                  <a:pt x="3742797" y="2740051"/>
                  <a:pt x="3773237" y="2762911"/>
                  <a:pt x="3778943" y="2795292"/>
                </a:cubicBezTo>
                <a:cubicBezTo>
                  <a:pt x="3784651" y="2827678"/>
                  <a:pt x="3763723" y="2858160"/>
                  <a:pt x="3731383" y="2863875"/>
                </a:cubicBezTo>
                <a:cubicBezTo>
                  <a:pt x="3731383" y="2863875"/>
                  <a:pt x="3731383" y="2863875"/>
                  <a:pt x="3385136" y="2924837"/>
                </a:cubicBezTo>
                <a:cubicBezTo>
                  <a:pt x="3352794" y="2930551"/>
                  <a:pt x="3322355" y="2907691"/>
                  <a:pt x="3316647" y="2875305"/>
                </a:cubicBezTo>
                <a:cubicBezTo>
                  <a:pt x="3316647" y="2871495"/>
                  <a:pt x="3314745" y="2869590"/>
                  <a:pt x="3314745" y="2865779"/>
                </a:cubicBezTo>
                <a:cubicBezTo>
                  <a:pt x="3314745" y="2837202"/>
                  <a:pt x="3335672" y="2812439"/>
                  <a:pt x="3364209" y="2806724"/>
                </a:cubicBezTo>
                <a:cubicBezTo>
                  <a:pt x="3364209" y="2806724"/>
                  <a:pt x="3364209" y="2806724"/>
                  <a:pt x="3710455" y="2745765"/>
                </a:cubicBezTo>
                <a:close/>
                <a:moveTo>
                  <a:pt x="2576964" y="2745743"/>
                </a:moveTo>
                <a:cubicBezTo>
                  <a:pt x="2609306" y="2740028"/>
                  <a:pt x="2639745" y="2762887"/>
                  <a:pt x="2645453" y="2795273"/>
                </a:cubicBezTo>
                <a:cubicBezTo>
                  <a:pt x="2651160" y="2827657"/>
                  <a:pt x="2630233" y="2858138"/>
                  <a:pt x="2595989" y="2863852"/>
                </a:cubicBezTo>
                <a:cubicBezTo>
                  <a:pt x="2595989" y="2863852"/>
                  <a:pt x="2595989" y="2863852"/>
                  <a:pt x="2251645" y="2924813"/>
                </a:cubicBezTo>
                <a:cubicBezTo>
                  <a:pt x="2219303" y="2930528"/>
                  <a:pt x="2188864" y="2907668"/>
                  <a:pt x="2183156" y="2875282"/>
                </a:cubicBezTo>
                <a:cubicBezTo>
                  <a:pt x="2183156" y="2871473"/>
                  <a:pt x="2181254" y="2869568"/>
                  <a:pt x="2181254" y="2865758"/>
                </a:cubicBezTo>
                <a:cubicBezTo>
                  <a:pt x="2181254" y="2837183"/>
                  <a:pt x="2202181" y="2812418"/>
                  <a:pt x="2230718" y="2806703"/>
                </a:cubicBezTo>
                <a:cubicBezTo>
                  <a:pt x="2230718" y="2806703"/>
                  <a:pt x="2230718" y="2806703"/>
                  <a:pt x="2576964" y="2745743"/>
                </a:cubicBezTo>
                <a:close/>
                <a:moveTo>
                  <a:pt x="3140484" y="2739127"/>
                </a:moveTo>
                <a:cubicBezTo>
                  <a:pt x="3176656" y="2735289"/>
                  <a:pt x="3207116" y="2760236"/>
                  <a:pt x="3210923" y="2796693"/>
                </a:cubicBezTo>
                <a:cubicBezTo>
                  <a:pt x="3214731" y="2831234"/>
                  <a:pt x="3189982" y="2863857"/>
                  <a:pt x="3153811" y="2867695"/>
                </a:cubicBezTo>
                <a:cubicBezTo>
                  <a:pt x="3153811" y="2867695"/>
                  <a:pt x="3153811" y="2867695"/>
                  <a:pt x="2807326" y="2906076"/>
                </a:cubicBezTo>
                <a:cubicBezTo>
                  <a:pt x="2773058" y="2909915"/>
                  <a:pt x="2740695" y="2883048"/>
                  <a:pt x="2736887" y="2848505"/>
                </a:cubicBezTo>
                <a:cubicBezTo>
                  <a:pt x="2736887" y="2846586"/>
                  <a:pt x="2736887" y="2842748"/>
                  <a:pt x="2736887" y="2840828"/>
                </a:cubicBezTo>
                <a:cubicBezTo>
                  <a:pt x="2736887" y="2808208"/>
                  <a:pt x="2761636" y="2781342"/>
                  <a:pt x="2794000" y="2777505"/>
                </a:cubicBezTo>
                <a:cubicBezTo>
                  <a:pt x="2794000" y="2777505"/>
                  <a:pt x="2794000" y="2777505"/>
                  <a:pt x="3140484" y="2739127"/>
                </a:cubicBezTo>
                <a:close/>
                <a:moveTo>
                  <a:pt x="6499393" y="2450537"/>
                </a:moveTo>
                <a:cubicBezTo>
                  <a:pt x="6508679" y="2453617"/>
                  <a:pt x="6516775" y="2460254"/>
                  <a:pt x="6521539" y="2469736"/>
                </a:cubicBezTo>
                <a:cubicBezTo>
                  <a:pt x="6531063" y="2488696"/>
                  <a:pt x="6523443" y="2511450"/>
                  <a:pt x="6506299" y="2520927"/>
                </a:cubicBezTo>
                <a:cubicBezTo>
                  <a:pt x="6506299" y="2520927"/>
                  <a:pt x="6506299" y="2520927"/>
                  <a:pt x="6167203" y="2697229"/>
                </a:cubicBezTo>
                <a:cubicBezTo>
                  <a:pt x="6148153" y="2706708"/>
                  <a:pt x="6125293" y="2699125"/>
                  <a:pt x="6115769" y="2680166"/>
                </a:cubicBezTo>
                <a:cubicBezTo>
                  <a:pt x="6111959" y="2674476"/>
                  <a:pt x="6111959" y="2668789"/>
                  <a:pt x="6111959" y="2663100"/>
                </a:cubicBezTo>
                <a:cubicBezTo>
                  <a:pt x="6111959" y="2649833"/>
                  <a:pt x="6119579" y="2636563"/>
                  <a:pt x="6131009" y="2628979"/>
                </a:cubicBezTo>
                <a:cubicBezTo>
                  <a:pt x="6131009" y="2628979"/>
                  <a:pt x="6131009" y="2628979"/>
                  <a:pt x="6470103" y="2452670"/>
                </a:cubicBezTo>
                <a:cubicBezTo>
                  <a:pt x="6479629" y="2447930"/>
                  <a:pt x="6490105" y="2447455"/>
                  <a:pt x="6499393" y="2450537"/>
                </a:cubicBezTo>
                <a:close/>
                <a:moveTo>
                  <a:pt x="5959697" y="2446989"/>
                </a:moveTo>
                <a:cubicBezTo>
                  <a:pt x="5969967" y="2450795"/>
                  <a:pt x="5978565" y="2458406"/>
                  <a:pt x="5983341" y="2468876"/>
                </a:cubicBezTo>
                <a:cubicBezTo>
                  <a:pt x="5992895" y="2491708"/>
                  <a:pt x="5983341" y="2516441"/>
                  <a:pt x="5962323" y="2525955"/>
                </a:cubicBezTo>
                <a:cubicBezTo>
                  <a:pt x="5962323" y="2525955"/>
                  <a:pt x="5962323" y="2525955"/>
                  <a:pt x="5620319" y="2676242"/>
                </a:cubicBezTo>
                <a:cubicBezTo>
                  <a:pt x="5599301" y="2687659"/>
                  <a:pt x="5574463" y="2676242"/>
                  <a:pt x="5564909" y="2655316"/>
                </a:cubicBezTo>
                <a:cubicBezTo>
                  <a:pt x="5561087" y="2649609"/>
                  <a:pt x="5561087" y="2643900"/>
                  <a:pt x="5561087" y="2638194"/>
                </a:cubicBezTo>
                <a:cubicBezTo>
                  <a:pt x="5561087" y="2621072"/>
                  <a:pt x="5570641" y="2605853"/>
                  <a:pt x="5585927" y="2598244"/>
                </a:cubicBezTo>
                <a:cubicBezTo>
                  <a:pt x="5585927" y="2598244"/>
                  <a:pt x="5585927" y="2598244"/>
                  <a:pt x="5926021" y="2447940"/>
                </a:cubicBezTo>
                <a:cubicBezTo>
                  <a:pt x="5937485" y="2443184"/>
                  <a:pt x="5949427" y="2443184"/>
                  <a:pt x="5959697" y="2446989"/>
                </a:cubicBezTo>
                <a:close/>
                <a:moveTo>
                  <a:pt x="399505" y="2446974"/>
                </a:moveTo>
                <a:cubicBezTo>
                  <a:pt x="410005" y="2450780"/>
                  <a:pt x="419074" y="2458390"/>
                  <a:pt x="423847" y="2468859"/>
                </a:cubicBezTo>
                <a:cubicBezTo>
                  <a:pt x="433393" y="2491688"/>
                  <a:pt x="423847" y="2516422"/>
                  <a:pt x="400936" y="2525937"/>
                </a:cubicBezTo>
                <a:cubicBezTo>
                  <a:pt x="400936" y="2525937"/>
                  <a:pt x="400936" y="2525937"/>
                  <a:pt x="61095" y="2676233"/>
                </a:cubicBezTo>
                <a:cubicBezTo>
                  <a:pt x="40094" y="2687647"/>
                  <a:pt x="13365" y="2676233"/>
                  <a:pt x="3818" y="2655306"/>
                </a:cubicBezTo>
                <a:cubicBezTo>
                  <a:pt x="1909" y="2649597"/>
                  <a:pt x="0" y="2643887"/>
                  <a:pt x="0" y="2638182"/>
                </a:cubicBezTo>
                <a:cubicBezTo>
                  <a:pt x="0" y="2621058"/>
                  <a:pt x="9546" y="2605839"/>
                  <a:pt x="26729" y="2598228"/>
                </a:cubicBezTo>
                <a:cubicBezTo>
                  <a:pt x="26729" y="2598228"/>
                  <a:pt x="26729" y="2598228"/>
                  <a:pt x="366570" y="2447925"/>
                </a:cubicBezTo>
                <a:cubicBezTo>
                  <a:pt x="377071" y="2443169"/>
                  <a:pt x="389004" y="2443169"/>
                  <a:pt x="399505" y="2446974"/>
                </a:cubicBezTo>
                <a:close/>
                <a:moveTo>
                  <a:pt x="5396633" y="2440126"/>
                </a:moveTo>
                <a:cubicBezTo>
                  <a:pt x="5414989" y="2441016"/>
                  <a:pt x="5431741" y="2453112"/>
                  <a:pt x="5438869" y="2471616"/>
                </a:cubicBezTo>
                <a:cubicBezTo>
                  <a:pt x="5448375" y="2496282"/>
                  <a:pt x="5435067" y="2522842"/>
                  <a:pt x="5410355" y="2532335"/>
                </a:cubicBezTo>
                <a:cubicBezTo>
                  <a:pt x="5410355" y="2532335"/>
                  <a:pt x="5410355" y="2532335"/>
                  <a:pt x="5070087" y="2657533"/>
                </a:cubicBezTo>
                <a:cubicBezTo>
                  <a:pt x="5045375" y="2667018"/>
                  <a:pt x="5018761" y="2653739"/>
                  <a:pt x="5009257" y="2629079"/>
                </a:cubicBezTo>
                <a:cubicBezTo>
                  <a:pt x="5007355" y="2623388"/>
                  <a:pt x="5005455" y="2617696"/>
                  <a:pt x="5005455" y="2613902"/>
                </a:cubicBezTo>
                <a:cubicBezTo>
                  <a:pt x="5005455" y="2593035"/>
                  <a:pt x="5018761" y="2575966"/>
                  <a:pt x="5037771" y="2568377"/>
                </a:cubicBezTo>
                <a:cubicBezTo>
                  <a:pt x="5037771" y="2568377"/>
                  <a:pt x="5037771" y="2568377"/>
                  <a:pt x="5378039" y="2443151"/>
                </a:cubicBezTo>
                <a:cubicBezTo>
                  <a:pt x="5384217" y="2440778"/>
                  <a:pt x="5390513" y="2439830"/>
                  <a:pt x="5396633" y="2440126"/>
                </a:cubicBezTo>
                <a:close/>
                <a:moveTo>
                  <a:pt x="930712" y="2440109"/>
                </a:moveTo>
                <a:cubicBezTo>
                  <a:pt x="949147" y="2441000"/>
                  <a:pt x="965971" y="2453095"/>
                  <a:pt x="973130" y="2471595"/>
                </a:cubicBezTo>
                <a:cubicBezTo>
                  <a:pt x="982676" y="2496260"/>
                  <a:pt x="969312" y="2522822"/>
                  <a:pt x="944493" y="2532310"/>
                </a:cubicBezTo>
                <a:cubicBezTo>
                  <a:pt x="944493" y="2532310"/>
                  <a:pt x="944493" y="2532310"/>
                  <a:pt x="602758" y="2657520"/>
                </a:cubicBezTo>
                <a:cubicBezTo>
                  <a:pt x="577940" y="2667007"/>
                  <a:pt x="551212" y="2653725"/>
                  <a:pt x="541666" y="2629065"/>
                </a:cubicBezTo>
                <a:cubicBezTo>
                  <a:pt x="539757" y="2623373"/>
                  <a:pt x="539757" y="2617681"/>
                  <a:pt x="539757" y="2613887"/>
                </a:cubicBezTo>
                <a:cubicBezTo>
                  <a:pt x="539757" y="2593017"/>
                  <a:pt x="551212" y="2575945"/>
                  <a:pt x="570303" y="2568357"/>
                </a:cubicBezTo>
                <a:cubicBezTo>
                  <a:pt x="570303" y="2568357"/>
                  <a:pt x="570303" y="2568357"/>
                  <a:pt x="912038" y="2443134"/>
                </a:cubicBezTo>
                <a:cubicBezTo>
                  <a:pt x="918243" y="2440761"/>
                  <a:pt x="924567" y="2439813"/>
                  <a:pt x="930712" y="2440109"/>
                </a:cubicBezTo>
                <a:close/>
                <a:moveTo>
                  <a:pt x="4847413" y="2434954"/>
                </a:moveTo>
                <a:cubicBezTo>
                  <a:pt x="4867891" y="2437368"/>
                  <a:pt x="4885417" y="2451318"/>
                  <a:pt x="4891141" y="2472786"/>
                </a:cubicBezTo>
                <a:cubicBezTo>
                  <a:pt x="4900679" y="2499500"/>
                  <a:pt x="4883509" y="2528118"/>
                  <a:pt x="4856803" y="2537659"/>
                </a:cubicBezTo>
                <a:cubicBezTo>
                  <a:pt x="4856803" y="2537659"/>
                  <a:pt x="4856803" y="2537659"/>
                  <a:pt x="4513417" y="2638754"/>
                </a:cubicBezTo>
                <a:cubicBezTo>
                  <a:pt x="4484801" y="2646384"/>
                  <a:pt x="4456187" y="2631124"/>
                  <a:pt x="4448555" y="2602511"/>
                </a:cubicBezTo>
                <a:cubicBezTo>
                  <a:pt x="4446647" y="2596787"/>
                  <a:pt x="4446647" y="2592973"/>
                  <a:pt x="4446647" y="2587251"/>
                </a:cubicBezTo>
                <a:cubicBezTo>
                  <a:pt x="4446647" y="2564365"/>
                  <a:pt x="4460001" y="2545289"/>
                  <a:pt x="4482895" y="2537659"/>
                </a:cubicBezTo>
                <a:cubicBezTo>
                  <a:pt x="4482895" y="2537659"/>
                  <a:pt x="4482895" y="2537659"/>
                  <a:pt x="4826279" y="2436532"/>
                </a:cubicBezTo>
                <a:cubicBezTo>
                  <a:pt x="4833433" y="2434625"/>
                  <a:pt x="4840587" y="2434147"/>
                  <a:pt x="4847413" y="2434954"/>
                </a:cubicBezTo>
                <a:close/>
                <a:moveTo>
                  <a:pt x="1482970" y="2434934"/>
                </a:moveTo>
                <a:cubicBezTo>
                  <a:pt x="1503179" y="2437349"/>
                  <a:pt x="1521779" y="2451300"/>
                  <a:pt x="1527502" y="2472764"/>
                </a:cubicBezTo>
                <a:cubicBezTo>
                  <a:pt x="1535133" y="2499474"/>
                  <a:pt x="1519871" y="2528092"/>
                  <a:pt x="1491256" y="2537631"/>
                </a:cubicBezTo>
                <a:cubicBezTo>
                  <a:pt x="1491256" y="2537631"/>
                  <a:pt x="1491256" y="2537631"/>
                  <a:pt x="1147871" y="2638738"/>
                </a:cubicBezTo>
                <a:cubicBezTo>
                  <a:pt x="1121164" y="2646368"/>
                  <a:pt x="1092548" y="2631108"/>
                  <a:pt x="1083010" y="2602491"/>
                </a:cubicBezTo>
                <a:cubicBezTo>
                  <a:pt x="1081102" y="2596768"/>
                  <a:pt x="1081102" y="2592952"/>
                  <a:pt x="1081102" y="2587229"/>
                </a:cubicBezTo>
                <a:cubicBezTo>
                  <a:pt x="1081102" y="2564338"/>
                  <a:pt x="1096364" y="2545262"/>
                  <a:pt x="1119256" y="2537631"/>
                </a:cubicBezTo>
                <a:cubicBezTo>
                  <a:pt x="1119256" y="2537631"/>
                  <a:pt x="1119256" y="2537631"/>
                  <a:pt x="1462641" y="2436514"/>
                </a:cubicBezTo>
                <a:cubicBezTo>
                  <a:pt x="1469318" y="2434606"/>
                  <a:pt x="1476233" y="2434129"/>
                  <a:pt x="1482970" y="2434934"/>
                </a:cubicBezTo>
                <a:close/>
                <a:moveTo>
                  <a:pt x="4270903" y="2431440"/>
                </a:moveTo>
                <a:cubicBezTo>
                  <a:pt x="4301321" y="2425725"/>
                  <a:pt x="4331739" y="2444776"/>
                  <a:pt x="4339343" y="2475259"/>
                </a:cubicBezTo>
                <a:cubicBezTo>
                  <a:pt x="4345047" y="2505747"/>
                  <a:pt x="4326035" y="2536230"/>
                  <a:pt x="4295617" y="2543850"/>
                </a:cubicBezTo>
                <a:cubicBezTo>
                  <a:pt x="4295617" y="2543850"/>
                  <a:pt x="4295617" y="2543850"/>
                  <a:pt x="3951517" y="2618129"/>
                </a:cubicBezTo>
                <a:cubicBezTo>
                  <a:pt x="3921099" y="2625749"/>
                  <a:pt x="3890681" y="2606702"/>
                  <a:pt x="3883077" y="2574325"/>
                </a:cubicBezTo>
                <a:cubicBezTo>
                  <a:pt x="3883077" y="2570513"/>
                  <a:pt x="3883077" y="2566705"/>
                  <a:pt x="3883077" y="2562897"/>
                </a:cubicBezTo>
                <a:cubicBezTo>
                  <a:pt x="3883077" y="2536230"/>
                  <a:pt x="3900187" y="2513366"/>
                  <a:pt x="3926803" y="2507652"/>
                </a:cubicBezTo>
                <a:cubicBezTo>
                  <a:pt x="3926803" y="2507652"/>
                  <a:pt x="3926803" y="2507652"/>
                  <a:pt x="4270903" y="2431440"/>
                </a:cubicBezTo>
                <a:close/>
                <a:moveTo>
                  <a:pt x="2016623" y="2431420"/>
                </a:moveTo>
                <a:cubicBezTo>
                  <a:pt x="2047041" y="2425705"/>
                  <a:pt x="2077458" y="2444755"/>
                  <a:pt x="2085063" y="2475236"/>
                </a:cubicBezTo>
                <a:cubicBezTo>
                  <a:pt x="2090766" y="2505718"/>
                  <a:pt x="2071755" y="2536199"/>
                  <a:pt x="2041337" y="2543819"/>
                </a:cubicBezTo>
                <a:cubicBezTo>
                  <a:pt x="2041337" y="2543819"/>
                  <a:pt x="2041337" y="2543819"/>
                  <a:pt x="1697237" y="2618110"/>
                </a:cubicBezTo>
                <a:cubicBezTo>
                  <a:pt x="1666819" y="2625730"/>
                  <a:pt x="1636401" y="2606681"/>
                  <a:pt x="1630698" y="2574297"/>
                </a:cubicBezTo>
                <a:cubicBezTo>
                  <a:pt x="1628797" y="2570488"/>
                  <a:pt x="1628797" y="2566678"/>
                  <a:pt x="1628797" y="2562869"/>
                </a:cubicBezTo>
                <a:cubicBezTo>
                  <a:pt x="1628797" y="2536199"/>
                  <a:pt x="1647808" y="2513338"/>
                  <a:pt x="1674424" y="2507623"/>
                </a:cubicBezTo>
                <a:cubicBezTo>
                  <a:pt x="1674424" y="2507623"/>
                  <a:pt x="1674424" y="2507623"/>
                  <a:pt x="2016623" y="2431420"/>
                </a:cubicBezTo>
                <a:close/>
                <a:moveTo>
                  <a:pt x="2799526" y="2428900"/>
                </a:moveTo>
                <a:cubicBezTo>
                  <a:pt x="2799526" y="2428900"/>
                  <a:pt x="2799526" y="2428900"/>
                  <a:pt x="3148596" y="2428900"/>
                </a:cubicBezTo>
                <a:cubicBezTo>
                  <a:pt x="3188654" y="2428900"/>
                  <a:pt x="3221081" y="2459451"/>
                  <a:pt x="3221081" y="2499556"/>
                </a:cubicBezTo>
                <a:cubicBezTo>
                  <a:pt x="3221081" y="2537746"/>
                  <a:pt x="3188654" y="2570198"/>
                  <a:pt x="3148596" y="2570198"/>
                </a:cubicBezTo>
                <a:cubicBezTo>
                  <a:pt x="3148596" y="2570198"/>
                  <a:pt x="3148596" y="2570198"/>
                  <a:pt x="2799526" y="2570198"/>
                </a:cubicBezTo>
                <a:cubicBezTo>
                  <a:pt x="2761376" y="2570198"/>
                  <a:pt x="2728949" y="2537746"/>
                  <a:pt x="2728949" y="2499556"/>
                </a:cubicBezTo>
                <a:cubicBezTo>
                  <a:pt x="2728949" y="2459451"/>
                  <a:pt x="2761376" y="2428900"/>
                  <a:pt x="2799526" y="2428900"/>
                </a:cubicBezTo>
                <a:close/>
                <a:moveTo>
                  <a:pt x="3713481" y="2424773"/>
                </a:moveTo>
                <a:cubicBezTo>
                  <a:pt x="3745887" y="2420960"/>
                  <a:pt x="3778295" y="2443824"/>
                  <a:pt x="3782107" y="2478118"/>
                </a:cubicBezTo>
                <a:cubicBezTo>
                  <a:pt x="3787827" y="2510510"/>
                  <a:pt x="3764951" y="2542896"/>
                  <a:pt x="3730637" y="2546706"/>
                </a:cubicBezTo>
                <a:cubicBezTo>
                  <a:pt x="3730637" y="2546706"/>
                  <a:pt x="3730637" y="2546706"/>
                  <a:pt x="3383690" y="2598127"/>
                </a:cubicBezTo>
                <a:cubicBezTo>
                  <a:pt x="3351283" y="2601938"/>
                  <a:pt x="3318876" y="2579083"/>
                  <a:pt x="3315063" y="2546706"/>
                </a:cubicBezTo>
                <a:cubicBezTo>
                  <a:pt x="3313157" y="2542896"/>
                  <a:pt x="3313157" y="2539086"/>
                  <a:pt x="3313157" y="2537183"/>
                </a:cubicBezTo>
                <a:cubicBezTo>
                  <a:pt x="3313157" y="2506700"/>
                  <a:pt x="3336033" y="2480026"/>
                  <a:pt x="3366533" y="2476213"/>
                </a:cubicBezTo>
                <a:cubicBezTo>
                  <a:pt x="3366533" y="2476213"/>
                  <a:pt x="3366533" y="2476213"/>
                  <a:pt x="3713481" y="2424773"/>
                </a:cubicBezTo>
                <a:close/>
                <a:moveTo>
                  <a:pt x="2578402" y="2424750"/>
                </a:moveTo>
                <a:cubicBezTo>
                  <a:pt x="2610809" y="2420940"/>
                  <a:pt x="2643217" y="2443801"/>
                  <a:pt x="2647029" y="2478093"/>
                </a:cubicBezTo>
                <a:cubicBezTo>
                  <a:pt x="2652748" y="2510478"/>
                  <a:pt x="2629872" y="2542862"/>
                  <a:pt x="2595559" y="2546673"/>
                </a:cubicBezTo>
                <a:cubicBezTo>
                  <a:pt x="2595559" y="2546673"/>
                  <a:pt x="2595559" y="2546673"/>
                  <a:pt x="2248612" y="2598105"/>
                </a:cubicBezTo>
                <a:cubicBezTo>
                  <a:pt x="2216205" y="2601915"/>
                  <a:pt x="2183798" y="2579056"/>
                  <a:pt x="2179985" y="2546673"/>
                </a:cubicBezTo>
                <a:cubicBezTo>
                  <a:pt x="2178079" y="2542862"/>
                  <a:pt x="2178079" y="2539052"/>
                  <a:pt x="2178079" y="2537148"/>
                </a:cubicBezTo>
                <a:cubicBezTo>
                  <a:pt x="2178079" y="2506667"/>
                  <a:pt x="2200955" y="2479996"/>
                  <a:pt x="2231455" y="2476187"/>
                </a:cubicBezTo>
                <a:cubicBezTo>
                  <a:pt x="2231455" y="2476187"/>
                  <a:pt x="2231455" y="2476187"/>
                  <a:pt x="2578402" y="2424750"/>
                </a:cubicBezTo>
                <a:close/>
                <a:moveTo>
                  <a:pt x="6500049" y="2128300"/>
                </a:moveTo>
                <a:cubicBezTo>
                  <a:pt x="6509329" y="2131399"/>
                  <a:pt x="6517421" y="2138076"/>
                  <a:pt x="6522179" y="2147616"/>
                </a:cubicBezTo>
                <a:cubicBezTo>
                  <a:pt x="6525985" y="2153339"/>
                  <a:pt x="6527889" y="2159060"/>
                  <a:pt x="6527889" y="2164783"/>
                </a:cubicBezTo>
                <a:cubicBezTo>
                  <a:pt x="6527889" y="2180041"/>
                  <a:pt x="6520275" y="2193391"/>
                  <a:pt x="6506949" y="2199112"/>
                </a:cubicBezTo>
                <a:cubicBezTo>
                  <a:pt x="6506949" y="2199112"/>
                  <a:pt x="6506949" y="2199112"/>
                  <a:pt x="6168111" y="2374577"/>
                </a:cubicBezTo>
                <a:cubicBezTo>
                  <a:pt x="6149075" y="2386022"/>
                  <a:pt x="6126231" y="2378393"/>
                  <a:pt x="6116713" y="2359320"/>
                </a:cubicBezTo>
                <a:cubicBezTo>
                  <a:pt x="6107195" y="2340248"/>
                  <a:pt x="6114811" y="2317360"/>
                  <a:pt x="6131943" y="2305905"/>
                </a:cubicBezTo>
                <a:cubicBezTo>
                  <a:pt x="6131943" y="2305905"/>
                  <a:pt x="6131943" y="2305905"/>
                  <a:pt x="6470781" y="2130447"/>
                </a:cubicBezTo>
                <a:cubicBezTo>
                  <a:pt x="6480299" y="2125679"/>
                  <a:pt x="6490769" y="2125202"/>
                  <a:pt x="6500049" y="2128300"/>
                </a:cubicBezTo>
                <a:close/>
                <a:moveTo>
                  <a:pt x="5959179" y="2123124"/>
                </a:moveTo>
                <a:cubicBezTo>
                  <a:pt x="5969411" y="2126926"/>
                  <a:pt x="5977979" y="2134535"/>
                  <a:pt x="5982737" y="2145006"/>
                </a:cubicBezTo>
                <a:cubicBezTo>
                  <a:pt x="5984641" y="2150712"/>
                  <a:pt x="5986543" y="2158323"/>
                  <a:pt x="5986543" y="2164031"/>
                </a:cubicBezTo>
                <a:cubicBezTo>
                  <a:pt x="5986543" y="2179252"/>
                  <a:pt x="5977025" y="2196376"/>
                  <a:pt x="5961797" y="2202083"/>
                </a:cubicBezTo>
                <a:cubicBezTo>
                  <a:pt x="5961797" y="2202083"/>
                  <a:pt x="5961797" y="2202083"/>
                  <a:pt x="5621049" y="2354284"/>
                </a:cubicBezTo>
                <a:cubicBezTo>
                  <a:pt x="5600109" y="2363796"/>
                  <a:pt x="5575363" y="2354284"/>
                  <a:pt x="5565845" y="2333356"/>
                </a:cubicBezTo>
                <a:cubicBezTo>
                  <a:pt x="5556327" y="2312426"/>
                  <a:pt x="5565845" y="2285781"/>
                  <a:pt x="5586783" y="2276277"/>
                </a:cubicBezTo>
                <a:cubicBezTo>
                  <a:pt x="5586783" y="2276277"/>
                  <a:pt x="5586783" y="2276277"/>
                  <a:pt x="5925629" y="2124073"/>
                </a:cubicBezTo>
                <a:cubicBezTo>
                  <a:pt x="5937051" y="2119318"/>
                  <a:pt x="5948947" y="2119318"/>
                  <a:pt x="5959179" y="2123124"/>
                </a:cubicBezTo>
                <a:close/>
                <a:moveTo>
                  <a:pt x="398985" y="2123120"/>
                </a:moveTo>
                <a:cubicBezTo>
                  <a:pt x="409447" y="2126926"/>
                  <a:pt x="418483" y="2134534"/>
                  <a:pt x="423239" y="2145003"/>
                </a:cubicBezTo>
                <a:cubicBezTo>
                  <a:pt x="425141" y="2150710"/>
                  <a:pt x="427043" y="2158322"/>
                  <a:pt x="427043" y="2164030"/>
                </a:cubicBezTo>
                <a:cubicBezTo>
                  <a:pt x="427043" y="2179250"/>
                  <a:pt x="417532" y="2196374"/>
                  <a:pt x="402314" y="2202079"/>
                </a:cubicBezTo>
                <a:cubicBezTo>
                  <a:pt x="402314" y="2202079"/>
                  <a:pt x="402314" y="2202079"/>
                  <a:pt x="61815" y="2354282"/>
                </a:cubicBezTo>
                <a:cubicBezTo>
                  <a:pt x="40890" y="2363796"/>
                  <a:pt x="16162" y="2354282"/>
                  <a:pt x="6650" y="2333354"/>
                </a:cubicBezTo>
                <a:cubicBezTo>
                  <a:pt x="-4763" y="2312425"/>
                  <a:pt x="4748" y="2285781"/>
                  <a:pt x="27575" y="2276277"/>
                </a:cubicBezTo>
                <a:cubicBezTo>
                  <a:pt x="27575" y="2276277"/>
                  <a:pt x="27575" y="2276277"/>
                  <a:pt x="366172" y="2124071"/>
                </a:cubicBezTo>
                <a:cubicBezTo>
                  <a:pt x="376634" y="2119317"/>
                  <a:pt x="388523" y="2119317"/>
                  <a:pt x="398985" y="2123120"/>
                </a:cubicBezTo>
                <a:close/>
                <a:moveTo>
                  <a:pt x="5396861" y="2116224"/>
                </a:moveTo>
                <a:cubicBezTo>
                  <a:pt x="5414939" y="2117022"/>
                  <a:pt x="5432479" y="2128742"/>
                  <a:pt x="5438205" y="2145799"/>
                </a:cubicBezTo>
                <a:cubicBezTo>
                  <a:pt x="5442023" y="2151485"/>
                  <a:pt x="5442023" y="2157168"/>
                  <a:pt x="5442023" y="2162853"/>
                </a:cubicBezTo>
                <a:cubicBezTo>
                  <a:pt x="5442023" y="2181802"/>
                  <a:pt x="5430569" y="2198854"/>
                  <a:pt x="5411477" y="2206431"/>
                </a:cubicBezTo>
                <a:cubicBezTo>
                  <a:pt x="5411477" y="2206431"/>
                  <a:pt x="5411477" y="2206431"/>
                  <a:pt x="5069743" y="2335273"/>
                </a:cubicBezTo>
                <a:cubicBezTo>
                  <a:pt x="5044925" y="2344742"/>
                  <a:pt x="5018197" y="2333378"/>
                  <a:pt x="5008651" y="2308740"/>
                </a:cubicBezTo>
                <a:cubicBezTo>
                  <a:pt x="4999105" y="2284105"/>
                  <a:pt x="5012469" y="2257588"/>
                  <a:pt x="5037287" y="2248114"/>
                </a:cubicBezTo>
                <a:cubicBezTo>
                  <a:pt x="5037287" y="2248114"/>
                  <a:pt x="5037287" y="2248114"/>
                  <a:pt x="5379023" y="2119273"/>
                </a:cubicBezTo>
                <a:cubicBezTo>
                  <a:pt x="5384751" y="2116904"/>
                  <a:pt x="5390837" y="2115957"/>
                  <a:pt x="5396861" y="2116224"/>
                </a:cubicBezTo>
                <a:close/>
                <a:moveTo>
                  <a:pt x="930378" y="2116219"/>
                </a:moveTo>
                <a:cubicBezTo>
                  <a:pt x="948827" y="2117022"/>
                  <a:pt x="965663" y="2128742"/>
                  <a:pt x="972827" y="2145797"/>
                </a:cubicBezTo>
                <a:cubicBezTo>
                  <a:pt x="974738" y="2151482"/>
                  <a:pt x="974738" y="2157168"/>
                  <a:pt x="974738" y="2162851"/>
                </a:cubicBezTo>
                <a:cubicBezTo>
                  <a:pt x="974738" y="2181799"/>
                  <a:pt x="963275" y="2198852"/>
                  <a:pt x="944170" y="2206429"/>
                </a:cubicBezTo>
                <a:cubicBezTo>
                  <a:pt x="944170" y="2206429"/>
                  <a:pt x="944170" y="2206429"/>
                  <a:pt x="602186" y="2335271"/>
                </a:cubicBezTo>
                <a:cubicBezTo>
                  <a:pt x="579260" y="2344740"/>
                  <a:pt x="550602" y="2333375"/>
                  <a:pt x="542960" y="2308740"/>
                </a:cubicBezTo>
                <a:cubicBezTo>
                  <a:pt x="533407" y="2284105"/>
                  <a:pt x="544870" y="2257586"/>
                  <a:pt x="569707" y="2248111"/>
                </a:cubicBezTo>
                <a:cubicBezTo>
                  <a:pt x="569707" y="2248111"/>
                  <a:pt x="569707" y="2248111"/>
                  <a:pt x="911691" y="2119271"/>
                </a:cubicBezTo>
                <a:cubicBezTo>
                  <a:pt x="917900" y="2116901"/>
                  <a:pt x="924229" y="2115954"/>
                  <a:pt x="930378" y="2116219"/>
                </a:cubicBezTo>
                <a:close/>
                <a:moveTo>
                  <a:pt x="4846001" y="2110276"/>
                </a:moveTo>
                <a:cubicBezTo>
                  <a:pt x="4865777" y="2111876"/>
                  <a:pt x="4883673" y="2125762"/>
                  <a:pt x="4890833" y="2147137"/>
                </a:cubicBezTo>
                <a:cubicBezTo>
                  <a:pt x="4892743" y="2150938"/>
                  <a:pt x="4892743" y="2156636"/>
                  <a:pt x="4892743" y="2162335"/>
                </a:cubicBezTo>
                <a:cubicBezTo>
                  <a:pt x="4892743" y="2183230"/>
                  <a:pt x="4879379" y="2204124"/>
                  <a:pt x="4856471" y="2209823"/>
                </a:cubicBezTo>
                <a:cubicBezTo>
                  <a:pt x="4856471" y="2209823"/>
                  <a:pt x="4856471" y="2209823"/>
                  <a:pt x="4512841" y="2316194"/>
                </a:cubicBezTo>
                <a:cubicBezTo>
                  <a:pt x="4486115" y="2325694"/>
                  <a:pt x="4457479" y="2310492"/>
                  <a:pt x="4449843" y="2283894"/>
                </a:cubicBezTo>
                <a:cubicBezTo>
                  <a:pt x="4440299" y="2255411"/>
                  <a:pt x="4455571" y="2226918"/>
                  <a:pt x="4482297" y="2219319"/>
                </a:cubicBezTo>
                <a:cubicBezTo>
                  <a:pt x="4482297" y="2219319"/>
                  <a:pt x="4482297" y="2219319"/>
                  <a:pt x="4825925" y="2112946"/>
                </a:cubicBezTo>
                <a:cubicBezTo>
                  <a:pt x="4832607" y="2110571"/>
                  <a:pt x="4839409" y="2109741"/>
                  <a:pt x="4846001" y="2110276"/>
                </a:cubicBezTo>
                <a:close/>
                <a:moveTo>
                  <a:pt x="1482460" y="2110273"/>
                </a:moveTo>
                <a:cubicBezTo>
                  <a:pt x="1502091" y="2111874"/>
                  <a:pt x="1519582" y="2125762"/>
                  <a:pt x="1525292" y="2147134"/>
                </a:cubicBezTo>
                <a:cubicBezTo>
                  <a:pt x="1527196" y="2150933"/>
                  <a:pt x="1527196" y="2156633"/>
                  <a:pt x="1527196" y="2162332"/>
                </a:cubicBezTo>
                <a:cubicBezTo>
                  <a:pt x="1527196" y="2183226"/>
                  <a:pt x="1513870" y="2204123"/>
                  <a:pt x="1492930" y="2209820"/>
                </a:cubicBezTo>
                <a:cubicBezTo>
                  <a:pt x="1492930" y="2209820"/>
                  <a:pt x="1492930" y="2209820"/>
                  <a:pt x="1150267" y="2316193"/>
                </a:cubicBezTo>
                <a:cubicBezTo>
                  <a:pt x="1123615" y="2325693"/>
                  <a:pt x="1093156" y="2310492"/>
                  <a:pt x="1085542" y="2283894"/>
                </a:cubicBezTo>
                <a:cubicBezTo>
                  <a:pt x="1077927" y="2255409"/>
                  <a:pt x="1093156" y="2226917"/>
                  <a:pt x="1119808" y="2219317"/>
                </a:cubicBezTo>
                <a:cubicBezTo>
                  <a:pt x="1119808" y="2219317"/>
                  <a:pt x="1119808" y="2219317"/>
                  <a:pt x="1462471" y="2112944"/>
                </a:cubicBezTo>
                <a:cubicBezTo>
                  <a:pt x="1469134" y="2110569"/>
                  <a:pt x="1475916" y="2109738"/>
                  <a:pt x="1482460" y="2110273"/>
                </a:cubicBezTo>
                <a:close/>
                <a:moveTo>
                  <a:pt x="4292491" y="2106610"/>
                </a:moveTo>
                <a:cubicBezTo>
                  <a:pt x="4314341" y="2109634"/>
                  <a:pt x="4332965" y="2124916"/>
                  <a:pt x="4338695" y="2147674"/>
                </a:cubicBezTo>
                <a:cubicBezTo>
                  <a:pt x="4338695" y="2151466"/>
                  <a:pt x="4338695" y="2157154"/>
                  <a:pt x="4338695" y="2160948"/>
                </a:cubicBezTo>
                <a:cubicBezTo>
                  <a:pt x="4338695" y="2185599"/>
                  <a:pt x="4321503" y="2208350"/>
                  <a:pt x="4296669" y="2214040"/>
                </a:cubicBezTo>
                <a:cubicBezTo>
                  <a:pt x="4296669" y="2214040"/>
                  <a:pt x="4296669" y="2214040"/>
                  <a:pt x="3952817" y="2297465"/>
                </a:cubicBezTo>
                <a:cubicBezTo>
                  <a:pt x="3922251" y="2305051"/>
                  <a:pt x="3891687" y="2286085"/>
                  <a:pt x="3884045" y="2257651"/>
                </a:cubicBezTo>
                <a:cubicBezTo>
                  <a:pt x="3878315" y="2227314"/>
                  <a:pt x="3895507" y="2196975"/>
                  <a:pt x="3926073" y="2191286"/>
                </a:cubicBezTo>
                <a:cubicBezTo>
                  <a:pt x="3926073" y="2191286"/>
                  <a:pt x="3926073" y="2191286"/>
                  <a:pt x="4269925" y="2107856"/>
                </a:cubicBezTo>
                <a:cubicBezTo>
                  <a:pt x="4277567" y="2105958"/>
                  <a:pt x="4285209" y="2105604"/>
                  <a:pt x="4292491" y="2106610"/>
                </a:cubicBezTo>
                <a:close/>
                <a:moveTo>
                  <a:pt x="2038726" y="2106607"/>
                </a:moveTo>
                <a:cubicBezTo>
                  <a:pt x="2059755" y="2109629"/>
                  <a:pt x="2078367" y="2124916"/>
                  <a:pt x="2084094" y="2147672"/>
                </a:cubicBezTo>
                <a:cubicBezTo>
                  <a:pt x="2084094" y="2151465"/>
                  <a:pt x="2086003" y="2157154"/>
                  <a:pt x="2086003" y="2160946"/>
                </a:cubicBezTo>
                <a:cubicBezTo>
                  <a:pt x="2086003" y="2185596"/>
                  <a:pt x="2068822" y="2208348"/>
                  <a:pt x="2044006" y="2214037"/>
                </a:cubicBezTo>
                <a:cubicBezTo>
                  <a:pt x="2044006" y="2214037"/>
                  <a:pt x="2044006" y="2214037"/>
                  <a:pt x="1698484" y="2297465"/>
                </a:cubicBezTo>
                <a:cubicBezTo>
                  <a:pt x="1667940" y="2305051"/>
                  <a:pt x="1639306" y="2286085"/>
                  <a:pt x="1631670" y="2257649"/>
                </a:cubicBezTo>
                <a:cubicBezTo>
                  <a:pt x="1624034" y="2227312"/>
                  <a:pt x="1643124" y="2196972"/>
                  <a:pt x="1671758" y="2191284"/>
                </a:cubicBezTo>
                <a:cubicBezTo>
                  <a:pt x="1671758" y="2191284"/>
                  <a:pt x="1671758" y="2191284"/>
                  <a:pt x="2017280" y="2107852"/>
                </a:cubicBezTo>
                <a:cubicBezTo>
                  <a:pt x="2024439" y="2105955"/>
                  <a:pt x="2031717" y="2105600"/>
                  <a:pt x="2038726" y="2106607"/>
                </a:cubicBezTo>
                <a:close/>
                <a:moveTo>
                  <a:pt x="3734761" y="2101210"/>
                </a:moveTo>
                <a:cubicBezTo>
                  <a:pt x="3757325" y="2105942"/>
                  <a:pt x="3775589" y="2124873"/>
                  <a:pt x="3779887" y="2149163"/>
                </a:cubicBezTo>
                <a:cubicBezTo>
                  <a:pt x="3779887" y="2152972"/>
                  <a:pt x="3779887" y="2156782"/>
                  <a:pt x="3779887" y="2158688"/>
                </a:cubicBezTo>
                <a:cubicBezTo>
                  <a:pt x="3779887" y="2187262"/>
                  <a:pt x="3760787" y="2212026"/>
                  <a:pt x="3732133" y="2217741"/>
                </a:cubicBezTo>
                <a:cubicBezTo>
                  <a:pt x="3732133" y="2217741"/>
                  <a:pt x="3732133" y="2217741"/>
                  <a:pt x="3384479" y="2278699"/>
                </a:cubicBezTo>
                <a:cubicBezTo>
                  <a:pt x="3352006" y="2284410"/>
                  <a:pt x="3321443" y="2263461"/>
                  <a:pt x="3315713" y="2231076"/>
                </a:cubicBezTo>
                <a:cubicBezTo>
                  <a:pt x="3309982" y="2198691"/>
                  <a:pt x="3330994" y="2166308"/>
                  <a:pt x="3363467" y="2160593"/>
                </a:cubicBezTo>
                <a:cubicBezTo>
                  <a:pt x="3363467" y="2160593"/>
                  <a:pt x="3363467" y="2160593"/>
                  <a:pt x="3711121" y="2101538"/>
                </a:cubicBezTo>
                <a:cubicBezTo>
                  <a:pt x="3719239" y="2099633"/>
                  <a:pt x="3727239" y="2099633"/>
                  <a:pt x="3734761" y="2101210"/>
                </a:cubicBezTo>
                <a:close/>
                <a:moveTo>
                  <a:pt x="2601270" y="2101207"/>
                </a:moveTo>
                <a:cubicBezTo>
                  <a:pt x="2623834" y="2105940"/>
                  <a:pt x="2642100" y="2124870"/>
                  <a:pt x="2646398" y="2149158"/>
                </a:cubicBezTo>
                <a:cubicBezTo>
                  <a:pt x="2646398" y="2152969"/>
                  <a:pt x="2646398" y="2156780"/>
                  <a:pt x="2646398" y="2158685"/>
                </a:cubicBezTo>
                <a:cubicBezTo>
                  <a:pt x="2646398" y="2187260"/>
                  <a:pt x="2627296" y="2212024"/>
                  <a:pt x="2596733" y="2217739"/>
                </a:cubicBezTo>
                <a:cubicBezTo>
                  <a:pt x="2596733" y="2217739"/>
                  <a:pt x="2596733" y="2217739"/>
                  <a:pt x="2250989" y="2278698"/>
                </a:cubicBezTo>
                <a:cubicBezTo>
                  <a:pt x="2218516" y="2284410"/>
                  <a:pt x="2187953" y="2263459"/>
                  <a:pt x="2182223" y="2231074"/>
                </a:cubicBezTo>
                <a:cubicBezTo>
                  <a:pt x="2176492" y="2198689"/>
                  <a:pt x="2197504" y="2166304"/>
                  <a:pt x="2229977" y="2160590"/>
                </a:cubicBezTo>
                <a:cubicBezTo>
                  <a:pt x="2229977" y="2160590"/>
                  <a:pt x="2229977" y="2160590"/>
                  <a:pt x="2577631" y="2101535"/>
                </a:cubicBezTo>
                <a:cubicBezTo>
                  <a:pt x="2585749" y="2099630"/>
                  <a:pt x="2593748" y="2099630"/>
                  <a:pt x="2601270" y="2101207"/>
                </a:cubicBezTo>
                <a:close/>
                <a:moveTo>
                  <a:pt x="3141117" y="2094543"/>
                </a:moveTo>
                <a:cubicBezTo>
                  <a:pt x="3177288" y="2090740"/>
                  <a:pt x="3207748" y="2117360"/>
                  <a:pt x="3211556" y="2151589"/>
                </a:cubicBezTo>
                <a:cubicBezTo>
                  <a:pt x="3211556" y="2153490"/>
                  <a:pt x="3211556" y="2157291"/>
                  <a:pt x="3211556" y="2159195"/>
                </a:cubicBezTo>
                <a:cubicBezTo>
                  <a:pt x="3211556" y="2191522"/>
                  <a:pt x="3188711" y="2218141"/>
                  <a:pt x="3156347" y="2221944"/>
                </a:cubicBezTo>
                <a:cubicBezTo>
                  <a:pt x="3156347" y="2221944"/>
                  <a:pt x="3156347" y="2221944"/>
                  <a:pt x="2807959" y="2259975"/>
                </a:cubicBezTo>
                <a:cubicBezTo>
                  <a:pt x="2773691" y="2263775"/>
                  <a:pt x="2741327" y="2239058"/>
                  <a:pt x="2737520" y="2202929"/>
                </a:cubicBezTo>
                <a:cubicBezTo>
                  <a:pt x="2733712" y="2168703"/>
                  <a:pt x="2760365" y="2136375"/>
                  <a:pt x="2794632" y="2132570"/>
                </a:cubicBezTo>
                <a:cubicBezTo>
                  <a:pt x="2794632" y="2132570"/>
                  <a:pt x="2794632" y="2132570"/>
                  <a:pt x="3141117" y="2094543"/>
                </a:cubicBezTo>
                <a:close/>
                <a:moveTo>
                  <a:pt x="6499963" y="1806060"/>
                </a:moveTo>
                <a:cubicBezTo>
                  <a:pt x="6509271" y="1809163"/>
                  <a:pt x="6517387" y="1815847"/>
                  <a:pt x="6522161" y="1825395"/>
                </a:cubicBezTo>
                <a:cubicBezTo>
                  <a:pt x="6525979" y="1831124"/>
                  <a:pt x="6527887" y="1836853"/>
                  <a:pt x="6527887" y="1842582"/>
                </a:cubicBezTo>
                <a:cubicBezTo>
                  <a:pt x="6527887" y="1857859"/>
                  <a:pt x="6520251" y="1871226"/>
                  <a:pt x="6506885" y="1876955"/>
                </a:cubicBezTo>
                <a:cubicBezTo>
                  <a:pt x="6506885" y="1876955"/>
                  <a:pt x="6506885" y="1876955"/>
                  <a:pt x="6167027" y="2052636"/>
                </a:cubicBezTo>
                <a:cubicBezTo>
                  <a:pt x="6147935" y="2062185"/>
                  <a:pt x="6125023" y="2054546"/>
                  <a:pt x="6115475" y="2035451"/>
                </a:cubicBezTo>
                <a:cubicBezTo>
                  <a:pt x="6104019" y="2016355"/>
                  <a:pt x="6111657" y="1993440"/>
                  <a:pt x="6130751" y="1983892"/>
                </a:cubicBezTo>
                <a:cubicBezTo>
                  <a:pt x="6130751" y="1983892"/>
                  <a:pt x="6130751" y="1983892"/>
                  <a:pt x="6470609" y="1808208"/>
                </a:cubicBezTo>
                <a:cubicBezTo>
                  <a:pt x="6480155" y="1803434"/>
                  <a:pt x="6490655" y="1802957"/>
                  <a:pt x="6499963" y="1806060"/>
                </a:cubicBezTo>
                <a:close/>
                <a:moveTo>
                  <a:pt x="5958465" y="1800926"/>
                </a:moveTo>
                <a:cubicBezTo>
                  <a:pt x="5968935" y="1804756"/>
                  <a:pt x="5977979" y="1812415"/>
                  <a:pt x="5982737" y="1822945"/>
                </a:cubicBezTo>
                <a:cubicBezTo>
                  <a:pt x="5984641" y="1828690"/>
                  <a:pt x="5986543" y="1834433"/>
                  <a:pt x="5986543" y="1840178"/>
                </a:cubicBezTo>
                <a:cubicBezTo>
                  <a:pt x="5986543" y="1857411"/>
                  <a:pt x="5977025" y="1872728"/>
                  <a:pt x="5961797" y="1878473"/>
                </a:cubicBezTo>
                <a:cubicBezTo>
                  <a:pt x="5961797" y="1878473"/>
                  <a:pt x="5961797" y="1878473"/>
                  <a:pt x="5622953" y="2033561"/>
                </a:cubicBezTo>
                <a:cubicBezTo>
                  <a:pt x="5600109" y="2043135"/>
                  <a:pt x="5575363" y="2033561"/>
                  <a:pt x="5565845" y="2012501"/>
                </a:cubicBezTo>
                <a:cubicBezTo>
                  <a:pt x="5556327" y="1991439"/>
                  <a:pt x="5565845" y="1964634"/>
                  <a:pt x="5586783" y="1955060"/>
                </a:cubicBezTo>
                <a:cubicBezTo>
                  <a:pt x="5586783" y="1955060"/>
                  <a:pt x="5586783" y="1955060"/>
                  <a:pt x="5925629" y="1801884"/>
                </a:cubicBezTo>
                <a:cubicBezTo>
                  <a:pt x="5936099" y="1797097"/>
                  <a:pt x="5947995" y="1797097"/>
                  <a:pt x="5958465" y="1800926"/>
                </a:cubicBezTo>
                <a:close/>
                <a:moveTo>
                  <a:pt x="398965" y="1800917"/>
                </a:moveTo>
                <a:cubicBezTo>
                  <a:pt x="409435" y="1804747"/>
                  <a:pt x="418477" y="1812406"/>
                  <a:pt x="423236" y="1822936"/>
                </a:cubicBezTo>
                <a:cubicBezTo>
                  <a:pt x="425139" y="1828681"/>
                  <a:pt x="427043" y="1834425"/>
                  <a:pt x="427043" y="1840169"/>
                </a:cubicBezTo>
                <a:cubicBezTo>
                  <a:pt x="427043" y="1857402"/>
                  <a:pt x="417525" y="1872719"/>
                  <a:pt x="400392" y="1878463"/>
                </a:cubicBezTo>
                <a:cubicBezTo>
                  <a:pt x="400392" y="1878463"/>
                  <a:pt x="400392" y="1878463"/>
                  <a:pt x="61548" y="2033553"/>
                </a:cubicBezTo>
                <a:cubicBezTo>
                  <a:pt x="40608" y="2043126"/>
                  <a:pt x="15861" y="2033553"/>
                  <a:pt x="6343" y="2012491"/>
                </a:cubicBezTo>
                <a:cubicBezTo>
                  <a:pt x="-3175" y="1991430"/>
                  <a:pt x="6343" y="1964624"/>
                  <a:pt x="27283" y="1955050"/>
                </a:cubicBezTo>
                <a:cubicBezTo>
                  <a:pt x="27283" y="1955050"/>
                  <a:pt x="27283" y="1955050"/>
                  <a:pt x="366127" y="1801874"/>
                </a:cubicBezTo>
                <a:cubicBezTo>
                  <a:pt x="376597" y="1797088"/>
                  <a:pt x="388495" y="1797088"/>
                  <a:pt x="398965" y="1800917"/>
                </a:cubicBezTo>
                <a:close/>
                <a:moveTo>
                  <a:pt x="5395755" y="1792151"/>
                </a:moveTo>
                <a:cubicBezTo>
                  <a:pt x="5414203" y="1792508"/>
                  <a:pt x="5431039" y="1803581"/>
                  <a:pt x="5438203" y="1822155"/>
                </a:cubicBezTo>
                <a:cubicBezTo>
                  <a:pt x="5440113" y="1827871"/>
                  <a:pt x="5442023" y="1833586"/>
                  <a:pt x="5442023" y="1839301"/>
                </a:cubicBezTo>
                <a:cubicBezTo>
                  <a:pt x="5442023" y="1858351"/>
                  <a:pt x="5430561" y="1875496"/>
                  <a:pt x="5411455" y="1883116"/>
                </a:cubicBezTo>
                <a:cubicBezTo>
                  <a:pt x="5411455" y="1883116"/>
                  <a:pt x="5411455" y="1883116"/>
                  <a:pt x="5069471" y="2014560"/>
                </a:cubicBezTo>
                <a:cubicBezTo>
                  <a:pt x="5046545" y="2024085"/>
                  <a:pt x="5019799" y="2012655"/>
                  <a:pt x="5010245" y="1989796"/>
                </a:cubicBezTo>
                <a:cubicBezTo>
                  <a:pt x="5000693" y="1965031"/>
                  <a:pt x="5012157" y="1938361"/>
                  <a:pt x="5036993" y="1928836"/>
                </a:cubicBezTo>
                <a:cubicBezTo>
                  <a:pt x="5036993" y="1928836"/>
                  <a:pt x="5036993" y="1928836"/>
                  <a:pt x="5377067" y="1795485"/>
                </a:cubicBezTo>
                <a:cubicBezTo>
                  <a:pt x="5383277" y="1793104"/>
                  <a:pt x="5389605" y="1792032"/>
                  <a:pt x="5395755" y="1792151"/>
                </a:cubicBezTo>
                <a:close/>
                <a:moveTo>
                  <a:pt x="929274" y="1792140"/>
                </a:moveTo>
                <a:cubicBezTo>
                  <a:pt x="946916" y="1792497"/>
                  <a:pt x="963752" y="1803570"/>
                  <a:pt x="970917" y="1822144"/>
                </a:cubicBezTo>
                <a:cubicBezTo>
                  <a:pt x="974738" y="1827859"/>
                  <a:pt x="974738" y="1833574"/>
                  <a:pt x="974738" y="1839289"/>
                </a:cubicBezTo>
                <a:cubicBezTo>
                  <a:pt x="974738" y="1858339"/>
                  <a:pt x="963275" y="1875484"/>
                  <a:pt x="946080" y="1883104"/>
                </a:cubicBezTo>
                <a:cubicBezTo>
                  <a:pt x="946080" y="1883104"/>
                  <a:pt x="946080" y="1883104"/>
                  <a:pt x="604096" y="2014549"/>
                </a:cubicBezTo>
                <a:cubicBezTo>
                  <a:pt x="579260" y="2024073"/>
                  <a:pt x="552512" y="2012644"/>
                  <a:pt x="542960" y="1989784"/>
                </a:cubicBezTo>
                <a:cubicBezTo>
                  <a:pt x="533407" y="1965019"/>
                  <a:pt x="544870" y="1938349"/>
                  <a:pt x="569707" y="1928824"/>
                </a:cubicBezTo>
                <a:cubicBezTo>
                  <a:pt x="569707" y="1928824"/>
                  <a:pt x="569707" y="1928824"/>
                  <a:pt x="911691" y="1795473"/>
                </a:cubicBezTo>
                <a:cubicBezTo>
                  <a:pt x="917423" y="1793092"/>
                  <a:pt x="923393" y="1792021"/>
                  <a:pt x="929274" y="1792140"/>
                </a:cubicBezTo>
                <a:close/>
                <a:moveTo>
                  <a:pt x="4845315" y="1786416"/>
                </a:moveTo>
                <a:cubicBezTo>
                  <a:pt x="4864245" y="1787849"/>
                  <a:pt x="4882105" y="1801102"/>
                  <a:pt x="4889249" y="1819728"/>
                </a:cubicBezTo>
                <a:cubicBezTo>
                  <a:pt x="4891155" y="1825459"/>
                  <a:pt x="4891155" y="1831190"/>
                  <a:pt x="4891155" y="1836922"/>
                </a:cubicBezTo>
                <a:cubicBezTo>
                  <a:pt x="4891155" y="1857937"/>
                  <a:pt x="4877819" y="1877041"/>
                  <a:pt x="4856863" y="1884682"/>
                </a:cubicBezTo>
                <a:cubicBezTo>
                  <a:pt x="4856863" y="1884682"/>
                  <a:pt x="4856863" y="1884682"/>
                  <a:pt x="4515863" y="1997394"/>
                </a:cubicBezTo>
                <a:cubicBezTo>
                  <a:pt x="4489193" y="2005036"/>
                  <a:pt x="4460619" y="1991663"/>
                  <a:pt x="4451093" y="1964918"/>
                </a:cubicBezTo>
                <a:cubicBezTo>
                  <a:pt x="4443473" y="1938173"/>
                  <a:pt x="4456809" y="1909517"/>
                  <a:pt x="4483479" y="1901876"/>
                </a:cubicBezTo>
                <a:cubicBezTo>
                  <a:pt x="4483479" y="1901876"/>
                  <a:pt x="4483479" y="1901876"/>
                  <a:pt x="4826383" y="1789162"/>
                </a:cubicBezTo>
                <a:cubicBezTo>
                  <a:pt x="4832575" y="1786774"/>
                  <a:pt x="4839005" y="1785938"/>
                  <a:pt x="4845315" y="1786416"/>
                </a:cubicBezTo>
                <a:close/>
                <a:moveTo>
                  <a:pt x="1480556" y="1786402"/>
                </a:moveTo>
                <a:cubicBezTo>
                  <a:pt x="1500188" y="1787834"/>
                  <a:pt x="1517678" y="1801087"/>
                  <a:pt x="1523389" y="1819714"/>
                </a:cubicBezTo>
                <a:cubicBezTo>
                  <a:pt x="1525292" y="1825445"/>
                  <a:pt x="1527196" y="1831176"/>
                  <a:pt x="1527196" y="1836908"/>
                </a:cubicBezTo>
                <a:cubicBezTo>
                  <a:pt x="1527196" y="1857922"/>
                  <a:pt x="1513870" y="1877026"/>
                  <a:pt x="1492930" y="1884667"/>
                </a:cubicBezTo>
                <a:cubicBezTo>
                  <a:pt x="1492930" y="1884667"/>
                  <a:pt x="1492930" y="1884667"/>
                  <a:pt x="1150267" y="1997380"/>
                </a:cubicBezTo>
                <a:cubicBezTo>
                  <a:pt x="1123615" y="2005020"/>
                  <a:pt x="1095060" y="1991648"/>
                  <a:pt x="1087445" y="1964903"/>
                </a:cubicBezTo>
                <a:cubicBezTo>
                  <a:pt x="1077927" y="1938158"/>
                  <a:pt x="1093156" y="1909502"/>
                  <a:pt x="1119808" y="1901861"/>
                </a:cubicBezTo>
                <a:cubicBezTo>
                  <a:pt x="1119808" y="1901861"/>
                  <a:pt x="1119808" y="1901861"/>
                  <a:pt x="1460567" y="1789148"/>
                </a:cubicBezTo>
                <a:cubicBezTo>
                  <a:pt x="1467230" y="1786760"/>
                  <a:pt x="1474012" y="1785924"/>
                  <a:pt x="1480556" y="1786402"/>
                </a:cubicBezTo>
                <a:close/>
                <a:moveTo>
                  <a:pt x="4289949" y="1779638"/>
                </a:moveTo>
                <a:cubicBezTo>
                  <a:pt x="4310399" y="1782603"/>
                  <a:pt x="4327901" y="1797695"/>
                  <a:pt x="4333615" y="1819255"/>
                </a:cubicBezTo>
                <a:cubicBezTo>
                  <a:pt x="4335521" y="1825004"/>
                  <a:pt x="4335521" y="1828837"/>
                  <a:pt x="4335521" y="1834586"/>
                </a:cubicBezTo>
                <a:cubicBezTo>
                  <a:pt x="4335521" y="1857584"/>
                  <a:pt x="4320281" y="1878665"/>
                  <a:pt x="4295515" y="1886331"/>
                </a:cubicBezTo>
                <a:cubicBezTo>
                  <a:pt x="4295515" y="1886331"/>
                  <a:pt x="4295515" y="1886331"/>
                  <a:pt x="3952611" y="1978320"/>
                </a:cubicBezTo>
                <a:cubicBezTo>
                  <a:pt x="3924035" y="1985985"/>
                  <a:pt x="3893555" y="1968738"/>
                  <a:pt x="3885935" y="1939991"/>
                </a:cubicBezTo>
                <a:cubicBezTo>
                  <a:pt x="3878315" y="1911245"/>
                  <a:pt x="3895461" y="1880581"/>
                  <a:pt x="3924035" y="1872916"/>
                </a:cubicBezTo>
                <a:cubicBezTo>
                  <a:pt x="3924035" y="1872916"/>
                  <a:pt x="3924035" y="1872916"/>
                  <a:pt x="4268845" y="1780925"/>
                </a:cubicBezTo>
                <a:cubicBezTo>
                  <a:pt x="4275989" y="1779009"/>
                  <a:pt x="4283133" y="1778650"/>
                  <a:pt x="4289949" y="1779638"/>
                </a:cubicBezTo>
                <a:close/>
                <a:moveTo>
                  <a:pt x="2035648" y="1779621"/>
                </a:moveTo>
                <a:cubicBezTo>
                  <a:pt x="2056633" y="1782586"/>
                  <a:pt x="2075207" y="1797678"/>
                  <a:pt x="2080922" y="1819238"/>
                </a:cubicBezTo>
                <a:cubicBezTo>
                  <a:pt x="2082827" y="1824987"/>
                  <a:pt x="2082827" y="1828820"/>
                  <a:pt x="2082827" y="1834569"/>
                </a:cubicBezTo>
                <a:cubicBezTo>
                  <a:pt x="2082827" y="1857567"/>
                  <a:pt x="2065682" y="1878648"/>
                  <a:pt x="2042821" y="1886314"/>
                </a:cubicBezTo>
                <a:cubicBezTo>
                  <a:pt x="2042821" y="1886314"/>
                  <a:pt x="2042821" y="1886314"/>
                  <a:pt x="1699917" y="1978302"/>
                </a:cubicBezTo>
                <a:cubicBezTo>
                  <a:pt x="1669437" y="1985968"/>
                  <a:pt x="1640861" y="1968720"/>
                  <a:pt x="1633241" y="1939974"/>
                </a:cubicBezTo>
                <a:cubicBezTo>
                  <a:pt x="1625621" y="1911227"/>
                  <a:pt x="1642766" y="1880564"/>
                  <a:pt x="1671342" y="1872898"/>
                </a:cubicBezTo>
                <a:cubicBezTo>
                  <a:pt x="1671342" y="1872898"/>
                  <a:pt x="1671342" y="1872898"/>
                  <a:pt x="2014246" y="1780909"/>
                </a:cubicBezTo>
                <a:cubicBezTo>
                  <a:pt x="2021390" y="1778992"/>
                  <a:pt x="2028653" y="1778633"/>
                  <a:pt x="2035648" y="1779621"/>
                </a:cubicBezTo>
                <a:close/>
                <a:moveTo>
                  <a:pt x="3732191" y="1775473"/>
                </a:moveTo>
                <a:cubicBezTo>
                  <a:pt x="3753995" y="1779587"/>
                  <a:pt x="3772581" y="1797118"/>
                  <a:pt x="3778301" y="1820015"/>
                </a:cubicBezTo>
                <a:cubicBezTo>
                  <a:pt x="3778301" y="1823830"/>
                  <a:pt x="3778301" y="1827647"/>
                  <a:pt x="3778301" y="1831463"/>
                </a:cubicBezTo>
                <a:cubicBezTo>
                  <a:pt x="3778301" y="1858176"/>
                  <a:pt x="3759237" y="1882981"/>
                  <a:pt x="3732549" y="1888705"/>
                </a:cubicBezTo>
                <a:cubicBezTo>
                  <a:pt x="3732549" y="1888705"/>
                  <a:pt x="3732549" y="1888705"/>
                  <a:pt x="3387504" y="1959303"/>
                </a:cubicBezTo>
                <a:cubicBezTo>
                  <a:pt x="3357003" y="1966936"/>
                  <a:pt x="3326501" y="1945947"/>
                  <a:pt x="3318876" y="1915418"/>
                </a:cubicBezTo>
                <a:cubicBezTo>
                  <a:pt x="3313157" y="1882981"/>
                  <a:pt x="3332220" y="1852452"/>
                  <a:pt x="3364628" y="1846728"/>
                </a:cubicBezTo>
                <a:cubicBezTo>
                  <a:pt x="3364628" y="1846728"/>
                  <a:pt x="3364628" y="1846728"/>
                  <a:pt x="3709673" y="1776129"/>
                </a:cubicBezTo>
                <a:cubicBezTo>
                  <a:pt x="3717299" y="1774221"/>
                  <a:pt x="3724923" y="1774102"/>
                  <a:pt x="3732191" y="1775473"/>
                </a:cubicBezTo>
                <a:close/>
                <a:moveTo>
                  <a:pt x="2597114" y="1775454"/>
                </a:moveTo>
                <a:cubicBezTo>
                  <a:pt x="2618917" y="1779568"/>
                  <a:pt x="2637504" y="1797098"/>
                  <a:pt x="2643223" y="1819995"/>
                </a:cubicBezTo>
                <a:cubicBezTo>
                  <a:pt x="2643223" y="1823811"/>
                  <a:pt x="2643223" y="1827627"/>
                  <a:pt x="2643223" y="1831444"/>
                </a:cubicBezTo>
                <a:cubicBezTo>
                  <a:pt x="2643223" y="1858156"/>
                  <a:pt x="2624160" y="1882961"/>
                  <a:pt x="2597471" y="1888685"/>
                </a:cubicBezTo>
                <a:cubicBezTo>
                  <a:pt x="2597471" y="1888685"/>
                  <a:pt x="2597471" y="1888685"/>
                  <a:pt x="2252426" y="1959283"/>
                </a:cubicBezTo>
                <a:cubicBezTo>
                  <a:pt x="2221925" y="1966916"/>
                  <a:pt x="2191423" y="1945927"/>
                  <a:pt x="2183798" y="1915398"/>
                </a:cubicBezTo>
                <a:cubicBezTo>
                  <a:pt x="2178079" y="1882961"/>
                  <a:pt x="2197142" y="1852432"/>
                  <a:pt x="2229550" y="1846708"/>
                </a:cubicBezTo>
                <a:cubicBezTo>
                  <a:pt x="2229550" y="1846708"/>
                  <a:pt x="2229550" y="1846708"/>
                  <a:pt x="2574595" y="1776110"/>
                </a:cubicBezTo>
                <a:cubicBezTo>
                  <a:pt x="2582220" y="1774201"/>
                  <a:pt x="2589846" y="1774082"/>
                  <a:pt x="2597114" y="1775454"/>
                </a:cubicBezTo>
                <a:close/>
                <a:moveTo>
                  <a:pt x="3139435" y="1767852"/>
                </a:moveTo>
                <a:cubicBezTo>
                  <a:pt x="3173748" y="1762146"/>
                  <a:pt x="3204249" y="1786869"/>
                  <a:pt x="3209968" y="1819198"/>
                </a:cubicBezTo>
                <a:cubicBezTo>
                  <a:pt x="3209968" y="1823001"/>
                  <a:pt x="3209968" y="1826805"/>
                  <a:pt x="3209968" y="1828706"/>
                </a:cubicBezTo>
                <a:cubicBezTo>
                  <a:pt x="3209968" y="1859134"/>
                  <a:pt x="3187092" y="1885758"/>
                  <a:pt x="3156592" y="1889561"/>
                </a:cubicBezTo>
                <a:cubicBezTo>
                  <a:pt x="3156592" y="1889561"/>
                  <a:pt x="3156592" y="1889561"/>
                  <a:pt x="2811551" y="1939005"/>
                </a:cubicBezTo>
                <a:cubicBezTo>
                  <a:pt x="2777238" y="1944711"/>
                  <a:pt x="2746737" y="1921890"/>
                  <a:pt x="2741018" y="1887660"/>
                </a:cubicBezTo>
                <a:cubicBezTo>
                  <a:pt x="2735299" y="1853429"/>
                  <a:pt x="2760081" y="1823001"/>
                  <a:pt x="2792488" y="1819198"/>
                </a:cubicBezTo>
                <a:cubicBezTo>
                  <a:pt x="2792488" y="1819198"/>
                  <a:pt x="2792488" y="1819198"/>
                  <a:pt x="3139435" y="1767852"/>
                </a:cubicBezTo>
                <a:close/>
                <a:moveTo>
                  <a:pt x="6500203" y="1483796"/>
                </a:moveTo>
                <a:cubicBezTo>
                  <a:pt x="6509749" y="1486898"/>
                  <a:pt x="6518341" y="1493581"/>
                  <a:pt x="6524069" y="1503130"/>
                </a:cubicBezTo>
                <a:cubicBezTo>
                  <a:pt x="6525979" y="1508858"/>
                  <a:pt x="6527887" y="1514587"/>
                  <a:pt x="6527887" y="1520316"/>
                </a:cubicBezTo>
                <a:cubicBezTo>
                  <a:pt x="6527887" y="1535593"/>
                  <a:pt x="6520251" y="1548959"/>
                  <a:pt x="6506885" y="1554689"/>
                </a:cubicBezTo>
                <a:cubicBezTo>
                  <a:pt x="6506885" y="1554689"/>
                  <a:pt x="6506885" y="1554689"/>
                  <a:pt x="6167027" y="1728465"/>
                </a:cubicBezTo>
                <a:cubicBezTo>
                  <a:pt x="6147935" y="1739923"/>
                  <a:pt x="6125023" y="1732285"/>
                  <a:pt x="6113567" y="1711279"/>
                </a:cubicBezTo>
                <a:cubicBezTo>
                  <a:pt x="6104019" y="1692183"/>
                  <a:pt x="6111657" y="1669267"/>
                  <a:pt x="6130751" y="1659718"/>
                </a:cubicBezTo>
                <a:cubicBezTo>
                  <a:pt x="6130751" y="1659718"/>
                  <a:pt x="6130751" y="1659718"/>
                  <a:pt x="6470609" y="1485944"/>
                </a:cubicBezTo>
                <a:cubicBezTo>
                  <a:pt x="6480155" y="1481169"/>
                  <a:pt x="6490655" y="1480692"/>
                  <a:pt x="6500203" y="1483796"/>
                </a:cubicBezTo>
                <a:close/>
                <a:moveTo>
                  <a:pt x="5958465" y="1477063"/>
                </a:moveTo>
                <a:cubicBezTo>
                  <a:pt x="5968935" y="1480887"/>
                  <a:pt x="5977979" y="1488535"/>
                  <a:pt x="5982737" y="1499053"/>
                </a:cubicBezTo>
                <a:cubicBezTo>
                  <a:pt x="5984641" y="1504790"/>
                  <a:pt x="5986543" y="1510525"/>
                  <a:pt x="5986543" y="1516262"/>
                </a:cubicBezTo>
                <a:cubicBezTo>
                  <a:pt x="5986543" y="1533472"/>
                  <a:pt x="5977025" y="1548771"/>
                  <a:pt x="5961797" y="1556419"/>
                </a:cubicBezTo>
                <a:cubicBezTo>
                  <a:pt x="5961797" y="1556419"/>
                  <a:pt x="5961797" y="1556419"/>
                  <a:pt x="5622953" y="1711312"/>
                </a:cubicBezTo>
                <a:cubicBezTo>
                  <a:pt x="5600109" y="1720872"/>
                  <a:pt x="5575363" y="1711312"/>
                  <a:pt x="5565845" y="1690277"/>
                </a:cubicBezTo>
                <a:cubicBezTo>
                  <a:pt x="5556327" y="1669242"/>
                  <a:pt x="5565845" y="1644382"/>
                  <a:pt x="5586783" y="1632909"/>
                </a:cubicBezTo>
                <a:cubicBezTo>
                  <a:pt x="5586783" y="1632909"/>
                  <a:pt x="5586783" y="1632909"/>
                  <a:pt x="5925629" y="1478018"/>
                </a:cubicBezTo>
                <a:cubicBezTo>
                  <a:pt x="5936099" y="1473237"/>
                  <a:pt x="5947995" y="1473237"/>
                  <a:pt x="5958465" y="1477063"/>
                </a:cubicBezTo>
                <a:close/>
                <a:moveTo>
                  <a:pt x="398251" y="1477054"/>
                </a:moveTo>
                <a:cubicBezTo>
                  <a:pt x="408483" y="1480877"/>
                  <a:pt x="417525" y="1488527"/>
                  <a:pt x="423236" y="1499043"/>
                </a:cubicBezTo>
                <a:cubicBezTo>
                  <a:pt x="425139" y="1504780"/>
                  <a:pt x="427043" y="1510517"/>
                  <a:pt x="427043" y="1516254"/>
                </a:cubicBezTo>
                <a:cubicBezTo>
                  <a:pt x="427043" y="1533463"/>
                  <a:pt x="417525" y="1548761"/>
                  <a:pt x="402296" y="1556411"/>
                </a:cubicBezTo>
                <a:cubicBezTo>
                  <a:pt x="402296" y="1556411"/>
                  <a:pt x="402296" y="1556411"/>
                  <a:pt x="61548" y="1711302"/>
                </a:cubicBezTo>
                <a:cubicBezTo>
                  <a:pt x="40608" y="1720863"/>
                  <a:pt x="15861" y="1711302"/>
                  <a:pt x="6343" y="1690267"/>
                </a:cubicBezTo>
                <a:cubicBezTo>
                  <a:pt x="-3175" y="1669232"/>
                  <a:pt x="6343" y="1644373"/>
                  <a:pt x="27283" y="1632900"/>
                </a:cubicBezTo>
                <a:cubicBezTo>
                  <a:pt x="27283" y="1632900"/>
                  <a:pt x="27283" y="1632900"/>
                  <a:pt x="366127" y="1478010"/>
                </a:cubicBezTo>
                <a:cubicBezTo>
                  <a:pt x="376597" y="1473229"/>
                  <a:pt x="388019" y="1473229"/>
                  <a:pt x="398251" y="1477054"/>
                </a:cubicBezTo>
                <a:close/>
                <a:moveTo>
                  <a:pt x="5394617" y="1468282"/>
                </a:moveTo>
                <a:cubicBezTo>
                  <a:pt x="5413013" y="1468638"/>
                  <a:pt x="5429801" y="1479682"/>
                  <a:pt x="5436943" y="1498207"/>
                </a:cubicBezTo>
                <a:cubicBezTo>
                  <a:pt x="5438849" y="1503907"/>
                  <a:pt x="5438849" y="1509607"/>
                  <a:pt x="5438849" y="1515306"/>
                </a:cubicBezTo>
                <a:cubicBezTo>
                  <a:pt x="5438849" y="1532407"/>
                  <a:pt x="5429323" y="1549507"/>
                  <a:pt x="5410273" y="1557108"/>
                </a:cubicBezTo>
                <a:cubicBezTo>
                  <a:pt x="5410273" y="1557108"/>
                  <a:pt x="5410273" y="1557108"/>
                  <a:pt x="5069273" y="1693909"/>
                </a:cubicBezTo>
                <a:cubicBezTo>
                  <a:pt x="5046413" y="1703410"/>
                  <a:pt x="5019743" y="1692010"/>
                  <a:pt x="5010219" y="1667309"/>
                </a:cubicBezTo>
                <a:cubicBezTo>
                  <a:pt x="5000693" y="1644508"/>
                  <a:pt x="5012123" y="1617908"/>
                  <a:pt x="5036889" y="1608408"/>
                </a:cubicBezTo>
                <a:cubicBezTo>
                  <a:pt x="5036889" y="1608408"/>
                  <a:pt x="5036889" y="1608408"/>
                  <a:pt x="5375983" y="1471608"/>
                </a:cubicBezTo>
                <a:cubicBezTo>
                  <a:pt x="5382175" y="1469232"/>
                  <a:pt x="5388485" y="1468163"/>
                  <a:pt x="5394617" y="1468282"/>
                </a:cubicBezTo>
                <a:close/>
                <a:moveTo>
                  <a:pt x="929404" y="1468271"/>
                </a:moveTo>
                <a:cubicBezTo>
                  <a:pt x="946996" y="1468627"/>
                  <a:pt x="963784" y="1479671"/>
                  <a:pt x="970928" y="1498195"/>
                </a:cubicBezTo>
                <a:cubicBezTo>
                  <a:pt x="972833" y="1503895"/>
                  <a:pt x="974738" y="1509596"/>
                  <a:pt x="974738" y="1515296"/>
                </a:cubicBezTo>
                <a:cubicBezTo>
                  <a:pt x="974738" y="1532396"/>
                  <a:pt x="963308" y="1549496"/>
                  <a:pt x="946163" y="1557096"/>
                </a:cubicBezTo>
                <a:cubicBezTo>
                  <a:pt x="946163" y="1557096"/>
                  <a:pt x="946163" y="1557096"/>
                  <a:pt x="605163" y="1693897"/>
                </a:cubicBezTo>
                <a:cubicBezTo>
                  <a:pt x="580398" y="1703397"/>
                  <a:pt x="553727" y="1691997"/>
                  <a:pt x="546107" y="1667296"/>
                </a:cubicBezTo>
                <a:cubicBezTo>
                  <a:pt x="536582" y="1644496"/>
                  <a:pt x="548012" y="1617896"/>
                  <a:pt x="570872" y="1608396"/>
                </a:cubicBezTo>
                <a:cubicBezTo>
                  <a:pt x="570872" y="1608396"/>
                  <a:pt x="570872" y="1608396"/>
                  <a:pt x="911872" y="1471596"/>
                </a:cubicBezTo>
                <a:cubicBezTo>
                  <a:pt x="917587" y="1469221"/>
                  <a:pt x="923540" y="1468152"/>
                  <a:pt x="929404" y="1468271"/>
                </a:cubicBezTo>
                <a:close/>
                <a:moveTo>
                  <a:pt x="4844481" y="1461443"/>
                </a:moveTo>
                <a:cubicBezTo>
                  <a:pt x="4864127" y="1463139"/>
                  <a:pt x="4881629" y="1475284"/>
                  <a:pt x="4887343" y="1493857"/>
                </a:cubicBezTo>
                <a:cubicBezTo>
                  <a:pt x="4889249" y="1499571"/>
                  <a:pt x="4891155" y="1505287"/>
                  <a:pt x="4891155" y="1511001"/>
                </a:cubicBezTo>
                <a:cubicBezTo>
                  <a:pt x="4891155" y="1531957"/>
                  <a:pt x="4877819" y="1551007"/>
                  <a:pt x="4856863" y="1556723"/>
                </a:cubicBezTo>
                <a:cubicBezTo>
                  <a:pt x="4856863" y="1556723"/>
                  <a:pt x="4856863" y="1556723"/>
                  <a:pt x="4515863" y="1674834"/>
                </a:cubicBezTo>
                <a:cubicBezTo>
                  <a:pt x="4489193" y="1684359"/>
                  <a:pt x="4462523" y="1671024"/>
                  <a:pt x="4452999" y="1644353"/>
                </a:cubicBezTo>
                <a:cubicBezTo>
                  <a:pt x="4443473" y="1619588"/>
                  <a:pt x="4456809" y="1591012"/>
                  <a:pt x="4483479" y="1583392"/>
                </a:cubicBezTo>
                <a:cubicBezTo>
                  <a:pt x="4483479" y="1583392"/>
                  <a:pt x="4483479" y="1583392"/>
                  <a:pt x="4824479" y="1463377"/>
                </a:cubicBezTo>
                <a:cubicBezTo>
                  <a:pt x="4831147" y="1461472"/>
                  <a:pt x="4837933" y="1460877"/>
                  <a:pt x="4844481" y="1461443"/>
                </a:cubicBezTo>
                <a:close/>
                <a:moveTo>
                  <a:pt x="1479736" y="1461429"/>
                </a:moveTo>
                <a:cubicBezTo>
                  <a:pt x="1498681" y="1463125"/>
                  <a:pt x="1516553" y="1475270"/>
                  <a:pt x="1523702" y="1493843"/>
                </a:cubicBezTo>
                <a:cubicBezTo>
                  <a:pt x="1525608" y="1499559"/>
                  <a:pt x="1525608" y="1505273"/>
                  <a:pt x="1525608" y="1510988"/>
                </a:cubicBezTo>
                <a:cubicBezTo>
                  <a:pt x="1525608" y="1531943"/>
                  <a:pt x="1512263" y="1550994"/>
                  <a:pt x="1493199" y="1556708"/>
                </a:cubicBezTo>
                <a:cubicBezTo>
                  <a:pt x="1493199" y="1556708"/>
                  <a:pt x="1493199" y="1556708"/>
                  <a:pt x="1150050" y="1674820"/>
                </a:cubicBezTo>
                <a:cubicBezTo>
                  <a:pt x="1125267" y="1684344"/>
                  <a:pt x="1096671" y="1671009"/>
                  <a:pt x="1089046" y="1644339"/>
                </a:cubicBezTo>
                <a:cubicBezTo>
                  <a:pt x="1079514" y="1619574"/>
                  <a:pt x="1092859" y="1590999"/>
                  <a:pt x="1117642" y="1583379"/>
                </a:cubicBezTo>
                <a:cubicBezTo>
                  <a:pt x="1117642" y="1583379"/>
                  <a:pt x="1117642" y="1583379"/>
                  <a:pt x="1460791" y="1463363"/>
                </a:cubicBezTo>
                <a:cubicBezTo>
                  <a:pt x="1466987" y="1461459"/>
                  <a:pt x="1473421" y="1460863"/>
                  <a:pt x="1479736" y="1461429"/>
                </a:cubicBezTo>
                <a:close/>
                <a:moveTo>
                  <a:pt x="4288013" y="1454945"/>
                </a:moveTo>
                <a:cubicBezTo>
                  <a:pt x="4308475" y="1457002"/>
                  <a:pt x="4325989" y="1471667"/>
                  <a:pt x="4331709" y="1491699"/>
                </a:cubicBezTo>
                <a:cubicBezTo>
                  <a:pt x="4333615" y="1497422"/>
                  <a:pt x="4335523" y="1501238"/>
                  <a:pt x="4335523" y="1506961"/>
                </a:cubicBezTo>
                <a:cubicBezTo>
                  <a:pt x="4335523" y="1529854"/>
                  <a:pt x="4320271" y="1550841"/>
                  <a:pt x="4297395" y="1558472"/>
                </a:cubicBezTo>
                <a:cubicBezTo>
                  <a:pt x="4297395" y="1558472"/>
                  <a:pt x="4297395" y="1558472"/>
                  <a:pt x="3954251" y="1657678"/>
                </a:cubicBezTo>
                <a:cubicBezTo>
                  <a:pt x="3925655" y="1665310"/>
                  <a:pt x="3897061" y="1650048"/>
                  <a:pt x="3887529" y="1621430"/>
                </a:cubicBezTo>
                <a:cubicBezTo>
                  <a:pt x="3879903" y="1594720"/>
                  <a:pt x="3897061" y="1564195"/>
                  <a:pt x="3923749" y="1556564"/>
                </a:cubicBezTo>
                <a:cubicBezTo>
                  <a:pt x="3923749" y="1556564"/>
                  <a:pt x="3923749" y="1556564"/>
                  <a:pt x="4266893" y="1457360"/>
                </a:cubicBezTo>
                <a:cubicBezTo>
                  <a:pt x="4274043" y="1454976"/>
                  <a:pt x="4281191" y="1454259"/>
                  <a:pt x="4288013" y="1454945"/>
                </a:cubicBezTo>
                <a:close/>
                <a:moveTo>
                  <a:pt x="2034963" y="1454929"/>
                </a:moveTo>
                <a:cubicBezTo>
                  <a:pt x="2055102" y="1456986"/>
                  <a:pt x="2073637" y="1471652"/>
                  <a:pt x="2079340" y="1491683"/>
                </a:cubicBezTo>
                <a:cubicBezTo>
                  <a:pt x="2081241" y="1497407"/>
                  <a:pt x="2081241" y="1501222"/>
                  <a:pt x="2081241" y="1506945"/>
                </a:cubicBezTo>
                <a:cubicBezTo>
                  <a:pt x="2081241" y="1529839"/>
                  <a:pt x="2066033" y="1550825"/>
                  <a:pt x="2043221" y="1558456"/>
                </a:cubicBezTo>
                <a:cubicBezTo>
                  <a:pt x="2043221" y="1558456"/>
                  <a:pt x="2043221" y="1558456"/>
                  <a:pt x="1701036" y="1657662"/>
                </a:cubicBezTo>
                <a:cubicBezTo>
                  <a:pt x="1672521" y="1665293"/>
                  <a:pt x="1644005" y="1650030"/>
                  <a:pt x="1636401" y="1621413"/>
                </a:cubicBezTo>
                <a:cubicBezTo>
                  <a:pt x="1628797" y="1594704"/>
                  <a:pt x="1644005" y="1564179"/>
                  <a:pt x="1672521" y="1556548"/>
                </a:cubicBezTo>
                <a:cubicBezTo>
                  <a:pt x="1672521" y="1556548"/>
                  <a:pt x="1672521" y="1556548"/>
                  <a:pt x="2014705" y="1457343"/>
                </a:cubicBezTo>
                <a:cubicBezTo>
                  <a:pt x="2021359" y="1454958"/>
                  <a:pt x="2028250" y="1454243"/>
                  <a:pt x="2034963" y="1454929"/>
                </a:cubicBezTo>
                <a:close/>
                <a:moveTo>
                  <a:pt x="3729081" y="1449674"/>
                </a:moveTo>
                <a:cubicBezTo>
                  <a:pt x="3750751" y="1453146"/>
                  <a:pt x="3768943" y="1469169"/>
                  <a:pt x="3773223" y="1490533"/>
                </a:cubicBezTo>
                <a:cubicBezTo>
                  <a:pt x="3775127" y="1496230"/>
                  <a:pt x="3775127" y="1500029"/>
                  <a:pt x="3775127" y="1503826"/>
                </a:cubicBezTo>
                <a:cubicBezTo>
                  <a:pt x="3775127" y="1528514"/>
                  <a:pt x="3758005" y="1553203"/>
                  <a:pt x="3733273" y="1558900"/>
                </a:cubicBezTo>
                <a:cubicBezTo>
                  <a:pt x="3733273" y="1558900"/>
                  <a:pt x="3733273" y="1558900"/>
                  <a:pt x="3388939" y="1638661"/>
                </a:cubicBezTo>
                <a:cubicBezTo>
                  <a:pt x="3358500" y="1646258"/>
                  <a:pt x="3328062" y="1627267"/>
                  <a:pt x="3322355" y="1598781"/>
                </a:cubicBezTo>
                <a:cubicBezTo>
                  <a:pt x="3314745" y="1568395"/>
                  <a:pt x="3333769" y="1538010"/>
                  <a:pt x="3362305" y="1530413"/>
                </a:cubicBezTo>
                <a:cubicBezTo>
                  <a:pt x="3362305" y="1530413"/>
                  <a:pt x="3362305" y="1530413"/>
                  <a:pt x="3706639" y="1450653"/>
                </a:cubicBezTo>
                <a:cubicBezTo>
                  <a:pt x="3714249" y="1448755"/>
                  <a:pt x="3721859" y="1448517"/>
                  <a:pt x="3729081" y="1449674"/>
                </a:cubicBezTo>
                <a:close/>
                <a:moveTo>
                  <a:pt x="2595324" y="1449656"/>
                </a:moveTo>
                <a:cubicBezTo>
                  <a:pt x="2616547" y="1453128"/>
                  <a:pt x="2634026" y="1469151"/>
                  <a:pt x="2639733" y="1490515"/>
                </a:cubicBezTo>
                <a:cubicBezTo>
                  <a:pt x="2641635" y="1496212"/>
                  <a:pt x="2641635" y="1500010"/>
                  <a:pt x="2641635" y="1503809"/>
                </a:cubicBezTo>
                <a:cubicBezTo>
                  <a:pt x="2641635" y="1528497"/>
                  <a:pt x="2624513" y="1553184"/>
                  <a:pt x="2597880" y="1558882"/>
                </a:cubicBezTo>
                <a:cubicBezTo>
                  <a:pt x="2597880" y="1558882"/>
                  <a:pt x="2597880" y="1558882"/>
                  <a:pt x="2255448" y="1638643"/>
                </a:cubicBezTo>
                <a:cubicBezTo>
                  <a:pt x="2225009" y="1646239"/>
                  <a:pt x="2194571" y="1627248"/>
                  <a:pt x="2188864" y="1598762"/>
                </a:cubicBezTo>
                <a:cubicBezTo>
                  <a:pt x="2181254" y="1568377"/>
                  <a:pt x="2200278" y="1537992"/>
                  <a:pt x="2228814" y="1530396"/>
                </a:cubicBezTo>
                <a:cubicBezTo>
                  <a:pt x="2228814" y="1530396"/>
                  <a:pt x="2228814" y="1530396"/>
                  <a:pt x="2573149" y="1450635"/>
                </a:cubicBezTo>
                <a:cubicBezTo>
                  <a:pt x="2580759" y="1448736"/>
                  <a:pt x="2588249" y="1448498"/>
                  <a:pt x="2595324" y="1449656"/>
                </a:cubicBezTo>
                <a:close/>
                <a:moveTo>
                  <a:pt x="3137752" y="1442422"/>
                </a:moveTo>
                <a:cubicBezTo>
                  <a:pt x="3170203" y="1436707"/>
                  <a:pt x="3200745" y="1457662"/>
                  <a:pt x="3206472" y="1490047"/>
                </a:cubicBezTo>
                <a:cubicBezTo>
                  <a:pt x="3206472" y="1493857"/>
                  <a:pt x="3208381" y="1497666"/>
                  <a:pt x="3208381" y="1499571"/>
                </a:cubicBezTo>
                <a:cubicBezTo>
                  <a:pt x="3208381" y="1528146"/>
                  <a:pt x="3187383" y="1552912"/>
                  <a:pt x="3158750" y="1558627"/>
                </a:cubicBezTo>
                <a:cubicBezTo>
                  <a:pt x="3158750" y="1558627"/>
                  <a:pt x="3158750" y="1558627"/>
                  <a:pt x="2813242" y="1621493"/>
                </a:cubicBezTo>
                <a:cubicBezTo>
                  <a:pt x="2780791" y="1627208"/>
                  <a:pt x="2750249" y="1606252"/>
                  <a:pt x="2744523" y="1573867"/>
                </a:cubicBezTo>
                <a:cubicBezTo>
                  <a:pt x="2736887" y="1541481"/>
                  <a:pt x="2759794" y="1511001"/>
                  <a:pt x="2792245" y="1505286"/>
                </a:cubicBezTo>
                <a:cubicBezTo>
                  <a:pt x="2792245" y="1505286"/>
                  <a:pt x="2792245" y="1505286"/>
                  <a:pt x="3137752" y="1442422"/>
                </a:cubicBezTo>
                <a:close/>
                <a:moveTo>
                  <a:pt x="6500919" y="1161543"/>
                </a:moveTo>
                <a:cubicBezTo>
                  <a:pt x="6510703" y="1164651"/>
                  <a:pt x="6519295" y="1171342"/>
                  <a:pt x="6524069" y="1180903"/>
                </a:cubicBezTo>
                <a:cubicBezTo>
                  <a:pt x="6525979" y="1186639"/>
                  <a:pt x="6527887" y="1192374"/>
                  <a:pt x="6527887" y="1198110"/>
                </a:cubicBezTo>
                <a:cubicBezTo>
                  <a:pt x="6527887" y="1213407"/>
                  <a:pt x="6520251" y="1226789"/>
                  <a:pt x="6506885" y="1234435"/>
                </a:cubicBezTo>
                <a:cubicBezTo>
                  <a:pt x="6506885" y="1234435"/>
                  <a:pt x="6506885" y="1234435"/>
                  <a:pt x="6167027" y="1406514"/>
                </a:cubicBezTo>
                <a:cubicBezTo>
                  <a:pt x="6147935" y="1416074"/>
                  <a:pt x="6123113" y="1408427"/>
                  <a:pt x="6113567" y="1389305"/>
                </a:cubicBezTo>
                <a:cubicBezTo>
                  <a:pt x="6104019" y="1370186"/>
                  <a:pt x="6111657" y="1345329"/>
                  <a:pt x="6130751" y="1335769"/>
                </a:cubicBezTo>
                <a:cubicBezTo>
                  <a:pt x="6130751" y="1335769"/>
                  <a:pt x="6130751" y="1335769"/>
                  <a:pt x="6470609" y="1163695"/>
                </a:cubicBezTo>
                <a:cubicBezTo>
                  <a:pt x="6480155" y="1158914"/>
                  <a:pt x="6491133" y="1158437"/>
                  <a:pt x="6500919" y="1161543"/>
                </a:cubicBezTo>
                <a:close/>
                <a:moveTo>
                  <a:pt x="5957751" y="1155623"/>
                </a:moveTo>
                <a:cubicBezTo>
                  <a:pt x="5967983" y="1159186"/>
                  <a:pt x="5977027" y="1166787"/>
                  <a:pt x="5982737" y="1178188"/>
                </a:cubicBezTo>
                <a:cubicBezTo>
                  <a:pt x="5984641" y="1183889"/>
                  <a:pt x="5986543" y="1189591"/>
                  <a:pt x="5986543" y="1195291"/>
                </a:cubicBezTo>
                <a:cubicBezTo>
                  <a:pt x="5986543" y="1210493"/>
                  <a:pt x="5977025" y="1225692"/>
                  <a:pt x="5961797" y="1233291"/>
                </a:cubicBezTo>
                <a:cubicBezTo>
                  <a:pt x="5961797" y="1233291"/>
                  <a:pt x="5961797" y="1233291"/>
                  <a:pt x="5622953" y="1389109"/>
                </a:cubicBezTo>
                <a:cubicBezTo>
                  <a:pt x="5600109" y="1398609"/>
                  <a:pt x="5575363" y="1389109"/>
                  <a:pt x="5565845" y="1368207"/>
                </a:cubicBezTo>
                <a:cubicBezTo>
                  <a:pt x="5556327" y="1347304"/>
                  <a:pt x="5565845" y="1322600"/>
                  <a:pt x="5586783" y="1313099"/>
                </a:cubicBezTo>
                <a:cubicBezTo>
                  <a:pt x="5586783" y="1313099"/>
                  <a:pt x="5586783" y="1313099"/>
                  <a:pt x="5925629" y="1157286"/>
                </a:cubicBezTo>
                <a:cubicBezTo>
                  <a:pt x="5936099" y="1152535"/>
                  <a:pt x="5947519" y="1152060"/>
                  <a:pt x="5957751" y="1155623"/>
                </a:cubicBezTo>
                <a:close/>
                <a:moveTo>
                  <a:pt x="398309" y="1155612"/>
                </a:moveTo>
                <a:cubicBezTo>
                  <a:pt x="408311" y="1159175"/>
                  <a:pt x="416884" y="1166776"/>
                  <a:pt x="421646" y="1178178"/>
                </a:cubicBezTo>
                <a:cubicBezTo>
                  <a:pt x="425456" y="1183878"/>
                  <a:pt x="425456" y="1189578"/>
                  <a:pt x="425456" y="1195279"/>
                </a:cubicBezTo>
                <a:cubicBezTo>
                  <a:pt x="425456" y="1210481"/>
                  <a:pt x="417836" y="1225680"/>
                  <a:pt x="402596" y="1233281"/>
                </a:cubicBezTo>
                <a:cubicBezTo>
                  <a:pt x="402596" y="1233281"/>
                  <a:pt x="402596" y="1233281"/>
                  <a:pt x="61596" y="1389098"/>
                </a:cubicBezTo>
                <a:cubicBezTo>
                  <a:pt x="40641" y="1398599"/>
                  <a:pt x="15875" y="1389098"/>
                  <a:pt x="6350" y="1368196"/>
                </a:cubicBezTo>
                <a:cubicBezTo>
                  <a:pt x="-3175" y="1347292"/>
                  <a:pt x="6350" y="1322591"/>
                  <a:pt x="27305" y="1313089"/>
                </a:cubicBezTo>
                <a:cubicBezTo>
                  <a:pt x="27305" y="1313089"/>
                  <a:pt x="27305" y="1313089"/>
                  <a:pt x="366400" y="1157275"/>
                </a:cubicBezTo>
                <a:cubicBezTo>
                  <a:pt x="376878" y="1152524"/>
                  <a:pt x="388308" y="1152049"/>
                  <a:pt x="398309" y="1155612"/>
                </a:cubicBezTo>
                <a:close/>
                <a:moveTo>
                  <a:pt x="5393481" y="1144397"/>
                </a:moveTo>
                <a:cubicBezTo>
                  <a:pt x="5411085" y="1144664"/>
                  <a:pt x="5427887" y="1155337"/>
                  <a:pt x="5435035" y="1172416"/>
                </a:cubicBezTo>
                <a:cubicBezTo>
                  <a:pt x="5436941" y="1178109"/>
                  <a:pt x="5438847" y="1183803"/>
                  <a:pt x="5438847" y="1189495"/>
                </a:cubicBezTo>
                <a:cubicBezTo>
                  <a:pt x="5438847" y="1208471"/>
                  <a:pt x="5427409" y="1225547"/>
                  <a:pt x="5410251" y="1231239"/>
                </a:cubicBezTo>
                <a:cubicBezTo>
                  <a:pt x="5410251" y="1231239"/>
                  <a:pt x="5410251" y="1231239"/>
                  <a:pt x="5070911" y="1371660"/>
                </a:cubicBezTo>
                <a:cubicBezTo>
                  <a:pt x="5046127" y="1381147"/>
                  <a:pt x="5021345" y="1369762"/>
                  <a:pt x="5011813" y="1346990"/>
                </a:cubicBezTo>
                <a:cubicBezTo>
                  <a:pt x="5002279" y="1324219"/>
                  <a:pt x="5011813" y="1297652"/>
                  <a:pt x="5036595" y="1288164"/>
                </a:cubicBezTo>
                <a:cubicBezTo>
                  <a:pt x="5036595" y="1288164"/>
                  <a:pt x="5036595" y="1288164"/>
                  <a:pt x="5375937" y="1147747"/>
                </a:cubicBezTo>
                <a:cubicBezTo>
                  <a:pt x="5381657" y="1145376"/>
                  <a:pt x="5387613" y="1144308"/>
                  <a:pt x="5393481" y="1144397"/>
                </a:cubicBezTo>
                <a:close/>
                <a:moveTo>
                  <a:pt x="929392" y="1144384"/>
                </a:moveTo>
                <a:cubicBezTo>
                  <a:pt x="946460" y="1144651"/>
                  <a:pt x="962188" y="1155325"/>
                  <a:pt x="969337" y="1172402"/>
                </a:cubicBezTo>
                <a:cubicBezTo>
                  <a:pt x="973150" y="1178096"/>
                  <a:pt x="973150" y="1183789"/>
                  <a:pt x="973150" y="1189481"/>
                </a:cubicBezTo>
                <a:cubicBezTo>
                  <a:pt x="973150" y="1208456"/>
                  <a:pt x="963618" y="1225533"/>
                  <a:pt x="946460" y="1231226"/>
                </a:cubicBezTo>
                <a:cubicBezTo>
                  <a:pt x="946460" y="1231226"/>
                  <a:pt x="946460" y="1231226"/>
                  <a:pt x="605213" y="1371647"/>
                </a:cubicBezTo>
                <a:cubicBezTo>
                  <a:pt x="582336" y="1381135"/>
                  <a:pt x="555646" y="1369750"/>
                  <a:pt x="546114" y="1346978"/>
                </a:cubicBezTo>
                <a:cubicBezTo>
                  <a:pt x="536582" y="1324207"/>
                  <a:pt x="548020" y="1297641"/>
                  <a:pt x="570897" y="1288153"/>
                </a:cubicBezTo>
                <a:cubicBezTo>
                  <a:pt x="570897" y="1288153"/>
                  <a:pt x="570897" y="1288153"/>
                  <a:pt x="912145" y="1147734"/>
                </a:cubicBezTo>
                <a:cubicBezTo>
                  <a:pt x="917864" y="1145362"/>
                  <a:pt x="923703" y="1144295"/>
                  <a:pt x="929392" y="1144384"/>
                </a:cubicBezTo>
                <a:close/>
                <a:moveTo>
                  <a:pt x="4842207" y="1136792"/>
                </a:moveTo>
                <a:cubicBezTo>
                  <a:pt x="4861009" y="1137683"/>
                  <a:pt x="4878475" y="1149795"/>
                  <a:pt x="4884177" y="1168317"/>
                </a:cubicBezTo>
                <a:cubicBezTo>
                  <a:pt x="4886079" y="1174017"/>
                  <a:pt x="4887979" y="1179717"/>
                  <a:pt x="4887979" y="1185417"/>
                </a:cubicBezTo>
                <a:cubicBezTo>
                  <a:pt x="4887979" y="1204415"/>
                  <a:pt x="4876573" y="1223411"/>
                  <a:pt x="4855663" y="1231009"/>
                </a:cubicBezTo>
                <a:cubicBezTo>
                  <a:pt x="4855663" y="1231009"/>
                  <a:pt x="4855663" y="1231009"/>
                  <a:pt x="4515395" y="1354496"/>
                </a:cubicBezTo>
                <a:cubicBezTo>
                  <a:pt x="4490683" y="1362097"/>
                  <a:pt x="4462169" y="1350697"/>
                  <a:pt x="4454565" y="1325999"/>
                </a:cubicBezTo>
                <a:cubicBezTo>
                  <a:pt x="4445059" y="1301300"/>
                  <a:pt x="4458367" y="1272803"/>
                  <a:pt x="4483079" y="1263303"/>
                </a:cubicBezTo>
                <a:cubicBezTo>
                  <a:pt x="4483079" y="1263303"/>
                  <a:pt x="4483079" y="1263303"/>
                  <a:pt x="4823347" y="1139820"/>
                </a:cubicBezTo>
                <a:cubicBezTo>
                  <a:pt x="4829525" y="1137446"/>
                  <a:pt x="4835941" y="1136496"/>
                  <a:pt x="4842207" y="1136792"/>
                </a:cubicBezTo>
                <a:close/>
                <a:moveTo>
                  <a:pt x="1478264" y="1136777"/>
                </a:moveTo>
                <a:cubicBezTo>
                  <a:pt x="1496633" y="1137668"/>
                  <a:pt x="1513397" y="1149779"/>
                  <a:pt x="1520531" y="1168302"/>
                </a:cubicBezTo>
                <a:cubicBezTo>
                  <a:pt x="1522433" y="1174002"/>
                  <a:pt x="1522433" y="1179701"/>
                  <a:pt x="1522433" y="1185401"/>
                </a:cubicBezTo>
                <a:cubicBezTo>
                  <a:pt x="1522433" y="1204399"/>
                  <a:pt x="1511019" y="1223396"/>
                  <a:pt x="1491996" y="1230995"/>
                </a:cubicBezTo>
                <a:cubicBezTo>
                  <a:pt x="1491996" y="1230995"/>
                  <a:pt x="1491996" y="1230995"/>
                  <a:pt x="1151487" y="1354481"/>
                </a:cubicBezTo>
                <a:cubicBezTo>
                  <a:pt x="1124855" y="1362081"/>
                  <a:pt x="1098223" y="1350681"/>
                  <a:pt x="1088711" y="1325984"/>
                </a:cubicBezTo>
                <a:cubicBezTo>
                  <a:pt x="1081102" y="1301286"/>
                  <a:pt x="1092516" y="1272790"/>
                  <a:pt x="1117245" y="1263291"/>
                </a:cubicBezTo>
                <a:cubicBezTo>
                  <a:pt x="1117245" y="1263291"/>
                  <a:pt x="1117245" y="1263291"/>
                  <a:pt x="1459657" y="1139805"/>
                </a:cubicBezTo>
                <a:cubicBezTo>
                  <a:pt x="1465840" y="1137431"/>
                  <a:pt x="1472141" y="1136480"/>
                  <a:pt x="1478264" y="1136777"/>
                </a:cubicBezTo>
                <a:close/>
                <a:moveTo>
                  <a:pt x="4287327" y="1129708"/>
                </a:moveTo>
                <a:cubicBezTo>
                  <a:pt x="4306945" y="1131580"/>
                  <a:pt x="4324421" y="1144420"/>
                  <a:pt x="4330129" y="1165821"/>
                </a:cubicBezTo>
                <a:cubicBezTo>
                  <a:pt x="4332031" y="1169626"/>
                  <a:pt x="4333935" y="1175333"/>
                  <a:pt x="4333935" y="1181040"/>
                </a:cubicBezTo>
                <a:cubicBezTo>
                  <a:pt x="4333935" y="1201965"/>
                  <a:pt x="4318715" y="1222889"/>
                  <a:pt x="4297789" y="1228594"/>
                </a:cubicBezTo>
                <a:cubicBezTo>
                  <a:pt x="4297789" y="1228594"/>
                  <a:pt x="4297789" y="1228594"/>
                  <a:pt x="3955367" y="1337024"/>
                </a:cubicBezTo>
                <a:cubicBezTo>
                  <a:pt x="3928735" y="1344633"/>
                  <a:pt x="3900199" y="1329414"/>
                  <a:pt x="3890687" y="1302782"/>
                </a:cubicBezTo>
                <a:cubicBezTo>
                  <a:pt x="3883079" y="1276150"/>
                  <a:pt x="3898297" y="1247615"/>
                  <a:pt x="3924929" y="1240007"/>
                </a:cubicBezTo>
                <a:cubicBezTo>
                  <a:pt x="3924929" y="1240007"/>
                  <a:pt x="3924929" y="1240007"/>
                  <a:pt x="4267351" y="1131580"/>
                </a:cubicBezTo>
                <a:cubicBezTo>
                  <a:pt x="4274009" y="1129678"/>
                  <a:pt x="4280787" y="1129084"/>
                  <a:pt x="4287327" y="1129708"/>
                </a:cubicBezTo>
                <a:close/>
                <a:moveTo>
                  <a:pt x="2033043" y="1129690"/>
                </a:moveTo>
                <a:cubicBezTo>
                  <a:pt x="2052764" y="1131563"/>
                  <a:pt x="2070611" y="1144403"/>
                  <a:pt x="2077749" y="1165803"/>
                </a:cubicBezTo>
                <a:cubicBezTo>
                  <a:pt x="2079653" y="1169608"/>
                  <a:pt x="2079653" y="1175315"/>
                  <a:pt x="2079653" y="1181022"/>
                </a:cubicBezTo>
                <a:cubicBezTo>
                  <a:pt x="2079653" y="1201947"/>
                  <a:pt x="2066327" y="1222871"/>
                  <a:pt x="2043483" y="1228577"/>
                </a:cubicBezTo>
                <a:cubicBezTo>
                  <a:pt x="2043483" y="1228577"/>
                  <a:pt x="2043483" y="1228577"/>
                  <a:pt x="1702724" y="1337007"/>
                </a:cubicBezTo>
                <a:cubicBezTo>
                  <a:pt x="1674169" y="1344616"/>
                  <a:pt x="1645613" y="1329398"/>
                  <a:pt x="1637999" y="1302766"/>
                </a:cubicBezTo>
                <a:cubicBezTo>
                  <a:pt x="1630384" y="1276134"/>
                  <a:pt x="1643710" y="1247600"/>
                  <a:pt x="1670361" y="1239991"/>
                </a:cubicBezTo>
                <a:cubicBezTo>
                  <a:pt x="1670361" y="1239991"/>
                  <a:pt x="1670361" y="1239991"/>
                  <a:pt x="2013024" y="1131563"/>
                </a:cubicBezTo>
                <a:cubicBezTo>
                  <a:pt x="2019687" y="1129660"/>
                  <a:pt x="2026469" y="1129066"/>
                  <a:pt x="2033043" y="1129690"/>
                </a:cubicBezTo>
                <a:close/>
                <a:moveTo>
                  <a:pt x="3726359" y="1122412"/>
                </a:moveTo>
                <a:cubicBezTo>
                  <a:pt x="3747345" y="1125377"/>
                  <a:pt x="3765919" y="1140469"/>
                  <a:pt x="3771633" y="1162029"/>
                </a:cubicBezTo>
                <a:cubicBezTo>
                  <a:pt x="3773539" y="1165862"/>
                  <a:pt x="3773539" y="1171611"/>
                  <a:pt x="3773539" y="1175444"/>
                </a:cubicBezTo>
                <a:cubicBezTo>
                  <a:pt x="3773539" y="1200359"/>
                  <a:pt x="3758297" y="1221437"/>
                  <a:pt x="3733533" y="1229103"/>
                </a:cubicBezTo>
                <a:cubicBezTo>
                  <a:pt x="3733533" y="1229103"/>
                  <a:pt x="3733533" y="1229103"/>
                  <a:pt x="3390628" y="1321092"/>
                </a:cubicBezTo>
                <a:cubicBezTo>
                  <a:pt x="3362053" y="1328758"/>
                  <a:pt x="3331572" y="1311508"/>
                  <a:pt x="3323952" y="1282761"/>
                </a:cubicBezTo>
                <a:cubicBezTo>
                  <a:pt x="3316332" y="1254015"/>
                  <a:pt x="3333477" y="1223355"/>
                  <a:pt x="3362053" y="1215690"/>
                </a:cubicBezTo>
                <a:cubicBezTo>
                  <a:pt x="3362053" y="1215690"/>
                  <a:pt x="3362053" y="1215690"/>
                  <a:pt x="3704957" y="1123700"/>
                </a:cubicBezTo>
                <a:cubicBezTo>
                  <a:pt x="3712101" y="1121784"/>
                  <a:pt x="3719365" y="1121424"/>
                  <a:pt x="3726359" y="1122412"/>
                </a:cubicBezTo>
                <a:close/>
                <a:moveTo>
                  <a:pt x="2592869" y="1122392"/>
                </a:moveTo>
                <a:cubicBezTo>
                  <a:pt x="2613854" y="1125356"/>
                  <a:pt x="2632428" y="1140449"/>
                  <a:pt x="2638143" y="1162008"/>
                </a:cubicBezTo>
                <a:cubicBezTo>
                  <a:pt x="2640048" y="1165841"/>
                  <a:pt x="2640048" y="1171591"/>
                  <a:pt x="2640048" y="1175424"/>
                </a:cubicBezTo>
                <a:cubicBezTo>
                  <a:pt x="2640048" y="1200338"/>
                  <a:pt x="2622903" y="1221418"/>
                  <a:pt x="2600042" y="1229084"/>
                </a:cubicBezTo>
                <a:cubicBezTo>
                  <a:pt x="2600042" y="1229084"/>
                  <a:pt x="2600042" y="1229084"/>
                  <a:pt x="2257138" y="1321073"/>
                </a:cubicBezTo>
                <a:cubicBezTo>
                  <a:pt x="2226658" y="1328739"/>
                  <a:pt x="2198082" y="1311491"/>
                  <a:pt x="2190462" y="1282744"/>
                </a:cubicBezTo>
                <a:cubicBezTo>
                  <a:pt x="2182842" y="1253997"/>
                  <a:pt x="2199987" y="1223335"/>
                  <a:pt x="2228563" y="1215669"/>
                </a:cubicBezTo>
                <a:cubicBezTo>
                  <a:pt x="2228563" y="1215669"/>
                  <a:pt x="2228563" y="1215669"/>
                  <a:pt x="2571467" y="1123680"/>
                </a:cubicBezTo>
                <a:cubicBezTo>
                  <a:pt x="2578611" y="1121763"/>
                  <a:pt x="2585874" y="1121404"/>
                  <a:pt x="2592869" y="1122392"/>
                </a:cubicBezTo>
                <a:close/>
                <a:moveTo>
                  <a:pt x="3157606" y="1116352"/>
                </a:moveTo>
                <a:cubicBezTo>
                  <a:pt x="3179261" y="1119924"/>
                  <a:pt x="3197441" y="1136354"/>
                  <a:pt x="3201718" y="1159215"/>
                </a:cubicBezTo>
                <a:cubicBezTo>
                  <a:pt x="3203619" y="1163024"/>
                  <a:pt x="3203619" y="1168739"/>
                  <a:pt x="3203619" y="1172550"/>
                </a:cubicBezTo>
                <a:cubicBezTo>
                  <a:pt x="3203619" y="1197316"/>
                  <a:pt x="3186509" y="1222078"/>
                  <a:pt x="3159894" y="1227794"/>
                </a:cubicBezTo>
                <a:cubicBezTo>
                  <a:pt x="3159894" y="1227794"/>
                  <a:pt x="3159894" y="1227794"/>
                  <a:pt x="2815793" y="1303992"/>
                </a:cubicBezTo>
                <a:cubicBezTo>
                  <a:pt x="2785375" y="1309707"/>
                  <a:pt x="2754958" y="1290657"/>
                  <a:pt x="2747353" y="1260177"/>
                </a:cubicBezTo>
                <a:cubicBezTo>
                  <a:pt x="2741650" y="1229698"/>
                  <a:pt x="2760661" y="1199220"/>
                  <a:pt x="2791079" y="1191600"/>
                </a:cubicBezTo>
                <a:cubicBezTo>
                  <a:pt x="2791079" y="1191600"/>
                  <a:pt x="2791079" y="1191600"/>
                  <a:pt x="3135179" y="1117304"/>
                </a:cubicBezTo>
                <a:cubicBezTo>
                  <a:pt x="3142784" y="1115399"/>
                  <a:pt x="3150388" y="1115161"/>
                  <a:pt x="3157606" y="1116352"/>
                </a:cubicBezTo>
                <a:close/>
                <a:moveTo>
                  <a:pt x="6485675" y="836904"/>
                </a:moveTo>
                <a:cubicBezTo>
                  <a:pt x="6501157" y="835651"/>
                  <a:pt x="6516909" y="844602"/>
                  <a:pt x="6524069" y="858924"/>
                </a:cubicBezTo>
                <a:cubicBezTo>
                  <a:pt x="6525979" y="864653"/>
                  <a:pt x="6527887" y="870382"/>
                  <a:pt x="6527887" y="876110"/>
                </a:cubicBezTo>
                <a:cubicBezTo>
                  <a:pt x="6527887" y="891387"/>
                  <a:pt x="6520251" y="904754"/>
                  <a:pt x="6506885" y="912393"/>
                </a:cubicBezTo>
                <a:cubicBezTo>
                  <a:pt x="6506885" y="912393"/>
                  <a:pt x="6506885" y="912393"/>
                  <a:pt x="6167027" y="1082352"/>
                </a:cubicBezTo>
                <a:cubicBezTo>
                  <a:pt x="6147935" y="1093810"/>
                  <a:pt x="6123113" y="1084261"/>
                  <a:pt x="6113567" y="1065166"/>
                </a:cubicBezTo>
                <a:cubicBezTo>
                  <a:pt x="6104019" y="1046065"/>
                  <a:pt x="6111657" y="1023149"/>
                  <a:pt x="6130751" y="1011692"/>
                </a:cubicBezTo>
                <a:cubicBezTo>
                  <a:pt x="6130751" y="1011692"/>
                  <a:pt x="6130751" y="1011692"/>
                  <a:pt x="6470609" y="841738"/>
                </a:cubicBezTo>
                <a:cubicBezTo>
                  <a:pt x="6475381" y="838873"/>
                  <a:pt x="6480513" y="837322"/>
                  <a:pt x="6485675" y="836904"/>
                </a:cubicBezTo>
                <a:close/>
                <a:moveTo>
                  <a:pt x="5957811" y="832471"/>
                </a:moveTo>
                <a:cubicBezTo>
                  <a:pt x="5967811" y="836266"/>
                  <a:pt x="5976385" y="843858"/>
                  <a:pt x="5981147" y="854296"/>
                </a:cubicBezTo>
                <a:cubicBezTo>
                  <a:pt x="5984957" y="859989"/>
                  <a:pt x="5984957" y="865683"/>
                  <a:pt x="5984957" y="871376"/>
                </a:cubicBezTo>
                <a:cubicBezTo>
                  <a:pt x="5984957" y="886559"/>
                  <a:pt x="5977337" y="901741"/>
                  <a:pt x="5962097" y="909333"/>
                </a:cubicBezTo>
                <a:cubicBezTo>
                  <a:pt x="5962097" y="909333"/>
                  <a:pt x="5962097" y="909333"/>
                  <a:pt x="5623001" y="1066858"/>
                </a:cubicBezTo>
                <a:cubicBezTo>
                  <a:pt x="5602047" y="1076348"/>
                  <a:pt x="5575377" y="1066858"/>
                  <a:pt x="5565851" y="1045977"/>
                </a:cubicBezTo>
                <a:cubicBezTo>
                  <a:pt x="5556327" y="1025101"/>
                  <a:pt x="5565851" y="1000429"/>
                  <a:pt x="5586807" y="990940"/>
                </a:cubicBezTo>
                <a:cubicBezTo>
                  <a:pt x="5586807" y="990940"/>
                  <a:pt x="5586807" y="990940"/>
                  <a:pt x="5925901" y="833419"/>
                </a:cubicBezTo>
                <a:cubicBezTo>
                  <a:pt x="5936379" y="828675"/>
                  <a:pt x="5947809" y="828675"/>
                  <a:pt x="5957811" y="832471"/>
                </a:cubicBezTo>
                <a:close/>
                <a:moveTo>
                  <a:pt x="398309" y="832461"/>
                </a:moveTo>
                <a:cubicBezTo>
                  <a:pt x="408311" y="836256"/>
                  <a:pt x="416884" y="843848"/>
                  <a:pt x="421646" y="854286"/>
                </a:cubicBezTo>
                <a:cubicBezTo>
                  <a:pt x="425456" y="859979"/>
                  <a:pt x="425456" y="865673"/>
                  <a:pt x="425456" y="871366"/>
                </a:cubicBezTo>
                <a:cubicBezTo>
                  <a:pt x="425456" y="886549"/>
                  <a:pt x="417836" y="901732"/>
                  <a:pt x="400691" y="909323"/>
                </a:cubicBezTo>
                <a:cubicBezTo>
                  <a:pt x="400691" y="909323"/>
                  <a:pt x="400691" y="909323"/>
                  <a:pt x="61596" y="1066847"/>
                </a:cubicBezTo>
                <a:cubicBezTo>
                  <a:pt x="40641" y="1076336"/>
                  <a:pt x="15875" y="1066847"/>
                  <a:pt x="6350" y="1045967"/>
                </a:cubicBezTo>
                <a:cubicBezTo>
                  <a:pt x="-3175" y="1025091"/>
                  <a:pt x="6350" y="1000419"/>
                  <a:pt x="27305" y="990930"/>
                </a:cubicBezTo>
                <a:cubicBezTo>
                  <a:pt x="27305" y="990930"/>
                  <a:pt x="27305" y="990930"/>
                  <a:pt x="366400" y="833409"/>
                </a:cubicBezTo>
                <a:cubicBezTo>
                  <a:pt x="376878" y="828665"/>
                  <a:pt x="388308" y="828665"/>
                  <a:pt x="398309" y="832461"/>
                </a:cubicBezTo>
                <a:close/>
                <a:moveTo>
                  <a:pt x="5410491" y="824769"/>
                </a:moveTo>
                <a:cubicBezTo>
                  <a:pt x="5421213" y="828802"/>
                  <a:pt x="5430269" y="836866"/>
                  <a:pt x="5435035" y="848252"/>
                </a:cubicBezTo>
                <a:cubicBezTo>
                  <a:pt x="5436941" y="853944"/>
                  <a:pt x="5438847" y="859637"/>
                  <a:pt x="5438847" y="865330"/>
                </a:cubicBezTo>
                <a:cubicBezTo>
                  <a:pt x="5438847" y="882408"/>
                  <a:pt x="5427409" y="899486"/>
                  <a:pt x="5410251" y="907076"/>
                </a:cubicBezTo>
                <a:cubicBezTo>
                  <a:pt x="5410251" y="907076"/>
                  <a:pt x="5410251" y="907076"/>
                  <a:pt x="5070911" y="1049392"/>
                </a:cubicBezTo>
                <a:cubicBezTo>
                  <a:pt x="5048033" y="1058886"/>
                  <a:pt x="5021345" y="1047495"/>
                  <a:pt x="5011813" y="1024725"/>
                </a:cubicBezTo>
                <a:cubicBezTo>
                  <a:pt x="5002279" y="1003851"/>
                  <a:pt x="5013719" y="977286"/>
                  <a:pt x="5034689" y="967798"/>
                </a:cubicBezTo>
                <a:cubicBezTo>
                  <a:pt x="5034689" y="967798"/>
                  <a:pt x="5034689" y="967798"/>
                  <a:pt x="5375937" y="825481"/>
                </a:cubicBezTo>
                <a:cubicBezTo>
                  <a:pt x="5387375" y="820737"/>
                  <a:pt x="5399767" y="820737"/>
                  <a:pt x="5410491" y="824769"/>
                </a:cubicBezTo>
                <a:close/>
                <a:moveTo>
                  <a:pt x="944792" y="824757"/>
                </a:moveTo>
                <a:cubicBezTo>
                  <a:pt x="955516" y="828790"/>
                  <a:pt x="964571" y="836854"/>
                  <a:pt x="969337" y="848240"/>
                </a:cubicBezTo>
                <a:cubicBezTo>
                  <a:pt x="971244" y="853932"/>
                  <a:pt x="973150" y="859625"/>
                  <a:pt x="973150" y="865318"/>
                </a:cubicBezTo>
                <a:cubicBezTo>
                  <a:pt x="973150" y="882396"/>
                  <a:pt x="963618" y="899474"/>
                  <a:pt x="946460" y="907064"/>
                </a:cubicBezTo>
                <a:cubicBezTo>
                  <a:pt x="946460" y="907064"/>
                  <a:pt x="946460" y="907064"/>
                  <a:pt x="605213" y="1049381"/>
                </a:cubicBezTo>
                <a:cubicBezTo>
                  <a:pt x="582336" y="1058872"/>
                  <a:pt x="555646" y="1047484"/>
                  <a:pt x="546114" y="1024713"/>
                </a:cubicBezTo>
                <a:cubicBezTo>
                  <a:pt x="536582" y="1003840"/>
                  <a:pt x="548020" y="977274"/>
                  <a:pt x="570897" y="967786"/>
                </a:cubicBezTo>
                <a:cubicBezTo>
                  <a:pt x="570897" y="967786"/>
                  <a:pt x="570897" y="967786"/>
                  <a:pt x="910238" y="825469"/>
                </a:cubicBezTo>
                <a:cubicBezTo>
                  <a:pt x="921677" y="820725"/>
                  <a:pt x="934068" y="820725"/>
                  <a:pt x="944792" y="824757"/>
                </a:cubicBezTo>
                <a:close/>
                <a:moveTo>
                  <a:pt x="4842191" y="812936"/>
                </a:moveTo>
                <a:cubicBezTo>
                  <a:pt x="4860575" y="813741"/>
                  <a:pt x="4877351" y="825544"/>
                  <a:pt x="4884489" y="842712"/>
                </a:cubicBezTo>
                <a:cubicBezTo>
                  <a:pt x="4886391" y="848435"/>
                  <a:pt x="4886391" y="854157"/>
                  <a:pt x="4886391" y="859880"/>
                </a:cubicBezTo>
                <a:cubicBezTo>
                  <a:pt x="4886391" y="878955"/>
                  <a:pt x="4874971" y="898031"/>
                  <a:pt x="4855933" y="903754"/>
                </a:cubicBezTo>
                <a:cubicBezTo>
                  <a:pt x="4855933" y="903754"/>
                  <a:pt x="4855933" y="903754"/>
                  <a:pt x="4515179" y="1033468"/>
                </a:cubicBezTo>
                <a:cubicBezTo>
                  <a:pt x="4492335" y="1043005"/>
                  <a:pt x="4463781" y="1031560"/>
                  <a:pt x="4454263" y="1006762"/>
                </a:cubicBezTo>
                <a:cubicBezTo>
                  <a:pt x="4446647" y="981963"/>
                  <a:pt x="4458069" y="955258"/>
                  <a:pt x="4482817" y="945720"/>
                </a:cubicBezTo>
                <a:cubicBezTo>
                  <a:pt x="4482817" y="945720"/>
                  <a:pt x="4482817" y="945720"/>
                  <a:pt x="4823571" y="816006"/>
                </a:cubicBezTo>
                <a:cubicBezTo>
                  <a:pt x="4829759" y="813621"/>
                  <a:pt x="4836065" y="812668"/>
                  <a:pt x="4842191" y="812936"/>
                </a:cubicBezTo>
                <a:close/>
                <a:moveTo>
                  <a:pt x="1476362" y="812922"/>
                </a:moveTo>
                <a:cubicBezTo>
                  <a:pt x="1494731" y="813727"/>
                  <a:pt x="1511495" y="825530"/>
                  <a:pt x="1518628" y="842698"/>
                </a:cubicBezTo>
                <a:cubicBezTo>
                  <a:pt x="1520531" y="848421"/>
                  <a:pt x="1522433" y="854143"/>
                  <a:pt x="1522433" y="859866"/>
                </a:cubicBezTo>
                <a:cubicBezTo>
                  <a:pt x="1522433" y="878941"/>
                  <a:pt x="1511019" y="898017"/>
                  <a:pt x="1491996" y="903740"/>
                </a:cubicBezTo>
                <a:cubicBezTo>
                  <a:pt x="1491996" y="903740"/>
                  <a:pt x="1491996" y="903740"/>
                  <a:pt x="1151487" y="1033454"/>
                </a:cubicBezTo>
                <a:cubicBezTo>
                  <a:pt x="1126757" y="1042992"/>
                  <a:pt x="1100125" y="1031547"/>
                  <a:pt x="1090613" y="1006748"/>
                </a:cubicBezTo>
                <a:cubicBezTo>
                  <a:pt x="1081102" y="981950"/>
                  <a:pt x="1094418" y="955244"/>
                  <a:pt x="1117245" y="945706"/>
                </a:cubicBezTo>
                <a:cubicBezTo>
                  <a:pt x="1117245" y="945706"/>
                  <a:pt x="1117245" y="945706"/>
                  <a:pt x="1457755" y="815992"/>
                </a:cubicBezTo>
                <a:cubicBezTo>
                  <a:pt x="1463938" y="813608"/>
                  <a:pt x="1470239" y="812654"/>
                  <a:pt x="1476362" y="812922"/>
                </a:cubicBezTo>
                <a:close/>
                <a:moveTo>
                  <a:pt x="4285673" y="804253"/>
                </a:moveTo>
                <a:cubicBezTo>
                  <a:pt x="4305319" y="806042"/>
                  <a:pt x="4322821" y="818561"/>
                  <a:pt x="4328535" y="838591"/>
                </a:cubicBezTo>
                <a:cubicBezTo>
                  <a:pt x="4330441" y="844314"/>
                  <a:pt x="4332347" y="848129"/>
                  <a:pt x="4332347" y="853852"/>
                </a:cubicBezTo>
                <a:cubicBezTo>
                  <a:pt x="4332347" y="874837"/>
                  <a:pt x="4319011" y="893913"/>
                  <a:pt x="4298055" y="901544"/>
                </a:cubicBezTo>
                <a:cubicBezTo>
                  <a:pt x="4298055" y="901544"/>
                  <a:pt x="4298055" y="901544"/>
                  <a:pt x="3957055" y="1017912"/>
                </a:cubicBezTo>
                <a:cubicBezTo>
                  <a:pt x="3930385" y="1025543"/>
                  <a:pt x="3901811" y="1012189"/>
                  <a:pt x="3894191" y="985481"/>
                </a:cubicBezTo>
                <a:cubicBezTo>
                  <a:pt x="3884665" y="960682"/>
                  <a:pt x="3898001" y="932067"/>
                  <a:pt x="3924671" y="922528"/>
                </a:cubicBezTo>
                <a:cubicBezTo>
                  <a:pt x="3924671" y="922528"/>
                  <a:pt x="3924671" y="922528"/>
                  <a:pt x="4265671" y="806161"/>
                </a:cubicBezTo>
                <a:cubicBezTo>
                  <a:pt x="4272339" y="804253"/>
                  <a:pt x="4279125" y="803657"/>
                  <a:pt x="4285673" y="804253"/>
                </a:cubicBezTo>
                <a:close/>
                <a:moveTo>
                  <a:pt x="2032225" y="804237"/>
                </a:moveTo>
                <a:cubicBezTo>
                  <a:pt x="2051156" y="806026"/>
                  <a:pt x="2069016" y="818545"/>
                  <a:pt x="2076160" y="838575"/>
                </a:cubicBezTo>
                <a:cubicBezTo>
                  <a:pt x="2078065" y="844298"/>
                  <a:pt x="2078065" y="848114"/>
                  <a:pt x="2078065" y="853837"/>
                </a:cubicBezTo>
                <a:cubicBezTo>
                  <a:pt x="2078065" y="874821"/>
                  <a:pt x="2064730" y="893898"/>
                  <a:pt x="2043775" y="901528"/>
                </a:cubicBezTo>
                <a:cubicBezTo>
                  <a:pt x="2043775" y="901528"/>
                  <a:pt x="2043775" y="901528"/>
                  <a:pt x="1702775" y="1017896"/>
                </a:cubicBezTo>
                <a:cubicBezTo>
                  <a:pt x="1676105" y="1025527"/>
                  <a:pt x="1649434" y="1012173"/>
                  <a:pt x="1639909" y="985466"/>
                </a:cubicBezTo>
                <a:cubicBezTo>
                  <a:pt x="1630384" y="960666"/>
                  <a:pt x="1645624" y="932051"/>
                  <a:pt x="1670390" y="922513"/>
                </a:cubicBezTo>
                <a:cubicBezTo>
                  <a:pt x="1670390" y="922513"/>
                  <a:pt x="1670390" y="922513"/>
                  <a:pt x="2013294" y="806145"/>
                </a:cubicBezTo>
                <a:cubicBezTo>
                  <a:pt x="2019485" y="804237"/>
                  <a:pt x="2025915" y="803641"/>
                  <a:pt x="2032225" y="804237"/>
                </a:cubicBezTo>
                <a:close/>
                <a:moveTo>
                  <a:pt x="3725241" y="796615"/>
                </a:moveTo>
                <a:cubicBezTo>
                  <a:pt x="3745005" y="798940"/>
                  <a:pt x="3762889" y="812533"/>
                  <a:pt x="3770043" y="832564"/>
                </a:cubicBezTo>
                <a:cubicBezTo>
                  <a:pt x="3770043" y="838288"/>
                  <a:pt x="3771951" y="844011"/>
                  <a:pt x="3771951" y="847826"/>
                </a:cubicBezTo>
                <a:cubicBezTo>
                  <a:pt x="3771951" y="870720"/>
                  <a:pt x="3756689" y="891705"/>
                  <a:pt x="3733797" y="897429"/>
                </a:cubicBezTo>
                <a:cubicBezTo>
                  <a:pt x="3733797" y="897429"/>
                  <a:pt x="3733797" y="897429"/>
                  <a:pt x="3390412" y="1000449"/>
                </a:cubicBezTo>
                <a:cubicBezTo>
                  <a:pt x="3363705" y="1008080"/>
                  <a:pt x="3335089" y="992818"/>
                  <a:pt x="3325551" y="964201"/>
                </a:cubicBezTo>
                <a:cubicBezTo>
                  <a:pt x="3317920" y="937492"/>
                  <a:pt x="3333182" y="908876"/>
                  <a:pt x="3361797" y="899337"/>
                </a:cubicBezTo>
                <a:cubicBezTo>
                  <a:pt x="3361797" y="899337"/>
                  <a:pt x="3361797" y="899337"/>
                  <a:pt x="3705181" y="798224"/>
                </a:cubicBezTo>
                <a:cubicBezTo>
                  <a:pt x="3711859" y="796316"/>
                  <a:pt x="3718655" y="795840"/>
                  <a:pt x="3725241" y="796615"/>
                </a:cubicBezTo>
                <a:close/>
                <a:moveTo>
                  <a:pt x="2591752" y="796597"/>
                </a:moveTo>
                <a:cubicBezTo>
                  <a:pt x="2611514" y="798922"/>
                  <a:pt x="2629399" y="812515"/>
                  <a:pt x="2636552" y="832546"/>
                </a:cubicBezTo>
                <a:cubicBezTo>
                  <a:pt x="2636552" y="838270"/>
                  <a:pt x="2638460" y="843993"/>
                  <a:pt x="2638460" y="847809"/>
                </a:cubicBezTo>
                <a:cubicBezTo>
                  <a:pt x="2638460" y="870702"/>
                  <a:pt x="2623198" y="891688"/>
                  <a:pt x="2600306" y="897411"/>
                </a:cubicBezTo>
                <a:cubicBezTo>
                  <a:pt x="2600306" y="897411"/>
                  <a:pt x="2600306" y="897411"/>
                  <a:pt x="2256921" y="1000432"/>
                </a:cubicBezTo>
                <a:cubicBezTo>
                  <a:pt x="2230214" y="1008063"/>
                  <a:pt x="2201598" y="992801"/>
                  <a:pt x="2192060" y="964184"/>
                </a:cubicBezTo>
                <a:cubicBezTo>
                  <a:pt x="2184429" y="937475"/>
                  <a:pt x="2199691" y="908858"/>
                  <a:pt x="2228306" y="899319"/>
                </a:cubicBezTo>
                <a:cubicBezTo>
                  <a:pt x="2228306" y="899319"/>
                  <a:pt x="2228306" y="899319"/>
                  <a:pt x="2571691" y="798206"/>
                </a:cubicBezTo>
                <a:cubicBezTo>
                  <a:pt x="2578368" y="796299"/>
                  <a:pt x="2585164" y="795822"/>
                  <a:pt x="2591752" y="796597"/>
                </a:cubicBezTo>
                <a:close/>
                <a:moveTo>
                  <a:pt x="3154884" y="787706"/>
                </a:moveTo>
                <a:cubicBezTo>
                  <a:pt x="3175855" y="791188"/>
                  <a:pt x="3194416" y="807261"/>
                  <a:pt x="3200127" y="828693"/>
                </a:cubicBezTo>
                <a:cubicBezTo>
                  <a:pt x="3200127" y="832503"/>
                  <a:pt x="3202031" y="838218"/>
                  <a:pt x="3202031" y="842028"/>
                </a:cubicBezTo>
                <a:cubicBezTo>
                  <a:pt x="3202031" y="866793"/>
                  <a:pt x="3184898" y="887747"/>
                  <a:pt x="3160149" y="895367"/>
                </a:cubicBezTo>
                <a:cubicBezTo>
                  <a:pt x="3160149" y="895367"/>
                  <a:pt x="3160149" y="895367"/>
                  <a:pt x="2817482" y="982997"/>
                </a:cubicBezTo>
                <a:cubicBezTo>
                  <a:pt x="2787022" y="990617"/>
                  <a:pt x="2758467" y="973472"/>
                  <a:pt x="2750852" y="944898"/>
                </a:cubicBezTo>
                <a:cubicBezTo>
                  <a:pt x="2743237" y="914417"/>
                  <a:pt x="2760370" y="885843"/>
                  <a:pt x="2788926" y="878223"/>
                </a:cubicBezTo>
                <a:cubicBezTo>
                  <a:pt x="2788926" y="878223"/>
                  <a:pt x="2788926" y="878223"/>
                  <a:pt x="3133497" y="788688"/>
                </a:cubicBezTo>
                <a:cubicBezTo>
                  <a:pt x="3140636" y="786783"/>
                  <a:pt x="3147894" y="786545"/>
                  <a:pt x="3154884" y="787706"/>
                </a:cubicBezTo>
                <a:close/>
                <a:moveTo>
                  <a:pt x="6500919" y="517209"/>
                </a:moveTo>
                <a:cubicBezTo>
                  <a:pt x="6510703" y="520534"/>
                  <a:pt x="6519295" y="527661"/>
                  <a:pt x="6524069" y="538113"/>
                </a:cubicBezTo>
                <a:cubicBezTo>
                  <a:pt x="6525979" y="543814"/>
                  <a:pt x="6527887" y="549515"/>
                  <a:pt x="6527887" y="555216"/>
                </a:cubicBezTo>
                <a:cubicBezTo>
                  <a:pt x="6527887" y="570419"/>
                  <a:pt x="6520251" y="583722"/>
                  <a:pt x="6506885" y="591323"/>
                </a:cubicBezTo>
                <a:cubicBezTo>
                  <a:pt x="6506885" y="591323"/>
                  <a:pt x="6506885" y="591323"/>
                  <a:pt x="6167027" y="760455"/>
                </a:cubicBezTo>
                <a:cubicBezTo>
                  <a:pt x="6147935" y="769957"/>
                  <a:pt x="6123113" y="762355"/>
                  <a:pt x="6113567" y="743352"/>
                </a:cubicBezTo>
                <a:cubicBezTo>
                  <a:pt x="6104019" y="722448"/>
                  <a:pt x="6111657" y="699644"/>
                  <a:pt x="6130751" y="690142"/>
                </a:cubicBezTo>
                <a:cubicBezTo>
                  <a:pt x="6130751" y="690142"/>
                  <a:pt x="6130751" y="690142"/>
                  <a:pt x="6470609" y="519109"/>
                </a:cubicBezTo>
                <a:cubicBezTo>
                  <a:pt x="6480155" y="514358"/>
                  <a:pt x="6491133" y="513883"/>
                  <a:pt x="6500919" y="517209"/>
                </a:cubicBezTo>
                <a:close/>
                <a:moveTo>
                  <a:pt x="5942035" y="506688"/>
                </a:moveTo>
                <a:cubicBezTo>
                  <a:pt x="5958287" y="505532"/>
                  <a:pt x="5974003" y="514773"/>
                  <a:pt x="5981147" y="530411"/>
                </a:cubicBezTo>
                <a:cubicBezTo>
                  <a:pt x="5984957" y="536097"/>
                  <a:pt x="5984957" y="541784"/>
                  <a:pt x="5984957" y="547470"/>
                </a:cubicBezTo>
                <a:cubicBezTo>
                  <a:pt x="5984957" y="564530"/>
                  <a:pt x="5977337" y="579694"/>
                  <a:pt x="5962097" y="585381"/>
                </a:cubicBezTo>
                <a:cubicBezTo>
                  <a:pt x="5962097" y="585381"/>
                  <a:pt x="5962097" y="585381"/>
                  <a:pt x="5623001" y="744604"/>
                </a:cubicBezTo>
                <a:cubicBezTo>
                  <a:pt x="5602047" y="754082"/>
                  <a:pt x="5577281" y="744604"/>
                  <a:pt x="5565851" y="723754"/>
                </a:cubicBezTo>
                <a:cubicBezTo>
                  <a:pt x="5556327" y="702903"/>
                  <a:pt x="5565851" y="678261"/>
                  <a:pt x="5586807" y="668784"/>
                </a:cubicBezTo>
                <a:cubicBezTo>
                  <a:pt x="5586807" y="668784"/>
                  <a:pt x="5586807" y="668784"/>
                  <a:pt x="5925901" y="511455"/>
                </a:cubicBezTo>
                <a:cubicBezTo>
                  <a:pt x="5931141" y="508612"/>
                  <a:pt x="5936617" y="507072"/>
                  <a:pt x="5942035" y="506688"/>
                </a:cubicBezTo>
                <a:close/>
                <a:moveTo>
                  <a:pt x="382533" y="506676"/>
                </a:moveTo>
                <a:cubicBezTo>
                  <a:pt x="398786" y="505521"/>
                  <a:pt x="414502" y="514761"/>
                  <a:pt x="421646" y="530400"/>
                </a:cubicBezTo>
                <a:cubicBezTo>
                  <a:pt x="423551" y="536086"/>
                  <a:pt x="425456" y="541773"/>
                  <a:pt x="425456" y="547459"/>
                </a:cubicBezTo>
                <a:cubicBezTo>
                  <a:pt x="425456" y="564519"/>
                  <a:pt x="415931" y="579683"/>
                  <a:pt x="400691" y="585369"/>
                </a:cubicBezTo>
                <a:cubicBezTo>
                  <a:pt x="400691" y="585369"/>
                  <a:pt x="400691" y="585369"/>
                  <a:pt x="61596" y="744593"/>
                </a:cubicBezTo>
                <a:cubicBezTo>
                  <a:pt x="40641" y="754071"/>
                  <a:pt x="15875" y="744593"/>
                  <a:pt x="6350" y="723742"/>
                </a:cubicBezTo>
                <a:cubicBezTo>
                  <a:pt x="-3175" y="702892"/>
                  <a:pt x="6350" y="678250"/>
                  <a:pt x="27305" y="668772"/>
                </a:cubicBezTo>
                <a:cubicBezTo>
                  <a:pt x="27305" y="668772"/>
                  <a:pt x="27305" y="668772"/>
                  <a:pt x="366400" y="511444"/>
                </a:cubicBezTo>
                <a:cubicBezTo>
                  <a:pt x="371639" y="508601"/>
                  <a:pt x="377116" y="507061"/>
                  <a:pt x="382533" y="506676"/>
                </a:cubicBezTo>
                <a:close/>
                <a:moveTo>
                  <a:pt x="5409837" y="500968"/>
                </a:moveTo>
                <a:cubicBezTo>
                  <a:pt x="5420091" y="505021"/>
                  <a:pt x="5428677" y="513127"/>
                  <a:pt x="5433445" y="524572"/>
                </a:cubicBezTo>
                <a:cubicBezTo>
                  <a:pt x="5437261" y="530295"/>
                  <a:pt x="5437261" y="536017"/>
                  <a:pt x="5437261" y="541739"/>
                </a:cubicBezTo>
                <a:cubicBezTo>
                  <a:pt x="5437261" y="558906"/>
                  <a:pt x="5427721" y="574166"/>
                  <a:pt x="5410551" y="581796"/>
                </a:cubicBezTo>
                <a:cubicBezTo>
                  <a:pt x="5410551" y="581796"/>
                  <a:pt x="5410551" y="581796"/>
                  <a:pt x="5070961" y="728671"/>
                </a:cubicBezTo>
                <a:cubicBezTo>
                  <a:pt x="5048067" y="738207"/>
                  <a:pt x="5023265" y="728671"/>
                  <a:pt x="5011819" y="705781"/>
                </a:cubicBezTo>
                <a:cubicBezTo>
                  <a:pt x="5002279" y="682891"/>
                  <a:pt x="5013727" y="658095"/>
                  <a:pt x="5034713" y="648557"/>
                </a:cubicBezTo>
                <a:cubicBezTo>
                  <a:pt x="5034713" y="648557"/>
                  <a:pt x="5034713" y="648557"/>
                  <a:pt x="5376211" y="501683"/>
                </a:cubicBezTo>
                <a:cubicBezTo>
                  <a:pt x="5387659" y="496914"/>
                  <a:pt x="5399583" y="496914"/>
                  <a:pt x="5409837" y="500968"/>
                </a:cubicBezTo>
                <a:close/>
                <a:moveTo>
                  <a:pt x="943582" y="500954"/>
                </a:moveTo>
                <a:cubicBezTo>
                  <a:pt x="954282" y="505007"/>
                  <a:pt x="963318" y="513114"/>
                  <a:pt x="968073" y="524559"/>
                </a:cubicBezTo>
                <a:cubicBezTo>
                  <a:pt x="969975" y="530281"/>
                  <a:pt x="969975" y="536004"/>
                  <a:pt x="969975" y="541726"/>
                </a:cubicBezTo>
                <a:cubicBezTo>
                  <a:pt x="969975" y="558893"/>
                  <a:pt x="960464" y="574153"/>
                  <a:pt x="945246" y="581783"/>
                </a:cubicBezTo>
                <a:cubicBezTo>
                  <a:pt x="945246" y="581783"/>
                  <a:pt x="945246" y="581783"/>
                  <a:pt x="604747" y="728657"/>
                </a:cubicBezTo>
                <a:cubicBezTo>
                  <a:pt x="581920" y="738195"/>
                  <a:pt x="557191" y="728657"/>
                  <a:pt x="547680" y="705768"/>
                </a:cubicBezTo>
                <a:cubicBezTo>
                  <a:pt x="538169" y="682878"/>
                  <a:pt x="547680" y="658081"/>
                  <a:pt x="570507" y="648544"/>
                </a:cubicBezTo>
                <a:cubicBezTo>
                  <a:pt x="570507" y="648544"/>
                  <a:pt x="570507" y="648544"/>
                  <a:pt x="909104" y="501669"/>
                </a:cubicBezTo>
                <a:cubicBezTo>
                  <a:pt x="920517" y="496901"/>
                  <a:pt x="932882" y="496901"/>
                  <a:pt x="943582" y="500954"/>
                </a:cubicBezTo>
                <a:close/>
                <a:moveTo>
                  <a:pt x="4841091" y="488774"/>
                </a:moveTo>
                <a:cubicBezTo>
                  <a:pt x="4858671" y="489041"/>
                  <a:pt x="4875447" y="499743"/>
                  <a:pt x="4882585" y="516865"/>
                </a:cubicBezTo>
                <a:cubicBezTo>
                  <a:pt x="4884489" y="522572"/>
                  <a:pt x="4886391" y="528280"/>
                  <a:pt x="4886391" y="533988"/>
                </a:cubicBezTo>
                <a:cubicBezTo>
                  <a:pt x="4886391" y="553012"/>
                  <a:pt x="4874971" y="570134"/>
                  <a:pt x="4855933" y="577744"/>
                </a:cubicBezTo>
                <a:cubicBezTo>
                  <a:pt x="4855933" y="577744"/>
                  <a:pt x="4855933" y="577744"/>
                  <a:pt x="4517083" y="712820"/>
                </a:cubicBezTo>
                <a:cubicBezTo>
                  <a:pt x="4492335" y="722333"/>
                  <a:pt x="4465685" y="710918"/>
                  <a:pt x="4456167" y="686186"/>
                </a:cubicBezTo>
                <a:cubicBezTo>
                  <a:pt x="4446647" y="663356"/>
                  <a:pt x="4458069" y="636721"/>
                  <a:pt x="4482817" y="627209"/>
                </a:cubicBezTo>
                <a:cubicBezTo>
                  <a:pt x="4482817" y="627209"/>
                  <a:pt x="4482817" y="627209"/>
                  <a:pt x="4823571" y="492133"/>
                </a:cubicBezTo>
                <a:cubicBezTo>
                  <a:pt x="4829283" y="489755"/>
                  <a:pt x="4835231" y="488685"/>
                  <a:pt x="4841091" y="488774"/>
                </a:cubicBezTo>
                <a:close/>
                <a:moveTo>
                  <a:pt x="1475779" y="488758"/>
                </a:moveTo>
                <a:cubicBezTo>
                  <a:pt x="1493817" y="489026"/>
                  <a:pt x="1511320" y="499727"/>
                  <a:pt x="1517035" y="516849"/>
                </a:cubicBezTo>
                <a:cubicBezTo>
                  <a:pt x="1520845" y="522557"/>
                  <a:pt x="1520845" y="528264"/>
                  <a:pt x="1520845" y="533972"/>
                </a:cubicBezTo>
                <a:cubicBezTo>
                  <a:pt x="1520845" y="552997"/>
                  <a:pt x="1509415" y="570119"/>
                  <a:pt x="1492270" y="577729"/>
                </a:cubicBezTo>
                <a:cubicBezTo>
                  <a:pt x="1492270" y="577729"/>
                  <a:pt x="1492270" y="577729"/>
                  <a:pt x="1151270" y="712805"/>
                </a:cubicBezTo>
                <a:cubicBezTo>
                  <a:pt x="1128410" y="722318"/>
                  <a:pt x="1101739" y="710903"/>
                  <a:pt x="1092214" y="686170"/>
                </a:cubicBezTo>
                <a:cubicBezTo>
                  <a:pt x="1082689" y="663341"/>
                  <a:pt x="1094119" y="636706"/>
                  <a:pt x="1116979" y="627193"/>
                </a:cubicBezTo>
                <a:cubicBezTo>
                  <a:pt x="1116979" y="627193"/>
                  <a:pt x="1116979" y="627193"/>
                  <a:pt x="1457979" y="492117"/>
                </a:cubicBezTo>
                <a:cubicBezTo>
                  <a:pt x="1463694" y="489739"/>
                  <a:pt x="1469766" y="488669"/>
                  <a:pt x="1475779" y="488758"/>
                </a:cubicBezTo>
                <a:close/>
                <a:moveTo>
                  <a:pt x="4284555" y="479567"/>
                </a:moveTo>
                <a:cubicBezTo>
                  <a:pt x="4302977" y="480457"/>
                  <a:pt x="4319789" y="492568"/>
                  <a:pt x="4326943" y="511091"/>
                </a:cubicBezTo>
                <a:cubicBezTo>
                  <a:pt x="4328851" y="516790"/>
                  <a:pt x="4330759" y="522490"/>
                  <a:pt x="4330759" y="528189"/>
                </a:cubicBezTo>
                <a:cubicBezTo>
                  <a:pt x="4330759" y="547187"/>
                  <a:pt x="4317405" y="566185"/>
                  <a:pt x="4298327" y="571884"/>
                </a:cubicBezTo>
                <a:cubicBezTo>
                  <a:pt x="4298327" y="571884"/>
                  <a:pt x="4298327" y="571884"/>
                  <a:pt x="3956839" y="695371"/>
                </a:cubicBezTo>
                <a:cubicBezTo>
                  <a:pt x="3932039" y="704870"/>
                  <a:pt x="3903423" y="691571"/>
                  <a:pt x="3895791" y="666874"/>
                </a:cubicBezTo>
                <a:cubicBezTo>
                  <a:pt x="3886253" y="642177"/>
                  <a:pt x="3899607" y="615579"/>
                  <a:pt x="3924409" y="606080"/>
                </a:cubicBezTo>
                <a:cubicBezTo>
                  <a:pt x="3924409" y="606080"/>
                  <a:pt x="3924409" y="606080"/>
                  <a:pt x="4265895" y="482594"/>
                </a:cubicBezTo>
                <a:cubicBezTo>
                  <a:pt x="4272095" y="480220"/>
                  <a:pt x="4278415" y="479270"/>
                  <a:pt x="4284555" y="479567"/>
                </a:cubicBezTo>
                <a:close/>
                <a:moveTo>
                  <a:pt x="2030573" y="479549"/>
                </a:moveTo>
                <a:cubicBezTo>
                  <a:pt x="2049531" y="480439"/>
                  <a:pt x="2067416" y="492550"/>
                  <a:pt x="2074570" y="511073"/>
                </a:cubicBezTo>
                <a:cubicBezTo>
                  <a:pt x="2076478" y="516773"/>
                  <a:pt x="2076478" y="522472"/>
                  <a:pt x="2076478" y="528172"/>
                </a:cubicBezTo>
                <a:cubicBezTo>
                  <a:pt x="2076478" y="547170"/>
                  <a:pt x="2065031" y="566167"/>
                  <a:pt x="2045954" y="571867"/>
                </a:cubicBezTo>
                <a:cubicBezTo>
                  <a:pt x="2045954" y="571867"/>
                  <a:pt x="2045954" y="571867"/>
                  <a:pt x="1702559" y="695353"/>
                </a:cubicBezTo>
                <a:cubicBezTo>
                  <a:pt x="1677758" y="704852"/>
                  <a:pt x="1651050" y="691554"/>
                  <a:pt x="1641511" y="666857"/>
                </a:cubicBezTo>
                <a:cubicBezTo>
                  <a:pt x="1631972" y="642159"/>
                  <a:pt x="1645326" y="615562"/>
                  <a:pt x="1670127" y="606063"/>
                </a:cubicBezTo>
                <a:cubicBezTo>
                  <a:pt x="1670127" y="606063"/>
                  <a:pt x="1670127" y="606063"/>
                  <a:pt x="2011614" y="482577"/>
                </a:cubicBezTo>
                <a:cubicBezTo>
                  <a:pt x="2017814" y="480202"/>
                  <a:pt x="2024253" y="479252"/>
                  <a:pt x="2030573" y="479549"/>
                </a:cubicBezTo>
                <a:close/>
                <a:moveTo>
                  <a:pt x="3723559" y="470397"/>
                </a:moveTo>
                <a:cubicBezTo>
                  <a:pt x="3743259" y="471917"/>
                  <a:pt x="3760811" y="485509"/>
                  <a:pt x="3766543" y="505539"/>
                </a:cubicBezTo>
                <a:cubicBezTo>
                  <a:pt x="3768453" y="511262"/>
                  <a:pt x="3770363" y="515077"/>
                  <a:pt x="3770363" y="520800"/>
                </a:cubicBezTo>
                <a:cubicBezTo>
                  <a:pt x="3770363" y="541785"/>
                  <a:pt x="3756991" y="560861"/>
                  <a:pt x="3734065" y="568492"/>
                </a:cubicBezTo>
                <a:cubicBezTo>
                  <a:pt x="3734065" y="568492"/>
                  <a:pt x="3734065" y="568492"/>
                  <a:pt x="3392102" y="681044"/>
                </a:cubicBezTo>
                <a:cubicBezTo>
                  <a:pt x="3365357" y="690583"/>
                  <a:pt x="3336701" y="675321"/>
                  <a:pt x="3329059" y="648614"/>
                </a:cubicBezTo>
                <a:cubicBezTo>
                  <a:pt x="3319507" y="621907"/>
                  <a:pt x="3334790" y="595199"/>
                  <a:pt x="3359626" y="585661"/>
                </a:cubicBezTo>
                <a:cubicBezTo>
                  <a:pt x="3359626" y="585661"/>
                  <a:pt x="3359626" y="585661"/>
                  <a:pt x="3703499" y="473109"/>
                </a:cubicBezTo>
                <a:cubicBezTo>
                  <a:pt x="3710185" y="470724"/>
                  <a:pt x="3716991" y="469890"/>
                  <a:pt x="3723559" y="470397"/>
                </a:cubicBezTo>
                <a:close/>
                <a:moveTo>
                  <a:pt x="2590068" y="470376"/>
                </a:moveTo>
                <a:cubicBezTo>
                  <a:pt x="2609769" y="471896"/>
                  <a:pt x="2627321" y="485489"/>
                  <a:pt x="2633052" y="505519"/>
                </a:cubicBezTo>
                <a:cubicBezTo>
                  <a:pt x="2634963" y="511242"/>
                  <a:pt x="2636873" y="515058"/>
                  <a:pt x="2636873" y="520780"/>
                </a:cubicBezTo>
                <a:cubicBezTo>
                  <a:pt x="2636873" y="541765"/>
                  <a:pt x="2623500" y="560842"/>
                  <a:pt x="2600575" y="568472"/>
                </a:cubicBezTo>
                <a:cubicBezTo>
                  <a:pt x="2600575" y="568472"/>
                  <a:pt x="2600575" y="568472"/>
                  <a:pt x="2258612" y="681025"/>
                </a:cubicBezTo>
                <a:cubicBezTo>
                  <a:pt x="2231867" y="690563"/>
                  <a:pt x="2203211" y="675302"/>
                  <a:pt x="2195569" y="648594"/>
                </a:cubicBezTo>
                <a:cubicBezTo>
                  <a:pt x="2186017" y="621887"/>
                  <a:pt x="2201300" y="595180"/>
                  <a:pt x="2226136" y="585641"/>
                </a:cubicBezTo>
                <a:cubicBezTo>
                  <a:pt x="2226136" y="585641"/>
                  <a:pt x="2226136" y="585641"/>
                  <a:pt x="2570009" y="473089"/>
                </a:cubicBezTo>
                <a:cubicBezTo>
                  <a:pt x="2576695" y="470704"/>
                  <a:pt x="2583501" y="469870"/>
                  <a:pt x="2590068" y="470376"/>
                </a:cubicBezTo>
                <a:close/>
                <a:moveTo>
                  <a:pt x="3153221" y="461684"/>
                </a:moveTo>
                <a:cubicBezTo>
                  <a:pt x="3173698" y="464098"/>
                  <a:pt x="3191226" y="478049"/>
                  <a:pt x="3196948" y="499511"/>
                </a:cubicBezTo>
                <a:cubicBezTo>
                  <a:pt x="3198856" y="503327"/>
                  <a:pt x="3198856" y="509050"/>
                  <a:pt x="3198856" y="512866"/>
                </a:cubicBezTo>
                <a:cubicBezTo>
                  <a:pt x="3198856" y="535759"/>
                  <a:pt x="3185502" y="556745"/>
                  <a:pt x="3162610" y="564376"/>
                </a:cubicBezTo>
                <a:cubicBezTo>
                  <a:pt x="3162610" y="564376"/>
                  <a:pt x="3162610" y="564376"/>
                  <a:pt x="2819225" y="665488"/>
                </a:cubicBezTo>
                <a:cubicBezTo>
                  <a:pt x="2790610" y="673120"/>
                  <a:pt x="2761994" y="657857"/>
                  <a:pt x="2754363" y="629241"/>
                </a:cubicBezTo>
                <a:cubicBezTo>
                  <a:pt x="2744825" y="602531"/>
                  <a:pt x="2761994" y="572007"/>
                  <a:pt x="2788702" y="564376"/>
                </a:cubicBezTo>
                <a:cubicBezTo>
                  <a:pt x="2788702" y="564376"/>
                  <a:pt x="2788702" y="564376"/>
                  <a:pt x="3132087" y="463264"/>
                </a:cubicBezTo>
                <a:cubicBezTo>
                  <a:pt x="3139241" y="461356"/>
                  <a:pt x="3146395" y="460879"/>
                  <a:pt x="3153221" y="461684"/>
                </a:cubicBezTo>
                <a:close/>
                <a:moveTo>
                  <a:pt x="6500919" y="194958"/>
                </a:moveTo>
                <a:cubicBezTo>
                  <a:pt x="6510703" y="198287"/>
                  <a:pt x="6519295" y="205422"/>
                  <a:pt x="6524069" y="215887"/>
                </a:cubicBezTo>
                <a:cubicBezTo>
                  <a:pt x="6527887" y="221595"/>
                  <a:pt x="6527887" y="227303"/>
                  <a:pt x="6527887" y="233011"/>
                </a:cubicBezTo>
                <a:cubicBezTo>
                  <a:pt x="6527887" y="248232"/>
                  <a:pt x="6520251" y="261551"/>
                  <a:pt x="6506885" y="269161"/>
                </a:cubicBezTo>
                <a:cubicBezTo>
                  <a:pt x="6506885" y="269161"/>
                  <a:pt x="6506885" y="269161"/>
                  <a:pt x="6167027" y="436596"/>
                </a:cubicBezTo>
                <a:cubicBezTo>
                  <a:pt x="6147935" y="446109"/>
                  <a:pt x="6123113" y="438499"/>
                  <a:pt x="6113567" y="419472"/>
                </a:cubicBezTo>
                <a:cubicBezTo>
                  <a:pt x="6104019" y="400445"/>
                  <a:pt x="6111657" y="375711"/>
                  <a:pt x="6130751" y="366197"/>
                </a:cubicBezTo>
                <a:cubicBezTo>
                  <a:pt x="6130751" y="366197"/>
                  <a:pt x="6130751" y="366197"/>
                  <a:pt x="6470609" y="196860"/>
                </a:cubicBezTo>
                <a:cubicBezTo>
                  <a:pt x="6480155" y="192104"/>
                  <a:pt x="6491133" y="191628"/>
                  <a:pt x="6500919" y="194958"/>
                </a:cubicBezTo>
                <a:close/>
                <a:moveTo>
                  <a:pt x="5957811" y="186362"/>
                </a:moveTo>
                <a:cubicBezTo>
                  <a:pt x="5967811" y="190158"/>
                  <a:pt x="5976385" y="197749"/>
                  <a:pt x="5981147" y="208187"/>
                </a:cubicBezTo>
                <a:cubicBezTo>
                  <a:pt x="5984957" y="213881"/>
                  <a:pt x="5984957" y="219574"/>
                  <a:pt x="5984957" y="225268"/>
                </a:cubicBezTo>
                <a:cubicBezTo>
                  <a:pt x="5984957" y="240450"/>
                  <a:pt x="5977337" y="255633"/>
                  <a:pt x="5962097" y="263225"/>
                </a:cubicBezTo>
                <a:cubicBezTo>
                  <a:pt x="5962097" y="263225"/>
                  <a:pt x="5962097" y="263225"/>
                  <a:pt x="5623001" y="420745"/>
                </a:cubicBezTo>
                <a:cubicBezTo>
                  <a:pt x="5602047" y="430234"/>
                  <a:pt x="5577281" y="422643"/>
                  <a:pt x="5567757" y="401767"/>
                </a:cubicBezTo>
                <a:cubicBezTo>
                  <a:pt x="5556327" y="380891"/>
                  <a:pt x="5565851" y="356219"/>
                  <a:pt x="5586807" y="346729"/>
                </a:cubicBezTo>
                <a:cubicBezTo>
                  <a:pt x="5586807" y="346729"/>
                  <a:pt x="5586807" y="346729"/>
                  <a:pt x="5925901" y="187311"/>
                </a:cubicBezTo>
                <a:cubicBezTo>
                  <a:pt x="5936379" y="182566"/>
                  <a:pt x="5947809" y="182566"/>
                  <a:pt x="5957811" y="186362"/>
                </a:cubicBezTo>
                <a:close/>
                <a:moveTo>
                  <a:pt x="398309" y="186349"/>
                </a:moveTo>
                <a:cubicBezTo>
                  <a:pt x="408311" y="190145"/>
                  <a:pt x="416884" y="197736"/>
                  <a:pt x="421646" y="208174"/>
                </a:cubicBezTo>
                <a:cubicBezTo>
                  <a:pt x="423551" y="213868"/>
                  <a:pt x="425456" y="219561"/>
                  <a:pt x="425456" y="225255"/>
                </a:cubicBezTo>
                <a:cubicBezTo>
                  <a:pt x="425456" y="240437"/>
                  <a:pt x="415931" y="255620"/>
                  <a:pt x="400691" y="263212"/>
                </a:cubicBezTo>
                <a:cubicBezTo>
                  <a:pt x="400691" y="263212"/>
                  <a:pt x="400691" y="263212"/>
                  <a:pt x="61596" y="420733"/>
                </a:cubicBezTo>
                <a:cubicBezTo>
                  <a:pt x="42546" y="430222"/>
                  <a:pt x="17780" y="422630"/>
                  <a:pt x="6350" y="401754"/>
                </a:cubicBezTo>
                <a:cubicBezTo>
                  <a:pt x="-3175" y="380878"/>
                  <a:pt x="6350" y="356206"/>
                  <a:pt x="27305" y="346717"/>
                </a:cubicBezTo>
                <a:cubicBezTo>
                  <a:pt x="27305" y="346717"/>
                  <a:pt x="27305" y="346717"/>
                  <a:pt x="366400" y="187298"/>
                </a:cubicBezTo>
                <a:cubicBezTo>
                  <a:pt x="376878" y="182554"/>
                  <a:pt x="388308" y="182554"/>
                  <a:pt x="398309" y="186349"/>
                </a:cubicBezTo>
                <a:close/>
                <a:moveTo>
                  <a:pt x="5409203" y="176869"/>
                </a:moveTo>
                <a:cubicBezTo>
                  <a:pt x="5419665" y="180679"/>
                  <a:pt x="5428701" y="188299"/>
                  <a:pt x="5433457" y="198777"/>
                </a:cubicBezTo>
                <a:cubicBezTo>
                  <a:pt x="5435359" y="204492"/>
                  <a:pt x="5437261" y="212112"/>
                  <a:pt x="5437261" y="217827"/>
                </a:cubicBezTo>
                <a:cubicBezTo>
                  <a:pt x="5437261" y="233067"/>
                  <a:pt x="5427749" y="250212"/>
                  <a:pt x="5410629" y="255927"/>
                </a:cubicBezTo>
                <a:cubicBezTo>
                  <a:pt x="5410629" y="255927"/>
                  <a:pt x="5410629" y="255927"/>
                  <a:pt x="5072033" y="406421"/>
                </a:cubicBezTo>
                <a:cubicBezTo>
                  <a:pt x="5049207" y="415946"/>
                  <a:pt x="5024477" y="406421"/>
                  <a:pt x="5014967" y="385466"/>
                </a:cubicBezTo>
                <a:cubicBezTo>
                  <a:pt x="5005455" y="362606"/>
                  <a:pt x="5014967" y="337841"/>
                  <a:pt x="5035891" y="328316"/>
                </a:cubicBezTo>
                <a:cubicBezTo>
                  <a:pt x="5035891" y="328316"/>
                  <a:pt x="5035891" y="328316"/>
                  <a:pt x="5376389" y="177822"/>
                </a:cubicBezTo>
                <a:cubicBezTo>
                  <a:pt x="5386853" y="173059"/>
                  <a:pt x="5398741" y="173059"/>
                  <a:pt x="5409203" y="176869"/>
                </a:cubicBezTo>
                <a:close/>
                <a:moveTo>
                  <a:pt x="942630" y="176854"/>
                </a:moveTo>
                <a:cubicBezTo>
                  <a:pt x="952855" y="180664"/>
                  <a:pt x="961415" y="188284"/>
                  <a:pt x="966171" y="198761"/>
                </a:cubicBezTo>
                <a:cubicBezTo>
                  <a:pt x="968073" y="204476"/>
                  <a:pt x="969975" y="212096"/>
                  <a:pt x="969975" y="217811"/>
                </a:cubicBezTo>
                <a:cubicBezTo>
                  <a:pt x="969975" y="233051"/>
                  <a:pt x="960464" y="250196"/>
                  <a:pt x="945246" y="255911"/>
                </a:cubicBezTo>
                <a:cubicBezTo>
                  <a:pt x="945246" y="255911"/>
                  <a:pt x="945246" y="255911"/>
                  <a:pt x="604747" y="406406"/>
                </a:cubicBezTo>
                <a:cubicBezTo>
                  <a:pt x="583822" y="415931"/>
                  <a:pt x="557191" y="406406"/>
                  <a:pt x="547680" y="385451"/>
                </a:cubicBezTo>
                <a:cubicBezTo>
                  <a:pt x="538169" y="362591"/>
                  <a:pt x="547680" y="337826"/>
                  <a:pt x="570507" y="328301"/>
                </a:cubicBezTo>
                <a:cubicBezTo>
                  <a:pt x="570507" y="328301"/>
                  <a:pt x="570507" y="328301"/>
                  <a:pt x="909104" y="177807"/>
                </a:cubicBezTo>
                <a:cubicBezTo>
                  <a:pt x="920517" y="173044"/>
                  <a:pt x="932406" y="173044"/>
                  <a:pt x="942630" y="176854"/>
                </a:cubicBezTo>
                <a:close/>
                <a:moveTo>
                  <a:pt x="4856445" y="167559"/>
                </a:moveTo>
                <a:cubicBezTo>
                  <a:pt x="4867169" y="171597"/>
                  <a:pt x="4876225" y="179672"/>
                  <a:pt x="4880991" y="191072"/>
                </a:cubicBezTo>
                <a:cubicBezTo>
                  <a:pt x="4882897" y="196772"/>
                  <a:pt x="4884803" y="202471"/>
                  <a:pt x="4884803" y="208171"/>
                </a:cubicBezTo>
                <a:cubicBezTo>
                  <a:pt x="4884803" y="227171"/>
                  <a:pt x="4875271" y="242371"/>
                  <a:pt x="4856207" y="249971"/>
                </a:cubicBezTo>
                <a:cubicBezTo>
                  <a:pt x="4856207" y="249971"/>
                  <a:pt x="4856207" y="249971"/>
                  <a:pt x="4516865" y="390571"/>
                </a:cubicBezTo>
                <a:cubicBezTo>
                  <a:pt x="4493989" y="400071"/>
                  <a:pt x="4467299" y="390571"/>
                  <a:pt x="4457767" y="367771"/>
                </a:cubicBezTo>
                <a:cubicBezTo>
                  <a:pt x="4448235" y="343071"/>
                  <a:pt x="4459673" y="318371"/>
                  <a:pt x="4482551" y="308871"/>
                </a:cubicBezTo>
                <a:cubicBezTo>
                  <a:pt x="4482551" y="308871"/>
                  <a:pt x="4482551" y="308871"/>
                  <a:pt x="4821891" y="168272"/>
                </a:cubicBezTo>
                <a:cubicBezTo>
                  <a:pt x="4833331" y="163522"/>
                  <a:pt x="4845723" y="163522"/>
                  <a:pt x="4856445" y="167559"/>
                </a:cubicBezTo>
                <a:close/>
                <a:moveTo>
                  <a:pt x="1492487" y="167542"/>
                </a:moveTo>
                <a:cubicBezTo>
                  <a:pt x="1503211" y="171579"/>
                  <a:pt x="1512266" y="179654"/>
                  <a:pt x="1517032" y="191054"/>
                </a:cubicBezTo>
                <a:cubicBezTo>
                  <a:pt x="1518939" y="196754"/>
                  <a:pt x="1520845" y="202454"/>
                  <a:pt x="1520845" y="208154"/>
                </a:cubicBezTo>
                <a:cubicBezTo>
                  <a:pt x="1520845" y="227154"/>
                  <a:pt x="1509407" y="242354"/>
                  <a:pt x="1492249" y="249954"/>
                </a:cubicBezTo>
                <a:cubicBezTo>
                  <a:pt x="1492249" y="249954"/>
                  <a:pt x="1492249" y="249954"/>
                  <a:pt x="1151001" y="390554"/>
                </a:cubicBezTo>
                <a:cubicBezTo>
                  <a:pt x="1128124" y="400054"/>
                  <a:pt x="1103341" y="390554"/>
                  <a:pt x="1093809" y="367754"/>
                </a:cubicBezTo>
                <a:cubicBezTo>
                  <a:pt x="1084277" y="343054"/>
                  <a:pt x="1093809" y="318354"/>
                  <a:pt x="1116686" y="308854"/>
                </a:cubicBezTo>
                <a:cubicBezTo>
                  <a:pt x="1116686" y="308854"/>
                  <a:pt x="1116686" y="308854"/>
                  <a:pt x="1457933" y="168254"/>
                </a:cubicBezTo>
                <a:cubicBezTo>
                  <a:pt x="1469372" y="163504"/>
                  <a:pt x="1481763" y="163504"/>
                  <a:pt x="1492487" y="167542"/>
                </a:cubicBezTo>
                <a:close/>
                <a:moveTo>
                  <a:pt x="4266123" y="156877"/>
                </a:moveTo>
                <a:cubicBezTo>
                  <a:pt x="4289051" y="149247"/>
                  <a:pt x="4315797" y="160692"/>
                  <a:pt x="4325349" y="183583"/>
                </a:cubicBezTo>
                <a:cubicBezTo>
                  <a:pt x="4327261" y="189305"/>
                  <a:pt x="4329171" y="195028"/>
                  <a:pt x="4329171" y="200751"/>
                </a:cubicBezTo>
                <a:cubicBezTo>
                  <a:pt x="4329171" y="219826"/>
                  <a:pt x="4317707" y="236994"/>
                  <a:pt x="4298603" y="244625"/>
                </a:cubicBezTo>
                <a:cubicBezTo>
                  <a:pt x="4298603" y="244625"/>
                  <a:pt x="4298603" y="244625"/>
                  <a:pt x="3956619" y="376246"/>
                </a:cubicBezTo>
                <a:cubicBezTo>
                  <a:pt x="3933693" y="385784"/>
                  <a:pt x="3906945" y="374339"/>
                  <a:pt x="3897393" y="349541"/>
                </a:cubicBezTo>
                <a:cubicBezTo>
                  <a:pt x="3887839" y="326650"/>
                  <a:pt x="3899303" y="299944"/>
                  <a:pt x="3924139" y="290406"/>
                </a:cubicBezTo>
                <a:cubicBezTo>
                  <a:pt x="3924139" y="290406"/>
                  <a:pt x="3924139" y="290406"/>
                  <a:pt x="4266123" y="156877"/>
                </a:cubicBezTo>
                <a:close/>
                <a:moveTo>
                  <a:pt x="2010482" y="156857"/>
                </a:moveTo>
                <a:cubicBezTo>
                  <a:pt x="2035230" y="149227"/>
                  <a:pt x="2061881" y="160672"/>
                  <a:pt x="2071399" y="183563"/>
                </a:cubicBezTo>
                <a:cubicBezTo>
                  <a:pt x="2073303" y="189286"/>
                  <a:pt x="2073303" y="195008"/>
                  <a:pt x="2073303" y="200731"/>
                </a:cubicBezTo>
                <a:cubicBezTo>
                  <a:pt x="2073303" y="219807"/>
                  <a:pt x="2061881" y="236975"/>
                  <a:pt x="2044748" y="244605"/>
                </a:cubicBezTo>
                <a:cubicBezTo>
                  <a:pt x="2044748" y="244605"/>
                  <a:pt x="2044748" y="244605"/>
                  <a:pt x="1703994" y="376227"/>
                </a:cubicBezTo>
                <a:cubicBezTo>
                  <a:pt x="1679247" y="385765"/>
                  <a:pt x="1652596" y="374320"/>
                  <a:pt x="1643077" y="349521"/>
                </a:cubicBezTo>
                <a:cubicBezTo>
                  <a:pt x="1633559" y="326630"/>
                  <a:pt x="1644981" y="299925"/>
                  <a:pt x="1669728" y="290387"/>
                </a:cubicBezTo>
                <a:cubicBezTo>
                  <a:pt x="1669728" y="290387"/>
                  <a:pt x="1669728" y="290387"/>
                  <a:pt x="2010482" y="156857"/>
                </a:cubicBezTo>
                <a:close/>
                <a:moveTo>
                  <a:pt x="3720661" y="144606"/>
                </a:moveTo>
                <a:cubicBezTo>
                  <a:pt x="3739819" y="145497"/>
                  <a:pt x="3756571" y="157608"/>
                  <a:pt x="3763701" y="176130"/>
                </a:cubicBezTo>
                <a:cubicBezTo>
                  <a:pt x="3765601" y="181830"/>
                  <a:pt x="3765601" y="187529"/>
                  <a:pt x="3765601" y="193228"/>
                </a:cubicBezTo>
                <a:cubicBezTo>
                  <a:pt x="3765601" y="212226"/>
                  <a:pt x="3754195" y="231224"/>
                  <a:pt x="3735185" y="238823"/>
                </a:cubicBezTo>
                <a:cubicBezTo>
                  <a:pt x="3735185" y="238823"/>
                  <a:pt x="3735185" y="238823"/>
                  <a:pt x="3393017" y="360410"/>
                </a:cubicBezTo>
                <a:cubicBezTo>
                  <a:pt x="3368305" y="369909"/>
                  <a:pt x="3341691" y="356611"/>
                  <a:pt x="3332187" y="331913"/>
                </a:cubicBezTo>
                <a:cubicBezTo>
                  <a:pt x="3322682" y="307216"/>
                  <a:pt x="3335989" y="278719"/>
                  <a:pt x="3360701" y="271120"/>
                </a:cubicBezTo>
                <a:cubicBezTo>
                  <a:pt x="3360701" y="271120"/>
                  <a:pt x="3360701" y="271120"/>
                  <a:pt x="3700969" y="147634"/>
                </a:cubicBezTo>
                <a:cubicBezTo>
                  <a:pt x="3707623" y="145259"/>
                  <a:pt x="3714275" y="144309"/>
                  <a:pt x="3720661" y="144606"/>
                </a:cubicBezTo>
                <a:close/>
                <a:moveTo>
                  <a:pt x="2587010" y="144584"/>
                </a:moveTo>
                <a:cubicBezTo>
                  <a:pt x="2606236" y="145475"/>
                  <a:pt x="2623048" y="157586"/>
                  <a:pt x="2630202" y="176109"/>
                </a:cubicBezTo>
                <a:cubicBezTo>
                  <a:pt x="2632110" y="181808"/>
                  <a:pt x="2632110" y="187507"/>
                  <a:pt x="2632110" y="193207"/>
                </a:cubicBezTo>
                <a:cubicBezTo>
                  <a:pt x="2632110" y="212205"/>
                  <a:pt x="2620663" y="231203"/>
                  <a:pt x="2601586" y="238802"/>
                </a:cubicBezTo>
                <a:cubicBezTo>
                  <a:pt x="2601586" y="238802"/>
                  <a:pt x="2601586" y="238802"/>
                  <a:pt x="2258191" y="360389"/>
                </a:cubicBezTo>
                <a:cubicBezTo>
                  <a:pt x="2233390" y="369888"/>
                  <a:pt x="2206682" y="356589"/>
                  <a:pt x="2197143" y="331892"/>
                </a:cubicBezTo>
                <a:cubicBezTo>
                  <a:pt x="2187604" y="307194"/>
                  <a:pt x="2200958" y="278697"/>
                  <a:pt x="2225759" y="271098"/>
                </a:cubicBezTo>
                <a:cubicBezTo>
                  <a:pt x="2225759" y="271098"/>
                  <a:pt x="2225759" y="271098"/>
                  <a:pt x="2567246" y="147612"/>
                </a:cubicBezTo>
                <a:cubicBezTo>
                  <a:pt x="2573923" y="145237"/>
                  <a:pt x="2580601" y="144287"/>
                  <a:pt x="2587010" y="144584"/>
                </a:cubicBezTo>
                <a:close/>
                <a:moveTo>
                  <a:pt x="3149041" y="135359"/>
                </a:moveTo>
                <a:cubicBezTo>
                  <a:pt x="3168673" y="136779"/>
                  <a:pt x="3186163" y="149921"/>
                  <a:pt x="3191874" y="168391"/>
                </a:cubicBezTo>
                <a:cubicBezTo>
                  <a:pt x="3193777" y="174073"/>
                  <a:pt x="3195681" y="179756"/>
                  <a:pt x="3195681" y="185439"/>
                </a:cubicBezTo>
                <a:cubicBezTo>
                  <a:pt x="3195681" y="206277"/>
                  <a:pt x="3182355" y="225220"/>
                  <a:pt x="3161415" y="232797"/>
                </a:cubicBezTo>
                <a:cubicBezTo>
                  <a:pt x="3161415" y="232797"/>
                  <a:pt x="3161415" y="232797"/>
                  <a:pt x="2818752" y="344562"/>
                </a:cubicBezTo>
                <a:cubicBezTo>
                  <a:pt x="2794004" y="354034"/>
                  <a:pt x="2765449" y="338879"/>
                  <a:pt x="2755930" y="314253"/>
                </a:cubicBezTo>
                <a:cubicBezTo>
                  <a:pt x="2746412" y="287733"/>
                  <a:pt x="2761641" y="259318"/>
                  <a:pt x="2788293" y="249846"/>
                </a:cubicBezTo>
                <a:cubicBezTo>
                  <a:pt x="2788293" y="249846"/>
                  <a:pt x="2788293" y="249846"/>
                  <a:pt x="3129052" y="138082"/>
                </a:cubicBezTo>
                <a:cubicBezTo>
                  <a:pt x="3135715" y="135714"/>
                  <a:pt x="3142497" y="134885"/>
                  <a:pt x="3149041" y="135359"/>
                </a:cubicBezTo>
                <a:close/>
                <a:moveTo>
                  <a:pt x="6214753" y="24"/>
                </a:moveTo>
                <a:cubicBezTo>
                  <a:pt x="6214753" y="24"/>
                  <a:pt x="6214753" y="24"/>
                  <a:pt x="6396123" y="24"/>
                </a:cubicBezTo>
                <a:cubicBezTo>
                  <a:pt x="6396123" y="24"/>
                  <a:pt x="6396123" y="24"/>
                  <a:pt x="6167023" y="114324"/>
                </a:cubicBezTo>
                <a:cubicBezTo>
                  <a:pt x="6147931" y="123849"/>
                  <a:pt x="6123111" y="116229"/>
                  <a:pt x="6113565" y="95274"/>
                </a:cubicBezTo>
                <a:cubicBezTo>
                  <a:pt x="6104019" y="76224"/>
                  <a:pt x="6111657" y="51459"/>
                  <a:pt x="6130749" y="41934"/>
                </a:cubicBezTo>
                <a:cubicBezTo>
                  <a:pt x="6130749" y="41934"/>
                  <a:pt x="6130749" y="41934"/>
                  <a:pt x="6214753" y="24"/>
                </a:cubicBezTo>
                <a:close/>
                <a:moveTo>
                  <a:pt x="5637645" y="24"/>
                </a:moveTo>
                <a:cubicBezTo>
                  <a:pt x="5637645" y="24"/>
                  <a:pt x="5637645" y="24"/>
                  <a:pt x="5829379" y="24"/>
                </a:cubicBezTo>
                <a:cubicBezTo>
                  <a:pt x="5829379" y="24"/>
                  <a:pt x="5829379" y="24"/>
                  <a:pt x="5622457" y="99953"/>
                </a:cubicBezTo>
                <a:cubicBezTo>
                  <a:pt x="5601575" y="109562"/>
                  <a:pt x="5576897" y="101875"/>
                  <a:pt x="5567405" y="80736"/>
                </a:cubicBezTo>
                <a:cubicBezTo>
                  <a:pt x="5557913" y="59597"/>
                  <a:pt x="5565507" y="34615"/>
                  <a:pt x="5586389" y="25006"/>
                </a:cubicBezTo>
                <a:cubicBezTo>
                  <a:pt x="5586389" y="25006"/>
                  <a:pt x="5586389" y="25006"/>
                  <a:pt x="5637645" y="24"/>
                </a:cubicBezTo>
                <a:close/>
                <a:moveTo>
                  <a:pt x="5051003" y="24"/>
                </a:moveTo>
                <a:cubicBezTo>
                  <a:pt x="5051003" y="24"/>
                  <a:pt x="5051003" y="24"/>
                  <a:pt x="5257871" y="24"/>
                </a:cubicBezTo>
                <a:cubicBezTo>
                  <a:pt x="5257871" y="24"/>
                  <a:pt x="5257871" y="24"/>
                  <a:pt x="5071881" y="83844"/>
                </a:cubicBezTo>
                <a:cubicBezTo>
                  <a:pt x="5051003" y="95274"/>
                  <a:pt x="5024433" y="85749"/>
                  <a:pt x="5014945" y="62889"/>
                </a:cubicBezTo>
                <a:cubicBezTo>
                  <a:pt x="5005455" y="41934"/>
                  <a:pt x="5014945" y="17169"/>
                  <a:pt x="5037719" y="7644"/>
                </a:cubicBezTo>
                <a:cubicBezTo>
                  <a:pt x="5037719" y="7644"/>
                  <a:pt x="5037719" y="7644"/>
                  <a:pt x="5051003" y="24"/>
                </a:cubicBezTo>
                <a:close/>
                <a:moveTo>
                  <a:pt x="4468153" y="24"/>
                </a:moveTo>
                <a:cubicBezTo>
                  <a:pt x="4468153" y="24"/>
                  <a:pt x="4468153" y="24"/>
                  <a:pt x="4678427" y="24"/>
                </a:cubicBezTo>
                <a:cubicBezTo>
                  <a:pt x="4678427" y="24"/>
                  <a:pt x="4678427" y="24"/>
                  <a:pt x="4517407" y="71348"/>
                </a:cubicBezTo>
                <a:cubicBezTo>
                  <a:pt x="4494673" y="80987"/>
                  <a:pt x="4470047" y="69421"/>
                  <a:pt x="4460575" y="48216"/>
                </a:cubicBezTo>
                <a:cubicBezTo>
                  <a:pt x="4452999" y="30867"/>
                  <a:pt x="4456787" y="13518"/>
                  <a:pt x="4468153" y="24"/>
                </a:cubicBezTo>
                <a:close/>
                <a:moveTo>
                  <a:pt x="3898007" y="24"/>
                </a:moveTo>
                <a:cubicBezTo>
                  <a:pt x="3898007" y="24"/>
                  <a:pt x="3898007" y="24"/>
                  <a:pt x="4092631" y="24"/>
                </a:cubicBezTo>
                <a:cubicBezTo>
                  <a:pt x="4092631" y="24"/>
                  <a:pt x="4092631" y="24"/>
                  <a:pt x="3959065" y="55540"/>
                </a:cubicBezTo>
                <a:cubicBezTo>
                  <a:pt x="3936167" y="65112"/>
                  <a:pt x="3909455" y="53625"/>
                  <a:pt x="3899915" y="30653"/>
                </a:cubicBezTo>
                <a:cubicBezTo>
                  <a:pt x="3896099" y="21082"/>
                  <a:pt x="3894191" y="9595"/>
                  <a:pt x="3898007" y="24"/>
                </a:cubicBezTo>
                <a:close/>
                <a:moveTo>
                  <a:pt x="3332207" y="24"/>
                </a:moveTo>
                <a:cubicBezTo>
                  <a:pt x="3332207" y="24"/>
                  <a:pt x="3332207" y="24"/>
                  <a:pt x="3497309" y="24"/>
                </a:cubicBezTo>
                <a:cubicBezTo>
                  <a:pt x="3497309" y="24"/>
                  <a:pt x="3497309" y="24"/>
                  <a:pt x="3394832" y="41665"/>
                </a:cubicBezTo>
                <a:cubicBezTo>
                  <a:pt x="3370161" y="49236"/>
                  <a:pt x="3343593" y="37880"/>
                  <a:pt x="3334105" y="15166"/>
                </a:cubicBezTo>
                <a:cubicBezTo>
                  <a:pt x="3332207" y="9488"/>
                  <a:pt x="3332207" y="5702"/>
                  <a:pt x="3332207" y="24"/>
                </a:cubicBezTo>
                <a:close/>
                <a:moveTo>
                  <a:pt x="2760700" y="23"/>
                </a:moveTo>
                <a:cubicBezTo>
                  <a:pt x="2760700" y="23"/>
                  <a:pt x="2760700" y="23"/>
                  <a:pt x="2890877" y="23"/>
                </a:cubicBezTo>
                <a:cubicBezTo>
                  <a:pt x="2890877" y="23"/>
                  <a:pt x="2890877" y="23"/>
                  <a:pt x="2821072" y="27187"/>
                </a:cubicBezTo>
                <a:cubicBezTo>
                  <a:pt x="2796546" y="34949"/>
                  <a:pt x="2772020" y="23307"/>
                  <a:pt x="2760700" y="23"/>
                </a:cubicBezTo>
                <a:close/>
                <a:moveTo>
                  <a:pt x="76929" y="9"/>
                </a:moveTo>
                <a:cubicBezTo>
                  <a:pt x="76929" y="9"/>
                  <a:pt x="76929" y="9"/>
                  <a:pt x="271466" y="9"/>
                </a:cubicBezTo>
                <a:cubicBezTo>
                  <a:pt x="271466" y="9"/>
                  <a:pt x="271466" y="9"/>
                  <a:pt x="63578" y="99939"/>
                </a:cubicBezTo>
                <a:cubicBezTo>
                  <a:pt x="42599" y="109547"/>
                  <a:pt x="17805" y="101861"/>
                  <a:pt x="8268" y="80722"/>
                </a:cubicBezTo>
                <a:cubicBezTo>
                  <a:pt x="-3175" y="59583"/>
                  <a:pt x="6361" y="34600"/>
                  <a:pt x="27341" y="24992"/>
                </a:cubicBezTo>
                <a:cubicBezTo>
                  <a:pt x="27341" y="24992"/>
                  <a:pt x="27341" y="24992"/>
                  <a:pt x="76929" y="9"/>
                </a:cubicBezTo>
                <a:close/>
                <a:moveTo>
                  <a:pt x="583739" y="7"/>
                </a:moveTo>
                <a:cubicBezTo>
                  <a:pt x="583739" y="7"/>
                  <a:pt x="583739" y="7"/>
                  <a:pt x="792173" y="7"/>
                </a:cubicBezTo>
                <a:cubicBezTo>
                  <a:pt x="792173" y="7"/>
                  <a:pt x="792173" y="7"/>
                  <a:pt x="604773" y="83827"/>
                </a:cubicBezTo>
                <a:cubicBezTo>
                  <a:pt x="583739" y="95257"/>
                  <a:pt x="558879" y="85732"/>
                  <a:pt x="549318" y="62872"/>
                </a:cubicBezTo>
                <a:cubicBezTo>
                  <a:pt x="539757" y="41917"/>
                  <a:pt x="549318" y="17152"/>
                  <a:pt x="570353" y="7627"/>
                </a:cubicBezTo>
                <a:cubicBezTo>
                  <a:pt x="570353" y="7627"/>
                  <a:pt x="570353" y="7627"/>
                  <a:pt x="583739" y="7"/>
                </a:cubicBezTo>
                <a:close/>
                <a:moveTo>
                  <a:pt x="1102318" y="5"/>
                </a:moveTo>
                <a:cubicBezTo>
                  <a:pt x="1102318" y="5"/>
                  <a:pt x="1102318" y="5"/>
                  <a:pt x="1312880" y="5"/>
                </a:cubicBezTo>
                <a:cubicBezTo>
                  <a:pt x="1312880" y="5"/>
                  <a:pt x="1312880" y="5"/>
                  <a:pt x="1153536" y="71329"/>
                </a:cubicBezTo>
                <a:cubicBezTo>
                  <a:pt x="1130772" y="80968"/>
                  <a:pt x="1104215" y="69401"/>
                  <a:pt x="1094730" y="48197"/>
                </a:cubicBezTo>
                <a:cubicBezTo>
                  <a:pt x="1089039" y="30848"/>
                  <a:pt x="1090936" y="13498"/>
                  <a:pt x="1102318" y="5"/>
                </a:cubicBezTo>
                <a:close/>
                <a:moveTo>
                  <a:pt x="1643408" y="2"/>
                </a:moveTo>
                <a:cubicBezTo>
                  <a:pt x="1643408" y="2"/>
                  <a:pt x="1643408" y="2"/>
                  <a:pt x="1838350" y="2"/>
                </a:cubicBezTo>
                <a:cubicBezTo>
                  <a:pt x="1838350" y="2"/>
                  <a:pt x="1838350" y="2"/>
                  <a:pt x="1704566" y="55519"/>
                </a:cubicBezTo>
                <a:cubicBezTo>
                  <a:pt x="1681632" y="65090"/>
                  <a:pt x="1654875" y="53604"/>
                  <a:pt x="1645319" y="30632"/>
                </a:cubicBezTo>
                <a:cubicBezTo>
                  <a:pt x="1641497" y="21060"/>
                  <a:pt x="1641497" y="9574"/>
                  <a:pt x="1643408" y="2"/>
                </a:cubicBezTo>
                <a:close/>
                <a:moveTo>
                  <a:pt x="2197129" y="0"/>
                </a:moveTo>
                <a:cubicBezTo>
                  <a:pt x="2197129" y="0"/>
                  <a:pt x="2197129" y="0"/>
                  <a:pt x="2363819" y="0"/>
                </a:cubicBezTo>
                <a:cubicBezTo>
                  <a:pt x="2363819" y="0"/>
                  <a:pt x="2363819" y="0"/>
                  <a:pt x="2260356" y="41642"/>
                </a:cubicBezTo>
                <a:cubicBezTo>
                  <a:pt x="2235449" y="49213"/>
                  <a:pt x="2208625" y="37856"/>
                  <a:pt x="2199045" y="15142"/>
                </a:cubicBezTo>
                <a:cubicBezTo>
                  <a:pt x="2197129" y="9464"/>
                  <a:pt x="2197129" y="5678"/>
                  <a:pt x="2197129" y="0"/>
                </a:cubicBezTo>
                <a:close/>
              </a:path>
            </a:pathLst>
          </a:custGeom>
          <a:solidFill>
            <a:srgbClr val="D72027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566888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cs typeface="Arial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285" y="1179576"/>
            <a:ext cx="4707555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285" y="274320"/>
            <a:ext cx="4707555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784569227"/>
      </p:ext>
    </p:extLst>
  </p:cSld>
  <p:clrMapOvr>
    <a:masterClrMapping/>
  </p:clrMapOvr>
  <p:transition spd="med"/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3" y="274320"/>
            <a:ext cx="9713572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41" y="1179577"/>
            <a:ext cx="11073385" cy="5212835"/>
          </a:xfrm>
          <a:prstGeom prst="rect">
            <a:avLst/>
          </a:prstGeom>
        </p:spPr>
        <p:txBody>
          <a:bodyPr lIns="91420" tIns="639946" rIns="91420" bIns="45710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</p:spTree>
    <p:extLst>
      <p:ext uri="{BB962C8B-B14F-4D97-AF65-F5344CB8AC3E}">
        <p14:creationId xmlns:p14="http://schemas.microsoft.com/office/powerpoint/2010/main" val="2028109068"/>
      </p:ext>
    </p:extLst>
  </p:cSld>
  <p:clrMapOvr>
    <a:masterClrMapping/>
  </p:clrMapOvr>
  <p:transition spd="med"/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895739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ynamic Photo option 3 - 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0901" y="1295400"/>
            <a:ext cx="2513945" cy="1371600"/>
          </a:xfrm>
          <a:prstGeom prst="rect">
            <a:avLst/>
          </a:prstGeom>
        </p:spPr>
        <p:txBody>
          <a:bodyPr lIns="0"/>
          <a:lstStyle>
            <a:lvl1pPr marL="0" indent="0" algn="r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50000"/>
              <a:buFont typeface="LucidaGrande" charset="0"/>
              <a:buNone/>
              <a:tabLst/>
              <a:defRPr sz="2000">
                <a:solidFill>
                  <a:schemeClr val="bg2"/>
                </a:solidFill>
              </a:defRPr>
            </a:lvl1pPr>
            <a:lvl2pPr marL="226957" indent="0">
              <a:spcBef>
                <a:spcPts val="0"/>
              </a:spcBef>
              <a:spcAft>
                <a:spcPts val="1200"/>
              </a:spcAft>
              <a:buNone/>
              <a:defRPr sz="1800">
                <a:solidFill>
                  <a:schemeClr val="bg2"/>
                </a:solidFill>
              </a:defRPr>
            </a:lvl2pPr>
            <a:lvl3pPr marL="687216" indent="0">
              <a:spcBef>
                <a:spcPts val="0"/>
              </a:spcBef>
              <a:spcAft>
                <a:spcPts val="1200"/>
              </a:spcAft>
              <a:buNone/>
              <a:defRPr sz="1400">
                <a:solidFill>
                  <a:schemeClr val="bg2"/>
                </a:solidFill>
              </a:defRPr>
            </a:lvl3pPr>
            <a:lvl4pPr marL="1028443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4pPr>
            <a:lvl5pPr marL="1374431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32607" y="304800"/>
            <a:ext cx="11123613" cy="792163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1096963"/>
            <a:ext cx="1224976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71026" y="1295400"/>
            <a:ext cx="3657303" cy="1371600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50000"/>
              <a:buFontTx/>
              <a:buNone/>
              <a:tabLst/>
              <a:defRPr sz="2000">
                <a:solidFill>
                  <a:schemeClr val="accent4"/>
                </a:solidFill>
              </a:defRPr>
            </a:lvl1pPr>
            <a:lvl2pPr marL="226957" indent="0">
              <a:spcBef>
                <a:spcPts val="0"/>
              </a:spcBef>
              <a:spcAft>
                <a:spcPts val="1200"/>
              </a:spcAft>
              <a:buNone/>
              <a:defRPr sz="1800">
                <a:solidFill>
                  <a:schemeClr val="bg2"/>
                </a:solidFill>
              </a:defRPr>
            </a:lvl2pPr>
            <a:lvl3pPr marL="687216" indent="0">
              <a:spcBef>
                <a:spcPts val="0"/>
              </a:spcBef>
              <a:spcAft>
                <a:spcPts val="1200"/>
              </a:spcAft>
              <a:buNone/>
              <a:defRPr sz="1400">
                <a:solidFill>
                  <a:schemeClr val="bg2"/>
                </a:solidFill>
              </a:defRPr>
            </a:lvl3pPr>
            <a:lvl4pPr marL="1028443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4pPr>
            <a:lvl5pPr marL="1374431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0901" y="3581400"/>
            <a:ext cx="2513945" cy="2133600"/>
          </a:xfrm>
          <a:prstGeom prst="rect">
            <a:avLst/>
          </a:prstGeom>
        </p:spPr>
        <p:txBody>
          <a:bodyPr lIns="0"/>
          <a:lstStyle>
            <a:lvl1pPr marL="0" indent="0" algn="r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50000"/>
              <a:buFont typeface="LucidaGrande" charset="0"/>
              <a:buNone/>
              <a:tabLst/>
              <a:defRPr sz="2000">
                <a:solidFill>
                  <a:schemeClr val="bg2"/>
                </a:solidFill>
              </a:defRPr>
            </a:lvl1pPr>
            <a:lvl2pPr marL="226957" indent="0">
              <a:spcBef>
                <a:spcPts val="0"/>
              </a:spcBef>
              <a:spcAft>
                <a:spcPts val="1200"/>
              </a:spcAft>
              <a:buNone/>
              <a:defRPr sz="1800">
                <a:solidFill>
                  <a:schemeClr val="bg2"/>
                </a:solidFill>
              </a:defRPr>
            </a:lvl2pPr>
            <a:lvl3pPr marL="687216" indent="0">
              <a:spcBef>
                <a:spcPts val="0"/>
              </a:spcBef>
              <a:spcAft>
                <a:spcPts val="1200"/>
              </a:spcAft>
              <a:buNone/>
              <a:defRPr sz="1400">
                <a:solidFill>
                  <a:schemeClr val="bg2"/>
                </a:solidFill>
              </a:defRPr>
            </a:lvl3pPr>
            <a:lvl4pPr marL="1028443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4pPr>
            <a:lvl5pPr marL="1374431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2971026" y="3581400"/>
            <a:ext cx="3657303" cy="2133600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SzPct val="50000"/>
              <a:buFontTx/>
              <a:buNone/>
              <a:tabLst/>
              <a:defRPr sz="2000">
                <a:solidFill>
                  <a:schemeClr val="accent4"/>
                </a:solidFill>
              </a:defRPr>
            </a:lvl1pPr>
            <a:lvl2pPr marL="226957" indent="0">
              <a:spcBef>
                <a:spcPts val="0"/>
              </a:spcBef>
              <a:spcAft>
                <a:spcPts val="1200"/>
              </a:spcAft>
              <a:buNone/>
              <a:defRPr sz="1800">
                <a:solidFill>
                  <a:schemeClr val="bg2"/>
                </a:solidFill>
              </a:defRPr>
            </a:lvl2pPr>
            <a:lvl3pPr marL="687216" indent="0">
              <a:spcBef>
                <a:spcPts val="0"/>
              </a:spcBef>
              <a:spcAft>
                <a:spcPts val="1200"/>
              </a:spcAft>
              <a:buNone/>
              <a:defRPr sz="1400">
                <a:solidFill>
                  <a:schemeClr val="bg2"/>
                </a:solidFill>
              </a:defRPr>
            </a:lvl3pPr>
            <a:lvl4pPr marL="1028443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4pPr>
            <a:lvl5pPr marL="1374431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56143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" y="0"/>
            <a:ext cx="1219200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44" y="2639887"/>
            <a:ext cx="9272403" cy="208819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822630" y="3324781"/>
            <a:ext cx="2049373" cy="683021"/>
          </a:xfrm>
          <a:prstGeom prst="rect">
            <a:avLst/>
          </a:prstGeom>
        </p:spPr>
      </p:pic>
      <p:pic>
        <p:nvPicPr>
          <p:cNvPr id="15" name="Picture 2" descr="C:\Users\kathyp\Dropbox\Brand Experience Team\1_Branding Resources\Lenovo Tagline\Different_is_better-REV-Tag-ONLY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647" y="4985949"/>
            <a:ext cx="4091093" cy="358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4798323"/>
      </p:ext>
    </p:extLst>
  </p:cSld>
  <p:clrMapOvr>
    <a:masterClrMapping/>
  </p:clrMapOvr>
  <p:transition spd="med"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Kickoff 20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03095A03-0A22-4DD4-A9EF-120D014206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53" t="18278" r="719"/>
          <a:stretch/>
        </p:blipFill>
        <p:spPr>
          <a:xfrm>
            <a:off x="1" y="-1"/>
            <a:ext cx="12188826" cy="68580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554BE17-29E9-4425-BB70-53391889A652}"/>
              </a:ext>
            </a:extLst>
          </p:cNvPr>
          <p:cNvSpPr/>
          <p:nvPr userDrawn="1"/>
        </p:nvSpPr>
        <p:spPr>
          <a:xfrm>
            <a:off x="0" y="-1"/>
            <a:ext cx="12188828" cy="6858001"/>
          </a:xfrm>
          <a:prstGeom prst="rect">
            <a:avLst/>
          </a:prstGeom>
          <a:gradFill>
            <a:gsLst>
              <a:gs pos="0">
                <a:schemeClr val="tx2">
                  <a:lumMod val="50000"/>
                  <a:alpha val="3000"/>
                </a:schemeClr>
              </a:gs>
              <a:gs pos="100000">
                <a:schemeClr val="tx1">
                  <a:lumMod val="95000"/>
                  <a:lumOff val="5000"/>
                  <a:alpha val="89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 defTabSz="1212779"/>
            <a:endParaRPr lang="en-US" sz="3199">
              <a:solidFill>
                <a:prstClr val="white"/>
              </a:solidFill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5BF85FCF-07F5-4636-B255-C58A38803D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1" y="752673"/>
            <a:ext cx="4057735" cy="474755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171473" y="2445927"/>
            <a:ext cx="3026145" cy="1008564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2" y="1437137"/>
            <a:ext cx="9960236" cy="3026868"/>
          </a:xfrm>
          <a:prstGeom prst="rect">
            <a:avLst/>
          </a:prstGeom>
        </p:spPr>
        <p:txBody>
          <a:bodyPr lIns="0" tIns="45489" rIns="90981" bIns="45489" anchor="b" anchorCtr="0"/>
          <a:lstStyle>
            <a:lvl1pPr marL="0" algn="l" defTabSz="1212779" rtl="0" eaLnBrk="1" latinLnBrk="0" hangingPunct="1">
              <a:lnSpc>
                <a:spcPts val="6996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27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2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1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38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44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1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569" y="709853"/>
            <a:ext cx="3499484" cy="457120"/>
          </a:xfrm>
          <a:prstGeom prst="rect">
            <a:avLst/>
          </a:prstGeom>
        </p:spPr>
      </p:pic>
      <p:sp>
        <p:nvSpPr>
          <p:cNvPr id="8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 lIns="0" tIns="34130" rIns="68258" bIns="34130"/>
          <a:lstStyle>
            <a:lvl1pPr>
              <a:defRPr cap="none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defTabSz="1212779"/>
            <a:endParaRPr lang="en-US" sz="1066">
              <a:solidFill>
                <a:prstClr val="white">
                  <a:lumMod val="85000"/>
                </a:prstClr>
              </a:solidFill>
              <a:cs typeface="Arial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459769C-DC04-43D8-B4DE-157DC0D37D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171473" y="2445975"/>
            <a:ext cx="3026145" cy="100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62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93"/>
            <a:ext cx="12190415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2" y="1437137"/>
            <a:ext cx="9960236" cy="3026868"/>
          </a:xfrm>
          <a:prstGeom prst="rect">
            <a:avLst/>
          </a:prstGeom>
        </p:spPr>
        <p:txBody>
          <a:bodyPr lIns="0" tIns="45489" rIns="90981" bIns="45489" anchor="b" anchorCtr="0"/>
          <a:lstStyle>
            <a:lvl1pPr marL="0" algn="l" defTabSz="1212779" rtl="0" eaLnBrk="1" latinLnBrk="0" hangingPunct="1">
              <a:lnSpc>
                <a:spcPts val="6996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27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2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1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38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44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1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171473" y="2445927"/>
            <a:ext cx="3026145" cy="1008564"/>
          </a:xfrm>
          <a:prstGeom prst="rect">
            <a:avLst/>
          </a:prstGeom>
        </p:spPr>
      </p:pic>
      <p:sp>
        <p:nvSpPr>
          <p:cNvPr id="6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 lIns="0" tIns="34130" rIns="68258" bIns="34130"/>
          <a:lstStyle>
            <a:lvl1pPr>
              <a:defRPr cap="none">
                <a:solidFill>
                  <a:schemeClr val="tx1"/>
                </a:solidFill>
              </a:defRPr>
            </a:lvl1pPr>
          </a:lstStyle>
          <a:p>
            <a:pPr defTabSz="1212779"/>
            <a:endParaRPr lang="en-US" sz="1066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982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893"/>
            <a:ext cx="12190413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2" y="1437137"/>
            <a:ext cx="9960236" cy="3026868"/>
          </a:xfrm>
          <a:prstGeom prst="rect">
            <a:avLst/>
          </a:prstGeom>
        </p:spPr>
        <p:txBody>
          <a:bodyPr lIns="0" tIns="45489" rIns="90981" bIns="45489" anchor="b" anchorCtr="0"/>
          <a:lstStyle>
            <a:lvl1pPr marL="0" algn="l" defTabSz="1212779" rtl="0" eaLnBrk="1" latinLnBrk="0" hangingPunct="1">
              <a:lnSpc>
                <a:spcPts val="6996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27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2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1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38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44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1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171473" y="2445975"/>
            <a:ext cx="3026145" cy="1008563"/>
          </a:xfrm>
          <a:prstGeom prst="rect">
            <a:avLst/>
          </a:prstGeom>
        </p:spPr>
      </p:pic>
      <p:sp>
        <p:nvSpPr>
          <p:cNvPr id="6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 lIns="0" tIns="34130" rIns="68258" bIns="34130"/>
          <a:lstStyle>
            <a:lvl1pPr>
              <a:defRPr cap="none">
                <a:solidFill>
                  <a:schemeClr val="tx1"/>
                </a:solidFill>
              </a:defRPr>
            </a:lvl1pPr>
          </a:lstStyle>
          <a:p>
            <a:pPr defTabSz="1212779"/>
            <a:endParaRPr lang="en-US" sz="1066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599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893"/>
            <a:ext cx="12190413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2" y="1437137"/>
            <a:ext cx="9960236" cy="3026868"/>
          </a:xfrm>
          <a:prstGeom prst="rect">
            <a:avLst/>
          </a:prstGeom>
        </p:spPr>
        <p:txBody>
          <a:bodyPr lIns="0" tIns="45489" rIns="90981" bIns="45489" anchor="b" anchorCtr="0"/>
          <a:lstStyle>
            <a:lvl1pPr marL="0" algn="l" defTabSz="1212779" rtl="0" eaLnBrk="1" latinLnBrk="0" hangingPunct="1">
              <a:lnSpc>
                <a:spcPts val="6996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27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2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1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38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44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1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171473" y="2445975"/>
            <a:ext cx="3026145" cy="1008563"/>
          </a:xfrm>
          <a:prstGeom prst="rect">
            <a:avLst/>
          </a:prstGeom>
        </p:spPr>
      </p:pic>
      <p:sp>
        <p:nvSpPr>
          <p:cNvPr id="6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 lIns="0" tIns="34130" rIns="68258" bIns="34130"/>
          <a:lstStyle>
            <a:lvl1pPr>
              <a:defRPr cap="none">
                <a:solidFill>
                  <a:schemeClr val="tx1"/>
                </a:solidFill>
              </a:defRPr>
            </a:lvl1pPr>
          </a:lstStyle>
          <a:p>
            <a:pPr defTabSz="1212779"/>
            <a:endParaRPr lang="en-US" sz="1066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7913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893"/>
            <a:ext cx="12190410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2" y="1437137"/>
            <a:ext cx="9960236" cy="3026868"/>
          </a:xfrm>
          <a:prstGeom prst="rect">
            <a:avLst/>
          </a:prstGeom>
        </p:spPr>
        <p:txBody>
          <a:bodyPr lIns="0" tIns="45489" rIns="90981" bIns="45489" anchor="b" anchorCtr="0"/>
          <a:lstStyle>
            <a:lvl1pPr marL="0" algn="l" defTabSz="1212779" rtl="0" eaLnBrk="1" latinLnBrk="0" hangingPunct="1">
              <a:lnSpc>
                <a:spcPts val="6996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27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2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1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38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44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1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171473" y="2445975"/>
            <a:ext cx="3026145" cy="1008563"/>
          </a:xfrm>
          <a:prstGeom prst="rect">
            <a:avLst/>
          </a:prstGeom>
        </p:spPr>
      </p:pic>
      <p:sp>
        <p:nvSpPr>
          <p:cNvPr id="6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 lIns="0" tIns="34130" rIns="68258" bIns="34130"/>
          <a:lstStyle>
            <a:lvl1pPr>
              <a:defRPr cap="none">
                <a:solidFill>
                  <a:schemeClr val="tx1"/>
                </a:solidFill>
              </a:defRPr>
            </a:lvl1pPr>
          </a:lstStyle>
          <a:p>
            <a:pPr defTabSz="1212779"/>
            <a:endParaRPr lang="en-US" sz="1066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721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" y="894"/>
            <a:ext cx="12190409" cy="6857105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2" y="1437137"/>
            <a:ext cx="9960236" cy="3026868"/>
          </a:xfrm>
          <a:prstGeom prst="rect">
            <a:avLst/>
          </a:prstGeom>
        </p:spPr>
        <p:txBody>
          <a:bodyPr lIns="0" tIns="45489" rIns="90981" bIns="45489" anchor="b" anchorCtr="0"/>
          <a:lstStyle>
            <a:lvl1pPr marL="0" algn="l" defTabSz="1212779" rtl="0" eaLnBrk="1" latinLnBrk="0" hangingPunct="1">
              <a:lnSpc>
                <a:spcPts val="6996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27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2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1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38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44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1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171473" y="2445975"/>
            <a:ext cx="3026145" cy="1008563"/>
          </a:xfrm>
          <a:prstGeom prst="rect">
            <a:avLst/>
          </a:prstGeom>
        </p:spPr>
      </p:pic>
      <p:sp>
        <p:nvSpPr>
          <p:cNvPr id="6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 lIns="0" tIns="34130" rIns="68258" bIns="34130"/>
          <a:lstStyle>
            <a:lvl1pPr>
              <a:defRPr cap="none">
                <a:solidFill>
                  <a:schemeClr val="tx1"/>
                </a:solidFill>
              </a:defRPr>
            </a:lvl1pPr>
          </a:lstStyle>
          <a:p>
            <a:pPr defTabSz="1212779"/>
            <a:endParaRPr lang="en-US" sz="1066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465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894"/>
            <a:ext cx="12190410" cy="6857105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2" y="1437137"/>
            <a:ext cx="9960236" cy="3026868"/>
          </a:xfrm>
          <a:prstGeom prst="rect">
            <a:avLst/>
          </a:prstGeom>
        </p:spPr>
        <p:txBody>
          <a:bodyPr lIns="0" tIns="45489" rIns="90981" bIns="45489" anchor="b" anchorCtr="0"/>
          <a:lstStyle>
            <a:lvl1pPr marL="0" algn="l" defTabSz="1212779" rtl="0" eaLnBrk="1" latinLnBrk="0" hangingPunct="1">
              <a:lnSpc>
                <a:spcPts val="6996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27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2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1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38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44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1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171473" y="2445975"/>
            <a:ext cx="3026145" cy="1008563"/>
          </a:xfrm>
          <a:prstGeom prst="rect">
            <a:avLst/>
          </a:prstGeom>
        </p:spPr>
      </p:pic>
      <p:sp>
        <p:nvSpPr>
          <p:cNvPr id="6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 lIns="0" tIns="34130" rIns="68258" bIns="34130"/>
          <a:lstStyle>
            <a:lvl1pPr>
              <a:defRPr cap="none">
                <a:solidFill>
                  <a:schemeClr val="tx1"/>
                </a:solidFill>
              </a:defRPr>
            </a:lvl1pPr>
          </a:lstStyle>
          <a:p>
            <a:pPr defTabSz="1212779"/>
            <a:endParaRPr lang="en-US" sz="1066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6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Kickoff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2902363F-40F5-454F-A397-D23B4455C1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882" r="1788" b="1231"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86" y="1849075"/>
            <a:ext cx="9957815" cy="194767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2779" rtl="0" eaLnBrk="1" latinLnBrk="0" hangingPunct="1">
              <a:lnSpc>
                <a:spcPts val="4999"/>
              </a:lnSpc>
              <a:spcBef>
                <a:spcPct val="0"/>
              </a:spcBef>
              <a:buNone/>
              <a:defRPr lang="en-US" sz="5999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548686" y="3999750"/>
            <a:ext cx="9957815" cy="737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>
                <a:solidFill>
                  <a:schemeClr val="bg1"/>
                </a:solidFill>
              </a:defRPr>
            </a:lvl1pPr>
            <a:lvl2pPr marL="4548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097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64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194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292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84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38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6"/>
            <a:ext cx="1330103" cy="443301"/>
          </a:xfrm>
          <a:prstGeom prst="rect">
            <a:avLst/>
          </a:prstGeom>
        </p:spPr>
      </p:pic>
      <p:sp>
        <p:nvSpPr>
          <p:cNvPr id="9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1212779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7D289425-6127-4820-B585-AB7C9E0CF17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2EA92106-64D9-4E36-8A80-B7DDEDF5DD58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8 Lenovo Internal. All rights reserved.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6304D78A-B6ED-4145-94FE-AB0554113E9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29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Kickoff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8BD663D7-4988-4A19-8650-3CFB19F5EA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3" t="6814" r="-25"/>
          <a:stretch/>
        </p:blipFill>
        <p:spPr>
          <a:xfrm>
            <a:off x="-1" y="0"/>
            <a:ext cx="12192002" cy="68580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6"/>
            <a:ext cx="1330103" cy="443301"/>
          </a:xfrm>
          <a:prstGeom prst="rect">
            <a:avLst/>
          </a:prstGeom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1212779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sp>
        <p:nvSpPr>
          <p:cNvPr id="13" name="Title 16">
            <a:extLst>
              <a:ext uri="{FF2B5EF4-FFF2-40B4-BE49-F238E27FC236}">
                <a16:creationId xmlns:a16="http://schemas.microsoft.com/office/drawing/2014/main" id="{B748A5A1-F581-4D39-B307-32AB0EAB56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8686" y="1849075"/>
            <a:ext cx="9957815" cy="194767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2779" rtl="0" eaLnBrk="1" latinLnBrk="0" hangingPunct="1">
              <a:lnSpc>
                <a:spcPts val="4999"/>
              </a:lnSpc>
              <a:spcBef>
                <a:spcPct val="0"/>
              </a:spcBef>
              <a:buNone/>
              <a:defRPr lang="en-US" sz="5999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0D0C8F7-2F1B-48BA-87E0-29C9393420A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48686" y="3999750"/>
            <a:ext cx="9957815" cy="737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>
                <a:solidFill>
                  <a:schemeClr val="bg1"/>
                </a:solidFill>
              </a:defRPr>
            </a:lvl1pPr>
            <a:lvl2pPr marL="4548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097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64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194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292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84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38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408B89C2-1077-46CC-B865-7A8AD55262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C6C537FF-D46E-4006-899D-F40DA584F6B2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8 Lenovo Internal. All rights reserved.</a:t>
            </a: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B488EA67-CA6C-41D3-97CB-E314DF857AF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24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ynamic Photo option 3 - 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32606" y="1295400"/>
            <a:ext cx="11123613" cy="4953000"/>
          </a:xfrm>
          <a:prstGeom prst="rect">
            <a:avLst/>
          </a:prstGeom>
        </p:spPr>
        <p:txBody>
          <a:bodyPr lIns="0" numCol="3" spcCol="274320"/>
          <a:lstStyle>
            <a:lvl1pPr marL="231717" indent="-231717"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SzPct val="50000"/>
              <a:buFont typeface="LucidaGrande" charset="0"/>
              <a:buChar char="▶︎"/>
              <a:tabLst/>
              <a:defRPr sz="2000">
                <a:solidFill>
                  <a:schemeClr val="bg2"/>
                </a:solidFill>
              </a:defRPr>
            </a:lvl1pPr>
            <a:lvl2pPr marL="226957" indent="0">
              <a:spcBef>
                <a:spcPts val="0"/>
              </a:spcBef>
              <a:spcAft>
                <a:spcPts val="1200"/>
              </a:spcAft>
              <a:buNone/>
              <a:defRPr sz="1800">
                <a:solidFill>
                  <a:schemeClr val="bg2"/>
                </a:solidFill>
              </a:defRPr>
            </a:lvl2pPr>
            <a:lvl3pPr marL="687216" indent="0">
              <a:spcBef>
                <a:spcPts val="0"/>
              </a:spcBef>
              <a:spcAft>
                <a:spcPts val="1200"/>
              </a:spcAft>
              <a:buNone/>
              <a:defRPr sz="1400">
                <a:solidFill>
                  <a:schemeClr val="bg2"/>
                </a:solidFill>
              </a:defRPr>
            </a:lvl3pPr>
            <a:lvl4pPr marL="1028443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4pPr>
            <a:lvl5pPr marL="1374431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32607" y="304800"/>
            <a:ext cx="11123613" cy="792163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1096963"/>
            <a:ext cx="12249769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660492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Kickoff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88C10AD9-DD98-4EE4-90DD-4AAEB674D9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69" t="20876" r="3579"/>
          <a:stretch/>
        </p:blipFill>
        <p:spPr>
          <a:xfrm>
            <a:off x="1" y="0"/>
            <a:ext cx="12188824" cy="6858000"/>
          </a:xfrm>
          <a:prstGeom prst="rect">
            <a:avLst/>
          </a:prstGeom>
        </p:spPr>
      </p:pic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86" y="1849075"/>
            <a:ext cx="9957815" cy="194767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2779" rtl="0" eaLnBrk="1" latinLnBrk="0" hangingPunct="1">
              <a:lnSpc>
                <a:spcPts val="4999"/>
              </a:lnSpc>
              <a:spcBef>
                <a:spcPct val="0"/>
              </a:spcBef>
              <a:buNone/>
              <a:defRPr lang="en-US" sz="5999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548686" y="3999750"/>
            <a:ext cx="9957815" cy="737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>
                <a:solidFill>
                  <a:schemeClr val="bg1"/>
                </a:solidFill>
              </a:defRPr>
            </a:lvl1pPr>
            <a:lvl2pPr marL="4548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097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64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194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292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84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38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2"/>
            <a:ext cx="1330103" cy="443301"/>
          </a:xfrm>
          <a:prstGeom prst="rect">
            <a:avLst/>
          </a:prstGeom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 defTabSz="1212779"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1E2E9537-8CE0-460C-ADF5-D647FED783E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59A26545-EFB4-4A01-9724-AB58167333C8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3DC47FF-8B67-45FF-8A53-3051703138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22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Kickoff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04DCA39D-7E56-471C-84D9-60F92D4010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697" t="17853" r="7577" b="35613"/>
          <a:stretch/>
        </p:blipFill>
        <p:spPr>
          <a:xfrm>
            <a:off x="-1" y="2"/>
            <a:ext cx="12192002" cy="6857999"/>
          </a:xfrm>
          <a:prstGeom prst="rect">
            <a:avLst/>
          </a:prstGeom>
        </p:spPr>
      </p:pic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86" y="1849075"/>
            <a:ext cx="9957815" cy="194767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2779" rtl="0" eaLnBrk="1" latinLnBrk="0" hangingPunct="1">
              <a:lnSpc>
                <a:spcPts val="4999"/>
              </a:lnSpc>
              <a:spcBef>
                <a:spcPct val="0"/>
              </a:spcBef>
              <a:buNone/>
              <a:defRPr lang="en-US" sz="5999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548686" y="3999750"/>
            <a:ext cx="9957815" cy="737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>
                <a:solidFill>
                  <a:schemeClr val="bg1"/>
                </a:solidFill>
              </a:defRPr>
            </a:lvl1pPr>
            <a:lvl2pPr marL="4548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097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64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194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292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84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38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2"/>
            <a:ext cx="1330103" cy="443301"/>
          </a:xfrm>
          <a:prstGeom prst="rect">
            <a:avLst/>
          </a:prstGeom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 defTabSz="1212779"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213EFBD4-B902-41B6-B471-E0A3C450AA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5C67212B-3BBA-472D-B3E2-6F682624235D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8 Lenovo Internal. All rights reserved.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9A912BF4-6D8F-46A1-9C82-095764E41B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B98DE7D-DC39-40A9-B8D8-AEECE3BAC02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6"/>
            <a:ext cx="1330103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214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_Kickoff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>
            <a:extLst>
              <a:ext uri="{FF2B5EF4-FFF2-40B4-BE49-F238E27FC236}">
                <a16:creationId xmlns:a16="http://schemas.microsoft.com/office/drawing/2014/main" id="{31126456-5872-4EFE-BAA1-401713F4DB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53" t="18278" r="719"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86" y="1849075"/>
            <a:ext cx="9957815" cy="194767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2779" rtl="0" eaLnBrk="1" latinLnBrk="0" hangingPunct="1">
              <a:lnSpc>
                <a:spcPts val="4999"/>
              </a:lnSpc>
              <a:spcBef>
                <a:spcPct val="0"/>
              </a:spcBef>
              <a:buNone/>
              <a:defRPr lang="en-US" sz="5999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548686" y="3999750"/>
            <a:ext cx="9957815" cy="737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>
                <a:solidFill>
                  <a:schemeClr val="bg1"/>
                </a:solidFill>
              </a:defRPr>
            </a:lvl1pPr>
            <a:lvl2pPr marL="4548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097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64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194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292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84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389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8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 defTabSz="1212779"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213EFBD4-B902-41B6-B471-E0A3C450AA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5C67212B-3BBA-472D-B3E2-6F682624235D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8 Lenovo Internal. All rights reserved.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9A912BF4-6D8F-46A1-9C82-095764E41B3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3EFEB6E0-DAA0-45C3-98E7-185FC28CF3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4984" y="5505446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6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199" kern="1200" cap="all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61128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11748702" y="6395761"/>
            <a:ext cx="443301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87" tIns="45495" rIns="90987" bIns="45495" rtlCol="0" anchor="ctr"/>
          <a:lstStyle/>
          <a:p>
            <a:pPr algn="ctr" defTabSz="1212779"/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8" name="Media Placeholder 2">
            <a:extLst>
              <a:ext uri="{FF2B5EF4-FFF2-40B4-BE49-F238E27FC236}">
                <a16:creationId xmlns:a16="http://schemas.microsoft.com/office/drawing/2014/main" id="{8CFDE5F8-39F9-440D-A853-B0BC2749A5DF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548640" y="1049867"/>
            <a:ext cx="11073384" cy="509746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Insert video</a:t>
            </a:r>
            <a:endParaRPr lang="en-GB"/>
          </a:p>
        </p:txBody>
      </p:sp>
      <p:sp>
        <p:nvSpPr>
          <p:cNvPr id="9" name="Title 28">
            <a:extLst>
              <a:ext uri="{FF2B5EF4-FFF2-40B4-BE49-F238E27FC236}">
                <a16:creationId xmlns:a16="http://schemas.microsoft.com/office/drawing/2014/main" id="{3B6BB75C-E837-46EE-9129-A8390E28B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199" kern="1200" cap="all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609145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96"/>
            <a:ext cx="11073384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629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0">
              <a:buNone/>
              <a:defRPr sz="2666" b="1"/>
            </a:lvl2pPr>
            <a:lvl3pPr marL="1212779" indent="0">
              <a:buNone/>
              <a:defRPr sz="2399" b="1"/>
            </a:lvl3pPr>
            <a:lvl4pPr marL="1819168" indent="0">
              <a:buNone/>
              <a:defRPr sz="2133" b="1"/>
            </a:lvl4pPr>
            <a:lvl5pPr marL="2425561" indent="0">
              <a:buNone/>
              <a:defRPr sz="2133" b="1"/>
            </a:lvl5pPr>
            <a:lvl6pPr marL="3031951" indent="0">
              <a:buNone/>
              <a:defRPr sz="2133" b="1"/>
            </a:lvl6pPr>
            <a:lvl7pPr marL="3638333" indent="0">
              <a:buNone/>
              <a:defRPr sz="2133" b="1"/>
            </a:lvl7pPr>
            <a:lvl8pPr marL="4244721" indent="0">
              <a:buNone/>
              <a:defRPr sz="2133" b="1"/>
            </a:lvl8pPr>
            <a:lvl9pPr marL="4851116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199" kern="1200" cap="all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3084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Subtitle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591056"/>
            <a:ext cx="11073384" cy="4798203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0">
              <a:buNone/>
              <a:defRPr sz="2666" b="1"/>
            </a:lvl2pPr>
            <a:lvl3pPr marL="1212779" indent="0">
              <a:buNone/>
              <a:defRPr sz="2399" b="1"/>
            </a:lvl3pPr>
            <a:lvl4pPr marL="1819168" indent="0">
              <a:buNone/>
              <a:defRPr sz="2133" b="1"/>
            </a:lvl4pPr>
            <a:lvl5pPr marL="2425561" indent="0">
              <a:buNone/>
              <a:defRPr sz="2133" b="1"/>
            </a:lvl5pPr>
            <a:lvl6pPr marL="3031951" indent="0">
              <a:buNone/>
              <a:defRPr sz="2133" b="1"/>
            </a:lvl6pPr>
            <a:lvl7pPr marL="3638333" indent="0">
              <a:buNone/>
              <a:defRPr sz="2133" b="1"/>
            </a:lvl7pPr>
            <a:lvl8pPr marL="4244721" indent="0">
              <a:buNone/>
              <a:defRPr sz="2133" b="1"/>
            </a:lvl8pPr>
            <a:lvl9pPr marL="4851116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76649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96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3069" y="1188776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416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603671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96"/>
            <a:ext cx="6036718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5286" y="0"/>
            <a:ext cx="5353539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38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0394" y="2351669"/>
            <a:ext cx="7921233" cy="878796"/>
          </a:xfrm>
          <a:prstGeom prst="rect">
            <a:avLst/>
          </a:prstGeom>
        </p:spPr>
        <p:txBody>
          <a:bodyPr/>
          <a:lstStyle>
            <a:lvl1pPr algn="l">
              <a:defRPr sz="5065">
                <a:latin typeface="Work Sans" pitchFamily="2" charset="77"/>
              </a:defRPr>
            </a:lvl1pPr>
          </a:lstStyle>
          <a:p>
            <a:r>
              <a:rPr lang="en-US"/>
              <a:t>Sec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47786" y="3399588"/>
            <a:ext cx="7921234" cy="12313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  <a:latin typeface="Work Sans" pitchFamily="2" charset="77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f Needed, additional </a:t>
            </a:r>
            <a:br>
              <a:rPr lang="en-US"/>
            </a:br>
            <a:r>
              <a:rPr lang="en-US"/>
              <a:t>Information can go here.</a:t>
            </a:r>
          </a:p>
        </p:txBody>
      </p:sp>
    </p:spTree>
    <p:extLst>
      <p:ext uri="{BB962C8B-B14F-4D97-AF65-F5344CB8AC3E}">
        <p14:creationId xmlns:p14="http://schemas.microsoft.com/office/powerpoint/2010/main" val="285761100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1339"/>
            <a:ext cx="4061789" cy="6856212"/>
          </a:xfrm>
          <a:prstGeom prst="rect">
            <a:avLst/>
          </a:prstGeom>
        </p:spPr>
      </p:pic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1793" y="-449"/>
            <a:ext cx="8127034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849538"/>
            <a:ext cx="3513152" cy="1926795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199"/>
              </a:lnSpc>
              <a:spcBef>
                <a:spcPts val="0"/>
              </a:spcBef>
              <a:buFont typeface="Arial" panose="020B0604020202020204" pitchFamily="34" charset="0"/>
              <a:buNone/>
              <a:defRPr sz="4666" b="1" strike="noStrike" spc="-151" baseline="0">
                <a:solidFill>
                  <a:schemeClr val="bg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Photo Plus</a:t>
            </a:r>
            <a:br>
              <a:rPr lang="en-US"/>
            </a:br>
            <a:r>
              <a:rPr lang="en-US"/>
              <a:t>Statement</a:t>
            </a:r>
            <a:br>
              <a:rPr lang="en-US"/>
            </a:br>
            <a:r>
              <a:rPr lang="en-US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643" y="2943643"/>
            <a:ext cx="3513150" cy="16416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 baseline="0">
                <a:solidFill>
                  <a:schemeClr val="bg1"/>
                </a:solidFill>
              </a:defRPr>
            </a:lvl1pPr>
            <a:lvl2pPr marL="606390" indent="0">
              <a:buNone/>
              <a:defRPr/>
            </a:lvl2pPr>
            <a:lvl3pPr marL="1212778" indent="0">
              <a:buNone/>
              <a:defRPr/>
            </a:lvl3pPr>
            <a:lvl4pPr marL="1819168" indent="0">
              <a:buNone/>
              <a:defRPr/>
            </a:lvl4pPr>
            <a:lvl5pPr marL="2425561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3" name="Picture 5">
            <a:extLst>
              <a:ext uri="{FF2B5EF4-FFF2-40B4-BE49-F238E27FC236}">
                <a16:creationId xmlns:a16="http://schemas.microsoft.com/office/drawing/2014/main" id="{F150C070-F178-4B71-8B5C-B050417BDC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7215" y="6408533"/>
            <a:ext cx="1593918" cy="208028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F49801D-1030-4101-848B-3F8826074736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22C3FD4-5E49-4B3E-B3A1-DE1C222E6C9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2197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87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1793" y="0"/>
            <a:ext cx="8127034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339"/>
            <a:ext cx="4061789" cy="6856212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849538"/>
            <a:ext cx="3513152" cy="1926795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199"/>
              </a:lnSpc>
              <a:spcBef>
                <a:spcPts val="0"/>
              </a:spcBef>
              <a:buFont typeface="Arial" panose="020B0604020202020204" pitchFamily="34" charset="0"/>
              <a:buNone/>
              <a:defRPr sz="4666" b="1" strike="noStrike" spc="-151" baseline="0">
                <a:solidFill>
                  <a:schemeClr val="bg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Photo Plus</a:t>
            </a:r>
            <a:br>
              <a:rPr lang="en-US"/>
            </a:br>
            <a:r>
              <a:rPr lang="en-US"/>
              <a:t>Statement</a:t>
            </a:r>
            <a:br>
              <a:rPr lang="en-US"/>
            </a:br>
            <a:r>
              <a:rPr lang="en-US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643" y="2943643"/>
            <a:ext cx="3513150" cy="16416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 baseline="0">
                <a:solidFill>
                  <a:schemeClr val="bg1"/>
                </a:solidFill>
              </a:defRPr>
            </a:lvl1pPr>
            <a:lvl2pPr marL="606390" indent="0">
              <a:buNone/>
              <a:defRPr/>
            </a:lvl2pPr>
            <a:lvl3pPr marL="1212778" indent="0">
              <a:buNone/>
              <a:defRPr/>
            </a:lvl3pPr>
            <a:lvl4pPr marL="1819168" indent="0">
              <a:buNone/>
              <a:defRPr/>
            </a:lvl4pPr>
            <a:lvl5pPr marL="2425561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E41908B1-EFDE-443F-8517-B3EC0B9EDE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A6D3BC6-C5A6-4FD1-8ECE-6FA72FAC124E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ADDE8BB6-A91D-4E6D-B3C2-227F1E05CE8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06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1793" y="0"/>
            <a:ext cx="8127034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894"/>
            <a:ext cx="4061789" cy="6857105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849538"/>
            <a:ext cx="3513152" cy="1926795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199"/>
              </a:lnSpc>
              <a:spcBef>
                <a:spcPts val="0"/>
              </a:spcBef>
              <a:buFont typeface="Arial" panose="020B0604020202020204" pitchFamily="34" charset="0"/>
              <a:buNone/>
              <a:defRPr sz="4666" b="1" strike="noStrike" spc="-151" baseline="0">
                <a:solidFill>
                  <a:schemeClr val="bg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Photo Plus</a:t>
            </a:r>
            <a:br>
              <a:rPr lang="en-US"/>
            </a:br>
            <a:r>
              <a:rPr lang="en-US"/>
              <a:t>Statement</a:t>
            </a:r>
            <a:br>
              <a:rPr lang="en-US"/>
            </a:br>
            <a:r>
              <a:rPr lang="en-US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643" y="2943643"/>
            <a:ext cx="3513150" cy="16416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 baseline="0">
                <a:solidFill>
                  <a:schemeClr val="bg1"/>
                </a:solidFill>
              </a:defRPr>
            </a:lvl1pPr>
            <a:lvl2pPr marL="606390" indent="0">
              <a:buNone/>
              <a:defRPr/>
            </a:lvl2pPr>
            <a:lvl3pPr marL="1212778" indent="0">
              <a:buNone/>
              <a:defRPr/>
            </a:lvl3pPr>
            <a:lvl4pPr marL="1819168" indent="0">
              <a:buNone/>
              <a:defRPr/>
            </a:lvl4pPr>
            <a:lvl5pPr marL="2425561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DC17A12C-3EEC-4812-B019-0A7554920E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FE529FE2-AE26-473D-94DD-39245E64D716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D5DD0C9E-61B6-4C4E-BC9E-C9F495BD02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18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1793" y="0"/>
            <a:ext cx="8127034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360"/>
            <a:ext cx="4061789" cy="6856211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849538"/>
            <a:ext cx="3513152" cy="1926795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199"/>
              </a:lnSpc>
              <a:spcBef>
                <a:spcPts val="0"/>
              </a:spcBef>
              <a:buFont typeface="Arial" panose="020B0604020202020204" pitchFamily="34" charset="0"/>
              <a:buNone/>
              <a:defRPr sz="4666" b="1" strike="noStrike" spc="-151" baseline="0">
                <a:solidFill>
                  <a:schemeClr val="bg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Photo Plus</a:t>
            </a:r>
            <a:br>
              <a:rPr lang="en-US"/>
            </a:br>
            <a:r>
              <a:rPr lang="en-US"/>
              <a:t>Statement</a:t>
            </a:r>
            <a:br>
              <a:rPr lang="en-US"/>
            </a:br>
            <a:r>
              <a:rPr lang="en-US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643" y="2943643"/>
            <a:ext cx="3513150" cy="16416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 baseline="0">
                <a:solidFill>
                  <a:schemeClr val="bg1"/>
                </a:solidFill>
              </a:defRPr>
            </a:lvl1pPr>
            <a:lvl2pPr marL="606390" indent="0">
              <a:buNone/>
              <a:defRPr/>
            </a:lvl2pPr>
            <a:lvl3pPr marL="1212778" indent="0">
              <a:buNone/>
              <a:defRPr/>
            </a:lvl3pPr>
            <a:lvl4pPr marL="1819168" indent="0">
              <a:buNone/>
              <a:defRPr/>
            </a:lvl4pPr>
            <a:lvl5pPr marL="2425561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C5DDA5BC-5CF7-4E1F-8A16-1EF192AF8D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A1144EE-1AAE-4241-A194-6ADEBC6E0FDB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106CFA8B-67CA-4B83-8CFB-F806E9ED44B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67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1793" y="0"/>
            <a:ext cx="8127034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1360"/>
            <a:ext cx="4061787" cy="6856211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849538"/>
            <a:ext cx="3513152" cy="1926795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199"/>
              </a:lnSpc>
              <a:spcBef>
                <a:spcPts val="0"/>
              </a:spcBef>
              <a:buFont typeface="Arial" panose="020B0604020202020204" pitchFamily="34" charset="0"/>
              <a:buNone/>
              <a:defRPr sz="4666" b="1" strike="noStrike" spc="-151" baseline="0">
                <a:solidFill>
                  <a:schemeClr val="bg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Photo Plus</a:t>
            </a:r>
            <a:br>
              <a:rPr lang="en-US"/>
            </a:br>
            <a:r>
              <a:rPr lang="en-US"/>
              <a:t>Statement</a:t>
            </a:r>
            <a:br>
              <a:rPr lang="en-US"/>
            </a:br>
            <a:r>
              <a:rPr lang="en-US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643" y="2943643"/>
            <a:ext cx="3513150" cy="16416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 baseline="0">
                <a:solidFill>
                  <a:schemeClr val="bg1"/>
                </a:solidFill>
              </a:defRPr>
            </a:lvl1pPr>
            <a:lvl2pPr marL="606390" indent="0">
              <a:buNone/>
              <a:defRPr/>
            </a:lvl2pPr>
            <a:lvl3pPr marL="1212778" indent="0">
              <a:buNone/>
              <a:defRPr/>
            </a:lvl3pPr>
            <a:lvl4pPr marL="1819168" indent="0">
              <a:buNone/>
              <a:defRPr/>
            </a:lvl4pPr>
            <a:lvl5pPr marL="2425561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AB324B82-0806-43C7-9A79-F032A48310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1CBDACF2-F04D-4442-A1A7-FB3C80CBB124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C89260C6-0E2D-43D8-AB79-55E064B010A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92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1793" y="0"/>
            <a:ext cx="8127034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" y="1360"/>
            <a:ext cx="4061786" cy="6856211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849538"/>
            <a:ext cx="3513152" cy="1926795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199"/>
              </a:lnSpc>
              <a:spcBef>
                <a:spcPts val="0"/>
              </a:spcBef>
              <a:buFont typeface="Arial" panose="020B0604020202020204" pitchFamily="34" charset="0"/>
              <a:buNone/>
              <a:defRPr sz="4666" b="1" strike="noStrike" spc="-151" baseline="0">
                <a:solidFill>
                  <a:schemeClr val="bg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Photo Plus</a:t>
            </a:r>
            <a:br>
              <a:rPr lang="en-US"/>
            </a:br>
            <a:r>
              <a:rPr lang="en-US"/>
              <a:t>Statement</a:t>
            </a:r>
            <a:br>
              <a:rPr lang="en-US"/>
            </a:br>
            <a:r>
              <a:rPr lang="en-US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643" y="2943643"/>
            <a:ext cx="3513150" cy="16416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8"/>
              </a:lnSpc>
              <a:spcBef>
                <a:spcPts val="0"/>
              </a:spcBef>
              <a:buNone/>
              <a:defRPr sz="2399" spc="-151" baseline="0">
                <a:solidFill>
                  <a:schemeClr val="bg1"/>
                </a:solidFill>
              </a:defRPr>
            </a:lvl1pPr>
            <a:lvl2pPr marL="606390" indent="0">
              <a:buNone/>
              <a:defRPr/>
            </a:lvl2pPr>
            <a:lvl3pPr marL="1212778" indent="0">
              <a:buNone/>
              <a:defRPr/>
            </a:lvl3pPr>
            <a:lvl4pPr marL="1819168" indent="0">
              <a:buNone/>
              <a:defRPr/>
            </a:lvl4pPr>
            <a:lvl5pPr marL="2425561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1" name="Picture 11">
            <a:extLst>
              <a:ext uri="{FF2B5EF4-FFF2-40B4-BE49-F238E27FC236}">
                <a16:creationId xmlns:a16="http://schemas.microsoft.com/office/drawing/2014/main" id="{9FF9DA0A-4749-4C57-AE81-2DF6ED9756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431A5AAC-FACD-46EA-9011-4897DA103CC3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F7AF8DBA-7766-4AFC-B3A8-28DCB15FEB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71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00"/>
            <a:ext cx="12191998" cy="68579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030" y="396241"/>
            <a:ext cx="988810" cy="739140"/>
          </a:xfrm>
          <a:prstGeom prst="rect">
            <a:avLst/>
          </a:prstGeom>
        </p:spPr>
      </p:pic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641" y="1276397"/>
            <a:ext cx="10165080" cy="3242641"/>
          </a:xfrm>
          <a:prstGeom prst="rect">
            <a:avLst/>
          </a:prstGeom>
        </p:spPr>
        <p:txBody>
          <a:bodyPr lIns="68258" tIns="34130" rIns="68258" bIns="3413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399" b="1" spc="-151">
                <a:solidFill>
                  <a:schemeClr val="bg1"/>
                </a:solidFill>
              </a:defRPr>
            </a:lvl1pPr>
            <a:lvl2pPr marL="339568" indent="0" algn="ctr">
              <a:buNone/>
              <a:defRPr>
                <a:solidFill>
                  <a:schemeClr val="bg1"/>
                </a:solidFill>
              </a:defRPr>
            </a:lvl2pPr>
            <a:lvl3pPr marL="675988" indent="0" algn="ctr">
              <a:buNone/>
              <a:defRPr>
                <a:solidFill>
                  <a:schemeClr val="bg1"/>
                </a:solidFill>
              </a:defRPr>
            </a:lvl3pPr>
            <a:lvl4pPr marL="961850" indent="0" algn="ctr">
              <a:buNone/>
              <a:defRPr>
                <a:solidFill>
                  <a:schemeClr val="bg1"/>
                </a:solidFill>
              </a:defRPr>
            </a:lvl4pPr>
            <a:lvl5pPr marL="1140328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19703" y="4623891"/>
            <a:ext cx="10165080" cy="876300"/>
          </a:xfrm>
          <a:prstGeom prst="rect">
            <a:avLst/>
          </a:prstGeom>
        </p:spPr>
        <p:txBody>
          <a:bodyPr lIns="68258" tIns="34130" rIns="68258" bIns="34130"/>
          <a:lstStyle>
            <a:lvl1pPr marL="0" indent="0" algn="l">
              <a:buNone/>
              <a:defRPr sz="2399" b="1" spc="-151">
                <a:solidFill>
                  <a:schemeClr val="tx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sp>
        <p:nvSpPr>
          <p:cNvPr id="14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1212779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6"/>
            <a:ext cx="1330103" cy="443301"/>
          </a:xfrm>
          <a:prstGeom prst="rect">
            <a:avLst/>
          </a:prstGeom>
        </p:spPr>
      </p:pic>
      <p:pic>
        <p:nvPicPr>
          <p:cNvPr id="13" name="Picture 11">
            <a:extLst>
              <a:ext uri="{FF2B5EF4-FFF2-40B4-BE49-F238E27FC236}">
                <a16:creationId xmlns:a16="http://schemas.microsoft.com/office/drawing/2014/main" id="{78D476E6-D25A-4CE2-922D-D9E687407F0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B666F2B0-3EBB-4FDD-95E4-F2C975F723FF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699DFC56-1E53-41CF-B891-2DD81B04AC4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630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900"/>
            <a:ext cx="12192002" cy="6857999"/>
          </a:xfrm>
          <a:prstGeom prst="rect">
            <a:avLst/>
          </a:prstGeom>
        </p:spPr>
      </p:pic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641" y="1276397"/>
            <a:ext cx="10165080" cy="3242641"/>
          </a:xfrm>
          <a:prstGeom prst="rect">
            <a:avLst/>
          </a:prstGeom>
        </p:spPr>
        <p:txBody>
          <a:bodyPr lIns="68258" tIns="34130" rIns="68258" bIns="3413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399" b="1" spc="-151">
                <a:solidFill>
                  <a:schemeClr val="bg1"/>
                </a:solidFill>
              </a:defRPr>
            </a:lvl1pPr>
            <a:lvl2pPr marL="339568" indent="0" algn="ctr">
              <a:buNone/>
              <a:defRPr>
                <a:solidFill>
                  <a:schemeClr val="bg1"/>
                </a:solidFill>
              </a:defRPr>
            </a:lvl2pPr>
            <a:lvl3pPr marL="675988" indent="0" algn="ctr">
              <a:buNone/>
              <a:defRPr>
                <a:solidFill>
                  <a:schemeClr val="bg1"/>
                </a:solidFill>
              </a:defRPr>
            </a:lvl3pPr>
            <a:lvl4pPr marL="961850" indent="0" algn="ctr">
              <a:buNone/>
              <a:defRPr>
                <a:solidFill>
                  <a:schemeClr val="bg1"/>
                </a:solidFill>
              </a:defRPr>
            </a:lvl4pPr>
            <a:lvl5pPr marL="1140328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19703" y="4623891"/>
            <a:ext cx="10165080" cy="876300"/>
          </a:xfrm>
          <a:prstGeom prst="rect">
            <a:avLst/>
          </a:prstGeom>
        </p:spPr>
        <p:txBody>
          <a:bodyPr lIns="68258" tIns="34130" rIns="68258" bIns="34130"/>
          <a:lstStyle>
            <a:lvl1pPr marL="0" indent="0" algn="l">
              <a:buNone/>
              <a:defRPr sz="2399" b="1" spc="-151">
                <a:solidFill>
                  <a:schemeClr val="tx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028" y="396256"/>
            <a:ext cx="988809" cy="739139"/>
          </a:xfrm>
          <a:prstGeom prst="rect">
            <a:avLst/>
          </a:prstGeom>
        </p:spPr>
      </p:pic>
      <p:sp>
        <p:nvSpPr>
          <p:cNvPr id="11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1212779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6"/>
            <a:ext cx="1330103" cy="443301"/>
          </a:xfrm>
          <a:prstGeom prst="rect">
            <a:avLst/>
          </a:prstGeom>
        </p:spPr>
      </p:pic>
      <p:pic>
        <p:nvPicPr>
          <p:cNvPr id="14" name="Picture 11">
            <a:extLst>
              <a:ext uri="{FF2B5EF4-FFF2-40B4-BE49-F238E27FC236}">
                <a16:creationId xmlns:a16="http://schemas.microsoft.com/office/drawing/2014/main" id="{EF783C7C-DE27-46F8-976B-C0775180C3B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C0BC0B3C-EAFD-4AAB-8EF0-19F2A0E827E3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6084B8CE-59DC-468C-95C8-CAB6D7D4570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98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00"/>
            <a:ext cx="12191998" cy="6857999"/>
          </a:xfrm>
          <a:prstGeom prst="rect">
            <a:avLst/>
          </a:prstGeom>
        </p:spPr>
      </p:pic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641" y="1276397"/>
            <a:ext cx="10165080" cy="3242641"/>
          </a:xfrm>
          <a:prstGeom prst="rect">
            <a:avLst/>
          </a:prstGeom>
        </p:spPr>
        <p:txBody>
          <a:bodyPr lIns="68258" tIns="34130" rIns="68258" bIns="3413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399" b="1" spc="-151">
                <a:solidFill>
                  <a:schemeClr val="bg1"/>
                </a:solidFill>
              </a:defRPr>
            </a:lvl1pPr>
            <a:lvl2pPr marL="339568" indent="0" algn="ctr">
              <a:buNone/>
              <a:defRPr>
                <a:solidFill>
                  <a:schemeClr val="bg1"/>
                </a:solidFill>
              </a:defRPr>
            </a:lvl2pPr>
            <a:lvl3pPr marL="675988" indent="0" algn="ctr">
              <a:buNone/>
              <a:defRPr>
                <a:solidFill>
                  <a:schemeClr val="bg1"/>
                </a:solidFill>
              </a:defRPr>
            </a:lvl3pPr>
            <a:lvl4pPr marL="961850" indent="0" algn="ctr">
              <a:buNone/>
              <a:defRPr>
                <a:solidFill>
                  <a:schemeClr val="bg1"/>
                </a:solidFill>
              </a:defRPr>
            </a:lvl4pPr>
            <a:lvl5pPr marL="1140328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19703" y="4623891"/>
            <a:ext cx="10165080" cy="876300"/>
          </a:xfrm>
          <a:prstGeom prst="rect">
            <a:avLst/>
          </a:prstGeom>
        </p:spPr>
        <p:txBody>
          <a:bodyPr lIns="68258" tIns="34130" rIns="68258" bIns="34130"/>
          <a:lstStyle>
            <a:lvl1pPr marL="0" indent="0" algn="l">
              <a:buNone/>
              <a:defRPr sz="2399" b="1" spc="-151">
                <a:solidFill>
                  <a:schemeClr val="tx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74" y="396256"/>
            <a:ext cx="987399" cy="739139"/>
          </a:xfrm>
          <a:prstGeom prst="rect">
            <a:avLst/>
          </a:prstGeom>
          <a:ln>
            <a:noFill/>
          </a:ln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1212779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6"/>
            <a:ext cx="1330103" cy="443301"/>
          </a:xfrm>
          <a:prstGeom prst="rect">
            <a:avLst/>
          </a:prstGeom>
        </p:spPr>
      </p:pic>
      <p:pic>
        <p:nvPicPr>
          <p:cNvPr id="13" name="Picture 11">
            <a:extLst>
              <a:ext uri="{FF2B5EF4-FFF2-40B4-BE49-F238E27FC236}">
                <a16:creationId xmlns:a16="http://schemas.microsoft.com/office/drawing/2014/main" id="{16CC24B6-C77B-416D-BC0A-3C19184F22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0B701B75-ED32-49CE-8084-785F20F0EECD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BBAD8B3-7A54-4E69-8CA9-81835B1FA53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516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94"/>
            <a:ext cx="12191998" cy="6857999"/>
          </a:xfrm>
          <a:prstGeom prst="rect">
            <a:avLst/>
          </a:prstGeom>
        </p:spPr>
      </p:pic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641" y="1276397"/>
            <a:ext cx="10165080" cy="3242641"/>
          </a:xfrm>
          <a:prstGeom prst="rect">
            <a:avLst/>
          </a:prstGeom>
        </p:spPr>
        <p:txBody>
          <a:bodyPr lIns="68258" tIns="34130" rIns="68258" bIns="3413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399" b="1" spc="-151">
                <a:solidFill>
                  <a:schemeClr val="bg1"/>
                </a:solidFill>
              </a:defRPr>
            </a:lvl1pPr>
            <a:lvl2pPr marL="339568" indent="0" algn="ctr">
              <a:buNone/>
              <a:defRPr>
                <a:solidFill>
                  <a:schemeClr val="bg1"/>
                </a:solidFill>
              </a:defRPr>
            </a:lvl2pPr>
            <a:lvl3pPr marL="675988" indent="0" algn="ctr">
              <a:buNone/>
              <a:defRPr>
                <a:solidFill>
                  <a:schemeClr val="bg1"/>
                </a:solidFill>
              </a:defRPr>
            </a:lvl3pPr>
            <a:lvl4pPr marL="961850" indent="0" algn="ctr">
              <a:buNone/>
              <a:defRPr>
                <a:solidFill>
                  <a:schemeClr val="bg1"/>
                </a:solidFill>
              </a:defRPr>
            </a:lvl4pPr>
            <a:lvl5pPr marL="1140328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19703" y="4623891"/>
            <a:ext cx="10165080" cy="876300"/>
          </a:xfrm>
          <a:prstGeom prst="rect">
            <a:avLst/>
          </a:prstGeom>
        </p:spPr>
        <p:txBody>
          <a:bodyPr lIns="68258" tIns="34130" rIns="68258" bIns="34130"/>
          <a:lstStyle>
            <a:lvl1pPr marL="0" indent="0" algn="l">
              <a:buNone/>
              <a:defRPr sz="2399" b="1" spc="-151">
                <a:solidFill>
                  <a:schemeClr val="tx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028" y="396240"/>
            <a:ext cx="988808" cy="739139"/>
          </a:xfrm>
          <a:prstGeom prst="rect">
            <a:avLst/>
          </a:prstGeom>
          <a:ln>
            <a:noFill/>
          </a:ln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1212779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6"/>
            <a:ext cx="1330103" cy="443301"/>
          </a:xfrm>
          <a:prstGeom prst="rect">
            <a:avLst/>
          </a:prstGeom>
        </p:spPr>
      </p:pic>
      <p:pic>
        <p:nvPicPr>
          <p:cNvPr id="13" name="Picture 11">
            <a:extLst>
              <a:ext uri="{FF2B5EF4-FFF2-40B4-BE49-F238E27FC236}">
                <a16:creationId xmlns:a16="http://schemas.microsoft.com/office/drawing/2014/main" id="{767EA66D-0EF8-4723-B1B4-28A84E0B3A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DFEB4E12-8F62-498C-8E87-A5E58FBBC7C7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EAEDBC0F-38F3-4505-8B47-0B7E338DDC0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0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878189" y="1944200"/>
            <a:ext cx="10758879" cy="1655233"/>
          </a:xfrm>
          <a:prstGeom prst="rect">
            <a:avLst/>
          </a:prstGeom>
        </p:spPr>
        <p:txBody>
          <a:bodyPr vert="horz" lIns="0"/>
          <a:lstStyle>
            <a:lvl1pPr marL="259010" indent="-380895">
              <a:defRPr lang="en-US" sz="2399" kern="1200" dirty="0" smtClean="0">
                <a:solidFill>
                  <a:schemeClr val="bg1"/>
                </a:solidFill>
                <a:latin typeface="Corbel"/>
                <a:ea typeface="+mn-ea"/>
                <a:cs typeface="Corbel"/>
              </a:defRPr>
            </a:lvl1pPr>
            <a:lvl2pPr>
              <a:defRPr lang="en-US" sz="2133" kern="1200" dirty="0">
                <a:solidFill>
                  <a:schemeClr val="bg1"/>
                </a:solidFill>
                <a:latin typeface="Corbel"/>
                <a:ea typeface="+mn-ea"/>
                <a:cs typeface="Corbel"/>
              </a:defRPr>
            </a:lvl2pPr>
          </a:lstStyle>
          <a:p>
            <a:pPr marL="219396" lvl="0" indent="-341281" algn="l" defTabSz="609433" rtl="0" eaLnBrk="1" latinLnBrk="0" hangingPunct="1">
              <a:spcBef>
                <a:spcPct val="20000"/>
              </a:spcBef>
              <a:buClr>
                <a:schemeClr val="accent2"/>
              </a:buClr>
              <a:buSzPct val="150000"/>
              <a:buFont typeface="Arial"/>
              <a:buChar char="•"/>
            </a:pPr>
            <a:r>
              <a:rPr lang="en-US"/>
              <a:t>Click to edit Master text styles</a:t>
            </a:r>
          </a:p>
          <a:p>
            <a:pPr marL="865394" lvl="1" indent="-380895" algn="l" defTabSz="609433" rtl="0" eaLnBrk="1" latinLnBrk="0" hangingPunct="1">
              <a:spcBef>
                <a:spcPts val="1312"/>
              </a:spcBef>
              <a:buFont typeface="Arial"/>
              <a:buChar char="–"/>
            </a:pPr>
            <a:r>
              <a:rPr lang="en-US"/>
              <a:t>Second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878190" y="1291559"/>
            <a:ext cx="4778189" cy="728133"/>
          </a:xfrm>
          <a:prstGeom prst="rect">
            <a:avLst/>
          </a:prstGeom>
        </p:spPr>
        <p:txBody>
          <a:bodyPr vert="horz" lIns="0" tIns="73152" rIns="0" bIns="0"/>
          <a:lstStyle>
            <a:lvl1pPr marL="0" indent="0">
              <a:buNone/>
              <a:defRPr sz="2133" spc="2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 </a:t>
            </a:r>
          </a:p>
        </p:txBody>
      </p:sp>
    </p:spTree>
    <p:extLst>
      <p:ext uri="{BB962C8B-B14F-4D97-AF65-F5344CB8AC3E}">
        <p14:creationId xmlns:p14="http://schemas.microsoft.com/office/powerpoint/2010/main" val="2241609831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94"/>
            <a:ext cx="12191996" cy="6857999"/>
          </a:xfrm>
          <a:prstGeom prst="rect">
            <a:avLst/>
          </a:prstGeom>
        </p:spPr>
      </p:pic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641" y="1276397"/>
            <a:ext cx="10165080" cy="3242641"/>
          </a:xfrm>
          <a:prstGeom prst="rect">
            <a:avLst/>
          </a:prstGeom>
        </p:spPr>
        <p:txBody>
          <a:bodyPr lIns="68258" tIns="34130" rIns="68258" bIns="3413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399" b="1" spc="-151">
                <a:solidFill>
                  <a:schemeClr val="bg1"/>
                </a:solidFill>
              </a:defRPr>
            </a:lvl1pPr>
            <a:lvl2pPr marL="339568" indent="0" algn="ctr">
              <a:buNone/>
              <a:defRPr>
                <a:solidFill>
                  <a:schemeClr val="bg1"/>
                </a:solidFill>
              </a:defRPr>
            </a:lvl2pPr>
            <a:lvl3pPr marL="675988" indent="0" algn="ctr">
              <a:buNone/>
              <a:defRPr>
                <a:solidFill>
                  <a:schemeClr val="bg1"/>
                </a:solidFill>
              </a:defRPr>
            </a:lvl3pPr>
            <a:lvl4pPr marL="961850" indent="0" algn="ctr">
              <a:buNone/>
              <a:defRPr>
                <a:solidFill>
                  <a:schemeClr val="bg1"/>
                </a:solidFill>
              </a:defRPr>
            </a:lvl4pPr>
            <a:lvl5pPr marL="1140328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19703" y="4623891"/>
            <a:ext cx="10165080" cy="876300"/>
          </a:xfrm>
          <a:prstGeom prst="rect">
            <a:avLst/>
          </a:prstGeom>
        </p:spPr>
        <p:txBody>
          <a:bodyPr lIns="68258" tIns="34130" rIns="68258" bIns="34130"/>
          <a:lstStyle>
            <a:lvl1pPr marL="0" indent="0" algn="l">
              <a:buNone/>
              <a:defRPr sz="2399" b="1" spc="-151">
                <a:solidFill>
                  <a:schemeClr val="tx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027" y="396240"/>
            <a:ext cx="988808" cy="739139"/>
          </a:xfrm>
          <a:prstGeom prst="rect">
            <a:avLst/>
          </a:prstGeom>
          <a:ln>
            <a:noFill/>
          </a:ln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1212779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6"/>
            <a:ext cx="1330103" cy="443301"/>
          </a:xfrm>
          <a:prstGeom prst="rect">
            <a:avLst/>
          </a:prstGeom>
        </p:spPr>
      </p:pic>
      <p:pic>
        <p:nvPicPr>
          <p:cNvPr id="13" name="Picture 11">
            <a:extLst>
              <a:ext uri="{FF2B5EF4-FFF2-40B4-BE49-F238E27FC236}">
                <a16:creationId xmlns:a16="http://schemas.microsoft.com/office/drawing/2014/main" id="{1A3B07E4-A74D-48FC-80CA-A1093E57A9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4FB1FB66-D99B-42F5-8771-3417F257D393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9345B722-6374-43EE-8311-A6B015245C8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20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98"/>
            <a:ext cx="12191996" cy="6857997"/>
          </a:xfrm>
          <a:prstGeom prst="rect">
            <a:avLst/>
          </a:prstGeom>
        </p:spPr>
      </p:pic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641" y="1276397"/>
            <a:ext cx="10165080" cy="3242641"/>
          </a:xfrm>
          <a:prstGeom prst="rect">
            <a:avLst/>
          </a:prstGeom>
        </p:spPr>
        <p:txBody>
          <a:bodyPr lIns="68258" tIns="34130" rIns="68258" bIns="3413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399" b="1" spc="-151">
                <a:solidFill>
                  <a:schemeClr val="bg1"/>
                </a:solidFill>
              </a:defRPr>
            </a:lvl1pPr>
            <a:lvl2pPr marL="339568" indent="0" algn="ctr">
              <a:buNone/>
              <a:defRPr>
                <a:solidFill>
                  <a:schemeClr val="bg1"/>
                </a:solidFill>
              </a:defRPr>
            </a:lvl2pPr>
            <a:lvl3pPr marL="675988" indent="0" algn="ctr">
              <a:buNone/>
              <a:defRPr>
                <a:solidFill>
                  <a:schemeClr val="bg1"/>
                </a:solidFill>
              </a:defRPr>
            </a:lvl3pPr>
            <a:lvl4pPr marL="961850" indent="0" algn="ctr">
              <a:buNone/>
              <a:defRPr>
                <a:solidFill>
                  <a:schemeClr val="bg1"/>
                </a:solidFill>
              </a:defRPr>
            </a:lvl4pPr>
            <a:lvl5pPr marL="1140328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19703" y="4623891"/>
            <a:ext cx="10165080" cy="876300"/>
          </a:xfrm>
          <a:prstGeom prst="rect">
            <a:avLst/>
          </a:prstGeom>
        </p:spPr>
        <p:txBody>
          <a:bodyPr lIns="68258" tIns="34130" rIns="68258" bIns="34130"/>
          <a:lstStyle>
            <a:lvl1pPr marL="0" indent="0" algn="l">
              <a:buNone/>
              <a:defRPr sz="2399" b="1" spc="-151">
                <a:solidFill>
                  <a:schemeClr val="tx1"/>
                </a:solidFill>
              </a:defRPr>
            </a:lvl1pPr>
            <a:lvl2pPr marL="339568" indent="0">
              <a:buNone/>
              <a:defRPr/>
            </a:lvl2pPr>
            <a:lvl3pPr marL="675988" indent="0">
              <a:buNone/>
              <a:defRPr/>
            </a:lvl3pPr>
            <a:lvl4pPr marL="961850" indent="0">
              <a:buNone/>
              <a:defRPr/>
            </a:lvl4pPr>
            <a:lvl5pPr marL="1140328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027" y="396244"/>
            <a:ext cx="988806" cy="739137"/>
          </a:xfrm>
          <a:prstGeom prst="rect">
            <a:avLst/>
          </a:prstGeom>
          <a:ln>
            <a:noFill/>
          </a:ln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1212779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5300" y="5505446"/>
            <a:ext cx="1330103" cy="443301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1DA82516-A486-4BDB-A396-01888F05CC0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  <p:pic>
        <p:nvPicPr>
          <p:cNvPr id="18" name="Picture 11">
            <a:extLst>
              <a:ext uri="{FF2B5EF4-FFF2-40B4-BE49-F238E27FC236}">
                <a16:creationId xmlns:a16="http://schemas.microsoft.com/office/drawing/2014/main" id="{9E935629-C18F-4F4F-BC69-B3694A2A66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10C17B5B-E335-42AE-9817-69B8482E4C1C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53815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" y="898"/>
            <a:ext cx="6585357" cy="6857997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585358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329" y="1179596"/>
            <a:ext cx="4707555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329" y="274320"/>
            <a:ext cx="4707555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F47E3FDB-B61B-4EBD-A6DF-837F28AFC1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F538CD61-73BB-4B27-9019-B0BEF9C7B816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5B92D65-025F-4813-B9DE-188B6285F9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40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" y="894"/>
            <a:ext cx="6585357" cy="6857999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585358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329" y="1179596"/>
            <a:ext cx="4707555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329" y="274320"/>
            <a:ext cx="4707555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DE94CDE2-6805-4344-B919-665CF8D3FF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6ACFE8F7-4EB5-437E-8C6F-3E387356E95B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E1C76F6F-A41F-4F94-99F4-1026865599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706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894"/>
            <a:ext cx="6585358" cy="6857999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585358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329" y="1179596"/>
            <a:ext cx="4707555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329" y="274320"/>
            <a:ext cx="4707555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5A3C60B5-FA0F-4060-A43F-FC237B2F5F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4DA3A9D7-FFC5-468D-91E9-F63EDA10D32B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8B0E8287-041C-4905-A03A-3F0ED81D31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6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00"/>
            <a:ext cx="6585358" cy="6857999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585358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329" y="1179596"/>
            <a:ext cx="4707555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329" y="274320"/>
            <a:ext cx="4707555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73DB8DE7-11DB-4FFD-BB58-69ED73FE61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5820BA57-D89E-47FD-9B94-ECCAB129F836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4D196B6C-7535-444A-9604-4E0D2978875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20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" y="900"/>
            <a:ext cx="6585359" cy="6857999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585358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329" y="1179596"/>
            <a:ext cx="4707555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329" y="274320"/>
            <a:ext cx="4707555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4" name="Picture 11">
            <a:extLst>
              <a:ext uri="{FF2B5EF4-FFF2-40B4-BE49-F238E27FC236}">
                <a16:creationId xmlns:a16="http://schemas.microsoft.com/office/drawing/2014/main" id="{3E7EAD65-830C-4073-8107-F70FFF9EBE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711" y="6409445"/>
            <a:ext cx="1593925" cy="208028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A9B639F7-023B-420E-AA3D-E5992DF7B99A}"/>
              </a:ext>
            </a:extLst>
          </p:cNvPr>
          <p:cNvSpPr txBox="1">
            <a:spLocks/>
          </p:cNvSpPr>
          <p:nvPr userDrawn="1"/>
        </p:nvSpPr>
        <p:spPr>
          <a:xfrm>
            <a:off x="4166028" y="6376510"/>
            <a:ext cx="2413343" cy="3280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/>
                </a:solidFill>
                <a:cs typeface="Arial" pitchFamily="34" charset="0"/>
              </a:rPr>
              <a:t>2017 Lenovo Internal. All rights reserved.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9810D31-0EFB-4121-B656-BB349649FB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1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00"/>
            <a:ext cx="6585358" cy="6857999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585358" cy="6858000"/>
          </a:xfrm>
          <a:prstGeom prst="rect">
            <a:avLst/>
          </a:prstGeom>
        </p:spPr>
        <p:txBody>
          <a:bodyPr lIns="68258" tIns="34130" rIns="68258" bIns="34130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329" y="1179596"/>
            <a:ext cx="4707555" cy="5211699"/>
          </a:xfrm>
          <a:prstGeom prst="rect">
            <a:avLst/>
          </a:prstGeom>
        </p:spPr>
        <p:txBody>
          <a:bodyPr lIns="0" tIns="0" rIns="0" bIns="0"/>
          <a:lstStyle>
            <a:lvl1pPr marL="170551" indent="-17055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386" indent="-227406">
              <a:lnSpc>
                <a:spcPct val="90000"/>
              </a:lnSpc>
              <a:spcBef>
                <a:spcPts val="6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16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1187" indent="-155817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38068" indent="-149492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329" y="274320"/>
            <a:ext cx="4707555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1096" y="6441195"/>
            <a:ext cx="1593925" cy="208028"/>
          </a:xfrm>
          <a:prstGeom prst="rect">
            <a:avLst/>
          </a:prstGeom>
        </p:spPr>
      </p:pic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06033" y="6468889"/>
            <a:ext cx="2413343" cy="16401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2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04C9141A-ADFD-40A2-B5FF-AC28C38915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1742"/>
            <a:ext cx="2178724" cy="25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55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2779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779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85" y="1179579"/>
            <a:ext cx="11073385" cy="5212835"/>
          </a:xfrm>
          <a:prstGeom prst="rect">
            <a:avLst/>
          </a:prstGeom>
        </p:spPr>
        <p:txBody>
          <a:bodyPr lIns="90981" tIns="636869" rIns="90981" bIns="45489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</p:spTree>
    <p:extLst>
      <p:ext uri="{BB962C8B-B14F-4D97-AF65-F5344CB8AC3E}">
        <p14:creationId xmlns:p14="http://schemas.microsoft.com/office/powerpoint/2010/main" val="178591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995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9465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987" tIns="45495" rIns="90987" bIns="45495" rtlCol="0" anchor="ctr"/>
          <a:lstStyle/>
          <a:p>
            <a:pPr algn="ctr" defTabSz="1212779"/>
            <a:endParaRPr lang="en-US" sz="3199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86" y="2639885"/>
            <a:ext cx="9272407" cy="208819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822630" y="3324820"/>
            <a:ext cx="2049373" cy="683021"/>
          </a:xfrm>
          <a:prstGeom prst="rect">
            <a:avLst/>
          </a:prstGeom>
        </p:spPr>
      </p:pic>
      <p:pic>
        <p:nvPicPr>
          <p:cNvPr id="15" name="Picture 2" descr="C:\Users\kathyp\Dropbox\Brand Experience Team\1_Branding Resources\Lenovo Tagline\Different_is_better-REV-Tag-ONLY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6" y="4985953"/>
            <a:ext cx="4091093" cy="358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741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80" y="0"/>
            <a:ext cx="12190413" cy="6857107"/>
          </a:xfrm>
          <a:prstGeom prst="rect">
            <a:avLst/>
          </a:prstGeom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7581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Oval 76"/>
          <p:cNvSpPr/>
          <p:nvPr userDrawn="1"/>
        </p:nvSpPr>
        <p:spPr>
          <a:xfrm>
            <a:off x="3460130" y="5468108"/>
            <a:ext cx="310896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2724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 userDrawn="1"/>
        </p:nvSpPr>
        <p:spPr>
          <a:xfrm>
            <a:off x="2364350" y="5468108"/>
            <a:ext cx="310896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pic>
        <p:nvPicPr>
          <p:cNvPr id="73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721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Oval 70"/>
          <p:cNvSpPr/>
          <p:nvPr userDrawn="1"/>
        </p:nvSpPr>
        <p:spPr>
          <a:xfrm>
            <a:off x="6307303" y="5468108"/>
            <a:ext cx="310896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67" name="Oval 66"/>
          <p:cNvSpPr/>
          <p:nvPr userDrawn="1"/>
        </p:nvSpPr>
        <p:spPr>
          <a:xfrm>
            <a:off x="597033" y="5468108"/>
            <a:ext cx="310896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pic>
        <p:nvPicPr>
          <p:cNvPr id="68" name="Picture 5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5213" y="5515988"/>
            <a:ext cx="214533" cy="215141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 userDrawn="1"/>
        </p:nvGrpSpPr>
        <p:grpSpPr>
          <a:xfrm>
            <a:off x="5236134" y="5463092"/>
            <a:ext cx="310896" cy="315912"/>
            <a:chOff x="5236131" y="5463092"/>
            <a:chExt cx="310896" cy="315912"/>
          </a:xfrm>
        </p:grpSpPr>
        <p:sp>
          <p:nvSpPr>
            <p:cNvPr id="46" name="Oval 4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70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 userDrawn="1"/>
        </p:nvGrpSpPr>
        <p:grpSpPr>
          <a:xfrm>
            <a:off x="1304770" y="5468108"/>
            <a:ext cx="310896" cy="310896"/>
            <a:chOff x="4523337" y="5468108"/>
            <a:chExt cx="310896" cy="310896"/>
          </a:xfrm>
        </p:grpSpPr>
        <p:sp>
          <p:nvSpPr>
            <p:cNvPr id="49" name="Oval 48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1" name="Group 50"/>
          <p:cNvGrpSpPr/>
          <p:nvPr userDrawn="1"/>
        </p:nvGrpSpPr>
        <p:grpSpPr>
          <a:xfrm>
            <a:off x="4495911" y="5442941"/>
            <a:ext cx="365759" cy="365760"/>
            <a:chOff x="2355828" y="5442941"/>
            <a:chExt cx="365760" cy="365760"/>
          </a:xfrm>
        </p:grpSpPr>
        <p:sp>
          <p:nvSpPr>
            <p:cNvPr id="54" name="Oval 53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63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0" y="2048256"/>
            <a:ext cx="8723376" cy="1581912"/>
          </a:xfrm>
          <a:prstGeom prst="rect">
            <a:avLst/>
          </a:prstGeom>
        </p:spPr>
        <p:txBody>
          <a:bodyPr lIns="0" tIns="45710" rIns="91420" bIns="45710" anchor="b" anchorCtr="0"/>
          <a:lstStyle>
            <a:lvl1pPr marL="0" algn="l" defTabSz="1218642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59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 userDrawn="1">
            <p:ph type="ftr" sz="quarter" idx="10"/>
          </p:nvPr>
        </p:nvSpPr>
        <p:spPr>
          <a:xfrm>
            <a:off x="548640" y="6468890"/>
            <a:ext cx="3860800" cy="164019"/>
          </a:xfrm>
        </p:spPr>
        <p:txBody>
          <a:bodyPr lIns="0"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0" y="4059936"/>
            <a:ext cx="8714231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6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2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1"/>
          </p:nvPr>
        </p:nvSpPr>
        <p:spPr>
          <a:xfrm>
            <a:off x="548640" y="4800600"/>
            <a:ext cx="640994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20" name="Rectangle 19"/>
          <p:cNvSpPr/>
          <p:nvPr userDrawn="1"/>
        </p:nvSpPr>
        <p:spPr bwMode="black">
          <a:xfrm>
            <a:off x="548647" y="4557719"/>
            <a:ext cx="1097683" cy="1067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548647" y="4664439"/>
            <a:ext cx="1041909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5471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7398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595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 userDrawn="1"/>
        </p:nvGrpSpPr>
        <p:grpSpPr>
          <a:xfrm>
            <a:off x="2024600" y="5468108"/>
            <a:ext cx="310896" cy="310896"/>
            <a:chOff x="2024598" y="5468108"/>
            <a:chExt cx="310896" cy="310896"/>
          </a:xfrm>
        </p:grpSpPr>
        <p:sp>
          <p:nvSpPr>
            <p:cNvPr id="34" name="Oval 33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52" name="Group 51"/>
          <p:cNvGrpSpPr/>
          <p:nvPr userDrawn="1"/>
        </p:nvGrpSpPr>
        <p:grpSpPr>
          <a:xfrm>
            <a:off x="4879735" y="5468108"/>
            <a:ext cx="310896" cy="310896"/>
            <a:chOff x="4879734" y="5468108"/>
            <a:chExt cx="310896" cy="310896"/>
          </a:xfrm>
        </p:grpSpPr>
        <p:sp>
          <p:nvSpPr>
            <p:cNvPr id="53" name="Oval 5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57" name="Picture 6"/>
            <p:cNvPicPr>
              <a:picLocks noChangeAspect="1" noChangeArrowheads="1"/>
            </p:cNvPicPr>
            <p:nvPr userDrawn="1"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 userDrawn="1"/>
        </p:nvGrpSpPr>
        <p:grpSpPr>
          <a:xfrm>
            <a:off x="5949916" y="5468108"/>
            <a:ext cx="310896" cy="310896"/>
            <a:chOff x="5949915" y="5468108"/>
            <a:chExt cx="310896" cy="310896"/>
          </a:xfrm>
        </p:grpSpPr>
        <p:sp>
          <p:nvSpPr>
            <p:cNvPr id="59" name="Oval 5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60" name="Picture 8"/>
            <p:cNvPicPr>
              <a:picLocks noChangeAspect="1" noChangeArrowheads="1"/>
            </p:cNvPicPr>
            <p:nvPr userDrawn="1"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444980" y="2920590"/>
            <a:ext cx="2616181" cy="871514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3094786" y="5468117"/>
            <a:ext cx="311523" cy="315559"/>
            <a:chOff x="3094779" y="5468108"/>
            <a:chExt cx="311523" cy="315559"/>
          </a:xfrm>
        </p:grpSpPr>
        <p:sp>
          <p:nvSpPr>
            <p:cNvPr id="37" name="Oval 3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69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40" name="Oval 39"/>
          <p:cNvSpPr/>
          <p:nvPr userDrawn="1"/>
        </p:nvSpPr>
        <p:spPr>
          <a:xfrm>
            <a:off x="953427" y="5468108"/>
            <a:ext cx="310896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pic>
        <p:nvPicPr>
          <p:cNvPr id="72" name="Picture 5"/>
          <p:cNvPicPr>
            <a:picLocks noChangeAspect="1" noChangeArrowheads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06777" y="5515988"/>
            <a:ext cx="204196" cy="215141"/>
          </a:xfrm>
          <a:prstGeom prst="rect">
            <a:avLst/>
          </a:prstGeom>
          <a:noFill/>
        </p:spPr>
      </p:pic>
      <p:pic>
        <p:nvPicPr>
          <p:cNvPr id="78" name="Picture 5"/>
          <p:cNvPicPr>
            <a:picLocks noChangeAspect="1" noChangeArrowheads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397860" y="5540157"/>
            <a:ext cx="238430" cy="145035"/>
          </a:xfrm>
          <a:prstGeom prst="rect">
            <a:avLst/>
          </a:prstGeom>
          <a:noFill/>
        </p:spPr>
      </p:pic>
      <p:pic>
        <p:nvPicPr>
          <p:cNvPr id="79" name="Picture 5"/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16729" y="5508046"/>
            <a:ext cx="197701" cy="197481"/>
          </a:xfrm>
          <a:prstGeom prst="rect">
            <a:avLst/>
          </a:prstGeom>
          <a:noFill/>
        </p:spPr>
      </p:pic>
      <p:pic>
        <p:nvPicPr>
          <p:cNvPr id="80" name="Picture 5"/>
          <p:cNvPicPr>
            <a:picLocks noChangeAspect="1" noChangeArrowheads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45758" y="5552726"/>
            <a:ext cx="233986" cy="165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20511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3"/>
            <a:ext cx="12190413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048256"/>
            <a:ext cx="8723376" cy="1581912"/>
          </a:xfrm>
          <a:prstGeom prst="rect">
            <a:avLst/>
          </a:prstGeom>
        </p:spPr>
        <p:txBody>
          <a:bodyPr lIns="0" tIns="45710" rIns="91420" bIns="45710" anchor="b" anchorCtr="0"/>
          <a:lstStyle>
            <a:lvl1pPr marL="0" algn="l" defTabSz="1218642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59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860800" cy="164019"/>
          </a:xfrm>
        </p:spPr>
        <p:txBody>
          <a:bodyPr lIns="0"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640" y="4059936"/>
            <a:ext cx="8714231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6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2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48640" y="4800600"/>
            <a:ext cx="640994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6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9815126" y="3464892"/>
            <a:ext cx="1200545" cy="1199183"/>
          </a:xfrm>
          <a:prstGeom prst="rect">
            <a:avLst/>
          </a:prstGeom>
          <a:ln w="38100">
            <a:noFill/>
          </a:ln>
          <a:effectLst/>
        </p:spPr>
        <p:txBody>
          <a:bodyPr lIns="68577" tIns="34289" rIns="68577" bIns="34289"/>
          <a:lstStyle>
            <a:lvl1pPr>
              <a:defRPr sz="1066"/>
            </a:lvl1pPr>
          </a:lstStyle>
          <a:p>
            <a:pPr marL="0" marR="0" lvl="0" indent="0" defTabSz="9141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158288" y="4770440"/>
            <a:ext cx="1689100" cy="198437"/>
          </a:xfrm>
          <a:prstGeom prst="rect">
            <a:avLst/>
          </a:prstGeom>
        </p:spPr>
        <p:txBody>
          <a:bodyPr lIns="0" tIns="34289" rIns="34289" bIns="34289"/>
          <a:lstStyle>
            <a:lvl1pPr marL="0" indent="0" algn="r">
              <a:buFontTx/>
              <a:buNone/>
              <a:defRPr sz="1066"/>
            </a:lvl1pPr>
            <a:lvl2pPr marL="341216" indent="0" algn="r">
              <a:buFontTx/>
              <a:buNone/>
              <a:defRPr sz="1066"/>
            </a:lvl2pPr>
            <a:lvl3pPr marL="679258" indent="0" algn="r">
              <a:buFontTx/>
              <a:buNone/>
              <a:defRPr sz="1066"/>
            </a:lvl3pPr>
            <a:lvl4pPr marL="966514" indent="0" algn="r">
              <a:buFontTx/>
              <a:buNone/>
              <a:defRPr sz="1066"/>
            </a:lvl4pPr>
            <a:lvl5pPr marL="1145849" indent="0" algn="r">
              <a:buFontTx/>
              <a:buNone/>
              <a:defRPr sz="1066"/>
            </a:lvl5pPr>
          </a:lstStyle>
          <a:p>
            <a:pPr marL="0" marR="0" lvl="0" indent="0" algn="r" defTabSz="9141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@</a:t>
            </a:r>
            <a:r>
              <a:rPr kumimoji="0" lang="en-US" sz="1066" b="0" i="0" u="none" strike="noStrike" kern="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witterhandle</a:t>
            </a:r>
            <a:endParaRPr kumimoji="0" lang="en-US" sz="106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68" name="Group 67"/>
          <p:cNvGrpSpPr/>
          <p:nvPr userDrawn="1"/>
        </p:nvGrpSpPr>
        <p:grpSpPr>
          <a:xfrm>
            <a:off x="9815126" y="4664445"/>
            <a:ext cx="1200545" cy="305127"/>
            <a:chOff x="9815120" y="4664439"/>
            <a:chExt cx="1200544" cy="305126"/>
          </a:xfrm>
          <a:solidFill>
            <a:srgbClr val="4AC0E0"/>
          </a:solidFill>
        </p:grpSpPr>
        <p:sp>
          <p:nvSpPr>
            <p:cNvPr id="69" name="Rectangle 68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141">
                <a:defRPr/>
              </a:pPr>
              <a:endParaRPr lang="en-US" sz="1866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70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0 w 1200544"/>
                <a:gd name="connsiteY2" fmla="*/ 106726 h 106726"/>
                <a:gd name="connsiteX3" fmla="*/ 0 w 1200544"/>
                <a:gd name="connsiteY3" fmla="*/ 0 h 10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141">
                <a:defRPr/>
              </a:pPr>
              <a:endParaRPr lang="en-US" sz="1866" kern="0">
                <a:solidFill>
                  <a:sysClr val="window" lastClr="FFFFFF"/>
                </a:solidFill>
              </a:endParaRPr>
            </a:p>
          </p:txBody>
        </p:sp>
      </p:grpSp>
      <p:sp>
        <p:nvSpPr>
          <p:cNvPr id="54" name="Rectangle 53"/>
          <p:cNvSpPr/>
          <p:nvPr userDrawn="1"/>
        </p:nvSpPr>
        <p:spPr bwMode="black">
          <a:xfrm>
            <a:off x="548647" y="4557719"/>
            <a:ext cx="1097683" cy="1067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cxnSp>
        <p:nvCxnSpPr>
          <p:cNvPr id="63" name="Straight Connector 62"/>
          <p:cNvCxnSpPr/>
          <p:nvPr userDrawn="1"/>
        </p:nvCxnSpPr>
        <p:spPr>
          <a:xfrm>
            <a:off x="548647" y="4664439"/>
            <a:ext cx="1041909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444980" y="2920590"/>
            <a:ext cx="2616181" cy="871514"/>
          </a:xfrm>
          <a:prstGeom prst="rect">
            <a:avLst/>
          </a:prstGeom>
        </p:spPr>
      </p:pic>
      <p:pic>
        <p:nvPicPr>
          <p:cNvPr id="71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7581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Oval 71"/>
          <p:cNvSpPr/>
          <p:nvPr userDrawn="1"/>
        </p:nvSpPr>
        <p:spPr>
          <a:xfrm>
            <a:off x="3460130" y="5468108"/>
            <a:ext cx="310896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pic>
        <p:nvPicPr>
          <p:cNvPr id="73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2724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val 73"/>
          <p:cNvSpPr/>
          <p:nvPr userDrawn="1"/>
        </p:nvSpPr>
        <p:spPr>
          <a:xfrm>
            <a:off x="2364350" y="5468108"/>
            <a:ext cx="310896" cy="3108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pic>
        <p:nvPicPr>
          <p:cNvPr id="75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721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Oval 75"/>
          <p:cNvSpPr/>
          <p:nvPr userDrawn="1"/>
        </p:nvSpPr>
        <p:spPr>
          <a:xfrm>
            <a:off x="6307303" y="5468108"/>
            <a:ext cx="310896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77" name="Oval 76"/>
          <p:cNvSpPr/>
          <p:nvPr userDrawn="1"/>
        </p:nvSpPr>
        <p:spPr>
          <a:xfrm>
            <a:off x="597033" y="5468108"/>
            <a:ext cx="310896" cy="31089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pic>
        <p:nvPicPr>
          <p:cNvPr id="78" name="Picture 5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5213" y="5515988"/>
            <a:ext cx="214533" cy="215141"/>
          </a:xfrm>
          <a:prstGeom prst="rect">
            <a:avLst/>
          </a:prstGeom>
          <a:noFill/>
        </p:spPr>
      </p:pic>
      <p:grpSp>
        <p:nvGrpSpPr>
          <p:cNvPr id="79" name="Group 78"/>
          <p:cNvGrpSpPr/>
          <p:nvPr userDrawn="1"/>
        </p:nvGrpSpPr>
        <p:grpSpPr>
          <a:xfrm>
            <a:off x="5236134" y="5463092"/>
            <a:ext cx="310896" cy="315912"/>
            <a:chOff x="5236131" y="5463092"/>
            <a:chExt cx="310896" cy="315912"/>
          </a:xfrm>
        </p:grpSpPr>
        <p:sp>
          <p:nvSpPr>
            <p:cNvPr id="80" name="Oval 79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81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3092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82" name="Group 81"/>
          <p:cNvGrpSpPr/>
          <p:nvPr userDrawn="1"/>
        </p:nvGrpSpPr>
        <p:grpSpPr>
          <a:xfrm>
            <a:off x="1304770" y="5468108"/>
            <a:ext cx="310896" cy="310896"/>
            <a:chOff x="4523337" y="5468108"/>
            <a:chExt cx="310896" cy="310896"/>
          </a:xfrm>
        </p:grpSpPr>
        <p:sp>
          <p:nvSpPr>
            <p:cNvPr id="83" name="Oval 82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84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85" name="Group 84"/>
          <p:cNvGrpSpPr/>
          <p:nvPr userDrawn="1"/>
        </p:nvGrpSpPr>
        <p:grpSpPr>
          <a:xfrm>
            <a:off x="4495911" y="5442941"/>
            <a:ext cx="365759" cy="365760"/>
            <a:chOff x="2355828" y="5442941"/>
            <a:chExt cx="365760" cy="365760"/>
          </a:xfrm>
        </p:grpSpPr>
        <p:sp>
          <p:nvSpPr>
            <p:cNvPr id="86" name="Oval 85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87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pic>
        <p:nvPicPr>
          <p:cNvPr id="88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5471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7398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595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1" name="Group 90"/>
          <p:cNvGrpSpPr/>
          <p:nvPr userDrawn="1"/>
        </p:nvGrpSpPr>
        <p:grpSpPr>
          <a:xfrm>
            <a:off x="2024600" y="5468108"/>
            <a:ext cx="310896" cy="310896"/>
            <a:chOff x="2024598" y="5468108"/>
            <a:chExt cx="310896" cy="310896"/>
          </a:xfrm>
        </p:grpSpPr>
        <p:sp>
          <p:nvSpPr>
            <p:cNvPr id="92" name="Oval 91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 userDrawn="1"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94" name="Group 93"/>
          <p:cNvGrpSpPr/>
          <p:nvPr userDrawn="1"/>
        </p:nvGrpSpPr>
        <p:grpSpPr>
          <a:xfrm>
            <a:off x="4879735" y="5468108"/>
            <a:ext cx="310896" cy="310896"/>
            <a:chOff x="4879734" y="5468108"/>
            <a:chExt cx="310896" cy="310896"/>
          </a:xfrm>
        </p:grpSpPr>
        <p:sp>
          <p:nvSpPr>
            <p:cNvPr id="95" name="Oval 94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96" name="Picture 6"/>
            <p:cNvPicPr>
              <a:picLocks noChangeAspect="1" noChangeArrowheads="1"/>
            </p:cNvPicPr>
            <p:nvPr userDrawn="1"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935867" y="5521169"/>
              <a:ext cx="196609" cy="194742"/>
            </a:xfrm>
            <a:prstGeom prst="rect">
              <a:avLst/>
            </a:prstGeom>
            <a:noFill/>
          </p:spPr>
        </p:pic>
      </p:grpSp>
      <p:grpSp>
        <p:nvGrpSpPr>
          <p:cNvPr id="97" name="Group 96"/>
          <p:cNvGrpSpPr/>
          <p:nvPr userDrawn="1"/>
        </p:nvGrpSpPr>
        <p:grpSpPr>
          <a:xfrm>
            <a:off x="5949916" y="5468108"/>
            <a:ext cx="310896" cy="310896"/>
            <a:chOff x="5949915" y="5468108"/>
            <a:chExt cx="310896" cy="310896"/>
          </a:xfrm>
        </p:grpSpPr>
        <p:sp>
          <p:nvSpPr>
            <p:cNvPr id="98" name="Oval 97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99" name="Picture 8"/>
            <p:cNvPicPr>
              <a:picLocks noChangeAspect="1" noChangeArrowheads="1"/>
            </p:cNvPicPr>
            <p:nvPr userDrawn="1"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007100" y="5527072"/>
              <a:ext cx="185758" cy="188431"/>
            </a:xfrm>
            <a:prstGeom prst="rect">
              <a:avLst/>
            </a:prstGeom>
            <a:noFill/>
          </p:spPr>
        </p:pic>
      </p:grpSp>
      <p:grpSp>
        <p:nvGrpSpPr>
          <p:cNvPr id="100" name="Group 99"/>
          <p:cNvGrpSpPr/>
          <p:nvPr userDrawn="1"/>
        </p:nvGrpSpPr>
        <p:grpSpPr>
          <a:xfrm>
            <a:off x="3094786" y="5468117"/>
            <a:ext cx="311523" cy="315559"/>
            <a:chOff x="3094779" y="5468108"/>
            <a:chExt cx="311523" cy="315559"/>
          </a:xfrm>
        </p:grpSpPr>
        <p:sp>
          <p:nvSpPr>
            <p:cNvPr id="101" name="Oval 100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pic>
          <p:nvPicPr>
            <p:cNvPr id="102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5406" y="5472771"/>
              <a:ext cx="310896" cy="310896"/>
            </a:xfrm>
            <a:prstGeom prst="rect">
              <a:avLst/>
            </a:prstGeom>
            <a:noFill/>
          </p:spPr>
        </p:pic>
      </p:grpSp>
      <p:sp>
        <p:nvSpPr>
          <p:cNvPr id="125" name="Oval 124"/>
          <p:cNvSpPr/>
          <p:nvPr userDrawn="1"/>
        </p:nvSpPr>
        <p:spPr>
          <a:xfrm>
            <a:off x="953427" y="5468108"/>
            <a:ext cx="310896" cy="31089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pic>
        <p:nvPicPr>
          <p:cNvPr id="126" name="Picture 5"/>
          <p:cNvPicPr>
            <a:picLocks noChangeAspect="1" noChangeArrowheads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06777" y="5515988"/>
            <a:ext cx="204196" cy="215141"/>
          </a:xfrm>
          <a:prstGeom prst="rect">
            <a:avLst/>
          </a:prstGeom>
          <a:noFill/>
        </p:spPr>
      </p:pic>
      <p:pic>
        <p:nvPicPr>
          <p:cNvPr id="127" name="Picture 5"/>
          <p:cNvPicPr>
            <a:picLocks noChangeAspect="1" noChangeArrowheads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397860" y="5540157"/>
            <a:ext cx="238430" cy="145035"/>
          </a:xfrm>
          <a:prstGeom prst="rect">
            <a:avLst/>
          </a:prstGeom>
          <a:noFill/>
        </p:spPr>
      </p:pic>
      <p:pic>
        <p:nvPicPr>
          <p:cNvPr id="128" name="Picture 5"/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16729" y="5508046"/>
            <a:ext cx="197701" cy="197481"/>
          </a:xfrm>
          <a:prstGeom prst="rect">
            <a:avLst/>
          </a:prstGeom>
          <a:noFill/>
        </p:spPr>
      </p:pic>
      <p:pic>
        <p:nvPicPr>
          <p:cNvPr id="129" name="Picture 5"/>
          <p:cNvPicPr>
            <a:picLocks noChangeAspect="1" noChangeArrowheads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45758" y="5552726"/>
            <a:ext cx="233986" cy="1658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9482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RED">
    <p:bg>
      <p:bgPr>
        <a:solidFill>
          <a:schemeClr val="bg2">
            <a:lumMod val="50000"/>
            <a:lumOff val="5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2"/>
            <a:ext cx="12190413" cy="6857107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black">
          <a:xfrm>
            <a:off x="0" y="6384640"/>
            <a:ext cx="12192000" cy="473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384631"/>
            <a:ext cx="12188952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860800" cy="1640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764792" y="1709928"/>
            <a:ext cx="9582912" cy="285292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642" rtl="0" eaLnBrk="1" latinLnBrk="0" hangingPunct="1">
              <a:lnSpc>
                <a:spcPts val="6480"/>
              </a:lnSpc>
              <a:spcBef>
                <a:spcPct val="0"/>
              </a:spcBef>
              <a:buNone/>
              <a:defRPr lang="en-US" sz="4799" b="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section header 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764792" y="4589465"/>
            <a:ext cx="9582659" cy="1500187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  <a:lvl2pPr marL="4570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712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4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subtitle text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white">
          <a:xfrm>
            <a:off x="1651780" y="4563275"/>
            <a:ext cx="0" cy="1816895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 bwMode="gray">
          <a:xfrm>
            <a:off x="1592347" y="6329604"/>
            <a:ext cx="118872" cy="11887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white">
          <a:xfrm>
            <a:off x="1171991" y="4087558"/>
            <a:ext cx="347589" cy="34688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43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1748699" y="6395722"/>
            <a:ext cx="443301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srgbClr val="00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130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9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57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11073384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755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11073384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880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Subtitle Conten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591057"/>
            <a:ext cx="11073384" cy="4798203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0">
              <a:buNone/>
              <a:defRPr sz="2666" b="1"/>
            </a:lvl2pPr>
            <a:lvl3pPr marL="1218642" indent="0">
              <a:buNone/>
              <a:defRPr sz="2399" b="1"/>
            </a:lvl3pPr>
            <a:lvl4pPr marL="1827963" indent="0">
              <a:buNone/>
              <a:defRPr sz="2133" b="1"/>
            </a:lvl4pPr>
            <a:lvl5pPr marL="2437284" indent="0">
              <a:buNone/>
              <a:defRPr sz="2133" b="1"/>
            </a:lvl5pPr>
            <a:lvl6pPr marL="3046601" indent="0">
              <a:buNone/>
              <a:defRPr sz="2133" b="1"/>
            </a:lvl6pPr>
            <a:lvl7pPr marL="3655926" indent="0">
              <a:buNone/>
              <a:defRPr sz="2133" b="1"/>
            </a:lvl7pPr>
            <a:lvl8pPr marL="4265243" indent="0">
              <a:buNone/>
              <a:defRPr sz="2133" b="1"/>
            </a:lvl8pPr>
            <a:lvl9pPr marL="4874564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10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48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Conten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0">
              <a:buNone/>
              <a:defRPr sz="2666" b="1"/>
            </a:lvl2pPr>
            <a:lvl3pPr marL="1218642" indent="0">
              <a:buNone/>
              <a:defRPr sz="2399" b="1"/>
            </a:lvl3pPr>
            <a:lvl4pPr marL="1827963" indent="0">
              <a:buNone/>
              <a:defRPr sz="2133" b="1"/>
            </a:lvl4pPr>
            <a:lvl5pPr marL="2437284" indent="0">
              <a:buNone/>
              <a:defRPr sz="2133" b="1"/>
            </a:lvl5pPr>
            <a:lvl6pPr marL="3046601" indent="0">
              <a:buNone/>
              <a:defRPr sz="2133" b="1"/>
            </a:lvl6pPr>
            <a:lvl7pPr marL="3655926" indent="0">
              <a:buNone/>
              <a:defRPr sz="2133" b="1"/>
            </a:lvl7pPr>
            <a:lvl8pPr marL="4265243" indent="0">
              <a:buNone/>
              <a:defRPr sz="2133" b="1"/>
            </a:lvl8pPr>
            <a:lvl9pPr marL="4874564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591057"/>
            <a:ext cx="11073384" cy="4798203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46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5079" y="-25085"/>
            <a:ext cx="3749442" cy="688308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/>
            <a:endParaRPr lang="en-US" sz="23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529" y="781051"/>
            <a:ext cx="2682998" cy="206625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3432" y="3073402"/>
            <a:ext cx="2695931" cy="228176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66"/>
            </a:lvl1pPr>
            <a:lvl2pPr marL="609433" indent="0">
              <a:buNone/>
              <a:defRPr sz="1333"/>
            </a:lvl2pPr>
            <a:lvl3pPr marL="1218866" indent="0">
              <a:buNone/>
              <a:defRPr sz="1333"/>
            </a:lvl3pPr>
            <a:lvl4pPr marL="1828297" indent="0">
              <a:buNone/>
              <a:defRPr sz="1333"/>
            </a:lvl4pPr>
            <a:lvl5pPr marL="2437729" indent="0">
              <a:buNone/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2054603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Slide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2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4" y="1179576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3066" y="1188765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58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4" y="1179576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3066" y="1188765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0537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603671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603671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5286" y="0"/>
            <a:ext cx="5353539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13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72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Imag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5286" y="0"/>
            <a:ext cx="5353539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603671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603671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771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+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3" y="0"/>
            <a:ext cx="12188824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" y="3525796"/>
            <a:ext cx="7884014" cy="2290805"/>
          </a:xfrm>
          <a:prstGeom prst="rect">
            <a:avLst/>
          </a:prstGeom>
          <a:solidFill>
            <a:srgbClr val="FFFFFF">
              <a:alpha val="75000"/>
            </a:srgbClr>
          </a:solidFill>
        </p:spPr>
        <p:txBody>
          <a:bodyPr lIns="411467" tIns="137154" rIns="411467" bIns="137154" anchor="ctr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666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0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91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1" y="893"/>
            <a:ext cx="12188825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1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178" y="993485"/>
            <a:ext cx="8535661" cy="4341743"/>
            <a:chOff x="1828170" y="1258957"/>
            <a:chExt cx="8535661" cy="4341742"/>
          </a:xfrm>
        </p:grpSpPr>
        <p:sp>
          <p:nvSpPr>
            <p:cNvPr id="9" name="Freeform 9"/>
            <p:cNvSpPr>
              <a:spLocks/>
            </p:cNvSpPr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2663" y="1276358"/>
            <a:ext cx="8106674" cy="3242641"/>
          </a:xfrm>
          <a:prstGeom prst="rect">
            <a:avLst/>
          </a:prstGeom>
        </p:spPr>
        <p:txBody>
          <a:bodyPr lIns="68577" tIns="34289" rIns="68577" bIns="34289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599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6013484"/>
            <a:ext cx="1005840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2663" y="5555975"/>
            <a:ext cx="8106674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ctr">
              <a:buNone/>
              <a:defRPr sz="2399" b="1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0725" y="4633143"/>
            <a:ext cx="590550" cy="104775"/>
            <a:chOff x="5738813" y="4606631"/>
            <a:chExt cx="590550" cy="104775"/>
          </a:xfrm>
          <a:solidFill>
            <a:schemeClr val="accent3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3433" y="734071"/>
            <a:ext cx="485134" cy="485135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82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Layout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1" y="893"/>
            <a:ext cx="12188825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1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178" y="993485"/>
            <a:ext cx="8535661" cy="4341743"/>
            <a:chOff x="1828170" y="1258957"/>
            <a:chExt cx="8535661" cy="4341742"/>
          </a:xfrm>
        </p:grpSpPr>
        <p:sp>
          <p:nvSpPr>
            <p:cNvPr id="9" name="Freeform 9"/>
            <p:cNvSpPr>
              <a:spLocks/>
            </p:cNvSpPr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2663" y="1276358"/>
            <a:ext cx="8106674" cy="3242641"/>
          </a:xfrm>
          <a:prstGeom prst="rect">
            <a:avLst/>
          </a:prstGeom>
        </p:spPr>
        <p:txBody>
          <a:bodyPr lIns="68577" tIns="34289" rIns="68577" bIns="34289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599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6013484"/>
            <a:ext cx="1005840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2663" y="5555975"/>
            <a:ext cx="8106674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ctr">
              <a:buNone/>
              <a:defRPr sz="2399" b="1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0725" y="4633143"/>
            <a:ext cx="590550" cy="104775"/>
            <a:chOff x="5738813" y="4606631"/>
            <a:chExt cx="590550" cy="104775"/>
          </a:xfrm>
          <a:solidFill>
            <a:schemeClr val="accent1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3433" y="734071"/>
            <a:ext cx="485134" cy="485135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49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P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1" y="893"/>
            <a:ext cx="12188825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1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178" y="993485"/>
            <a:ext cx="8535661" cy="4341743"/>
            <a:chOff x="1828170" y="1258957"/>
            <a:chExt cx="8535661" cy="4341742"/>
          </a:xfrm>
        </p:grpSpPr>
        <p:sp>
          <p:nvSpPr>
            <p:cNvPr id="9" name="Freeform 9"/>
            <p:cNvSpPr>
              <a:spLocks/>
            </p:cNvSpPr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2663" y="1276358"/>
            <a:ext cx="8106674" cy="3242641"/>
          </a:xfrm>
          <a:prstGeom prst="rect">
            <a:avLst/>
          </a:prstGeom>
        </p:spPr>
        <p:txBody>
          <a:bodyPr lIns="68577" tIns="34289" rIns="68577" bIns="34289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599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6013484"/>
            <a:ext cx="1005840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2663" y="5555975"/>
            <a:ext cx="8106674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ctr">
              <a:buNone/>
              <a:defRPr sz="2399" b="1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0725" y="4633143"/>
            <a:ext cx="590550" cy="104775"/>
            <a:chOff x="5738813" y="4606631"/>
            <a:chExt cx="590550" cy="104775"/>
          </a:xfrm>
          <a:solidFill>
            <a:schemeClr val="accent2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3433" y="734071"/>
            <a:ext cx="485134" cy="485135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033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DARK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1" y="893"/>
            <a:ext cx="12188825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1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178" y="993485"/>
            <a:ext cx="8535661" cy="4341743"/>
            <a:chOff x="1828170" y="1258957"/>
            <a:chExt cx="8535661" cy="4341742"/>
          </a:xfrm>
        </p:grpSpPr>
        <p:sp>
          <p:nvSpPr>
            <p:cNvPr id="9" name="Freeform 9"/>
            <p:cNvSpPr>
              <a:spLocks/>
            </p:cNvSpPr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2663" y="1276358"/>
            <a:ext cx="8106674" cy="3242641"/>
          </a:xfrm>
          <a:prstGeom prst="rect">
            <a:avLst/>
          </a:prstGeom>
        </p:spPr>
        <p:txBody>
          <a:bodyPr lIns="68577" tIns="34289" rIns="68577" bIns="34289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599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6013484"/>
            <a:ext cx="1005840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2663" y="5555975"/>
            <a:ext cx="8106674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ctr">
              <a:buNone/>
              <a:defRPr sz="2399" b="1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0725" y="4633143"/>
            <a:ext cx="590550" cy="104775"/>
            <a:chOff x="5738813" y="4606631"/>
            <a:chExt cx="590550" cy="104775"/>
          </a:xfrm>
          <a:solidFill>
            <a:schemeClr val="accent5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3433" y="734071"/>
            <a:ext cx="485134" cy="485135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27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7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LIGH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1" y="893"/>
            <a:ext cx="12188825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1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178" y="993485"/>
            <a:ext cx="8535661" cy="4341743"/>
            <a:chOff x="1828170" y="1258957"/>
            <a:chExt cx="8535661" cy="4341742"/>
          </a:xfrm>
        </p:grpSpPr>
        <p:sp>
          <p:nvSpPr>
            <p:cNvPr id="9" name="Freeform 9"/>
            <p:cNvSpPr>
              <a:spLocks/>
            </p:cNvSpPr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2663" y="1276358"/>
            <a:ext cx="8106674" cy="3242641"/>
          </a:xfrm>
          <a:prstGeom prst="rect">
            <a:avLst/>
          </a:prstGeom>
        </p:spPr>
        <p:txBody>
          <a:bodyPr lIns="68577" tIns="34289" rIns="68577" bIns="34289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599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6013484"/>
            <a:ext cx="1005840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2663" y="5555975"/>
            <a:ext cx="8106674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ctr">
              <a:buNone/>
              <a:defRPr sz="2399" b="1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0725" y="4633143"/>
            <a:ext cx="590550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3433" y="734071"/>
            <a:ext cx="485134" cy="485135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94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8676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484171" y="1899980"/>
            <a:ext cx="9220488" cy="1981861"/>
            <a:chOff x="1194099" y="1549100"/>
            <a:chExt cx="7058797" cy="1516830"/>
          </a:xfrm>
        </p:grpSpPr>
        <p:sp>
          <p:nvSpPr>
            <p:cNvPr id="19" name="Oval 18"/>
            <p:cNvSpPr/>
            <p:nvPr userDrawn="1"/>
          </p:nvSpPr>
          <p:spPr>
            <a:xfrm>
              <a:off x="1194099" y="1549101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3046203" y="1549100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4894721" y="1549101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736067" y="1549100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2474841" y="4086578"/>
            <a:ext cx="7297342" cy="532039"/>
            <a:chOff x="1856614" y="2807746"/>
            <a:chExt cx="5474432" cy="656216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1856614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5" name="Straight Connector 24"/>
            <p:cNvCxnSpPr/>
            <p:nvPr userDrawn="1"/>
          </p:nvCxnSpPr>
          <p:spPr>
            <a:xfrm>
              <a:off x="3703831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6" name="Straight Connector 25"/>
            <p:cNvCxnSpPr/>
            <p:nvPr userDrawn="1"/>
          </p:nvCxnSpPr>
          <p:spPr>
            <a:xfrm>
              <a:off x="5482986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7" name="Straight Connector 26"/>
            <p:cNvCxnSpPr/>
            <p:nvPr userDrawn="1"/>
          </p:nvCxnSpPr>
          <p:spPr>
            <a:xfrm>
              <a:off x="7331046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</p:grpSp>
      <p:sp>
        <p:nvSpPr>
          <p:cNvPr id="2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476967" y="4831155"/>
            <a:ext cx="2040931" cy="1212192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18037" y="4834037"/>
            <a:ext cx="2040931" cy="1216803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10669" y="4823349"/>
            <a:ext cx="2040931" cy="1219864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766349" y="4827323"/>
            <a:ext cx="2040931" cy="1219864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1018500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1" y="893"/>
            <a:ext cx="12188825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1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178" y="993485"/>
            <a:ext cx="8535661" cy="4341743"/>
            <a:chOff x="1828170" y="1258957"/>
            <a:chExt cx="8535661" cy="4341742"/>
          </a:xfrm>
        </p:grpSpPr>
        <p:sp>
          <p:nvSpPr>
            <p:cNvPr id="9" name="Freeform 9"/>
            <p:cNvSpPr>
              <a:spLocks/>
            </p:cNvSpPr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2663" y="1276358"/>
            <a:ext cx="8106674" cy="3242641"/>
          </a:xfrm>
          <a:prstGeom prst="rect">
            <a:avLst/>
          </a:prstGeom>
        </p:spPr>
        <p:txBody>
          <a:bodyPr lIns="68577" tIns="34289" rIns="68577" bIns="34289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599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6013484"/>
            <a:ext cx="1005840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2663" y="5555975"/>
            <a:ext cx="8106674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ctr">
              <a:buNone/>
              <a:defRPr sz="2399" b="1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0725" y="4633143"/>
            <a:ext cx="590550" cy="104775"/>
            <a:chOff x="5738813" y="4606631"/>
            <a:chExt cx="590550" cy="104775"/>
          </a:xfrm>
          <a:solidFill>
            <a:schemeClr val="accent4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3433" y="734071"/>
            <a:ext cx="485134" cy="485135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2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68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/Produc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 userDrawn="1"/>
        </p:nvSpPr>
        <p:spPr>
          <a:xfrm>
            <a:off x="1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48" name="Oval 47"/>
          <p:cNvSpPr/>
          <p:nvPr userDrawn="1"/>
        </p:nvSpPr>
        <p:spPr>
          <a:xfrm>
            <a:off x="5931018" y="0"/>
            <a:ext cx="6260982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646" y="6468889"/>
            <a:ext cx="2413343" cy="164019"/>
          </a:xfr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50" name="Rectangle 49"/>
          <p:cNvSpPr/>
          <p:nvPr userDrawn="1"/>
        </p:nvSpPr>
        <p:spPr bwMode="white">
          <a:xfrm>
            <a:off x="6800850" y="840981"/>
            <a:ext cx="4815286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1408" y="961122"/>
            <a:ext cx="4556458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99" cap="none"/>
            </a:lvl1pPr>
          </a:lstStyle>
          <a:p>
            <a:r>
              <a:rPr lang="en-US"/>
              <a:t>Click To Edit Product Text</a:t>
            </a:r>
          </a:p>
        </p:txBody>
      </p: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548647" y="556264"/>
            <a:ext cx="6048375" cy="5579363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922008" y="2020824"/>
            <a:ext cx="4553712" cy="4114800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9" name="Picture 6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cxnSp>
        <p:nvCxnSpPr>
          <p:cNvPr id="70" name="Straight Connector 69"/>
          <p:cNvCxnSpPr/>
          <p:nvPr userDrawn="1"/>
        </p:nvCxnSpPr>
        <p:spPr>
          <a:xfrm>
            <a:off x="6922008" y="1908191"/>
            <a:ext cx="4553712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12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roduc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48" name="Oval 47"/>
          <p:cNvSpPr/>
          <p:nvPr userDrawn="1"/>
        </p:nvSpPr>
        <p:spPr>
          <a:xfrm>
            <a:off x="5931018" y="0"/>
            <a:ext cx="6260982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646" y="6468889"/>
            <a:ext cx="2413343" cy="164019"/>
          </a:xfr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50" name="Rectangle 49"/>
          <p:cNvSpPr/>
          <p:nvPr userDrawn="1"/>
        </p:nvSpPr>
        <p:spPr bwMode="white">
          <a:xfrm>
            <a:off x="6800850" y="840981"/>
            <a:ext cx="4815286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1408" y="961122"/>
            <a:ext cx="4556458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99" cap="none"/>
            </a:lvl1pPr>
          </a:lstStyle>
          <a:p>
            <a:r>
              <a:rPr lang="en-US"/>
              <a:t>Click To Edit Product Text</a:t>
            </a:r>
          </a:p>
        </p:txBody>
      </p:sp>
      <p:cxnSp>
        <p:nvCxnSpPr>
          <p:cNvPr id="63" name="Straight Connector 62"/>
          <p:cNvCxnSpPr/>
          <p:nvPr userDrawn="1"/>
        </p:nvCxnSpPr>
        <p:spPr>
          <a:xfrm>
            <a:off x="6922008" y="1908191"/>
            <a:ext cx="4553712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0" y="5"/>
            <a:ext cx="6800850" cy="6135623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922008" y="2020824"/>
            <a:ext cx="4553712" cy="4114800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25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12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41" y="1179577"/>
            <a:ext cx="11073385" cy="5212835"/>
          </a:xfrm>
          <a:prstGeom prst="rect">
            <a:avLst/>
          </a:prstGeom>
        </p:spPr>
        <p:txBody>
          <a:bodyPr lIns="91420" tIns="639946" rIns="91420" bIns="45710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  <p:sp>
        <p:nvSpPr>
          <p:cNvPr id="12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50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41" y="1179577"/>
            <a:ext cx="11073385" cy="5212835"/>
          </a:xfrm>
          <a:prstGeom prst="rect">
            <a:avLst/>
          </a:prstGeom>
        </p:spPr>
        <p:txBody>
          <a:bodyPr lIns="91420" tIns="639946" rIns="91420" bIns="45710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99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With Background &amp; She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41" y="1179577"/>
            <a:ext cx="11073385" cy="5209683"/>
          </a:xfrm>
          <a:prstGeom prst="rect">
            <a:avLst/>
          </a:prstGeom>
        </p:spPr>
        <p:txBody>
          <a:bodyPr lIns="91420" tIns="639946" rIns="91420" bIns="45710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67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19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627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3"/>
            <a:ext cx="12190413" cy="685710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" y="893"/>
            <a:ext cx="12188825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914141"/>
            <a:endParaRPr lang="en-US" sz="1866">
              <a:solidFill>
                <a:prstClr val="white"/>
              </a:solidFill>
            </a:endParaRPr>
          </a:p>
        </p:txBody>
      </p:sp>
      <p:grpSp>
        <p:nvGrpSpPr>
          <p:cNvPr id="58" name="Group 57"/>
          <p:cNvGrpSpPr/>
          <p:nvPr userDrawn="1"/>
        </p:nvGrpSpPr>
        <p:grpSpPr bwMode="gray">
          <a:xfrm>
            <a:off x="1828178" y="1525139"/>
            <a:ext cx="8535661" cy="4341743"/>
            <a:chOff x="1828170" y="1258957"/>
            <a:chExt cx="8535661" cy="4341742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59" name="Freeform 9"/>
            <p:cNvSpPr>
              <a:spLocks/>
            </p:cNvSpPr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  <p:sp>
          <p:nvSpPr>
            <p:cNvPr id="60" name="Rounded Rectangle 5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41"/>
              <a:endParaRPr lang="en-US" sz="1866">
                <a:solidFill>
                  <a:prstClr val="white"/>
                </a:solidFill>
              </a:endParaRPr>
            </a:p>
          </p:txBody>
        </p:sp>
      </p:grpSp>
      <p:grpSp>
        <p:nvGrpSpPr>
          <p:cNvPr id="61" name="Group 60"/>
          <p:cNvGrpSpPr/>
          <p:nvPr userDrawn="1"/>
        </p:nvGrpSpPr>
        <p:grpSpPr bwMode="gray">
          <a:xfrm>
            <a:off x="5853433" y="1265722"/>
            <a:ext cx="485134" cy="485135"/>
            <a:chOff x="5853433" y="734066"/>
            <a:chExt cx="485134" cy="485134"/>
          </a:xfrm>
        </p:grpSpPr>
        <p:sp>
          <p:nvSpPr>
            <p:cNvPr id="62" name="Oval 61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41"/>
              <a:endParaRPr lang="en-US" sz="1866">
                <a:solidFill>
                  <a:prstClr val="white"/>
                </a:solidFill>
              </a:endParaRPr>
            </a:p>
          </p:txBody>
        </p:sp>
        <p:sp>
          <p:nvSpPr>
            <p:cNvPr id="63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41"/>
              <a:endParaRPr lang="en-US" sz="1866">
                <a:solidFill>
                  <a:srgbClr val="000000"/>
                </a:solidFill>
              </a:endParaRPr>
            </a:p>
          </p:txBody>
        </p:sp>
      </p:grpSp>
      <p:pic>
        <p:nvPicPr>
          <p:cNvPr id="54" name="Picture 5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8693" y="2791839"/>
            <a:ext cx="5374611" cy="124600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583674" y="3056117"/>
            <a:ext cx="2412867" cy="80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509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_Color Light">
    <p:bg>
      <p:bgPr>
        <a:solidFill>
          <a:schemeClr val="bg2">
            <a:lumMod val="50000"/>
            <a:lumOff val="5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2"/>
            <a:ext cx="12190413" cy="6857107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black">
          <a:xfrm>
            <a:off x="0" y="6384640"/>
            <a:ext cx="12192000" cy="473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384631"/>
            <a:ext cx="12188952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860800" cy="1640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764792" y="1709928"/>
            <a:ext cx="9582912" cy="285292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642" rtl="0" eaLnBrk="1" latinLnBrk="0" hangingPunct="1">
              <a:lnSpc>
                <a:spcPts val="6480"/>
              </a:lnSpc>
              <a:spcBef>
                <a:spcPct val="0"/>
              </a:spcBef>
              <a:buNone/>
              <a:defRPr lang="en-US" sz="4799" b="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section header 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764792" y="4589465"/>
            <a:ext cx="9582659" cy="1500187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  <a:lvl2pPr marL="4570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712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4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subtitle text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white">
          <a:xfrm>
            <a:off x="1651780" y="4563275"/>
            <a:ext cx="0" cy="1816895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 bwMode="gray">
          <a:xfrm>
            <a:off x="1592347" y="6329604"/>
            <a:ext cx="118872" cy="11887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141"/>
            <a:endParaRPr lang="en-US" sz="1866">
              <a:solidFill>
                <a:prstClr val="white"/>
              </a:solidFill>
            </a:endParaRPr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white">
          <a:xfrm>
            <a:off x="1171991" y="4087558"/>
            <a:ext cx="347589" cy="34688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defTabSz="914141"/>
            <a:endParaRPr lang="en-US" sz="1866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85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ackground Slide -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32609" y="762000"/>
            <a:ext cx="11122957" cy="5334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799" b="0" i="0">
                <a:solidFill>
                  <a:schemeClr val="accent4"/>
                </a:solidFill>
                <a:latin typeface="Work Sans Regular" charset="0"/>
              </a:defRPr>
            </a:lvl1pPr>
            <a:lvl2pPr marL="609614" indent="0">
              <a:buNone/>
              <a:defRPr/>
            </a:lvl2pPr>
            <a:lvl3pPr marL="1219231" indent="0">
              <a:buNone/>
              <a:defRPr/>
            </a:lvl3pPr>
            <a:lvl4pPr marL="1828847" indent="0">
              <a:buNone/>
              <a:defRPr/>
            </a:lvl4pPr>
            <a:lvl5pPr marL="24384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32609" y="76201"/>
            <a:ext cx="11123613" cy="792163"/>
          </a:xfrm>
          <a:prstGeom prst="rect">
            <a:avLst/>
          </a:prstGeom>
        </p:spPr>
        <p:txBody>
          <a:bodyPr lIns="0" anchor="b"/>
          <a:lstStyle>
            <a:lvl1pPr>
              <a:defRPr sz="3599" b="0" i="0" cap="none" baseline="0">
                <a:solidFill>
                  <a:schemeClr val="bg1"/>
                </a:solidFill>
                <a:latin typeface="Work Sans Regular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775500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rgbClr val="488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>
            <a:off x="49951" y="-3179"/>
            <a:ext cx="12139750" cy="6858291"/>
          </a:xfrm>
          <a:custGeom>
            <a:avLst/>
            <a:gdLst>
              <a:gd name="connsiteX0" fmla="*/ 9863865 w 12139750"/>
              <a:gd name="connsiteY0" fmla="*/ 6730848 h 6858290"/>
              <a:gd name="connsiteX1" fmla="*/ 9906123 w 12139750"/>
              <a:gd name="connsiteY1" fmla="*/ 6760852 h 6858290"/>
              <a:gd name="connsiteX2" fmla="*/ 9879496 w 12139750"/>
              <a:gd name="connsiteY2" fmla="*/ 6819907 h 6858290"/>
              <a:gd name="connsiteX3" fmla="*/ 9782500 w 12139750"/>
              <a:gd name="connsiteY3" fmla="*/ 6858007 h 6858290"/>
              <a:gd name="connsiteX4" fmla="*/ 9531452 w 12139750"/>
              <a:gd name="connsiteY4" fmla="*/ 6858007 h 6858290"/>
              <a:gd name="connsiteX5" fmla="*/ 9845262 w 12139750"/>
              <a:gd name="connsiteY5" fmla="*/ 6734182 h 6858290"/>
              <a:gd name="connsiteX6" fmla="*/ 9863865 w 12139750"/>
              <a:gd name="connsiteY6" fmla="*/ 6730848 h 6858290"/>
              <a:gd name="connsiteX7" fmla="*/ 10445577 w 12139750"/>
              <a:gd name="connsiteY7" fmla="*/ 6718092 h 6858290"/>
              <a:gd name="connsiteX8" fmla="*/ 10487132 w 12139750"/>
              <a:gd name="connsiteY8" fmla="*/ 6746099 h 6858290"/>
              <a:gd name="connsiteX9" fmla="*/ 10462348 w 12139750"/>
              <a:gd name="connsiteY9" fmla="*/ 6804898 h 6858290"/>
              <a:gd name="connsiteX10" fmla="*/ 10328892 w 12139750"/>
              <a:gd name="connsiteY10" fmla="*/ 6858007 h 6858290"/>
              <a:gd name="connsiteX11" fmla="*/ 10088672 w 12139750"/>
              <a:gd name="connsiteY11" fmla="*/ 6858007 h 6858290"/>
              <a:gd name="connsiteX12" fmla="*/ 10428031 w 12139750"/>
              <a:gd name="connsiteY12" fmla="*/ 6721441 h 6858290"/>
              <a:gd name="connsiteX13" fmla="*/ 10445577 w 12139750"/>
              <a:gd name="connsiteY13" fmla="*/ 6718092 h 6858290"/>
              <a:gd name="connsiteX14" fmla="*/ 9285099 w 12139750"/>
              <a:gd name="connsiteY14" fmla="*/ 6718092 h 6858290"/>
              <a:gd name="connsiteX15" fmla="*/ 9326654 w 12139750"/>
              <a:gd name="connsiteY15" fmla="*/ 6746099 h 6858290"/>
              <a:gd name="connsiteX16" fmla="*/ 9301870 w 12139750"/>
              <a:gd name="connsiteY16" fmla="*/ 6804898 h 6858290"/>
              <a:gd name="connsiteX17" fmla="*/ 9168414 w 12139750"/>
              <a:gd name="connsiteY17" fmla="*/ 6858007 h 6858290"/>
              <a:gd name="connsiteX18" fmla="*/ 8928194 w 12139750"/>
              <a:gd name="connsiteY18" fmla="*/ 6858007 h 6858290"/>
              <a:gd name="connsiteX19" fmla="*/ 9267553 w 12139750"/>
              <a:gd name="connsiteY19" fmla="*/ 6721441 h 6858290"/>
              <a:gd name="connsiteX20" fmla="*/ 9285099 w 12139750"/>
              <a:gd name="connsiteY20" fmla="*/ 6718092 h 6858290"/>
              <a:gd name="connsiteX21" fmla="*/ 11021925 w 12139750"/>
              <a:gd name="connsiteY21" fmla="*/ 6702243 h 6858290"/>
              <a:gd name="connsiteX22" fmla="*/ 11063417 w 12139750"/>
              <a:gd name="connsiteY22" fmla="*/ 6730372 h 6858290"/>
              <a:gd name="connsiteX23" fmla="*/ 11038670 w 12139750"/>
              <a:gd name="connsiteY23" fmla="*/ 6789427 h 6858290"/>
              <a:gd name="connsiteX24" fmla="*/ 10873058 w 12139750"/>
              <a:gd name="connsiteY24" fmla="*/ 6858007 h 6858290"/>
              <a:gd name="connsiteX25" fmla="*/ 10652242 w 12139750"/>
              <a:gd name="connsiteY25" fmla="*/ 6858007 h 6858290"/>
              <a:gd name="connsiteX26" fmla="*/ 10665567 w 12139750"/>
              <a:gd name="connsiteY26" fmla="*/ 6850387 h 6858290"/>
              <a:gd name="connsiteX27" fmla="*/ 11004406 w 12139750"/>
              <a:gd name="connsiteY27" fmla="*/ 6705607 h 6858290"/>
              <a:gd name="connsiteX28" fmla="*/ 11021925 w 12139750"/>
              <a:gd name="connsiteY28" fmla="*/ 6702243 h 6858290"/>
              <a:gd name="connsiteX29" fmla="*/ 8712081 w 12139750"/>
              <a:gd name="connsiteY29" fmla="*/ 6702243 h 6858290"/>
              <a:gd name="connsiteX30" fmla="*/ 8753573 w 12139750"/>
              <a:gd name="connsiteY30" fmla="*/ 6730372 h 6858290"/>
              <a:gd name="connsiteX31" fmla="*/ 8730730 w 12139750"/>
              <a:gd name="connsiteY31" fmla="*/ 6789427 h 6858290"/>
              <a:gd name="connsiteX32" fmla="*/ 8565118 w 12139750"/>
              <a:gd name="connsiteY32" fmla="*/ 6858007 h 6858290"/>
              <a:gd name="connsiteX33" fmla="*/ 8342398 w 12139750"/>
              <a:gd name="connsiteY33" fmla="*/ 6858007 h 6858290"/>
              <a:gd name="connsiteX34" fmla="*/ 8355723 w 12139750"/>
              <a:gd name="connsiteY34" fmla="*/ 6850387 h 6858290"/>
              <a:gd name="connsiteX35" fmla="*/ 8694562 w 12139750"/>
              <a:gd name="connsiteY35" fmla="*/ 6705607 h 6858290"/>
              <a:gd name="connsiteX36" fmla="*/ 8712081 w 12139750"/>
              <a:gd name="connsiteY36" fmla="*/ 6702243 h 6858290"/>
              <a:gd name="connsiteX37" fmla="*/ 11608144 w 12139750"/>
              <a:gd name="connsiteY37" fmla="*/ 6692160 h 6858290"/>
              <a:gd name="connsiteX38" fmla="*/ 11631736 w 12139750"/>
              <a:gd name="connsiteY38" fmla="*/ 6715650 h 6858290"/>
              <a:gd name="connsiteX39" fmla="*/ 11608858 w 12139750"/>
              <a:gd name="connsiteY39" fmla="*/ 6772593 h 6858290"/>
              <a:gd name="connsiteX40" fmla="*/ 11412495 w 12139750"/>
              <a:gd name="connsiteY40" fmla="*/ 6858007 h 6858290"/>
              <a:gd name="connsiteX41" fmla="*/ 11214225 w 12139750"/>
              <a:gd name="connsiteY41" fmla="*/ 6858007 h 6858290"/>
              <a:gd name="connsiteX42" fmla="*/ 11235196 w 12139750"/>
              <a:gd name="connsiteY42" fmla="*/ 6840924 h 6858290"/>
              <a:gd name="connsiteX43" fmla="*/ 11574543 w 12139750"/>
              <a:gd name="connsiteY43" fmla="*/ 6692872 h 6858290"/>
              <a:gd name="connsiteX44" fmla="*/ 11608144 w 12139750"/>
              <a:gd name="connsiteY44" fmla="*/ 6692160 h 6858290"/>
              <a:gd name="connsiteX45" fmla="*/ 8162632 w 12139750"/>
              <a:gd name="connsiteY45" fmla="*/ 6692160 h 6858290"/>
              <a:gd name="connsiteX46" fmla="*/ 8186849 w 12139750"/>
              <a:gd name="connsiteY46" fmla="*/ 6715650 h 6858290"/>
              <a:gd name="connsiteX47" fmla="*/ 8164057 w 12139750"/>
              <a:gd name="connsiteY47" fmla="*/ 6772593 h 6858290"/>
              <a:gd name="connsiteX48" fmla="*/ 7966524 w 12139750"/>
              <a:gd name="connsiteY48" fmla="*/ 6858007 h 6858290"/>
              <a:gd name="connsiteX49" fmla="*/ 7770890 w 12139750"/>
              <a:gd name="connsiteY49" fmla="*/ 6858007 h 6858290"/>
              <a:gd name="connsiteX50" fmla="*/ 7789883 w 12139750"/>
              <a:gd name="connsiteY50" fmla="*/ 6840924 h 6858290"/>
              <a:gd name="connsiteX51" fmla="*/ 8129868 w 12139750"/>
              <a:gd name="connsiteY51" fmla="*/ 6692872 h 6858290"/>
              <a:gd name="connsiteX52" fmla="*/ 8162632 w 12139750"/>
              <a:gd name="connsiteY52" fmla="*/ 6692160 h 6858290"/>
              <a:gd name="connsiteX53" fmla="*/ 7602161 w 12139750"/>
              <a:gd name="connsiteY53" fmla="*/ 6677681 h 6858290"/>
              <a:gd name="connsiteX54" fmla="*/ 7626432 w 12139750"/>
              <a:gd name="connsiteY54" fmla="*/ 6699625 h 6858290"/>
              <a:gd name="connsiteX55" fmla="*/ 7605492 w 12139750"/>
              <a:gd name="connsiteY55" fmla="*/ 6756872 h 6858290"/>
              <a:gd name="connsiteX56" fmla="*/ 7378961 w 12139750"/>
              <a:gd name="connsiteY56" fmla="*/ 6858007 h 6858290"/>
              <a:gd name="connsiteX57" fmla="*/ 7205732 w 12139750"/>
              <a:gd name="connsiteY57" fmla="*/ 6858007 h 6858290"/>
              <a:gd name="connsiteX58" fmla="*/ 7230479 w 12139750"/>
              <a:gd name="connsiteY58" fmla="*/ 6831292 h 6858290"/>
              <a:gd name="connsiteX59" fmla="*/ 7569323 w 12139750"/>
              <a:gd name="connsiteY59" fmla="*/ 6678635 h 6858290"/>
              <a:gd name="connsiteX60" fmla="*/ 7602161 w 12139750"/>
              <a:gd name="connsiteY60" fmla="*/ 6677681 h 6858290"/>
              <a:gd name="connsiteX61" fmla="*/ 12139750 w 12139750"/>
              <a:gd name="connsiteY61" fmla="*/ 6677032 h 6858290"/>
              <a:gd name="connsiteX62" fmla="*/ 12139750 w 12139750"/>
              <a:gd name="connsiteY62" fmla="*/ 6770377 h 6858290"/>
              <a:gd name="connsiteX63" fmla="*/ 12139750 w 12139750"/>
              <a:gd name="connsiteY63" fmla="*/ 6858007 h 6858290"/>
              <a:gd name="connsiteX64" fmla="*/ 11945775 w 12139750"/>
              <a:gd name="connsiteY64" fmla="*/ 6858007 h 6858290"/>
              <a:gd name="connsiteX65" fmla="*/ 11774620 w 12139750"/>
              <a:gd name="connsiteY65" fmla="*/ 6858007 h 6858290"/>
              <a:gd name="connsiteX66" fmla="*/ 11797441 w 12139750"/>
              <a:gd name="connsiteY66" fmla="*/ 6831337 h 6858290"/>
              <a:gd name="connsiteX67" fmla="*/ 12137848 w 12139750"/>
              <a:gd name="connsiteY67" fmla="*/ 6678937 h 6858290"/>
              <a:gd name="connsiteX68" fmla="*/ 12139750 w 12139750"/>
              <a:gd name="connsiteY68" fmla="*/ 6677032 h 6858290"/>
              <a:gd name="connsiteX69" fmla="*/ 7049044 w 12139750"/>
              <a:gd name="connsiteY69" fmla="*/ 6663353 h 6858290"/>
              <a:gd name="connsiteX70" fmla="*/ 7072381 w 12139750"/>
              <a:gd name="connsiteY70" fmla="*/ 6685192 h 6858290"/>
              <a:gd name="connsiteX71" fmla="*/ 7051425 w 12139750"/>
              <a:gd name="connsiteY71" fmla="*/ 6742164 h 6858290"/>
              <a:gd name="connsiteX72" fmla="*/ 6798057 w 12139750"/>
              <a:gd name="connsiteY72" fmla="*/ 6858007 h 6858290"/>
              <a:gd name="connsiteX73" fmla="*/ 6653275 w 12139750"/>
              <a:gd name="connsiteY73" fmla="*/ 6858007 h 6858290"/>
              <a:gd name="connsiteX74" fmla="*/ 6678040 w 12139750"/>
              <a:gd name="connsiteY74" fmla="*/ 6821925 h 6858290"/>
              <a:gd name="connsiteX75" fmla="*/ 7017135 w 12139750"/>
              <a:gd name="connsiteY75" fmla="*/ 6664302 h 6858290"/>
              <a:gd name="connsiteX76" fmla="*/ 7049044 w 12139750"/>
              <a:gd name="connsiteY76" fmla="*/ 6663353 h 6858290"/>
              <a:gd name="connsiteX77" fmla="*/ 6502912 w 12139750"/>
              <a:gd name="connsiteY77" fmla="*/ 6648865 h 6858290"/>
              <a:gd name="connsiteX78" fmla="*/ 6526266 w 12139750"/>
              <a:gd name="connsiteY78" fmla="*/ 6669136 h 6858290"/>
              <a:gd name="connsiteX79" fmla="*/ 6507201 w 12139750"/>
              <a:gd name="connsiteY79" fmla="*/ 6724462 h 6858290"/>
              <a:gd name="connsiteX80" fmla="*/ 6226954 w 12139750"/>
              <a:gd name="connsiteY80" fmla="*/ 6858007 h 6858290"/>
              <a:gd name="connsiteX81" fmla="*/ 6108755 w 12139750"/>
              <a:gd name="connsiteY81" fmla="*/ 6858007 h 6858290"/>
              <a:gd name="connsiteX82" fmla="*/ 6108755 w 12139750"/>
              <a:gd name="connsiteY82" fmla="*/ 6850376 h 6858290"/>
              <a:gd name="connsiteX83" fmla="*/ 6131632 w 12139750"/>
              <a:gd name="connsiteY83" fmla="*/ 6812220 h 6858290"/>
              <a:gd name="connsiteX84" fmla="*/ 6470979 w 12139750"/>
              <a:gd name="connsiteY84" fmla="*/ 6650058 h 6858290"/>
              <a:gd name="connsiteX85" fmla="*/ 6502912 w 12139750"/>
              <a:gd name="connsiteY85" fmla="*/ 6648865 h 6858290"/>
              <a:gd name="connsiteX86" fmla="*/ 5955433 w 12139750"/>
              <a:gd name="connsiteY86" fmla="*/ 6635428 h 6858290"/>
              <a:gd name="connsiteX87" fmla="*/ 5978564 w 12139750"/>
              <a:gd name="connsiteY87" fmla="*/ 6656354 h 6858290"/>
              <a:gd name="connsiteX88" fmla="*/ 5961395 w 12139750"/>
              <a:gd name="connsiteY88" fmla="*/ 6709621 h 6858290"/>
              <a:gd name="connsiteX89" fmla="*/ 5656142 w 12139750"/>
              <a:gd name="connsiteY89" fmla="*/ 6858007 h 6858290"/>
              <a:gd name="connsiteX90" fmla="*/ 5568382 w 12139750"/>
              <a:gd name="connsiteY90" fmla="*/ 6858007 h 6858290"/>
              <a:gd name="connsiteX91" fmla="*/ 5566474 w 12139750"/>
              <a:gd name="connsiteY91" fmla="*/ 6858007 h 6858290"/>
              <a:gd name="connsiteX92" fmla="*/ 5562658 w 12139750"/>
              <a:gd name="connsiteY92" fmla="*/ 6838983 h 6858290"/>
              <a:gd name="connsiteX93" fmla="*/ 5585552 w 12139750"/>
              <a:gd name="connsiteY93" fmla="*/ 6802838 h 6858290"/>
              <a:gd name="connsiteX94" fmla="*/ 5925146 w 12139750"/>
              <a:gd name="connsiteY94" fmla="*/ 6637331 h 6858290"/>
              <a:gd name="connsiteX95" fmla="*/ 5955433 w 12139750"/>
              <a:gd name="connsiteY95" fmla="*/ 6635428 h 6858290"/>
              <a:gd name="connsiteX96" fmla="*/ 396081 w 12139750"/>
              <a:gd name="connsiteY96" fmla="*/ 6635428 h 6858290"/>
              <a:gd name="connsiteX97" fmla="*/ 419128 w 12139750"/>
              <a:gd name="connsiteY97" fmla="*/ 6656354 h 6858290"/>
              <a:gd name="connsiteX98" fmla="*/ 400120 w 12139750"/>
              <a:gd name="connsiteY98" fmla="*/ 6709621 h 6858290"/>
              <a:gd name="connsiteX99" fmla="*/ 97901 w 12139750"/>
              <a:gd name="connsiteY99" fmla="*/ 6858007 h 6858290"/>
              <a:gd name="connsiteX100" fmla="*/ 10466 w 12139750"/>
              <a:gd name="connsiteY100" fmla="*/ 6858007 h 6858290"/>
              <a:gd name="connsiteX101" fmla="*/ 8566 w 12139750"/>
              <a:gd name="connsiteY101" fmla="*/ 6858007 h 6858290"/>
              <a:gd name="connsiteX102" fmla="*/ 4764 w 12139750"/>
              <a:gd name="connsiteY102" fmla="*/ 6838983 h 6858290"/>
              <a:gd name="connsiteX103" fmla="*/ 27573 w 12139750"/>
              <a:gd name="connsiteY103" fmla="*/ 6802838 h 6858290"/>
              <a:gd name="connsiteX104" fmla="*/ 365906 w 12139750"/>
              <a:gd name="connsiteY104" fmla="*/ 6637331 h 6858290"/>
              <a:gd name="connsiteX105" fmla="*/ 396081 w 12139750"/>
              <a:gd name="connsiteY105" fmla="*/ 6635428 h 6858290"/>
              <a:gd name="connsiteX106" fmla="*/ 5405387 w 12139750"/>
              <a:gd name="connsiteY106" fmla="*/ 6619812 h 6858290"/>
              <a:gd name="connsiteX107" fmla="*/ 5427736 w 12139750"/>
              <a:gd name="connsiteY107" fmla="*/ 6640556 h 6858290"/>
              <a:gd name="connsiteX108" fmla="*/ 5410617 w 12139750"/>
              <a:gd name="connsiteY108" fmla="*/ 6693965 h 6858290"/>
              <a:gd name="connsiteX109" fmla="*/ 5083442 w 12139750"/>
              <a:gd name="connsiteY109" fmla="*/ 6858007 h 6858290"/>
              <a:gd name="connsiteX110" fmla="*/ 5028286 w 12139750"/>
              <a:gd name="connsiteY110" fmla="*/ 6858007 h 6858290"/>
              <a:gd name="connsiteX111" fmla="*/ 5020677 w 12139750"/>
              <a:gd name="connsiteY111" fmla="*/ 6846562 h 6858290"/>
              <a:gd name="connsiteX112" fmla="*/ 5014971 w 12139750"/>
              <a:gd name="connsiteY112" fmla="*/ 6829395 h 6858290"/>
              <a:gd name="connsiteX113" fmla="*/ 5037795 w 12139750"/>
              <a:gd name="connsiteY113" fmla="*/ 6793153 h 6858290"/>
              <a:gd name="connsiteX114" fmla="*/ 5374477 w 12139750"/>
              <a:gd name="connsiteY114" fmla="*/ 6623389 h 6858290"/>
              <a:gd name="connsiteX115" fmla="*/ 5405387 w 12139750"/>
              <a:gd name="connsiteY115" fmla="*/ 6619812 h 6858290"/>
              <a:gd name="connsiteX116" fmla="*/ 939733 w 12139750"/>
              <a:gd name="connsiteY116" fmla="*/ 6619812 h 6858290"/>
              <a:gd name="connsiteX117" fmla="*/ 963599 w 12139750"/>
              <a:gd name="connsiteY117" fmla="*/ 6640556 h 6858290"/>
              <a:gd name="connsiteX118" fmla="*/ 944506 w 12139750"/>
              <a:gd name="connsiteY118" fmla="*/ 6693965 h 6858290"/>
              <a:gd name="connsiteX119" fmla="*/ 618014 w 12139750"/>
              <a:gd name="connsiteY119" fmla="*/ 6858007 h 6858290"/>
              <a:gd name="connsiteX120" fmla="*/ 562644 w 12139750"/>
              <a:gd name="connsiteY120" fmla="*/ 6858007 h 6858290"/>
              <a:gd name="connsiteX121" fmla="*/ 553097 w 12139750"/>
              <a:gd name="connsiteY121" fmla="*/ 6846562 h 6858290"/>
              <a:gd name="connsiteX122" fmla="*/ 549279 w 12139750"/>
              <a:gd name="connsiteY122" fmla="*/ 6829395 h 6858290"/>
              <a:gd name="connsiteX123" fmla="*/ 570281 w 12139750"/>
              <a:gd name="connsiteY123" fmla="*/ 6793153 h 6858290"/>
              <a:gd name="connsiteX124" fmla="*/ 910138 w 12139750"/>
              <a:gd name="connsiteY124" fmla="*/ 6623389 h 6858290"/>
              <a:gd name="connsiteX125" fmla="*/ 939733 w 12139750"/>
              <a:gd name="connsiteY125" fmla="*/ 6619812 h 6858290"/>
              <a:gd name="connsiteX126" fmla="*/ 4850594 w 12139750"/>
              <a:gd name="connsiteY126" fmla="*/ 6606634 h 6858290"/>
              <a:gd name="connsiteX127" fmla="*/ 4873677 w 12139750"/>
              <a:gd name="connsiteY127" fmla="*/ 6625946 h 6858290"/>
              <a:gd name="connsiteX128" fmla="*/ 4856543 w 12139750"/>
              <a:gd name="connsiteY128" fmla="*/ 6677443 h 6858290"/>
              <a:gd name="connsiteX129" fmla="*/ 4519613 w 12139750"/>
              <a:gd name="connsiteY129" fmla="*/ 6852914 h 6858290"/>
              <a:gd name="connsiteX130" fmla="*/ 4466313 w 12139750"/>
              <a:gd name="connsiteY130" fmla="*/ 6837655 h 6858290"/>
              <a:gd name="connsiteX131" fmla="*/ 4462507 w 12139750"/>
              <a:gd name="connsiteY131" fmla="*/ 6818582 h 6858290"/>
              <a:gd name="connsiteX132" fmla="*/ 4483447 w 12139750"/>
              <a:gd name="connsiteY132" fmla="*/ 6784251 h 6858290"/>
              <a:gd name="connsiteX133" fmla="*/ 4820372 w 12139750"/>
              <a:gd name="connsiteY133" fmla="*/ 6608780 h 6858290"/>
              <a:gd name="connsiteX134" fmla="*/ 4850594 w 12139750"/>
              <a:gd name="connsiteY134" fmla="*/ 6606634 h 6858290"/>
              <a:gd name="connsiteX135" fmla="*/ 1485698 w 12139750"/>
              <a:gd name="connsiteY135" fmla="*/ 6606634 h 6858290"/>
              <a:gd name="connsiteX136" fmla="*/ 1507827 w 12139750"/>
              <a:gd name="connsiteY136" fmla="*/ 6625946 h 6858290"/>
              <a:gd name="connsiteX137" fmla="*/ 1492599 w 12139750"/>
              <a:gd name="connsiteY137" fmla="*/ 6677443 h 6858290"/>
              <a:gd name="connsiteX138" fmla="*/ 1153761 w 12139750"/>
              <a:gd name="connsiteY138" fmla="*/ 6852914 h 6858290"/>
              <a:gd name="connsiteX139" fmla="*/ 1102364 w 12139750"/>
              <a:gd name="connsiteY139" fmla="*/ 6837655 h 6858290"/>
              <a:gd name="connsiteX140" fmla="*/ 1098557 w 12139750"/>
              <a:gd name="connsiteY140" fmla="*/ 6818582 h 6858290"/>
              <a:gd name="connsiteX141" fmla="*/ 1119496 w 12139750"/>
              <a:gd name="connsiteY141" fmla="*/ 6784251 h 6858290"/>
              <a:gd name="connsiteX142" fmla="*/ 1456431 w 12139750"/>
              <a:gd name="connsiteY142" fmla="*/ 6608780 h 6858290"/>
              <a:gd name="connsiteX143" fmla="*/ 1485698 w 12139750"/>
              <a:gd name="connsiteY143" fmla="*/ 6606634 h 6858290"/>
              <a:gd name="connsiteX144" fmla="*/ 4291129 w 12139750"/>
              <a:gd name="connsiteY144" fmla="*/ 6592973 h 6858290"/>
              <a:gd name="connsiteX145" fmla="*/ 4313276 w 12139750"/>
              <a:gd name="connsiteY145" fmla="*/ 6611309 h 6858290"/>
              <a:gd name="connsiteX146" fmla="*/ 4298035 w 12139750"/>
              <a:gd name="connsiteY146" fmla="*/ 6662744 h 6858290"/>
              <a:gd name="connsiteX147" fmla="*/ 3960866 w 12139750"/>
              <a:gd name="connsiteY147" fmla="*/ 6841814 h 6858290"/>
              <a:gd name="connsiteX148" fmla="*/ 3909430 w 12139750"/>
              <a:gd name="connsiteY148" fmla="*/ 6826574 h 6858290"/>
              <a:gd name="connsiteX149" fmla="*/ 3903713 w 12139750"/>
              <a:gd name="connsiteY149" fmla="*/ 6809429 h 6858290"/>
              <a:gd name="connsiteX150" fmla="*/ 3924671 w 12139750"/>
              <a:gd name="connsiteY150" fmla="*/ 6775139 h 6858290"/>
              <a:gd name="connsiteX151" fmla="*/ 4261838 w 12139750"/>
              <a:gd name="connsiteY151" fmla="*/ 6596069 h 6858290"/>
              <a:gd name="connsiteX152" fmla="*/ 4291129 w 12139750"/>
              <a:gd name="connsiteY152" fmla="*/ 6592973 h 6858290"/>
              <a:gd name="connsiteX153" fmla="*/ 2037015 w 12139750"/>
              <a:gd name="connsiteY153" fmla="*/ 6592973 h 6858290"/>
              <a:gd name="connsiteX154" fmla="*/ 2060595 w 12139750"/>
              <a:gd name="connsiteY154" fmla="*/ 6611309 h 6858290"/>
              <a:gd name="connsiteX155" fmla="*/ 2043444 w 12139750"/>
              <a:gd name="connsiteY155" fmla="*/ 6662744 h 6858290"/>
              <a:gd name="connsiteX156" fmla="*/ 1706255 w 12139750"/>
              <a:gd name="connsiteY156" fmla="*/ 6841814 h 6858290"/>
              <a:gd name="connsiteX157" fmla="*/ 1654819 w 12139750"/>
              <a:gd name="connsiteY157" fmla="*/ 6826574 h 6858290"/>
              <a:gd name="connsiteX158" fmla="*/ 1651009 w 12139750"/>
              <a:gd name="connsiteY158" fmla="*/ 6809429 h 6858290"/>
              <a:gd name="connsiteX159" fmla="*/ 1670059 w 12139750"/>
              <a:gd name="connsiteY159" fmla="*/ 6775139 h 6858290"/>
              <a:gd name="connsiteX160" fmla="*/ 2009154 w 12139750"/>
              <a:gd name="connsiteY160" fmla="*/ 6596069 h 6858290"/>
              <a:gd name="connsiteX161" fmla="*/ 2037015 w 12139750"/>
              <a:gd name="connsiteY161" fmla="*/ 6592973 h 6858290"/>
              <a:gd name="connsiteX162" fmla="*/ 3727789 w 12139750"/>
              <a:gd name="connsiteY162" fmla="*/ 6578033 h 6858290"/>
              <a:gd name="connsiteX163" fmla="*/ 3749716 w 12139750"/>
              <a:gd name="connsiteY163" fmla="*/ 6595376 h 6858290"/>
              <a:gd name="connsiteX164" fmla="*/ 3734462 w 12139750"/>
              <a:gd name="connsiteY164" fmla="*/ 6646690 h 6858290"/>
              <a:gd name="connsiteX165" fmla="*/ 3397032 w 12139750"/>
              <a:gd name="connsiteY165" fmla="*/ 6831042 h 6858290"/>
              <a:gd name="connsiteX166" fmla="*/ 3347462 w 12139750"/>
              <a:gd name="connsiteY166" fmla="*/ 6815837 h 6858290"/>
              <a:gd name="connsiteX167" fmla="*/ 3341741 w 12139750"/>
              <a:gd name="connsiteY167" fmla="*/ 6798733 h 6858290"/>
              <a:gd name="connsiteX168" fmla="*/ 3362712 w 12139750"/>
              <a:gd name="connsiteY168" fmla="*/ 6764523 h 6858290"/>
              <a:gd name="connsiteX169" fmla="*/ 3700143 w 12139750"/>
              <a:gd name="connsiteY169" fmla="*/ 6582072 h 6858290"/>
              <a:gd name="connsiteX170" fmla="*/ 3727789 w 12139750"/>
              <a:gd name="connsiteY170" fmla="*/ 6578033 h 6858290"/>
              <a:gd name="connsiteX171" fmla="*/ 2592701 w 12139750"/>
              <a:gd name="connsiteY171" fmla="*/ 6578033 h 6858290"/>
              <a:gd name="connsiteX172" fmla="*/ 2614625 w 12139750"/>
              <a:gd name="connsiteY172" fmla="*/ 6595376 h 6858290"/>
              <a:gd name="connsiteX173" fmla="*/ 2599374 w 12139750"/>
              <a:gd name="connsiteY173" fmla="*/ 6646690 h 6858290"/>
              <a:gd name="connsiteX174" fmla="*/ 2261929 w 12139750"/>
              <a:gd name="connsiteY174" fmla="*/ 6831042 h 6858290"/>
              <a:gd name="connsiteX175" fmla="*/ 2212361 w 12139750"/>
              <a:gd name="connsiteY175" fmla="*/ 6815837 h 6858290"/>
              <a:gd name="connsiteX176" fmla="*/ 2206641 w 12139750"/>
              <a:gd name="connsiteY176" fmla="*/ 6798733 h 6858290"/>
              <a:gd name="connsiteX177" fmla="*/ 2225706 w 12139750"/>
              <a:gd name="connsiteY177" fmla="*/ 6764523 h 6858290"/>
              <a:gd name="connsiteX178" fmla="*/ 2565057 w 12139750"/>
              <a:gd name="connsiteY178" fmla="*/ 6582072 h 6858290"/>
              <a:gd name="connsiteX179" fmla="*/ 2592701 w 12139750"/>
              <a:gd name="connsiteY179" fmla="*/ 6578033 h 6858290"/>
              <a:gd name="connsiteX180" fmla="*/ 3153211 w 12139750"/>
              <a:gd name="connsiteY180" fmla="*/ 6564138 h 6858290"/>
              <a:gd name="connsiteX181" fmla="*/ 3175070 w 12139750"/>
              <a:gd name="connsiteY181" fmla="*/ 6580749 h 6858290"/>
              <a:gd name="connsiteX182" fmla="*/ 3161766 w 12139750"/>
              <a:gd name="connsiteY182" fmla="*/ 6630106 h 6858290"/>
              <a:gd name="connsiteX183" fmla="*/ 2825350 w 12139750"/>
              <a:gd name="connsiteY183" fmla="*/ 6819941 h 6858290"/>
              <a:gd name="connsiteX184" fmla="*/ 2775931 w 12139750"/>
              <a:gd name="connsiteY184" fmla="*/ 6804754 h 6858290"/>
              <a:gd name="connsiteX185" fmla="*/ 2770229 w 12139750"/>
              <a:gd name="connsiteY185" fmla="*/ 6787669 h 6858290"/>
              <a:gd name="connsiteX186" fmla="*/ 2789236 w 12139750"/>
              <a:gd name="connsiteY186" fmla="*/ 6757295 h 6858290"/>
              <a:gd name="connsiteX187" fmla="*/ 3125653 w 12139750"/>
              <a:gd name="connsiteY187" fmla="*/ 6567460 h 6858290"/>
              <a:gd name="connsiteX188" fmla="*/ 3153211 w 12139750"/>
              <a:gd name="connsiteY188" fmla="*/ 6564138 h 6858290"/>
              <a:gd name="connsiteX189" fmla="*/ 9862101 w 12139750"/>
              <a:gd name="connsiteY189" fmla="*/ 6403755 h 6858290"/>
              <a:gd name="connsiteX190" fmla="*/ 9902911 w 12139750"/>
              <a:gd name="connsiteY190" fmla="*/ 6429975 h 6858290"/>
              <a:gd name="connsiteX191" fmla="*/ 9880000 w 12139750"/>
              <a:gd name="connsiteY191" fmla="*/ 6487052 h 6858290"/>
              <a:gd name="connsiteX192" fmla="*/ 9540159 w 12139750"/>
              <a:gd name="connsiteY192" fmla="*/ 6637356 h 6858290"/>
              <a:gd name="connsiteX193" fmla="*/ 9482882 w 12139750"/>
              <a:gd name="connsiteY193" fmla="*/ 6614525 h 6858290"/>
              <a:gd name="connsiteX194" fmla="*/ 9479064 w 12139750"/>
              <a:gd name="connsiteY194" fmla="*/ 6597402 h 6858290"/>
              <a:gd name="connsiteX195" fmla="*/ 9505793 w 12139750"/>
              <a:gd name="connsiteY195" fmla="*/ 6557447 h 6858290"/>
              <a:gd name="connsiteX196" fmla="*/ 9845634 w 12139750"/>
              <a:gd name="connsiteY196" fmla="*/ 6407144 h 6858290"/>
              <a:gd name="connsiteX197" fmla="*/ 9862101 w 12139750"/>
              <a:gd name="connsiteY197" fmla="*/ 6403755 h 6858290"/>
              <a:gd name="connsiteX198" fmla="*/ 10444609 w 12139750"/>
              <a:gd name="connsiteY198" fmla="*/ 6390314 h 6858290"/>
              <a:gd name="connsiteX199" fmla="*/ 10483665 w 12139750"/>
              <a:gd name="connsiteY199" fmla="*/ 6415894 h 6858290"/>
              <a:gd name="connsiteX200" fmla="*/ 10462740 w 12139750"/>
              <a:gd name="connsiteY200" fmla="*/ 6473334 h 6858290"/>
              <a:gd name="connsiteX201" fmla="*/ 10124143 w 12139750"/>
              <a:gd name="connsiteY201" fmla="*/ 6624595 h 6858290"/>
              <a:gd name="connsiteX202" fmla="*/ 10067076 w 12139750"/>
              <a:gd name="connsiteY202" fmla="*/ 6603534 h 6858290"/>
              <a:gd name="connsiteX203" fmla="*/ 10063272 w 12139750"/>
              <a:gd name="connsiteY203" fmla="*/ 6586301 h 6858290"/>
              <a:gd name="connsiteX204" fmla="*/ 10088001 w 12139750"/>
              <a:gd name="connsiteY204" fmla="*/ 6546093 h 6858290"/>
              <a:gd name="connsiteX205" fmla="*/ 10428500 w 12139750"/>
              <a:gd name="connsiteY205" fmla="*/ 6394832 h 6858290"/>
              <a:gd name="connsiteX206" fmla="*/ 10444609 w 12139750"/>
              <a:gd name="connsiteY206" fmla="*/ 6390314 h 6858290"/>
              <a:gd name="connsiteX207" fmla="*/ 9283606 w 12139750"/>
              <a:gd name="connsiteY207" fmla="*/ 6390314 h 6858290"/>
              <a:gd name="connsiteX208" fmla="*/ 9323493 w 12139750"/>
              <a:gd name="connsiteY208" fmla="*/ 6415894 h 6858290"/>
              <a:gd name="connsiteX209" fmla="*/ 9302553 w 12139750"/>
              <a:gd name="connsiteY209" fmla="*/ 6473334 h 6858290"/>
              <a:gd name="connsiteX210" fmla="*/ 8961805 w 12139750"/>
              <a:gd name="connsiteY210" fmla="*/ 6624595 h 6858290"/>
              <a:gd name="connsiteX211" fmla="*/ 8906600 w 12139750"/>
              <a:gd name="connsiteY211" fmla="*/ 6603534 h 6858290"/>
              <a:gd name="connsiteX212" fmla="*/ 8902793 w 12139750"/>
              <a:gd name="connsiteY212" fmla="*/ 6586301 h 6858290"/>
              <a:gd name="connsiteX213" fmla="*/ 8927540 w 12139750"/>
              <a:gd name="connsiteY213" fmla="*/ 6546093 h 6858290"/>
              <a:gd name="connsiteX214" fmla="*/ 9266384 w 12139750"/>
              <a:gd name="connsiteY214" fmla="*/ 6394832 h 6858290"/>
              <a:gd name="connsiteX215" fmla="*/ 9283606 w 12139750"/>
              <a:gd name="connsiteY215" fmla="*/ 6390314 h 6858290"/>
              <a:gd name="connsiteX216" fmla="*/ 11020686 w 12139750"/>
              <a:gd name="connsiteY216" fmla="*/ 6377294 h 6858290"/>
              <a:gd name="connsiteX217" fmla="*/ 11061795 w 12139750"/>
              <a:gd name="connsiteY217" fmla="*/ 6402947 h 6858290"/>
              <a:gd name="connsiteX218" fmla="*/ 11038867 w 12139750"/>
              <a:gd name="connsiteY218" fmla="*/ 6458052 h 6858290"/>
              <a:gd name="connsiteX219" fmla="*/ 10698772 w 12139750"/>
              <a:gd name="connsiteY219" fmla="*/ 6611968 h 6858290"/>
              <a:gd name="connsiteX220" fmla="*/ 10643363 w 12139750"/>
              <a:gd name="connsiteY220" fmla="*/ 6591066 h 6858290"/>
              <a:gd name="connsiteX221" fmla="*/ 10639542 w 12139750"/>
              <a:gd name="connsiteY221" fmla="*/ 6573964 h 6858290"/>
              <a:gd name="connsiteX222" fmla="*/ 10664380 w 12139750"/>
              <a:gd name="connsiteY222" fmla="*/ 6534060 h 6858290"/>
              <a:gd name="connsiteX223" fmla="*/ 11004475 w 12139750"/>
              <a:gd name="connsiteY223" fmla="*/ 6382045 h 6858290"/>
              <a:gd name="connsiteX224" fmla="*/ 11020686 w 12139750"/>
              <a:gd name="connsiteY224" fmla="*/ 6377294 h 6858290"/>
              <a:gd name="connsiteX225" fmla="*/ 8711110 w 12139750"/>
              <a:gd name="connsiteY225" fmla="*/ 6377294 h 6858290"/>
              <a:gd name="connsiteX226" fmla="*/ 8751951 w 12139750"/>
              <a:gd name="connsiteY226" fmla="*/ 6402947 h 6858290"/>
              <a:gd name="connsiteX227" fmla="*/ 8730934 w 12139750"/>
              <a:gd name="connsiteY227" fmla="*/ 6458052 h 6858290"/>
              <a:gd name="connsiteX228" fmla="*/ 8388928 w 12139750"/>
              <a:gd name="connsiteY228" fmla="*/ 6611968 h 6858290"/>
              <a:gd name="connsiteX229" fmla="*/ 8333519 w 12139750"/>
              <a:gd name="connsiteY229" fmla="*/ 6591066 h 6858290"/>
              <a:gd name="connsiteX230" fmla="*/ 8329698 w 12139750"/>
              <a:gd name="connsiteY230" fmla="*/ 6573964 h 6858290"/>
              <a:gd name="connsiteX231" fmla="*/ 8354536 w 12139750"/>
              <a:gd name="connsiteY231" fmla="*/ 6534060 h 6858290"/>
              <a:gd name="connsiteX232" fmla="*/ 8694631 w 12139750"/>
              <a:gd name="connsiteY232" fmla="*/ 6382045 h 6858290"/>
              <a:gd name="connsiteX233" fmla="*/ 8711110 w 12139750"/>
              <a:gd name="connsiteY233" fmla="*/ 6377294 h 6858290"/>
              <a:gd name="connsiteX234" fmla="*/ 8145353 w 12139750"/>
              <a:gd name="connsiteY234" fmla="*/ 6364557 h 6858290"/>
              <a:gd name="connsiteX235" fmla="*/ 8185240 w 12139750"/>
              <a:gd name="connsiteY235" fmla="*/ 6388309 h 6858290"/>
              <a:gd name="connsiteX236" fmla="*/ 8164300 w 12139750"/>
              <a:gd name="connsiteY236" fmla="*/ 6445244 h 6858290"/>
              <a:gd name="connsiteX237" fmla="*/ 7825456 w 12139750"/>
              <a:gd name="connsiteY237" fmla="*/ 6600868 h 6858290"/>
              <a:gd name="connsiteX238" fmla="*/ 7768347 w 12139750"/>
              <a:gd name="connsiteY238" fmla="*/ 6579991 h 6858290"/>
              <a:gd name="connsiteX239" fmla="*/ 7764540 w 12139750"/>
              <a:gd name="connsiteY239" fmla="*/ 6562911 h 6858290"/>
              <a:gd name="connsiteX240" fmla="*/ 7789287 w 12139750"/>
              <a:gd name="connsiteY240" fmla="*/ 6523056 h 6858290"/>
              <a:gd name="connsiteX241" fmla="*/ 8128131 w 12139750"/>
              <a:gd name="connsiteY241" fmla="*/ 6369331 h 6858290"/>
              <a:gd name="connsiteX242" fmla="*/ 8145353 w 12139750"/>
              <a:gd name="connsiteY242" fmla="*/ 6364557 h 6858290"/>
              <a:gd name="connsiteX243" fmla="*/ 11589455 w 12139750"/>
              <a:gd name="connsiteY243" fmla="*/ 6364556 h 6858290"/>
              <a:gd name="connsiteX244" fmla="*/ 11628568 w 12139750"/>
              <a:gd name="connsiteY244" fmla="*/ 6388309 h 6858290"/>
              <a:gd name="connsiteX245" fmla="*/ 11607613 w 12139750"/>
              <a:gd name="connsiteY245" fmla="*/ 6445244 h 6858290"/>
              <a:gd name="connsiteX246" fmla="*/ 11268518 w 12139750"/>
              <a:gd name="connsiteY246" fmla="*/ 6600868 h 6858290"/>
              <a:gd name="connsiteX247" fmla="*/ 11213272 w 12139750"/>
              <a:gd name="connsiteY247" fmla="*/ 6579991 h 6858290"/>
              <a:gd name="connsiteX248" fmla="*/ 11209462 w 12139750"/>
              <a:gd name="connsiteY248" fmla="*/ 6562911 h 6858290"/>
              <a:gd name="connsiteX249" fmla="*/ 11234227 w 12139750"/>
              <a:gd name="connsiteY249" fmla="*/ 6523056 h 6858290"/>
              <a:gd name="connsiteX250" fmla="*/ 11573322 w 12139750"/>
              <a:gd name="connsiteY250" fmla="*/ 6369331 h 6858290"/>
              <a:gd name="connsiteX251" fmla="*/ 11589455 w 12139750"/>
              <a:gd name="connsiteY251" fmla="*/ 6364556 h 6858290"/>
              <a:gd name="connsiteX252" fmla="*/ 12139750 w 12139750"/>
              <a:gd name="connsiteY252" fmla="*/ 6353181 h 6858290"/>
              <a:gd name="connsiteX253" fmla="*/ 12139750 w 12139750"/>
              <a:gd name="connsiteY253" fmla="*/ 6444739 h 6858290"/>
              <a:gd name="connsiteX254" fmla="*/ 11833573 w 12139750"/>
              <a:gd name="connsiteY254" fmla="*/ 6587799 h 6858290"/>
              <a:gd name="connsiteX255" fmla="*/ 11778423 w 12139750"/>
              <a:gd name="connsiteY255" fmla="*/ 6568724 h 6858290"/>
              <a:gd name="connsiteX256" fmla="*/ 11774620 w 12139750"/>
              <a:gd name="connsiteY256" fmla="*/ 6551557 h 6858290"/>
              <a:gd name="connsiteX257" fmla="*/ 11797441 w 12139750"/>
              <a:gd name="connsiteY257" fmla="*/ 6513408 h 6858290"/>
              <a:gd name="connsiteX258" fmla="*/ 12135947 w 12139750"/>
              <a:gd name="connsiteY258" fmla="*/ 6355088 h 6858290"/>
              <a:gd name="connsiteX259" fmla="*/ 12139750 w 12139750"/>
              <a:gd name="connsiteY259" fmla="*/ 6353181 h 6858290"/>
              <a:gd name="connsiteX260" fmla="*/ 7585725 w 12139750"/>
              <a:gd name="connsiteY260" fmla="*/ 6350302 h 6858290"/>
              <a:gd name="connsiteX261" fmla="*/ 7624838 w 12139750"/>
              <a:gd name="connsiteY261" fmla="*/ 6374174 h 6858290"/>
              <a:gd name="connsiteX262" fmla="*/ 7605787 w 12139750"/>
              <a:gd name="connsiteY262" fmla="*/ 6429488 h 6858290"/>
              <a:gd name="connsiteX263" fmla="*/ 7264788 w 12139750"/>
              <a:gd name="connsiteY263" fmla="*/ 6587800 h 6858290"/>
              <a:gd name="connsiteX264" fmla="*/ 7209542 w 12139750"/>
              <a:gd name="connsiteY264" fmla="*/ 6568726 h 6858290"/>
              <a:gd name="connsiteX265" fmla="*/ 7205732 w 12139750"/>
              <a:gd name="connsiteY265" fmla="*/ 6551559 h 6858290"/>
              <a:gd name="connsiteX266" fmla="*/ 7230497 w 12139750"/>
              <a:gd name="connsiteY266" fmla="*/ 6513412 h 6858290"/>
              <a:gd name="connsiteX267" fmla="*/ 7569592 w 12139750"/>
              <a:gd name="connsiteY267" fmla="*/ 6355100 h 6858290"/>
              <a:gd name="connsiteX268" fmla="*/ 7585725 w 12139750"/>
              <a:gd name="connsiteY268" fmla="*/ 6350302 h 6858290"/>
              <a:gd name="connsiteX269" fmla="*/ 7049044 w 12139750"/>
              <a:gd name="connsiteY269" fmla="*/ 6340183 h 6858290"/>
              <a:gd name="connsiteX270" fmla="*/ 7072381 w 12139750"/>
              <a:gd name="connsiteY270" fmla="*/ 6361190 h 6858290"/>
              <a:gd name="connsiteX271" fmla="*/ 7051425 w 12139750"/>
              <a:gd name="connsiteY271" fmla="*/ 6416574 h 6858290"/>
              <a:gd name="connsiteX272" fmla="*/ 6714236 w 12139750"/>
              <a:gd name="connsiteY272" fmla="*/ 6576995 h 6858290"/>
              <a:gd name="connsiteX273" fmla="*/ 6658990 w 12139750"/>
              <a:gd name="connsiteY273" fmla="*/ 6557897 h 6858290"/>
              <a:gd name="connsiteX274" fmla="*/ 6653275 w 12139750"/>
              <a:gd name="connsiteY274" fmla="*/ 6540709 h 6858290"/>
              <a:gd name="connsiteX275" fmla="*/ 6678040 w 12139750"/>
              <a:gd name="connsiteY275" fmla="*/ 6502514 h 6858290"/>
              <a:gd name="connsiteX276" fmla="*/ 7017135 w 12139750"/>
              <a:gd name="connsiteY276" fmla="*/ 6342093 h 6858290"/>
              <a:gd name="connsiteX277" fmla="*/ 7049044 w 12139750"/>
              <a:gd name="connsiteY277" fmla="*/ 6340183 h 6858290"/>
              <a:gd name="connsiteX278" fmla="*/ 6502912 w 12139750"/>
              <a:gd name="connsiteY278" fmla="*/ 6327426 h 6858290"/>
              <a:gd name="connsiteX279" fmla="*/ 6526266 w 12139750"/>
              <a:gd name="connsiteY279" fmla="*/ 6348277 h 6858290"/>
              <a:gd name="connsiteX280" fmla="*/ 6507201 w 12139750"/>
              <a:gd name="connsiteY280" fmla="*/ 6401351 h 6858290"/>
              <a:gd name="connsiteX281" fmla="*/ 6167854 w 12139750"/>
              <a:gd name="connsiteY281" fmla="*/ 6564366 h 6858290"/>
              <a:gd name="connsiteX282" fmla="*/ 6112568 w 12139750"/>
              <a:gd name="connsiteY282" fmla="*/ 6545411 h 6858290"/>
              <a:gd name="connsiteX283" fmla="*/ 6108755 w 12139750"/>
              <a:gd name="connsiteY283" fmla="*/ 6528351 h 6858290"/>
              <a:gd name="connsiteX284" fmla="*/ 6131632 w 12139750"/>
              <a:gd name="connsiteY284" fmla="*/ 6490441 h 6858290"/>
              <a:gd name="connsiteX285" fmla="*/ 6470979 w 12139750"/>
              <a:gd name="connsiteY285" fmla="*/ 6329321 h 6858290"/>
              <a:gd name="connsiteX286" fmla="*/ 6502912 w 12139750"/>
              <a:gd name="connsiteY286" fmla="*/ 6327426 h 6858290"/>
              <a:gd name="connsiteX287" fmla="*/ 5955853 w 12139750"/>
              <a:gd name="connsiteY287" fmla="*/ 6313176 h 6858290"/>
              <a:gd name="connsiteX288" fmla="*/ 5978253 w 12139750"/>
              <a:gd name="connsiteY288" fmla="*/ 6334131 h 6858290"/>
              <a:gd name="connsiteX289" fmla="*/ 5961095 w 12139750"/>
              <a:gd name="connsiteY289" fmla="*/ 6387471 h 6858290"/>
              <a:gd name="connsiteX290" fmla="*/ 5621756 w 12139750"/>
              <a:gd name="connsiteY290" fmla="*/ 6553206 h 6858290"/>
              <a:gd name="connsiteX291" fmla="*/ 5566471 w 12139750"/>
              <a:gd name="connsiteY291" fmla="*/ 6534156 h 6858290"/>
              <a:gd name="connsiteX292" fmla="*/ 5562658 w 12139750"/>
              <a:gd name="connsiteY292" fmla="*/ 6517011 h 6858290"/>
              <a:gd name="connsiteX293" fmla="*/ 5585535 w 12139750"/>
              <a:gd name="connsiteY293" fmla="*/ 6478911 h 6858290"/>
              <a:gd name="connsiteX294" fmla="*/ 5924874 w 12139750"/>
              <a:gd name="connsiteY294" fmla="*/ 6315081 h 6858290"/>
              <a:gd name="connsiteX295" fmla="*/ 5955853 w 12139750"/>
              <a:gd name="connsiteY295" fmla="*/ 6313176 h 6858290"/>
              <a:gd name="connsiteX296" fmla="*/ 396081 w 12139750"/>
              <a:gd name="connsiteY296" fmla="*/ 6313176 h 6858290"/>
              <a:gd name="connsiteX297" fmla="*/ 419127 w 12139750"/>
              <a:gd name="connsiteY297" fmla="*/ 6334131 h 6858290"/>
              <a:gd name="connsiteX298" fmla="*/ 400120 w 12139750"/>
              <a:gd name="connsiteY298" fmla="*/ 6387471 h 6858290"/>
              <a:gd name="connsiteX299" fmla="*/ 63687 w 12139750"/>
              <a:gd name="connsiteY299" fmla="*/ 6553206 h 6858290"/>
              <a:gd name="connsiteX300" fmla="*/ 8565 w 12139750"/>
              <a:gd name="connsiteY300" fmla="*/ 6534156 h 6858290"/>
              <a:gd name="connsiteX301" fmla="*/ 4764 w 12139750"/>
              <a:gd name="connsiteY301" fmla="*/ 6517011 h 6858290"/>
              <a:gd name="connsiteX302" fmla="*/ 27573 w 12139750"/>
              <a:gd name="connsiteY302" fmla="*/ 6478911 h 6858290"/>
              <a:gd name="connsiteX303" fmla="*/ 365906 w 12139750"/>
              <a:gd name="connsiteY303" fmla="*/ 6315081 h 6858290"/>
              <a:gd name="connsiteX304" fmla="*/ 396081 w 12139750"/>
              <a:gd name="connsiteY304" fmla="*/ 6313176 h 6858290"/>
              <a:gd name="connsiteX305" fmla="*/ 5405334 w 12139750"/>
              <a:gd name="connsiteY305" fmla="*/ 6300229 h 6858290"/>
              <a:gd name="connsiteX306" fmla="*/ 5429330 w 12139750"/>
              <a:gd name="connsiteY306" fmla="*/ 6319493 h 6858290"/>
              <a:gd name="connsiteX307" fmla="*/ 5410323 w 12139750"/>
              <a:gd name="connsiteY307" fmla="*/ 6372768 h 6858290"/>
              <a:gd name="connsiteX308" fmla="*/ 5071988 w 12139750"/>
              <a:gd name="connsiteY308" fmla="*/ 6540203 h 6858290"/>
              <a:gd name="connsiteX309" fmla="*/ 5018774 w 12139750"/>
              <a:gd name="connsiteY309" fmla="*/ 6523079 h 6858290"/>
              <a:gd name="connsiteX310" fmla="*/ 5014971 w 12139750"/>
              <a:gd name="connsiteY310" fmla="*/ 6505955 h 6858290"/>
              <a:gd name="connsiteX311" fmla="*/ 5037777 w 12139750"/>
              <a:gd name="connsiteY311" fmla="*/ 6469804 h 6858290"/>
              <a:gd name="connsiteX312" fmla="*/ 5374210 w 12139750"/>
              <a:gd name="connsiteY312" fmla="*/ 6302369 h 6858290"/>
              <a:gd name="connsiteX313" fmla="*/ 5405334 w 12139750"/>
              <a:gd name="connsiteY313" fmla="*/ 6300229 h 6858290"/>
              <a:gd name="connsiteX314" fmla="*/ 940474 w 12139750"/>
              <a:gd name="connsiteY314" fmla="*/ 6300229 h 6858290"/>
              <a:gd name="connsiteX315" fmla="*/ 963607 w 12139750"/>
              <a:gd name="connsiteY315" fmla="*/ 6319493 h 6858290"/>
              <a:gd name="connsiteX316" fmla="*/ 944529 w 12139750"/>
              <a:gd name="connsiteY316" fmla="*/ 6372768 h 6858290"/>
              <a:gd name="connsiteX317" fmla="*/ 606835 w 12139750"/>
              <a:gd name="connsiteY317" fmla="*/ 6540203 h 6858290"/>
              <a:gd name="connsiteX318" fmla="*/ 551507 w 12139750"/>
              <a:gd name="connsiteY318" fmla="*/ 6523079 h 6858290"/>
              <a:gd name="connsiteX319" fmla="*/ 547691 w 12139750"/>
              <a:gd name="connsiteY319" fmla="*/ 6505955 h 6858290"/>
              <a:gd name="connsiteX320" fmla="*/ 570586 w 12139750"/>
              <a:gd name="connsiteY320" fmla="*/ 6469804 h 6858290"/>
              <a:gd name="connsiteX321" fmla="*/ 910187 w 12139750"/>
              <a:gd name="connsiteY321" fmla="*/ 6302369 h 6858290"/>
              <a:gd name="connsiteX322" fmla="*/ 940474 w 12139750"/>
              <a:gd name="connsiteY322" fmla="*/ 6300229 h 6858290"/>
              <a:gd name="connsiteX323" fmla="*/ 4851394 w 12139750"/>
              <a:gd name="connsiteY323" fmla="*/ 6285987 h 6858290"/>
              <a:gd name="connsiteX324" fmla="*/ 4875244 w 12139750"/>
              <a:gd name="connsiteY324" fmla="*/ 6305369 h 6858290"/>
              <a:gd name="connsiteX325" fmla="*/ 4856163 w 12139750"/>
              <a:gd name="connsiteY325" fmla="*/ 6358971 h 6858290"/>
              <a:gd name="connsiteX326" fmla="*/ 4518476 w 12139750"/>
              <a:gd name="connsiteY326" fmla="*/ 6529347 h 6858290"/>
              <a:gd name="connsiteX327" fmla="*/ 4465055 w 12139750"/>
              <a:gd name="connsiteY327" fmla="*/ 6512118 h 6858290"/>
              <a:gd name="connsiteX328" fmla="*/ 4459332 w 12139750"/>
              <a:gd name="connsiteY328" fmla="*/ 6494889 h 6858290"/>
              <a:gd name="connsiteX329" fmla="*/ 4482226 w 12139750"/>
              <a:gd name="connsiteY329" fmla="*/ 6458517 h 6858290"/>
              <a:gd name="connsiteX330" fmla="*/ 4821817 w 12139750"/>
              <a:gd name="connsiteY330" fmla="*/ 6288140 h 6858290"/>
              <a:gd name="connsiteX331" fmla="*/ 4851394 w 12139750"/>
              <a:gd name="connsiteY331" fmla="*/ 6285987 h 6858290"/>
              <a:gd name="connsiteX332" fmla="*/ 1486674 w 12139750"/>
              <a:gd name="connsiteY332" fmla="*/ 6285987 h 6858290"/>
              <a:gd name="connsiteX333" fmla="*/ 1509738 w 12139750"/>
              <a:gd name="connsiteY333" fmla="*/ 6305369 h 6858290"/>
              <a:gd name="connsiteX334" fmla="*/ 1492618 w 12139750"/>
              <a:gd name="connsiteY334" fmla="*/ 6358971 h 6858290"/>
              <a:gd name="connsiteX335" fmla="*/ 1154033 w 12139750"/>
              <a:gd name="connsiteY335" fmla="*/ 6529347 h 6858290"/>
              <a:gd name="connsiteX336" fmla="*/ 1100773 w 12139750"/>
              <a:gd name="connsiteY336" fmla="*/ 6512118 h 6858290"/>
              <a:gd name="connsiteX337" fmla="*/ 1096968 w 12139750"/>
              <a:gd name="connsiteY337" fmla="*/ 6494889 h 6858290"/>
              <a:gd name="connsiteX338" fmla="*/ 1117892 w 12139750"/>
              <a:gd name="connsiteY338" fmla="*/ 6458517 h 6858290"/>
              <a:gd name="connsiteX339" fmla="*/ 1456477 w 12139750"/>
              <a:gd name="connsiteY339" fmla="*/ 6288140 h 6858290"/>
              <a:gd name="connsiteX340" fmla="*/ 1486674 w 12139750"/>
              <a:gd name="connsiteY340" fmla="*/ 6285987 h 6858290"/>
              <a:gd name="connsiteX341" fmla="*/ 4292528 w 12139750"/>
              <a:gd name="connsiteY341" fmla="*/ 6273233 h 6858290"/>
              <a:gd name="connsiteX342" fmla="*/ 4314879 w 12139750"/>
              <a:gd name="connsiteY342" fmla="*/ 6292474 h 6858290"/>
              <a:gd name="connsiteX343" fmla="*/ 4297758 w 12139750"/>
              <a:gd name="connsiteY343" fmla="*/ 6345684 h 6858290"/>
              <a:gd name="connsiteX344" fmla="*/ 3961098 w 12139750"/>
              <a:gd name="connsiteY344" fmla="*/ 6516717 h 6858290"/>
              <a:gd name="connsiteX345" fmla="*/ 3907833 w 12139750"/>
              <a:gd name="connsiteY345" fmla="*/ 6499614 h 6858290"/>
              <a:gd name="connsiteX346" fmla="*/ 3902127 w 12139750"/>
              <a:gd name="connsiteY346" fmla="*/ 6482510 h 6858290"/>
              <a:gd name="connsiteX347" fmla="*/ 3924953 w 12139750"/>
              <a:gd name="connsiteY347" fmla="*/ 6446403 h 6858290"/>
              <a:gd name="connsiteX348" fmla="*/ 4261616 w 12139750"/>
              <a:gd name="connsiteY348" fmla="*/ 6275371 h 6858290"/>
              <a:gd name="connsiteX349" fmla="*/ 4292528 w 12139750"/>
              <a:gd name="connsiteY349" fmla="*/ 6273233 h 6858290"/>
              <a:gd name="connsiteX350" fmla="*/ 2038415 w 12139750"/>
              <a:gd name="connsiteY350" fmla="*/ 6273233 h 6858290"/>
              <a:gd name="connsiteX351" fmla="*/ 2062198 w 12139750"/>
              <a:gd name="connsiteY351" fmla="*/ 6292474 h 6858290"/>
              <a:gd name="connsiteX352" fmla="*/ 2045072 w 12139750"/>
              <a:gd name="connsiteY352" fmla="*/ 6345684 h 6858290"/>
              <a:gd name="connsiteX353" fmla="*/ 1706487 w 12139750"/>
              <a:gd name="connsiteY353" fmla="*/ 6516717 h 6858290"/>
              <a:gd name="connsiteX354" fmla="*/ 1653226 w 12139750"/>
              <a:gd name="connsiteY354" fmla="*/ 6499614 h 6858290"/>
              <a:gd name="connsiteX355" fmla="*/ 1649422 w 12139750"/>
              <a:gd name="connsiteY355" fmla="*/ 6482510 h 6858290"/>
              <a:gd name="connsiteX356" fmla="*/ 1670346 w 12139750"/>
              <a:gd name="connsiteY356" fmla="*/ 6446403 h 6858290"/>
              <a:gd name="connsiteX357" fmla="*/ 2008931 w 12139750"/>
              <a:gd name="connsiteY357" fmla="*/ 6275371 h 6858290"/>
              <a:gd name="connsiteX358" fmla="*/ 2038415 w 12139750"/>
              <a:gd name="connsiteY358" fmla="*/ 6273233 h 6858290"/>
              <a:gd name="connsiteX359" fmla="*/ 3729186 w 12139750"/>
              <a:gd name="connsiteY359" fmla="*/ 6260524 h 6858290"/>
              <a:gd name="connsiteX360" fmla="*/ 3751317 w 12139750"/>
              <a:gd name="connsiteY360" fmla="*/ 6279742 h 6858290"/>
              <a:gd name="connsiteX361" fmla="*/ 3736088 w 12139750"/>
              <a:gd name="connsiteY361" fmla="*/ 6330991 h 6858290"/>
              <a:gd name="connsiteX362" fmla="*/ 3397264 w 12139750"/>
              <a:gd name="connsiteY362" fmla="*/ 6505616 h 6858290"/>
              <a:gd name="connsiteX363" fmla="*/ 3345866 w 12139750"/>
              <a:gd name="connsiteY363" fmla="*/ 6488533 h 6858290"/>
              <a:gd name="connsiteX364" fmla="*/ 3340155 w 12139750"/>
              <a:gd name="connsiteY364" fmla="*/ 6469552 h 6858290"/>
              <a:gd name="connsiteX365" fmla="*/ 3361094 w 12139750"/>
              <a:gd name="connsiteY365" fmla="*/ 6435386 h 6858290"/>
              <a:gd name="connsiteX366" fmla="*/ 3699919 w 12139750"/>
              <a:gd name="connsiteY366" fmla="*/ 6262659 h 6858290"/>
              <a:gd name="connsiteX367" fmla="*/ 3729186 w 12139750"/>
              <a:gd name="connsiteY367" fmla="*/ 6260524 h 6858290"/>
              <a:gd name="connsiteX368" fmla="*/ 2595567 w 12139750"/>
              <a:gd name="connsiteY368" fmla="*/ 6260524 h 6858290"/>
              <a:gd name="connsiteX369" fmla="*/ 2617780 w 12139750"/>
              <a:gd name="connsiteY369" fmla="*/ 6279742 h 6858290"/>
              <a:gd name="connsiteX370" fmla="*/ 2600583 w 12139750"/>
              <a:gd name="connsiteY370" fmla="*/ 6330991 h 6858290"/>
              <a:gd name="connsiteX371" fmla="*/ 2262377 w 12139750"/>
              <a:gd name="connsiteY371" fmla="*/ 6505616 h 6858290"/>
              <a:gd name="connsiteX372" fmla="*/ 2210786 w 12139750"/>
              <a:gd name="connsiteY372" fmla="*/ 6488533 h 6858290"/>
              <a:gd name="connsiteX373" fmla="*/ 2205054 w 12139750"/>
              <a:gd name="connsiteY373" fmla="*/ 6469552 h 6858290"/>
              <a:gd name="connsiteX374" fmla="*/ 2226073 w 12139750"/>
              <a:gd name="connsiteY374" fmla="*/ 6435386 h 6858290"/>
              <a:gd name="connsiteX375" fmla="*/ 2566189 w 12139750"/>
              <a:gd name="connsiteY375" fmla="*/ 6262659 h 6858290"/>
              <a:gd name="connsiteX376" fmla="*/ 2595567 w 12139750"/>
              <a:gd name="connsiteY376" fmla="*/ 6260524 h 6858290"/>
              <a:gd name="connsiteX377" fmla="*/ 3155659 w 12139750"/>
              <a:gd name="connsiteY377" fmla="*/ 6245326 h 6858290"/>
              <a:gd name="connsiteX378" fmla="*/ 3177874 w 12139750"/>
              <a:gd name="connsiteY378" fmla="*/ 6263706 h 6858290"/>
              <a:gd name="connsiteX379" fmla="*/ 3162585 w 12139750"/>
              <a:gd name="connsiteY379" fmla="*/ 6317174 h 6858290"/>
              <a:gd name="connsiteX380" fmla="*/ 2822468 w 12139750"/>
              <a:gd name="connsiteY380" fmla="*/ 6492858 h 6858290"/>
              <a:gd name="connsiteX381" fmla="*/ 2770875 w 12139750"/>
              <a:gd name="connsiteY381" fmla="*/ 6477581 h 6858290"/>
              <a:gd name="connsiteX382" fmla="*/ 2767055 w 12139750"/>
              <a:gd name="connsiteY382" fmla="*/ 6458485 h 6858290"/>
              <a:gd name="connsiteX383" fmla="*/ 2788072 w 12139750"/>
              <a:gd name="connsiteY383" fmla="*/ 6426022 h 6858290"/>
              <a:gd name="connsiteX384" fmla="*/ 3126282 w 12139750"/>
              <a:gd name="connsiteY384" fmla="*/ 6248429 h 6858290"/>
              <a:gd name="connsiteX385" fmla="*/ 3155659 w 12139750"/>
              <a:gd name="connsiteY385" fmla="*/ 6245326 h 6858290"/>
              <a:gd name="connsiteX386" fmla="*/ 9874931 w 12139750"/>
              <a:gd name="connsiteY386" fmla="*/ 6079814 h 6858290"/>
              <a:gd name="connsiteX387" fmla="*/ 9898198 w 12139750"/>
              <a:gd name="connsiteY387" fmla="*/ 6100769 h 6858290"/>
              <a:gd name="connsiteX388" fmla="*/ 9879205 w 12139750"/>
              <a:gd name="connsiteY388" fmla="*/ 6154109 h 6858290"/>
              <a:gd name="connsiteX389" fmla="*/ 9541119 w 12139750"/>
              <a:gd name="connsiteY389" fmla="*/ 6319844 h 6858290"/>
              <a:gd name="connsiteX390" fmla="*/ 9487937 w 12139750"/>
              <a:gd name="connsiteY390" fmla="*/ 6300794 h 6858290"/>
              <a:gd name="connsiteX391" fmla="*/ 9482239 w 12139750"/>
              <a:gd name="connsiteY391" fmla="*/ 6281744 h 6858290"/>
              <a:gd name="connsiteX392" fmla="*/ 9506931 w 12139750"/>
              <a:gd name="connsiteY392" fmla="*/ 6245549 h 6858290"/>
              <a:gd name="connsiteX393" fmla="*/ 9843117 w 12139750"/>
              <a:gd name="connsiteY393" fmla="*/ 6081719 h 6858290"/>
              <a:gd name="connsiteX394" fmla="*/ 9874931 w 12139750"/>
              <a:gd name="connsiteY394" fmla="*/ 6079814 h 6858290"/>
              <a:gd name="connsiteX395" fmla="*/ 10459016 w 12139750"/>
              <a:gd name="connsiteY395" fmla="*/ 6066240 h 6858290"/>
              <a:gd name="connsiteX396" fmla="*/ 10482370 w 12139750"/>
              <a:gd name="connsiteY396" fmla="*/ 6086481 h 6858290"/>
              <a:gd name="connsiteX397" fmla="*/ 10463305 w 12139750"/>
              <a:gd name="connsiteY397" fmla="*/ 6141726 h 6858290"/>
              <a:gd name="connsiteX398" fmla="*/ 10123959 w 12139750"/>
              <a:gd name="connsiteY398" fmla="*/ 6305556 h 6858290"/>
              <a:gd name="connsiteX399" fmla="*/ 10068672 w 12139750"/>
              <a:gd name="connsiteY399" fmla="*/ 6286506 h 6858290"/>
              <a:gd name="connsiteX400" fmla="*/ 10064859 w 12139750"/>
              <a:gd name="connsiteY400" fmla="*/ 6269361 h 6858290"/>
              <a:gd name="connsiteX401" fmla="*/ 10087736 w 12139750"/>
              <a:gd name="connsiteY401" fmla="*/ 6231261 h 6858290"/>
              <a:gd name="connsiteX402" fmla="*/ 10427083 w 12139750"/>
              <a:gd name="connsiteY402" fmla="*/ 6067431 h 6858290"/>
              <a:gd name="connsiteX403" fmla="*/ 10459016 w 12139750"/>
              <a:gd name="connsiteY403" fmla="*/ 6066240 h 6858290"/>
              <a:gd name="connsiteX404" fmla="*/ 9297823 w 12139750"/>
              <a:gd name="connsiteY404" fmla="*/ 6066240 h 6858290"/>
              <a:gd name="connsiteX405" fmla="*/ 9321892 w 12139750"/>
              <a:gd name="connsiteY405" fmla="*/ 6086481 h 6858290"/>
              <a:gd name="connsiteX406" fmla="*/ 9302827 w 12139750"/>
              <a:gd name="connsiteY406" fmla="*/ 6141726 h 6858290"/>
              <a:gd name="connsiteX407" fmla="*/ 8963481 w 12139750"/>
              <a:gd name="connsiteY407" fmla="*/ 6305556 h 6858290"/>
              <a:gd name="connsiteX408" fmla="*/ 8908194 w 12139750"/>
              <a:gd name="connsiteY408" fmla="*/ 6286506 h 6858290"/>
              <a:gd name="connsiteX409" fmla="*/ 8904381 w 12139750"/>
              <a:gd name="connsiteY409" fmla="*/ 6269361 h 6858290"/>
              <a:gd name="connsiteX410" fmla="*/ 8927258 w 12139750"/>
              <a:gd name="connsiteY410" fmla="*/ 6231261 h 6858290"/>
              <a:gd name="connsiteX411" fmla="*/ 9266605 w 12139750"/>
              <a:gd name="connsiteY411" fmla="*/ 6067431 h 6858290"/>
              <a:gd name="connsiteX412" fmla="*/ 9297823 w 12139750"/>
              <a:gd name="connsiteY412" fmla="*/ 6066240 h 6858290"/>
              <a:gd name="connsiteX413" fmla="*/ 11018858 w 12139750"/>
              <a:gd name="connsiteY413" fmla="*/ 6051844 h 6858290"/>
              <a:gd name="connsiteX414" fmla="*/ 11057081 w 12139750"/>
              <a:gd name="connsiteY414" fmla="*/ 6075686 h 6858290"/>
              <a:gd name="connsiteX415" fmla="*/ 11038074 w 12139750"/>
              <a:gd name="connsiteY415" fmla="*/ 6129026 h 6858290"/>
              <a:gd name="connsiteX416" fmla="*/ 10699740 w 12139750"/>
              <a:gd name="connsiteY416" fmla="*/ 6292856 h 6858290"/>
              <a:gd name="connsiteX417" fmla="*/ 10646519 w 12139750"/>
              <a:gd name="connsiteY417" fmla="*/ 6273806 h 6858290"/>
              <a:gd name="connsiteX418" fmla="*/ 10642717 w 12139750"/>
              <a:gd name="connsiteY418" fmla="*/ 6256661 h 6858290"/>
              <a:gd name="connsiteX419" fmla="*/ 10665526 w 12139750"/>
              <a:gd name="connsiteY419" fmla="*/ 6220466 h 6858290"/>
              <a:gd name="connsiteX420" fmla="*/ 11003860 w 12139750"/>
              <a:gd name="connsiteY420" fmla="*/ 6056636 h 6858290"/>
              <a:gd name="connsiteX421" fmla="*/ 11018858 w 12139750"/>
              <a:gd name="connsiteY421" fmla="*/ 6051844 h 6858290"/>
              <a:gd name="connsiteX422" fmla="*/ 8710944 w 12139750"/>
              <a:gd name="connsiteY422" fmla="*/ 6051843 h 6858290"/>
              <a:gd name="connsiteX423" fmla="*/ 8748477 w 12139750"/>
              <a:gd name="connsiteY423" fmla="*/ 6075686 h 6858290"/>
              <a:gd name="connsiteX424" fmla="*/ 8731319 w 12139750"/>
              <a:gd name="connsiteY424" fmla="*/ 6129026 h 6858290"/>
              <a:gd name="connsiteX425" fmla="*/ 8391973 w 12139750"/>
              <a:gd name="connsiteY425" fmla="*/ 6292856 h 6858290"/>
              <a:gd name="connsiteX426" fmla="*/ 8336686 w 12139750"/>
              <a:gd name="connsiteY426" fmla="*/ 6273806 h 6858290"/>
              <a:gd name="connsiteX427" fmla="*/ 8332873 w 12139750"/>
              <a:gd name="connsiteY427" fmla="*/ 6256661 h 6858290"/>
              <a:gd name="connsiteX428" fmla="*/ 8355750 w 12139750"/>
              <a:gd name="connsiteY428" fmla="*/ 6220466 h 6858290"/>
              <a:gd name="connsiteX429" fmla="*/ 8695097 w 12139750"/>
              <a:gd name="connsiteY429" fmla="*/ 6056636 h 6858290"/>
              <a:gd name="connsiteX430" fmla="*/ 8710944 w 12139750"/>
              <a:gd name="connsiteY430" fmla="*/ 6051843 h 6858290"/>
              <a:gd name="connsiteX431" fmla="*/ 11603954 w 12139750"/>
              <a:gd name="connsiteY431" fmla="*/ 6041714 h 6858290"/>
              <a:gd name="connsiteX432" fmla="*/ 11627001 w 12139750"/>
              <a:gd name="connsiteY432" fmla="*/ 6062669 h 6858290"/>
              <a:gd name="connsiteX433" fmla="*/ 11607994 w 12139750"/>
              <a:gd name="connsiteY433" fmla="*/ 6117914 h 6858290"/>
              <a:gd name="connsiteX434" fmla="*/ 11271560 w 12139750"/>
              <a:gd name="connsiteY434" fmla="*/ 6281744 h 6858290"/>
              <a:gd name="connsiteX435" fmla="*/ 11216439 w 12139750"/>
              <a:gd name="connsiteY435" fmla="*/ 6262694 h 6858290"/>
              <a:gd name="connsiteX436" fmla="*/ 11212637 w 12139750"/>
              <a:gd name="connsiteY436" fmla="*/ 6243644 h 6858290"/>
              <a:gd name="connsiteX437" fmla="*/ 11235446 w 12139750"/>
              <a:gd name="connsiteY437" fmla="*/ 6207449 h 6858290"/>
              <a:gd name="connsiteX438" fmla="*/ 11573780 w 12139750"/>
              <a:gd name="connsiteY438" fmla="*/ 6043619 h 6858290"/>
              <a:gd name="connsiteX439" fmla="*/ 11603954 w 12139750"/>
              <a:gd name="connsiteY439" fmla="*/ 6041714 h 6858290"/>
              <a:gd name="connsiteX440" fmla="*/ 8160285 w 12139750"/>
              <a:gd name="connsiteY440" fmla="*/ 6041714 h 6858290"/>
              <a:gd name="connsiteX441" fmla="*/ 8183639 w 12139750"/>
              <a:gd name="connsiteY441" fmla="*/ 6062669 h 6858290"/>
              <a:gd name="connsiteX442" fmla="*/ 8164574 w 12139750"/>
              <a:gd name="connsiteY442" fmla="*/ 6117914 h 6858290"/>
              <a:gd name="connsiteX443" fmla="*/ 7825227 w 12139750"/>
              <a:gd name="connsiteY443" fmla="*/ 6281744 h 6858290"/>
              <a:gd name="connsiteX444" fmla="*/ 7769941 w 12139750"/>
              <a:gd name="connsiteY444" fmla="*/ 6262694 h 6858290"/>
              <a:gd name="connsiteX445" fmla="*/ 7766128 w 12139750"/>
              <a:gd name="connsiteY445" fmla="*/ 6243644 h 6858290"/>
              <a:gd name="connsiteX446" fmla="*/ 7789005 w 12139750"/>
              <a:gd name="connsiteY446" fmla="*/ 6207449 h 6858290"/>
              <a:gd name="connsiteX447" fmla="*/ 8128352 w 12139750"/>
              <a:gd name="connsiteY447" fmla="*/ 6043619 h 6858290"/>
              <a:gd name="connsiteX448" fmla="*/ 8160285 w 12139750"/>
              <a:gd name="connsiteY448" fmla="*/ 6041714 h 6858290"/>
              <a:gd name="connsiteX449" fmla="*/ 12135947 w 12139750"/>
              <a:gd name="connsiteY449" fmla="*/ 6029331 h 6858290"/>
              <a:gd name="connsiteX450" fmla="*/ 12139750 w 12139750"/>
              <a:gd name="connsiteY450" fmla="*/ 6029331 h 6858290"/>
              <a:gd name="connsiteX451" fmla="*/ 12139750 w 12139750"/>
              <a:gd name="connsiteY451" fmla="*/ 6118866 h 6858290"/>
              <a:gd name="connsiteX452" fmla="*/ 11833573 w 12139750"/>
              <a:gd name="connsiteY452" fmla="*/ 6267456 h 6858290"/>
              <a:gd name="connsiteX453" fmla="*/ 11780325 w 12139750"/>
              <a:gd name="connsiteY453" fmla="*/ 6248406 h 6858290"/>
              <a:gd name="connsiteX454" fmla="*/ 11774620 w 12139750"/>
              <a:gd name="connsiteY454" fmla="*/ 6231261 h 6858290"/>
              <a:gd name="connsiteX455" fmla="*/ 11797441 w 12139750"/>
              <a:gd name="connsiteY455" fmla="*/ 6195066 h 6858290"/>
              <a:gd name="connsiteX456" fmla="*/ 7599808 w 12139750"/>
              <a:gd name="connsiteY456" fmla="*/ 6028140 h 6858290"/>
              <a:gd name="connsiteX457" fmla="*/ 7622924 w 12139750"/>
              <a:gd name="connsiteY457" fmla="*/ 6048381 h 6858290"/>
              <a:gd name="connsiteX458" fmla="*/ 7603860 w 12139750"/>
              <a:gd name="connsiteY458" fmla="*/ 6103626 h 6858290"/>
              <a:gd name="connsiteX459" fmla="*/ 7266419 w 12139750"/>
              <a:gd name="connsiteY459" fmla="*/ 6267456 h 6858290"/>
              <a:gd name="connsiteX460" fmla="*/ 7211133 w 12139750"/>
              <a:gd name="connsiteY460" fmla="*/ 6248406 h 6858290"/>
              <a:gd name="connsiteX461" fmla="*/ 7207320 w 12139750"/>
              <a:gd name="connsiteY461" fmla="*/ 6231261 h 6858290"/>
              <a:gd name="connsiteX462" fmla="*/ 7230197 w 12139750"/>
              <a:gd name="connsiteY462" fmla="*/ 6195066 h 6858290"/>
              <a:gd name="connsiteX463" fmla="*/ 7569544 w 12139750"/>
              <a:gd name="connsiteY463" fmla="*/ 6029331 h 6858290"/>
              <a:gd name="connsiteX464" fmla="*/ 7599808 w 12139750"/>
              <a:gd name="connsiteY464" fmla="*/ 6028140 h 6858290"/>
              <a:gd name="connsiteX465" fmla="*/ 7047350 w 12139750"/>
              <a:gd name="connsiteY465" fmla="*/ 6016314 h 6858290"/>
              <a:gd name="connsiteX466" fmla="*/ 7070466 w 12139750"/>
              <a:gd name="connsiteY466" fmla="*/ 6037269 h 6858290"/>
              <a:gd name="connsiteX467" fmla="*/ 7051402 w 12139750"/>
              <a:gd name="connsiteY467" fmla="*/ 6090609 h 6858290"/>
              <a:gd name="connsiteX468" fmla="*/ 6713961 w 12139750"/>
              <a:gd name="connsiteY468" fmla="*/ 6254439 h 6858290"/>
              <a:gd name="connsiteX469" fmla="*/ 6658675 w 12139750"/>
              <a:gd name="connsiteY469" fmla="*/ 6235389 h 6858290"/>
              <a:gd name="connsiteX470" fmla="*/ 6654862 w 12139750"/>
              <a:gd name="connsiteY470" fmla="*/ 6218244 h 6858290"/>
              <a:gd name="connsiteX471" fmla="*/ 6677739 w 12139750"/>
              <a:gd name="connsiteY471" fmla="*/ 6182049 h 6858290"/>
              <a:gd name="connsiteX472" fmla="*/ 7017086 w 12139750"/>
              <a:gd name="connsiteY472" fmla="*/ 6018219 h 6858290"/>
              <a:gd name="connsiteX473" fmla="*/ 7047350 w 12139750"/>
              <a:gd name="connsiteY473" fmla="*/ 6016314 h 6858290"/>
              <a:gd name="connsiteX474" fmla="*/ 6502912 w 12139750"/>
              <a:gd name="connsiteY474" fmla="*/ 6003613 h 6858290"/>
              <a:gd name="connsiteX475" fmla="*/ 6526266 w 12139750"/>
              <a:gd name="connsiteY475" fmla="*/ 6024568 h 6858290"/>
              <a:gd name="connsiteX476" fmla="*/ 6507201 w 12139750"/>
              <a:gd name="connsiteY476" fmla="*/ 6079813 h 6858290"/>
              <a:gd name="connsiteX477" fmla="*/ 6167854 w 12139750"/>
              <a:gd name="connsiteY477" fmla="*/ 6243643 h 6858290"/>
              <a:gd name="connsiteX478" fmla="*/ 6112568 w 12139750"/>
              <a:gd name="connsiteY478" fmla="*/ 6224593 h 6858290"/>
              <a:gd name="connsiteX479" fmla="*/ 6108755 w 12139750"/>
              <a:gd name="connsiteY479" fmla="*/ 6207448 h 6858290"/>
              <a:gd name="connsiteX480" fmla="*/ 6131632 w 12139750"/>
              <a:gd name="connsiteY480" fmla="*/ 6169348 h 6858290"/>
              <a:gd name="connsiteX481" fmla="*/ 6470979 w 12139750"/>
              <a:gd name="connsiteY481" fmla="*/ 6005518 h 6858290"/>
              <a:gd name="connsiteX482" fmla="*/ 6502912 w 12139750"/>
              <a:gd name="connsiteY482" fmla="*/ 6003613 h 6858290"/>
              <a:gd name="connsiteX483" fmla="*/ 5940751 w 12139750"/>
              <a:gd name="connsiteY483" fmla="*/ 5988314 h 6858290"/>
              <a:gd name="connsiteX484" fmla="*/ 5980159 w 12139750"/>
              <a:gd name="connsiteY484" fmla="*/ 6010281 h 6858290"/>
              <a:gd name="connsiteX485" fmla="*/ 5961095 w 12139750"/>
              <a:gd name="connsiteY485" fmla="*/ 6065526 h 6858290"/>
              <a:gd name="connsiteX486" fmla="*/ 5621756 w 12139750"/>
              <a:gd name="connsiteY486" fmla="*/ 6229356 h 6858290"/>
              <a:gd name="connsiteX487" fmla="*/ 5566471 w 12139750"/>
              <a:gd name="connsiteY487" fmla="*/ 6210306 h 6858290"/>
              <a:gd name="connsiteX488" fmla="*/ 5562658 w 12139750"/>
              <a:gd name="connsiteY488" fmla="*/ 6193161 h 6858290"/>
              <a:gd name="connsiteX489" fmla="*/ 5585535 w 12139750"/>
              <a:gd name="connsiteY489" fmla="*/ 6156966 h 6858290"/>
              <a:gd name="connsiteX490" fmla="*/ 5924874 w 12139750"/>
              <a:gd name="connsiteY490" fmla="*/ 5993136 h 6858290"/>
              <a:gd name="connsiteX491" fmla="*/ 5940751 w 12139750"/>
              <a:gd name="connsiteY491" fmla="*/ 5988314 h 6858290"/>
              <a:gd name="connsiteX492" fmla="*/ 380904 w 12139750"/>
              <a:gd name="connsiteY492" fmla="*/ 5988314 h 6858290"/>
              <a:gd name="connsiteX493" fmla="*/ 419127 w 12139750"/>
              <a:gd name="connsiteY493" fmla="*/ 6010281 h 6858290"/>
              <a:gd name="connsiteX494" fmla="*/ 400120 w 12139750"/>
              <a:gd name="connsiteY494" fmla="*/ 6065526 h 6858290"/>
              <a:gd name="connsiteX495" fmla="*/ 63687 w 12139750"/>
              <a:gd name="connsiteY495" fmla="*/ 6229356 h 6858290"/>
              <a:gd name="connsiteX496" fmla="*/ 8565 w 12139750"/>
              <a:gd name="connsiteY496" fmla="*/ 6210306 h 6858290"/>
              <a:gd name="connsiteX497" fmla="*/ 4764 w 12139750"/>
              <a:gd name="connsiteY497" fmla="*/ 6193161 h 6858290"/>
              <a:gd name="connsiteX498" fmla="*/ 27573 w 12139750"/>
              <a:gd name="connsiteY498" fmla="*/ 6156966 h 6858290"/>
              <a:gd name="connsiteX499" fmla="*/ 365906 w 12139750"/>
              <a:gd name="connsiteY499" fmla="*/ 5993136 h 6858290"/>
              <a:gd name="connsiteX500" fmla="*/ 380904 w 12139750"/>
              <a:gd name="connsiteY500" fmla="*/ 5988314 h 6858290"/>
              <a:gd name="connsiteX501" fmla="*/ 5406285 w 12139750"/>
              <a:gd name="connsiteY501" fmla="*/ 5978213 h 6858290"/>
              <a:gd name="connsiteX502" fmla="*/ 5429330 w 12139750"/>
              <a:gd name="connsiteY502" fmla="*/ 5999168 h 6858290"/>
              <a:gd name="connsiteX503" fmla="*/ 5410323 w 12139750"/>
              <a:gd name="connsiteY503" fmla="*/ 6052508 h 6858290"/>
              <a:gd name="connsiteX504" fmla="*/ 5071988 w 12139750"/>
              <a:gd name="connsiteY504" fmla="*/ 6218243 h 6858290"/>
              <a:gd name="connsiteX505" fmla="*/ 5018774 w 12139750"/>
              <a:gd name="connsiteY505" fmla="*/ 6199193 h 6858290"/>
              <a:gd name="connsiteX506" fmla="*/ 5014971 w 12139750"/>
              <a:gd name="connsiteY506" fmla="*/ 6180143 h 6858290"/>
              <a:gd name="connsiteX507" fmla="*/ 5037777 w 12139750"/>
              <a:gd name="connsiteY507" fmla="*/ 6143948 h 6858290"/>
              <a:gd name="connsiteX508" fmla="*/ 5376110 w 12139750"/>
              <a:gd name="connsiteY508" fmla="*/ 5980118 h 6858290"/>
              <a:gd name="connsiteX509" fmla="*/ 5406285 w 12139750"/>
              <a:gd name="connsiteY509" fmla="*/ 5978213 h 6858290"/>
              <a:gd name="connsiteX510" fmla="*/ 940179 w 12139750"/>
              <a:gd name="connsiteY510" fmla="*/ 5978213 h 6858290"/>
              <a:gd name="connsiteX511" fmla="*/ 963295 w 12139750"/>
              <a:gd name="connsiteY511" fmla="*/ 5999168 h 6858290"/>
              <a:gd name="connsiteX512" fmla="*/ 944230 w 12139750"/>
              <a:gd name="connsiteY512" fmla="*/ 6052508 h 6858290"/>
              <a:gd name="connsiteX513" fmla="*/ 606791 w 12139750"/>
              <a:gd name="connsiteY513" fmla="*/ 6218243 h 6858290"/>
              <a:gd name="connsiteX514" fmla="*/ 551504 w 12139750"/>
              <a:gd name="connsiteY514" fmla="*/ 6199193 h 6858290"/>
              <a:gd name="connsiteX515" fmla="*/ 547691 w 12139750"/>
              <a:gd name="connsiteY515" fmla="*/ 6180143 h 6858290"/>
              <a:gd name="connsiteX516" fmla="*/ 570568 w 12139750"/>
              <a:gd name="connsiteY516" fmla="*/ 6143948 h 6858290"/>
              <a:gd name="connsiteX517" fmla="*/ 909915 w 12139750"/>
              <a:gd name="connsiteY517" fmla="*/ 5980118 h 6858290"/>
              <a:gd name="connsiteX518" fmla="*/ 940179 w 12139750"/>
              <a:gd name="connsiteY518" fmla="*/ 5978213 h 6858290"/>
              <a:gd name="connsiteX519" fmla="*/ 4852108 w 12139750"/>
              <a:gd name="connsiteY519" fmla="*/ 5966227 h 6858290"/>
              <a:gd name="connsiteX520" fmla="*/ 4875244 w 12139750"/>
              <a:gd name="connsiteY520" fmla="*/ 5986468 h 6858290"/>
              <a:gd name="connsiteX521" fmla="*/ 4856163 w 12139750"/>
              <a:gd name="connsiteY521" fmla="*/ 6041713 h 6858290"/>
              <a:gd name="connsiteX522" fmla="*/ 4516568 w 12139750"/>
              <a:gd name="connsiteY522" fmla="*/ 6205543 h 6858290"/>
              <a:gd name="connsiteX523" fmla="*/ 4463147 w 12139750"/>
              <a:gd name="connsiteY523" fmla="*/ 6186493 h 6858290"/>
              <a:gd name="connsiteX524" fmla="*/ 4459332 w 12139750"/>
              <a:gd name="connsiteY524" fmla="*/ 6169348 h 6858290"/>
              <a:gd name="connsiteX525" fmla="*/ 4482226 w 12139750"/>
              <a:gd name="connsiteY525" fmla="*/ 6131248 h 6858290"/>
              <a:gd name="connsiteX526" fmla="*/ 4821817 w 12139750"/>
              <a:gd name="connsiteY526" fmla="*/ 5967418 h 6858290"/>
              <a:gd name="connsiteX527" fmla="*/ 4852108 w 12139750"/>
              <a:gd name="connsiteY527" fmla="*/ 5966227 h 6858290"/>
              <a:gd name="connsiteX528" fmla="*/ 1487950 w 12139750"/>
              <a:gd name="connsiteY528" fmla="*/ 5966227 h 6858290"/>
              <a:gd name="connsiteX529" fmla="*/ 1511303 w 12139750"/>
              <a:gd name="connsiteY529" fmla="*/ 5986468 h 6858290"/>
              <a:gd name="connsiteX530" fmla="*/ 1492239 w 12139750"/>
              <a:gd name="connsiteY530" fmla="*/ 6041713 h 6858290"/>
              <a:gd name="connsiteX531" fmla="*/ 1152893 w 12139750"/>
              <a:gd name="connsiteY531" fmla="*/ 6205543 h 6858290"/>
              <a:gd name="connsiteX532" fmla="*/ 1097606 w 12139750"/>
              <a:gd name="connsiteY532" fmla="*/ 6186493 h 6858290"/>
              <a:gd name="connsiteX533" fmla="*/ 1093793 w 12139750"/>
              <a:gd name="connsiteY533" fmla="*/ 6169348 h 6858290"/>
              <a:gd name="connsiteX534" fmla="*/ 1116671 w 12139750"/>
              <a:gd name="connsiteY534" fmla="*/ 6131248 h 6858290"/>
              <a:gd name="connsiteX535" fmla="*/ 1456017 w 12139750"/>
              <a:gd name="connsiteY535" fmla="*/ 5967418 h 6858290"/>
              <a:gd name="connsiteX536" fmla="*/ 1487950 w 12139750"/>
              <a:gd name="connsiteY536" fmla="*/ 5966227 h 6858290"/>
              <a:gd name="connsiteX537" fmla="*/ 4293425 w 12139750"/>
              <a:gd name="connsiteY537" fmla="*/ 5952822 h 6858290"/>
              <a:gd name="connsiteX538" fmla="*/ 4316472 w 12139750"/>
              <a:gd name="connsiteY538" fmla="*/ 5973803 h 6858290"/>
              <a:gd name="connsiteX539" fmla="*/ 4297464 w 12139750"/>
              <a:gd name="connsiteY539" fmla="*/ 6027210 h 6858290"/>
              <a:gd name="connsiteX540" fmla="*/ 3959151 w 12139750"/>
              <a:gd name="connsiteY540" fmla="*/ 6191244 h 6858290"/>
              <a:gd name="connsiteX541" fmla="*/ 3905930 w 12139750"/>
              <a:gd name="connsiteY541" fmla="*/ 6172170 h 6858290"/>
              <a:gd name="connsiteX542" fmla="*/ 3902127 w 12139750"/>
              <a:gd name="connsiteY542" fmla="*/ 6155004 h 6858290"/>
              <a:gd name="connsiteX543" fmla="*/ 3924936 w 12139750"/>
              <a:gd name="connsiteY543" fmla="*/ 6118764 h 6858290"/>
              <a:gd name="connsiteX544" fmla="*/ 4263250 w 12139750"/>
              <a:gd name="connsiteY544" fmla="*/ 5954730 h 6858290"/>
              <a:gd name="connsiteX545" fmla="*/ 4293425 w 12139750"/>
              <a:gd name="connsiteY545" fmla="*/ 5952822 h 6858290"/>
              <a:gd name="connsiteX546" fmla="*/ 2039813 w 12139750"/>
              <a:gd name="connsiteY546" fmla="*/ 5952822 h 6858290"/>
              <a:gd name="connsiteX547" fmla="*/ 2063798 w 12139750"/>
              <a:gd name="connsiteY547" fmla="*/ 5973803 h 6858290"/>
              <a:gd name="connsiteX548" fmla="*/ 2044799 w 12139750"/>
              <a:gd name="connsiteY548" fmla="*/ 6027210 h 6858290"/>
              <a:gd name="connsiteX549" fmla="*/ 1706714 w 12139750"/>
              <a:gd name="connsiteY549" fmla="*/ 6191244 h 6858290"/>
              <a:gd name="connsiteX550" fmla="*/ 1651633 w 12139750"/>
              <a:gd name="connsiteY550" fmla="*/ 6172170 h 6858290"/>
              <a:gd name="connsiteX551" fmla="*/ 1647834 w 12139750"/>
              <a:gd name="connsiteY551" fmla="*/ 6155004 h 6858290"/>
              <a:gd name="connsiteX552" fmla="*/ 1670626 w 12139750"/>
              <a:gd name="connsiteY552" fmla="*/ 6118764 h 6858290"/>
              <a:gd name="connsiteX553" fmla="*/ 2008712 w 12139750"/>
              <a:gd name="connsiteY553" fmla="*/ 5954730 h 6858290"/>
              <a:gd name="connsiteX554" fmla="*/ 2039813 w 12139750"/>
              <a:gd name="connsiteY554" fmla="*/ 5952822 h 6858290"/>
              <a:gd name="connsiteX555" fmla="*/ 3730408 w 12139750"/>
              <a:gd name="connsiteY555" fmla="*/ 5940113 h 6858290"/>
              <a:gd name="connsiteX556" fmla="*/ 3754477 w 12139750"/>
              <a:gd name="connsiteY556" fmla="*/ 5961068 h 6858290"/>
              <a:gd name="connsiteX557" fmla="*/ 3735413 w 12139750"/>
              <a:gd name="connsiteY557" fmla="*/ 6016313 h 6858290"/>
              <a:gd name="connsiteX558" fmla="*/ 3396080 w 12139750"/>
              <a:gd name="connsiteY558" fmla="*/ 6180143 h 6858290"/>
              <a:gd name="connsiteX559" fmla="*/ 3340791 w 12139750"/>
              <a:gd name="connsiteY559" fmla="*/ 6161093 h 6858290"/>
              <a:gd name="connsiteX560" fmla="*/ 3336980 w 12139750"/>
              <a:gd name="connsiteY560" fmla="*/ 6142043 h 6858290"/>
              <a:gd name="connsiteX561" fmla="*/ 3359854 w 12139750"/>
              <a:gd name="connsiteY561" fmla="*/ 6105848 h 6858290"/>
              <a:gd name="connsiteX562" fmla="*/ 3699190 w 12139750"/>
              <a:gd name="connsiteY562" fmla="*/ 5942018 h 6858290"/>
              <a:gd name="connsiteX563" fmla="*/ 3730408 w 12139750"/>
              <a:gd name="connsiteY563" fmla="*/ 5940113 h 6858290"/>
              <a:gd name="connsiteX564" fmla="*/ 2596907 w 12139750"/>
              <a:gd name="connsiteY564" fmla="*/ 5940113 h 6858290"/>
              <a:gd name="connsiteX565" fmla="*/ 2620976 w 12139750"/>
              <a:gd name="connsiteY565" fmla="*/ 5961068 h 6858290"/>
              <a:gd name="connsiteX566" fmla="*/ 2601911 w 12139750"/>
              <a:gd name="connsiteY566" fmla="*/ 6016313 h 6858290"/>
              <a:gd name="connsiteX567" fmla="*/ 2262565 w 12139750"/>
              <a:gd name="connsiteY567" fmla="*/ 6180143 h 6858290"/>
              <a:gd name="connsiteX568" fmla="*/ 2207278 w 12139750"/>
              <a:gd name="connsiteY568" fmla="*/ 6161093 h 6858290"/>
              <a:gd name="connsiteX569" fmla="*/ 2203466 w 12139750"/>
              <a:gd name="connsiteY569" fmla="*/ 6142043 h 6858290"/>
              <a:gd name="connsiteX570" fmla="*/ 2226343 w 12139750"/>
              <a:gd name="connsiteY570" fmla="*/ 6105848 h 6858290"/>
              <a:gd name="connsiteX571" fmla="*/ 2565688 w 12139750"/>
              <a:gd name="connsiteY571" fmla="*/ 5942018 h 6858290"/>
              <a:gd name="connsiteX572" fmla="*/ 2596907 w 12139750"/>
              <a:gd name="connsiteY572" fmla="*/ 5940113 h 6858290"/>
              <a:gd name="connsiteX573" fmla="*/ 3158038 w 12139750"/>
              <a:gd name="connsiteY573" fmla="*/ 5928127 h 6858290"/>
              <a:gd name="connsiteX574" fmla="*/ 3181392 w 12139750"/>
              <a:gd name="connsiteY574" fmla="*/ 5948368 h 6858290"/>
              <a:gd name="connsiteX575" fmla="*/ 3162325 w 12139750"/>
              <a:gd name="connsiteY575" fmla="*/ 6003613 h 6858290"/>
              <a:gd name="connsiteX576" fmla="*/ 2822979 w 12139750"/>
              <a:gd name="connsiteY576" fmla="*/ 6167443 h 6858290"/>
              <a:gd name="connsiteX577" fmla="*/ 2769598 w 12139750"/>
              <a:gd name="connsiteY577" fmla="*/ 6148393 h 6858290"/>
              <a:gd name="connsiteX578" fmla="*/ 2763878 w 12139750"/>
              <a:gd name="connsiteY578" fmla="*/ 6131248 h 6858290"/>
              <a:gd name="connsiteX579" fmla="*/ 2788667 w 12139750"/>
              <a:gd name="connsiteY579" fmla="*/ 6093148 h 6858290"/>
              <a:gd name="connsiteX580" fmla="*/ 3126105 w 12139750"/>
              <a:gd name="connsiteY580" fmla="*/ 5929318 h 6858290"/>
              <a:gd name="connsiteX581" fmla="*/ 3158038 w 12139750"/>
              <a:gd name="connsiteY581" fmla="*/ 5928127 h 6858290"/>
              <a:gd name="connsiteX582" fmla="*/ 9872849 w 12139750"/>
              <a:gd name="connsiteY582" fmla="*/ 5750963 h 6858290"/>
              <a:gd name="connsiteX583" fmla="*/ 9894995 w 12139750"/>
              <a:gd name="connsiteY583" fmla="*/ 5770251 h 6858290"/>
              <a:gd name="connsiteX584" fmla="*/ 9879755 w 12139750"/>
              <a:gd name="connsiteY584" fmla="*/ 5821686 h 6858290"/>
              <a:gd name="connsiteX585" fmla="*/ 9542565 w 12139750"/>
              <a:gd name="connsiteY585" fmla="*/ 6000756 h 6858290"/>
              <a:gd name="connsiteX586" fmla="*/ 9489224 w 12139750"/>
              <a:gd name="connsiteY586" fmla="*/ 5983611 h 6858290"/>
              <a:gd name="connsiteX587" fmla="*/ 9485414 w 12139750"/>
              <a:gd name="connsiteY587" fmla="*/ 5966466 h 6858290"/>
              <a:gd name="connsiteX588" fmla="*/ 9506369 w 12139750"/>
              <a:gd name="connsiteY588" fmla="*/ 5932176 h 6858290"/>
              <a:gd name="connsiteX589" fmla="*/ 9843559 w 12139750"/>
              <a:gd name="connsiteY589" fmla="*/ 5753106 h 6858290"/>
              <a:gd name="connsiteX590" fmla="*/ 9872849 w 12139750"/>
              <a:gd name="connsiteY590" fmla="*/ 5750963 h 6858290"/>
              <a:gd name="connsiteX591" fmla="*/ 10455469 w 12139750"/>
              <a:gd name="connsiteY591" fmla="*/ 5739858 h 6858290"/>
              <a:gd name="connsiteX592" fmla="*/ 10477615 w 12139750"/>
              <a:gd name="connsiteY592" fmla="*/ 5759170 h 6858290"/>
              <a:gd name="connsiteX593" fmla="*/ 10462375 w 12139750"/>
              <a:gd name="connsiteY593" fmla="*/ 5810667 h 6858290"/>
              <a:gd name="connsiteX594" fmla="*/ 10123280 w 12139750"/>
              <a:gd name="connsiteY594" fmla="*/ 5988044 h 6858290"/>
              <a:gd name="connsiteX595" fmla="*/ 10071844 w 12139750"/>
              <a:gd name="connsiteY595" fmla="*/ 5970879 h 6858290"/>
              <a:gd name="connsiteX596" fmla="*/ 10068034 w 12139750"/>
              <a:gd name="connsiteY596" fmla="*/ 5953713 h 6858290"/>
              <a:gd name="connsiteX597" fmla="*/ 10088989 w 12139750"/>
              <a:gd name="connsiteY597" fmla="*/ 5919382 h 6858290"/>
              <a:gd name="connsiteX598" fmla="*/ 10426179 w 12139750"/>
              <a:gd name="connsiteY598" fmla="*/ 5742004 h 6858290"/>
              <a:gd name="connsiteX599" fmla="*/ 10455469 w 12139750"/>
              <a:gd name="connsiteY599" fmla="*/ 5739858 h 6858290"/>
              <a:gd name="connsiteX600" fmla="*/ 9295014 w 12139750"/>
              <a:gd name="connsiteY600" fmla="*/ 5739858 h 6858290"/>
              <a:gd name="connsiteX601" fmla="*/ 9317143 w 12139750"/>
              <a:gd name="connsiteY601" fmla="*/ 5759170 h 6858290"/>
              <a:gd name="connsiteX602" fmla="*/ 9300011 w 12139750"/>
              <a:gd name="connsiteY602" fmla="*/ 5810667 h 6858290"/>
              <a:gd name="connsiteX603" fmla="*/ 8963076 w 12139750"/>
              <a:gd name="connsiteY603" fmla="*/ 5988044 h 6858290"/>
              <a:gd name="connsiteX604" fmla="*/ 8911679 w 12139750"/>
              <a:gd name="connsiteY604" fmla="*/ 5970879 h 6858290"/>
              <a:gd name="connsiteX605" fmla="*/ 8905968 w 12139750"/>
              <a:gd name="connsiteY605" fmla="*/ 5953713 h 6858290"/>
              <a:gd name="connsiteX606" fmla="*/ 8926907 w 12139750"/>
              <a:gd name="connsiteY606" fmla="*/ 5919382 h 6858290"/>
              <a:gd name="connsiteX607" fmla="*/ 9265746 w 12139750"/>
              <a:gd name="connsiteY607" fmla="*/ 5742004 h 6858290"/>
              <a:gd name="connsiteX608" fmla="*/ 9295014 w 12139750"/>
              <a:gd name="connsiteY608" fmla="*/ 5739858 h 6858290"/>
              <a:gd name="connsiteX609" fmla="*/ 11032399 w 12139750"/>
              <a:gd name="connsiteY609" fmla="*/ 5727762 h 6858290"/>
              <a:gd name="connsiteX610" fmla="*/ 11055480 w 12139750"/>
              <a:gd name="connsiteY610" fmla="*/ 5746031 h 6858290"/>
              <a:gd name="connsiteX611" fmla="*/ 11038348 w 12139750"/>
              <a:gd name="connsiteY611" fmla="*/ 5799178 h 6858290"/>
              <a:gd name="connsiteX612" fmla="*/ 10701413 w 12139750"/>
              <a:gd name="connsiteY612" fmla="*/ 5973803 h 6858290"/>
              <a:gd name="connsiteX613" fmla="*/ 10648112 w 12139750"/>
              <a:gd name="connsiteY613" fmla="*/ 5956720 h 6858290"/>
              <a:gd name="connsiteX614" fmla="*/ 10644305 w 12139750"/>
              <a:gd name="connsiteY614" fmla="*/ 5937739 h 6858290"/>
              <a:gd name="connsiteX615" fmla="*/ 10665244 w 12139750"/>
              <a:gd name="connsiteY615" fmla="*/ 5903573 h 6858290"/>
              <a:gd name="connsiteX616" fmla="*/ 11002180 w 12139750"/>
              <a:gd name="connsiteY616" fmla="*/ 5730846 h 6858290"/>
              <a:gd name="connsiteX617" fmla="*/ 11032399 w 12139750"/>
              <a:gd name="connsiteY617" fmla="*/ 5727762 h 6858290"/>
              <a:gd name="connsiteX618" fmla="*/ 8723506 w 12139750"/>
              <a:gd name="connsiteY618" fmla="*/ 5727762 h 6858290"/>
              <a:gd name="connsiteX619" fmla="*/ 8745635 w 12139750"/>
              <a:gd name="connsiteY619" fmla="*/ 5746031 h 6858290"/>
              <a:gd name="connsiteX620" fmla="*/ 8728503 w 12139750"/>
              <a:gd name="connsiteY620" fmla="*/ 5799178 h 6858290"/>
              <a:gd name="connsiteX621" fmla="*/ 8391568 w 12139750"/>
              <a:gd name="connsiteY621" fmla="*/ 5973803 h 6858290"/>
              <a:gd name="connsiteX622" fmla="*/ 8338267 w 12139750"/>
              <a:gd name="connsiteY622" fmla="*/ 5956720 h 6858290"/>
              <a:gd name="connsiteX623" fmla="*/ 8334460 w 12139750"/>
              <a:gd name="connsiteY623" fmla="*/ 5937739 h 6858290"/>
              <a:gd name="connsiteX624" fmla="*/ 8355399 w 12139750"/>
              <a:gd name="connsiteY624" fmla="*/ 5903573 h 6858290"/>
              <a:gd name="connsiteX625" fmla="*/ 8694238 w 12139750"/>
              <a:gd name="connsiteY625" fmla="*/ 5730846 h 6858290"/>
              <a:gd name="connsiteX626" fmla="*/ 8723506 w 12139750"/>
              <a:gd name="connsiteY626" fmla="*/ 5727762 h 6858290"/>
              <a:gd name="connsiteX627" fmla="*/ 11603271 w 12139750"/>
              <a:gd name="connsiteY627" fmla="*/ 5714468 h 6858290"/>
              <a:gd name="connsiteX628" fmla="*/ 11625400 w 12139750"/>
              <a:gd name="connsiteY628" fmla="*/ 5733802 h 6858290"/>
              <a:gd name="connsiteX629" fmla="*/ 11608268 w 12139750"/>
              <a:gd name="connsiteY629" fmla="*/ 5787271 h 6858290"/>
              <a:gd name="connsiteX630" fmla="*/ 11271333 w 12139750"/>
              <a:gd name="connsiteY630" fmla="*/ 5961045 h 6858290"/>
              <a:gd name="connsiteX631" fmla="*/ 11218032 w 12139750"/>
              <a:gd name="connsiteY631" fmla="*/ 5941949 h 6858290"/>
              <a:gd name="connsiteX632" fmla="*/ 11214225 w 12139750"/>
              <a:gd name="connsiteY632" fmla="*/ 5924762 h 6858290"/>
              <a:gd name="connsiteX633" fmla="*/ 11235164 w 12139750"/>
              <a:gd name="connsiteY633" fmla="*/ 5890389 h 6858290"/>
              <a:gd name="connsiteX634" fmla="*/ 11574003 w 12139750"/>
              <a:gd name="connsiteY634" fmla="*/ 5716616 h 6858290"/>
              <a:gd name="connsiteX635" fmla="*/ 11603271 w 12139750"/>
              <a:gd name="connsiteY635" fmla="*/ 5714468 h 6858290"/>
              <a:gd name="connsiteX636" fmla="*/ 8158886 w 12139750"/>
              <a:gd name="connsiteY636" fmla="*/ 5714468 h 6858290"/>
              <a:gd name="connsiteX637" fmla="*/ 8182036 w 12139750"/>
              <a:gd name="connsiteY637" fmla="*/ 5733802 h 6858290"/>
              <a:gd name="connsiteX638" fmla="*/ 8164852 w 12139750"/>
              <a:gd name="connsiteY638" fmla="*/ 5787271 h 6858290"/>
              <a:gd name="connsiteX639" fmla="*/ 7824994 w 12139750"/>
              <a:gd name="connsiteY639" fmla="*/ 5961045 h 6858290"/>
              <a:gd name="connsiteX640" fmla="*/ 7771533 w 12139750"/>
              <a:gd name="connsiteY640" fmla="*/ 5941949 h 6858290"/>
              <a:gd name="connsiteX641" fmla="*/ 7767715 w 12139750"/>
              <a:gd name="connsiteY641" fmla="*/ 5924762 h 6858290"/>
              <a:gd name="connsiteX642" fmla="*/ 7788717 w 12139750"/>
              <a:gd name="connsiteY642" fmla="*/ 5890389 h 6858290"/>
              <a:gd name="connsiteX643" fmla="*/ 8128575 w 12139750"/>
              <a:gd name="connsiteY643" fmla="*/ 5716616 h 6858290"/>
              <a:gd name="connsiteX644" fmla="*/ 8158886 w 12139750"/>
              <a:gd name="connsiteY644" fmla="*/ 5714468 h 6858290"/>
              <a:gd name="connsiteX645" fmla="*/ 12139750 w 12139750"/>
              <a:gd name="connsiteY645" fmla="*/ 5703893 h 6858290"/>
              <a:gd name="connsiteX646" fmla="*/ 12139750 w 12139750"/>
              <a:gd name="connsiteY646" fmla="*/ 5793652 h 6858290"/>
              <a:gd name="connsiteX647" fmla="*/ 11833309 w 12139750"/>
              <a:gd name="connsiteY647" fmla="*/ 5948344 h 6858290"/>
              <a:gd name="connsiteX648" fmla="*/ 11780015 w 12139750"/>
              <a:gd name="connsiteY648" fmla="*/ 5929246 h 6858290"/>
              <a:gd name="connsiteX649" fmla="*/ 11776208 w 12139750"/>
              <a:gd name="connsiteY649" fmla="*/ 5912058 h 6858290"/>
              <a:gd name="connsiteX650" fmla="*/ 11799048 w 12139750"/>
              <a:gd name="connsiteY650" fmla="*/ 5875772 h 6858290"/>
              <a:gd name="connsiteX651" fmla="*/ 12135943 w 12139750"/>
              <a:gd name="connsiteY651" fmla="*/ 5705803 h 6858290"/>
              <a:gd name="connsiteX652" fmla="*/ 12139750 w 12139750"/>
              <a:gd name="connsiteY652" fmla="*/ 5703893 h 6858290"/>
              <a:gd name="connsiteX653" fmla="*/ 7600201 w 12139750"/>
              <a:gd name="connsiteY653" fmla="*/ 5703365 h 6858290"/>
              <a:gd name="connsiteX654" fmla="*/ 7623265 w 12139750"/>
              <a:gd name="connsiteY654" fmla="*/ 5722723 h 6858290"/>
              <a:gd name="connsiteX655" fmla="*/ 7604243 w 12139750"/>
              <a:gd name="connsiteY655" fmla="*/ 5776258 h 6858290"/>
              <a:gd name="connsiteX656" fmla="*/ 7267560 w 12139750"/>
              <a:gd name="connsiteY656" fmla="*/ 5948334 h 6858290"/>
              <a:gd name="connsiteX657" fmla="*/ 7214299 w 12139750"/>
              <a:gd name="connsiteY657" fmla="*/ 5929214 h 6858290"/>
              <a:gd name="connsiteX658" fmla="*/ 7210495 w 12139750"/>
              <a:gd name="connsiteY658" fmla="*/ 5912007 h 6858290"/>
              <a:gd name="connsiteX659" fmla="*/ 7231419 w 12139750"/>
              <a:gd name="connsiteY659" fmla="*/ 5875680 h 6858290"/>
              <a:gd name="connsiteX660" fmla="*/ 7570004 w 12139750"/>
              <a:gd name="connsiteY660" fmla="*/ 5705516 h 6858290"/>
              <a:gd name="connsiteX661" fmla="*/ 7600201 w 12139750"/>
              <a:gd name="connsiteY661" fmla="*/ 5703365 h 6858290"/>
              <a:gd name="connsiteX662" fmla="*/ 7047645 w 12139750"/>
              <a:gd name="connsiteY662" fmla="*/ 5692216 h 6858290"/>
              <a:gd name="connsiteX663" fmla="*/ 7070778 w 12139750"/>
              <a:gd name="connsiteY663" fmla="*/ 5711480 h 6858290"/>
              <a:gd name="connsiteX664" fmla="*/ 7051700 w 12139750"/>
              <a:gd name="connsiteY664" fmla="*/ 5766658 h 6858290"/>
              <a:gd name="connsiteX665" fmla="*/ 6714006 w 12139750"/>
              <a:gd name="connsiteY665" fmla="*/ 5934092 h 6858290"/>
              <a:gd name="connsiteX666" fmla="*/ 6658677 w 12139750"/>
              <a:gd name="connsiteY666" fmla="*/ 5915066 h 6858290"/>
              <a:gd name="connsiteX667" fmla="*/ 6654862 w 12139750"/>
              <a:gd name="connsiteY667" fmla="*/ 5897942 h 6858290"/>
              <a:gd name="connsiteX668" fmla="*/ 6677756 w 12139750"/>
              <a:gd name="connsiteY668" fmla="*/ 5861791 h 6858290"/>
              <a:gd name="connsiteX669" fmla="*/ 7017358 w 12139750"/>
              <a:gd name="connsiteY669" fmla="*/ 5694356 h 6858290"/>
              <a:gd name="connsiteX670" fmla="*/ 7047645 w 12139750"/>
              <a:gd name="connsiteY670" fmla="*/ 5692216 h 6858290"/>
              <a:gd name="connsiteX671" fmla="*/ 6486856 w 12139750"/>
              <a:gd name="connsiteY671" fmla="*/ 5678743 h 6858290"/>
              <a:gd name="connsiteX672" fmla="*/ 6526266 w 12139750"/>
              <a:gd name="connsiteY672" fmla="*/ 5700683 h 6858290"/>
              <a:gd name="connsiteX673" fmla="*/ 6507201 w 12139750"/>
              <a:gd name="connsiteY673" fmla="*/ 5755860 h 6858290"/>
              <a:gd name="connsiteX674" fmla="*/ 6167854 w 12139750"/>
              <a:gd name="connsiteY674" fmla="*/ 5921392 h 6858290"/>
              <a:gd name="connsiteX675" fmla="*/ 6114474 w 12139750"/>
              <a:gd name="connsiteY675" fmla="*/ 5902366 h 6858290"/>
              <a:gd name="connsiteX676" fmla="*/ 6108755 w 12139750"/>
              <a:gd name="connsiteY676" fmla="*/ 5883339 h 6858290"/>
              <a:gd name="connsiteX677" fmla="*/ 6131632 w 12139750"/>
              <a:gd name="connsiteY677" fmla="*/ 5847188 h 6858290"/>
              <a:gd name="connsiteX678" fmla="*/ 6470979 w 12139750"/>
              <a:gd name="connsiteY678" fmla="*/ 5683559 h 6858290"/>
              <a:gd name="connsiteX679" fmla="*/ 6486856 w 12139750"/>
              <a:gd name="connsiteY679" fmla="*/ 5678743 h 6858290"/>
              <a:gd name="connsiteX680" fmla="*/ 5956806 w 12139750"/>
              <a:gd name="connsiteY680" fmla="*/ 5667777 h 6858290"/>
              <a:gd name="connsiteX681" fmla="*/ 5980159 w 12139750"/>
              <a:gd name="connsiteY681" fmla="*/ 5688018 h 6858290"/>
              <a:gd name="connsiteX682" fmla="*/ 5961095 w 12139750"/>
              <a:gd name="connsiteY682" fmla="*/ 5743263 h 6858290"/>
              <a:gd name="connsiteX683" fmla="*/ 5621756 w 12139750"/>
              <a:gd name="connsiteY683" fmla="*/ 5907093 h 6858290"/>
              <a:gd name="connsiteX684" fmla="*/ 5566471 w 12139750"/>
              <a:gd name="connsiteY684" fmla="*/ 5888043 h 6858290"/>
              <a:gd name="connsiteX685" fmla="*/ 5562658 w 12139750"/>
              <a:gd name="connsiteY685" fmla="*/ 5868993 h 6858290"/>
              <a:gd name="connsiteX686" fmla="*/ 5585535 w 12139750"/>
              <a:gd name="connsiteY686" fmla="*/ 5832798 h 6858290"/>
              <a:gd name="connsiteX687" fmla="*/ 5924874 w 12139750"/>
              <a:gd name="connsiteY687" fmla="*/ 5668968 h 6858290"/>
              <a:gd name="connsiteX688" fmla="*/ 5956806 w 12139750"/>
              <a:gd name="connsiteY688" fmla="*/ 5667777 h 6858290"/>
              <a:gd name="connsiteX689" fmla="*/ 397251 w 12139750"/>
              <a:gd name="connsiteY689" fmla="*/ 5667777 h 6858290"/>
              <a:gd name="connsiteX690" fmla="*/ 420367 w 12139750"/>
              <a:gd name="connsiteY690" fmla="*/ 5688018 h 6858290"/>
              <a:gd name="connsiteX691" fmla="*/ 401303 w 12139750"/>
              <a:gd name="connsiteY691" fmla="*/ 5743263 h 6858290"/>
              <a:gd name="connsiteX692" fmla="*/ 63863 w 12139750"/>
              <a:gd name="connsiteY692" fmla="*/ 5907093 h 6858290"/>
              <a:gd name="connsiteX693" fmla="*/ 8576 w 12139750"/>
              <a:gd name="connsiteY693" fmla="*/ 5888043 h 6858290"/>
              <a:gd name="connsiteX694" fmla="*/ 4764 w 12139750"/>
              <a:gd name="connsiteY694" fmla="*/ 5868993 h 6858290"/>
              <a:gd name="connsiteX695" fmla="*/ 27641 w 12139750"/>
              <a:gd name="connsiteY695" fmla="*/ 5832798 h 6858290"/>
              <a:gd name="connsiteX696" fmla="*/ 366987 w 12139750"/>
              <a:gd name="connsiteY696" fmla="*/ 5668968 h 6858290"/>
              <a:gd name="connsiteX697" fmla="*/ 397251 w 12139750"/>
              <a:gd name="connsiteY697" fmla="*/ 5667777 h 6858290"/>
              <a:gd name="connsiteX698" fmla="*/ 5407592 w 12139750"/>
              <a:gd name="connsiteY698" fmla="*/ 5656676 h 6858290"/>
              <a:gd name="connsiteX699" fmla="*/ 5432449 w 12139750"/>
              <a:gd name="connsiteY699" fmla="*/ 5676941 h 6858290"/>
              <a:gd name="connsiteX700" fmla="*/ 5411416 w 12139750"/>
              <a:gd name="connsiteY700" fmla="*/ 5732255 h 6858290"/>
              <a:gd name="connsiteX701" fmla="*/ 5071064 w 12139750"/>
              <a:gd name="connsiteY701" fmla="*/ 5894382 h 6858290"/>
              <a:gd name="connsiteX702" fmla="*/ 5015621 w 12139750"/>
              <a:gd name="connsiteY702" fmla="*/ 5873401 h 6858290"/>
              <a:gd name="connsiteX703" fmla="*/ 5011797 w 12139750"/>
              <a:gd name="connsiteY703" fmla="*/ 5856234 h 6858290"/>
              <a:gd name="connsiteX704" fmla="*/ 5036651 w 12139750"/>
              <a:gd name="connsiteY704" fmla="*/ 5818087 h 6858290"/>
              <a:gd name="connsiteX705" fmla="*/ 5377000 w 12139750"/>
              <a:gd name="connsiteY705" fmla="*/ 5657868 h 6858290"/>
              <a:gd name="connsiteX706" fmla="*/ 5407592 w 12139750"/>
              <a:gd name="connsiteY706" fmla="*/ 5656676 h 6858290"/>
              <a:gd name="connsiteX707" fmla="*/ 941847 w 12139750"/>
              <a:gd name="connsiteY707" fmla="*/ 5656676 h 6858290"/>
              <a:gd name="connsiteX708" fmla="*/ 965201 w 12139750"/>
              <a:gd name="connsiteY708" fmla="*/ 5676941 h 6858290"/>
              <a:gd name="connsiteX709" fmla="*/ 946137 w 12139750"/>
              <a:gd name="connsiteY709" fmla="*/ 5732255 h 6858290"/>
              <a:gd name="connsiteX710" fmla="*/ 606791 w 12139750"/>
              <a:gd name="connsiteY710" fmla="*/ 5894382 h 6858290"/>
              <a:gd name="connsiteX711" fmla="*/ 551504 w 12139750"/>
              <a:gd name="connsiteY711" fmla="*/ 5873401 h 6858290"/>
              <a:gd name="connsiteX712" fmla="*/ 547691 w 12139750"/>
              <a:gd name="connsiteY712" fmla="*/ 5856234 h 6858290"/>
              <a:gd name="connsiteX713" fmla="*/ 570568 w 12139750"/>
              <a:gd name="connsiteY713" fmla="*/ 5818087 h 6858290"/>
              <a:gd name="connsiteX714" fmla="*/ 909914 w 12139750"/>
              <a:gd name="connsiteY714" fmla="*/ 5657868 h 6858290"/>
              <a:gd name="connsiteX715" fmla="*/ 941847 w 12139750"/>
              <a:gd name="connsiteY715" fmla="*/ 5656676 h 6858290"/>
              <a:gd name="connsiteX716" fmla="*/ 4853506 w 12139750"/>
              <a:gd name="connsiteY716" fmla="*/ 5644857 h 6858290"/>
              <a:gd name="connsiteX717" fmla="*/ 4876848 w 12139750"/>
              <a:gd name="connsiteY717" fmla="*/ 5665864 h 6858290"/>
              <a:gd name="connsiteX718" fmla="*/ 4855887 w 12139750"/>
              <a:gd name="connsiteY718" fmla="*/ 5723158 h 6858290"/>
              <a:gd name="connsiteX719" fmla="*/ 4516801 w 12139750"/>
              <a:gd name="connsiteY719" fmla="*/ 5881669 h 6858290"/>
              <a:gd name="connsiteX720" fmla="*/ 4461553 w 12139750"/>
              <a:gd name="connsiteY720" fmla="*/ 5860661 h 6858290"/>
              <a:gd name="connsiteX721" fmla="*/ 4457744 w 12139750"/>
              <a:gd name="connsiteY721" fmla="*/ 5843473 h 6858290"/>
              <a:gd name="connsiteX722" fmla="*/ 4482509 w 12139750"/>
              <a:gd name="connsiteY722" fmla="*/ 5805278 h 6858290"/>
              <a:gd name="connsiteX723" fmla="*/ 4821592 w 12139750"/>
              <a:gd name="connsiteY723" fmla="*/ 5646767 h 6858290"/>
              <a:gd name="connsiteX724" fmla="*/ 4853506 w 12139750"/>
              <a:gd name="connsiteY724" fmla="*/ 5644857 h 6858290"/>
              <a:gd name="connsiteX725" fmla="*/ 1487895 w 12139750"/>
              <a:gd name="connsiteY725" fmla="*/ 5644857 h 6858290"/>
              <a:gd name="connsiteX726" fmla="*/ 1512898 w 12139750"/>
              <a:gd name="connsiteY726" fmla="*/ 5665864 h 6858290"/>
              <a:gd name="connsiteX727" fmla="*/ 1491943 w 12139750"/>
              <a:gd name="connsiteY727" fmla="*/ 5723158 h 6858290"/>
              <a:gd name="connsiteX728" fmla="*/ 1152849 w 12139750"/>
              <a:gd name="connsiteY728" fmla="*/ 5881669 h 6858290"/>
              <a:gd name="connsiteX729" fmla="*/ 1097603 w 12139750"/>
              <a:gd name="connsiteY729" fmla="*/ 5860661 h 6858290"/>
              <a:gd name="connsiteX730" fmla="*/ 1093793 w 12139750"/>
              <a:gd name="connsiteY730" fmla="*/ 5843473 h 6858290"/>
              <a:gd name="connsiteX731" fmla="*/ 1116653 w 12139750"/>
              <a:gd name="connsiteY731" fmla="*/ 5805278 h 6858290"/>
              <a:gd name="connsiteX732" fmla="*/ 1455747 w 12139750"/>
              <a:gd name="connsiteY732" fmla="*/ 5646767 h 6858290"/>
              <a:gd name="connsiteX733" fmla="*/ 1487895 w 12139750"/>
              <a:gd name="connsiteY733" fmla="*/ 5644857 h 6858290"/>
              <a:gd name="connsiteX734" fmla="*/ 4280333 w 12139750"/>
              <a:gd name="connsiteY734" fmla="*/ 5631131 h 6858290"/>
              <a:gd name="connsiteX735" fmla="*/ 4319591 w 12139750"/>
              <a:gd name="connsiteY735" fmla="*/ 5654883 h 6858290"/>
              <a:gd name="connsiteX736" fmla="*/ 4298557 w 12139750"/>
              <a:gd name="connsiteY736" fmla="*/ 5711818 h 6858290"/>
              <a:gd name="connsiteX737" fmla="*/ 3958229 w 12139750"/>
              <a:gd name="connsiteY737" fmla="*/ 5867442 h 6858290"/>
              <a:gd name="connsiteX738" fmla="*/ 3902776 w 12139750"/>
              <a:gd name="connsiteY738" fmla="*/ 5846565 h 6858290"/>
              <a:gd name="connsiteX739" fmla="*/ 3898954 w 12139750"/>
              <a:gd name="connsiteY739" fmla="*/ 5829485 h 6858290"/>
              <a:gd name="connsiteX740" fmla="*/ 3923810 w 12139750"/>
              <a:gd name="connsiteY740" fmla="*/ 5789630 h 6858290"/>
              <a:gd name="connsiteX741" fmla="*/ 4264139 w 12139750"/>
              <a:gd name="connsiteY741" fmla="*/ 5635905 h 6858290"/>
              <a:gd name="connsiteX742" fmla="*/ 4280333 w 12139750"/>
              <a:gd name="connsiteY742" fmla="*/ 5631131 h 6858290"/>
              <a:gd name="connsiteX743" fmla="*/ 2025802 w 12139750"/>
              <a:gd name="connsiteY743" fmla="*/ 5631130 h 6858290"/>
              <a:gd name="connsiteX744" fmla="*/ 2066916 w 12139750"/>
              <a:gd name="connsiteY744" fmla="*/ 5654883 h 6858290"/>
              <a:gd name="connsiteX745" fmla="*/ 2045894 w 12139750"/>
              <a:gd name="connsiteY745" fmla="*/ 5711818 h 6858290"/>
              <a:gd name="connsiteX746" fmla="*/ 1705799 w 12139750"/>
              <a:gd name="connsiteY746" fmla="*/ 5867442 h 6858290"/>
              <a:gd name="connsiteX747" fmla="*/ 1648480 w 12139750"/>
              <a:gd name="connsiteY747" fmla="*/ 5846565 h 6858290"/>
              <a:gd name="connsiteX748" fmla="*/ 1644659 w 12139750"/>
              <a:gd name="connsiteY748" fmla="*/ 5829485 h 6858290"/>
              <a:gd name="connsiteX749" fmla="*/ 1669497 w 12139750"/>
              <a:gd name="connsiteY749" fmla="*/ 5789630 h 6858290"/>
              <a:gd name="connsiteX750" fmla="*/ 2009592 w 12139750"/>
              <a:gd name="connsiteY750" fmla="*/ 5635905 h 6858290"/>
              <a:gd name="connsiteX751" fmla="*/ 2025802 w 12139750"/>
              <a:gd name="connsiteY751" fmla="*/ 5631130 h 6858290"/>
              <a:gd name="connsiteX752" fmla="*/ 3732521 w 12139750"/>
              <a:gd name="connsiteY752" fmla="*/ 5620423 h 6858290"/>
              <a:gd name="connsiteX753" fmla="*/ 3756078 w 12139750"/>
              <a:gd name="connsiteY753" fmla="*/ 5642413 h 6858290"/>
              <a:gd name="connsiteX754" fmla="*/ 3735138 w 12139750"/>
              <a:gd name="connsiteY754" fmla="*/ 5699780 h 6858290"/>
              <a:gd name="connsiteX755" fmla="*/ 3396308 w 12139750"/>
              <a:gd name="connsiteY755" fmla="*/ 5854670 h 6858290"/>
              <a:gd name="connsiteX756" fmla="*/ 3339199 w 12139750"/>
              <a:gd name="connsiteY756" fmla="*/ 5833635 h 6858290"/>
              <a:gd name="connsiteX757" fmla="*/ 3335390 w 12139750"/>
              <a:gd name="connsiteY757" fmla="*/ 5814513 h 6858290"/>
              <a:gd name="connsiteX758" fmla="*/ 3360135 w 12139750"/>
              <a:gd name="connsiteY758" fmla="*/ 5776269 h 6858290"/>
              <a:gd name="connsiteX759" fmla="*/ 3698967 w 12139750"/>
              <a:gd name="connsiteY759" fmla="*/ 5621379 h 6858290"/>
              <a:gd name="connsiteX760" fmla="*/ 3732521 w 12139750"/>
              <a:gd name="connsiteY760" fmla="*/ 5620423 h 6858290"/>
              <a:gd name="connsiteX761" fmla="*/ 2598306 w 12139750"/>
              <a:gd name="connsiteY761" fmla="*/ 5620423 h 6858290"/>
              <a:gd name="connsiteX762" fmla="*/ 2622577 w 12139750"/>
              <a:gd name="connsiteY762" fmla="*/ 5642413 h 6858290"/>
              <a:gd name="connsiteX763" fmla="*/ 2601638 w 12139750"/>
              <a:gd name="connsiteY763" fmla="*/ 5699780 h 6858290"/>
              <a:gd name="connsiteX764" fmla="*/ 2262794 w 12139750"/>
              <a:gd name="connsiteY764" fmla="*/ 5854670 h 6858290"/>
              <a:gd name="connsiteX765" fmla="*/ 2205686 w 12139750"/>
              <a:gd name="connsiteY765" fmla="*/ 5833635 h 6858290"/>
              <a:gd name="connsiteX766" fmla="*/ 2201879 w 12139750"/>
              <a:gd name="connsiteY766" fmla="*/ 5814513 h 6858290"/>
              <a:gd name="connsiteX767" fmla="*/ 2226626 w 12139750"/>
              <a:gd name="connsiteY767" fmla="*/ 5776269 h 6858290"/>
              <a:gd name="connsiteX768" fmla="*/ 2565468 w 12139750"/>
              <a:gd name="connsiteY768" fmla="*/ 5621379 h 6858290"/>
              <a:gd name="connsiteX769" fmla="*/ 2598306 w 12139750"/>
              <a:gd name="connsiteY769" fmla="*/ 5620423 h 6858290"/>
              <a:gd name="connsiteX770" fmla="*/ 3160334 w 12139750"/>
              <a:gd name="connsiteY770" fmla="*/ 5609267 h 6858290"/>
              <a:gd name="connsiteX771" fmla="*/ 3184589 w 12139750"/>
              <a:gd name="connsiteY771" fmla="*/ 5631147 h 6858290"/>
              <a:gd name="connsiteX772" fmla="*/ 3161758 w 12139750"/>
              <a:gd name="connsiteY772" fmla="*/ 5688224 h 6858290"/>
              <a:gd name="connsiteX773" fmla="*/ 2823162 w 12139750"/>
              <a:gd name="connsiteY773" fmla="*/ 5840431 h 6858290"/>
              <a:gd name="connsiteX774" fmla="*/ 2766094 w 12139750"/>
              <a:gd name="connsiteY774" fmla="*/ 5817600 h 6858290"/>
              <a:gd name="connsiteX775" fmla="*/ 2762292 w 12139750"/>
              <a:gd name="connsiteY775" fmla="*/ 5800477 h 6858290"/>
              <a:gd name="connsiteX776" fmla="*/ 2787018 w 12139750"/>
              <a:gd name="connsiteY776" fmla="*/ 5760522 h 6858290"/>
              <a:gd name="connsiteX777" fmla="*/ 3127521 w 12139750"/>
              <a:gd name="connsiteY777" fmla="*/ 5610219 h 6858290"/>
              <a:gd name="connsiteX778" fmla="*/ 3160334 w 12139750"/>
              <a:gd name="connsiteY778" fmla="*/ 5609267 h 6858290"/>
              <a:gd name="connsiteX779" fmla="*/ 9870771 w 12139750"/>
              <a:gd name="connsiteY779" fmla="*/ 5423698 h 6858290"/>
              <a:gd name="connsiteX780" fmla="*/ 9891790 w 12139750"/>
              <a:gd name="connsiteY780" fmla="*/ 5439415 h 6858290"/>
              <a:gd name="connsiteX781" fmla="*/ 9878414 w 12139750"/>
              <a:gd name="connsiteY781" fmla="*/ 5488945 h 6858290"/>
              <a:gd name="connsiteX782" fmla="*/ 9542094 w 12139750"/>
              <a:gd name="connsiteY782" fmla="*/ 5683255 h 6858290"/>
              <a:gd name="connsiteX783" fmla="*/ 9492411 w 12139750"/>
              <a:gd name="connsiteY783" fmla="*/ 5669920 h 6858290"/>
              <a:gd name="connsiteX784" fmla="*/ 9488589 w 12139750"/>
              <a:gd name="connsiteY784" fmla="*/ 5650870 h 6858290"/>
              <a:gd name="connsiteX785" fmla="*/ 9505787 w 12139750"/>
              <a:gd name="connsiteY785" fmla="*/ 5620390 h 6858290"/>
              <a:gd name="connsiteX786" fmla="*/ 9844018 w 12139750"/>
              <a:gd name="connsiteY786" fmla="*/ 5427985 h 6858290"/>
              <a:gd name="connsiteX787" fmla="*/ 9870771 w 12139750"/>
              <a:gd name="connsiteY787" fmla="*/ 5423698 h 6858290"/>
              <a:gd name="connsiteX788" fmla="*/ 10454072 w 12139750"/>
              <a:gd name="connsiteY788" fmla="*/ 5413206 h 6858290"/>
              <a:gd name="connsiteX789" fmla="*/ 10476013 w 12139750"/>
              <a:gd name="connsiteY789" fmla="*/ 5429836 h 6858290"/>
              <a:gd name="connsiteX790" fmla="*/ 10460750 w 12139750"/>
              <a:gd name="connsiteY790" fmla="*/ 5479250 h 6858290"/>
              <a:gd name="connsiteX791" fmla="*/ 10123044 w 12139750"/>
              <a:gd name="connsiteY791" fmla="*/ 5667402 h 6858290"/>
              <a:gd name="connsiteX792" fmla="*/ 10075346 w 12139750"/>
              <a:gd name="connsiteY792" fmla="*/ 5654098 h 6858290"/>
              <a:gd name="connsiteX793" fmla="*/ 10069622 w 12139750"/>
              <a:gd name="connsiteY793" fmla="*/ 5636994 h 6858290"/>
              <a:gd name="connsiteX794" fmla="*/ 10088701 w 12139750"/>
              <a:gd name="connsiteY794" fmla="*/ 5604685 h 6858290"/>
              <a:gd name="connsiteX795" fmla="*/ 10426407 w 12139750"/>
              <a:gd name="connsiteY795" fmla="*/ 5416532 h 6858290"/>
              <a:gd name="connsiteX796" fmla="*/ 10454072 w 12139750"/>
              <a:gd name="connsiteY796" fmla="*/ 5413206 h 6858290"/>
              <a:gd name="connsiteX797" fmla="*/ 9292639 w 12139750"/>
              <a:gd name="connsiteY797" fmla="*/ 5413206 h 6858290"/>
              <a:gd name="connsiteX798" fmla="*/ 9313626 w 12139750"/>
              <a:gd name="connsiteY798" fmla="*/ 5429836 h 6858290"/>
              <a:gd name="connsiteX799" fmla="*/ 9300271 w 12139750"/>
              <a:gd name="connsiteY799" fmla="*/ 5479250 h 6858290"/>
              <a:gd name="connsiteX800" fmla="*/ 8962565 w 12139750"/>
              <a:gd name="connsiteY800" fmla="*/ 5667402 h 6858290"/>
              <a:gd name="connsiteX801" fmla="*/ 8912959 w 12139750"/>
              <a:gd name="connsiteY801" fmla="*/ 5654098 h 6858290"/>
              <a:gd name="connsiteX802" fmla="*/ 8909143 w 12139750"/>
              <a:gd name="connsiteY802" fmla="*/ 5636994 h 6858290"/>
              <a:gd name="connsiteX803" fmla="*/ 8928222 w 12139750"/>
              <a:gd name="connsiteY803" fmla="*/ 5604685 h 6858290"/>
              <a:gd name="connsiteX804" fmla="*/ 9265928 w 12139750"/>
              <a:gd name="connsiteY804" fmla="*/ 5416532 h 6858290"/>
              <a:gd name="connsiteX805" fmla="*/ 9292639 w 12139750"/>
              <a:gd name="connsiteY805" fmla="*/ 5413206 h 6858290"/>
              <a:gd name="connsiteX806" fmla="*/ 11031715 w 12139750"/>
              <a:gd name="connsiteY806" fmla="*/ 5402102 h 6858290"/>
              <a:gd name="connsiteX807" fmla="*/ 11053878 w 12139750"/>
              <a:gd name="connsiteY807" fmla="*/ 5418751 h 6858290"/>
              <a:gd name="connsiteX808" fmla="*/ 11038626 w 12139750"/>
              <a:gd name="connsiteY808" fmla="*/ 5470125 h 6858290"/>
              <a:gd name="connsiteX809" fmla="*/ 10701180 w 12139750"/>
              <a:gd name="connsiteY809" fmla="*/ 5654692 h 6858290"/>
              <a:gd name="connsiteX810" fmla="*/ 10649705 w 12139750"/>
              <a:gd name="connsiteY810" fmla="*/ 5639470 h 6858290"/>
              <a:gd name="connsiteX811" fmla="*/ 10645892 w 12139750"/>
              <a:gd name="connsiteY811" fmla="*/ 5622345 h 6858290"/>
              <a:gd name="connsiteX812" fmla="*/ 10664957 w 12139750"/>
              <a:gd name="connsiteY812" fmla="*/ 5589998 h 6858290"/>
              <a:gd name="connsiteX813" fmla="*/ 11002403 w 12139750"/>
              <a:gd name="connsiteY813" fmla="*/ 5405432 h 6858290"/>
              <a:gd name="connsiteX814" fmla="*/ 11031715 w 12139750"/>
              <a:gd name="connsiteY814" fmla="*/ 5402102 h 6858290"/>
              <a:gd name="connsiteX815" fmla="*/ 8722109 w 12139750"/>
              <a:gd name="connsiteY815" fmla="*/ 5402102 h 6858290"/>
              <a:gd name="connsiteX816" fmla="*/ 8744034 w 12139750"/>
              <a:gd name="connsiteY816" fmla="*/ 5418751 h 6858290"/>
              <a:gd name="connsiteX817" fmla="*/ 8728782 w 12139750"/>
              <a:gd name="connsiteY817" fmla="*/ 5470125 h 6858290"/>
              <a:gd name="connsiteX818" fmla="*/ 8391336 w 12139750"/>
              <a:gd name="connsiteY818" fmla="*/ 5654692 h 6858290"/>
              <a:gd name="connsiteX819" fmla="*/ 8341767 w 12139750"/>
              <a:gd name="connsiteY819" fmla="*/ 5639470 h 6858290"/>
              <a:gd name="connsiteX820" fmla="*/ 8336048 w 12139750"/>
              <a:gd name="connsiteY820" fmla="*/ 5622345 h 6858290"/>
              <a:gd name="connsiteX821" fmla="*/ 8355113 w 12139750"/>
              <a:gd name="connsiteY821" fmla="*/ 5589998 h 6858290"/>
              <a:gd name="connsiteX822" fmla="*/ 8694465 w 12139750"/>
              <a:gd name="connsiteY822" fmla="*/ 5405432 h 6858290"/>
              <a:gd name="connsiteX823" fmla="*/ 8722109 w 12139750"/>
              <a:gd name="connsiteY823" fmla="*/ 5402102 h 6858290"/>
              <a:gd name="connsiteX824" fmla="*/ 11601635 w 12139750"/>
              <a:gd name="connsiteY824" fmla="*/ 5389647 h 6858290"/>
              <a:gd name="connsiteX825" fmla="*/ 11623798 w 12139750"/>
              <a:gd name="connsiteY825" fmla="*/ 5407983 h 6858290"/>
              <a:gd name="connsiteX826" fmla="*/ 11608546 w 12139750"/>
              <a:gd name="connsiteY826" fmla="*/ 5459418 h 6858290"/>
              <a:gd name="connsiteX827" fmla="*/ 11271100 w 12139750"/>
              <a:gd name="connsiteY827" fmla="*/ 5638488 h 6858290"/>
              <a:gd name="connsiteX828" fmla="*/ 11219625 w 12139750"/>
              <a:gd name="connsiteY828" fmla="*/ 5623248 h 6858290"/>
              <a:gd name="connsiteX829" fmla="*/ 11215812 w 12139750"/>
              <a:gd name="connsiteY829" fmla="*/ 5606103 h 6858290"/>
              <a:gd name="connsiteX830" fmla="*/ 11234877 w 12139750"/>
              <a:gd name="connsiteY830" fmla="*/ 5571813 h 6858290"/>
              <a:gd name="connsiteX831" fmla="*/ 11572323 w 12139750"/>
              <a:gd name="connsiteY831" fmla="*/ 5392743 h 6858290"/>
              <a:gd name="connsiteX832" fmla="*/ 11601635 w 12139750"/>
              <a:gd name="connsiteY832" fmla="*/ 5389647 h 6858290"/>
              <a:gd name="connsiteX833" fmla="*/ 8158325 w 12139750"/>
              <a:gd name="connsiteY833" fmla="*/ 5389647 h 6858290"/>
              <a:gd name="connsiteX834" fmla="*/ 8180471 w 12139750"/>
              <a:gd name="connsiteY834" fmla="*/ 5407983 h 6858290"/>
              <a:gd name="connsiteX835" fmla="*/ 8165230 w 12139750"/>
              <a:gd name="connsiteY835" fmla="*/ 5459418 h 6858290"/>
              <a:gd name="connsiteX836" fmla="*/ 7826136 w 12139750"/>
              <a:gd name="connsiteY836" fmla="*/ 5638488 h 6858290"/>
              <a:gd name="connsiteX837" fmla="*/ 7774700 w 12139750"/>
              <a:gd name="connsiteY837" fmla="*/ 5623248 h 6858290"/>
              <a:gd name="connsiteX838" fmla="*/ 7770890 w 12139750"/>
              <a:gd name="connsiteY838" fmla="*/ 5606103 h 6858290"/>
              <a:gd name="connsiteX839" fmla="*/ 7791845 w 12139750"/>
              <a:gd name="connsiteY839" fmla="*/ 5571813 h 6858290"/>
              <a:gd name="connsiteX840" fmla="*/ 8129035 w 12139750"/>
              <a:gd name="connsiteY840" fmla="*/ 5392743 h 6858290"/>
              <a:gd name="connsiteX841" fmla="*/ 8158325 w 12139750"/>
              <a:gd name="connsiteY841" fmla="*/ 5389647 h 6858290"/>
              <a:gd name="connsiteX842" fmla="*/ 12139750 w 12139750"/>
              <a:gd name="connsiteY842" fmla="*/ 5380043 h 6858290"/>
              <a:gd name="connsiteX843" fmla="*/ 12139750 w 12139750"/>
              <a:gd name="connsiteY843" fmla="*/ 5467782 h 6858290"/>
              <a:gd name="connsiteX844" fmla="*/ 11833041 w 12139750"/>
              <a:gd name="connsiteY844" fmla="*/ 5626094 h 6858290"/>
              <a:gd name="connsiteX845" fmla="*/ 11781605 w 12139750"/>
              <a:gd name="connsiteY845" fmla="*/ 5608928 h 6858290"/>
              <a:gd name="connsiteX846" fmla="*/ 11777795 w 12139750"/>
              <a:gd name="connsiteY846" fmla="*/ 5591761 h 6858290"/>
              <a:gd name="connsiteX847" fmla="*/ 11798750 w 12139750"/>
              <a:gd name="connsiteY847" fmla="*/ 5557428 h 6858290"/>
              <a:gd name="connsiteX848" fmla="*/ 12135940 w 12139750"/>
              <a:gd name="connsiteY848" fmla="*/ 5381950 h 6858290"/>
              <a:gd name="connsiteX849" fmla="*/ 12139750 w 12139750"/>
              <a:gd name="connsiteY849" fmla="*/ 5380043 h 6858290"/>
              <a:gd name="connsiteX850" fmla="*/ 7599540 w 12139750"/>
              <a:gd name="connsiteY850" fmla="*/ 5379505 h 6858290"/>
              <a:gd name="connsiteX851" fmla="*/ 7621670 w 12139750"/>
              <a:gd name="connsiteY851" fmla="*/ 5398839 h 6858290"/>
              <a:gd name="connsiteX852" fmla="*/ 7604538 w 12139750"/>
              <a:gd name="connsiteY852" fmla="*/ 5450398 h 6858290"/>
              <a:gd name="connsiteX853" fmla="*/ 7267602 w 12139750"/>
              <a:gd name="connsiteY853" fmla="*/ 5626082 h 6858290"/>
              <a:gd name="connsiteX854" fmla="*/ 7214302 w 12139750"/>
              <a:gd name="connsiteY854" fmla="*/ 5608895 h 6858290"/>
              <a:gd name="connsiteX855" fmla="*/ 7210495 w 12139750"/>
              <a:gd name="connsiteY855" fmla="*/ 5591709 h 6858290"/>
              <a:gd name="connsiteX856" fmla="*/ 7231434 w 12139750"/>
              <a:gd name="connsiteY856" fmla="*/ 5557336 h 6858290"/>
              <a:gd name="connsiteX857" fmla="*/ 7570273 w 12139750"/>
              <a:gd name="connsiteY857" fmla="*/ 5381653 h 6858290"/>
              <a:gd name="connsiteX858" fmla="*/ 7599540 w 12139750"/>
              <a:gd name="connsiteY858" fmla="*/ 5379505 h 6858290"/>
              <a:gd name="connsiteX859" fmla="*/ 7046905 w 12139750"/>
              <a:gd name="connsiteY859" fmla="*/ 5368357 h 6858290"/>
              <a:gd name="connsiteX860" fmla="*/ 7070771 w 12139750"/>
              <a:gd name="connsiteY860" fmla="*/ 5387598 h 6858290"/>
              <a:gd name="connsiteX861" fmla="*/ 7051678 w 12139750"/>
              <a:gd name="connsiteY861" fmla="*/ 5440808 h 6858290"/>
              <a:gd name="connsiteX862" fmla="*/ 6713729 w 12139750"/>
              <a:gd name="connsiteY862" fmla="*/ 5611841 h 6858290"/>
              <a:gd name="connsiteX863" fmla="*/ 6660268 w 12139750"/>
              <a:gd name="connsiteY863" fmla="*/ 5594738 h 6858290"/>
              <a:gd name="connsiteX864" fmla="*/ 6656450 w 12139750"/>
              <a:gd name="connsiteY864" fmla="*/ 5575734 h 6858290"/>
              <a:gd name="connsiteX865" fmla="*/ 6677452 w 12139750"/>
              <a:gd name="connsiteY865" fmla="*/ 5541527 h 6858290"/>
              <a:gd name="connsiteX866" fmla="*/ 7017310 w 12139750"/>
              <a:gd name="connsiteY866" fmla="*/ 5370495 h 6858290"/>
              <a:gd name="connsiteX867" fmla="*/ 7046905 w 12139750"/>
              <a:gd name="connsiteY867" fmla="*/ 5368357 h 6858290"/>
              <a:gd name="connsiteX868" fmla="*/ 6501958 w 12139750"/>
              <a:gd name="connsiteY868" fmla="*/ 5357490 h 6858290"/>
              <a:gd name="connsiteX869" fmla="*/ 6524359 w 12139750"/>
              <a:gd name="connsiteY869" fmla="*/ 5378420 h 6858290"/>
              <a:gd name="connsiteX870" fmla="*/ 6507201 w 12139750"/>
              <a:gd name="connsiteY870" fmla="*/ 5431695 h 6858290"/>
              <a:gd name="connsiteX871" fmla="*/ 6167854 w 12139750"/>
              <a:gd name="connsiteY871" fmla="*/ 5597227 h 6858290"/>
              <a:gd name="connsiteX872" fmla="*/ 6114474 w 12139750"/>
              <a:gd name="connsiteY872" fmla="*/ 5580103 h 6858290"/>
              <a:gd name="connsiteX873" fmla="*/ 6108755 w 12139750"/>
              <a:gd name="connsiteY873" fmla="*/ 5561076 h 6858290"/>
              <a:gd name="connsiteX874" fmla="*/ 6131632 w 12139750"/>
              <a:gd name="connsiteY874" fmla="*/ 5524925 h 6858290"/>
              <a:gd name="connsiteX875" fmla="*/ 6470979 w 12139750"/>
              <a:gd name="connsiteY875" fmla="*/ 5359393 h 6858290"/>
              <a:gd name="connsiteX876" fmla="*/ 6501958 w 12139750"/>
              <a:gd name="connsiteY876" fmla="*/ 5357490 h 6858290"/>
              <a:gd name="connsiteX877" fmla="*/ 5956806 w 12139750"/>
              <a:gd name="connsiteY877" fmla="*/ 5347061 h 6858290"/>
              <a:gd name="connsiteX878" fmla="*/ 5980159 w 12139750"/>
              <a:gd name="connsiteY878" fmla="*/ 5367201 h 6858290"/>
              <a:gd name="connsiteX879" fmla="*/ 5961095 w 12139750"/>
              <a:gd name="connsiteY879" fmla="*/ 5422171 h 6858290"/>
              <a:gd name="connsiteX880" fmla="*/ 5621756 w 12139750"/>
              <a:gd name="connsiteY880" fmla="*/ 5583290 h 6858290"/>
              <a:gd name="connsiteX881" fmla="*/ 5566471 w 12139750"/>
              <a:gd name="connsiteY881" fmla="*/ 5564335 h 6858290"/>
              <a:gd name="connsiteX882" fmla="*/ 5562658 w 12139750"/>
              <a:gd name="connsiteY882" fmla="*/ 5547275 h 6858290"/>
              <a:gd name="connsiteX883" fmla="*/ 5585535 w 12139750"/>
              <a:gd name="connsiteY883" fmla="*/ 5509365 h 6858290"/>
              <a:gd name="connsiteX884" fmla="*/ 5924874 w 12139750"/>
              <a:gd name="connsiteY884" fmla="*/ 5348245 h 6858290"/>
              <a:gd name="connsiteX885" fmla="*/ 5956806 w 12139750"/>
              <a:gd name="connsiteY885" fmla="*/ 5347061 h 6858290"/>
              <a:gd name="connsiteX886" fmla="*/ 398204 w 12139750"/>
              <a:gd name="connsiteY886" fmla="*/ 5347061 h 6858290"/>
              <a:gd name="connsiteX887" fmla="*/ 422273 w 12139750"/>
              <a:gd name="connsiteY887" fmla="*/ 5367201 h 6858290"/>
              <a:gd name="connsiteX888" fmla="*/ 401302 w 12139750"/>
              <a:gd name="connsiteY888" fmla="*/ 5422171 h 6858290"/>
              <a:gd name="connsiteX889" fmla="*/ 63863 w 12139750"/>
              <a:gd name="connsiteY889" fmla="*/ 5583290 h 6858290"/>
              <a:gd name="connsiteX890" fmla="*/ 8576 w 12139750"/>
              <a:gd name="connsiteY890" fmla="*/ 5564335 h 6858290"/>
              <a:gd name="connsiteX891" fmla="*/ 4763 w 12139750"/>
              <a:gd name="connsiteY891" fmla="*/ 5547275 h 6858290"/>
              <a:gd name="connsiteX892" fmla="*/ 27641 w 12139750"/>
              <a:gd name="connsiteY892" fmla="*/ 5509365 h 6858290"/>
              <a:gd name="connsiteX893" fmla="*/ 366986 w 12139750"/>
              <a:gd name="connsiteY893" fmla="*/ 5348245 h 6858290"/>
              <a:gd name="connsiteX894" fmla="*/ 398204 w 12139750"/>
              <a:gd name="connsiteY894" fmla="*/ 5347061 h 6858290"/>
              <a:gd name="connsiteX895" fmla="*/ 5409026 w 12139750"/>
              <a:gd name="connsiteY895" fmla="*/ 5334662 h 6858290"/>
              <a:gd name="connsiteX896" fmla="*/ 5432449 w 12139750"/>
              <a:gd name="connsiteY896" fmla="*/ 5356624 h 6858290"/>
              <a:gd name="connsiteX897" fmla="*/ 5411416 w 12139750"/>
              <a:gd name="connsiteY897" fmla="*/ 5412008 h 6858290"/>
              <a:gd name="connsiteX898" fmla="*/ 5071064 w 12139750"/>
              <a:gd name="connsiteY898" fmla="*/ 5570519 h 6858290"/>
              <a:gd name="connsiteX899" fmla="*/ 5015621 w 12139750"/>
              <a:gd name="connsiteY899" fmla="*/ 5549511 h 6858290"/>
              <a:gd name="connsiteX900" fmla="*/ 5011797 w 12139750"/>
              <a:gd name="connsiteY900" fmla="*/ 5532323 h 6858290"/>
              <a:gd name="connsiteX901" fmla="*/ 5036651 w 12139750"/>
              <a:gd name="connsiteY901" fmla="*/ 5494128 h 6858290"/>
              <a:gd name="connsiteX902" fmla="*/ 5377000 w 12139750"/>
              <a:gd name="connsiteY902" fmla="*/ 5335617 h 6858290"/>
              <a:gd name="connsiteX903" fmla="*/ 5409026 w 12139750"/>
              <a:gd name="connsiteY903" fmla="*/ 5334662 h 6858290"/>
              <a:gd name="connsiteX904" fmla="*/ 941871 w 12139750"/>
              <a:gd name="connsiteY904" fmla="*/ 5334662 h 6858290"/>
              <a:gd name="connsiteX905" fmla="*/ 965208 w 12139750"/>
              <a:gd name="connsiteY905" fmla="*/ 5356624 h 6858290"/>
              <a:gd name="connsiteX906" fmla="*/ 946158 w 12139750"/>
              <a:gd name="connsiteY906" fmla="*/ 5412008 h 6858290"/>
              <a:gd name="connsiteX907" fmla="*/ 605159 w 12139750"/>
              <a:gd name="connsiteY907" fmla="*/ 5570519 h 6858290"/>
              <a:gd name="connsiteX908" fmla="*/ 549913 w 12139750"/>
              <a:gd name="connsiteY908" fmla="*/ 5549511 h 6858290"/>
              <a:gd name="connsiteX909" fmla="*/ 546103 w 12139750"/>
              <a:gd name="connsiteY909" fmla="*/ 5532323 h 6858290"/>
              <a:gd name="connsiteX910" fmla="*/ 570868 w 12139750"/>
              <a:gd name="connsiteY910" fmla="*/ 5494128 h 6858290"/>
              <a:gd name="connsiteX911" fmla="*/ 909962 w 12139750"/>
              <a:gd name="connsiteY911" fmla="*/ 5335617 h 6858290"/>
              <a:gd name="connsiteX912" fmla="*/ 941871 w 12139750"/>
              <a:gd name="connsiteY912" fmla="*/ 5334662 h 6858290"/>
              <a:gd name="connsiteX913" fmla="*/ 4854192 w 12139750"/>
              <a:gd name="connsiteY913" fmla="*/ 5323799 h 6858290"/>
              <a:gd name="connsiteX914" fmla="*/ 4878449 w 12139750"/>
              <a:gd name="connsiteY914" fmla="*/ 5347462 h 6858290"/>
              <a:gd name="connsiteX915" fmla="*/ 4855618 w 12139750"/>
              <a:gd name="connsiteY915" fmla="*/ 5402917 h 6858290"/>
              <a:gd name="connsiteX916" fmla="*/ 4517026 w 12139750"/>
              <a:gd name="connsiteY916" fmla="*/ 5555894 h 6858290"/>
              <a:gd name="connsiteX917" fmla="*/ 4459961 w 12139750"/>
              <a:gd name="connsiteY917" fmla="*/ 5534860 h 6858290"/>
              <a:gd name="connsiteX918" fmla="*/ 4456156 w 12139750"/>
              <a:gd name="connsiteY918" fmla="*/ 5517650 h 6858290"/>
              <a:gd name="connsiteX919" fmla="*/ 4482788 w 12139750"/>
              <a:gd name="connsiteY919" fmla="*/ 5477493 h 6858290"/>
              <a:gd name="connsiteX920" fmla="*/ 4821374 w 12139750"/>
              <a:gd name="connsiteY920" fmla="*/ 5324516 h 6858290"/>
              <a:gd name="connsiteX921" fmla="*/ 4854192 w 12139750"/>
              <a:gd name="connsiteY921" fmla="*/ 5323799 h 6858290"/>
              <a:gd name="connsiteX922" fmla="*/ 1489585 w 12139750"/>
              <a:gd name="connsiteY922" fmla="*/ 5323799 h 6858290"/>
              <a:gd name="connsiteX923" fmla="*/ 1512904 w 12139750"/>
              <a:gd name="connsiteY923" fmla="*/ 5347462 h 6858290"/>
              <a:gd name="connsiteX924" fmla="*/ 1491964 w 12139750"/>
              <a:gd name="connsiteY924" fmla="*/ 5402917 h 6858290"/>
              <a:gd name="connsiteX925" fmla="*/ 1153121 w 12139750"/>
              <a:gd name="connsiteY925" fmla="*/ 5555894 h 6858290"/>
              <a:gd name="connsiteX926" fmla="*/ 1096012 w 12139750"/>
              <a:gd name="connsiteY926" fmla="*/ 5534860 h 6858290"/>
              <a:gd name="connsiteX927" fmla="*/ 1092205 w 12139750"/>
              <a:gd name="connsiteY927" fmla="*/ 5517650 h 6858290"/>
              <a:gd name="connsiteX928" fmla="*/ 1116952 w 12139750"/>
              <a:gd name="connsiteY928" fmla="*/ 5477493 h 6858290"/>
              <a:gd name="connsiteX929" fmla="*/ 1457699 w 12139750"/>
              <a:gd name="connsiteY929" fmla="*/ 5324516 h 6858290"/>
              <a:gd name="connsiteX930" fmla="*/ 1489585 w 12139750"/>
              <a:gd name="connsiteY930" fmla="*/ 5323799 h 6858290"/>
              <a:gd name="connsiteX931" fmla="*/ 4281187 w 12139750"/>
              <a:gd name="connsiteY931" fmla="*/ 5309975 h 6858290"/>
              <a:gd name="connsiteX932" fmla="*/ 4321192 w 12139750"/>
              <a:gd name="connsiteY932" fmla="*/ 5336228 h 6858290"/>
              <a:gd name="connsiteX933" fmla="*/ 4298280 w 12139750"/>
              <a:gd name="connsiteY933" fmla="*/ 5395283 h 6858290"/>
              <a:gd name="connsiteX934" fmla="*/ 3958460 w 12139750"/>
              <a:gd name="connsiteY934" fmla="*/ 5541968 h 6858290"/>
              <a:gd name="connsiteX935" fmla="*/ 3901184 w 12139750"/>
              <a:gd name="connsiteY935" fmla="*/ 5519108 h 6858290"/>
              <a:gd name="connsiteX936" fmla="*/ 3897365 w 12139750"/>
              <a:gd name="connsiteY936" fmla="*/ 5501963 h 6858290"/>
              <a:gd name="connsiteX937" fmla="*/ 3924093 w 12139750"/>
              <a:gd name="connsiteY937" fmla="*/ 5461958 h 6858290"/>
              <a:gd name="connsiteX938" fmla="*/ 4263914 w 12139750"/>
              <a:gd name="connsiteY938" fmla="*/ 5313368 h 6858290"/>
              <a:gd name="connsiteX939" fmla="*/ 4281187 w 12139750"/>
              <a:gd name="connsiteY939" fmla="*/ 5309975 h 6858290"/>
              <a:gd name="connsiteX940" fmla="*/ 2026929 w 12139750"/>
              <a:gd name="connsiteY940" fmla="*/ 5309974 h 6858290"/>
              <a:gd name="connsiteX941" fmla="*/ 2068518 w 12139750"/>
              <a:gd name="connsiteY941" fmla="*/ 5336228 h 6858290"/>
              <a:gd name="connsiteX942" fmla="*/ 2045619 w 12139750"/>
              <a:gd name="connsiteY942" fmla="*/ 5395283 h 6858290"/>
              <a:gd name="connsiteX943" fmla="*/ 1704121 w 12139750"/>
              <a:gd name="connsiteY943" fmla="*/ 5541968 h 6858290"/>
              <a:gd name="connsiteX944" fmla="*/ 1646887 w 12139750"/>
              <a:gd name="connsiteY944" fmla="*/ 5519108 h 6858290"/>
              <a:gd name="connsiteX945" fmla="*/ 1643071 w 12139750"/>
              <a:gd name="connsiteY945" fmla="*/ 5501963 h 6858290"/>
              <a:gd name="connsiteX946" fmla="*/ 1669781 w 12139750"/>
              <a:gd name="connsiteY946" fmla="*/ 5461958 h 6858290"/>
              <a:gd name="connsiteX947" fmla="*/ 2009371 w 12139750"/>
              <a:gd name="connsiteY947" fmla="*/ 5313368 h 6858290"/>
              <a:gd name="connsiteX948" fmla="*/ 2026929 w 12139750"/>
              <a:gd name="connsiteY948" fmla="*/ 5309974 h 6858290"/>
              <a:gd name="connsiteX949" fmla="*/ 3719258 w 12139750"/>
              <a:gd name="connsiteY949" fmla="*/ 5298899 h 6858290"/>
              <a:gd name="connsiteX950" fmla="*/ 3759237 w 12139750"/>
              <a:gd name="connsiteY950" fmla="*/ 5327064 h 6858290"/>
              <a:gd name="connsiteX951" fmla="*/ 3736337 w 12139750"/>
              <a:gd name="connsiteY951" fmla="*/ 5386196 h 6858290"/>
              <a:gd name="connsiteX952" fmla="*/ 3394855 w 12139750"/>
              <a:gd name="connsiteY952" fmla="*/ 5529255 h 6858290"/>
              <a:gd name="connsiteX953" fmla="*/ 3337618 w 12139750"/>
              <a:gd name="connsiteY953" fmla="*/ 5504458 h 6858290"/>
              <a:gd name="connsiteX954" fmla="*/ 3333804 w 12139750"/>
              <a:gd name="connsiteY954" fmla="*/ 5487291 h 6858290"/>
              <a:gd name="connsiteX955" fmla="*/ 3360513 w 12139750"/>
              <a:gd name="connsiteY955" fmla="*/ 5447234 h 6858290"/>
              <a:gd name="connsiteX956" fmla="*/ 3701998 w 12139750"/>
              <a:gd name="connsiteY956" fmla="*/ 5302267 h 6858290"/>
              <a:gd name="connsiteX957" fmla="*/ 3719258 w 12139750"/>
              <a:gd name="connsiteY957" fmla="*/ 5298899 h 6858290"/>
              <a:gd name="connsiteX958" fmla="*/ 2583547 w 12139750"/>
              <a:gd name="connsiteY958" fmla="*/ 5298899 h 6858290"/>
              <a:gd name="connsiteX959" fmla="*/ 2624178 w 12139750"/>
              <a:gd name="connsiteY959" fmla="*/ 5327064 h 6858290"/>
              <a:gd name="connsiteX960" fmla="*/ 2601368 w 12139750"/>
              <a:gd name="connsiteY960" fmla="*/ 5386196 h 6858290"/>
              <a:gd name="connsiteX961" fmla="*/ 2261117 w 12139750"/>
              <a:gd name="connsiteY961" fmla="*/ 5529255 h 6858290"/>
              <a:gd name="connsiteX962" fmla="*/ 2204092 w 12139750"/>
              <a:gd name="connsiteY962" fmla="*/ 5504458 h 6858290"/>
              <a:gd name="connsiteX963" fmla="*/ 2200290 w 12139750"/>
              <a:gd name="connsiteY963" fmla="*/ 5487291 h 6858290"/>
              <a:gd name="connsiteX964" fmla="*/ 2226902 w 12139750"/>
              <a:gd name="connsiteY964" fmla="*/ 5447234 h 6858290"/>
              <a:gd name="connsiteX965" fmla="*/ 2567153 w 12139750"/>
              <a:gd name="connsiteY965" fmla="*/ 5302267 h 6858290"/>
              <a:gd name="connsiteX966" fmla="*/ 2583547 w 12139750"/>
              <a:gd name="connsiteY966" fmla="*/ 5298899 h 6858290"/>
              <a:gd name="connsiteX967" fmla="*/ 3161733 w 12139750"/>
              <a:gd name="connsiteY967" fmla="*/ 5292230 h 6858290"/>
              <a:gd name="connsiteX968" fmla="*/ 3186188 w 12139750"/>
              <a:gd name="connsiteY968" fmla="*/ 5317405 h 6858290"/>
              <a:gd name="connsiteX969" fmla="*/ 3161495 w 12139750"/>
              <a:gd name="connsiteY969" fmla="*/ 5376305 h 6858290"/>
              <a:gd name="connsiteX970" fmla="*/ 2821486 w 12139750"/>
              <a:gd name="connsiteY970" fmla="*/ 5515005 h 6858290"/>
              <a:gd name="connsiteX971" fmla="*/ 2762604 w 12139750"/>
              <a:gd name="connsiteY971" fmla="*/ 5488405 h 6858290"/>
              <a:gd name="connsiteX972" fmla="*/ 2760705 w 12139750"/>
              <a:gd name="connsiteY972" fmla="*/ 5471305 h 6858290"/>
              <a:gd name="connsiteX973" fmla="*/ 2787298 w 12139750"/>
              <a:gd name="connsiteY973" fmla="*/ 5429505 h 6858290"/>
              <a:gd name="connsiteX974" fmla="*/ 3127305 w 12139750"/>
              <a:gd name="connsiteY974" fmla="*/ 5292705 h 6858290"/>
              <a:gd name="connsiteX975" fmla="*/ 3161733 w 12139750"/>
              <a:gd name="connsiteY975" fmla="*/ 5292230 h 6858290"/>
              <a:gd name="connsiteX976" fmla="*/ 9868289 w 12139750"/>
              <a:gd name="connsiteY976" fmla="*/ 5096095 h 6858290"/>
              <a:gd name="connsiteX977" fmla="*/ 9888974 w 12139750"/>
              <a:gd name="connsiteY977" fmla="*/ 5110082 h 6858290"/>
              <a:gd name="connsiteX978" fmla="*/ 9877562 w 12139750"/>
              <a:gd name="connsiteY978" fmla="*/ 5155597 h 6858290"/>
              <a:gd name="connsiteX979" fmla="*/ 9542804 w 12139750"/>
              <a:gd name="connsiteY979" fmla="*/ 5364209 h 6858290"/>
              <a:gd name="connsiteX980" fmla="*/ 9497155 w 12139750"/>
              <a:gd name="connsiteY980" fmla="*/ 5352831 h 6858290"/>
              <a:gd name="connsiteX981" fmla="*/ 9493351 w 12139750"/>
              <a:gd name="connsiteY981" fmla="*/ 5335762 h 6858290"/>
              <a:gd name="connsiteX982" fmla="*/ 9508567 w 12139750"/>
              <a:gd name="connsiteY982" fmla="*/ 5307315 h 6858290"/>
              <a:gd name="connsiteX983" fmla="*/ 9843325 w 12139750"/>
              <a:gd name="connsiteY983" fmla="*/ 5100599 h 6858290"/>
              <a:gd name="connsiteX984" fmla="*/ 9868289 w 12139750"/>
              <a:gd name="connsiteY984" fmla="*/ 5096095 h 6858290"/>
              <a:gd name="connsiteX985" fmla="*/ 10452111 w 12139750"/>
              <a:gd name="connsiteY985" fmla="*/ 5084390 h 6858290"/>
              <a:gd name="connsiteX986" fmla="*/ 10472844 w 12139750"/>
              <a:gd name="connsiteY986" fmla="*/ 5099443 h 6858290"/>
              <a:gd name="connsiteX987" fmla="*/ 10461405 w 12139750"/>
              <a:gd name="connsiteY987" fmla="*/ 5147230 h 6858290"/>
              <a:gd name="connsiteX988" fmla="*/ 10125860 w 12139750"/>
              <a:gd name="connsiteY988" fmla="*/ 5349847 h 6858290"/>
              <a:gd name="connsiteX989" fmla="*/ 10078197 w 12139750"/>
              <a:gd name="connsiteY989" fmla="*/ 5338378 h 6858290"/>
              <a:gd name="connsiteX990" fmla="*/ 10074384 w 12139750"/>
              <a:gd name="connsiteY990" fmla="*/ 5321175 h 6858290"/>
              <a:gd name="connsiteX991" fmla="*/ 10089636 w 12139750"/>
              <a:gd name="connsiteY991" fmla="*/ 5290591 h 6858290"/>
              <a:gd name="connsiteX992" fmla="*/ 10427088 w 12139750"/>
              <a:gd name="connsiteY992" fmla="*/ 5087974 h 6858290"/>
              <a:gd name="connsiteX993" fmla="*/ 10452111 w 12139750"/>
              <a:gd name="connsiteY993" fmla="*/ 5084390 h 6858290"/>
              <a:gd name="connsiteX994" fmla="*/ 9291418 w 12139750"/>
              <a:gd name="connsiteY994" fmla="*/ 5084390 h 6858290"/>
              <a:gd name="connsiteX995" fmla="*/ 9312374 w 12139750"/>
              <a:gd name="connsiteY995" fmla="*/ 5099443 h 6858290"/>
              <a:gd name="connsiteX996" fmla="*/ 9300944 w 12139750"/>
              <a:gd name="connsiteY996" fmla="*/ 5147230 h 6858290"/>
              <a:gd name="connsiteX997" fmla="*/ 8963754 w 12139750"/>
              <a:gd name="connsiteY997" fmla="*/ 5349847 h 6858290"/>
              <a:gd name="connsiteX998" fmla="*/ 8918033 w 12139750"/>
              <a:gd name="connsiteY998" fmla="*/ 5338378 h 6858290"/>
              <a:gd name="connsiteX999" fmla="*/ 8912318 w 12139750"/>
              <a:gd name="connsiteY999" fmla="*/ 5321175 h 6858290"/>
              <a:gd name="connsiteX1000" fmla="*/ 8929463 w 12139750"/>
              <a:gd name="connsiteY1000" fmla="*/ 5290591 h 6858290"/>
              <a:gd name="connsiteX1001" fmla="*/ 9264748 w 12139750"/>
              <a:gd name="connsiteY1001" fmla="*/ 5087974 h 6858290"/>
              <a:gd name="connsiteX1002" fmla="*/ 9291418 w 12139750"/>
              <a:gd name="connsiteY1002" fmla="*/ 5084390 h 6858290"/>
              <a:gd name="connsiteX1003" fmla="*/ 11029363 w 12139750"/>
              <a:gd name="connsiteY1003" fmla="*/ 5075090 h 6858290"/>
              <a:gd name="connsiteX1004" fmla="*/ 11050366 w 12139750"/>
              <a:gd name="connsiteY1004" fmla="*/ 5091778 h 6858290"/>
              <a:gd name="connsiteX1005" fmla="*/ 11038910 w 12139750"/>
              <a:gd name="connsiteY1005" fmla="*/ 5139458 h 6858290"/>
              <a:gd name="connsiteX1006" fmla="*/ 10700944 w 12139750"/>
              <a:gd name="connsiteY1006" fmla="*/ 5333994 h 6858290"/>
              <a:gd name="connsiteX1007" fmla="*/ 10653208 w 12139750"/>
              <a:gd name="connsiteY1007" fmla="*/ 5320643 h 6858290"/>
              <a:gd name="connsiteX1008" fmla="*/ 10647480 w 12139750"/>
              <a:gd name="connsiteY1008" fmla="*/ 5303478 h 6858290"/>
              <a:gd name="connsiteX1009" fmla="*/ 10664665 w 12139750"/>
              <a:gd name="connsiteY1009" fmla="*/ 5272963 h 6858290"/>
              <a:gd name="connsiteX1010" fmla="*/ 11002631 w 12139750"/>
              <a:gd name="connsiteY1010" fmla="*/ 5078428 h 6858290"/>
              <a:gd name="connsiteX1011" fmla="*/ 11029363 w 12139750"/>
              <a:gd name="connsiteY1011" fmla="*/ 5075090 h 6858290"/>
              <a:gd name="connsiteX1012" fmla="*/ 8719756 w 12139750"/>
              <a:gd name="connsiteY1012" fmla="*/ 5075090 h 6858290"/>
              <a:gd name="connsiteX1013" fmla="*/ 8742431 w 12139750"/>
              <a:gd name="connsiteY1013" fmla="*/ 5091778 h 6858290"/>
              <a:gd name="connsiteX1014" fmla="*/ 8729065 w 12139750"/>
              <a:gd name="connsiteY1014" fmla="*/ 5139458 h 6858290"/>
              <a:gd name="connsiteX1015" fmla="*/ 8391099 w 12139750"/>
              <a:gd name="connsiteY1015" fmla="*/ 5333994 h 6858290"/>
              <a:gd name="connsiteX1016" fmla="*/ 8343363 w 12139750"/>
              <a:gd name="connsiteY1016" fmla="*/ 5320643 h 6858290"/>
              <a:gd name="connsiteX1017" fmla="*/ 8337635 w 12139750"/>
              <a:gd name="connsiteY1017" fmla="*/ 5303478 h 6858290"/>
              <a:gd name="connsiteX1018" fmla="*/ 8356729 w 12139750"/>
              <a:gd name="connsiteY1018" fmla="*/ 5272963 h 6858290"/>
              <a:gd name="connsiteX1019" fmla="*/ 8692786 w 12139750"/>
              <a:gd name="connsiteY1019" fmla="*/ 5078428 h 6858290"/>
              <a:gd name="connsiteX1020" fmla="*/ 8719756 w 12139750"/>
              <a:gd name="connsiteY1020" fmla="*/ 5075090 h 6858290"/>
              <a:gd name="connsiteX1021" fmla="*/ 11600954 w 12139750"/>
              <a:gd name="connsiteY1021" fmla="*/ 5064224 h 6858290"/>
              <a:gd name="connsiteX1022" fmla="*/ 11622196 w 12139750"/>
              <a:gd name="connsiteY1022" fmla="*/ 5082602 h 6858290"/>
              <a:gd name="connsiteX1023" fmla="*/ 11608830 w 12139750"/>
              <a:gd name="connsiteY1023" fmla="*/ 5132248 h 6858290"/>
              <a:gd name="connsiteX1024" fmla="*/ 11270864 w 12139750"/>
              <a:gd name="connsiteY1024" fmla="*/ 5319373 h 6858290"/>
              <a:gd name="connsiteX1025" fmla="*/ 11221219 w 12139750"/>
              <a:gd name="connsiteY1025" fmla="*/ 5306007 h 6858290"/>
              <a:gd name="connsiteX1026" fmla="*/ 11217400 w 12139750"/>
              <a:gd name="connsiteY1026" fmla="*/ 5288822 h 6858290"/>
              <a:gd name="connsiteX1027" fmla="*/ 11234585 w 12139750"/>
              <a:gd name="connsiteY1027" fmla="*/ 5256362 h 6858290"/>
              <a:gd name="connsiteX1028" fmla="*/ 11572551 w 12139750"/>
              <a:gd name="connsiteY1028" fmla="*/ 5067327 h 6858290"/>
              <a:gd name="connsiteX1029" fmla="*/ 11600954 w 12139750"/>
              <a:gd name="connsiteY1029" fmla="*/ 5064224 h 6858290"/>
              <a:gd name="connsiteX1030" fmla="*/ 8155460 w 12139750"/>
              <a:gd name="connsiteY1030" fmla="*/ 5064224 h 6858290"/>
              <a:gd name="connsiteX1031" fmla="*/ 8177317 w 12139750"/>
              <a:gd name="connsiteY1031" fmla="*/ 5082602 h 6858290"/>
              <a:gd name="connsiteX1032" fmla="*/ 8162112 w 12139750"/>
              <a:gd name="connsiteY1032" fmla="*/ 5132248 h 6858290"/>
              <a:gd name="connsiteX1033" fmla="*/ 7825696 w 12139750"/>
              <a:gd name="connsiteY1033" fmla="*/ 5319373 h 6858290"/>
              <a:gd name="connsiteX1034" fmla="*/ 7776279 w 12139750"/>
              <a:gd name="connsiteY1034" fmla="*/ 5306007 h 6858290"/>
              <a:gd name="connsiteX1035" fmla="*/ 7772478 w 12139750"/>
              <a:gd name="connsiteY1035" fmla="*/ 5288822 h 6858290"/>
              <a:gd name="connsiteX1036" fmla="*/ 7791484 w 12139750"/>
              <a:gd name="connsiteY1036" fmla="*/ 5256362 h 6858290"/>
              <a:gd name="connsiteX1037" fmla="*/ 8127900 w 12139750"/>
              <a:gd name="connsiteY1037" fmla="*/ 5067327 h 6858290"/>
              <a:gd name="connsiteX1038" fmla="*/ 8155460 w 12139750"/>
              <a:gd name="connsiteY1038" fmla="*/ 5064224 h 6858290"/>
              <a:gd name="connsiteX1039" fmla="*/ 12139750 w 12139750"/>
              <a:gd name="connsiteY1039" fmla="*/ 5056192 h 6858290"/>
              <a:gd name="connsiteX1040" fmla="*/ 12139750 w 12139750"/>
              <a:gd name="connsiteY1040" fmla="*/ 5139909 h 6858290"/>
              <a:gd name="connsiteX1041" fmla="*/ 11834946 w 12139750"/>
              <a:gd name="connsiteY1041" fmla="*/ 5305441 h 6858290"/>
              <a:gd name="connsiteX1042" fmla="*/ 11783510 w 12139750"/>
              <a:gd name="connsiteY1042" fmla="*/ 5290220 h 6858290"/>
              <a:gd name="connsiteX1043" fmla="*/ 11777795 w 12139750"/>
              <a:gd name="connsiteY1043" fmla="*/ 5271193 h 6858290"/>
              <a:gd name="connsiteX1044" fmla="*/ 11798750 w 12139750"/>
              <a:gd name="connsiteY1044" fmla="*/ 5238848 h 6858290"/>
              <a:gd name="connsiteX1045" fmla="*/ 12135940 w 12139750"/>
              <a:gd name="connsiteY1045" fmla="*/ 5058094 h 6858290"/>
              <a:gd name="connsiteX1046" fmla="*/ 12139750 w 12139750"/>
              <a:gd name="connsiteY1046" fmla="*/ 5056192 h 6858290"/>
              <a:gd name="connsiteX1047" fmla="*/ 7597906 w 12139750"/>
              <a:gd name="connsiteY1047" fmla="*/ 5054684 h 6858290"/>
              <a:gd name="connsiteX1048" fmla="*/ 7620068 w 12139750"/>
              <a:gd name="connsiteY1048" fmla="*/ 5073020 h 6858290"/>
              <a:gd name="connsiteX1049" fmla="*/ 7604817 w 12139750"/>
              <a:gd name="connsiteY1049" fmla="*/ 5124455 h 6858290"/>
              <a:gd name="connsiteX1050" fmla="*/ 7267371 w 12139750"/>
              <a:gd name="connsiteY1050" fmla="*/ 5305430 h 6858290"/>
              <a:gd name="connsiteX1051" fmla="*/ 7215896 w 12139750"/>
              <a:gd name="connsiteY1051" fmla="*/ 5290190 h 6858290"/>
              <a:gd name="connsiteX1052" fmla="*/ 7212083 w 12139750"/>
              <a:gd name="connsiteY1052" fmla="*/ 5271140 h 6858290"/>
              <a:gd name="connsiteX1053" fmla="*/ 7231147 w 12139750"/>
              <a:gd name="connsiteY1053" fmla="*/ 5238755 h 6858290"/>
              <a:gd name="connsiteX1054" fmla="*/ 7568594 w 12139750"/>
              <a:gd name="connsiteY1054" fmla="*/ 5057780 h 6858290"/>
              <a:gd name="connsiteX1055" fmla="*/ 7597906 w 12139750"/>
              <a:gd name="connsiteY1055" fmla="*/ 5054684 h 6858290"/>
              <a:gd name="connsiteX1056" fmla="*/ 7046964 w 12139750"/>
              <a:gd name="connsiteY1056" fmla="*/ 5044542 h 6858290"/>
              <a:gd name="connsiteX1057" fmla="*/ 7069177 w 12139750"/>
              <a:gd name="connsiteY1057" fmla="*/ 5063876 h 6858290"/>
              <a:gd name="connsiteX1058" fmla="*/ 7051980 w 12139750"/>
              <a:gd name="connsiteY1058" fmla="*/ 5115435 h 6858290"/>
              <a:gd name="connsiteX1059" fmla="*/ 6713773 w 12139750"/>
              <a:gd name="connsiteY1059" fmla="*/ 5291119 h 6858290"/>
              <a:gd name="connsiteX1060" fmla="*/ 6660271 w 12139750"/>
              <a:gd name="connsiteY1060" fmla="*/ 5273932 h 6858290"/>
              <a:gd name="connsiteX1061" fmla="*/ 6656450 w 12139750"/>
              <a:gd name="connsiteY1061" fmla="*/ 5256746 h 6858290"/>
              <a:gd name="connsiteX1062" fmla="*/ 6677468 w 12139750"/>
              <a:gd name="connsiteY1062" fmla="*/ 5222373 h 6858290"/>
              <a:gd name="connsiteX1063" fmla="*/ 7017586 w 12139750"/>
              <a:gd name="connsiteY1063" fmla="*/ 5046690 h 6858290"/>
              <a:gd name="connsiteX1064" fmla="*/ 7046964 w 12139750"/>
              <a:gd name="connsiteY1064" fmla="*/ 5044542 h 6858290"/>
              <a:gd name="connsiteX1065" fmla="*/ 6485663 w 12139750"/>
              <a:gd name="connsiteY1065" fmla="*/ 5032630 h 6858290"/>
              <a:gd name="connsiteX1066" fmla="*/ 6523112 w 12139750"/>
              <a:gd name="connsiteY1066" fmla="*/ 5054570 h 6858290"/>
              <a:gd name="connsiteX1067" fmla="*/ 6505992 w 12139750"/>
              <a:gd name="connsiteY1067" fmla="*/ 5107845 h 6858290"/>
              <a:gd name="connsiteX1068" fmla="*/ 6167407 w 12139750"/>
              <a:gd name="connsiteY1068" fmla="*/ 5275279 h 6858290"/>
              <a:gd name="connsiteX1069" fmla="*/ 6114146 w 12139750"/>
              <a:gd name="connsiteY1069" fmla="*/ 5258155 h 6858290"/>
              <a:gd name="connsiteX1070" fmla="*/ 6110342 w 12139750"/>
              <a:gd name="connsiteY1070" fmla="*/ 5239129 h 6858290"/>
              <a:gd name="connsiteX1071" fmla="*/ 6131266 w 12139750"/>
              <a:gd name="connsiteY1071" fmla="*/ 5202978 h 6858290"/>
              <a:gd name="connsiteX1072" fmla="*/ 6469851 w 12139750"/>
              <a:gd name="connsiteY1072" fmla="*/ 5037446 h 6858290"/>
              <a:gd name="connsiteX1073" fmla="*/ 6485663 w 12139750"/>
              <a:gd name="connsiteY1073" fmla="*/ 5032630 h 6858290"/>
              <a:gd name="connsiteX1074" fmla="*/ 5956806 w 12139750"/>
              <a:gd name="connsiteY1074" fmla="*/ 5024850 h 6858290"/>
              <a:gd name="connsiteX1075" fmla="*/ 5980159 w 12139750"/>
              <a:gd name="connsiteY1075" fmla="*/ 5045115 h 6858290"/>
              <a:gd name="connsiteX1076" fmla="*/ 5961095 w 12139750"/>
              <a:gd name="connsiteY1076" fmla="*/ 5100429 h 6858290"/>
              <a:gd name="connsiteX1077" fmla="*/ 5621756 w 12139750"/>
              <a:gd name="connsiteY1077" fmla="*/ 5262556 h 6858290"/>
              <a:gd name="connsiteX1078" fmla="*/ 5566471 w 12139750"/>
              <a:gd name="connsiteY1078" fmla="*/ 5241575 h 6858290"/>
              <a:gd name="connsiteX1079" fmla="*/ 5562658 w 12139750"/>
              <a:gd name="connsiteY1079" fmla="*/ 5224408 h 6858290"/>
              <a:gd name="connsiteX1080" fmla="*/ 5585535 w 12139750"/>
              <a:gd name="connsiteY1080" fmla="*/ 5186261 h 6858290"/>
              <a:gd name="connsiteX1081" fmla="*/ 5924874 w 12139750"/>
              <a:gd name="connsiteY1081" fmla="*/ 5026042 h 6858290"/>
              <a:gd name="connsiteX1082" fmla="*/ 5956806 w 12139750"/>
              <a:gd name="connsiteY1082" fmla="*/ 5024850 h 6858290"/>
              <a:gd name="connsiteX1083" fmla="*/ 398945 w 12139750"/>
              <a:gd name="connsiteY1083" fmla="*/ 5024850 h 6858290"/>
              <a:gd name="connsiteX1084" fmla="*/ 422281 w 12139750"/>
              <a:gd name="connsiteY1084" fmla="*/ 5045115 h 6858290"/>
              <a:gd name="connsiteX1085" fmla="*/ 401326 w 12139750"/>
              <a:gd name="connsiteY1085" fmla="*/ 5100429 h 6858290"/>
              <a:gd name="connsiteX1086" fmla="*/ 62232 w 12139750"/>
              <a:gd name="connsiteY1086" fmla="*/ 5262556 h 6858290"/>
              <a:gd name="connsiteX1087" fmla="*/ 8891 w 12139750"/>
              <a:gd name="connsiteY1087" fmla="*/ 5241575 h 6858290"/>
              <a:gd name="connsiteX1088" fmla="*/ 3176 w 12139750"/>
              <a:gd name="connsiteY1088" fmla="*/ 5224408 h 6858290"/>
              <a:gd name="connsiteX1089" fmla="*/ 27941 w 12139750"/>
              <a:gd name="connsiteY1089" fmla="*/ 5186261 h 6858290"/>
              <a:gd name="connsiteX1090" fmla="*/ 367036 w 12139750"/>
              <a:gd name="connsiteY1090" fmla="*/ 5026042 h 6858290"/>
              <a:gd name="connsiteX1091" fmla="*/ 398945 w 12139750"/>
              <a:gd name="connsiteY1091" fmla="*/ 5024850 h 6858290"/>
              <a:gd name="connsiteX1092" fmla="*/ 5409053 w 12139750"/>
              <a:gd name="connsiteY1092" fmla="*/ 5014180 h 6858290"/>
              <a:gd name="connsiteX1093" fmla="*/ 5432458 w 12139750"/>
              <a:gd name="connsiteY1093" fmla="*/ 5037695 h 6858290"/>
              <a:gd name="connsiteX1094" fmla="*/ 5411440 w 12139750"/>
              <a:gd name="connsiteY1094" fmla="*/ 5092800 h 6858290"/>
              <a:gd name="connsiteX1095" fmla="*/ 5071343 w 12139750"/>
              <a:gd name="connsiteY1095" fmla="*/ 5246716 h 6858290"/>
              <a:gd name="connsiteX1096" fmla="*/ 5014031 w 12139750"/>
              <a:gd name="connsiteY1096" fmla="*/ 5225814 h 6858290"/>
              <a:gd name="connsiteX1097" fmla="*/ 5010210 w 12139750"/>
              <a:gd name="connsiteY1097" fmla="*/ 5208712 h 6858290"/>
              <a:gd name="connsiteX1098" fmla="*/ 5036956 w 12139750"/>
              <a:gd name="connsiteY1098" fmla="*/ 5168808 h 6858290"/>
              <a:gd name="connsiteX1099" fmla="*/ 5377049 w 12139750"/>
              <a:gd name="connsiteY1099" fmla="*/ 5014893 h 6858290"/>
              <a:gd name="connsiteX1100" fmla="*/ 5409053 w 12139750"/>
              <a:gd name="connsiteY1100" fmla="*/ 5014180 h 6858290"/>
              <a:gd name="connsiteX1101" fmla="*/ 942531 w 12139750"/>
              <a:gd name="connsiteY1101" fmla="*/ 5014180 h 6858290"/>
              <a:gd name="connsiteX1102" fmla="*/ 966802 w 12139750"/>
              <a:gd name="connsiteY1102" fmla="*/ 5037695 h 6858290"/>
              <a:gd name="connsiteX1103" fmla="*/ 945862 w 12139750"/>
              <a:gd name="connsiteY1103" fmla="*/ 5092800 h 6858290"/>
              <a:gd name="connsiteX1104" fmla="*/ 605115 w 12139750"/>
              <a:gd name="connsiteY1104" fmla="*/ 5246716 h 6858290"/>
              <a:gd name="connsiteX1105" fmla="*/ 549910 w 12139750"/>
              <a:gd name="connsiteY1105" fmla="*/ 5225814 h 6858290"/>
              <a:gd name="connsiteX1106" fmla="*/ 546103 w 12139750"/>
              <a:gd name="connsiteY1106" fmla="*/ 5208712 h 6858290"/>
              <a:gd name="connsiteX1107" fmla="*/ 570850 w 12139750"/>
              <a:gd name="connsiteY1107" fmla="*/ 5168808 h 6858290"/>
              <a:gd name="connsiteX1108" fmla="*/ 909693 w 12139750"/>
              <a:gd name="connsiteY1108" fmla="*/ 5014893 h 6858290"/>
              <a:gd name="connsiteX1109" fmla="*/ 942531 w 12139750"/>
              <a:gd name="connsiteY1109" fmla="*/ 5014180 h 6858290"/>
              <a:gd name="connsiteX1110" fmla="*/ 4856076 w 12139750"/>
              <a:gd name="connsiteY1110" fmla="*/ 5004632 h 6858290"/>
              <a:gd name="connsiteX1111" fmla="*/ 4879688 w 12139750"/>
              <a:gd name="connsiteY1111" fmla="*/ 5028084 h 6858290"/>
              <a:gd name="connsiteX1112" fmla="*/ 4856791 w 12139750"/>
              <a:gd name="connsiteY1112" fmla="*/ 5084939 h 6858290"/>
              <a:gd name="connsiteX1113" fmla="*/ 4517208 w 12139750"/>
              <a:gd name="connsiteY1113" fmla="*/ 5230866 h 6858290"/>
              <a:gd name="connsiteX1114" fmla="*/ 4459972 w 12139750"/>
              <a:gd name="connsiteY1114" fmla="*/ 5208124 h 6858290"/>
              <a:gd name="connsiteX1115" fmla="*/ 4456156 w 12139750"/>
              <a:gd name="connsiteY1115" fmla="*/ 5191068 h 6858290"/>
              <a:gd name="connsiteX1116" fmla="*/ 4482867 w 12139750"/>
              <a:gd name="connsiteY1116" fmla="*/ 5151269 h 6858290"/>
              <a:gd name="connsiteX1117" fmla="*/ 4822445 w 12139750"/>
              <a:gd name="connsiteY1117" fmla="*/ 5005343 h 6858290"/>
              <a:gd name="connsiteX1118" fmla="*/ 4856076 w 12139750"/>
              <a:gd name="connsiteY1118" fmla="*/ 5004632 h 6858290"/>
              <a:gd name="connsiteX1119" fmla="*/ 1491734 w 12139750"/>
              <a:gd name="connsiteY1119" fmla="*/ 5004632 h 6858290"/>
              <a:gd name="connsiteX1120" fmla="*/ 1516059 w 12139750"/>
              <a:gd name="connsiteY1120" fmla="*/ 5028084 h 6858290"/>
              <a:gd name="connsiteX1121" fmla="*/ 1493165 w 12139750"/>
              <a:gd name="connsiteY1121" fmla="*/ 5084939 h 6858290"/>
              <a:gd name="connsiteX1122" fmla="*/ 1153575 w 12139750"/>
              <a:gd name="connsiteY1122" fmla="*/ 5230866 h 6858290"/>
              <a:gd name="connsiteX1123" fmla="*/ 1094433 w 12139750"/>
              <a:gd name="connsiteY1123" fmla="*/ 5208124 h 6858290"/>
              <a:gd name="connsiteX1124" fmla="*/ 1090618 w 12139750"/>
              <a:gd name="connsiteY1124" fmla="*/ 5191068 h 6858290"/>
              <a:gd name="connsiteX1125" fmla="*/ 1117327 w 12139750"/>
              <a:gd name="connsiteY1125" fmla="*/ 5151269 h 6858290"/>
              <a:gd name="connsiteX1126" fmla="*/ 1458825 w 12139750"/>
              <a:gd name="connsiteY1126" fmla="*/ 5005343 h 6858290"/>
              <a:gd name="connsiteX1127" fmla="*/ 1491734 w 12139750"/>
              <a:gd name="connsiteY1127" fmla="*/ 5004632 h 6858290"/>
              <a:gd name="connsiteX1128" fmla="*/ 4281239 w 12139750"/>
              <a:gd name="connsiteY1128" fmla="*/ 4989344 h 6858290"/>
              <a:gd name="connsiteX1129" fmla="*/ 4322794 w 12139750"/>
              <a:gd name="connsiteY1129" fmla="*/ 5017546 h 6858290"/>
              <a:gd name="connsiteX1130" fmla="*/ 4298010 w 12139750"/>
              <a:gd name="connsiteY1130" fmla="*/ 5076755 h 6858290"/>
              <a:gd name="connsiteX1131" fmla="*/ 3958691 w 12139750"/>
              <a:gd name="connsiteY1131" fmla="*/ 5218092 h 6858290"/>
              <a:gd name="connsiteX1132" fmla="*/ 3899590 w 12139750"/>
              <a:gd name="connsiteY1132" fmla="*/ 5193262 h 6858290"/>
              <a:gd name="connsiteX1133" fmla="*/ 3895779 w 12139750"/>
              <a:gd name="connsiteY1133" fmla="*/ 5176073 h 6858290"/>
              <a:gd name="connsiteX1134" fmla="*/ 3924374 w 12139750"/>
              <a:gd name="connsiteY1134" fmla="*/ 5134054 h 6858290"/>
              <a:gd name="connsiteX1135" fmla="*/ 4263694 w 12139750"/>
              <a:gd name="connsiteY1135" fmla="*/ 4992717 h 6858290"/>
              <a:gd name="connsiteX1136" fmla="*/ 4281239 w 12139750"/>
              <a:gd name="connsiteY1136" fmla="*/ 4989344 h 6858290"/>
              <a:gd name="connsiteX1137" fmla="*/ 2028590 w 12139750"/>
              <a:gd name="connsiteY1137" fmla="*/ 4989344 h 6858290"/>
              <a:gd name="connsiteX1138" fmla="*/ 2070119 w 12139750"/>
              <a:gd name="connsiteY1138" fmla="*/ 5017546 h 6858290"/>
              <a:gd name="connsiteX1139" fmla="*/ 2045349 w 12139750"/>
              <a:gd name="connsiteY1139" fmla="*/ 5076755 h 6858290"/>
              <a:gd name="connsiteX1140" fmla="*/ 1704349 w 12139750"/>
              <a:gd name="connsiteY1140" fmla="*/ 5218092 h 6858290"/>
              <a:gd name="connsiteX1141" fmla="*/ 1645293 w 12139750"/>
              <a:gd name="connsiteY1141" fmla="*/ 5193262 h 6858290"/>
              <a:gd name="connsiteX1142" fmla="*/ 1641483 w 12139750"/>
              <a:gd name="connsiteY1142" fmla="*/ 5176073 h 6858290"/>
              <a:gd name="connsiteX1143" fmla="*/ 1670059 w 12139750"/>
              <a:gd name="connsiteY1143" fmla="*/ 5134054 h 6858290"/>
              <a:gd name="connsiteX1144" fmla="*/ 2011058 w 12139750"/>
              <a:gd name="connsiteY1144" fmla="*/ 4992717 h 6858290"/>
              <a:gd name="connsiteX1145" fmla="*/ 2028590 w 12139750"/>
              <a:gd name="connsiteY1145" fmla="*/ 4989344 h 6858290"/>
              <a:gd name="connsiteX1146" fmla="*/ 3720408 w 12139750"/>
              <a:gd name="connsiteY1146" fmla="*/ 4979833 h 6858290"/>
              <a:gd name="connsiteX1147" fmla="*/ 3762739 w 12139750"/>
              <a:gd name="connsiteY1147" fmla="*/ 5009837 h 6858290"/>
              <a:gd name="connsiteX1148" fmla="*/ 3736068 w 12139750"/>
              <a:gd name="connsiteY1148" fmla="*/ 5068892 h 6858290"/>
              <a:gd name="connsiteX1149" fmla="*/ 3395084 w 12139750"/>
              <a:gd name="connsiteY1149" fmla="*/ 5202242 h 6858290"/>
              <a:gd name="connsiteX1150" fmla="*/ 3334121 w 12139750"/>
              <a:gd name="connsiteY1150" fmla="*/ 5175572 h 6858290"/>
              <a:gd name="connsiteX1151" fmla="*/ 3332215 w 12139750"/>
              <a:gd name="connsiteY1151" fmla="*/ 5158427 h 6858290"/>
              <a:gd name="connsiteX1152" fmla="*/ 3360792 w 12139750"/>
              <a:gd name="connsiteY1152" fmla="*/ 5116517 h 6858290"/>
              <a:gd name="connsiteX1153" fmla="*/ 3701777 w 12139750"/>
              <a:gd name="connsiteY1153" fmla="*/ 4983167 h 6858290"/>
              <a:gd name="connsiteX1154" fmla="*/ 3720408 w 12139750"/>
              <a:gd name="connsiteY1154" fmla="*/ 4979833 h 6858290"/>
              <a:gd name="connsiteX1155" fmla="*/ 2585923 w 12139750"/>
              <a:gd name="connsiteY1155" fmla="*/ 4979833 h 6858290"/>
              <a:gd name="connsiteX1156" fmla="*/ 2629210 w 12139750"/>
              <a:gd name="connsiteY1156" fmla="*/ 5009837 h 6858290"/>
              <a:gd name="connsiteX1157" fmla="*/ 2602444 w 12139750"/>
              <a:gd name="connsiteY1157" fmla="*/ 5068892 h 6858290"/>
              <a:gd name="connsiteX1158" fmla="*/ 2260209 w 12139750"/>
              <a:gd name="connsiteY1158" fmla="*/ 5202242 h 6858290"/>
              <a:gd name="connsiteX1159" fmla="*/ 2199027 w 12139750"/>
              <a:gd name="connsiteY1159" fmla="*/ 5175572 h 6858290"/>
              <a:gd name="connsiteX1160" fmla="*/ 2197115 w 12139750"/>
              <a:gd name="connsiteY1160" fmla="*/ 5158427 h 6858290"/>
              <a:gd name="connsiteX1161" fmla="*/ 2225794 w 12139750"/>
              <a:gd name="connsiteY1161" fmla="*/ 5116517 h 6858290"/>
              <a:gd name="connsiteX1162" fmla="*/ 2568028 w 12139750"/>
              <a:gd name="connsiteY1162" fmla="*/ 4983167 h 6858290"/>
              <a:gd name="connsiteX1163" fmla="*/ 2585923 w 12139750"/>
              <a:gd name="connsiteY1163" fmla="*/ 4979833 h 6858290"/>
              <a:gd name="connsiteX1164" fmla="*/ 3148522 w 12139750"/>
              <a:gd name="connsiteY1164" fmla="*/ 4969036 h 6858290"/>
              <a:gd name="connsiteX1165" fmla="*/ 3190913 w 12139750"/>
              <a:gd name="connsiteY1165" fmla="*/ 5000733 h 6858290"/>
              <a:gd name="connsiteX1166" fmla="*/ 3162293 w 12139750"/>
              <a:gd name="connsiteY1166" fmla="*/ 5061858 h 6858290"/>
              <a:gd name="connsiteX1167" fmla="*/ 2820804 w 12139750"/>
              <a:gd name="connsiteY1167" fmla="*/ 5187929 h 6858290"/>
              <a:gd name="connsiteX1168" fmla="*/ 2759756 w 12139750"/>
              <a:gd name="connsiteY1168" fmla="*/ 5161187 h 6858290"/>
              <a:gd name="connsiteX1169" fmla="*/ 2755940 w 12139750"/>
              <a:gd name="connsiteY1169" fmla="*/ 5143995 h 6858290"/>
              <a:gd name="connsiteX1170" fmla="*/ 2788374 w 12139750"/>
              <a:gd name="connsiteY1170" fmla="*/ 5098151 h 6858290"/>
              <a:gd name="connsiteX1171" fmla="*/ 3129862 w 12139750"/>
              <a:gd name="connsiteY1171" fmla="*/ 4972081 h 6858290"/>
              <a:gd name="connsiteX1172" fmla="*/ 3148522 w 12139750"/>
              <a:gd name="connsiteY1172" fmla="*/ 4969036 h 6858290"/>
              <a:gd name="connsiteX1173" fmla="*/ 9865943 w 12139750"/>
              <a:gd name="connsiteY1173" fmla="*/ 4767278 h 6858290"/>
              <a:gd name="connsiteX1174" fmla="*/ 9885469 w 12139750"/>
              <a:gd name="connsiteY1174" fmla="*/ 4779687 h 6858290"/>
              <a:gd name="connsiteX1175" fmla="*/ 9875944 w 12139750"/>
              <a:gd name="connsiteY1175" fmla="*/ 4821688 h 6858290"/>
              <a:gd name="connsiteX1176" fmla="*/ 9542565 w 12139750"/>
              <a:gd name="connsiteY1176" fmla="*/ 5046968 h 6858290"/>
              <a:gd name="connsiteX1177" fmla="*/ 9500654 w 12139750"/>
              <a:gd name="connsiteY1177" fmla="*/ 5037422 h 6858290"/>
              <a:gd name="connsiteX1178" fmla="*/ 9494939 w 12139750"/>
              <a:gd name="connsiteY1178" fmla="*/ 5022149 h 6858290"/>
              <a:gd name="connsiteX1179" fmla="*/ 9508274 w 12139750"/>
              <a:gd name="connsiteY1179" fmla="*/ 4997330 h 6858290"/>
              <a:gd name="connsiteX1180" fmla="*/ 9843558 w 12139750"/>
              <a:gd name="connsiteY1180" fmla="*/ 4772051 h 6858290"/>
              <a:gd name="connsiteX1181" fmla="*/ 9865943 w 12139750"/>
              <a:gd name="connsiteY1181" fmla="*/ 4767278 h 6858290"/>
              <a:gd name="connsiteX1182" fmla="*/ 10450715 w 12139750"/>
              <a:gd name="connsiteY1182" fmla="*/ 4757980 h 6858290"/>
              <a:gd name="connsiteX1183" fmla="*/ 10471242 w 12139750"/>
              <a:gd name="connsiteY1183" fmla="*/ 4772030 h 6858290"/>
              <a:gd name="connsiteX1184" fmla="*/ 10461695 w 12139750"/>
              <a:gd name="connsiteY1184" fmla="*/ 4815845 h 6858290"/>
              <a:gd name="connsiteX1185" fmla="*/ 10125619 w 12139750"/>
              <a:gd name="connsiteY1185" fmla="*/ 5029205 h 6858290"/>
              <a:gd name="connsiteX1186" fmla="*/ 10081701 w 12139750"/>
              <a:gd name="connsiteY1186" fmla="*/ 5019680 h 6858290"/>
              <a:gd name="connsiteX1187" fmla="*/ 10075972 w 12139750"/>
              <a:gd name="connsiteY1187" fmla="*/ 5004440 h 6858290"/>
              <a:gd name="connsiteX1188" fmla="*/ 10091248 w 12139750"/>
              <a:gd name="connsiteY1188" fmla="*/ 4977770 h 6858290"/>
              <a:gd name="connsiteX1189" fmla="*/ 10427323 w 12139750"/>
              <a:gd name="connsiteY1189" fmla="*/ 4762505 h 6858290"/>
              <a:gd name="connsiteX1190" fmla="*/ 10450715 w 12139750"/>
              <a:gd name="connsiteY1190" fmla="*/ 4757980 h 6858290"/>
              <a:gd name="connsiteX1191" fmla="*/ 9287869 w 12139750"/>
              <a:gd name="connsiteY1191" fmla="*/ 4757980 h 6858290"/>
              <a:gd name="connsiteX1192" fmla="*/ 9307618 w 12139750"/>
              <a:gd name="connsiteY1192" fmla="*/ 4772030 h 6858290"/>
              <a:gd name="connsiteX1193" fmla="*/ 9298101 w 12139750"/>
              <a:gd name="connsiteY1193" fmla="*/ 4815845 h 6858290"/>
              <a:gd name="connsiteX1194" fmla="*/ 8963081 w 12139750"/>
              <a:gd name="connsiteY1194" fmla="*/ 5029205 h 6858290"/>
              <a:gd name="connsiteX1195" fmla="*/ 8919300 w 12139750"/>
              <a:gd name="connsiteY1195" fmla="*/ 5019680 h 6858290"/>
              <a:gd name="connsiteX1196" fmla="*/ 8915493 w 12139750"/>
              <a:gd name="connsiteY1196" fmla="*/ 5004440 h 6858290"/>
              <a:gd name="connsiteX1197" fmla="*/ 8928818 w 12139750"/>
              <a:gd name="connsiteY1197" fmla="*/ 4977770 h 6858290"/>
              <a:gd name="connsiteX1198" fmla="*/ 9263837 w 12139750"/>
              <a:gd name="connsiteY1198" fmla="*/ 4762505 h 6858290"/>
              <a:gd name="connsiteX1199" fmla="*/ 9287869 w 12139750"/>
              <a:gd name="connsiteY1199" fmla="*/ 4757980 h 6858290"/>
              <a:gd name="connsiteX1200" fmla="*/ 11026794 w 12139750"/>
              <a:gd name="connsiteY1200" fmla="*/ 4748711 h 6858290"/>
              <a:gd name="connsiteX1201" fmla="*/ 11047527 w 12139750"/>
              <a:gd name="connsiteY1201" fmla="*/ 4764481 h 6858290"/>
              <a:gd name="connsiteX1202" fmla="*/ 11036088 w 12139750"/>
              <a:gd name="connsiteY1202" fmla="*/ 4810357 h 6858290"/>
              <a:gd name="connsiteX1203" fmla="*/ 10700543 w 12139750"/>
              <a:gd name="connsiteY1203" fmla="*/ 5014885 h 6858290"/>
              <a:gd name="connsiteX1204" fmla="*/ 10654787 w 12139750"/>
              <a:gd name="connsiteY1204" fmla="*/ 5005328 h 6858290"/>
              <a:gd name="connsiteX1205" fmla="*/ 10649067 w 12139750"/>
              <a:gd name="connsiteY1205" fmla="*/ 4988125 h 6858290"/>
              <a:gd name="connsiteX1206" fmla="*/ 10666226 w 12139750"/>
              <a:gd name="connsiteY1206" fmla="*/ 4959452 h 6858290"/>
              <a:gd name="connsiteX1207" fmla="*/ 11001771 w 12139750"/>
              <a:gd name="connsiteY1207" fmla="*/ 4753012 h 6858290"/>
              <a:gd name="connsiteX1208" fmla="*/ 11026794 w 12139750"/>
              <a:gd name="connsiteY1208" fmla="*/ 4748711 h 6858290"/>
              <a:gd name="connsiteX1209" fmla="*/ 8717757 w 12139750"/>
              <a:gd name="connsiteY1209" fmla="*/ 4748711 h 6858290"/>
              <a:gd name="connsiteX1210" fmla="*/ 8737713 w 12139750"/>
              <a:gd name="connsiteY1210" fmla="*/ 4764481 h 6858290"/>
              <a:gd name="connsiteX1211" fmla="*/ 8728210 w 12139750"/>
              <a:gd name="connsiteY1211" fmla="*/ 4810357 h 6858290"/>
              <a:gd name="connsiteX1212" fmla="*/ 8391812 w 12139750"/>
              <a:gd name="connsiteY1212" fmla="*/ 5014885 h 6858290"/>
              <a:gd name="connsiteX1213" fmla="*/ 8346199 w 12139750"/>
              <a:gd name="connsiteY1213" fmla="*/ 5005328 h 6858290"/>
              <a:gd name="connsiteX1214" fmla="*/ 8342398 w 12139750"/>
              <a:gd name="connsiteY1214" fmla="*/ 4988125 h 6858290"/>
              <a:gd name="connsiteX1215" fmla="*/ 8357602 w 12139750"/>
              <a:gd name="connsiteY1215" fmla="*/ 4959452 h 6858290"/>
              <a:gd name="connsiteX1216" fmla="*/ 8692100 w 12139750"/>
              <a:gd name="connsiteY1216" fmla="*/ 4753012 h 6858290"/>
              <a:gd name="connsiteX1217" fmla="*/ 8717757 w 12139750"/>
              <a:gd name="connsiteY1217" fmla="*/ 4748711 h 6858290"/>
              <a:gd name="connsiteX1218" fmla="*/ 11598111 w 12139750"/>
              <a:gd name="connsiteY1218" fmla="*/ 4739890 h 6858290"/>
              <a:gd name="connsiteX1219" fmla="*/ 11619050 w 12139750"/>
              <a:gd name="connsiteY1219" fmla="*/ 4754909 h 6858290"/>
              <a:gd name="connsiteX1220" fmla="*/ 11607629 w 12139750"/>
              <a:gd name="connsiteY1220" fmla="*/ 4802589 h 6858290"/>
              <a:gd name="connsiteX1221" fmla="*/ 11270700 w 12139750"/>
              <a:gd name="connsiteY1221" fmla="*/ 4999032 h 6858290"/>
              <a:gd name="connsiteX1222" fmla="*/ 11223111 w 12139750"/>
              <a:gd name="connsiteY1222" fmla="*/ 4987588 h 6858290"/>
              <a:gd name="connsiteX1223" fmla="*/ 11217400 w 12139750"/>
              <a:gd name="connsiteY1223" fmla="*/ 4968516 h 6858290"/>
              <a:gd name="connsiteX1224" fmla="*/ 11236436 w 12139750"/>
              <a:gd name="connsiteY1224" fmla="*/ 4939908 h 6858290"/>
              <a:gd name="connsiteX1225" fmla="*/ 11571461 w 12139750"/>
              <a:gd name="connsiteY1225" fmla="*/ 4743466 h 6858290"/>
              <a:gd name="connsiteX1226" fmla="*/ 11598111 w 12139750"/>
              <a:gd name="connsiteY1226" fmla="*/ 4739890 h 6858290"/>
              <a:gd name="connsiteX1227" fmla="*/ 8154062 w 12139750"/>
              <a:gd name="connsiteY1227" fmla="*/ 4739890 h 6858290"/>
              <a:gd name="connsiteX1228" fmla="*/ 8175715 w 12139750"/>
              <a:gd name="connsiteY1228" fmla="*/ 4754909 h 6858290"/>
              <a:gd name="connsiteX1229" fmla="*/ 8162390 w 12139750"/>
              <a:gd name="connsiteY1229" fmla="*/ 4802589 h 6858290"/>
              <a:gd name="connsiteX1230" fmla="*/ 7825461 w 12139750"/>
              <a:gd name="connsiteY1230" fmla="*/ 4999032 h 6858290"/>
              <a:gd name="connsiteX1231" fmla="*/ 7777872 w 12139750"/>
              <a:gd name="connsiteY1231" fmla="*/ 4987588 h 6858290"/>
              <a:gd name="connsiteX1232" fmla="*/ 7774065 w 12139750"/>
              <a:gd name="connsiteY1232" fmla="*/ 4968516 h 6858290"/>
              <a:gd name="connsiteX1233" fmla="*/ 7791197 w 12139750"/>
              <a:gd name="connsiteY1233" fmla="*/ 4939908 h 6858290"/>
              <a:gd name="connsiteX1234" fmla="*/ 8128126 w 12139750"/>
              <a:gd name="connsiteY1234" fmla="*/ 4743466 h 6858290"/>
              <a:gd name="connsiteX1235" fmla="*/ 8154062 w 12139750"/>
              <a:gd name="connsiteY1235" fmla="*/ 4739890 h 6858290"/>
              <a:gd name="connsiteX1236" fmla="*/ 12135937 w 12139750"/>
              <a:gd name="connsiteY1236" fmla="*/ 4732342 h 6858290"/>
              <a:gd name="connsiteX1237" fmla="*/ 12139750 w 12139750"/>
              <a:gd name="connsiteY1237" fmla="*/ 4732342 h 6858290"/>
              <a:gd name="connsiteX1238" fmla="*/ 12139750 w 12139750"/>
              <a:gd name="connsiteY1238" fmla="*/ 4814057 h 6858290"/>
              <a:gd name="connsiteX1239" fmla="*/ 11834677 w 12139750"/>
              <a:gd name="connsiteY1239" fmla="*/ 4983190 h 6858290"/>
              <a:gd name="connsiteX1240" fmla="*/ 11783196 w 12139750"/>
              <a:gd name="connsiteY1240" fmla="*/ 4969887 h 6858290"/>
              <a:gd name="connsiteX1241" fmla="*/ 11779383 w 12139750"/>
              <a:gd name="connsiteY1241" fmla="*/ 4950884 h 6858290"/>
              <a:gd name="connsiteX1242" fmla="*/ 11798450 w 12139750"/>
              <a:gd name="connsiteY1242" fmla="*/ 4920478 h 6858290"/>
              <a:gd name="connsiteX1243" fmla="*/ 7597191 w 12139750"/>
              <a:gd name="connsiteY1243" fmla="*/ 4729944 h 6858290"/>
              <a:gd name="connsiteX1244" fmla="*/ 7620068 w 12139750"/>
              <a:gd name="connsiteY1244" fmla="*/ 4747524 h 6858290"/>
              <a:gd name="connsiteX1245" fmla="*/ 7604817 w 12139750"/>
              <a:gd name="connsiteY1245" fmla="*/ 4796937 h 6858290"/>
              <a:gd name="connsiteX1246" fmla="*/ 7267371 w 12139750"/>
              <a:gd name="connsiteY1246" fmla="*/ 4983189 h 6858290"/>
              <a:gd name="connsiteX1247" fmla="*/ 7217802 w 12139750"/>
              <a:gd name="connsiteY1247" fmla="*/ 4969885 h 6858290"/>
              <a:gd name="connsiteX1248" fmla="*/ 7212083 w 12139750"/>
              <a:gd name="connsiteY1248" fmla="*/ 4950880 h 6858290"/>
              <a:gd name="connsiteX1249" fmla="*/ 7231147 w 12139750"/>
              <a:gd name="connsiteY1249" fmla="*/ 4920472 h 6858290"/>
              <a:gd name="connsiteX1250" fmla="*/ 7568594 w 12139750"/>
              <a:gd name="connsiteY1250" fmla="*/ 4732319 h 6858290"/>
              <a:gd name="connsiteX1251" fmla="*/ 7597191 w 12139750"/>
              <a:gd name="connsiteY1251" fmla="*/ 4729944 h 6858290"/>
              <a:gd name="connsiteX1252" fmla="*/ 7045531 w 12139750"/>
              <a:gd name="connsiteY1252" fmla="*/ 4720682 h 6858290"/>
              <a:gd name="connsiteX1253" fmla="*/ 7069177 w 12139750"/>
              <a:gd name="connsiteY1253" fmla="*/ 4739994 h 6858290"/>
              <a:gd name="connsiteX1254" fmla="*/ 7051980 w 12139750"/>
              <a:gd name="connsiteY1254" fmla="*/ 4791491 h 6858290"/>
              <a:gd name="connsiteX1255" fmla="*/ 6713773 w 12139750"/>
              <a:gd name="connsiteY1255" fmla="*/ 4968868 h 6858290"/>
              <a:gd name="connsiteX1256" fmla="*/ 6662182 w 12139750"/>
              <a:gd name="connsiteY1256" fmla="*/ 4953610 h 6858290"/>
              <a:gd name="connsiteX1257" fmla="*/ 6656450 w 12139750"/>
              <a:gd name="connsiteY1257" fmla="*/ 4934537 h 6858290"/>
              <a:gd name="connsiteX1258" fmla="*/ 6677468 w 12139750"/>
              <a:gd name="connsiteY1258" fmla="*/ 4902113 h 6858290"/>
              <a:gd name="connsiteX1259" fmla="*/ 7017586 w 12139750"/>
              <a:gd name="connsiteY1259" fmla="*/ 4722828 h 6858290"/>
              <a:gd name="connsiteX1260" fmla="*/ 7045531 w 12139750"/>
              <a:gd name="connsiteY1260" fmla="*/ 4720682 h 6858290"/>
              <a:gd name="connsiteX1261" fmla="*/ 6500048 w 12139750"/>
              <a:gd name="connsiteY1261" fmla="*/ 4711377 h 6858290"/>
              <a:gd name="connsiteX1262" fmla="*/ 6523112 w 12139750"/>
              <a:gd name="connsiteY1262" fmla="*/ 4732307 h 6858290"/>
              <a:gd name="connsiteX1263" fmla="*/ 6505992 w 12139750"/>
              <a:gd name="connsiteY1263" fmla="*/ 4785582 h 6858290"/>
              <a:gd name="connsiteX1264" fmla="*/ 6167407 w 12139750"/>
              <a:gd name="connsiteY1264" fmla="*/ 4953016 h 6858290"/>
              <a:gd name="connsiteX1265" fmla="*/ 6114146 w 12139750"/>
              <a:gd name="connsiteY1265" fmla="*/ 4935892 h 6858290"/>
              <a:gd name="connsiteX1266" fmla="*/ 6110342 w 12139750"/>
              <a:gd name="connsiteY1266" fmla="*/ 4916866 h 6858290"/>
              <a:gd name="connsiteX1267" fmla="*/ 6131266 w 12139750"/>
              <a:gd name="connsiteY1267" fmla="*/ 4882618 h 6858290"/>
              <a:gd name="connsiteX1268" fmla="*/ 6469851 w 12139750"/>
              <a:gd name="connsiteY1268" fmla="*/ 4713280 h 6858290"/>
              <a:gd name="connsiteX1269" fmla="*/ 6500048 w 12139750"/>
              <a:gd name="connsiteY1269" fmla="*/ 4711377 h 6858290"/>
              <a:gd name="connsiteX1270" fmla="*/ 5956806 w 12139750"/>
              <a:gd name="connsiteY1270" fmla="*/ 4701881 h 6858290"/>
              <a:gd name="connsiteX1271" fmla="*/ 5980159 w 12139750"/>
              <a:gd name="connsiteY1271" fmla="*/ 4722888 h 6858290"/>
              <a:gd name="connsiteX1272" fmla="*/ 5961095 w 12139750"/>
              <a:gd name="connsiteY1272" fmla="*/ 4778272 h 6858290"/>
              <a:gd name="connsiteX1273" fmla="*/ 5621756 w 12139750"/>
              <a:gd name="connsiteY1273" fmla="*/ 4938693 h 6858290"/>
              <a:gd name="connsiteX1274" fmla="*/ 5566471 w 12139750"/>
              <a:gd name="connsiteY1274" fmla="*/ 4919595 h 6858290"/>
              <a:gd name="connsiteX1275" fmla="*/ 5562658 w 12139750"/>
              <a:gd name="connsiteY1275" fmla="*/ 4900497 h 6858290"/>
              <a:gd name="connsiteX1276" fmla="*/ 5585535 w 12139750"/>
              <a:gd name="connsiteY1276" fmla="*/ 4864212 h 6858290"/>
              <a:gd name="connsiteX1277" fmla="*/ 5924874 w 12139750"/>
              <a:gd name="connsiteY1277" fmla="*/ 4703791 h 6858290"/>
              <a:gd name="connsiteX1278" fmla="*/ 5956806 w 12139750"/>
              <a:gd name="connsiteY1278" fmla="*/ 4701881 h 6858290"/>
              <a:gd name="connsiteX1279" fmla="*/ 398944 w 12139750"/>
              <a:gd name="connsiteY1279" fmla="*/ 4701881 h 6858290"/>
              <a:gd name="connsiteX1280" fmla="*/ 422281 w 12139750"/>
              <a:gd name="connsiteY1280" fmla="*/ 4722888 h 6858290"/>
              <a:gd name="connsiteX1281" fmla="*/ 401326 w 12139750"/>
              <a:gd name="connsiteY1281" fmla="*/ 4778272 h 6858290"/>
              <a:gd name="connsiteX1282" fmla="*/ 62232 w 12139750"/>
              <a:gd name="connsiteY1282" fmla="*/ 4938693 h 6858290"/>
              <a:gd name="connsiteX1283" fmla="*/ 6986 w 12139750"/>
              <a:gd name="connsiteY1283" fmla="*/ 4919595 h 6858290"/>
              <a:gd name="connsiteX1284" fmla="*/ 3176 w 12139750"/>
              <a:gd name="connsiteY1284" fmla="*/ 4900497 h 6858290"/>
              <a:gd name="connsiteX1285" fmla="*/ 27941 w 12139750"/>
              <a:gd name="connsiteY1285" fmla="*/ 4864212 h 6858290"/>
              <a:gd name="connsiteX1286" fmla="*/ 367035 w 12139750"/>
              <a:gd name="connsiteY1286" fmla="*/ 4703791 h 6858290"/>
              <a:gd name="connsiteX1287" fmla="*/ 398944 w 12139750"/>
              <a:gd name="connsiteY1287" fmla="*/ 4701881 h 6858290"/>
              <a:gd name="connsiteX1288" fmla="*/ 5409709 w 12139750"/>
              <a:gd name="connsiteY1288" fmla="*/ 4693289 h 6858290"/>
              <a:gd name="connsiteX1289" fmla="*/ 5434051 w 12139750"/>
              <a:gd name="connsiteY1289" fmla="*/ 4715197 h 6858290"/>
              <a:gd name="connsiteX1290" fmla="*/ 5411140 w 12139750"/>
              <a:gd name="connsiteY1290" fmla="*/ 4772347 h 6858290"/>
              <a:gd name="connsiteX1291" fmla="*/ 5071297 w 12139750"/>
              <a:gd name="connsiteY1291" fmla="*/ 4922842 h 6858290"/>
              <a:gd name="connsiteX1292" fmla="*/ 5014028 w 12139750"/>
              <a:gd name="connsiteY1292" fmla="*/ 4901887 h 6858290"/>
              <a:gd name="connsiteX1293" fmla="*/ 5010210 w 12139750"/>
              <a:gd name="connsiteY1293" fmla="*/ 4882837 h 6858290"/>
              <a:gd name="connsiteX1294" fmla="*/ 5036935 w 12139750"/>
              <a:gd name="connsiteY1294" fmla="*/ 4842832 h 6858290"/>
              <a:gd name="connsiteX1295" fmla="*/ 5376776 w 12139750"/>
              <a:gd name="connsiteY1295" fmla="*/ 4694242 h 6858290"/>
              <a:gd name="connsiteX1296" fmla="*/ 5409709 w 12139750"/>
              <a:gd name="connsiteY1296" fmla="*/ 4693289 h 6858290"/>
              <a:gd name="connsiteX1297" fmla="*/ 943147 w 12139750"/>
              <a:gd name="connsiteY1297" fmla="*/ 4693289 h 6858290"/>
              <a:gd name="connsiteX1298" fmla="*/ 966774 w 12139750"/>
              <a:gd name="connsiteY1298" fmla="*/ 4715197 h 6858290"/>
              <a:gd name="connsiteX1299" fmla="*/ 945772 w 12139750"/>
              <a:gd name="connsiteY1299" fmla="*/ 4772347 h 6858290"/>
              <a:gd name="connsiteX1300" fmla="*/ 604023 w 12139750"/>
              <a:gd name="connsiteY1300" fmla="*/ 4922842 h 6858290"/>
              <a:gd name="connsiteX1301" fmla="*/ 546746 w 12139750"/>
              <a:gd name="connsiteY1301" fmla="*/ 4901887 h 6858290"/>
              <a:gd name="connsiteX1302" fmla="*/ 542928 w 12139750"/>
              <a:gd name="connsiteY1302" fmla="*/ 4882837 h 6858290"/>
              <a:gd name="connsiteX1303" fmla="*/ 569657 w 12139750"/>
              <a:gd name="connsiteY1303" fmla="*/ 4842832 h 6858290"/>
              <a:gd name="connsiteX1304" fmla="*/ 909497 w 12139750"/>
              <a:gd name="connsiteY1304" fmla="*/ 4694242 h 6858290"/>
              <a:gd name="connsiteX1305" fmla="*/ 943147 w 12139750"/>
              <a:gd name="connsiteY1305" fmla="*/ 4693289 h 6858290"/>
              <a:gd name="connsiteX1306" fmla="*/ 4840043 w 12139750"/>
              <a:gd name="connsiteY1306" fmla="*/ 4679741 h 6858290"/>
              <a:gd name="connsiteX1307" fmla="*/ 4881602 w 12139750"/>
              <a:gd name="connsiteY1307" fmla="*/ 4707760 h 6858290"/>
              <a:gd name="connsiteX1308" fmla="*/ 4856815 w 12139750"/>
              <a:gd name="connsiteY1308" fmla="*/ 4766584 h 6858290"/>
              <a:gd name="connsiteX1309" fmla="*/ 4517479 w 12139750"/>
              <a:gd name="connsiteY1309" fmla="*/ 4907004 h 6858290"/>
              <a:gd name="connsiteX1310" fmla="*/ 4458382 w 12139750"/>
              <a:gd name="connsiteY1310" fmla="*/ 4882336 h 6858290"/>
              <a:gd name="connsiteX1311" fmla="*/ 4454569 w 12139750"/>
              <a:gd name="connsiteY1311" fmla="*/ 4865258 h 6858290"/>
              <a:gd name="connsiteX1312" fmla="*/ 4483164 w 12139750"/>
              <a:gd name="connsiteY1312" fmla="*/ 4823511 h 6858290"/>
              <a:gd name="connsiteX1313" fmla="*/ 4822495 w 12139750"/>
              <a:gd name="connsiteY1313" fmla="*/ 4683092 h 6858290"/>
              <a:gd name="connsiteX1314" fmla="*/ 4840043 w 12139750"/>
              <a:gd name="connsiteY1314" fmla="*/ 4679741 h 6858290"/>
              <a:gd name="connsiteX1315" fmla="*/ 1476099 w 12139750"/>
              <a:gd name="connsiteY1315" fmla="*/ 4679741 h 6858290"/>
              <a:gd name="connsiteX1316" fmla="*/ 1517653 w 12139750"/>
              <a:gd name="connsiteY1316" fmla="*/ 4707760 h 6858290"/>
              <a:gd name="connsiteX1317" fmla="*/ 1492870 w 12139750"/>
              <a:gd name="connsiteY1317" fmla="*/ 4766584 h 6858290"/>
              <a:gd name="connsiteX1318" fmla="*/ 1151623 w 12139750"/>
              <a:gd name="connsiteY1318" fmla="*/ 4907004 h 6858290"/>
              <a:gd name="connsiteX1319" fmla="*/ 1094430 w 12139750"/>
              <a:gd name="connsiteY1319" fmla="*/ 4882336 h 6858290"/>
              <a:gd name="connsiteX1320" fmla="*/ 1090618 w 12139750"/>
              <a:gd name="connsiteY1320" fmla="*/ 4865258 h 6858290"/>
              <a:gd name="connsiteX1321" fmla="*/ 1117307 w 12139750"/>
              <a:gd name="connsiteY1321" fmla="*/ 4823511 h 6858290"/>
              <a:gd name="connsiteX1322" fmla="*/ 1458554 w 12139750"/>
              <a:gd name="connsiteY1322" fmla="*/ 4683092 h 6858290"/>
              <a:gd name="connsiteX1323" fmla="*/ 1476099 w 12139750"/>
              <a:gd name="connsiteY1323" fmla="*/ 4679741 h 6858290"/>
              <a:gd name="connsiteX1324" fmla="*/ 4282901 w 12139750"/>
              <a:gd name="connsiteY1324" fmla="*/ 4670538 h 6858290"/>
              <a:gd name="connsiteX1325" fmla="*/ 4324395 w 12139750"/>
              <a:gd name="connsiteY1325" fmla="*/ 4700274 h 6858290"/>
              <a:gd name="connsiteX1326" fmla="*/ 4297744 w 12139750"/>
              <a:gd name="connsiteY1326" fmla="*/ 4761234 h 6858290"/>
              <a:gd name="connsiteX1327" fmla="*/ 3957011 w 12139750"/>
              <a:gd name="connsiteY1327" fmla="*/ 4892679 h 6858290"/>
              <a:gd name="connsiteX1328" fmla="*/ 3897996 w 12139750"/>
              <a:gd name="connsiteY1328" fmla="*/ 4866009 h 6858290"/>
              <a:gd name="connsiteX1329" fmla="*/ 3894189 w 12139750"/>
              <a:gd name="connsiteY1329" fmla="*/ 4848864 h 6858290"/>
              <a:gd name="connsiteX1330" fmla="*/ 3924649 w 12139750"/>
              <a:gd name="connsiteY1330" fmla="*/ 4805049 h 6858290"/>
              <a:gd name="connsiteX1331" fmla="*/ 4265381 w 12139750"/>
              <a:gd name="connsiteY1331" fmla="*/ 4673604 h 6858290"/>
              <a:gd name="connsiteX1332" fmla="*/ 4282901 w 12139750"/>
              <a:gd name="connsiteY1332" fmla="*/ 4670538 h 6858290"/>
              <a:gd name="connsiteX1333" fmla="*/ 2029448 w 12139750"/>
              <a:gd name="connsiteY1333" fmla="*/ 4670538 h 6858290"/>
              <a:gd name="connsiteX1334" fmla="*/ 2071719 w 12139750"/>
              <a:gd name="connsiteY1334" fmla="*/ 4700274 h 6858290"/>
              <a:gd name="connsiteX1335" fmla="*/ 2045082 w 12139750"/>
              <a:gd name="connsiteY1335" fmla="*/ 4761234 h 6858290"/>
              <a:gd name="connsiteX1336" fmla="*/ 1704573 w 12139750"/>
              <a:gd name="connsiteY1336" fmla="*/ 4892679 h 6858290"/>
              <a:gd name="connsiteX1337" fmla="*/ 1643700 w 12139750"/>
              <a:gd name="connsiteY1337" fmla="*/ 4866009 h 6858290"/>
              <a:gd name="connsiteX1338" fmla="*/ 1639895 w 12139750"/>
              <a:gd name="connsiteY1338" fmla="*/ 4848864 h 6858290"/>
              <a:gd name="connsiteX1339" fmla="*/ 1670332 w 12139750"/>
              <a:gd name="connsiteY1339" fmla="*/ 4805049 h 6858290"/>
              <a:gd name="connsiteX1340" fmla="*/ 2010841 w 12139750"/>
              <a:gd name="connsiteY1340" fmla="*/ 4673604 h 6858290"/>
              <a:gd name="connsiteX1341" fmla="*/ 2029448 w 12139750"/>
              <a:gd name="connsiteY1341" fmla="*/ 4670538 h 6858290"/>
              <a:gd name="connsiteX1342" fmla="*/ 3720839 w 12139750"/>
              <a:gd name="connsiteY1342" fmla="*/ 4661025 h 6858290"/>
              <a:gd name="connsiteX1343" fmla="*/ 3764003 w 12139750"/>
              <a:gd name="connsiteY1343" fmla="*/ 4692550 h 6858290"/>
              <a:gd name="connsiteX1344" fmla="*/ 3735407 w 12139750"/>
              <a:gd name="connsiteY1344" fmla="*/ 4755243 h 6858290"/>
              <a:gd name="connsiteX1345" fmla="*/ 3392273 w 12139750"/>
              <a:gd name="connsiteY1345" fmla="*/ 4876830 h 6858290"/>
              <a:gd name="connsiteX1346" fmla="*/ 3331265 w 12139750"/>
              <a:gd name="connsiteY1346" fmla="*/ 4848333 h 6858290"/>
              <a:gd name="connsiteX1347" fmla="*/ 3327453 w 12139750"/>
              <a:gd name="connsiteY1347" fmla="*/ 4831235 h 6858290"/>
              <a:gd name="connsiteX1348" fmla="*/ 3359861 w 12139750"/>
              <a:gd name="connsiteY1348" fmla="*/ 4785640 h 6858290"/>
              <a:gd name="connsiteX1349" fmla="*/ 3701092 w 12139750"/>
              <a:gd name="connsiteY1349" fmla="*/ 4664053 h 6858290"/>
              <a:gd name="connsiteX1350" fmla="*/ 3720839 w 12139750"/>
              <a:gd name="connsiteY1350" fmla="*/ 4661025 h 6858290"/>
              <a:gd name="connsiteX1351" fmla="*/ 2587339 w 12139750"/>
              <a:gd name="connsiteY1351" fmla="*/ 4661025 h 6858290"/>
              <a:gd name="connsiteX1352" fmla="*/ 2630501 w 12139750"/>
              <a:gd name="connsiteY1352" fmla="*/ 4692550 h 6858290"/>
              <a:gd name="connsiteX1353" fmla="*/ 2601905 w 12139750"/>
              <a:gd name="connsiteY1353" fmla="*/ 4755243 h 6858290"/>
              <a:gd name="connsiteX1354" fmla="*/ 2258757 w 12139750"/>
              <a:gd name="connsiteY1354" fmla="*/ 4876830 h 6858290"/>
              <a:gd name="connsiteX1355" fmla="*/ 2197753 w 12139750"/>
              <a:gd name="connsiteY1355" fmla="*/ 4848333 h 6858290"/>
              <a:gd name="connsiteX1356" fmla="*/ 2193940 w 12139750"/>
              <a:gd name="connsiteY1356" fmla="*/ 4831235 h 6858290"/>
              <a:gd name="connsiteX1357" fmla="*/ 2226348 w 12139750"/>
              <a:gd name="connsiteY1357" fmla="*/ 4785640 h 6858290"/>
              <a:gd name="connsiteX1358" fmla="*/ 2567590 w 12139750"/>
              <a:gd name="connsiteY1358" fmla="*/ 4664053 h 6858290"/>
              <a:gd name="connsiteX1359" fmla="*/ 2587339 w 12139750"/>
              <a:gd name="connsiteY1359" fmla="*/ 4661025 h 6858290"/>
              <a:gd name="connsiteX1360" fmla="*/ 3149675 w 12139750"/>
              <a:gd name="connsiteY1360" fmla="*/ 4651825 h 6858290"/>
              <a:gd name="connsiteX1361" fmla="*/ 3194414 w 12139750"/>
              <a:gd name="connsiteY1361" fmla="*/ 4685090 h 6858290"/>
              <a:gd name="connsiteX1362" fmla="*/ 3162027 w 12139750"/>
              <a:gd name="connsiteY1362" fmla="*/ 4748043 h 6858290"/>
              <a:gd name="connsiteX1363" fmla="*/ 2819126 w 12139750"/>
              <a:gd name="connsiteY1363" fmla="*/ 4862503 h 6858290"/>
              <a:gd name="connsiteX1364" fmla="*/ 2756258 w 12139750"/>
              <a:gd name="connsiteY1364" fmla="*/ 4830073 h 6858290"/>
              <a:gd name="connsiteX1365" fmla="*/ 2754353 w 12139750"/>
              <a:gd name="connsiteY1365" fmla="*/ 4814812 h 6858290"/>
              <a:gd name="connsiteX1366" fmla="*/ 2788646 w 12139750"/>
              <a:gd name="connsiteY1366" fmla="*/ 4767120 h 6858290"/>
              <a:gd name="connsiteX1367" fmla="*/ 3129644 w 12139750"/>
              <a:gd name="connsiteY1367" fmla="*/ 4654567 h 6858290"/>
              <a:gd name="connsiteX1368" fmla="*/ 3149675 w 12139750"/>
              <a:gd name="connsiteY1368" fmla="*/ 4651825 h 6858290"/>
              <a:gd name="connsiteX1369" fmla="*/ 9864585 w 12139750"/>
              <a:gd name="connsiteY1369" fmla="*/ 4440631 h 6858290"/>
              <a:gd name="connsiteX1370" fmla="*/ 9882263 w 12139750"/>
              <a:gd name="connsiteY1370" fmla="*/ 4452274 h 6858290"/>
              <a:gd name="connsiteX1371" fmla="*/ 9876530 w 12139750"/>
              <a:gd name="connsiteY1371" fmla="*/ 4488393 h 6858290"/>
              <a:gd name="connsiteX1372" fmla="*/ 9540160 w 12139750"/>
              <a:gd name="connsiteY1372" fmla="*/ 4727913 h 6858290"/>
              <a:gd name="connsiteX1373" fmla="*/ 9503848 w 12139750"/>
              <a:gd name="connsiteY1373" fmla="*/ 4720309 h 6858290"/>
              <a:gd name="connsiteX1374" fmla="*/ 9498114 w 12139750"/>
              <a:gd name="connsiteY1374" fmla="*/ 4705101 h 6858290"/>
              <a:gd name="connsiteX1375" fmla="*/ 9509581 w 12139750"/>
              <a:gd name="connsiteY1375" fmla="*/ 4684191 h 6858290"/>
              <a:gd name="connsiteX1376" fmla="*/ 9844039 w 12139750"/>
              <a:gd name="connsiteY1376" fmla="*/ 4444671 h 6858290"/>
              <a:gd name="connsiteX1377" fmla="*/ 9864585 w 12139750"/>
              <a:gd name="connsiteY1377" fmla="*/ 4440631 h 6858290"/>
              <a:gd name="connsiteX1378" fmla="*/ 10447906 w 12139750"/>
              <a:gd name="connsiteY1378" fmla="*/ 4432309 h 6858290"/>
              <a:gd name="connsiteX1379" fmla="*/ 10466494 w 12139750"/>
              <a:gd name="connsiteY1379" fmla="*/ 4444705 h 6858290"/>
              <a:gd name="connsiteX1380" fmla="*/ 10458868 w 12139750"/>
              <a:gd name="connsiteY1380" fmla="*/ 4484754 h 6858290"/>
              <a:gd name="connsiteX1381" fmla="*/ 10123316 w 12139750"/>
              <a:gd name="connsiteY1381" fmla="*/ 4711694 h 6858290"/>
              <a:gd name="connsiteX1382" fmla="*/ 10083279 w 12139750"/>
              <a:gd name="connsiteY1382" fmla="*/ 4704066 h 6858290"/>
              <a:gd name="connsiteX1383" fmla="*/ 10077559 w 12139750"/>
              <a:gd name="connsiteY1383" fmla="*/ 4686903 h 6858290"/>
              <a:gd name="connsiteX1384" fmla="*/ 10090905 w 12139750"/>
              <a:gd name="connsiteY1384" fmla="*/ 4664018 h 6858290"/>
              <a:gd name="connsiteX1385" fmla="*/ 10426457 w 12139750"/>
              <a:gd name="connsiteY1385" fmla="*/ 4437077 h 6858290"/>
              <a:gd name="connsiteX1386" fmla="*/ 10447906 w 12139750"/>
              <a:gd name="connsiteY1386" fmla="*/ 4432309 h 6858290"/>
              <a:gd name="connsiteX1387" fmla="*/ 9287428 w 12139750"/>
              <a:gd name="connsiteY1387" fmla="*/ 4432309 h 6858290"/>
              <a:gd name="connsiteX1388" fmla="*/ 9306016 w 12139750"/>
              <a:gd name="connsiteY1388" fmla="*/ 4444705 h 6858290"/>
              <a:gd name="connsiteX1389" fmla="*/ 9298390 w 12139750"/>
              <a:gd name="connsiteY1389" fmla="*/ 4484754 h 6858290"/>
              <a:gd name="connsiteX1390" fmla="*/ 8962838 w 12139750"/>
              <a:gd name="connsiteY1390" fmla="*/ 4711694 h 6858290"/>
              <a:gd name="connsiteX1391" fmla="*/ 8922801 w 12139750"/>
              <a:gd name="connsiteY1391" fmla="*/ 4704066 h 6858290"/>
              <a:gd name="connsiteX1392" fmla="*/ 8917081 w 12139750"/>
              <a:gd name="connsiteY1392" fmla="*/ 4686903 h 6858290"/>
              <a:gd name="connsiteX1393" fmla="*/ 8930427 w 12139750"/>
              <a:gd name="connsiteY1393" fmla="*/ 4664018 h 6858290"/>
              <a:gd name="connsiteX1394" fmla="*/ 9265979 w 12139750"/>
              <a:gd name="connsiteY1394" fmla="*/ 4437077 h 6858290"/>
              <a:gd name="connsiteX1395" fmla="*/ 9287428 w 12139750"/>
              <a:gd name="connsiteY1395" fmla="*/ 4432309 h 6858290"/>
              <a:gd name="connsiteX1396" fmla="*/ 11026206 w 12139750"/>
              <a:gd name="connsiteY1396" fmla="*/ 4423012 h 6858290"/>
              <a:gd name="connsiteX1397" fmla="*/ 11045955 w 12139750"/>
              <a:gd name="connsiteY1397" fmla="*/ 4437046 h 6858290"/>
              <a:gd name="connsiteX1398" fmla="*/ 11036438 w 12139750"/>
              <a:gd name="connsiteY1398" fmla="*/ 4478910 h 6858290"/>
              <a:gd name="connsiteX1399" fmla="*/ 10701418 w 12139750"/>
              <a:gd name="connsiteY1399" fmla="*/ 4695840 h 6858290"/>
              <a:gd name="connsiteX1400" fmla="*/ 10657637 w 12139750"/>
              <a:gd name="connsiteY1400" fmla="*/ 4686326 h 6858290"/>
              <a:gd name="connsiteX1401" fmla="*/ 10653830 w 12139750"/>
              <a:gd name="connsiteY1401" fmla="*/ 4669200 h 6858290"/>
              <a:gd name="connsiteX1402" fmla="*/ 10667155 w 12139750"/>
              <a:gd name="connsiteY1402" fmla="*/ 4642559 h 6858290"/>
              <a:gd name="connsiteX1403" fmla="*/ 11002174 w 12139750"/>
              <a:gd name="connsiteY1403" fmla="*/ 4427531 h 6858290"/>
              <a:gd name="connsiteX1404" fmla="*/ 11026206 w 12139750"/>
              <a:gd name="connsiteY1404" fmla="*/ 4423012 h 6858290"/>
              <a:gd name="connsiteX1405" fmla="*/ 8716363 w 12139750"/>
              <a:gd name="connsiteY1405" fmla="*/ 4423012 h 6858290"/>
              <a:gd name="connsiteX1406" fmla="*/ 8736111 w 12139750"/>
              <a:gd name="connsiteY1406" fmla="*/ 4437046 h 6858290"/>
              <a:gd name="connsiteX1407" fmla="*/ 8726594 w 12139750"/>
              <a:gd name="connsiteY1407" fmla="*/ 4478910 h 6858290"/>
              <a:gd name="connsiteX1408" fmla="*/ 8391574 w 12139750"/>
              <a:gd name="connsiteY1408" fmla="*/ 4695840 h 6858290"/>
              <a:gd name="connsiteX1409" fmla="*/ 8347793 w 12139750"/>
              <a:gd name="connsiteY1409" fmla="*/ 4686326 h 6858290"/>
              <a:gd name="connsiteX1410" fmla="*/ 8343986 w 12139750"/>
              <a:gd name="connsiteY1410" fmla="*/ 4669200 h 6858290"/>
              <a:gd name="connsiteX1411" fmla="*/ 8357311 w 12139750"/>
              <a:gd name="connsiteY1411" fmla="*/ 4642559 h 6858290"/>
              <a:gd name="connsiteX1412" fmla="*/ 8692330 w 12139750"/>
              <a:gd name="connsiteY1412" fmla="*/ 4427531 h 6858290"/>
              <a:gd name="connsiteX1413" fmla="*/ 8716363 w 12139750"/>
              <a:gd name="connsiteY1413" fmla="*/ 4423012 h 6858290"/>
              <a:gd name="connsiteX1414" fmla="*/ 11596714 w 12139750"/>
              <a:gd name="connsiteY1414" fmla="*/ 4414431 h 6858290"/>
              <a:gd name="connsiteX1415" fmla="*/ 11617447 w 12139750"/>
              <a:gd name="connsiteY1415" fmla="*/ 4429399 h 6858290"/>
              <a:gd name="connsiteX1416" fmla="*/ 11606008 w 12139750"/>
              <a:gd name="connsiteY1416" fmla="*/ 4475016 h 6858290"/>
              <a:gd name="connsiteX1417" fmla="*/ 11270463 w 12139750"/>
              <a:gd name="connsiteY1417" fmla="*/ 4678388 h 6858290"/>
              <a:gd name="connsiteX1418" fmla="*/ 11224707 w 12139750"/>
              <a:gd name="connsiteY1418" fmla="*/ 4666984 h 6858290"/>
              <a:gd name="connsiteX1419" fmla="*/ 11218987 w 12139750"/>
              <a:gd name="connsiteY1419" fmla="*/ 4649878 h 6858290"/>
              <a:gd name="connsiteX1420" fmla="*/ 11236146 w 12139750"/>
              <a:gd name="connsiteY1420" fmla="*/ 4621368 h 6858290"/>
              <a:gd name="connsiteX1421" fmla="*/ 11571691 w 12139750"/>
              <a:gd name="connsiteY1421" fmla="*/ 4417995 h 6858290"/>
              <a:gd name="connsiteX1422" fmla="*/ 11596714 w 12139750"/>
              <a:gd name="connsiteY1422" fmla="*/ 4414431 h 6858290"/>
              <a:gd name="connsiteX1423" fmla="*/ 8153380 w 12139750"/>
              <a:gd name="connsiteY1423" fmla="*/ 4414431 h 6858290"/>
              <a:gd name="connsiteX1424" fmla="*/ 8174113 w 12139750"/>
              <a:gd name="connsiteY1424" fmla="*/ 4429399 h 6858290"/>
              <a:gd name="connsiteX1425" fmla="*/ 8162674 w 12139750"/>
              <a:gd name="connsiteY1425" fmla="*/ 4475016 h 6858290"/>
              <a:gd name="connsiteX1426" fmla="*/ 7825222 w 12139750"/>
              <a:gd name="connsiteY1426" fmla="*/ 4678388 h 6858290"/>
              <a:gd name="connsiteX1427" fmla="*/ 7779466 w 12139750"/>
              <a:gd name="connsiteY1427" fmla="*/ 4666984 h 6858290"/>
              <a:gd name="connsiteX1428" fmla="*/ 7775653 w 12139750"/>
              <a:gd name="connsiteY1428" fmla="*/ 4649878 h 6858290"/>
              <a:gd name="connsiteX1429" fmla="*/ 7790905 w 12139750"/>
              <a:gd name="connsiteY1429" fmla="*/ 4621368 h 6858290"/>
              <a:gd name="connsiteX1430" fmla="*/ 8128357 w 12139750"/>
              <a:gd name="connsiteY1430" fmla="*/ 4417995 h 6858290"/>
              <a:gd name="connsiteX1431" fmla="*/ 8153380 w 12139750"/>
              <a:gd name="connsiteY1431" fmla="*/ 4414431 h 6858290"/>
              <a:gd name="connsiteX1432" fmla="*/ 12139750 w 12139750"/>
              <a:gd name="connsiteY1432" fmla="*/ 4406904 h 6858290"/>
              <a:gd name="connsiteX1433" fmla="*/ 12139750 w 12139750"/>
              <a:gd name="connsiteY1433" fmla="*/ 4488819 h 6858290"/>
              <a:gd name="connsiteX1434" fmla="*/ 11834405 w 12139750"/>
              <a:gd name="connsiteY1434" fmla="*/ 4664079 h 6858290"/>
              <a:gd name="connsiteX1435" fmla="*/ 11784787 w 12139750"/>
              <a:gd name="connsiteY1435" fmla="*/ 4650744 h 6858290"/>
              <a:gd name="connsiteX1436" fmla="*/ 11780970 w 12139750"/>
              <a:gd name="connsiteY1436" fmla="*/ 4633599 h 6858290"/>
              <a:gd name="connsiteX1437" fmla="*/ 11798146 w 12139750"/>
              <a:gd name="connsiteY1437" fmla="*/ 4601214 h 6858290"/>
              <a:gd name="connsiteX1438" fmla="*/ 12135933 w 12139750"/>
              <a:gd name="connsiteY1438" fmla="*/ 4408809 h 6858290"/>
              <a:gd name="connsiteX1439" fmla="*/ 12139750 w 12139750"/>
              <a:gd name="connsiteY1439" fmla="*/ 4406904 h 6858290"/>
              <a:gd name="connsiteX1440" fmla="*/ 7595041 w 12139750"/>
              <a:gd name="connsiteY1440" fmla="*/ 4405165 h 6858290"/>
              <a:gd name="connsiteX1441" fmla="*/ 7616915 w 12139750"/>
              <a:gd name="connsiteY1441" fmla="*/ 4421853 h 6858290"/>
              <a:gd name="connsiteX1442" fmla="*/ 7603601 w 12139750"/>
              <a:gd name="connsiteY1442" fmla="*/ 4471441 h 6858290"/>
              <a:gd name="connsiteX1443" fmla="*/ 7266929 w 12139750"/>
              <a:gd name="connsiteY1443" fmla="*/ 4664069 h 6858290"/>
              <a:gd name="connsiteX1444" fmla="*/ 7219376 w 12139750"/>
              <a:gd name="connsiteY1444" fmla="*/ 4650718 h 6858290"/>
              <a:gd name="connsiteX1445" fmla="*/ 7213670 w 12139750"/>
              <a:gd name="connsiteY1445" fmla="*/ 4633553 h 6858290"/>
              <a:gd name="connsiteX1446" fmla="*/ 7230789 w 12139750"/>
              <a:gd name="connsiteY1446" fmla="*/ 4601131 h 6858290"/>
              <a:gd name="connsiteX1447" fmla="*/ 7567461 w 12139750"/>
              <a:gd name="connsiteY1447" fmla="*/ 4408503 h 6858290"/>
              <a:gd name="connsiteX1448" fmla="*/ 7595041 w 12139750"/>
              <a:gd name="connsiteY1448" fmla="*/ 4405165 h 6858290"/>
              <a:gd name="connsiteX1449" fmla="*/ 7045447 w 12139750"/>
              <a:gd name="connsiteY1449" fmla="*/ 4396577 h 6858290"/>
              <a:gd name="connsiteX1450" fmla="*/ 7067610 w 12139750"/>
              <a:gd name="connsiteY1450" fmla="*/ 4414178 h 6858290"/>
              <a:gd name="connsiteX1451" fmla="*/ 7052359 w 12139750"/>
              <a:gd name="connsiteY1451" fmla="*/ 4465552 h 6858290"/>
              <a:gd name="connsiteX1452" fmla="*/ 6714913 w 12139750"/>
              <a:gd name="connsiteY1452" fmla="*/ 4646313 h 6858290"/>
              <a:gd name="connsiteX1453" fmla="*/ 6663438 w 12139750"/>
              <a:gd name="connsiteY1453" fmla="*/ 4631091 h 6858290"/>
              <a:gd name="connsiteX1454" fmla="*/ 6659625 w 12139750"/>
              <a:gd name="connsiteY1454" fmla="*/ 4613966 h 6858290"/>
              <a:gd name="connsiteX1455" fmla="*/ 6678689 w 12139750"/>
              <a:gd name="connsiteY1455" fmla="*/ 4581620 h 6858290"/>
              <a:gd name="connsiteX1456" fmla="*/ 7016136 w 12139750"/>
              <a:gd name="connsiteY1456" fmla="*/ 4398956 h 6858290"/>
              <a:gd name="connsiteX1457" fmla="*/ 7045447 w 12139750"/>
              <a:gd name="connsiteY1457" fmla="*/ 4396577 h 6858290"/>
              <a:gd name="connsiteX1458" fmla="*/ 6484860 w 12139750"/>
              <a:gd name="connsiteY1458" fmla="*/ 4386509 h 6858290"/>
              <a:gd name="connsiteX1459" fmla="*/ 6523112 w 12139750"/>
              <a:gd name="connsiteY1459" fmla="*/ 4408422 h 6858290"/>
              <a:gd name="connsiteX1460" fmla="*/ 6505992 w 12139750"/>
              <a:gd name="connsiteY1460" fmla="*/ 4461632 h 6858290"/>
              <a:gd name="connsiteX1461" fmla="*/ 6167407 w 12139750"/>
              <a:gd name="connsiteY1461" fmla="*/ 4630765 h 6858290"/>
              <a:gd name="connsiteX1462" fmla="*/ 6114146 w 12139750"/>
              <a:gd name="connsiteY1462" fmla="*/ 4613662 h 6858290"/>
              <a:gd name="connsiteX1463" fmla="*/ 6110342 w 12139750"/>
              <a:gd name="connsiteY1463" fmla="*/ 4594658 h 6858290"/>
              <a:gd name="connsiteX1464" fmla="*/ 6131266 w 12139750"/>
              <a:gd name="connsiteY1464" fmla="*/ 4560451 h 6858290"/>
              <a:gd name="connsiteX1465" fmla="*/ 6469851 w 12139750"/>
              <a:gd name="connsiteY1465" fmla="*/ 4391319 h 6858290"/>
              <a:gd name="connsiteX1466" fmla="*/ 6484860 w 12139750"/>
              <a:gd name="connsiteY1466" fmla="*/ 4386509 h 6858290"/>
              <a:gd name="connsiteX1467" fmla="*/ 5956833 w 12139750"/>
              <a:gd name="connsiteY1467" fmla="*/ 4379618 h 6858290"/>
              <a:gd name="connsiteX1468" fmla="*/ 5980168 w 12139750"/>
              <a:gd name="connsiteY1468" fmla="*/ 4400625 h 6858290"/>
              <a:gd name="connsiteX1469" fmla="*/ 5961117 w 12139750"/>
              <a:gd name="connsiteY1469" fmla="*/ 4456009 h 6858290"/>
              <a:gd name="connsiteX1470" fmla="*/ 5622030 w 12139750"/>
              <a:gd name="connsiteY1470" fmla="*/ 4616430 h 6858290"/>
              <a:gd name="connsiteX1471" fmla="*/ 5564881 w 12139750"/>
              <a:gd name="connsiteY1471" fmla="*/ 4595422 h 6858290"/>
              <a:gd name="connsiteX1472" fmla="*/ 5561071 w 12139750"/>
              <a:gd name="connsiteY1472" fmla="*/ 4578234 h 6858290"/>
              <a:gd name="connsiteX1473" fmla="*/ 5585836 w 12139750"/>
              <a:gd name="connsiteY1473" fmla="*/ 4540039 h 6858290"/>
              <a:gd name="connsiteX1474" fmla="*/ 5924922 w 12139750"/>
              <a:gd name="connsiteY1474" fmla="*/ 4381528 h 6858290"/>
              <a:gd name="connsiteX1475" fmla="*/ 5956833 w 12139750"/>
              <a:gd name="connsiteY1475" fmla="*/ 4379618 h 6858290"/>
              <a:gd name="connsiteX1476" fmla="*/ 398944 w 12139750"/>
              <a:gd name="connsiteY1476" fmla="*/ 4379618 h 6858290"/>
              <a:gd name="connsiteX1477" fmla="*/ 422281 w 12139750"/>
              <a:gd name="connsiteY1477" fmla="*/ 4400625 h 6858290"/>
              <a:gd name="connsiteX1478" fmla="*/ 401326 w 12139750"/>
              <a:gd name="connsiteY1478" fmla="*/ 4456009 h 6858290"/>
              <a:gd name="connsiteX1479" fmla="*/ 62232 w 12139750"/>
              <a:gd name="connsiteY1479" fmla="*/ 4616430 h 6858290"/>
              <a:gd name="connsiteX1480" fmla="*/ 6986 w 12139750"/>
              <a:gd name="connsiteY1480" fmla="*/ 4595422 h 6858290"/>
              <a:gd name="connsiteX1481" fmla="*/ 3176 w 12139750"/>
              <a:gd name="connsiteY1481" fmla="*/ 4578234 h 6858290"/>
              <a:gd name="connsiteX1482" fmla="*/ 27941 w 12139750"/>
              <a:gd name="connsiteY1482" fmla="*/ 4540039 h 6858290"/>
              <a:gd name="connsiteX1483" fmla="*/ 367035 w 12139750"/>
              <a:gd name="connsiteY1483" fmla="*/ 4381528 h 6858290"/>
              <a:gd name="connsiteX1484" fmla="*/ 398944 w 12139750"/>
              <a:gd name="connsiteY1484" fmla="*/ 4379618 h 6858290"/>
              <a:gd name="connsiteX1485" fmla="*/ 5410426 w 12139750"/>
              <a:gd name="connsiteY1485" fmla="*/ 4371276 h 6858290"/>
              <a:gd name="connsiteX1486" fmla="*/ 5434051 w 12139750"/>
              <a:gd name="connsiteY1486" fmla="*/ 4394881 h 6858290"/>
              <a:gd name="connsiteX1487" fmla="*/ 5411140 w 12139750"/>
              <a:gd name="connsiteY1487" fmla="*/ 4452105 h 6858290"/>
              <a:gd name="connsiteX1488" fmla="*/ 5071297 w 12139750"/>
              <a:gd name="connsiteY1488" fmla="*/ 4598979 h 6858290"/>
              <a:gd name="connsiteX1489" fmla="*/ 5014028 w 12139750"/>
              <a:gd name="connsiteY1489" fmla="*/ 4576090 h 6858290"/>
              <a:gd name="connsiteX1490" fmla="*/ 5010210 w 12139750"/>
              <a:gd name="connsiteY1490" fmla="*/ 4558923 h 6858290"/>
              <a:gd name="connsiteX1491" fmla="*/ 5036935 w 12139750"/>
              <a:gd name="connsiteY1491" fmla="*/ 4518866 h 6858290"/>
              <a:gd name="connsiteX1492" fmla="*/ 5376776 w 12139750"/>
              <a:gd name="connsiteY1492" fmla="*/ 4371991 h 6858290"/>
              <a:gd name="connsiteX1493" fmla="*/ 5410426 w 12139750"/>
              <a:gd name="connsiteY1493" fmla="*/ 4371276 h 6858290"/>
              <a:gd name="connsiteX1494" fmla="*/ 943805 w 12139750"/>
              <a:gd name="connsiteY1494" fmla="*/ 4371276 h 6858290"/>
              <a:gd name="connsiteX1495" fmla="*/ 968368 w 12139750"/>
              <a:gd name="connsiteY1495" fmla="*/ 4394881 h 6858290"/>
              <a:gd name="connsiteX1496" fmla="*/ 945475 w 12139750"/>
              <a:gd name="connsiteY1496" fmla="*/ 4452105 h 6858290"/>
              <a:gd name="connsiteX1497" fmla="*/ 603977 w 12139750"/>
              <a:gd name="connsiteY1497" fmla="*/ 4598979 h 6858290"/>
              <a:gd name="connsiteX1498" fmla="*/ 546743 w 12139750"/>
              <a:gd name="connsiteY1498" fmla="*/ 4576090 h 6858290"/>
              <a:gd name="connsiteX1499" fmla="*/ 542927 w 12139750"/>
              <a:gd name="connsiteY1499" fmla="*/ 4558923 h 6858290"/>
              <a:gd name="connsiteX1500" fmla="*/ 569637 w 12139750"/>
              <a:gd name="connsiteY1500" fmla="*/ 4518866 h 6858290"/>
              <a:gd name="connsiteX1501" fmla="*/ 909226 w 12139750"/>
              <a:gd name="connsiteY1501" fmla="*/ 4371991 h 6858290"/>
              <a:gd name="connsiteX1502" fmla="*/ 943805 w 12139750"/>
              <a:gd name="connsiteY1502" fmla="*/ 4371276 h 6858290"/>
              <a:gd name="connsiteX1503" fmla="*/ 4841668 w 12139750"/>
              <a:gd name="connsiteY1503" fmla="*/ 4359082 h 6858290"/>
              <a:gd name="connsiteX1504" fmla="*/ 4883197 w 12139750"/>
              <a:gd name="connsiteY1504" fmla="*/ 4387173 h 6858290"/>
              <a:gd name="connsiteX1505" fmla="*/ 4856524 w 12139750"/>
              <a:gd name="connsiteY1505" fmla="*/ 4448053 h 6858290"/>
              <a:gd name="connsiteX1506" fmla="*/ 4517434 w 12139750"/>
              <a:gd name="connsiteY1506" fmla="*/ 4583129 h 6858290"/>
              <a:gd name="connsiteX1507" fmla="*/ 4456473 w 12139750"/>
              <a:gd name="connsiteY1507" fmla="*/ 4556495 h 6858290"/>
              <a:gd name="connsiteX1508" fmla="*/ 4454569 w 12139750"/>
              <a:gd name="connsiteY1508" fmla="*/ 4539372 h 6858290"/>
              <a:gd name="connsiteX1509" fmla="*/ 4483145 w 12139750"/>
              <a:gd name="connsiteY1509" fmla="*/ 4497518 h 6858290"/>
              <a:gd name="connsiteX1510" fmla="*/ 4824132 w 12139750"/>
              <a:gd name="connsiteY1510" fmla="*/ 4362441 h 6858290"/>
              <a:gd name="connsiteX1511" fmla="*/ 4841668 w 12139750"/>
              <a:gd name="connsiteY1511" fmla="*/ 4359082 h 6858290"/>
              <a:gd name="connsiteX1512" fmla="*/ 1477208 w 12139750"/>
              <a:gd name="connsiteY1512" fmla="*/ 4359082 h 6858290"/>
              <a:gd name="connsiteX1513" fmla="*/ 1517660 w 12139750"/>
              <a:gd name="connsiteY1513" fmla="*/ 4387173 h 6858290"/>
              <a:gd name="connsiteX1514" fmla="*/ 1492894 w 12139750"/>
              <a:gd name="connsiteY1514" fmla="*/ 4448053 h 6858290"/>
              <a:gd name="connsiteX1515" fmla="*/ 1151895 w 12139750"/>
              <a:gd name="connsiteY1515" fmla="*/ 4583129 h 6858290"/>
              <a:gd name="connsiteX1516" fmla="*/ 1092840 w 12139750"/>
              <a:gd name="connsiteY1516" fmla="*/ 4556495 h 6858290"/>
              <a:gd name="connsiteX1517" fmla="*/ 1089029 w 12139750"/>
              <a:gd name="connsiteY1517" fmla="*/ 4539372 h 6858290"/>
              <a:gd name="connsiteX1518" fmla="*/ 1117605 w 12139750"/>
              <a:gd name="connsiteY1518" fmla="*/ 4497518 h 6858290"/>
              <a:gd name="connsiteX1519" fmla="*/ 1458604 w 12139750"/>
              <a:gd name="connsiteY1519" fmla="*/ 4362441 h 6858290"/>
              <a:gd name="connsiteX1520" fmla="*/ 1477208 w 12139750"/>
              <a:gd name="connsiteY1520" fmla="*/ 4359082 h 6858290"/>
              <a:gd name="connsiteX1521" fmla="*/ 4284027 w 12139750"/>
              <a:gd name="connsiteY1521" fmla="*/ 4349919 h 6858290"/>
              <a:gd name="connsiteX1522" fmla="*/ 4325998 w 12139750"/>
              <a:gd name="connsiteY1522" fmla="*/ 4381660 h 6858290"/>
              <a:gd name="connsiteX1523" fmla="*/ 4297483 w 12139750"/>
              <a:gd name="connsiteY1523" fmla="*/ 4442870 h 6858290"/>
              <a:gd name="connsiteX1524" fmla="*/ 3957235 w 12139750"/>
              <a:gd name="connsiteY1524" fmla="*/ 4569116 h 6858290"/>
              <a:gd name="connsiteX1525" fmla="*/ 3896403 w 12139750"/>
              <a:gd name="connsiteY1525" fmla="*/ 4538511 h 6858290"/>
              <a:gd name="connsiteX1526" fmla="*/ 3892602 w 12139750"/>
              <a:gd name="connsiteY1526" fmla="*/ 4523208 h 6858290"/>
              <a:gd name="connsiteX1527" fmla="*/ 3924918 w 12139750"/>
              <a:gd name="connsiteY1527" fmla="*/ 4477301 h 6858290"/>
              <a:gd name="connsiteX1528" fmla="*/ 4265165 w 12139750"/>
              <a:gd name="connsiteY1528" fmla="*/ 4352968 h 6858290"/>
              <a:gd name="connsiteX1529" fmla="*/ 4284027 w 12139750"/>
              <a:gd name="connsiteY1529" fmla="*/ 4349919 h 6858290"/>
              <a:gd name="connsiteX1530" fmla="*/ 2029782 w 12139750"/>
              <a:gd name="connsiteY1530" fmla="*/ 4349919 h 6858290"/>
              <a:gd name="connsiteX1531" fmla="*/ 2073629 w 12139750"/>
              <a:gd name="connsiteY1531" fmla="*/ 4381660 h 6858290"/>
              <a:gd name="connsiteX1532" fmla="*/ 2045109 w 12139750"/>
              <a:gd name="connsiteY1532" fmla="*/ 4442870 h 6858290"/>
              <a:gd name="connsiteX1533" fmla="*/ 1702940 w 12139750"/>
              <a:gd name="connsiteY1533" fmla="*/ 4569116 h 6858290"/>
              <a:gd name="connsiteX1534" fmla="*/ 1642110 w 12139750"/>
              <a:gd name="connsiteY1534" fmla="*/ 4538511 h 6858290"/>
              <a:gd name="connsiteX1535" fmla="*/ 1638308 w 12139750"/>
              <a:gd name="connsiteY1535" fmla="*/ 4523208 h 6858290"/>
              <a:gd name="connsiteX1536" fmla="*/ 1670624 w 12139750"/>
              <a:gd name="connsiteY1536" fmla="*/ 4477301 h 6858290"/>
              <a:gd name="connsiteX1537" fmla="*/ 2010892 w 12139750"/>
              <a:gd name="connsiteY1537" fmla="*/ 4352968 h 6858290"/>
              <a:gd name="connsiteX1538" fmla="*/ 2029782 w 12139750"/>
              <a:gd name="connsiteY1538" fmla="*/ 4349919 h 6858290"/>
              <a:gd name="connsiteX1539" fmla="*/ 3722769 w 12139750"/>
              <a:gd name="connsiteY1539" fmla="*/ 4341198 h 6858290"/>
              <a:gd name="connsiteX1540" fmla="*/ 3765602 w 12139750"/>
              <a:gd name="connsiteY1540" fmla="*/ 4375585 h 6858290"/>
              <a:gd name="connsiteX1541" fmla="*/ 3733240 w 12139750"/>
              <a:gd name="connsiteY1541" fmla="*/ 4438627 h 6858290"/>
              <a:gd name="connsiteX1542" fmla="*/ 3392498 w 12139750"/>
              <a:gd name="connsiteY1542" fmla="*/ 4551340 h 6858290"/>
              <a:gd name="connsiteX1543" fmla="*/ 3329674 w 12139750"/>
              <a:gd name="connsiteY1543" fmla="*/ 4518863 h 6858290"/>
              <a:gd name="connsiteX1544" fmla="*/ 3325864 w 12139750"/>
              <a:gd name="connsiteY1544" fmla="*/ 4503580 h 6858290"/>
              <a:gd name="connsiteX1545" fmla="*/ 3360130 w 12139750"/>
              <a:gd name="connsiteY1545" fmla="*/ 4455821 h 6858290"/>
              <a:gd name="connsiteX1546" fmla="*/ 3702782 w 12139750"/>
              <a:gd name="connsiteY1546" fmla="*/ 4343108 h 6858290"/>
              <a:gd name="connsiteX1547" fmla="*/ 3722769 w 12139750"/>
              <a:gd name="connsiteY1547" fmla="*/ 4341198 h 6858290"/>
              <a:gd name="connsiteX1548" fmla="*/ 2589270 w 12139750"/>
              <a:gd name="connsiteY1548" fmla="*/ 4341198 h 6858290"/>
              <a:gd name="connsiteX1549" fmla="*/ 2632103 w 12139750"/>
              <a:gd name="connsiteY1549" fmla="*/ 4375585 h 6858290"/>
              <a:gd name="connsiteX1550" fmla="*/ 2599739 w 12139750"/>
              <a:gd name="connsiteY1550" fmla="*/ 4438627 h 6858290"/>
              <a:gd name="connsiteX1551" fmla="*/ 2258981 w 12139750"/>
              <a:gd name="connsiteY1551" fmla="*/ 4551340 h 6858290"/>
              <a:gd name="connsiteX1552" fmla="*/ 2196160 w 12139750"/>
              <a:gd name="connsiteY1552" fmla="*/ 4518863 h 6858290"/>
              <a:gd name="connsiteX1553" fmla="*/ 2192353 w 12139750"/>
              <a:gd name="connsiteY1553" fmla="*/ 4503580 h 6858290"/>
              <a:gd name="connsiteX1554" fmla="*/ 2226618 w 12139750"/>
              <a:gd name="connsiteY1554" fmla="*/ 4455821 h 6858290"/>
              <a:gd name="connsiteX1555" fmla="*/ 2569281 w 12139750"/>
              <a:gd name="connsiteY1555" fmla="*/ 4343108 h 6858290"/>
              <a:gd name="connsiteX1556" fmla="*/ 2589270 w 12139750"/>
              <a:gd name="connsiteY1556" fmla="*/ 4341198 h 6858290"/>
              <a:gd name="connsiteX1557" fmla="*/ 3152169 w 12139750"/>
              <a:gd name="connsiteY1557" fmla="*/ 4331993 h 6858290"/>
              <a:gd name="connsiteX1558" fmla="*/ 3195709 w 12139750"/>
              <a:gd name="connsiteY1558" fmla="*/ 4369821 h 6858290"/>
              <a:gd name="connsiteX1559" fmla="*/ 3161515 w 12139750"/>
              <a:gd name="connsiteY1559" fmla="*/ 4434686 h 6858290"/>
              <a:gd name="connsiteX1560" fmla="*/ 2819566 w 12139750"/>
              <a:gd name="connsiteY1560" fmla="*/ 4535799 h 6858290"/>
              <a:gd name="connsiteX1561" fmla="*/ 2753078 w 12139750"/>
              <a:gd name="connsiteY1561" fmla="*/ 4499551 h 6858290"/>
              <a:gd name="connsiteX1562" fmla="*/ 2751179 w 12139750"/>
              <a:gd name="connsiteY1562" fmla="*/ 4486196 h 6858290"/>
              <a:gd name="connsiteX1563" fmla="*/ 2789170 w 12139750"/>
              <a:gd name="connsiteY1563" fmla="*/ 4434686 h 6858290"/>
              <a:gd name="connsiteX1564" fmla="*/ 3131122 w 12139750"/>
              <a:gd name="connsiteY1564" fmla="*/ 4333573 h 6858290"/>
              <a:gd name="connsiteX1565" fmla="*/ 3152169 w 12139750"/>
              <a:gd name="connsiteY1565" fmla="*/ 4331993 h 6858290"/>
              <a:gd name="connsiteX1566" fmla="*/ 9861856 w 12139750"/>
              <a:gd name="connsiteY1566" fmla="*/ 4113368 h 6858290"/>
              <a:gd name="connsiteX1567" fmla="*/ 9877547 w 12139750"/>
              <a:gd name="connsiteY1567" fmla="*/ 4123348 h 6858290"/>
              <a:gd name="connsiteX1568" fmla="*/ 9873743 w 12139750"/>
              <a:gd name="connsiteY1568" fmla="*/ 4157568 h 6858290"/>
              <a:gd name="connsiteX1569" fmla="*/ 9540914 w 12139750"/>
              <a:gd name="connsiteY1569" fmla="*/ 4410411 h 6858290"/>
              <a:gd name="connsiteX1570" fmla="*/ 9506680 w 12139750"/>
              <a:gd name="connsiteY1570" fmla="*/ 4404708 h 6858290"/>
              <a:gd name="connsiteX1571" fmla="*/ 9502876 w 12139750"/>
              <a:gd name="connsiteY1571" fmla="*/ 4391401 h 6858290"/>
              <a:gd name="connsiteX1572" fmla="*/ 9512385 w 12139750"/>
              <a:gd name="connsiteY1572" fmla="*/ 4370489 h 6858290"/>
              <a:gd name="connsiteX1573" fmla="*/ 9843313 w 12139750"/>
              <a:gd name="connsiteY1573" fmla="*/ 4117645 h 6858290"/>
              <a:gd name="connsiteX1574" fmla="*/ 9861856 w 12139750"/>
              <a:gd name="connsiteY1574" fmla="*/ 4113368 h 6858290"/>
              <a:gd name="connsiteX1575" fmla="*/ 10446896 w 12139750"/>
              <a:gd name="connsiteY1575" fmla="*/ 4105427 h 6858290"/>
              <a:gd name="connsiteX1576" fmla="*/ 10465232 w 12139750"/>
              <a:gd name="connsiteY1576" fmla="*/ 4115397 h 6858290"/>
              <a:gd name="connsiteX1577" fmla="*/ 10459517 w 12139750"/>
              <a:gd name="connsiteY1577" fmla="*/ 4153376 h 6858290"/>
              <a:gd name="connsiteX1578" fmla="*/ 10124233 w 12139750"/>
              <a:gd name="connsiteY1578" fmla="*/ 4392647 h 6858290"/>
              <a:gd name="connsiteX1579" fmla="*/ 10088037 w 12139750"/>
              <a:gd name="connsiteY1579" fmla="*/ 4386950 h 6858290"/>
              <a:gd name="connsiteX1580" fmla="*/ 10082322 w 12139750"/>
              <a:gd name="connsiteY1580" fmla="*/ 4369859 h 6858290"/>
              <a:gd name="connsiteX1581" fmla="*/ 10093752 w 12139750"/>
              <a:gd name="connsiteY1581" fmla="*/ 4348970 h 6858290"/>
              <a:gd name="connsiteX1582" fmla="*/ 10427131 w 12139750"/>
              <a:gd name="connsiteY1582" fmla="*/ 4109700 h 6858290"/>
              <a:gd name="connsiteX1583" fmla="*/ 10446896 w 12139750"/>
              <a:gd name="connsiteY1583" fmla="*/ 4105427 h 6858290"/>
              <a:gd name="connsiteX1584" fmla="*/ 9286179 w 12139750"/>
              <a:gd name="connsiteY1584" fmla="*/ 4105427 h 6858290"/>
              <a:gd name="connsiteX1585" fmla="*/ 9302848 w 12139750"/>
              <a:gd name="connsiteY1585" fmla="*/ 4115397 h 6858290"/>
              <a:gd name="connsiteX1586" fmla="*/ 9297133 w 12139750"/>
              <a:gd name="connsiteY1586" fmla="*/ 4153376 h 6858290"/>
              <a:gd name="connsiteX1587" fmla="*/ 8963754 w 12139750"/>
              <a:gd name="connsiteY1587" fmla="*/ 4392647 h 6858290"/>
              <a:gd name="connsiteX1588" fmla="*/ 8925653 w 12139750"/>
              <a:gd name="connsiteY1588" fmla="*/ 4386950 h 6858290"/>
              <a:gd name="connsiteX1589" fmla="*/ 8921843 w 12139750"/>
              <a:gd name="connsiteY1589" fmla="*/ 4369859 h 6858290"/>
              <a:gd name="connsiteX1590" fmla="*/ 8931368 w 12139750"/>
              <a:gd name="connsiteY1590" fmla="*/ 4348970 h 6858290"/>
              <a:gd name="connsiteX1591" fmla="*/ 9266652 w 12139750"/>
              <a:gd name="connsiteY1591" fmla="*/ 4109700 h 6858290"/>
              <a:gd name="connsiteX1592" fmla="*/ 9286179 w 12139750"/>
              <a:gd name="connsiteY1592" fmla="*/ 4105427 h 6858290"/>
              <a:gd name="connsiteX1593" fmla="*/ 11024810 w 12139750"/>
              <a:gd name="connsiteY1593" fmla="*/ 4097347 h 6858290"/>
              <a:gd name="connsiteX1594" fmla="*/ 11044352 w 12139750"/>
              <a:gd name="connsiteY1594" fmla="*/ 4109742 h 6858290"/>
              <a:gd name="connsiteX1595" fmla="*/ 11036726 w 12139750"/>
              <a:gd name="connsiteY1595" fmla="*/ 4149791 h 6858290"/>
              <a:gd name="connsiteX1596" fmla="*/ 10701174 w 12139750"/>
              <a:gd name="connsiteY1596" fmla="*/ 4376731 h 6858290"/>
              <a:gd name="connsiteX1597" fmla="*/ 10659230 w 12139750"/>
              <a:gd name="connsiteY1597" fmla="*/ 4369103 h 6858290"/>
              <a:gd name="connsiteX1598" fmla="*/ 10655417 w 12139750"/>
              <a:gd name="connsiteY1598" fmla="*/ 4351940 h 6858290"/>
              <a:gd name="connsiteX1599" fmla="*/ 10668763 w 12139750"/>
              <a:gd name="connsiteY1599" fmla="*/ 4327148 h 6858290"/>
              <a:gd name="connsiteX1600" fmla="*/ 11002408 w 12139750"/>
              <a:gd name="connsiteY1600" fmla="*/ 4102114 h 6858290"/>
              <a:gd name="connsiteX1601" fmla="*/ 11024810 w 12139750"/>
              <a:gd name="connsiteY1601" fmla="*/ 4097347 h 6858290"/>
              <a:gd name="connsiteX1602" fmla="*/ 8715681 w 12139750"/>
              <a:gd name="connsiteY1602" fmla="*/ 4097347 h 6858290"/>
              <a:gd name="connsiteX1603" fmla="*/ 8734508 w 12139750"/>
              <a:gd name="connsiteY1603" fmla="*/ 4109742 h 6858290"/>
              <a:gd name="connsiteX1604" fmla="*/ 8726882 w 12139750"/>
              <a:gd name="connsiteY1604" fmla="*/ 4149791 h 6858290"/>
              <a:gd name="connsiteX1605" fmla="*/ 8391330 w 12139750"/>
              <a:gd name="connsiteY1605" fmla="*/ 4376731 h 6858290"/>
              <a:gd name="connsiteX1606" fmla="*/ 8351293 w 12139750"/>
              <a:gd name="connsiteY1606" fmla="*/ 4369103 h 6858290"/>
              <a:gd name="connsiteX1607" fmla="*/ 8345573 w 12139750"/>
              <a:gd name="connsiteY1607" fmla="*/ 4351940 h 6858290"/>
              <a:gd name="connsiteX1608" fmla="*/ 8358919 w 12139750"/>
              <a:gd name="connsiteY1608" fmla="*/ 4327148 h 6858290"/>
              <a:gd name="connsiteX1609" fmla="*/ 8692564 w 12139750"/>
              <a:gd name="connsiteY1609" fmla="*/ 4102114 h 6858290"/>
              <a:gd name="connsiteX1610" fmla="*/ 8715681 w 12139750"/>
              <a:gd name="connsiteY1610" fmla="*/ 4097347 h 6858290"/>
              <a:gd name="connsiteX1611" fmla="*/ 11596149 w 12139750"/>
              <a:gd name="connsiteY1611" fmla="*/ 4089007 h 6858290"/>
              <a:gd name="connsiteX1612" fmla="*/ 11615883 w 12139750"/>
              <a:gd name="connsiteY1612" fmla="*/ 4104009 h 6858290"/>
              <a:gd name="connsiteX1613" fmla="*/ 11606373 w 12139750"/>
              <a:gd name="connsiteY1613" fmla="*/ 4147824 h 6858290"/>
              <a:gd name="connsiteX1614" fmla="*/ 11271615 w 12139750"/>
              <a:gd name="connsiteY1614" fmla="*/ 4359279 h 6858290"/>
              <a:gd name="connsiteX1615" fmla="*/ 11227868 w 12139750"/>
              <a:gd name="connsiteY1615" fmla="*/ 4349754 h 6858290"/>
              <a:gd name="connsiteX1616" fmla="*/ 11222162 w 12139750"/>
              <a:gd name="connsiteY1616" fmla="*/ 4332609 h 6858290"/>
              <a:gd name="connsiteX1617" fmla="*/ 11237378 w 12139750"/>
              <a:gd name="connsiteY1617" fmla="*/ 4305939 h 6858290"/>
              <a:gd name="connsiteX1618" fmla="*/ 11572136 w 12139750"/>
              <a:gd name="connsiteY1618" fmla="*/ 4092579 h 6858290"/>
              <a:gd name="connsiteX1619" fmla="*/ 11596149 w 12139750"/>
              <a:gd name="connsiteY1619" fmla="*/ 4089007 h 6858290"/>
              <a:gd name="connsiteX1620" fmla="*/ 8152699 w 12139750"/>
              <a:gd name="connsiteY1620" fmla="*/ 4089007 h 6858290"/>
              <a:gd name="connsiteX1621" fmla="*/ 8172510 w 12139750"/>
              <a:gd name="connsiteY1621" fmla="*/ 4104009 h 6858290"/>
              <a:gd name="connsiteX1622" fmla="*/ 8162963 w 12139750"/>
              <a:gd name="connsiteY1622" fmla="*/ 4147824 h 6858290"/>
              <a:gd name="connsiteX1623" fmla="*/ 7824978 w 12139750"/>
              <a:gd name="connsiteY1623" fmla="*/ 4359279 h 6858290"/>
              <a:gd name="connsiteX1624" fmla="*/ 7781059 w 12139750"/>
              <a:gd name="connsiteY1624" fmla="*/ 4349754 h 6858290"/>
              <a:gd name="connsiteX1625" fmla="*/ 7777240 w 12139750"/>
              <a:gd name="connsiteY1625" fmla="*/ 4332609 h 6858290"/>
              <a:gd name="connsiteX1626" fmla="*/ 7792516 w 12139750"/>
              <a:gd name="connsiteY1626" fmla="*/ 4305939 h 6858290"/>
              <a:gd name="connsiteX1627" fmla="*/ 8128591 w 12139750"/>
              <a:gd name="connsiteY1627" fmla="*/ 4092579 h 6858290"/>
              <a:gd name="connsiteX1628" fmla="*/ 8152699 w 12139750"/>
              <a:gd name="connsiteY1628" fmla="*/ 4089007 h 6858290"/>
              <a:gd name="connsiteX1629" fmla="*/ 12139750 w 12139750"/>
              <a:gd name="connsiteY1629" fmla="*/ 4083054 h 6858290"/>
              <a:gd name="connsiteX1630" fmla="*/ 12139750 w 12139750"/>
              <a:gd name="connsiteY1630" fmla="*/ 4162969 h 6858290"/>
              <a:gd name="connsiteX1631" fmla="*/ 11834405 w 12139750"/>
              <a:gd name="connsiteY1631" fmla="*/ 4341828 h 6858290"/>
              <a:gd name="connsiteX1632" fmla="*/ 11786695 w 12139750"/>
              <a:gd name="connsiteY1632" fmla="*/ 4330411 h 6858290"/>
              <a:gd name="connsiteX1633" fmla="*/ 11780970 w 12139750"/>
              <a:gd name="connsiteY1633" fmla="*/ 4313287 h 6858290"/>
              <a:gd name="connsiteX1634" fmla="*/ 11798146 w 12139750"/>
              <a:gd name="connsiteY1634" fmla="*/ 4282843 h 6858290"/>
              <a:gd name="connsiteX1635" fmla="*/ 12135933 w 12139750"/>
              <a:gd name="connsiteY1635" fmla="*/ 4084957 h 6858290"/>
              <a:gd name="connsiteX1636" fmla="*/ 12139750 w 12139750"/>
              <a:gd name="connsiteY1636" fmla="*/ 4083054 h 6858290"/>
              <a:gd name="connsiteX1637" fmla="*/ 7594358 w 12139750"/>
              <a:gd name="connsiteY1637" fmla="*/ 4081069 h 6858290"/>
              <a:gd name="connsiteX1638" fmla="*/ 7615314 w 12139750"/>
              <a:gd name="connsiteY1638" fmla="*/ 4096071 h 6858290"/>
              <a:gd name="connsiteX1639" fmla="*/ 7603883 w 12139750"/>
              <a:gd name="connsiteY1639" fmla="*/ 4143696 h 6858290"/>
              <a:gd name="connsiteX1640" fmla="*/ 7266694 w 12139750"/>
              <a:gd name="connsiteY1640" fmla="*/ 4341816 h 6858290"/>
              <a:gd name="connsiteX1641" fmla="*/ 7219068 w 12139750"/>
              <a:gd name="connsiteY1641" fmla="*/ 4330386 h 6858290"/>
              <a:gd name="connsiteX1642" fmla="*/ 7215258 w 12139750"/>
              <a:gd name="connsiteY1642" fmla="*/ 4313241 h 6858290"/>
              <a:gd name="connsiteX1643" fmla="*/ 7232403 w 12139750"/>
              <a:gd name="connsiteY1643" fmla="*/ 4282761 h 6858290"/>
              <a:gd name="connsiteX1644" fmla="*/ 7567688 w 12139750"/>
              <a:gd name="connsiteY1644" fmla="*/ 4084641 h 6858290"/>
              <a:gd name="connsiteX1645" fmla="*/ 7594358 w 12139750"/>
              <a:gd name="connsiteY1645" fmla="*/ 4081069 h 6858290"/>
              <a:gd name="connsiteX1646" fmla="*/ 7045448 w 12139750"/>
              <a:gd name="connsiteY1646" fmla="*/ 4072718 h 6858290"/>
              <a:gd name="connsiteX1647" fmla="*/ 7067610 w 12139750"/>
              <a:gd name="connsiteY1647" fmla="*/ 4090298 h 6858290"/>
              <a:gd name="connsiteX1648" fmla="*/ 7052359 w 12139750"/>
              <a:gd name="connsiteY1648" fmla="*/ 4141612 h 6858290"/>
              <a:gd name="connsiteX1649" fmla="*/ 6714913 w 12139750"/>
              <a:gd name="connsiteY1649" fmla="*/ 4325963 h 6858290"/>
              <a:gd name="connsiteX1650" fmla="*/ 6665344 w 12139750"/>
              <a:gd name="connsiteY1650" fmla="*/ 4310759 h 6858290"/>
              <a:gd name="connsiteX1651" fmla="*/ 6659625 w 12139750"/>
              <a:gd name="connsiteY1651" fmla="*/ 4293654 h 6858290"/>
              <a:gd name="connsiteX1652" fmla="*/ 6678689 w 12139750"/>
              <a:gd name="connsiteY1652" fmla="*/ 4259445 h 6858290"/>
              <a:gd name="connsiteX1653" fmla="*/ 7016136 w 12139750"/>
              <a:gd name="connsiteY1653" fmla="*/ 4075094 h 6858290"/>
              <a:gd name="connsiteX1654" fmla="*/ 7045448 w 12139750"/>
              <a:gd name="connsiteY1654" fmla="*/ 4072718 h 6858290"/>
              <a:gd name="connsiteX1655" fmla="*/ 6500048 w 12139750"/>
              <a:gd name="connsiteY1655" fmla="*/ 4065063 h 6858290"/>
              <a:gd name="connsiteX1656" fmla="*/ 6523112 w 12139750"/>
              <a:gd name="connsiteY1656" fmla="*/ 4084421 h 6858290"/>
              <a:gd name="connsiteX1657" fmla="*/ 6505992 w 12139750"/>
              <a:gd name="connsiteY1657" fmla="*/ 4137956 h 6858290"/>
              <a:gd name="connsiteX1658" fmla="*/ 6167407 w 12139750"/>
              <a:gd name="connsiteY1658" fmla="*/ 4310032 h 6858290"/>
              <a:gd name="connsiteX1659" fmla="*/ 6114146 w 12139750"/>
              <a:gd name="connsiteY1659" fmla="*/ 4292824 h 6858290"/>
              <a:gd name="connsiteX1660" fmla="*/ 6110342 w 12139750"/>
              <a:gd name="connsiteY1660" fmla="*/ 4273705 h 6858290"/>
              <a:gd name="connsiteX1661" fmla="*/ 6131266 w 12139750"/>
              <a:gd name="connsiteY1661" fmla="*/ 4239290 h 6858290"/>
              <a:gd name="connsiteX1662" fmla="*/ 6469851 w 12139750"/>
              <a:gd name="connsiteY1662" fmla="*/ 4067214 h 6858290"/>
              <a:gd name="connsiteX1663" fmla="*/ 6500048 w 12139750"/>
              <a:gd name="connsiteY1663" fmla="*/ 4065063 h 6858290"/>
              <a:gd name="connsiteX1664" fmla="*/ 5941056 w 12139750"/>
              <a:gd name="connsiteY1664" fmla="*/ 4054783 h 6858290"/>
              <a:gd name="connsiteX1665" fmla="*/ 5980168 w 12139750"/>
              <a:gd name="connsiteY1665" fmla="*/ 4078685 h 6858290"/>
              <a:gd name="connsiteX1666" fmla="*/ 5961117 w 12139750"/>
              <a:gd name="connsiteY1666" fmla="*/ 4135978 h 6858290"/>
              <a:gd name="connsiteX1667" fmla="*/ 5622030 w 12139750"/>
              <a:gd name="connsiteY1667" fmla="*/ 4292580 h 6858290"/>
              <a:gd name="connsiteX1668" fmla="*/ 5564881 w 12139750"/>
              <a:gd name="connsiteY1668" fmla="*/ 4271572 h 6858290"/>
              <a:gd name="connsiteX1669" fmla="*/ 5561071 w 12139750"/>
              <a:gd name="connsiteY1669" fmla="*/ 4254384 h 6858290"/>
              <a:gd name="connsiteX1670" fmla="*/ 5585836 w 12139750"/>
              <a:gd name="connsiteY1670" fmla="*/ 4216189 h 6858290"/>
              <a:gd name="connsiteX1671" fmla="*/ 5924922 w 12139750"/>
              <a:gd name="connsiteY1671" fmla="*/ 4059588 h 6858290"/>
              <a:gd name="connsiteX1672" fmla="*/ 5941056 w 12139750"/>
              <a:gd name="connsiteY1672" fmla="*/ 4054783 h 6858290"/>
              <a:gd name="connsiteX1673" fmla="*/ 383168 w 12139750"/>
              <a:gd name="connsiteY1673" fmla="*/ 4054783 h 6858290"/>
              <a:gd name="connsiteX1674" fmla="*/ 422281 w 12139750"/>
              <a:gd name="connsiteY1674" fmla="*/ 4078685 h 6858290"/>
              <a:gd name="connsiteX1675" fmla="*/ 401325 w 12139750"/>
              <a:gd name="connsiteY1675" fmla="*/ 4135978 h 6858290"/>
              <a:gd name="connsiteX1676" fmla="*/ 62231 w 12139750"/>
              <a:gd name="connsiteY1676" fmla="*/ 4292580 h 6858290"/>
              <a:gd name="connsiteX1677" fmla="*/ 6986 w 12139750"/>
              <a:gd name="connsiteY1677" fmla="*/ 4271572 h 6858290"/>
              <a:gd name="connsiteX1678" fmla="*/ 3176 w 12139750"/>
              <a:gd name="connsiteY1678" fmla="*/ 4254384 h 6858290"/>
              <a:gd name="connsiteX1679" fmla="*/ 27941 w 12139750"/>
              <a:gd name="connsiteY1679" fmla="*/ 4216189 h 6858290"/>
              <a:gd name="connsiteX1680" fmla="*/ 367035 w 12139750"/>
              <a:gd name="connsiteY1680" fmla="*/ 4059588 h 6858290"/>
              <a:gd name="connsiteX1681" fmla="*/ 383168 w 12139750"/>
              <a:gd name="connsiteY1681" fmla="*/ 4054783 h 6858290"/>
              <a:gd name="connsiteX1682" fmla="*/ 5394099 w 12139750"/>
              <a:gd name="connsiteY1682" fmla="*/ 4046339 h 6858290"/>
              <a:gd name="connsiteX1683" fmla="*/ 5435652 w 12139750"/>
              <a:gd name="connsiteY1683" fmla="*/ 4072660 h 6858290"/>
              <a:gd name="connsiteX1684" fmla="*/ 5410870 w 12139750"/>
              <a:gd name="connsiteY1684" fmla="*/ 4131869 h 6858290"/>
              <a:gd name="connsiteX1685" fmla="*/ 5071527 w 12139750"/>
              <a:gd name="connsiteY1685" fmla="*/ 4275116 h 6858290"/>
              <a:gd name="connsiteX1686" fmla="*/ 5012435 w 12139750"/>
              <a:gd name="connsiteY1686" fmla="*/ 4252196 h 6858290"/>
              <a:gd name="connsiteX1687" fmla="*/ 5008623 w 12139750"/>
              <a:gd name="connsiteY1687" fmla="*/ 4235007 h 6858290"/>
              <a:gd name="connsiteX1688" fmla="*/ 5037215 w 12139750"/>
              <a:gd name="connsiteY1688" fmla="*/ 4192988 h 6858290"/>
              <a:gd name="connsiteX1689" fmla="*/ 5376554 w 12139750"/>
              <a:gd name="connsiteY1689" fmla="*/ 4049741 h 6858290"/>
              <a:gd name="connsiteX1690" fmla="*/ 5394099 w 12139750"/>
              <a:gd name="connsiteY1690" fmla="*/ 4046339 h 6858290"/>
              <a:gd name="connsiteX1691" fmla="*/ 926784 w 12139750"/>
              <a:gd name="connsiteY1691" fmla="*/ 4046338 h 6858290"/>
              <a:gd name="connsiteX1692" fmla="*/ 968368 w 12139750"/>
              <a:gd name="connsiteY1692" fmla="*/ 4072660 h 6858290"/>
              <a:gd name="connsiteX1693" fmla="*/ 945475 w 12139750"/>
              <a:gd name="connsiteY1693" fmla="*/ 4131869 h 6858290"/>
              <a:gd name="connsiteX1694" fmla="*/ 603977 w 12139750"/>
              <a:gd name="connsiteY1694" fmla="*/ 4275116 h 6858290"/>
              <a:gd name="connsiteX1695" fmla="*/ 544835 w 12139750"/>
              <a:gd name="connsiteY1695" fmla="*/ 4252196 h 6858290"/>
              <a:gd name="connsiteX1696" fmla="*/ 542927 w 12139750"/>
              <a:gd name="connsiteY1696" fmla="*/ 4235007 h 6858290"/>
              <a:gd name="connsiteX1697" fmla="*/ 569637 w 12139750"/>
              <a:gd name="connsiteY1697" fmla="*/ 4192988 h 6858290"/>
              <a:gd name="connsiteX1698" fmla="*/ 909226 w 12139750"/>
              <a:gd name="connsiteY1698" fmla="*/ 4049741 h 6858290"/>
              <a:gd name="connsiteX1699" fmla="*/ 926784 w 12139750"/>
              <a:gd name="connsiteY1699" fmla="*/ 4046338 h 6858290"/>
              <a:gd name="connsiteX1700" fmla="*/ 4823918 w 12139750"/>
              <a:gd name="connsiteY1700" fmla="*/ 4041420 h 6858290"/>
              <a:gd name="connsiteX1701" fmla="*/ 4884801 w 12139750"/>
              <a:gd name="connsiteY1701" fmla="*/ 4069841 h 6858290"/>
              <a:gd name="connsiteX1702" fmla="*/ 4856260 w 12139750"/>
              <a:gd name="connsiteY1702" fmla="*/ 4130474 h 6858290"/>
              <a:gd name="connsiteX1703" fmla="*/ 4515756 w 12139750"/>
              <a:gd name="connsiteY1703" fmla="*/ 4259317 h 6858290"/>
              <a:gd name="connsiteX1704" fmla="*/ 4454884 w 12139750"/>
              <a:gd name="connsiteY1704" fmla="*/ 4230896 h 6858290"/>
              <a:gd name="connsiteX1705" fmla="*/ 4452982 w 12139750"/>
              <a:gd name="connsiteY1705" fmla="*/ 4215738 h 6858290"/>
              <a:gd name="connsiteX1706" fmla="*/ 4483418 w 12139750"/>
              <a:gd name="connsiteY1706" fmla="*/ 4170263 h 6858290"/>
              <a:gd name="connsiteX1707" fmla="*/ 4823918 w 12139750"/>
              <a:gd name="connsiteY1707" fmla="*/ 4041420 h 6858290"/>
              <a:gd name="connsiteX1708" fmla="*/ 1458388 w 12139750"/>
              <a:gd name="connsiteY1708" fmla="*/ 4041420 h 6858290"/>
              <a:gd name="connsiteX1709" fmla="*/ 1519261 w 12139750"/>
              <a:gd name="connsiteY1709" fmla="*/ 4069841 h 6858290"/>
              <a:gd name="connsiteX1710" fmla="*/ 1492629 w 12139750"/>
              <a:gd name="connsiteY1710" fmla="*/ 4130474 h 6858290"/>
              <a:gd name="connsiteX1711" fmla="*/ 1152120 w 12139750"/>
              <a:gd name="connsiteY1711" fmla="*/ 4259317 h 6858290"/>
              <a:gd name="connsiteX1712" fmla="*/ 1091247 w 12139750"/>
              <a:gd name="connsiteY1712" fmla="*/ 4230896 h 6858290"/>
              <a:gd name="connsiteX1713" fmla="*/ 1087442 w 12139750"/>
              <a:gd name="connsiteY1713" fmla="*/ 4215738 h 6858290"/>
              <a:gd name="connsiteX1714" fmla="*/ 1117879 w 12139750"/>
              <a:gd name="connsiteY1714" fmla="*/ 4170263 h 6858290"/>
              <a:gd name="connsiteX1715" fmla="*/ 1458388 w 12139750"/>
              <a:gd name="connsiteY1715" fmla="*/ 4041420 h 6858290"/>
              <a:gd name="connsiteX1716" fmla="*/ 4286101 w 12139750"/>
              <a:gd name="connsiteY1716" fmla="*/ 4031102 h 6858290"/>
              <a:gd name="connsiteX1717" fmla="*/ 4329117 w 12139750"/>
              <a:gd name="connsiteY1717" fmla="*/ 4064321 h 6858290"/>
              <a:gd name="connsiteX1718" fmla="*/ 4298528 w 12139750"/>
              <a:gd name="connsiteY1718" fmla="*/ 4127186 h 6858290"/>
              <a:gd name="connsiteX1719" fmla="*/ 3956340 w 12139750"/>
              <a:gd name="connsiteY1719" fmla="*/ 4243391 h 6858290"/>
              <a:gd name="connsiteX1720" fmla="*/ 3893251 w 12139750"/>
              <a:gd name="connsiteY1720" fmla="*/ 4212911 h 6858290"/>
              <a:gd name="connsiteX1721" fmla="*/ 3889424 w 12139750"/>
              <a:gd name="connsiteY1721" fmla="*/ 4195766 h 6858290"/>
              <a:gd name="connsiteX1722" fmla="*/ 3923839 w 12139750"/>
              <a:gd name="connsiteY1722" fmla="*/ 4150046 h 6858290"/>
              <a:gd name="connsiteX1723" fmla="*/ 4266028 w 12139750"/>
              <a:gd name="connsiteY1723" fmla="*/ 4033841 h 6858290"/>
              <a:gd name="connsiteX1724" fmla="*/ 4286101 w 12139750"/>
              <a:gd name="connsiteY1724" fmla="*/ 4031102 h 6858290"/>
              <a:gd name="connsiteX1725" fmla="*/ 2031406 w 12139750"/>
              <a:gd name="connsiteY1725" fmla="*/ 4031102 h 6858290"/>
              <a:gd name="connsiteX1726" fmla="*/ 2075219 w 12139750"/>
              <a:gd name="connsiteY1726" fmla="*/ 4064321 h 6858290"/>
              <a:gd name="connsiteX1727" fmla="*/ 2042922 w 12139750"/>
              <a:gd name="connsiteY1727" fmla="*/ 4127186 h 6858290"/>
              <a:gd name="connsiteX1728" fmla="*/ 1702894 w 12139750"/>
              <a:gd name="connsiteY1728" fmla="*/ 4243391 h 6858290"/>
              <a:gd name="connsiteX1729" fmla="*/ 1640208 w 12139750"/>
              <a:gd name="connsiteY1729" fmla="*/ 4212911 h 6858290"/>
              <a:gd name="connsiteX1730" fmla="*/ 1638308 w 12139750"/>
              <a:gd name="connsiteY1730" fmla="*/ 4195766 h 6858290"/>
              <a:gd name="connsiteX1731" fmla="*/ 1670601 w 12139750"/>
              <a:gd name="connsiteY1731" fmla="*/ 4150046 h 6858290"/>
              <a:gd name="connsiteX1732" fmla="*/ 2012528 w 12139750"/>
              <a:gd name="connsiteY1732" fmla="*/ 4033841 h 6858290"/>
              <a:gd name="connsiteX1733" fmla="*/ 2031406 w 12139750"/>
              <a:gd name="connsiteY1733" fmla="*/ 4031102 h 6858290"/>
              <a:gd name="connsiteX1734" fmla="*/ 3725864 w 12139750"/>
              <a:gd name="connsiteY1734" fmla="*/ 4022421 h 6858290"/>
              <a:gd name="connsiteX1735" fmla="*/ 3770669 w 12139750"/>
              <a:gd name="connsiteY1735" fmla="*/ 4060194 h 6858290"/>
              <a:gd name="connsiteX1736" fmla="*/ 3734420 w 12139750"/>
              <a:gd name="connsiteY1736" fmla="*/ 4124964 h 6858290"/>
              <a:gd name="connsiteX1737" fmla="*/ 3391048 w 12139750"/>
              <a:gd name="connsiteY1737" fmla="*/ 4225929 h 6858290"/>
              <a:gd name="connsiteX1738" fmla="*/ 3326184 w 12139750"/>
              <a:gd name="connsiteY1738" fmla="*/ 4191639 h 6858290"/>
              <a:gd name="connsiteX1739" fmla="*/ 3324277 w 12139750"/>
              <a:gd name="connsiteY1739" fmla="*/ 4176399 h 6858290"/>
              <a:gd name="connsiteX1740" fmla="*/ 3362432 w 12139750"/>
              <a:gd name="connsiteY1740" fmla="*/ 4126869 h 6858290"/>
              <a:gd name="connsiteX1741" fmla="*/ 3705804 w 12139750"/>
              <a:gd name="connsiteY1741" fmla="*/ 4023999 h 6858290"/>
              <a:gd name="connsiteX1742" fmla="*/ 3725864 w 12139750"/>
              <a:gd name="connsiteY1742" fmla="*/ 4022421 h 6858290"/>
              <a:gd name="connsiteX1743" fmla="*/ 2590959 w 12139750"/>
              <a:gd name="connsiteY1743" fmla="*/ 4022421 h 6858290"/>
              <a:gd name="connsiteX1744" fmla="*/ 2635603 w 12139750"/>
              <a:gd name="connsiteY1744" fmla="*/ 4060194 h 6858290"/>
              <a:gd name="connsiteX1745" fmla="*/ 2599484 w 12139750"/>
              <a:gd name="connsiteY1745" fmla="*/ 4124964 h 6858290"/>
              <a:gd name="connsiteX1746" fmla="*/ 2257300 w 12139750"/>
              <a:gd name="connsiteY1746" fmla="*/ 4225929 h 6858290"/>
              <a:gd name="connsiteX1747" fmla="*/ 2192666 w 12139750"/>
              <a:gd name="connsiteY1747" fmla="*/ 4191639 h 6858290"/>
              <a:gd name="connsiteX1748" fmla="*/ 2190765 w 12139750"/>
              <a:gd name="connsiteY1748" fmla="*/ 4176399 h 6858290"/>
              <a:gd name="connsiteX1749" fmla="*/ 2228785 w 12139750"/>
              <a:gd name="connsiteY1749" fmla="*/ 4126869 h 6858290"/>
              <a:gd name="connsiteX1750" fmla="*/ 2570968 w 12139750"/>
              <a:gd name="connsiteY1750" fmla="*/ 4023999 h 6858290"/>
              <a:gd name="connsiteX1751" fmla="*/ 2590959 w 12139750"/>
              <a:gd name="connsiteY1751" fmla="*/ 4022421 h 6858290"/>
              <a:gd name="connsiteX1752" fmla="*/ 3155344 w 12139750"/>
              <a:gd name="connsiteY1752" fmla="*/ 4014781 h 6858290"/>
              <a:gd name="connsiteX1753" fmla="*/ 3200742 w 12139750"/>
              <a:gd name="connsiteY1753" fmla="*/ 4054161 h 6858290"/>
              <a:gd name="connsiteX1754" fmla="*/ 3160626 w 12139750"/>
              <a:gd name="connsiteY1754" fmla="*/ 4120836 h 6858290"/>
              <a:gd name="connsiteX1755" fmla="*/ 2816772 w 12139750"/>
              <a:gd name="connsiteY1755" fmla="*/ 4210371 h 6858290"/>
              <a:gd name="connsiteX1756" fmla="*/ 2749914 w 12139750"/>
              <a:gd name="connsiteY1756" fmla="*/ 4170366 h 6858290"/>
              <a:gd name="connsiteX1757" fmla="*/ 2748002 w 12139750"/>
              <a:gd name="connsiteY1757" fmla="*/ 4157031 h 6858290"/>
              <a:gd name="connsiteX1758" fmla="*/ 2788116 w 12139750"/>
              <a:gd name="connsiteY1758" fmla="*/ 4103691 h 6858290"/>
              <a:gd name="connsiteX1759" fmla="*/ 3133885 w 12139750"/>
              <a:gd name="connsiteY1759" fmla="*/ 4016061 h 6858290"/>
              <a:gd name="connsiteX1760" fmla="*/ 3155344 w 12139750"/>
              <a:gd name="connsiteY1760" fmla="*/ 4014781 h 6858290"/>
              <a:gd name="connsiteX1761" fmla="*/ 9861718 w 12139750"/>
              <a:gd name="connsiteY1761" fmla="*/ 3784929 h 6858290"/>
              <a:gd name="connsiteX1762" fmla="*/ 9876256 w 12139750"/>
              <a:gd name="connsiteY1762" fmla="*/ 3792579 h 6858290"/>
              <a:gd name="connsiteX1763" fmla="*/ 9872442 w 12139750"/>
              <a:gd name="connsiteY1763" fmla="*/ 3823182 h 6858290"/>
              <a:gd name="connsiteX1764" fmla="*/ 9540690 w 12139750"/>
              <a:gd name="connsiteY1764" fmla="*/ 4092865 h 6858290"/>
              <a:gd name="connsiteX1765" fmla="*/ 9510184 w 12139750"/>
              <a:gd name="connsiteY1765" fmla="*/ 4089040 h 6858290"/>
              <a:gd name="connsiteX1766" fmla="*/ 9504464 w 12139750"/>
              <a:gd name="connsiteY1766" fmla="*/ 4075651 h 6858290"/>
              <a:gd name="connsiteX1767" fmla="*/ 9513997 w 12139750"/>
              <a:gd name="connsiteY1767" fmla="*/ 4058438 h 6858290"/>
              <a:gd name="connsiteX1768" fmla="*/ 9845750 w 12139750"/>
              <a:gd name="connsiteY1768" fmla="*/ 3788754 h 6858290"/>
              <a:gd name="connsiteX1769" fmla="*/ 9861718 w 12139750"/>
              <a:gd name="connsiteY1769" fmla="*/ 3784929 h 6858290"/>
              <a:gd name="connsiteX1770" fmla="*/ 10445981 w 12139750"/>
              <a:gd name="connsiteY1770" fmla="*/ 3777074 h 6858290"/>
              <a:gd name="connsiteX1771" fmla="*/ 10461723 w 12139750"/>
              <a:gd name="connsiteY1771" fmla="*/ 3786867 h 6858290"/>
              <a:gd name="connsiteX1772" fmla="*/ 10457907 w 12139750"/>
              <a:gd name="connsiteY1772" fmla="*/ 3821263 h 6858290"/>
              <a:gd name="connsiteX1773" fmla="*/ 10123980 w 12139750"/>
              <a:gd name="connsiteY1773" fmla="*/ 4075410 h 6858290"/>
              <a:gd name="connsiteX1774" fmla="*/ 10089633 w 12139750"/>
              <a:gd name="connsiteY1774" fmla="*/ 4069678 h 6858290"/>
              <a:gd name="connsiteX1775" fmla="*/ 10083909 w 12139750"/>
              <a:gd name="connsiteY1775" fmla="*/ 4054391 h 6858290"/>
              <a:gd name="connsiteX1776" fmla="*/ 10093450 w 12139750"/>
              <a:gd name="connsiteY1776" fmla="*/ 4035282 h 6858290"/>
              <a:gd name="connsiteX1777" fmla="*/ 10427376 w 12139750"/>
              <a:gd name="connsiteY1777" fmla="*/ 3783045 h 6858290"/>
              <a:gd name="connsiteX1778" fmla="*/ 10445981 w 12139750"/>
              <a:gd name="connsiteY1778" fmla="*/ 3777074 h 6858290"/>
              <a:gd name="connsiteX1779" fmla="*/ 9284313 w 12139750"/>
              <a:gd name="connsiteY1779" fmla="*/ 3777074 h 6858290"/>
              <a:gd name="connsiteX1780" fmla="*/ 9300003 w 12139750"/>
              <a:gd name="connsiteY1780" fmla="*/ 3786867 h 6858290"/>
              <a:gd name="connsiteX1781" fmla="*/ 9296200 w 12139750"/>
              <a:gd name="connsiteY1781" fmla="*/ 3821263 h 6858290"/>
              <a:gd name="connsiteX1782" fmla="*/ 8963371 w 12139750"/>
              <a:gd name="connsiteY1782" fmla="*/ 4075410 h 6858290"/>
              <a:gd name="connsiteX1783" fmla="*/ 8929137 w 12139750"/>
              <a:gd name="connsiteY1783" fmla="*/ 4069678 h 6858290"/>
              <a:gd name="connsiteX1784" fmla="*/ 8923431 w 12139750"/>
              <a:gd name="connsiteY1784" fmla="*/ 4054391 h 6858290"/>
              <a:gd name="connsiteX1785" fmla="*/ 8932940 w 12139750"/>
              <a:gd name="connsiteY1785" fmla="*/ 4035282 h 6858290"/>
              <a:gd name="connsiteX1786" fmla="*/ 9265770 w 12139750"/>
              <a:gd name="connsiteY1786" fmla="*/ 3783045 h 6858290"/>
              <a:gd name="connsiteX1787" fmla="*/ 9284313 w 12139750"/>
              <a:gd name="connsiteY1787" fmla="*/ 3777074 h 6858290"/>
              <a:gd name="connsiteX1788" fmla="*/ 8714826 w 12139750"/>
              <a:gd name="connsiteY1788" fmla="*/ 3771656 h 6858290"/>
              <a:gd name="connsiteX1789" fmla="*/ 8733221 w 12139750"/>
              <a:gd name="connsiteY1789" fmla="*/ 3782349 h 6858290"/>
              <a:gd name="connsiteX1790" fmla="*/ 8725576 w 12139750"/>
              <a:gd name="connsiteY1790" fmla="*/ 3820368 h 6858290"/>
              <a:gd name="connsiteX1791" fmla="*/ 8391118 w 12139750"/>
              <a:gd name="connsiteY1791" fmla="*/ 4056086 h 6858290"/>
              <a:gd name="connsiteX1792" fmla="*/ 8352895 w 12139750"/>
              <a:gd name="connsiteY1792" fmla="*/ 4050383 h 6858290"/>
              <a:gd name="connsiteX1793" fmla="*/ 8347161 w 12139750"/>
              <a:gd name="connsiteY1793" fmla="*/ 4035176 h 6858290"/>
              <a:gd name="connsiteX1794" fmla="*/ 8358628 w 12139750"/>
              <a:gd name="connsiteY1794" fmla="*/ 4012364 h 6858290"/>
              <a:gd name="connsiteX1795" fmla="*/ 8694997 w 12139750"/>
              <a:gd name="connsiteY1795" fmla="*/ 3776646 h 6858290"/>
              <a:gd name="connsiteX1796" fmla="*/ 8714826 w 12139750"/>
              <a:gd name="connsiteY1796" fmla="*/ 3771656 h 6858290"/>
              <a:gd name="connsiteX1797" fmla="*/ 11022950 w 12139750"/>
              <a:gd name="connsiteY1797" fmla="*/ 3771656 h 6858290"/>
              <a:gd name="connsiteX1798" fmla="*/ 11041509 w 12139750"/>
              <a:gd name="connsiteY1798" fmla="*/ 3782349 h 6858290"/>
              <a:gd name="connsiteX1799" fmla="*/ 11033895 w 12139750"/>
              <a:gd name="connsiteY1799" fmla="*/ 3820368 h 6858290"/>
              <a:gd name="connsiteX1800" fmla="*/ 10700785 w 12139750"/>
              <a:gd name="connsiteY1800" fmla="*/ 4056086 h 6858290"/>
              <a:gd name="connsiteX1801" fmla="*/ 10662715 w 12139750"/>
              <a:gd name="connsiteY1801" fmla="*/ 4050383 h 6858290"/>
              <a:gd name="connsiteX1802" fmla="*/ 10657005 w 12139750"/>
              <a:gd name="connsiteY1802" fmla="*/ 4035176 h 6858290"/>
              <a:gd name="connsiteX1803" fmla="*/ 10668426 w 12139750"/>
              <a:gd name="connsiteY1803" fmla="*/ 4012364 h 6858290"/>
              <a:gd name="connsiteX1804" fmla="*/ 11001536 w 12139750"/>
              <a:gd name="connsiteY1804" fmla="*/ 3776646 h 6858290"/>
              <a:gd name="connsiteX1805" fmla="*/ 11022950 w 12139750"/>
              <a:gd name="connsiteY1805" fmla="*/ 3771656 h 6858290"/>
              <a:gd name="connsiteX1806" fmla="*/ 8151418 w 12139750"/>
              <a:gd name="connsiteY1806" fmla="*/ 3763955 h 6858290"/>
              <a:gd name="connsiteX1807" fmla="*/ 8170945 w 12139750"/>
              <a:gd name="connsiteY1807" fmla="*/ 3776310 h 6858290"/>
              <a:gd name="connsiteX1808" fmla="*/ 8161420 w 12139750"/>
              <a:gd name="connsiteY1808" fmla="*/ 3820029 h 6858290"/>
              <a:gd name="connsiteX1809" fmla="*/ 7826135 w 12139750"/>
              <a:gd name="connsiteY1809" fmla="*/ 4038624 h 6858290"/>
              <a:gd name="connsiteX1810" fmla="*/ 7784225 w 12139750"/>
              <a:gd name="connsiteY1810" fmla="*/ 4031020 h 6858290"/>
              <a:gd name="connsiteX1811" fmla="*/ 7780415 w 12139750"/>
              <a:gd name="connsiteY1811" fmla="*/ 4013913 h 6858290"/>
              <a:gd name="connsiteX1812" fmla="*/ 7793750 w 12139750"/>
              <a:gd name="connsiteY1812" fmla="*/ 3987302 h 6858290"/>
              <a:gd name="connsiteX1813" fmla="*/ 8129034 w 12139750"/>
              <a:gd name="connsiteY1813" fmla="*/ 3768707 h 6858290"/>
              <a:gd name="connsiteX1814" fmla="*/ 8151418 w 12139750"/>
              <a:gd name="connsiteY1814" fmla="*/ 3763955 h 6858290"/>
              <a:gd name="connsiteX1815" fmla="*/ 11596182 w 12139750"/>
              <a:gd name="connsiteY1815" fmla="*/ 3763955 h 6858290"/>
              <a:gd name="connsiteX1816" fmla="*/ 11614280 w 12139750"/>
              <a:gd name="connsiteY1816" fmla="*/ 3776310 h 6858290"/>
              <a:gd name="connsiteX1817" fmla="*/ 11606660 w 12139750"/>
              <a:gd name="connsiteY1817" fmla="*/ 3820029 h 6858290"/>
              <a:gd name="connsiteX1818" fmla="*/ 11271376 w 12139750"/>
              <a:gd name="connsiteY1818" fmla="*/ 4038624 h 6858290"/>
              <a:gd name="connsiteX1819" fmla="*/ 11229465 w 12139750"/>
              <a:gd name="connsiteY1819" fmla="*/ 4031020 h 6858290"/>
              <a:gd name="connsiteX1820" fmla="*/ 11223750 w 12139750"/>
              <a:gd name="connsiteY1820" fmla="*/ 4013913 h 6858290"/>
              <a:gd name="connsiteX1821" fmla="*/ 11237085 w 12139750"/>
              <a:gd name="connsiteY1821" fmla="*/ 3987302 h 6858290"/>
              <a:gd name="connsiteX1822" fmla="*/ 11572369 w 12139750"/>
              <a:gd name="connsiteY1822" fmla="*/ 3768707 h 6858290"/>
              <a:gd name="connsiteX1823" fmla="*/ 11596182 w 12139750"/>
              <a:gd name="connsiteY1823" fmla="*/ 3763955 h 6858290"/>
              <a:gd name="connsiteX1824" fmla="*/ 12139750 w 12139750"/>
              <a:gd name="connsiteY1824" fmla="*/ 3759203 h 6858290"/>
              <a:gd name="connsiteX1825" fmla="*/ 12139750 w 12139750"/>
              <a:gd name="connsiteY1825" fmla="*/ 3835137 h 6858290"/>
              <a:gd name="connsiteX1826" fmla="*/ 11835489 w 12139750"/>
              <a:gd name="connsiteY1826" fmla="*/ 4021174 h 6858290"/>
              <a:gd name="connsiteX1827" fmla="*/ 11789850 w 12139750"/>
              <a:gd name="connsiteY1827" fmla="*/ 4009784 h 6858290"/>
              <a:gd name="connsiteX1828" fmla="*/ 11784145 w 12139750"/>
              <a:gd name="connsiteY1828" fmla="*/ 3992699 h 6858290"/>
              <a:gd name="connsiteX1829" fmla="*/ 11799358 w 12139750"/>
              <a:gd name="connsiteY1829" fmla="*/ 3964224 h 6858290"/>
              <a:gd name="connsiteX1830" fmla="*/ 12135947 w 12139750"/>
              <a:gd name="connsiteY1830" fmla="*/ 3761101 h 6858290"/>
              <a:gd name="connsiteX1831" fmla="*/ 12139750 w 12139750"/>
              <a:gd name="connsiteY1831" fmla="*/ 3759203 h 6858290"/>
              <a:gd name="connsiteX1832" fmla="*/ 7593700 w 12139750"/>
              <a:gd name="connsiteY1832" fmla="*/ 3756493 h 6858290"/>
              <a:gd name="connsiteX1833" fmla="*/ 7613718 w 12139750"/>
              <a:gd name="connsiteY1833" fmla="*/ 3772173 h 6858290"/>
              <a:gd name="connsiteX1834" fmla="*/ 7604186 w 12139750"/>
              <a:gd name="connsiteY1834" fmla="*/ 3817790 h 6858290"/>
              <a:gd name="connsiteX1835" fmla="*/ 7266734 w 12139750"/>
              <a:gd name="connsiteY1835" fmla="*/ 4021162 h 6858290"/>
              <a:gd name="connsiteX1836" fmla="*/ 7220977 w 12139750"/>
              <a:gd name="connsiteY1836" fmla="*/ 4009758 h 6858290"/>
              <a:gd name="connsiteX1837" fmla="*/ 7215258 w 12139750"/>
              <a:gd name="connsiteY1837" fmla="*/ 3992652 h 6858290"/>
              <a:gd name="connsiteX1838" fmla="*/ 7232416 w 12139750"/>
              <a:gd name="connsiteY1838" fmla="*/ 3964142 h 6858290"/>
              <a:gd name="connsiteX1839" fmla="*/ 7567962 w 12139750"/>
              <a:gd name="connsiteY1839" fmla="*/ 3760769 h 6858290"/>
              <a:gd name="connsiteX1840" fmla="*/ 7593700 w 12139750"/>
              <a:gd name="connsiteY1840" fmla="*/ 3756493 h 6858290"/>
              <a:gd name="connsiteX1841" fmla="*/ 7044469 w 12139750"/>
              <a:gd name="connsiteY1841" fmla="*/ 3749140 h 6858290"/>
              <a:gd name="connsiteX1842" fmla="*/ 7065695 w 12139750"/>
              <a:gd name="connsiteY1842" fmla="*/ 3766564 h 6858290"/>
              <a:gd name="connsiteX1843" fmla="*/ 7052340 w 12139750"/>
              <a:gd name="connsiteY1843" fmla="*/ 3816209 h 6858290"/>
              <a:gd name="connsiteX1844" fmla="*/ 6714634 w 12139750"/>
              <a:gd name="connsiteY1844" fmla="*/ 4005244 h 6858290"/>
              <a:gd name="connsiteX1845" fmla="*/ 6665028 w 12139750"/>
              <a:gd name="connsiteY1845" fmla="*/ 3989968 h 6858290"/>
              <a:gd name="connsiteX1846" fmla="*/ 6661212 w 12139750"/>
              <a:gd name="connsiteY1846" fmla="*/ 3972783 h 6858290"/>
              <a:gd name="connsiteX1847" fmla="*/ 6678383 w 12139750"/>
              <a:gd name="connsiteY1847" fmla="*/ 3940323 h 6858290"/>
              <a:gd name="connsiteX1848" fmla="*/ 7016089 w 12139750"/>
              <a:gd name="connsiteY1848" fmla="*/ 3753198 h 6858290"/>
              <a:gd name="connsiteX1849" fmla="*/ 7044469 w 12139750"/>
              <a:gd name="connsiteY1849" fmla="*/ 3749140 h 6858290"/>
              <a:gd name="connsiteX1850" fmla="*/ 6500048 w 12139750"/>
              <a:gd name="connsiteY1850" fmla="*/ 3741441 h 6858290"/>
              <a:gd name="connsiteX1851" fmla="*/ 6523112 w 12139750"/>
              <a:gd name="connsiteY1851" fmla="*/ 3762447 h 6858290"/>
              <a:gd name="connsiteX1852" fmla="*/ 6505992 w 12139750"/>
              <a:gd name="connsiteY1852" fmla="*/ 3814006 h 6858290"/>
              <a:gd name="connsiteX1853" fmla="*/ 6167407 w 12139750"/>
              <a:gd name="connsiteY1853" fmla="*/ 3987780 h 6858290"/>
              <a:gd name="connsiteX1854" fmla="*/ 6114146 w 12139750"/>
              <a:gd name="connsiteY1854" fmla="*/ 3970593 h 6858290"/>
              <a:gd name="connsiteX1855" fmla="*/ 6110342 w 12139750"/>
              <a:gd name="connsiteY1855" fmla="*/ 3951497 h 6858290"/>
              <a:gd name="connsiteX1856" fmla="*/ 6131266 w 12139750"/>
              <a:gd name="connsiteY1856" fmla="*/ 3917125 h 6858290"/>
              <a:gd name="connsiteX1857" fmla="*/ 6469851 w 12139750"/>
              <a:gd name="connsiteY1857" fmla="*/ 3743351 h 6858290"/>
              <a:gd name="connsiteX1858" fmla="*/ 6500048 w 12139750"/>
              <a:gd name="connsiteY1858" fmla="*/ 3741441 h 6858290"/>
              <a:gd name="connsiteX1859" fmla="*/ 5958237 w 12139750"/>
              <a:gd name="connsiteY1859" fmla="*/ 3734460 h 6858290"/>
              <a:gd name="connsiteX1860" fmla="*/ 5983314 w 12139750"/>
              <a:gd name="connsiteY1860" fmla="*/ 3756422 h 6858290"/>
              <a:gd name="connsiteX1861" fmla="*/ 5962297 w 12139750"/>
              <a:gd name="connsiteY1861" fmla="*/ 3813715 h 6858290"/>
              <a:gd name="connsiteX1862" fmla="*/ 5622211 w 12139750"/>
              <a:gd name="connsiteY1862" fmla="*/ 3970317 h 6858290"/>
              <a:gd name="connsiteX1863" fmla="*/ 5564892 w 12139750"/>
              <a:gd name="connsiteY1863" fmla="*/ 3949309 h 6858290"/>
              <a:gd name="connsiteX1864" fmla="*/ 5561071 w 12139750"/>
              <a:gd name="connsiteY1864" fmla="*/ 3930212 h 6858290"/>
              <a:gd name="connsiteX1865" fmla="*/ 5585909 w 12139750"/>
              <a:gd name="connsiteY1865" fmla="*/ 3892016 h 6858290"/>
              <a:gd name="connsiteX1866" fmla="*/ 5925996 w 12139750"/>
              <a:gd name="connsiteY1866" fmla="*/ 3735415 h 6858290"/>
              <a:gd name="connsiteX1867" fmla="*/ 5958237 w 12139750"/>
              <a:gd name="connsiteY1867" fmla="*/ 3734460 h 6858290"/>
              <a:gd name="connsiteX1868" fmla="*/ 398944 w 12139750"/>
              <a:gd name="connsiteY1868" fmla="*/ 3734460 h 6858290"/>
              <a:gd name="connsiteX1869" fmla="*/ 422280 w 12139750"/>
              <a:gd name="connsiteY1869" fmla="*/ 3756422 h 6858290"/>
              <a:gd name="connsiteX1870" fmla="*/ 401325 w 12139750"/>
              <a:gd name="connsiteY1870" fmla="*/ 3813715 h 6858290"/>
              <a:gd name="connsiteX1871" fmla="*/ 62231 w 12139750"/>
              <a:gd name="connsiteY1871" fmla="*/ 3970317 h 6858290"/>
              <a:gd name="connsiteX1872" fmla="*/ 6985 w 12139750"/>
              <a:gd name="connsiteY1872" fmla="*/ 3949309 h 6858290"/>
              <a:gd name="connsiteX1873" fmla="*/ 3175 w 12139750"/>
              <a:gd name="connsiteY1873" fmla="*/ 3930212 h 6858290"/>
              <a:gd name="connsiteX1874" fmla="*/ 27941 w 12139750"/>
              <a:gd name="connsiteY1874" fmla="*/ 3892016 h 6858290"/>
              <a:gd name="connsiteX1875" fmla="*/ 367035 w 12139750"/>
              <a:gd name="connsiteY1875" fmla="*/ 3735415 h 6858290"/>
              <a:gd name="connsiteX1876" fmla="*/ 398944 w 12139750"/>
              <a:gd name="connsiteY1876" fmla="*/ 3734460 h 6858290"/>
              <a:gd name="connsiteX1877" fmla="*/ 5394099 w 12139750"/>
              <a:gd name="connsiteY1877" fmla="*/ 3725661 h 6858290"/>
              <a:gd name="connsiteX1878" fmla="*/ 5435652 w 12139750"/>
              <a:gd name="connsiteY1878" fmla="*/ 3753716 h 6858290"/>
              <a:gd name="connsiteX1879" fmla="*/ 5410870 w 12139750"/>
              <a:gd name="connsiteY1879" fmla="*/ 3812616 h 6858290"/>
              <a:gd name="connsiteX1880" fmla="*/ 5071527 w 12139750"/>
              <a:gd name="connsiteY1880" fmla="*/ 3951316 h 6858290"/>
              <a:gd name="connsiteX1881" fmla="*/ 5012435 w 12139750"/>
              <a:gd name="connsiteY1881" fmla="*/ 3928516 h 6858290"/>
              <a:gd name="connsiteX1882" fmla="*/ 5008623 w 12139750"/>
              <a:gd name="connsiteY1882" fmla="*/ 3911416 h 6858290"/>
              <a:gd name="connsiteX1883" fmla="*/ 5037215 w 12139750"/>
              <a:gd name="connsiteY1883" fmla="*/ 3869616 h 6858290"/>
              <a:gd name="connsiteX1884" fmla="*/ 5376554 w 12139750"/>
              <a:gd name="connsiteY1884" fmla="*/ 3729016 h 6858290"/>
              <a:gd name="connsiteX1885" fmla="*/ 5394099 w 12139750"/>
              <a:gd name="connsiteY1885" fmla="*/ 3725661 h 6858290"/>
              <a:gd name="connsiteX1886" fmla="*/ 927625 w 12139750"/>
              <a:gd name="connsiteY1886" fmla="*/ 3725661 h 6858290"/>
              <a:gd name="connsiteX1887" fmla="*/ 968374 w 12139750"/>
              <a:gd name="connsiteY1887" fmla="*/ 3753716 h 6858290"/>
              <a:gd name="connsiteX1888" fmla="*/ 945497 w 12139750"/>
              <a:gd name="connsiteY1888" fmla="*/ 3812616 h 6858290"/>
              <a:gd name="connsiteX1889" fmla="*/ 604250 w 12139750"/>
              <a:gd name="connsiteY1889" fmla="*/ 3951316 h 6858290"/>
              <a:gd name="connsiteX1890" fmla="*/ 545152 w 12139750"/>
              <a:gd name="connsiteY1890" fmla="*/ 3928516 h 6858290"/>
              <a:gd name="connsiteX1891" fmla="*/ 541339 w 12139750"/>
              <a:gd name="connsiteY1891" fmla="*/ 3911416 h 6858290"/>
              <a:gd name="connsiteX1892" fmla="*/ 569935 w 12139750"/>
              <a:gd name="connsiteY1892" fmla="*/ 3869616 h 6858290"/>
              <a:gd name="connsiteX1893" fmla="*/ 909276 w 12139750"/>
              <a:gd name="connsiteY1893" fmla="*/ 3729016 h 6858290"/>
              <a:gd name="connsiteX1894" fmla="*/ 927625 w 12139750"/>
              <a:gd name="connsiteY1894" fmla="*/ 3725661 h 6858290"/>
              <a:gd name="connsiteX1895" fmla="*/ 4842646 w 12139750"/>
              <a:gd name="connsiteY1895" fmla="*/ 3718049 h 6858290"/>
              <a:gd name="connsiteX1896" fmla="*/ 4884773 w 12139750"/>
              <a:gd name="connsiteY1896" fmla="*/ 3749574 h 6858290"/>
              <a:gd name="connsiteX1897" fmla="*/ 4856151 w 12139750"/>
              <a:gd name="connsiteY1897" fmla="*/ 3810367 h 6858290"/>
              <a:gd name="connsiteX1898" fmla="*/ 4514670 w 12139750"/>
              <a:gd name="connsiteY1898" fmla="*/ 3933854 h 6858290"/>
              <a:gd name="connsiteX1899" fmla="*/ 4453622 w 12139750"/>
              <a:gd name="connsiteY1899" fmla="*/ 3905357 h 6858290"/>
              <a:gd name="connsiteX1900" fmla="*/ 4449806 w 12139750"/>
              <a:gd name="connsiteY1900" fmla="*/ 3890159 h 6858290"/>
              <a:gd name="connsiteX1901" fmla="*/ 4482239 w 12139750"/>
              <a:gd name="connsiteY1901" fmla="*/ 3844564 h 6858290"/>
              <a:gd name="connsiteX1902" fmla="*/ 4823715 w 12139750"/>
              <a:gd name="connsiteY1902" fmla="*/ 3721077 h 6858290"/>
              <a:gd name="connsiteX1903" fmla="*/ 4842646 w 12139750"/>
              <a:gd name="connsiteY1903" fmla="*/ 3718049 h 6858290"/>
              <a:gd name="connsiteX1904" fmla="*/ 1478619 w 12139750"/>
              <a:gd name="connsiteY1904" fmla="*/ 3718049 h 6858290"/>
              <a:gd name="connsiteX1905" fmla="*/ 1520856 w 12139750"/>
              <a:gd name="connsiteY1905" fmla="*/ 3749574 h 6858290"/>
              <a:gd name="connsiteX1906" fmla="*/ 1492342 w 12139750"/>
              <a:gd name="connsiteY1906" fmla="*/ 3810367 h 6858290"/>
              <a:gd name="connsiteX1907" fmla="*/ 1152074 w 12139750"/>
              <a:gd name="connsiteY1907" fmla="*/ 3933854 h 6858290"/>
              <a:gd name="connsiteX1908" fmla="*/ 1089343 w 12139750"/>
              <a:gd name="connsiteY1908" fmla="*/ 3905357 h 6858290"/>
              <a:gd name="connsiteX1909" fmla="*/ 1087442 w 12139750"/>
              <a:gd name="connsiteY1909" fmla="*/ 3890159 h 6858290"/>
              <a:gd name="connsiteX1910" fmla="*/ 1117857 w 12139750"/>
              <a:gd name="connsiteY1910" fmla="*/ 3844564 h 6858290"/>
              <a:gd name="connsiteX1911" fmla="*/ 1460026 w 12139750"/>
              <a:gd name="connsiteY1911" fmla="*/ 3721077 h 6858290"/>
              <a:gd name="connsiteX1912" fmla="*/ 1478619 w 12139750"/>
              <a:gd name="connsiteY1912" fmla="*/ 3718049 h 6858290"/>
              <a:gd name="connsiteX1913" fmla="*/ 2033482 w 12139750"/>
              <a:gd name="connsiteY1913" fmla="*/ 3710438 h 6858290"/>
              <a:gd name="connsiteX1914" fmla="*/ 2078351 w 12139750"/>
              <a:gd name="connsiteY1914" fmla="*/ 3745431 h 6858290"/>
              <a:gd name="connsiteX1915" fmla="*/ 2043960 w 12139750"/>
              <a:gd name="connsiteY1915" fmla="*/ 3810017 h 6858290"/>
              <a:gd name="connsiteX1916" fmla="*/ 1701997 w 12139750"/>
              <a:gd name="connsiteY1916" fmla="*/ 3916393 h 6858290"/>
              <a:gd name="connsiteX1917" fmla="*/ 1637043 w 12139750"/>
              <a:gd name="connsiteY1917" fmla="*/ 3884100 h 6858290"/>
              <a:gd name="connsiteX1918" fmla="*/ 1635133 w 12139750"/>
              <a:gd name="connsiteY1918" fmla="*/ 3868904 h 6858290"/>
              <a:gd name="connsiteX1919" fmla="*/ 1669520 w 12139750"/>
              <a:gd name="connsiteY1919" fmla="*/ 3819515 h 6858290"/>
              <a:gd name="connsiteX1920" fmla="*/ 2013393 w 12139750"/>
              <a:gd name="connsiteY1920" fmla="*/ 3713139 h 6858290"/>
              <a:gd name="connsiteX1921" fmla="*/ 2033482 w 12139750"/>
              <a:gd name="connsiteY1921" fmla="*/ 3710438 h 6858290"/>
              <a:gd name="connsiteX1922" fmla="*/ 4287765 w 12139750"/>
              <a:gd name="connsiteY1922" fmla="*/ 3710438 h 6858290"/>
              <a:gd name="connsiteX1923" fmla="*/ 4330719 w 12139750"/>
              <a:gd name="connsiteY1923" fmla="*/ 3745431 h 6858290"/>
              <a:gd name="connsiteX1924" fmla="*/ 4298265 w 12139750"/>
              <a:gd name="connsiteY1924" fmla="*/ 3810017 h 6858290"/>
              <a:gd name="connsiteX1925" fmla="*/ 3954657 w 12139750"/>
              <a:gd name="connsiteY1925" fmla="*/ 3916393 h 6858290"/>
              <a:gd name="connsiteX1926" fmla="*/ 3891656 w 12139750"/>
              <a:gd name="connsiteY1926" fmla="*/ 3884100 h 6858290"/>
              <a:gd name="connsiteX1927" fmla="*/ 3887840 w 12139750"/>
              <a:gd name="connsiteY1927" fmla="*/ 3868904 h 6858290"/>
              <a:gd name="connsiteX1928" fmla="*/ 3924112 w 12139750"/>
              <a:gd name="connsiteY1928" fmla="*/ 3819515 h 6858290"/>
              <a:gd name="connsiteX1929" fmla="*/ 4267719 w 12139750"/>
              <a:gd name="connsiteY1929" fmla="*/ 3713139 h 6858290"/>
              <a:gd name="connsiteX1930" fmla="*/ 4287765 w 12139750"/>
              <a:gd name="connsiteY1930" fmla="*/ 3710438 h 6858290"/>
              <a:gd name="connsiteX1931" fmla="*/ 3726989 w 12139750"/>
              <a:gd name="connsiteY1931" fmla="*/ 3702866 h 6858290"/>
              <a:gd name="connsiteX1932" fmla="*/ 3772266 w 12139750"/>
              <a:gd name="connsiteY1932" fmla="*/ 3743256 h 6858290"/>
              <a:gd name="connsiteX1933" fmla="*/ 3734163 w 12139750"/>
              <a:gd name="connsiteY1933" fmla="*/ 3807929 h 6858290"/>
              <a:gd name="connsiteX1934" fmla="*/ 3391274 w 12139750"/>
              <a:gd name="connsiteY1934" fmla="*/ 3899232 h 6858290"/>
              <a:gd name="connsiteX1935" fmla="*/ 3324595 w 12139750"/>
              <a:gd name="connsiteY1935" fmla="*/ 3861189 h 6858290"/>
              <a:gd name="connsiteX1936" fmla="*/ 3322691 w 12139750"/>
              <a:gd name="connsiteY1936" fmla="*/ 3847874 h 6858290"/>
              <a:gd name="connsiteX1937" fmla="*/ 3362695 w 12139750"/>
              <a:gd name="connsiteY1937" fmla="*/ 3796517 h 6858290"/>
              <a:gd name="connsiteX1938" fmla="*/ 3705588 w 12139750"/>
              <a:gd name="connsiteY1938" fmla="*/ 3705214 h 6858290"/>
              <a:gd name="connsiteX1939" fmla="*/ 3726989 w 12139750"/>
              <a:gd name="connsiteY1939" fmla="*/ 3702866 h 6858290"/>
              <a:gd name="connsiteX1940" fmla="*/ 2593304 w 12139750"/>
              <a:gd name="connsiteY1940" fmla="*/ 3702866 h 6858290"/>
              <a:gd name="connsiteX1941" fmla="*/ 2638736 w 12139750"/>
              <a:gd name="connsiteY1941" fmla="*/ 3743256 h 6858290"/>
              <a:gd name="connsiteX1942" fmla="*/ 2600503 w 12139750"/>
              <a:gd name="connsiteY1942" fmla="*/ 3807929 h 6858290"/>
              <a:gd name="connsiteX1943" fmla="*/ 2256408 w 12139750"/>
              <a:gd name="connsiteY1943" fmla="*/ 3899232 h 6858290"/>
              <a:gd name="connsiteX1944" fmla="*/ 2189501 w 12139750"/>
              <a:gd name="connsiteY1944" fmla="*/ 3861189 h 6858290"/>
              <a:gd name="connsiteX1945" fmla="*/ 2187590 w 12139750"/>
              <a:gd name="connsiteY1945" fmla="*/ 3847874 h 6858290"/>
              <a:gd name="connsiteX1946" fmla="*/ 2227734 w 12139750"/>
              <a:gd name="connsiteY1946" fmla="*/ 3796517 h 6858290"/>
              <a:gd name="connsiteX1947" fmla="*/ 2571828 w 12139750"/>
              <a:gd name="connsiteY1947" fmla="*/ 3705214 h 6858290"/>
              <a:gd name="connsiteX1948" fmla="*/ 2593304 w 12139750"/>
              <a:gd name="connsiteY1948" fmla="*/ 3702866 h 6858290"/>
              <a:gd name="connsiteX1949" fmla="*/ 3135575 w 12139750"/>
              <a:gd name="connsiteY1949" fmla="*/ 3696656 h 6858290"/>
              <a:gd name="connsiteX1950" fmla="*/ 3202342 w 12139750"/>
              <a:gd name="connsiteY1950" fmla="*/ 3740471 h 6858290"/>
              <a:gd name="connsiteX1951" fmla="*/ 3160373 w 12139750"/>
              <a:gd name="connsiteY1951" fmla="*/ 3809051 h 6858290"/>
              <a:gd name="connsiteX1952" fmla="*/ 2815092 w 12139750"/>
              <a:gd name="connsiteY1952" fmla="*/ 3883346 h 6858290"/>
              <a:gd name="connsiteX1953" fmla="*/ 2746418 w 12139750"/>
              <a:gd name="connsiteY1953" fmla="*/ 3841436 h 6858290"/>
              <a:gd name="connsiteX1954" fmla="*/ 2746418 w 12139750"/>
              <a:gd name="connsiteY1954" fmla="*/ 3828101 h 6858290"/>
              <a:gd name="connsiteX1955" fmla="*/ 2790295 w 12139750"/>
              <a:gd name="connsiteY1955" fmla="*/ 3772856 h 6858290"/>
              <a:gd name="connsiteX1956" fmla="*/ 3135575 w 12139750"/>
              <a:gd name="connsiteY1956" fmla="*/ 3696656 h 6858290"/>
              <a:gd name="connsiteX1957" fmla="*/ 9858878 w 12139750"/>
              <a:gd name="connsiteY1957" fmla="*/ 3457894 h 6858290"/>
              <a:gd name="connsiteX1958" fmla="*/ 9871499 w 12139750"/>
              <a:gd name="connsiteY1958" fmla="*/ 3465507 h 6858290"/>
              <a:gd name="connsiteX1959" fmla="*/ 9869594 w 12139750"/>
              <a:gd name="connsiteY1959" fmla="*/ 3492151 h 6858290"/>
              <a:gd name="connsiteX1960" fmla="*/ 9538119 w 12139750"/>
              <a:gd name="connsiteY1960" fmla="*/ 3773816 h 6858290"/>
              <a:gd name="connsiteX1961" fmla="*/ 9511449 w 12139750"/>
              <a:gd name="connsiteY1961" fmla="*/ 3771913 h 6858290"/>
              <a:gd name="connsiteX1962" fmla="*/ 9507639 w 12139750"/>
              <a:gd name="connsiteY1962" fmla="*/ 3760494 h 6858290"/>
              <a:gd name="connsiteX1963" fmla="*/ 9513354 w 12139750"/>
              <a:gd name="connsiteY1963" fmla="*/ 3745269 h 6858290"/>
              <a:gd name="connsiteX1964" fmla="*/ 9844829 w 12139750"/>
              <a:gd name="connsiteY1964" fmla="*/ 3461700 h 6858290"/>
              <a:gd name="connsiteX1965" fmla="*/ 9858878 w 12139750"/>
              <a:gd name="connsiteY1965" fmla="*/ 3457894 h 6858290"/>
              <a:gd name="connsiteX1966" fmla="*/ 10444338 w 12139750"/>
              <a:gd name="connsiteY1966" fmla="*/ 3451145 h 6858290"/>
              <a:gd name="connsiteX1967" fmla="*/ 10458876 w 12139750"/>
              <a:gd name="connsiteY1967" fmla="*/ 3459471 h 6858290"/>
              <a:gd name="connsiteX1968" fmla="*/ 10455062 w 12139750"/>
              <a:gd name="connsiteY1968" fmla="*/ 3489921 h 6858290"/>
              <a:gd name="connsiteX1969" fmla="*/ 10123310 w 12139750"/>
              <a:gd name="connsiteY1969" fmla="*/ 3756353 h 6858290"/>
              <a:gd name="connsiteX1970" fmla="*/ 10090897 w 12139750"/>
              <a:gd name="connsiteY1970" fmla="*/ 3752547 h 6858290"/>
              <a:gd name="connsiteX1971" fmla="*/ 10087084 w 12139750"/>
              <a:gd name="connsiteY1971" fmla="*/ 3737323 h 6858290"/>
              <a:gd name="connsiteX1972" fmla="*/ 10094710 w 12139750"/>
              <a:gd name="connsiteY1972" fmla="*/ 3720195 h 6858290"/>
              <a:gd name="connsiteX1973" fmla="*/ 10428370 w 12139750"/>
              <a:gd name="connsiteY1973" fmla="*/ 3455665 h 6858290"/>
              <a:gd name="connsiteX1974" fmla="*/ 10444338 w 12139750"/>
              <a:gd name="connsiteY1974" fmla="*/ 3451145 h 6858290"/>
              <a:gd name="connsiteX1975" fmla="*/ 9282925 w 12139750"/>
              <a:gd name="connsiteY1975" fmla="*/ 3451145 h 6858290"/>
              <a:gd name="connsiteX1976" fmla="*/ 9298403 w 12139750"/>
              <a:gd name="connsiteY1976" fmla="*/ 3459471 h 6858290"/>
              <a:gd name="connsiteX1977" fmla="*/ 9294593 w 12139750"/>
              <a:gd name="connsiteY1977" fmla="*/ 3489921 h 6858290"/>
              <a:gd name="connsiteX1978" fmla="*/ 8961213 w 12139750"/>
              <a:gd name="connsiteY1978" fmla="*/ 3756353 h 6858290"/>
              <a:gd name="connsiteX1979" fmla="*/ 8930733 w 12139750"/>
              <a:gd name="connsiteY1979" fmla="*/ 3752547 h 6858290"/>
              <a:gd name="connsiteX1980" fmla="*/ 8925018 w 12139750"/>
              <a:gd name="connsiteY1980" fmla="*/ 3737323 h 6858290"/>
              <a:gd name="connsiteX1981" fmla="*/ 8934543 w 12139750"/>
              <a:gd name="connsiteY1981" fmla="*/ 3720195 h 6858290"/>
              <a:gd name="connsiteX1982" fmla="*/ 9266017 w 12139750"/>
              <a:gd name="connsiteY1982" fmla="*/ 3455665 h 6858290"/>
              <a:gd name="connsiteX1983" fmla="*/ 9282925 w 12139750"/>
              <a:gd name="connsiteY1983" fmla="*/ 3451145 h 6858290"/>
              <a:gd name="connsiteX1984" fmla="*/ 8712667 w 12139750"/>
              <a:gd name="connsiteY1984" fmla="*/ 3443688 h 6858290"/>
              <a:gd name="connsiteX1985" fmla="*/ 8730065 w 12139750"/>
              <a:gd name="connsiteY1985" fmla="*/ 3453451 h 6858290"/>
              <a:gd name="connsiteX1986" fmla="*/ 8724345 w 12139750"/>
              <a:gd name="connsiteY1986" fmla="*/ 3489646 h 6858290"/>
              <a:gd name="connsiteX1987" fmla="*/ 8390693 w 12139750"/>
              <a:gd name="connsiteY1987" fmla="*/ 3737296 h 6858290"/>
              <a:gd name="connsiteX1988" fmla="*/ 8354468 w 12139750"/>
              <a:gd name="connsiteY1988" fmla="*/ 3731581 h 6858290"/>
              <a:gd name="connsiteX1989" fmla="*/ 8348748 w 12139750"/>
              <a:gd name="connsiteY1989" fmla="*/ 3716341 h 6858290"/>
              <a:gd name="connsiteX1990" fmla="*/ 8360188 w 12139750"/>
              <a:gd name="connsiteY1990" fmla="*/ 3695386 h 6858290"/>
              <a:gd name="connsiteX1991" fmla="*/ 8693840 w 12139750"/>
              <a:gd name="connsiteY1991" fmla="*/ 3449641 h 6858290"/>
              <a:gd name="connsiteX1992" fmla="*/ 8712667 w 12139750"/>
              <a:gd name="connsiteY1992" fmla="*/ 3443688 h 6858290"/>
              <a:gd name="connsiteX1993" fmla="*/ 11022273 w 12139750"/>
              <a:gd name="connsiteY1993" fmla="*/ 3443688 h 6858290"/>
              <a:gd name="connsiteX1994" fmla="*/ 11038002 w 12139750"/>
              <a:gd name="connsiteY1994" fmla="*/ 3453451 h 6858290"/>
              <a:gd name="connsiteX1995" fmla="*/ 11034189 w 12139750"/>
              <a:gd name="connsiteY1995" fmla="*/ 3489646 h 6858290"/>
              <a:gd name="connsiteX1996" fmla="*/ 10700537 w 12139750"/>
              <a:gd name="connsiteY1996" fmla="*/ 3737296 h 6858290"/>
              <a:gd name="connsiteX1997" fmla="*/ 10664312 w 12139750"/>
              <a:gd name="connsiteY1997" fmla="*/ 3731581 h 6858290"/>
              <a:gd name="connsiteX1998" fmla="*/ 10658592 w 12139750"/>
              <a:gd name="connsiteY1998" fmla="*/ 3716341 h 6858290"/>
              <a:gd name="connsiteX1999" fmla="*/ 10670032 w 12139750"/>
              <a:gd name="connsiteY1999" fmla="*/ 3695386 h 6858290"/>
              <a:gd name="connsiteX2000" fmla="*/ 11003684 w 12139750"/>
              <a:gd name="connsiteY2000" fmla="*/ 3449641 h 6858290"/>
              <a:gd name="connsiteX2001" fmla="*/ 11022273 w 12139750"/>
              <a:gd name="connsiteY2001" fmla="*/ 3443688 h 6858290"/>
              <a:gd name="connsiteX2002" fmla="*/ 11595028 w 12139750"/>
              <a:gd name="connsiteY2002" fmla="*/ 3438528 h 6858290"/>
              <a:gd name="connsiteX2003" fmla="*/ 11614586 w 12139750"/>
              <a:gd name="connsiteY2003" fmla="*/ 3450911 h 6858290"/>
              <a:gd name="connsiteX2004" fmla="*/ 11606953 w 12139750"/>
              <a:gd name="connsiteY2004" fmla="*/ 3490916 h 6858290"/>
              <a:gd name="connsiteX2005" fmla="*/ 11271132 w 12139750"/>
              <a:gd name="connsiteY2005" fmla="*/ 3719516 h 6858290"/>
              <a:gd name="connsiteX2006" fmla="*/ 11231062 w 12139750"/>
              <a:gd name="connsiteY2006" fmla="*/ 3711896 h 6858290"/>
              <a:gd name="connsiteX2007" fmla="*/ 11225338 w 12139750"/>
              <a:gd name="connsiteY2007" fmla="*/ 3696656 h 6858290"/>
              <a:gd name="connsiteX2008" fmla="*/ 11238695 w 12139750"/>
              <a:gd name="connsiteY2008" fmla="*/ 3671891 h 6858290"/>
              <a:gd name="connsiteX2009" fmla="*/ 11572608 w 12139750"/>
              <a:gd name="connsiteY2009" fmla="*/ 3443291 h 6858290"/>
              <a:gd name="connsiteX2010" fmla="*/ 11595028 w 12139750"/>
              <a:gd name="connsiteY2010" fmla="*/ 3438528 h 6858290"/>
              <a:gd name="connsiteX2011" fmla="*/ 8149264 w 12139750"/>
              <a:gd name="connsiteY2011" fmla="*/ 3438528 h 6858290"/>
              <a:gd name="connsiteX2012" fmla="*/ 8167794 w 12139750"/>
              <a:gd name="connsiteY2012" fmla="*/ 3450911 h 6858290"/>
              <a:gd name="connsiteX2013" fmla="*/ 8160192 w 12139750"/>
              <a:gd name="connsiteY2013" fmla="*/ 3490916 h 6858290"/>
              <a:gd name="connsiteX2014" fmla="*/ 7825713 w 12139750"/>
              <a:gd name="connsiteY2014" fmla="*/ 3719516 h 6858290"/>
              <a:gd name="connsiteX2015" fmla="*/ 7785804 w 12139750"/>
              <a:gd name="connsiteY2015" fmla="*/ 3711896 h 6858290"/>
              <a:gd name="connsiteX2016" fmla="*/ 7782003 w 12139750"/>
              <a:gd name="connsiteY2016" fmla="*/ 3696656 h 6858290"/>
              <a:gd name="connsiteX2017" fmla="*/ 7793405 w 12139750"/>
              <a:gd name="connsiteY2017" fmla="*/ 3671891 h 6858290"/>
              <a:gd name="connsiteX2018" fmla="*/ 8127884 w 12139750"/>
              <a:gd name="connsiteY2018" fmla="*/ 3443291 h 6858290"/>
              <a:gd name="connsiteX2019" fmla="*/ 8149264 w 12139750"/>
              <a:gd name="connsiteY2019" fmla="*/ 3438528 h 6858290"/>
              <a:gd name="connsiteX2020" fmla="*/ 12139750 w 12139750"/>
              <a:gd name="connsiteY2020" fmla="*/ 3433766 h 6858290"/>
              <a:gd name="connsiteX2021" fmla="*/ 12139750 w 12139750"/>
              <a:gd name="connsiteY2021" fmla="*/ 3509879 h 6858290"/>
              <a:gd name="connsiteX2022" fmla="*/ 11835219 w 12139750"/>
              <a:gd name="connsiteY2022" fmla="*/ 3702065 h 6858290"/>
              <a:gd name="connsiteX2023" fmla="*/ 11789540 w 12139750"/>
              <a:gd name="connsiteY2023" fmla="*/ 3690648 h 6858290"/>
              <a:gd name="connsiteX2024" fmla="*/ 11785733 w 12139750"/>
              <a:gd name="connsiteY2024" fmla="*/ 3673522 h 6858290"/>
              <a:gd name="connsiteX2025" fmla="*/ 11800960 w 12139750"/>
              <a:gd name="connsiteY2025" fmla="*/ 3646883 h 6858290"/>
              <a:gd name="connsiteX2026" fmla="*/ 12135943 w 12139750"/>
              <a:gd name="connsiteY2026" fmla="*/ 3435669 h 6858290"/>
              <a:gd name="connsiteX2027" fmla="*/ 12139750 w 12139750"/>
              <a:gd name="connsiteY2027" fmla="*/ 3433766 h 6858290"/>
              <a:gd name="connsiteX2028" fmla="*/ 7592961 w 12139750"/>
              <a:gd name="connsiteY2028" fmla="*/ 3431781 h 6858290"/>
              <a:gd name="connsiteX2029" fmla="*/ 7613711 w 12139750"/>
              <a:gd name="connsiteY2029" fmla="*/ 3446783 h 6858290"/>
              <a:gd name="connsiteX2030" fmla="*/ 7602263 w 12139750"/>
              <a:gd name="connsiteY2030" fmla="*/ 3490598 h 6858290"/>
              <a:gd name="connsiteX2031" fmla="*/ 7266453 w 12139750"/>
              <a:gd name="connsiteY2031" fmla="*/ 3702053 h 6858290"/>
              <a:gd name="connsiteX2032" fmla="*/ 7222569 w 12139750"/>
              <a:gd name="connsiteY2032" fmla="*/ 3690623 h 6858290"/>
              <a:gd name="connsiteX2033" fmla="*/ 7216845 w 12139750"/>
              <a:gd name="connsiteY2033" fmla="*/ 3673478 h 6858290"/>
              <a:gd name="connsiteX2034" fmla="*/ 7232109 w 12139750"/>
              <a:gd name="connsiteY2034" fmla="*/ 3646808 h 6858290"/>
              <a:gd name="connsiteX2035" fmla="*/ 7567918 w 12139750"/>
              <a:gd name="connsiteY2035" fmla="*/ 3435353 h 6858290"/>
              <a:gd name="connsiteX2036" fmla="*/ 7592961 w 12139750"/>
              <a:gd name="connsiteY2036" fmla="*/ 3431781 h 6858290"/>
              <a:gd name="connsiteX2037" fmla="*/ 7042583 w 12139750"/>
              <a:gd name="connsiteY2037" fmla="*/ 3425684 h 6858290"/>
              <a:gd name="connsiteX2038" fmla="*/ 7064457 w 12139750"/>
              <a:gd name="connsiteY2038" fmla="*/ 3442391 h 6858290"/>
              <a:gd name="connsiteX2039" fmla="*/ 7051143 w 12139750"/>
              <a:gd name="connsiteY2039" fmla="*/ 3490127 h 6858290"/>
              <a:gd name="connsiteX2040" fmla="*/ 6714471 w 12139750"/>
              <a:gd name="connsiteY2040" fmla="*/ 3682981 h 6858290"/>
              <a:gd name="connsiteX2041" fmla="*/ 6665016 w 12139750"/>
              <a:gd name="connsiteY2041" fmla="*/ 3669615 h 6858290"/>
              <a:gd name="connsiteX2042" fmla="*/ 6661212 w 12139750"/>
              <a:gd name="connsiteY2042" fmla="*/ 3652430 h 6858290"/>
              <a:gd name="connsiteX2043" fmla="*/ 6678331 w 12139750"/>
              <a:gd name="connsiteY2043" fmla="*/ 3619969 h 6858290"/>
              <a:gd name="connsiteX2044" fmla="*/ 7015003 w 12139750"/>
              <a:gd name="connsiteY2044" fmla="*/ 3429025 h 6858290"/>
              <a:gd name="connsiteX2045" fmla="*/ 7042583 w 12139750"/>
              <a:gd name="connsiteY2045" fmla="*/ 3425684 h 6858290"/>
              <a:gd name="connsiteX2046" fmla="*/ 6499335 w 12139750"/>
              <a:gd name="connsiteY2046" fmla="*/ 3418940 h 6858290"/>
              <a:gd name="connsiteX2047" fmla="*/ 6523112 w 12139750"/>
              <a:gd name="connsiteY2047" fmla="*/ 3438274 h 6858290"/>
              <a:gd name="connsiteX2048" fmla="*/ 6505992 w 12139750"/>
              <a:gd name="connsiteY2048" fmla="*/ 3491743 h 6858290"/>
              <a:gd name="connsiteX2049" fmla="*/ 6167407 w 12139750"/>
              <a:gd name="connsiteY2049" fmla="*/ 3663607 h 6858290"/>
              <a:gd name="connsiteX2050" fmla="*/ 6116048 w 12139750"/>
              <a:gd name="connsiteY2050" fmla="*/ 3648330 h 6858290"/>
              <a:gd name="connsiteX2051" fmla="*/ 6110342 w 12139750"/>
              <a:gd name="connsiteY2051" fmla="*/ 3629234 h 6858290"/>
              <a:gd name="connsiteX2052" fmla="*/ 6131266 w 12139750"/>
              <a:gd name="connsiteY2052" fmla="*/ 3594862 h 6858290"/>
              <a:gd name="connsiteX2053" fmla="*/ 6469851 w 12139750"/>
              <a:gd name="connsiteY2053" fmla="*/ 3421090 h 6858290"/>
              <a:gd name="connsiteX2054" fmla="*/ 6499335 w 12139750"/>
              <a:gd name="connsiteY2054" fmla="*/ 3418940 h 6858290"/>
              <a:gd name="connsiteX2055" fmla="*/ 5958954 w 12139750"/>
              <a:gd name="connsiteY2055" fmla="*/ 3413743 h 6858290"/>
              <a:gd name="connsiteX2056" fmla="*/ 5983314 w 12139750"/>
              <a:gd name="connsiteY2056" fmla="*/ 3435593 h 6858290"/>
              <a:gd name="connsiteX2057" fmla="*/ 5962297 w 12139750"/>
              <a:gd name="connsiteY2057" fmla="*/ 3492599 h 6858290"/>
              <a:gd name="connsiteX2058" fmla="*/ 5622211 w 12139750"/>
              <a:gd name="connsiteY2058" fmla="*/ 3646514 h 6858290"/>
              <a:gd name="connsiteX2059" fmla="*/ 5564892 w 12139750"/>
              <a:gd name="connsiteY2059" fmla="*/ 3625612 h 6858290"/>
              <a:gd name="connsiteX2060" fmla="*/ 5561071 w 12139750"/>
              <a:gd name="connsiteY2060" fmla="*/ 3608510 h 6858290"/>
              <a:gd name="connsiteX2061" fmla="*/ 5585909 w 12139750"/>
              <a:gd name="connsiteY2061" fmla="*/ 3568606 h 6858290"/>
              <a:gd name="connsiteX2062" fmla="*/ 5925996 w 12139750"/>
              <a:gd name="connsiteY2062" fmla="*/ 3414692 h 6858290"/>
              <a:gd name="connsiteX2063" fmla="*/ 5958954 w 12139750"/>
              <a:gd name="connsiteY2063" fmla="*/ 3413743 h 6858290"/>
              <a:gd name="connsiteX2064" fmla="*/ 398651 w 12139750"/>
              <a:gd name="connsiteY2064" fmla="*/ 3413741 h 6858290"/>
              <a:gd name="connsiteX2065" fmla="*/ 421971 w 12139750"/>
              <a:gd name="connsiteY2065" fmla="*/ 3435593 h 6858290"/>
              <a:gd name="connsiteX2066" fmla="*/ 401031 w 12139750"/>
              <a:gd name="connsiteY2066" fmla="*/ 3492599 h 6858290"/>
              <a:gd name="connsiteX2067" fmla="*/ 62187 w 12139750"/>
              <a:gd name="connsiteY2067" fmla="*/ 3646514 h 6858290"/>
              <a:gd name="connsiteX2068" fmla="*/ 6983 w 12139750"/>
              <a:gd name="connsiteY2068" fmla="*/ 3625612 h 6858290"/>
              <a:gd name="connsiteX2069" fmla="*/ 3175 w 12139750"/>
              <a:gd name="connsiteY2069" fmla="*/ 3608510 h 6858290"/>
              <a:gd name="connsiteX2070" fmla="*/ 27922 w 12139750"/>
              <a:gd name="connsiteY2070" fmla="*/ 3568606 h 6858290"/>
              <a:gd name="connsiteX2071" fmla="*/ 366766 w 12139750"/>
              <a:gd name="connsiteY2071" fmla="*/ 3414692 h 6858290"/>
              <a:gd name="connsiteX2072" fmla="*/ 398651 w 12139750"/>
              <a:gd name="connsiteY2072" fmla="*/ 3413741 h 6858290"/>
              <a:gd name="connsiteX2073" fmla="*/ 5394959 w 12139750"/>
              <a:gd name="connsiteY2073" fmla="*/ 3403430 h 6858290"/>
              <a:gd name="connsiteX2074" fmla="*/ 5437255 w 12139750"/>
              <a:gd name="connsiteY2074" fmla="*/ 3433353 h 6858290"/>
              <a:gd name="connsiteX2075" fmla="*/ 5410604 w 12139750"/>
              <a:gd name="connsiteY2075" fmla="*/ 3492253 h 6858290"/>
              <a:gd name="connsiteX2076" fmla="*/ 5069849 w 12139750"/>
              <a:gd name="connsiteY2076" fmla="*/ 3629053 h 6858290"/>
              <a:gd name="connsiteX2077" fmla="*/ 5010842 w 12139750"/>
              <a:gd name="connsiteY2077" fmla="*/ 3602453 h 6858290"/>
              <a:gd name="connsiteX2078" fmla="*/ 5007035 w 12139750"/>
              <a:gd name="connsiteY2078" fmla="*/ 3585353 h 6858290"/>
              <a:gd name="connsiteX2079" fmla="*/ 5037491 w 12139750"/>
              <a:gd name="connsiteY2079" fmla="*/ 3543553 h 6858290"/>
              <a:gd name="connsiteX2080" fmla="*/ 5376340 w 12139750"/>
              <a:gd name="connsiteY2080" fmla="*/ 3406755 h 6858290"/>
              <a:gd name="connsiteX2081" fmla="*/ 5394959 w 12139750"/>
              <a:gd name="connsiteY2081" fmla="*/ 3403430 h 6858290"/>
              <a:gd name="connsiteX2082" fmla="*/ 928445 w 12139750"/>
              <a:gd name="connsiteY2082" fmla="*/ 3403428 h 6858290"/>
              <a:gd name="connsiteX2083" fmla="*/ 969969 w 12139750"/>
              <a:gd name="connsiteY2083" fmla="*/ 3433353 h 6858290"/>
              <a:gd name="connsiteX2084" fmla="*/ 945204 w 12139750"/>
              <a:gd name="connsiteY2084" fmla="*/ 3492253 h 6858290"/>
              <a:gd name="connsiteX2085" fmla="*/ 604205 w 12139750"/>
              <a:gd name="connsiteY2085" fmla="*/ 3629053 h 6858290"/>
              <a:gd name="connsiteX2086" fmla="*/ 543244 w 12139750"/>
              <a:gd name="connsiteY2086" fmla="*/ 3602453 h 6858290"/>
              <a:gd name="connsiteX2087" fmla="*/ 541339 w 12139750"/>
              <a:gd name="connsiteY2087" fmla="*/ 3585353 h 6858290"/>
              <a:gd name="connsiteX2088" fmla="*/ 569914 w 12139750"/>
              <a:gd name="connsiteY2088" fmla="*/ 3543553 h 6858290"/>
              <a:gd name="connsiteX2089" fmla="*/ 910913 w 12139750"/>
              <a:gd name="connsiteY2089" fmla="*/ 3406753 h 6858290"/>
              <a:gd name="connsiteX2090" fmla="*/ 928445 w 12139750"/>
              <a:gd name="connsiteY2090" fmla="*/ 3403428 h 6858290"/>
              <a:gd name="connsiteX2091" fmla="*/ 4843466 w 12139750"/>
              <a:gd name="connsiteY2091" fmla="*/ 3396591 h 6858290"/>
              <a:gd name="connsiteX2092" fmla="*/ 4886368 w 12139750"/>
              <a:gd name="connsiteY2092" fmla="*/ 3429004 h 6858290"/>
              <a:gd name="connsiteX2093" fmla="*/ 4855860 w 12139750"/>
              <a:gd name="connsiteY2093" fmla="*/ 3491868 h 6858290"/>
              <a:gd name="connsiteX2094" fmla="*/ 4514625 w 12139750"/>
              <a:gd name="connsiteY2094" fmla="*/ 3609978 h 6858290"/>
              <a:gd name="connsiteX2095" fmla="*/ 4451713 w 12139750"/>
              <a:gd name="connsiteY2095" fmla="*/ 3579498 h 6858290"/>
              <a:gd name="connsiteX2096" fmla="*/ 4449806 w 12139750"/>
              <a:gd name="connsiteY2096" fmla="*/ 3564258 h 6858290"/>
              <a:gd name="connsiteX2097" fmla="*/ 4482216 w 12139750"/>
              <a:gd name="connsiteY2097" fmla="*/ 3518538 h 6858290"/>
              <a:gd name="connsiteX2098" fmla="*/ 4823448 w 12139750"/>
              <a:gd name="connsiteY2098" fmla="*/ 3398526 h 6858290"/>
              <a:gd name="connsiteX2099" fmla="*/ 4843466 w 12139750"/>
              <a:gd name="connsiteY2099" fmla="*/ 3396591 h 6858290"/>
              <a:gd name="connsiteX2100" fmla="*/ 1478769 w 12139750"/>
              <a:gd name="connsiteY2100" fmla="*/ 3396589 h 6858290"/>
              <a:gd name="connsiteX2101" fmla="*/ 1522735 w 12139750"/>
              <a:gd name="connsiteY2101" fmla="*/ 3429004 h 6858290"/>
              <a:gd name="connsiteX2102" fmla="*/ 1492233 w 12139750"/>
              <a:gd name="connsiteY2102" fmla="*/ 3491868 h 6858290"/>
              <a:gd name="connsiteX2103" fmla="*/ 1149084 w 12139750"/>
              <a:gd name="connsiteY2103" fmla="*/ 3609978 h 6858290"/>
              <a:gd name="connsiteX2104" fmla="*/ 1088080 w 12139750"/>
              <a:gd name="connsiteY2104" fmla="*/ 3579498 h 6858290"/>
              <a:gd name="connsiteX2105" fmla="*/ 1084267 w 12139750"/>
              <a:gd name="connsiteY2105" fmla="*/ 3564258 h 6858290"/>
              <a:gd name="connsiteX2106" fmla="*/ 1116676 w 12139750"/>
              <a:gd name="connsiteY2106" fmla="*/ 3518538 h 6858290"/>
              <a:gd name="connsiteX2107" fmla="*/ 1459824 w 12139750"/>
              <a:gd name="connsiteY2107" fmla="*/ 3398524 h 6858290"/>
              <a:gd name="connsiteX2108" fmla="*/ 1478769 w 12139750"/>
              <a:gd name="connsiteY2108" fmla="*/ 3396589 h 6858290"/>
              <a:gd name="connsiteX2109" fmla="*/ 4288621 w 12139750"/>
              <a:gd name="connsiteY2109" fmla="*/ 3390094 h 6858290"/>
              <a:gd name="connsiteX2110" fmla="*/ 4332319 w 12139750"/>
              <a:gd name="connsiteY2110" fmla="*/ 3426845 h 6858290"/>
              <a:gd name="connsiteX2111" fmla="*/ 4298005 w 12139750"/>
              <a:gd name="connsiteY2111" fmla="*/ 3491709 h 6858290"/>
              <a:gd name="connsiteX2112" fmla="*/ 3954880 w 12139750"/>
              <a:gd name="connsiteY2112" fmla="*/ 3592822 h 6858290"/>
              <a:gd name="connsiteX2113" fmla="*/ 3888158 w 12139750"/>
              <a:gd name="connsiteY2113" fmla="*/ 3556574 h 6858290"/>
              <a:gd name="connsiteX2114" fmla="*/ 3886250 w 12139750"/>
              <a:gd name="connsiteY2114" fmla="*/ 3541311 h 6858290"/>
              <a:gd name="connsiteX2115" fmla="*/ 3924377 w 12139750"/>
              <a:gd name="connsiteY2115" fmla="*/ 3491709 h 6858290"/>
              <a:gd name="connsiteX2116" fmla="*/ 4267501 w 12139750"/>
              <a:gd name="connsiteY2116" fmla="*/ 3392508 h 6858290"/>
              <a:gd name="connsiteX2117" fmla="*/ 4288621 w 12139750"/>
              <a:gd name="connsiteY2117" fmla="*/ 3390094 h 6858290"/>
              <a:gd name="connsiteX2118" fmla="*/ 2035412 w 12139750"/>
              <a:gd name="connsiteY2118" fmla="*/ 3390091 h 6858290"/>
              <a:gd name="connsiteX2119" fmla="*/ 2079949 w 12139750"/>
              <a:gd name="connsiteY2119" fmla="*/ 3426845 h 6858290"/>
              <a:gd name="connsiteX2120" fmla="*/ 2043698 w 12139750"/>
              <a:gd name="connsiteY2120" fmla="*/ 3491709 h 6858290"/>
              <a:gd name="connsiteX2121" fmla="*/ 1700314 w 12139750"/>
              <a:gd name="connsiteY2121" fmla="*/ 3592822 h 6858290"/>
              <a:gd name="connsiteX2122" fmla="*/ 1635452 w 12139750"/>
              <a:gd name="connsiteY2122" fmla="*/ 3556574 h 6858290"/>
              <a:gd name="connsiteX2123" fmla="*/ 1633545 w 12139750"/>
              <a:gd name="connsiteY2123" fmla="*/ 3541311 h 6858290"/>
              <a:gd name="connsiteX2124" fmla="*/ 1671698 w 12139750"/>
              <a:gd name="connsiteY2124" fmla="*/ 3491709 h 6858290"/>
              <a:gd name="connsiteX2125" fmla="*/ 2015083 w 12139750"/>
              <a:gd name="connsiteY2125" fmla="*/ 3392506 h 6858290"/>
              <a:gd name="connsiteX2126" fmla="*/ 2035412 w 12139750"/>
              <a:gd name="connsiteY2126" fmla="*/ 3390091 h 6858290"/>
              <a:gd name="connsiteX2127" fmla="*/ 3729541 w 12139750"/>
              <a:gd name="connsiteY2127" fmla="*/ 3384855 h 6858290"/>
              <a:gd name="connsiteX2128" fmla="*/ 3773836 w 12139750"/>
              <a:gd name="connsiteY2128" fmla="*/ 3427580 h 6858290"/>
              <a:gd name="connsiteX2129" fmla="*/ 3733748 w 12139750"/>
              <a:gd name="connsiteY2129" fmla="*/ 3494046 h 6858290"/>
              <a:gd name="connsiteX2130" fmla="*/ 3388242 w 12139750"/>
              <a:gd name="connsiteY2130" fmla="*/ 3575706 h 6858290"/>
              <a:gd name="connsiteX2131" fmla="*/ 3321424 w 12139750"/>
              <a:gd name="connsiteY2131" fmla="*/ 3533926 h 6858290"/>
              <a:gd name="connsiteX2132" fmla="*/ 3319515 w 12139750"/>
              <a:gd name="connsiteY2132" fmla="*/ 3520633 h 6858290"/>
              <a:gd name="connsiteX2133" fmla="*/ 3361512 w 12139750"/>
              <a:gd name="connsiteY2133" fmla="*/ 3465560 h 6858290"/>
              <a:gd name="connsiteX2134" fmla="*/ 3707021 w 12139750"/>
              <a:gd name="connsiteY2134" fmla="*/ 3385804 h 6858290"/>
              <a:gd name="connsiteX2135" fmla="*/ 3729541 w 12139750"/>
              <a:gd name="connsiteY2135" fmla="*/ 3384855 h 6858290"/>
              <a:gd name="connsiteX2136" fmla="*/ 2596040 w 12139750"/>
              <a:gd name="connsiteY2136" fmla="*/ 3384850 h 6858290"/>
              <a:gd name="connsiteX2137" fmla="*/ 2640334 w 12139750"/>
              <a:gd name="connsiteY2137" fmla="*/ 3427579 h 6858290"/>
              <a:gd name="connsiteX2138" fmla="*/ 2598338 w 12139750"/>
              <a:gd name="connsiteY2138" fmla="*/ 3494046 h 6858290"/>
              <a:gd name="connsiteX2139" fmla="*/ 2254725 w 12139750"/>
              <a:gd name="connsiteY2139" fmla="*/ 3575706 h 6858290"/>
              <a:gd name="connsiteX2140" fmla="*/ 2187911 w 12139750"/>
              <a:gd name="connsiteY2140" fmla="*/ 3533926 h 6858290"/>
              <a:gd name="connsiteX2141" fmla="*/ 2186002 w 12139750"/>
              <a:gd name="connsiteY2141" fmla="*/ 3520633 h 6858290"/>
              <a:gd name="connsiteX2142" fmla="*/ 2227999 w 12139750"/>
              <a:gd name="connsiteY2142" fmla="*/ 3465560 h 6858290"/>
              <a:gd name="connsiteX2143" fmla="*/ 2573520 w 12139750"/>
              <a:gd name="connsiteY2143" fmla="*/ 3385799 h 6858290"/>
              <a:gd name="connsiteX2144" fmla="*/ 2596040 w 12139750"/>
              <a:gd name="connsiteY2144" fmla="*/ 3384850 h 6858290"/>
              <a:gd name="connsiteX2145" fmla="*/ 3137316 w 12139750"/>
              <a:gd name="connsiteY2145" fmla="*/ 3377575 h 6858290"/>
              <a:gd name="connsiteX2146" fmla="*/ 3205849 w 12139750"/>
              <a:gd name="connsiteY2146" fmla="*/ 3425194 h 6858290"/>
              <a:gd name="connsiteX2147" fmla="*/ 3158257 w 12139750"/>
              <a:gd name="connsiteY2147" fmla="*/ 3493773 h 6858290"/>
              <a:gd name="connsiteX2148" fmla="*/ 2813680 w 12139750"/>
              <a:gd name="connsiteY2148" fmla="*/ 3556638 h 6858290"/>
              <a:gd name="connsiteX2149" fmla="*/ 2745145 w 12139750"/>
              <a:gd name="connsiteY2149" fmla="*/ 3509013 h 6858290"/>
              <a:gd name="connsiteX2150" fmla="*/ 2743240 w 12139750"/>
              <a:gd name="connsiteY2150" fmla="*/ 3497583 h 6858290"/>
              <a:gd name="connsiteX2151" fmla="*/ 2792741 w 12139750"/>
              <a:gd name="connsiteY2151" fmla="*/ 3440433 h 6858290"/>
              <a:gd name="connsiteX2152" fmla="*/ 3137316 w 12139750"/>
              <a:gd name="connsiteY2152" fmla="*/ 3377575 h 6858290"/>
              <a:gd name="connsiteX2153" fmla="*/ 9858814 w 12139750"/>
              <a:gd name="connsiteY2153" fmla="*/ 3131368 h 6858290"/>
              <a:gd name="connsiteX2154" fmla="*/ 9870234 w 12139750"/>
              <a:gd name="connsiteY2154" fmla="*/ 3136605 h 6858290"/>
              <a:gd name="connsiteX2155" fmla="*/ 9868331 w 12139750"/>
              <a:gd name="connsiteY2155" fmla="*/ 3159443 h 6858290"/>
              <a:gd name="connsiteX2156" fmla="*/ 9539049 w 12139750"/>
              <a:gd name="connsiteY2156" fmla="*/ 3458218 h 6858290"/>
              <a:gd name="connsiteX2157" fmla="*/ 9516209 w 12139750"/>
              <a:gd name="connsiteY2157" fmla="*/ 3456315 h 6858290"/>
              <a:gd name="connsiteX2158" fmla="*/ 9512402 w 12139750"/>
              <a:gd name="connsiteY2158" fmla="*/ 3444896 h 6858290"/>
              <a:gd name="connsiteX2159" fmla="*/ 9516209 w 12139750"/>
              <a:gd name="connsiteY2159" fmla="*/ 3433477 h 6858290"/>
              <a:gd name="connsiteX2160" fmla="*/ 9847394 w 12139750"/>
              <a:gd name="connsiteY2160" fmla="*/ 3134702 h 6858290"/>
              <a:gd name="connsiteX2161" fmla="*/ 9858814 w 12139750"/>
              <a:gd name="connsiteY2161" fmla="*/ 3131368 h 6858290"/>
              <a:gd name="connsiteX2162" fmla="*/ 9282539 w 12139750"/>
              <a:gd name="connsiteY2162" fmla="*/ 3124787 h 6858290"/>
              <a:gd name="connsiteX2163" fmla="*/ 9295203 w 12139750"/>
              <a:gd name="connsiteY2163" fmla="*/ 3132178 h 6858290"/>
              <a:gd name="connsiteX2164" fmla="*/ 9293291 w 12139750"/>
              <a:gd name="connsiteY2164" fmla="*/ 3160778 h 6858290"/>
              <a:gd name="connsiteX2165" fmla="*/ 8960690 w 12139750"/>
              <a:gd name="connsiteY2165" fmla="*/ 3437250 h 6858290"/>
              <a:gd name="connsiteX2166" fmla="*/ 8932017 w 12139750"/>
              <a:gd name="connsiteY2166" fmla="*/ 3435343 h 6858290"/>
              <a:gd name="connsiteX2167" fmla="*/ 8928194 w 12139750"/>
              <a:gd name="connsiteY2167" fmla="*/ 3421997 h 6858290"/>
              <a:gd name="connsiteX2168" fmla="*/ 8935840 w 12139750"/>
              <a:gd name="connsiteY2168" fmla="*/ 3406743 h 6858290"/>
              <a:gd name="connsiteX2169" fmla="*/ 9268442 w 12139750"/>
              <a:gd name="connsiteY2169" fmla="*/ 3130267 h 6858290"/>
              <a:gd name="connsiteX2170" fmla="*/ 9282539 w 12139750"/>
              <a:gd name="connsiteY2170" fmla="*/ 3124787 h 6858290"/>
              <a:gd name="connsiteX2171" fmla="*/ 10443256 w 12139750"/>
              <a:gd name="connsiteY2171" fmla="*/ 3124763 h 6858290"/>
              <a:gd name="connsiteX2172" fmla="*/ 10457592 w 12139750"/>
              <a:gd name="connsiteY2172" fmla="*/ 3132152 h 6858290"/>
              <a:gd name="connsiteX2173" fmla="*/ 10453769 w 12139750"/>
              <a:gd name="connsiteY2173" fmla="*/ 3160755 h 6858290"/>
              <a:gd name="connsiteX2174" fmla="*/ 10121168 w 12139750"/>
              <a:gd name="connsiteY2174" fmla="*/ 3437250 h 6858290"/>
              <a:gd name="connsiteX2175" fmla="*/ 10094407 w 12139750"/>
              <a:gd name="connsiteY2175" fmla="*/ 3435343 h 6858290"/>
              <a:gd name="connsiteX2176" fmla="*/ 10088672 w 12139750"/>
              <a:gd name="connsiteY2176" fmla="*/ 3421995 h 6858290"/>
              <a:gd name="connsiteX2177" fmla="*/ 10096318 w 12139750"/>
              <a:gd name="connsiteY2177" fmla="*/ 3406741 h 6858290"/>
              <a:gd name="connsiteX2178" fmla="*/ 10428920 w 12139750"/>
              <a:gd name="connsiteY2178" fmla="*/ 3130246 h 6858290"/>
              <a:gd name="connsiteX2179" fmla="*/ 10443256 w 12139750"/>
              <a:gd name="connsiteY2179" fmla="*/ 3124763 h 6858290"/>
              <a:gd name="connsiteX2180" fmla="*/ 8711378 w 12139750"/>
              <a:gd name="connsiteY2180" fmla="*/ 3118284 h 6858290"/>
              <a:gd name="connsiteX2181" fmla="*/ 8728495 w 12139750"/>
              <a:gd name="connsiteY2181" fmla="*/ 3128067 h 6858290"/>
              <a:gd name="connsiteX2182" fmla="*/ 8722790 w 12139750"/>
              <a:gd name="connsiteY2182" fmla="*/ 3160517 h 6858290"/>
              <a:gd name="connsiteX2183" fmla="*/ 8391863 w 12139750"/>
              <a:gd name="connsiteY2183" fmla="*/ 3418193 h 6858290"/>
              <a:gd name="connsiteX2184" fmla="*/ 8357629 w 12139750"/>
              <a:gd name="connsiteY2184" fmla="*/ 3414376 h 6858290"/>
              <a:gd name="connsiteX2185" fmla="*/ 8351923 w 12139750"/>
              <a:gd name="connsiteY2185" fmla="*/ 3399106 h 6858290"/>
              <a:gd name="connsiteX2186" fmla="*/ 8361432 w 12139750"/>
              <a:gd name="connsiteY2186" fmla="*/ 3380018 h 6858290"/>
              <a:gd name="connsiteX2187" fmla="*/ 8694262 w 12139750"/>
              <a:gd name="connsiteY2187" fmla="*/ 3124249 h 6858290"/>
              <a:gd name="connsiteX2188" fmla="*/ 8711378 w 12139750"/>
              <a:gd name="connsiteY2188" fmla="*/ 3118284 h 6858290"/>
              <a:gd name="connsiteX2189" fmla="*/ 11020985 w 12139750"/>
              <a:gd name="connsiteY2189" fmla="*/ 3118259 h 6858290"/>
              <a:gd name="connsiteX2190" fmla="*/ 11036438 w 12139750"/>
              <a:gd name="connsiteY2190" fmla="*/ 3128041 h 6858290"/>
              <a:gd name="connsiteX2191" fmla="*/ 11032634 w 12139750"/>
              <a:gd name="connsiteY2191" fmla="*/ 3160492 h 6858290"/>
              <a:gd name="connsiteX2192" fmla="*/ 10699805 w 12139750"/>
              <a:gd name="connsiteY2192" fmla="*/ 3418193 h 6858290"/>
              <a:gd name="connsiteX2193" fmla="*/ 10667473 w 12139750"/>
              <a:gd name="connsiteY2193" fmla="*/ 3414376 h 6858290"/>
              <a:gd name="connsiteX2194" fmla="*/ 10661767 w 12139750"/>
              <a:gd name="connsiteY2194" fmla="*/ 3399103 h 6858290"/>
              <a:gd name="connsiteX2195" fmla="*/ 10671276 w 12139750"/>
              <a:gd name="connsiteY2195" fmla="*/ 3380016 h 6858290"/>
              <a:gd name="connsiteX2196" fmla="*/ 11004106 w 12139750"/>
              <a:gd name="connsiteY2196" fmla="*/ 3124224 h 6858290"/>
              <a:gd name="connsiteX2197" fmla="*/ 11020985 w 12139750"/>
              <a:gd name="connsiteY2197" fmla="*/ 3118259 h 6858290"/>
              <a:gd name="connsiteX2198" fmla="*/ 8147892 w 12139750"/>
              <a:gd name="connsiteY2198" fmla="*/ 3113506 h 6858290"/>
              <a:gd name="connsiteX2199" fmla="*/ 8166198 w 12139750"/>
              <a:gd name="connsiteY2199" fmla="*/ 3125150 h 6858290"/>
              <a:gd name="connsiteX2200" fmla="*/ 8160492 w 12139750"/>
              <a:gd name="connsiteY2200" fmla="*/ 3163167 h 6858290"/>
              <a:gd name="connsiteX2201" fmla="*/ 7825748 w 12139750"/>
              <a:gd name="connsiteY2201" fmla="*/ 3398864 h 6858290"/>
              <a:gd name="connsiteX2202" fmla="*/ 7787709 w 12139750"/>
              <a:gd name="connsiteY2202" fmla="*/ 3393162 h 6858290"/>
              <a:gd name="connsiteX2203" fmla="*/ 7782003 w 12139750"/>
              <a:gd name="connsiteY2203" fmla="*/ 3376054 h 6858290"/>
              <a:gd name="connsiteX2204" fmla="*/ 7795316 w 12139750"/>
              <a:gd name="connsiteY2204" fmla="*/ 3353251 h 6858290"/>
              <a:gd name="connsiteX2205" fmla="*/ 8128159 w 12139750"/>
              <a:gd name="connsiteY2205" fmla="*/ 3117545 h 6858290"/>
              <a:gd name="connsiteX2206" fmla="*/ 8147892 w 12139750"/>
              <a:gd name="connsiteY2206" fmla="*/ 3113506 h 6858290"/>
              <a:gd name="connsiteX2207" fmla="*/ 11592870 w 12139750"/>
              <a:gd name="connsiteY2207" fmla="*/ 3113497 h 6858290"/>
              <a:gd name="connsiteX2208" fmla="*/ 11611429 w 12139750"/>
              <a:gd name="connsiteY2208" fmla="*/ 3125143 h 6858290"/>
              <a:gd name="connsiteX2209" fmla="*/ 11603815 w 12139750"/>
              <a:gd name="connsiteY2209" fmla="*/ 3163160 h 6858290"/>
              <a:gd name="connsiteX2210" fmla="*/ 11270705 w 12139750"/>
              <a:gd name="connsiteY2210" fmla="*/ 3398861 h 6858290"/>
              <a:gd name="connsiteX2211" fmla="*/ 11232635 w 12139750"/>
              <a:gd name="connsiteY2211" fmla="*/ 3393157 h 6858290"/>
              <a:gd name="connsiteX2212" fmla="*/ 11226925 w 12139750"/>
              <a:gd name="connsiteY2212" fmla="*/ 3376052 h 6858290"/>
              <a:gd name="connsiteX2213" fmla="*/ 11238346 w 12139750"/>
              <a:gd name="connsiteY2213" fmla="*/ 3353249 h 6858290"/>
              <a:gd name="connsiteX2214" fmla="*/ 11571456 w 12139750"/>
              <a:gd name="connsiteY2214" fmla="*/ 3117537 h 6858290"/>
              <a:gd name="connsiteX2215" fmla="*/ 11592870 w 12139750"/>
              <a:gd name="connsiteY2215" fmla="*/ 3113497 h 6858290"/>
              <a:gd name="connsiteX2216" fmla="*/ 12139750 w 12139750"/>
              <a:gd name="connsiteY2216" fmla="*/ 3109931 h 6858290"/>
              <a:gd name="connsiteX2217" fmla="*/ 12139750 w 12139750"/>
              <a:gd name="connsiteY2217" fmla="*/ 3184058 h 6858290"/>
              <a:gd name="connsiteX2218" fmla="*/ 11835219 w 12139750"/>
              <a:gd name="connsiteY2218" fmla="*/ 3379813 h 6858290"/>
              <a:gd name="connsiteX2219" fmla="*/ 11791443 w 12139750"/>
              <a:gd name="connsiteY2219" fmla="*/ 3370310 h 6858290"/>
              <a:gd name="connsiteX2220" fmla="*/ 11785733 w 12139750"/>
              <a:gd name="connsiteY2220" fmla="*/ 3353211 h 6858290"/>
              <a:gd name="connsiteX2221" fmla="*/ 11800960 w 12139750"/>
              <a:gd name="connsiteY2221" fmla="*/ 3326605 h 6858290"/>
              <a:gd name="connsiteX2222" fmla="*/ 12135943 w 12139750"/>
              <a:gd name="connsiteY2222" fmla="*/ 3111832 h 6858290"/>
              <a:gd name="connsiteX2223" fmla="*/ 12139750 w 12139750"/>
              <a:gd name="connsiteY2223" fmla="*/ 3109931 h 6858290"/>
              <a:gd name="connsiteX2224" fmla="*/ 7592396 w 12139750"/>
              <a:gd name="connsiteY2224" fmla="*/ 3107000 h 6858290"/>
              <a:gd name="connsiteX2225" fmla="*/ 7612145 w 12139750"/>
              <a:gd name="connsiteY2225" fmla="*/ 3121034 h 6858290"/>
              <a:gd name="connsiteX2226" fmla="*/ 7602628 w 12139750"/>
              <a:gd name="connsiteY2226" fmla="*/ 3164800 h 6858290"/>
              <a:gd name="connsiteX2227" fmla="*/ 7267608 w 12139750"/>
              <a:gd name="connsiteY2227" fmla="*/ 3379811 h 6858290"/>
              <a:gd name="connsiteX2228" fmla="*/ 7223827 w 12139750"/>
              <a:gd name="connsiteY2228" fmla="*/ 3370294 h 6858290"/>
              <a:gd name="connsiteX2229" fmla="*/ 7220020 w 12139750"/>
              <a:gd name="connsiteY2229" fmla="*/ 3353176 h 6858290"/>
              <a:gd name="connsiteX2230" fmla="*/ 7233344 w 12139750"/>
              <a:gd name="connsiteY2230" fmla="*/ 3326538 h 6858290"/>
              <a:gd name="connsiteX2231" fmla="*/ 7568364 w 12139750"/>
              <a:gd name="connsiteY2231" fmla="*/ 3111519 h 6858290"/>
              <a:gd name="connsiteX2232" fmla="*/ 7592396 w 12139750"/>
              <a:gd name="connsiteY2232" fmla="*/ 3107000 h 6858290"/>
              <a:gd name="connsiteX2233" fmla="*/ 7041870 w 12139750"/>
              <a:gd name="connsiteY2233" fmla="*/ 3101853 h 6858290"/>
              <a:gd name="connsiteX2234" fmla="*/ 7064457 w 12139750"/>
              <a:gd name="connsiteY2234" fmla="*/ 3118540 h 6858290"/>
              <a:gd name="connsiteX2235" fmla="*/ 7051143 w 12139750"/>
              <a:gd name="connsiteY2235" fmla="*/ 3166221 h 6858290"/>
              <a:gd name="connsiteX2236" fmla="*/ 6714471 w 12139750"/>
              <a:gd name="connsiteY2236" fmla="*/ 3360742 h 6858290"/>
              <a:gd name="connsiteX2237" fmla="*/ 6666918 w 12139750"/>
              <a:gd name="connsiteY2237" fmla="*/ 3347395 h 6858290"/>
              <a:gd name="connsiteX2238" fmla="*/ 6661212 w 12139750"/>
              <a:gd name="connsiteY2238" fmla="*/ 3330234 h 6858290"/>
              <a:gd name="connsiteX2239" fmla="*/ 6680233 w 12139750"/>
              <a:gd name="connsiteY2239" fmla="*/ 3299719 h 6858290"/>
              <a:gd name="connsiteX2240" fmla="*/ 7015003 w 12139750"/>
              <a:gd name="connsiteY2240" fmla="*/ 3105192 h 6858290"/>
              <a:gd name="connsiteX2241" fmla="*/ 7041870 w 12139750"/>
              <a:gd name="connsiteY2241" fmla="*/ 3101853 h 6858290"/>
              <a:gd name="connsiteX2242" fmla="*/ 6499097 w 12139750"/>
              <a:gd name="connsiteY2242" fmla="*/ 3095115 h 6858290"/>
              <a:gd name="connsiteX2243" fmla="*/ 6521210 w 12139750"/>
              <a:gd name="connsiteY2243" fmla="*/ 3114451 h 6858290"/>
              <a:gd name="connsiteX2244" fmla="*/ 6505992 w 12139750"/>
              <a:gd name="connsiteY2244" fmla="*/ 3167917 h 6858290"/>
              <a:gd name="connsiteX2245" fmla="*/ 6167407 w 12139750"/>
              <a:gd name="connsiteY2245" fmla="*/ 3341686 h 6858290"/>
              <a:gd name="connsiteX2246" fmla="*/ 6116048 w 12139750"/>
              <a:gd name="connsiteY2246" fmla="*/ 3326407 h 6858290"/>
              <a:gd name="connsiteX2247" fmla="*/ 6110342 w 12139750"/>
              <a:gd name="connsiteY2247" fmla="*/ 3307313 h 6858290"/>
              <a:gd name="connsiteX2248" fmla="*/ 6131266 w 12139750"/>
              <a:gd name="connsiteY2248" fmla="*/ 3272944 h 6858290"/>
              <a:gd name="connsiteX2249" fmla="*/ 6469851 w 12139750"/>
              <a:gd name="connsiteY2249" fmla="*/ 3097266 h 6858290"/>
              <a:gd name="connsiteX2250" fmla="*/ 6499097 w 12139750"/>
              <a:gd name="connsiteY2250" fmla="*/ 3095115 h 6858290"/>
              <a:gd name="connsiteX2251" fmla="*/ 5958954 w 12139750"/>
              <a:gd name="connsiteY2251" fmla="*/ 3091506 h 6858290"/>
              <a:gd name="connsiteX2252" fmla="*/ 5983314 w 12139750"/>
              <a:gd name="connsiteY2252" fmla="*/ 3113357 h 6858290"/>
              <a:gd name="connsiteX2253" fmla="*/ 5962297 w 12139750"/>
              <a:gd name="connsiteY2253" fmla="*/ 3170362 h 6858290"/>
              <a:gd name="connsiteX2254" fmla="*/ 5620299 w 12139750"/>
              <a:gd name="connsiteY2254" fmla="*/ 3324270 h 6858290"/>
              <a:gd name="connsiteX2255" fmla="*/ 5564892 w 12139750"/>
              <a:gd name="connsiteY2255" fmla="*/ 3301471 h 6858290"/>
              <a:gd name="connsiteX2256" fmla="*/ 5561071 w 12139750"/>
              <a:gd name="connsiteY2256" fmla="*/ 3284371 h 6858290"/>
              <a:gd name="connsiteX2257" fmla="*/ 5585909 w 12139750"/>
              <a:gd name="connsiteY2257" fmla="*/ 3246366 h 6858290"/>
              <a:gd name="connsiteX2258" fmla="*/ 5925996 w 12139750"/>
              <a:gd name="connsiteY2258" fmla="*/ 3092457 h 6858290"/>
              <a:gd name="connsiteX2259" fmla="*/ 5958954 w 12139750"/>
              <a:gd name="connsiteY2259" fmla="*/ 3091506 h 6858290"/>
              <a:gd name="connsiteX2260" fmla="*/ 399603 w 12139750"/>
              <a:gd name="connsiteY2260" fmla="*/ 3091494 h 6858290"/>
              <a:gd name="connsiteX2261" fmla="*/ 423874 w 12139750"/>
              <a:gd name="connsiteY2261" fmla="*/ 3113346 h 6858290"/>
              <a:gd name="connsiteX2262" fmla="*/ 401031 w 12139750"/>
              <a:gd name="connsiteY2262" fmla="*/ 3170351 h 6858290"/>
              <a:gd name="connsiteX2263" fmla="*/ 62187 w 12139750"/>
              <a:gd name="connsiteY2263" fmla="*/ 3324262 h 6858290"/>
              <a:gd name="connsiteX2264" fmla="*/ 6982 w 12139750"/>
              <a:gd name="connsiteY2264" fmla="*/ 3301463 h 6858290"/>
              <a:gd name="connsiteX2265" fmla="*/ 3175 w 12139750"/>
              <a:gd name="connsiteY2265" fmla="*/ 3284360 h 6858290"/>
              <a:gd name="connsiteX2266" fmla="*/ 27922 w 12139750"/>
              <a:gd name="connsiteY2266" fmla="*/ 3246356 h 6858290"/>
              <a:gd name="connsiteX2267" fmla="*/ 366766 w 12139750"/>
              <a:gd name="connsiteY2267" fmla="*/ 3092445 h 6858290"/>
              <a:gd name="connsiteX2268" fmla="*/ 399603 w 12139750"/>
              <a:gd name="connsiteY2268" fmla="*/ 3091494 h 6858290"/>
              <a:gd name="connsiteX2269" fmla="*/ 5376340 w 12139750"/>
              <a:gd name="connsiteY2269" fmla="*/ 3084226 h 6858290"/>
              <a:gd name="connsiteX2270" fmla="*/ 5437255 w 12139750"/>
              <a:gd name="connsiteY2270" fmla="*/ 3110894 h 6858290"/>
              <a:gd name="connsiteX2271" fmla="*/ 5410604 w 12139750"/>
              <a:gd name="connsiteY2271" fmla="*/ 3171854 h 6858290"/>
              <a:gd name="connsiteX2272" fmla="*/ 5069849 w 12139750"/>
              <a:gd name="connsiteY2272" fmla="*/ 3305199 h 6858290"/>
              <a:gd name="connsiteX2273" fmla="*/ 5010842 w 12139750"/>
              <a:gd name="connsiteY2273" fmla="*/ 3278532 h 6858290"/>
              <a:gd name="connsiteX2274" fmla="*/ 5007035 w 12139750"/>
              <a:gd name="connsiteY2274" fmla="*/ 3261388 h 6858290"/>
              <a:gd name="connsiteX2275" fmla="*/ 5037491 w 12139750"/>
              <a:gd name="connsiteY2275" fmla="*/ 3217574 h 6858290"/>
              <a:gd name="connsiteX2276" fmla="*/ 5376340 w 12139750"/>
              <a:gd name="connsiteY2276" fmla="*/ 3084226 h 6858290"/>
              <a:gd name="connsiteX2277" fmla="*/ 910964 w 12139750"/>
              <a:gd name="connsiteY2277" fmla="*/ 3084210 h 6858290"/>
              <a:gd name="connsiteX2278" fmla="*/ 969977 w 12139750"/>
              <a:gd name="connsiteY2278" fmla="*/ 3110879 h 6858290"/>
              <a:gd name="connsiteX2279" fmla="*/ 945229 w 12139750"/>
              <a:gd name="connsiteY2279" fmla="*/ 3171840 h 6858290"/>
              <a:gd name="connsiteX2280" fmla="*/ 604476 w 12139750"/>
              <a:gd name="connsiteY2280" fmla="*/ 3305187 h 6858290"/>
              <a:gd name="connsiteX2281" fmla="*/ 543559 w 12139750"/>
              <a:gd name="connsiteY2281" fmla="*/ 3278518 h 6858290"/>
              <a:gd name="connsiteX2282" fmla="*/ 539752 w 12139750"/>
              <a:gd name="connsiteY2282" fmla="*/ 3261374 h 6858290"/>
              <a:gd name="connsiteX2283" fmla="*/ 570210 w 12139750"/>
              <a:gd name="connsiteY2283" fmla="*/ 3217559 h 6858290"/>
              <a:gd name="connsiteX2284" fmla="*/ 910964 w 12139750"/>
              <a:gd name="connsiteY2284" fmla="*/ 3084210 h 6858290"/>
              <a:gd name="connsiteX2285" fmla="*/ 4845142 w 12139750"/>
              <a:gd name="connsiteY2285" fmla="*/ 3075495 h 6858290"/>
              <a:gd name="connsiteX2286" fmla="*/ 4888280 w 12139750"/>
              <a:gd name="connsiteY2286" fmla="*/ 3110635 h 6858290"/>
              <a:gd name="connsiteX2287" fmla="*/ 4855887 w 12139750"/>
              <a:gd name="connsiteY2287" fmla="*/ 3173587 h 6858290"/>
              <a:gd name="connsiteX2288" fmla="*/ 4514895 w 12139750"/>
              <a:gd name="connsiteY2288" fmla="*/ 3286137 h 6858290"/>
              <a:gd name="connsiteX2289" fmla="*/ 4450123 w 12139750"/>
              <a:gd name="connsiteY2289" fmla="*/ 3253707 h 6858290"/>
              <a:gd name="connsiteX2290" fmla="*/ 4448218 w 12139750"/>
              <a:gd name="connsiteY2290" fmla="*/ 3238443 h 6858290"/>
              <a:gd name="connsiteX2291" fmla="*/ 4482509 w 12139750"/>
              <a:gd name="connsiteY2291" fmla="*/ 3190757 h 6858290"/>
              <a:gd name="connsiteX2292" fmla="*/ 4825402 w 12139750"/>
              <a:gd name="connsiteY2292" fmla="*/ 3078206 h 6858290"/>
              <a:gd name="connsiteX2293" fmla="*/ 4845142 w 12139750"/>
              <a:gd name="connsiteY2293" fmla="*/ 3075495 h 6858290"/>
              <a:gd name="connsiteX2294" fmla="*/ 1479596 w 12139750"/>
              <a:gd name="connsiteY2294" fmla="*/ 3075477 h 6858290"/>
              <a:gd name="connsiteX2295" fmla="*/ 1522429 w 12139750"/>
              <a:gd name="connsiteY2295" fmla="*/ 3110619 h 6858290"/>
              <a:gd name="connsiteX2296" fmla="*/ 1491970 w 12139750"/>
              <a:gd name="connsiteY2296" fmla="*/ 3173573 h 6858290"/>
              <a:gd name="connsiteX2297" fmla="*/ 1149308 w 12139750"/>
              <a:gd name="connsiteY2297" fmla="*/ 3286122 h 6858290"/>
              <a:gd name="connsiteX2298" fmla="*/ 1086486 w 12139750"/>
              <a:gd name="connsiteY2298" fmla="*/ 3253693 h 6858290"/>
              <a:gd name="connsiteX2299" fmla="*/ 1082679 w 12139750"/>
              <a:gd name="connsiteY2299" fmla="*/ 3238431 h 6858290"/>
              <a:gd name="connsiteX2300" fmla="*/ 1118849 w 12139750"/>
              <a:gd name="connsiteY2300" fmla="*/ 3190741 h 6858290"/>
              <a:gd name="connsiteX2301" fmla="*/ 1459607 w 12139750"/>
              <a:gd name="connsiteY2301" fmla="*/ 3078189 h 6858290"/>
              <a:gd name="connsiteX2302" fmla="*/ 1479596 w 12139750"/>
              <a:gd name="connsiteY2302" fmla="*/ 3075477 h 6858290"/>
              <a:gd name="connsiteX2303" fmla="*/ 4290284 w 12139750"/>
              <a:gd name="connsiteY2303" fmla="*/ 3070235 h 6858290"/>
              <a:gd name="connsiteX2304" fmla="*/ 4333922 w 12139750"/>
              <a:gd name="connsiteY2304" fmla="*/ 3109556 h 6858290"/>
              <a:gd name="connsiteX2305" fmla="*/ 4295845 w 12139750"/>
              <a:gd name="connsiteY2305" fmla="*/ 3176127 h 6858290"/>
              <a:gd name="connsiteX2306" fmla="*/ 3953197 w 12139750"/>
              <a:gd name="connsiteY2306" fmla="*/ 3267431 h 6858290"/>
              <a:gd name="connsiteX2307" fmla="*/ 3886567 w 12139750"/>
              <a:gd name="connsiteY2307" fmla="*/ 3229387 h 6858290"/>
              <a:gd name="connsiteX2308" fmla="*/ 3884664 w 12139750"/>
              <a:gd name="connsiteY2308" fmla="*/ 3216076 h 6858290"/>
              <a:gd name="connsiteX2309" fmla="*/ 3924642 w 12139750"/>
              <a:gd name="connsiteY2309" fmla="*/ 3164719 h 6858290"/>
              <a:gd name="connsiteX2310" fmla="*/ 4269194 w 12139750"/>
              <a:gd name="connsiteY2310" fmla="*/ 3071515 h 6858290"/>
              <a:gd name="connsiteX2311" fmla="*/ 4290284 w 12139750"/>
              <a:gd name="connsiteY2311" fmla="*/ 3070235 h 6858290"/>
              <a:gd name="connsiteX2312" fmla="*/ 2036269 w 12139750"/>
              <a:gd name="connsiteY2312" fmla="*/ 3070217 h 6858290"/>
              <a:gd name="connsiteX2313" fmla="*/ 2081548 w 12139750"/>
              <a:gd name="connsiteY2313" fmla="*/ 3109537 h 6858290"/>
              <a:gd name="connsiteX2314" fmla="*/ 2043443 w 12139750"/>
              <a:gd name="connsiteY2314" fmla="*/ 3176111 h 6858290"/>
              <a:gd name="connsiteX2315" fmla="*/ 1700538 w 12139750"/>
              <a:gd name="connsiteY2315" fmla="*/ 3267414 h 6858290"/>
              <a:gd name="connsiteX2316" fmla="*/ 1633862 w 12139750"/>
              <a:gd name="connsiteY2316" fmla="*/ 3229371 h 6858290"/>
              <a:gd name="connsiteX2317" fmla="*/ 1631957 w 12139750"/>
              <a:gd name="connsiteY2317" fmla="*/ 3216056 h 6858290"/>
              <a:gd name="connsiteX2318" fmla="*/ 1671963 w 12139750"/>
              <a:gd name="connsiteY2318" fmla="*/ 3164700 h 6858290"/>
              <a:gd name="connsiteX2319" fmla="*/ 2014867 w 12139750"/>
              <a:gd name="connsiteY2319" fmla="*/ 3071495 h 6858290"/>
              <a:gd name="connsiteX2320" fmla="*/ 2036269 w 12139750"/>
              <a:gd name="connsiteY2320" fmla="*/ 3070217 h 6858290"/>
              <a:gd name="connsiteX2321" fmla="*/ 3731231 w 12139750"/>
              <a:gd name="connsiteY2321" fmla="*/ 3064531 h 6858290"/>
              <a:gd name="connsiteX2322" fmla="*/ 3777343 w 12139750"/>
              <a:gd name="connsiteY2322" fmla="*/ 3109072 h 6858290"/>
              <a:gd name="connsiteX2323" fmla="*/ 3731589 w 12139750"/>
              <a:gd name="connsiteY2323" fmla="*/ 3177762 h 6858290"/>
              <a:gd name="connsiteX2324" fmla="*/ 3386557 w 12139750"/>
              <a:gd name="connsiteY2324" fmla="*/ 3250263 h 6858290"/>
              <a:gd name="connsiteX2325" fmla="*/ 3317928 w 12139750"/>
              <a:gd name="connsiteY2325" fmla="*/ 3204472 h 6858290"/>
              <a:gd name="connsiteX2326" fmla="*/ 3317928 w 12139750"/>
              <a:gd name="connsiteY2326" fmla="*/ 3193023 h 6858290"/>
              <a:gd name="connsiteX2327" fmla="*/ 3363681 w 12139750"/>
              <a:gd name="connsiteY2327" fmla="*/ 3135786 h 6858290"/>
              <a:gd name="connsiteX2328" fmla="*/ 3708711 w 12139750"/>
              <a:gd name="connsiteY2328" fmla="*/ 3065187 h 6858290"/>
              <a:gd name="connsiteX2329" fmla="*/ 3731231 w 12139750"/>
              <a:gd name="connsiteY2329" fmla="*/ 3064531 h 6858290"/>
              <a:gd name="connsiteX2330" fmla="*/ 2597728 w 12139750"/>
              <a:gd name="connsiteY2330" fmla="*/ 3064510 h 6858290"/>
              <a:gd name="connsiteX2331" fmla="*/ 2643838 w 12139750"/>
              <a:gd name="connsiteY2331" fmla="*/ 3109051 h 6858290"/>
              <a:gd name="connsiteX2332" fmla="*/ 2598086 w 12139750"/>
              <a:gd name="connsiteY2332" fmla="*/ 3177742 h 6858290"/>
              <a:gd name="connsiteX2333" fmla="*/ 2253042 w 12139750"/>
              <a:gd name="connsiteY2333" fmla="*/ 3250246 h 6858290"/>
              <a:gd name="connsiteX2334" fmla="*/ 2184414 w 12139750"/>
              <a:gd name="connsiteY2334" fmla="*/ 3204454 h 6858290"/>
              <a:gd name="connsiteX2335" fmla="*/ 2184414 w 12139750"/>
              <a:gd name="connsiteY2335" fmla="*/ 3193005 h 6858290"/>
              <a:gd name="connsiteX2336" fmla="*/ 2230166 w 12139750"/>
              <a:gd name="connsiteY2336" fmla="*/ 3135765 h 6858290"/>
              <a:gd name="connsiteX2337" fmla="*/ 2575210 w 12139750"/>
              <a:gd name="connsiteY2337" fmla="*/ 3065166 h 6858290"/>
              <a:gd name="connsiteX2338" fmla="*/ 2597728 w 12139750"/>
              <a:gd name="connsiteY2338" fmla="*/ 3064510 h 6858290"/>
              <a:gd name="connsiteX2339" fmla="*/ 3139002 w 12139750"/>
              <a:gd name="connsiteY2339" fmla="*/ 3058190 h 6858290"/>
              <a:gd name="connsiteX2340" fmla="*/ 3209344 w 12139750"/>
              <a:gd name="connsiteY2340" fmla="*/ 3111529 h 6858290"/>
              <a:gd name="connsiteX2341" fmla="*/ 3156112 w 12139750"/>
              <a:gd name="connsiteY2341" fmla="*/ 3180110 h 6858290"/>
              <a:gd name="connsiteX2342" fmla="*/ 2811996 w 12139750"/>
              <a:gd name="connsiteY2342" fmla="*/ 3231537 h 6858290"/>
              <a:gd name="connsiteX2343" fmla="*/ 2741653 w 12139750"/>
              <a:gd name="connsiteY2343" fmla="*/ 3180110 h 6858290"/>
              <a:gd name="connsiteX2344" fmla="*/ 2741653 w 12139750"/>
              <a:gd name="connsiteY2344" fmla="*/ 3170583 h 6858290"/>
              <a:gd name="connsiteX2345" fmla="*/ 2792985 w 12139750"/>
              <a:gd name="connsiteY2345" fmla="*/ 3109626 h 6858290"/>
              <a:gd name="connsiteX2346" fmla="*/ 3139002 w 12139750"/>
              <a:gd name="connsiteY2346" fmla="*/ 3058190 h 6858290"/>
              <a:gd name="connsiteX2347" fmla="*/ 9858217 w 12139750"/>
              <a:gd name="connsiteY2347" fmla="*/ 2803158 h 6858290"/>
              <a:gd name="connsiteX2348" fmla="*/ 9867044 w 12139750"/>
              <a:gd name="connsiteY2348" fmla="*/ 2807683 h 6858290"/>
              <a:gd name="connsiteX2349" fmla="*/ 9867044 w 12139750"/>
              <a:gd name="connsiteY2349" fmla="*/ 2826731 h 6858290"/>
              <a:gd name="connsiteX2350" fmla="*/ 9536890 w 12139750"/>
              <a:gd name="connsiteY2350" fmla="*/ 3139152 h 6858290"/>
              <a:gd name="connsiteX2351" fmla="*/ 9517806 w 12139750"/>
              <a:gd name="connsiteY2351" fmla="*/ 3139152 h 6858290"/>
              <a:gd name="connsiteX2352" fmla="*/ 9513989 w 12139750"/>
              <a:gd name="connsiteY2352" fmla="*/ 3129628 h 6858290"/>
              <a:gd name="connsiteX2353" fmla="*/ 9519714 w 12139750"/>
              <a:gd name="connsiteY2353" fmla="*/ 3120101 h 6858290"/>
              <a:gd name="connsiteX2354" fmla="*/ 9847960 w 12139750"/>
              <a:gd name="connsiteY2354" fmla="*/ 2805777 h 6858290"/>
              <a:gd name="connsiteX2355" fmla="*/ 9858217 w 12139750"/>
              <a:gd name="connsiteY2355" fmla="*/ 2803158 h 6858290"/>
              <a:gd name="connsiteX2356" fmla="*/ 9280452 w 12139750"/>
              <a:gd name="connsiteY2356" fmla="*/ 2798866 h 6858290"/>
              <a:gd name="connsiteX2357" fmla="*/ 9292080 w 12139750"/>
              <a:gd name="connsiteY2357" fmla="*/ 2804804 h 6858290"/>
              <a:gd name="connsiteX2358" fmla="*/ 9290182 w 12139750"/>
              <a:gd name="connsiteY2358" fmla="*/ 2829495 h 6858290"/>
              <a:gd name="connsiteX2359" fmla="*/ 8961745 w 12139750"/>
              <a:gd name="connsiteY2359" fmla="*/ 3118217 h 6858290"/>
              <a:gd name="connsiteX2360" fmla="*/ 8937064 w 12139750"/>
              <a:gd name="connsiteY2360" fmla="*/ 3116319 h 6858290"/>
              <a:gd name="connsiteX2361" fmla="*/ 8931369 w 12139750"/>
              <a:gd name="connsiteY2361" fmla="*/ 3104922 h 6858290"/>
              <a:gd name="connsiteX2362" fmla="*/ 8937064 w 12139750"/>
              <a:gd name="connsiteY2362" fmla="*/ 3091625 h 6858290"/>
              <a:gd name="connsiteX2363" fmla="*/ 9267400 w 12139750"/>
              <a:gd name="connsiteY2363" fmla="*/ 2802904 h 6858290"/>
              <a:gd name="connsiteX2364" fmla="*/ 9280452 w 12139750"/>
              <a:gd name="connsiteY2364" fmla="*/ 2798866 h 6858290"/>
              <a:gd name="connsiteX2365" fmla="*/ 10442418 w 12139750"/>
              <a:gd name="connsiteY2365" fmla="*/ 2798842 h 6858290"/>
              <a:gd name="connsiteX2366" fmla="*/ 10454106 w 12139750"/>
              <a:gd name="connsiteY2366" fmla="*/ 2804777 h 6858290"/>
              <a:gd name="connsiteX2367" fmla="*/ 10454106 w 12139750"/>
              <a:gd name="connsiteY2367" fmla="*/ 2829471 h 6858290"/>
              <a:gd name="connsiteX2368" fmla="*/ 10122059 w 12139750"/>
              <a:gd name="connsiteY2368" fmla="*/ 3118194 h 6858290"/>
              <a:gd name="connsiteX2369" fmla="*/ 10097251 w 12139750"/>
              <a:gd name="connsiteY2369" fmla="*/ 3116295 h 6858290"/>
              <a:gd name="connsiteX2370" fmla="*/ 10093434 w 12139750"/>
              <a:gd name="connsiteY2370" fmla="*/ 3104898 h 6858290"/>
              <a:gd name="connsiteX2371" fmla="*/ 10099159 w 12139750"/>
              <a:gd name="connsiteY2371" fmla="*/ 3091603 h 6858290"/>
              <a:gd name="connsiteX2372" fmla="*/ 10429298 w 12139750"/>
              <a:gd name="connsiteY2372" fmla="*/ 2802878 h 6858290"/>
              <a:gd name="connsiteX2373" fmla="*/ 10442418 w 12139750"/>
              <a:gd name="connsiteY2373" fmla="*/ 2798842 h 6858290"/>
              <a:gd name="connsiteX2374" fmla="*/ 8710745 w 12139750"/>
              <a:gd name="connsiteY2374" fmla="*/ 2792356 h 6858290"/>
              <a:gd name="connsiteX2375" fmla="*/ 8725295 w 12139750"/>
              <a:gd name="connsiteY2375" fmla="*/ 2800675 h 6858290"/>
              <a:gd name="connsiteX2376" fmla="*/ 8723387 w 12139750"/>
              <a:gd name="connsiteY2376" fmla="*/ 2831093 h 6858290"/>
              <a:gd name="connsiteX2377" fmla="*/ 8389446 w 12139750"/>
              <a:gd name="connsiteY2377" fmla="*/ 3099164 h 6858290"/>
              <a:gd name="connsiteX2378" fmla="*/ 8358914 w 12139750"/>
              <a:gd name="connsiteY2378" fmla="*/ 3095358 h 6858290"/>
              <a:gd name="connsiteX2379" fmla="*/ 8355098 w 12139750"/>
              <a:gd name="connsiteY2379" fmla="*/ 3082053 h 6858290"/>
              <a:gd name="connsiteX2380" fmla="*/ 8362731 w 12139750"/>
              <a:gd name="connsiteY2380" fmla="*/ 3064941 h 6858290"/>
              <a:gd name="connsiteX2381" fmla="*/ 8694763 w 12139750"/>
              <a:gd name="connsiteY2381" fmla="*/ 2796872 h 6858290"/>
              <a:gd name="connsiteX2382" fmla="*/ 8710745 w 12139750"/>
              <a:gd name="connsiteY2382" fmla="*/ 2792356 h 6858290"/>
              <a:gd name="connsiteX2383" fmla="*/ 11020609 w 12139750"/>
              <a:gd name="connsiteY2383" fmla="*/ 2792330 h 6858290"/>
              <a:gd name="connsiteX2384" fmla="*/ 11035146 w 12139750"/>
              <a:gd name="connsiteY2384" fmla="*/ 2800648 h 6858290"/>
              <a:gd name="connsiteX2385" fmla="*/ 11031333 w 12139750"/>
              <a:gd name="connsiteY2385" fmla="*/ 2831067 h 6858290"/>
              <a:gd name="connsiteX2386" fmla="*/ 10699581 w 12139750"/>
              <a:gd name="connsiteY2386" fmla="*/ 3099136 h 6858290"/>
              <a:gd name="connsiteX2387" fmla="*/ 10669075 w 12139750"/>
              <a:gd name="connsiteY2387" fmla="*/ 3095334 h 6858290"/>
              <a:gd name="connsiteX2388" fmla="*/ 10663355 w 12139750"/>
              <a:gd name="connsiteY2388" fmla="*/ 3082025 h 6858290"/>
              <a:gd name="connsiteX2389" fmla="*/ 10672888 w 12139750"/>
              <a:gd name="connsiteY2389" fmla="*/ 3064914 h 6858290"/>
              <a:gd name="connsiteX2390" fmla="*/ 11004641 w 12139750"/>
              <a:gd name="connsiteY2390" fmla="*/ 2796846 h 6858290"/>
              <a:gd name="connsiteX2391" fmla="*/ 11020609 w 12139750"/>
              <a:gd name="connsiteY2391" fmla="*/ 2792330 h 6858290"/>
              <a:gd name="connsiteX2392" fmla="*/ 8147926 w 12139750"/>
              <a:gd name="connsiteY2392" fmla="*/ 2787441 h 6858290"/>
              <a:gd name="connsiteX2393" fmla="*/ 8164595 w 12139750"/>
              <a:gd name="connsiteY2393" fmla="*/ 2798157 h 6858290"/>
              <a:gd name="connsiteX2394" fmla="*/ 8158880 w 12139750"/>
              <a:gd name="connsiteY2394" fmla="*/ 2834352 h 6858290"/>
              <a:gd name="connsiteX2395" fmla="*/ 7825500 w 12139750"/>
              <a:gd name="connsiteY2395" fmla="*/ 3078192 h 6858290"/>
              <a:gd name="connsiteX2396" fmla="*/ 7789305 w 12139750"/>
              <a:gd name="connsiteY2396" fmla="*/ 3072478 h 6858290"/>
              <a:gd name="connsiteX2397" fmla="*/ 7783590 w 12139750"/>
              <a:gd name="connsiteY2397" fmla="*/ 3057236 h 6858290"/>
              <a:gd name="connsiteX2398" fmla="*/ 7795020 w 12139750"/>
              <a:gd name="connsiteY2398" fmla="*/ 3036282 h 6858290"/>
              <a:gd name="connsiteX2399" fmla="*/ 8128399 w 12139750"/>
              <a:gd name="connsiteY2399" fmla="*/ 2792440 h 6858290"/>
              <a:gd name="connsiteX2400" fmla="*/ 8147926 w 12139750"/>
              <a:gd name="connsiteY2400" fmla="*/ 2787441 h 6858290"/>
              <a:gd name="connsiteX2401" fmla="*/ 11592432 w 12139750"/>
              <a:gd name="connsiteY2401" fmla="*/ 2787434 h 6858290"/>
              <a:gd name="connsiteX2402" fmla="*/ 11609830 w 12139750"/>
              <a:gd name="connsiteY2402" fmla="*/ 2798149 h 6858290"/>
              <a:gd name="connsiteX2403" fmla="*/ 11604110 w 12139750"/>
              <a:gd name="connsiteY2403" fmla="*/ 2834343 h 6858290"/>
              <a:gd name="connsiteX2404" fmla="*/ 11270458 w 12139750"/>
              <a:gd name="connsiteY2404" fmla="*/ 3078185 h 6858290"/>
              <a:gd name="connsiteX2405" fmla="*/ 11234233 w 12139750"/>
              <a:gd name="connsiteY2405" fmla="*/ 3072469 h 6858290"/>
              <a:gd name="connsiteX2406" fmla="*/ 11228513 w 12139750"/>
              <a:gd name="connsiteY2406" fmla="*/ 3057229 h 6858290"/>
              <a:gd name="connsiteX2407" fmla="*/ 11238046 w 12139750"/>
              <a:gd name="connsiteY2407" fmla="*/ 3036275 h 6858290"/>
              <a:gd name="connsiteX2408" fmla="*/ 11573605 w 12139750"/>
              <a:gd name="connsiteY2408" fmla="*/ 2792433 h 6858290"/>
              <a:gd name="connsiteX2409" fmla="*/ 11592432 w 12139750"/>
              <a:gd name="connsiteY2409" fmla="*/ 2787434 h 6858290"/>
              <a:gd name="connsiteX2410" fmla="*/ 12139750 w 12139750"/>
              <a:gd name="connsiteY2410" fmla="*/ 2786083 h 6858290"/>
              <a:gd name="connsiteX2411" fmla="*/ 12139750 w 12139750"/>
              <a:gd name="connsiteY2411" fmla="*/ 2858148 h 6858290"/>
              <a:gd name="connsiteX2412" fmla="*/ 11834946 w 12139750"/>
              <a:gd name="connsiteY2412" fmla="*/ 3059175 h 6858290"/>
              <a:gd name="connsiteX2413" fmla="*/ 11793035 w 12139750"/>
              <a:gd name="connsiteY2413" fmla="*/ 3049691 h 6858290"/>
              <a:gd name="connsiteX2414" fmla="*/ 11787320 w 12139750"/>
              <a:gd name="connsiteY2414" fmla="*/ 3032623 h 6858290"/>
              <a:gd name="connsiteX2415" fmla="*/ 11800655 w 12139750"/>
              <a:gd name="connsiteY2415" fmla="*/ 3007970 h 6858290"/>
              <a:gd name="connsiteX2416" fmla="*/ 12135940 w 12139750"/>
              <a:gd name="connsiteY2416" fmla="*/ 2787978 h 6858290"/>
              <a:gd name="connsiteX2417" fmla="*/ 12139750 w 12139750"/>
              <a:gd name="connsiteY2417" fmla="*/ 2786083 h 6858290"/>
              <a:gd name="connsiteX2418" fmla="*/ 7592452 w 12139750"/>
              <a:gd name="connsiteY2418" fmla="*/ 2782900 h 6858290"/>
              <a:gd name="connsiteX2419" fmla="*/ 7610550 w 12139750"/>
              <a:gd name="connsiteY2419" fmla="*/ 2795241 h 6858290"/>
              <a:gd name="connsiteX2420" fmla="*/ 7602930 w 12139750"/>
              <a:gd name="connsiteY2420" fmla="*/ 2837016 h 6858290"/>
              <a:gd name="connsiteX2421" fmla="*/ 7267645 w 12139750"/>
              <a:gd name="connsiteY2421" fmla="*/ 3059173 h 6858290"/>
              <a:gd name="connsiteX2422" fmla="*/ 7225735 w 12139750"/>
              <a:gd name="connsiteY2422" fmla="*/ 3049680 h 6858290"/>
              <a:gd name="connsiteX2423" fmla="*/ 7220020 w 12139750"/>
              <a:gd name="connsiteY2423" fmla="*/ 3032591 h 6858290"/>
              <a:gd name="connsiteX2424" fmla="*/ 7233355 w 12139750"/>
              <a:gd name="connsiteY2424" fmla="*/ 3007907 h 6858290"/>
              <a:gd name="connsiteX2425" fmla="*/ 7568639 w 12139750"/>
              <a:gd name="connsiteY2425" fmla="*/ 2787648 h 6858290"/>
              <a:gd name="connsiteX2426" fmla="*/ 7592452 w 12139750"/>
              <a:gd name="connsiteY2426" fmla="*/ 2782900 h 6858290"/>
              <a:gd name="connsiteX2427" fmla="*/ 7041900 w 12139750"/>
              <a:gd name="connsiteY2427" fmla="*/ 2777758 h 6858290"/>
              <a:gd name="connsiteX2428" fmla="*/ 7062856 w 12139750"/>
              <a:gd name="connsiteY2428" fmla="*/ 2792757 h 6858290"/>
              <a:gd name="connsiteX2429" fmla="*/ 7051425 w 12139750"/>
              <a:gd name="connsiteY2429" fmla="*/ 2840384 h 6858290"/>
              <a:gd name="connsiteX2430" fmla="*/ 6714236 w 12139750"/>
              <a:gd name="connsiteY2430" fmla="*/ 3038503 h 6858290"/>
              <a:gd name="connsiteX2431" fmla="*/ 6666610 w 12139750"/>
              <a:gd name="connsiteY2431" fmla="*/ 3027077 h 6858290"/>
              <a:gd name="connsiteX2432" fmla="*/ 6662800 w 12139750"/>
              <a:gd name="connsiteY2432" fmla="*/ 3009931 h 6858290"/>
              <a:gd name="connsiteX2433" fmla="*/ 6679945 w 12139750"/>
              <a:gd name="connsiteY2433" fmla="*/ 2979450 h 6858290"/>
              <a:gd name="connsiteX2434" fmla="*/ 7015230 w 12139750"/>
              <a:gd name="connsiteY2434" fmla="*/ 2781330 h 6858290"/>
              <a:gd name="connsiteX2435" fmla="*/ 7041900 w 12139750"/>
              <a:gd name="connsiteY2435" fmla="*/ 2777758 h 6858290"/>
              <a:gd name="connsiteX2436" fmla="*/ 6499388 w 12139750"/>
              <a:gd name="connsiteY2436" fmla="*/ 2774400 h 6858290"/>
              <a:gd name="connsiteX2437" fmla="*/ 6521517 w 12139750"/>
              <a:gd name="connsiteY2437" fmla="*/ 2793615 h 6858290"/>
              <a:gd name="connsiteX2438" fmla="*/ 6506288 w 12139750"/>
              <a:gd name="connsiteY2438" fmla="*/ 2844865 h 6858290"/>
              <a:gd name="connsiteX2439" fmla="*/ 6167449 w 12139750"/>
              <a:gd name="connsiteY2439" fmla="*/ 3019490 h 6858290"/>
              <a:gd name="connsiteX2440" fmla="*/ 6116053 w 12139750"/>
              <a:gd name="connsiteY2440" fmla="*/ 3002408 h 6858290"/>
              <a:gd name="connsiteX2441" fmla="*/ 6110342 w 12139750"/>
              <a:gd name="connsiteY2441" fmla="*/ 2985324 h 6858290"/>
              <a:gd name="connsiteX2442" fmla="*/ 6131281 w 12139750"/>
              <a:gd name="connsiteY2442" fmla="*/ 2951160 h 6858290"/>
              <a:gd name="connsiteX2443" fmla="*/ 6470120 w 12139750"/>
              <a:gd name="connsiteY2443" fmla="*/ 2776533 h 6858290"/>
              <a:gd name="connsiteX2444" fmla="*/ 6499388 w 12139750"/>
              <a:gd name="connsiteY2444" fmla="*/ 2774400 h 6858290"/>
              <a:gd name="connsiteX2445" fmla="*/ 5959672 w 12139750"/>
              <a:gd name="connsiteY2445" fmla="*/ 2769256 h 6858290"/>
              <a:gd name="connsiteX2446" fmla="*/ 5983314 w 12139750"/>
              <a:gd name="connsiteY2446" fmla="*/ 2791133 h 6858290"/>
              <a:gd name="connsiteX2447" fmla="*/ 5962297 w 12139750"/>
              <a:gd name="connsiteY2447" fmla="*/ 2848210 h 6858290"/>
              <a:gd name="connsiteX2448" fmla="*/ 5620299 w 12139750"/>
              <a:gd name="connsiteY2448" fmla="*/ 3000418 h 6858290"/>
              <a:gd name="connsiteX2449" fmla="*/ 5564892 w 12139750"/>
              <a:gd name="connsiteY2449" fmla="*/ 2979489 h 6858290"/>
              <a:gd name="connsiteX2450" fmla="*/ 5561071 w 12139750"/>
              <a:gd name="connsiteY2450" fmla="*/ 2960466 h 6858290"/>
              <a:gd name="connsiteX2451" fmla="*/ 5585909 w 12139750"/>
              <a:gd name="connsiteY2451" fmla="*/ 2922412 h 6858290"/>
              <a:gd name="connsiteX2452" fmla="*/ 5925996 w 12139750"/>
              <a:gd name="connsiteY2452" fmla="*/ 2770208 h 6858290"/>
              <a:gd name="connsiteX2453" fmla="*/ 5959672 w 12139750"/>
              <a:gd name="connsiteY2453" fmla="*/ 2769256 h 6858290"/>
              <a:gd name="connsiteX2454" fmla="*/ 399603 w 12139750"/>
              <a:gd name="connsiteY2454" fmla="*/ 2769241 h 6858290"/>
              <a:gd name="connsiteX2455" fmla="*/ 423874 w 12139750"/>
              <a:gd name="connsiteY2455" fmla="*/ 2791121 h 6858290"/>
              <a:gd name="connsiteX2456" fmla="*/ 401030 w 12139750"/>
              <a:gd name="connsiteY2456" fmla="*/ 2848199 h 6858290"/>
              <a:gd name="connsiteX2457" fmla="*/ 62187 w 12139750"/>
              <a:gd name="connsiteY2457" fmla="*/ 3000404 h 6858290"/>
              <a:gd name="connsiteX2458" fmla="*/ 6982 w 12139750"/>
              <a:gd name="connsiteY2458" fmla="*/ 2979476 h 6858290"/>
              <a:gd name="connsiteX2459" fmla="*/ 3175 w 12139750"/>
              <a:gd name="connsiteY2459" fmla="*/ 2960451 h 6858290"/>
              <a:gd name="connsiteX2460" fmla="*/ 27922 w 12139750"/>
              <a:gd name="connsiteY2460" fmla="*/ 2922399 h 6858290"/>
              <a:gd name="connsiteX2461" fmla="*/ 366765 w 12139750"/>
              <a:gd name="connsiteY2461" fmla="*/ 2770194 h 6858290"/>
              <a:gd name="connsiteX2462" fmla="*/ 399603 w 12139750"/>
              <a:gd name="connsiteY2462" fmla="*/ 2769241 h 6858290"/>
              <a:gd name="connsiteX2463" fmla="*/ 5396029 w 12139750"/>
              <a:gd name="connsiteY2463" fmla="*/ 2760546 h 6858290"/>
              <a:gd name="connsiteX2464" fmla="*/ 5437255 w 12139750"/>
              <a:gd name="connsiteY2464" fmla="*/ 2790586 h 6858290"/>
              <a:gd name="connsiteX2465" fmla="*/ 5410604 w 12139750"/>
              <a:gd name="connsiteY2465" fmla="*/ 2851628 h 6858290"/>
              <a:gd name="connsiteX2466" fmla="*/ 5069849 w 12139750"/>
              <a:gd name="connsiteY2466" fmla="*/ 2981344 h 6858290"/>
              <a:gd name="connsiteX2467" fmla="*/ 5008938 w 12139750"/>
              <a:gd name="connsiteY2467" fmla="*/ 2954638 h 6858290"/>
              <a:gd name="connsiteX2468" fmla="*/ 5007035 w 12139750"/>
              <a:gd name="connsiteY2468" fmla="*/ 2937469 h 6858290"/>
              <a:gd name="connsiteX2469" fmla="*/ 5037491 w 12139750"/>
              <a:gd name="connsiteY2469" fmla="*/ 2893596 h 6858290"/>
              <a:gd name="connsiteX2470" fmla="*/ 5378242 w 12139750"/>
              <a:gd name="connsiteY2470" fmla="*/ 2763882 h 6858290"/>
              <a:gd name="connsiteX2471" fmla="*/ 5396029 w 12139750"/>
              <a:gd name="connsiteY2471" fmla="*/ 2760546 h 6858290"/>
              <a:gd name="connsiteX2472" fmla="*/ 930705 w 12139750"/>
              <a:gd name="connsiteY2472" fmla="*/ 2760528 h 6858290"/>
              <a:gd name="connsiteX2473" fmla="*/ 973124 w 12139750"/>
              <a:gd name="connsiteY2473" fmla="*/ 2790570 h 6858290"/>
              <a:gd name="connsiteX2474" fmla="*/ 946396 w 12139750"/>
              <a:gd name="connsiteY2474" fmla="*/ 2851614 h 6858290"/>
              <a:gd name="connsiteX2475" fmla="*/ 604662 w 12139750"/>
              <a:gd name="connsiteY2475" fmla="*/ 2981328 h 6858290"/>
              <a:gd name="connsiteX2476" fmla="*/ 543570 w 12139750"/>
              <a:gd name="connsiteY2476" fmla="*/ 2954621 h 6858290"/>
              <a:gd name="connsiteX2477" fmla="*/ 539752 w 12139750"/>
              <a:gd name="connsiteY2477" fmla="*/ 2937453 h 6858290"/>
              <a:gd name="connsiteX2478" fmla="*/ 570298 w 12139750"/>
              <a:gd name="connsiteY2478" fmla="*/ 2893580 h 6858290"/>
              <a:gd name="connsiteX2479" fmla="*/ 912032 w 12139750"/>
              <a:gd name="connsiteY2479" fmla="*/ 2763867 h 6858290"/>
              <a:gd name="connsiteX2480" fmla="*/ 930705 w 12139750"/>
              <a:gd name="connsiteY2480" fmla="*/ 2760528 h 6858290"/>
              <a:gd name="connsiteX2481" fmla="*/ 4845195 w 12139750"/>
              <a:gd name="connsiteY2481" fmla="*/ 2755586 h 6858290"/>
              <a:gd name="connsiteX2482" fmla="*/ 4889878 w 12139750"/>
              <a:gd name="connsiteY2482" fmla="*/ 2791428 h 6858290"/>
              <a:gd name="connsiteX2483" fmla="*/ 4855629 w 12139750"/>
              <a:gd name="connsiteY2483" fmla="*/ 2856106 h 6858290"/>
              <a:gd name="connsiteX2484" fmla="*/ 4513213 w 12139750"/>
              <a:gd name="connsiteY2484" fmla="*/ 2962635 h 6858290"/>
              <a:gd name="connsiteX2485" fmla="*/ 4448534 w 12139750"/>
              <a:gd name="connsiteY2485" fmla="*/ 2928394 h 6858290"/>
              <a:gd name="connsiteX2486" fmla="*/ 4446631 w 12139750"/>
              <a:gd name="connsiteY2486" fmla="*/ 2913176 h 6858290"/>
              <a:gd name="connsiteX2487" fmla="*/ 4482778 w 12139750"/>
              <a:gd name="connsiteY2487" fmla="*/ 2863715 h 6858290"/>
              <a:gd name="connsiteX2488" fmla="*/ 4825187 w 12139750"/>
              <a:gd name="connsiteY2488" fmla="*/ 2757192 h 6858290"/>
              <a:gd name="connsiteX2489" fmla="*/ 4845195 w 12139750"/>
              <a:gd name="connsiteY2489" fmla="*/ 2755586 h 6858290"/>
              <a:gd name="connsiteX2490" fmla="*/ 1482623 w 12139750"/>
              <a:gd name="connsiteY2490" fmla="*/ 2755567 h 6858290"/>
              <a:gd name="connsiteX2491" fmla="*/ 1525577 w 12139750"/>
              <a:gd name="connsiteY2491" fmla="*/ 2791412 h 6858290"/>
              <a:gd name="connsiteX2492" fmla="*/ 1493123 w 12139750"/>
              <a:gd name="connsiteY2492" fmla="*/ 2856090 h 6858290"/>
              <a:gd name="connsiteX2493" fmla="*/ 1149495 w 12139750"/>
              <a:gd name="connsiteY2493" fmla="*/ 2962617 h 6858290"/>
              <a:gd name="connsiteX2494" fmla="*/ 1084588 w 12139750"/>
              <a:gd name="connsiteY2494" fmla="*/ 2928375 h 6858290"/>
              <a:gd name="connsiteX2495" fmla="*/ 1082679 w 12139750"/>
              <a:gd name="connsiteY2495" fmla="*/ 2913158 h 6858290"/>
              <a:gd name="connsiteX2496" fmla="*/ 1118950 w 12139750"/>
              <a:gd name="connsiteY2496" fmla="*/ 2863698 h 6858290"/>
              <a:gd name="connsiteX2497" fmla="*/ 1462578 w 12139750"/>
              <a:gd name="connsiteY2497" fmla="*/ 2757173 h 6858290"/>
              <a:gd name="connsiteX2498" fmla="*/ 1482623 w 12139750"/>
              <a:gd name="connsiteY2498" fmla="*/ 2755567 h 6858290"/>
              <a:gd name="connsiteX2499" fmla="*/ 4291652 w 12139750"/>
              <a:gd name="connsiteY2499" fmla="*/ 2750401 h 6858290"/>
              <a:gd name="connsiteX2500" fmla="*/ 4335825 w 12139750"/>
              <a:gd name="connsiteY2500" fmla="*/ 2792587 h 6858290"/>
              <a:gd name="connsiteX2501" fmla="*/ 4295845 w 12139750"/>
              <a:gd name="connsiteY2501" fmla="*/ 2859470 h 6858290"/>
              <a:gd name="connsiteX2502" fmla="*/ 3953197 w 12139750"/>
              <a:gd name="connsiteY2502" fmla="*/ 2943550 h 6858290"/>
              <a:gd name="connsiteX2503" fmla="*/ 3884664 w 12139750"/>
              <a:gd name="connsiteY2503" fmla="*/ 2901512 h 6858290"/>
              <a:gd name="connsiteX2504" fmla="*/ 3884664 w 12139750"/>
              <a:gd name="connsiteY2504" fmla="*/ 2888136 h 6858290"/>
              <a:gd name="connsiteX2505" fmla="*/ 3926546 w 12139750"/>
              <a:gd name="connsiteY2505" fmla="*/ 2834629 h 6858290"/>
              <a:gd name="connsiteX2506" fmla="*/ 4269194 w 12139750"/>
              <a:gd name="connsiteY2506" fmla="*/ 2750551 h 6858290"/>
              <a:gd name="connsiteX2507" fmla="*/ 4291652 w 12139750"/>
              <a:gd name="connsiteY2507" fmla="*/ 2750401 h 6858290"/>
              <a:gd name="connsiteX2508" fmla="*/ 2037929 w 12139750"/>
              <a:gd name="connsiteY2508" fmla="*/ 2750381 h 6858290"/>
              <a:gd name="connsiteX2509" fmla="*/ 2083145 w 12139750"/>
              <a:gd name="connsiteY2509" fmla="*/ 2792570 h 6858290"/>
              <a:gd name="connsiteX2510" fmla="*/ 2043190 w 12139750"/>
              <a:gd name="connsiteY2510" fmla="*/ 2859451 h 6858290"/>
              <a:gd name="connsiteX2511" fmla="*/ 1698856 w 12139750"/>
              <a:gd name="connsiteY2511" fmla="*/ 2943529 h 6858290"/>
              <a:gd name="connsiteX2512" fmla="*/ 1632272 w 12139750"/>
              <a:gd name="connsiteY2512" fmla="*/ 2901491 h 6858290"/>
              <a:gd name="connsiteX2513" fmla="*/ 1630369 w 12139750"/>
              <a:gd name="connsiteY2513" fmla="*/ 2888114 h 6858290"/>
              <a:gd name="connsiteX2514" fmla="*/ 1672222 w 12139750"/>
              <a:gd name="connsiteY2514" fmla="*/ 2834609 h 6858290"/>
              <a:gd name="connsiteX2515" fmla="*/ 2016556 w 12139750"/>
              <a:gd name="connsiteY2515" fmla="*/ 2750531 h 6858290"/>
              <a:gd name="connsiteX2516" fmla="*/ 2037929 w 12139750"/>
              <a:gd name="connsiteY2516" fmla="*/ 2750381 h 6858290"/>
              <a:gd name="connsiteX2517" fmla="*/ 3710449 w 12139750"/>
              <a:gd name="connsiteY2517" fmla="*/ 2745770 h 6858290"/>
              <a:gd name="connsiteX2518" fmla="*/ 3778943 w 12139750"/>
              <a:gd name="connsiteY2518" fmla="*/ 2795297 h 6858290"/>
              <a:gd name="connsiteX2519" fmla="*/ 3731376 w 12139750"/>
              <a:gd name="connsiteY2519" fmla="*/ 2863880 h 6858290"/>
              <a:gd name="connsiteX2520" fmla="*/ 3385145 w 12139750"/>
              <a:gd name="connsiteY2520" fmla="*/ 2924842 h 6858290"/>
              <a:gd name="connsiteX2521" fmla="*/ 3316655 w 12139750"/>
              <a:gd name="connsiteY2521" fmla="*/ 2875310 h 6858290"/>
              <a:gd name="connsiteX2522" fmla="*/ 3314753 w 12139750"/>
              <a:gd name="connsiteY2522" fmla="*/ 2865784 h 6858290"/>
              <a:gd name="connsiteX2523" fmla="*/ 3364218 w 12139750"/>
              <a:gd name="connsiteY2523" fmla="*/ 2806729 h 6858290"/>
              <a:gd name="connsiteX2524" fmla="*/ 3710449 w 12139750"/>
              <a:gd name="connsiteY2524" fmla="*/ 2745770 h 6858290"/>
              <a:gd name="connsiteX2525" fmla="*/ 2576948 w 12139750"/>
              <a:gd name="connsiteY2525" fmla="*/ 2745748 h 6858290"/>
              <a:gd name="connsiteX2526" fmla="*/ 2645436 w 12139750"/>
              <a:gd name="connsiteY2526" fmla="*/ 2795278 h 6858290"/>
              <a:gd name="connsiteX2527" fmla="*/ 2595973 w 12139750"/>
              <a:gd name="connsiteY2527" fmla="*/ 2863857 h 6858290"/>
              <a:gd name="connsiteX2528" fmla="*/ 2251629 w 12139750"/>
              <a:gd name="connsiteY2528" fmla="*/ 2924818 h 6858290"/>
              <a:gd name="connsiteX2529" fmla="*/ 2183141 w 12139750"/>
              <a:gd name="connsiteY2529" fmla="*/ 2875287 h 6858290"/>
              <a:gd name="connsiteX2530" fmla="*/ 2181238 w 12139750"/>
              <a:gd name="connsiteY2530" fmla="*/ 2865763 h 6858290"/>
              <a:gd name="connsiteX2531" fmla="*/ 2230702 w 12139750"/>
              <a:gd name="connsiteY2531" fmla="*/ 2806708 h 6858290"/>
              <a:gd name="connsiteX2532" fmla="*/ 2576948 w 12139750"/>
              <a:gd name="connsiteY2532" fmla="*/ 2745748 h 6858290"/>
              <a:gd name="connsiteX2533" fmla="*/ 3140488 w 12139750"/>
              <a:gd name="connsiteY2533" fmla="*/ 2739132 h 6858290"/>
              <a:gd name="connsiteX2534" fmla="*/ 3210926 w 12139750"/>
              <a:gd name="connsiteY2534" fmla="*/ 2796698 h 6858290"/>
              <a:gd name="connsiteX2535" fmla="*/ 3153818 w 12139750"/>
              <a:gd name="connsiteY2535" fmla="*/ 2867700 h 6858290"/>
              <a:gd name="connsiteX2536" fmla="*/ 2807329 w 12139750"/>
              <a:gd name="connsiteY2536" fmla="*/ 2906081 h 6858290"/>
              <a:gd name="connsiteX2537" fmla="*/ 2736893 w 12139750"/>
              <a:gd name="connsiteY2537" fmla="*/ 2848510 h 6858290"/>
              <a:gd name="connsiteX2538" fmla="*/ 2736893 w 12139750"/>
              <a:gd name="connsiteY2538" fmla="*/ 2840833 h 6858290"/>
              <a:gd name="connsiteX2539" fmla="*/ 2794003 w 12139750"/>
              <a:gd name="connsiteY2539" fmla="*/ 2777510 h 6858290"/>
              <a:gd name="connsiteX2540" fmla="*/ 3140488 w 12139750"/>
              <a:gd name="connsiteY2540" fmla="*/ 2739132 h 6858290"/>
              <a:gd name="connsiteX2541" fmla="*/ 9848938 w 12139750"/>
              <a:gd name="connsiteY2541" fmla="*/ 2478758 h 6858290"/>
              <a:gd name="connsiteX2542" fmla="*/ 9864192 w 12139750"/>
              <a:gd name="connsiteY2542" fmla="*/ 2478758 h 6858290"/>
              <a:gd name="connsiteX2543" fmla="*/ 9864192 w 12139750"/>
              <a:gd name="connsiteY2543" fmla="*/ 2494003 h 6858290"/>
              <a:gd name="connsiteX2544" fmla="*/ 9536232 w 12139750"/>
              <a:gd name="connsiteY2544" fmla="*/ 2823558 h 6858290"/>
              <a:gd name="connsiteX2545" fmla="*/ 9520978 w 12139750"/>
              <a:gd name="connsiteY2545" fmla="*/ 2823558 h 6858290"/>
              <a:gd name="connsiteX2546" fmla="*/ 9517164 w 12139750"/>
              <a:gd name="connsiteY2546" fmla="*/ 2815937 h 6858290"/>
              <a:gd name="connsiteX2547" fmla="*/ 9520978 w 12139750"/>
              <a:gd name="connsiteY2547" fmla="*/ 2808317 h 6858290"/>
              <a:gd name="connsiteX2548" fmla="*/ 9848938 w 12139750"/>
              <a:gd name="connsiteY2548" fmla="*/ 2478758 h 6858290"/>
              <a:gd name="connsiteX2549" fmla="*/ 9280068 w 12139750"/>
              <a:gd name="connsiteY2549" fmla="*/ 2470987 h 6858290"/>
              <a:gd name="connsiteX2550" fmla="*/ 9290784 w 12139750"/>
              <a:gd name="connsiteY2550" fmla="*/ 2476239 h 6858290"/>
              <a:gd name="connsiteX2551" fmla="*/ 9288879 w 12139750"/>
              <a:gd name="connsiteY2551" fmla="*/ 2497260 h 6858290"/>
              <a:gd name="connsiteX2552" fmla="*/ 8959309 w 12139750"/>
              <a:gd name="connsiteY2552" fmla="*/ 2800997 h 6858290"/>
              <a:gd name="connsiteX2553" fmla="*/ 8938354 w 12139750"/>
              <a:gd name="connsiteY2553" fmla="*/ 2800997 h 6858290"/>
              <a:gd name="connsiteX2554" fmla="*/ 8934544 w 12139750"/>
              <a:gd name="connsiteY2554" fmla="*/ 2789535 h 6858290"/>
              <a:gd name="connsiteX2555" fmla="*/ 8938354 w 12139750"/>
              <a:gd name="connsiteY2555" fmla="*/ 2778073 h 6858290"/>
              <a:gd name="connsiteX2556" fmla="*/ 9267924 w 12139750"/>
              <a:gd name="connsiteY2556" fmla="*/ 2474329 h 6858290"/>
              <a:gd name="connsiteX2557" fmla="*/ 9280068 w 12139750"/>
              <a:gd name="connsiteY2557" fmla="*/ 2470987 h 6858290"/>
              <a:gd name="connsiteX2558" fmla="*/ 10440785 w 12139750"/>
              <a:gd name="connsiteY2558" fmla="*/ 2470956 h 6858290"/>
              <a:gd name="connsiteX2559" fmla="*/ 10451262 w 12139750"/>
              <a:gd name="connsiteY2559" fmla="*/ 2476209 h 6858290"/>
              <a:gd name="connsiteX2560" fmla="*/ 10451262 w 12139750"/>
              <a:gd name="connsiteY2560" fmla="*/ 2497223 h 6858290"/>
              <a:gd name="connsiteX2561" fmla="*/ 10121692 w 12139750"/>
              <a:gd name="connsiteY2561" fmla="*/ 2800974 h 6858290"/>
              <a:gd name="connsiteX2562" fmla="*/ 10098832 w 12139750"/>
              <a:gd name="connsiteY2562" fmla="*/ 2800974 h 6858290"/>
              <a:gd name="connsiteX2563" fmla="*/ 10095022 w 12139750"/>
              <a:gd name="connsiteY2563" fmla="*/ 2789511 h 6858290"/>
              <a:gd name="connsiteX2564" fmla="*/ 10100737 w 12139750"/>
              <a:gd name="connsiteY2564" fmla="*/ 2778049 h 6858290"/>
              <a:gd name="connsiteX2565" fmla="*/ 10430307 w 12139750"/>
              <a:gd name="connsiteY2565" fmla="*/ 2474298 h 6858290"/>
              <a:gd name="connsiteX2566" fmla="*/ 10440785 w 12139750"/>
              <a:gd name="connsiteY2566" fmla="*/ 2470956 h 6858290"/>
              <a:gd name="connsiteX2567" fmla="*/ 8710792 w 12139750"/>
              <a:gd name="connsiteY2567" fmla="*/ 2467329 h 6858290"/>
              <a:gd name="connsiteX2568" fmla="*/ 8723695 w 12139750"/>
              <a:gd name="connsiteY2568" fmla="*/ 2474959 h 6858290"/>
              <a:gd name="connsiteX2569" fmla="*/ 8721783 w 12139750"/>
              <a:gd name="connsiteY2569" fmla="*/ 2501658 h 6858290"/>
              <a:gd name="connsiteX2570" fmla="*/ 8389182 w 12139750"/>
              <a:gd name="connsiteY2570" fmla="*/ 2780051 h 6858290"/>
              <a:gd name="connsiteX2571" fmla="*/ 8360509 w 12139750"/>
              <a:gd name="connsiteY2571" fmla="*/ 2778145 h 6858290"/>
              <a:gd name="connsiteX2572" fmla="*/ 8356686 w 12139750"/>
              <a:gd name="connsiteY2572" fmla="*/ 2764800 h 6858290"/>
              <a:gd name="connsiteX2573" fmla="*/ 8364332 w 12139750"/>
              <a:gd name="connsiteY2573" fmla="*/ 2749541 h 6858290"/>
              <a:gd name="connsiteX2574" fmla="*/ 8695022 w 12139750"/>
              <a:gd name="connsiteY2574" fmla="*/ 2471144 h 6858290"/>
              <a:gd name="connsiteX2575" fmla="*/ 8710792 w 12139750"/>
              <a:gd name="connsiteY2575" fmla="*/ 2467329 h 6858290"/>
              <a:gd name="connsiteX2576" fmla="*/ 11018422 w 12139750"/>
              <a:gd name="connsiteY2576" fmla="*/ 2467296 h 6858290"/>
              <a:gd name="connsiteX2577" fmla="*/ 11031984 w 12139750"/>
              <a:gd name="connsiteY2577" fmla="*/ 2474925 h 6858290"/>
              <a:gd name="connsiteX2578" fmla="*/ 11030081 w 12139750"/>
              <a:gd name="connsiteY2578" fmla="*/ 2501621 h 6858290"/>
              <a:gd name="connsiteX2579" fmla="*/ 10698888 w 12139750"/>
              <a:gd name="connsiteY2579" fmla="*/ 2780026 h 6858290"/>
              <a:gd name="connsiteX2580" fmla="*/ 10670337 w 12139750"/>
              <a:gd name="connsiteY2580" fmla="*/ 2778118 h 6858290"/>
              <a:gd name="connsiteX2581" fmla="*/ 10666530 w 12139750"/>
              <a:gd name="connsiteY2581" fmla="*/ 2764770 h 6858290"/>
              <a:gd name="connsiteX2582" fmla="*/ 10672240 w 12139750"/>
              <a:gd name="connsiteY2582" fmla="*/ 2749515 h 6858290"/>
              <a:gd name="connsiteX2583" fmla="*/ 11003433 w 12139750"/>
              <a:gd name="connsiteY2583" fmla="*/ 2471111 h 6858290"/>
              <a:gd name="connsiteX2584" fmla="*/ 11018422 w 12139750"/>
              <a:gd name="connsiteY2584" fmla="*/ 2467296 h 6858290"/>
              <a:gd name="connsiteX2585" fmla="*/ 8147250 w 12139750"/>
              <a:gd name="connsiteY2585" fmla="*/ 2462181 h 6858290"/>
              <a:gd name="connsiteX2586" fmla="*/ 8162992 w 12139750"/>
              <a:gd name="connsiteY2586" fmla="*/ 2470551 h 6858290"/>
              <a:gd name="connsiteX2587" fmla="*/ 8159176 w 12139750"/>
              <a:gd name="connsiteY2587" fmla="*/ 2506900 h 6858290"/>
              <a:gd name="connsiteX2588" fmla="*/ 7825249 w 12139750"/>
              <a:gd name="connsiteY2588" fmla="*/ 2759395 h 6858290"/>
              <a:gd name="connsiteX2589" fmla="*/ 7790902 w 12139750"/>
              <a:gd name="connsiteY2589" fmla="*/ 2755567 h 6858290"/>
              <a:gd name="connsiteX2590" fmla="*/ 7785178 w 12139750"/>
              <a:gd name="connsiteY2590" fmla="*/ 2740262 h 6858290"/>
              <a:gd name="connsiteX2591" fmla="*/ 7794719 w 12139750"/>
              <a:gd name="connsiteY2591" fmla="*/ 2719221 h 6858290"/>
              <a:gd name="connsiteX2592" fmla="*/ 8128645 w 12139750"/>
              <a:gd name="connsiteY2592" fmla="*/ 2466726 h 6858290"/>
              <a:gd name="connsiteX2593" fmla="*/ 8147250 w 12139750"/>
              <a:gd name="connsiteY2593" fmla="*/ 2462181 h 6858290"/>
              <a:gd name="connsiteX2594" fmla="*/ 11591857 w 12139750"/>
              <a:gd name="connsiteY2594" fmla="*/ 2462171 h 6858290"/>
              <a:gd name="connsiteX2595" fmla="*/ 11608260 w 12139750"/>
              <a:gd name="connsiteY2595" fmla="*/ 2470542 h 6858290"/>
              <a:gd name="connsiteX2596" fmla="*/ 11602555 w 12139750"/>
              <a:gd name="connsiteY2596" fmla="*/ 2506889 h 6858290"/>
              <a:gd name="connsiteX2597" fmla="*/ 11271628 w 12139750"/>
              <a:gd name="connsiteY2597" fmla="*/ 2759383 h 6858290"/>
              <a:gd name="connsiteX2598" fmla="*/ 11235492 w 12139750"/>
              <a:gd name="connsiteY2598" fmla="*/ 2755558 h 6858290"/>
              <a:gd name="connsiteX2599" fmla="*/ 11231688 w 12139750"/>
              <a:gd name="connsiteY2599" fmla="*/ 2740254 h 6858290"/>
              <a:gd name="connsiteX2600" fmla="*/ 11241197 w 12139750"/>
              <a:gd name="connsiteY2600" fmla="*/ 2719210 h 6858290"/>
              <a:gd name="connsiteX2601" fmla="*/ 11574027 w 12139750"/>
              <a:gd name="connsiteY2601" fmla="*/ 2466717 h 6858290"/>
              <a:gd name="connsiteX2602" fmla="*/ 11591857 w 12139750"/>
              <a:gd name="connsiteY2602" fmla="*/ 2462171 h 6858290"/>
              <a:gd name="connsiteX2603" fmla="*/ 7591001 w 12139750"/>
              <a:gd name="connsiteY2603" fmla="*/ 2459079 h 6858290"/>
              <a:gd name="connsiteX2604" fmla="*/ 7610543 w 12139750"/>
              <a:gd name="connsiteY2604" fmla="*/ 2471476 h 6858290"/>
              <a:gd name="connsiteX2605" fmla="*/ 7602917 w 12139750"/>
              <a:gd name="connsiteY2605" fmla="*/ 2511529 h 6858290"/>
              <a:gd name="connsiteX2606" fmla="*/ 7267365 w 12139750"/>
              <a:gd name="connsiteY2606" fmla="*/ 2738458 h 6858290"/>
              <a:gd name="connsiteX2607" fmla="*/ 7227327 w 12139750"/>
              <a:gd name="connsiteY2607" fmla="*/ 2730832 h 6858290"/>
              <a:gd name="connsiteX2608" fmla="*/ 7221608 w 12139750"/>
              <a:gd name="connsiteY2608" fmla="*/ 2715570 h 6858290"/>
              <a:gd name="connsiteX2609" fmla="*/ 7234954 w 12139750"/>
              <a:gd name="connsiteY2609" fmla="*/ 2690775 h 6858290"/>
              <a:gd name="connsiteX2610" fmla="*/ 7568599 w 12139750"/>
              <a:gd name="connsiteY2610" fmla="*/ 2463845 h 6858290"/>
              <a:gd name="connsiteX2611" fmla="*/ 7591001 w 12139750"/>
              <a:gd name="connsiteY2611" fmla="*/ 2459079 h 6858290"/>
              <a:gd name="connsiteX2612" fmla="*/ 12139750 w 12139750"/>
              <a:gd name="connsiteY2612" fmla="*/ 2459059 h 6858290"/>
              <a:gd name="connsiteX2613" fmla="*/ 12139750 w 12139750"/>
              <a:gd name="connsiteY2613" fmla="*/ 2529860 h 6858290"/>
              <a:gd name="connsiteX2614" fmla="*/ 11834670 w 12139750"/>
              <a:gd name="connsiteY2614" fmla="*/ 2738414 h 6858290"/>
              <a:gd name="connsiteX2615" fmla="*/ 11792722 w 12139750"/>
              <a:gd name="connsiteY2615" fmla="*/ 2730760 h 6858290"/>
              <a:gd name="connsiteX2616" fmla="*/ 11788908 w 12139750"/>
              <a:gd name="connsiteY2616" fmla="*/ 2715453 h 6858290"/>
              <a:gd name="connsiteX2617" fmla="*/ 11800348 w 12139750"/>
              <a:gd name="connsiteY2617" fmla="*/ 2690576 h 6858290"/>
              <a:gd name="connsiteX2618" fmla="*/ 12135936 w 12139750"/>
              <a:gd name="connsiteY2618" fmla="*/ 2462887 h 6858290"/>
              <a:gd name="connsiteX2619" fmla="*/ 12139750 w 12139750"/>
              <a:gd name="connsiteY2619" fmla="*/ 2459059 h 6858290"/>
              <a:gd name="connsiteX2620" fmla="*/ 7041900 w 12139750"/>
              <a:gd name="connsiteY2620" fmla="*/ 2453933 h 6858290"/>
              <a:gd name="connsiteX2621" fmla="*/ 7062856 w 12139750"/>
              <a:gd name="connsiteY2621" fmla="*/ 2468988 h 6858290"/>
              <a:gd name="connsiteX2622" fmla="*/ 7051425 w 12139750"/>
              <a:gd name="connsiteY2622" fmla="*/ 2516781 h 6858290"/>
              <a:gd name="connsiteX2623" fmla="*/ 6714236 w 12139750"/>
              <a:gd name="connsiteY2623" fmla="*/ 2719384 h 6858290"/>
              <a:gd name="connsiteX2624" fmla="*/ 6668515 w 12139750"/>
              <a:gd name="connsiteY2624" fmla="*/ 2706003 h 6858290"/>
              <a:gd name="connsiteX2625" fmla="*/ 6662800 w 12139750"/>
              <a:gd name="connsiteY2625" fmla="*/ 2688796 h 6858290"/>
              <a:gd name="connsiteX2626" fmla="*/ 6679945 w 12139750"/>
              <a:gd name="connsiteY2626" fmla="*/ 2660125 h 6858290"/>
              <a:gd name="connsiteX2627" fmla="*/ 7015230 w 12139750"/>
              <a:gd name="connsiteY2627" fmla="*/ 2457516 h 6858290"/>
              <a:gd name="connsiteX2628" fmla="*/ 7041900 w 12139750"/>
              <a:gd name="connsiteY2628" fmla="*/ 2453933 h 6858290"/>
              <a:gd name="connsiteX2629" fmla="*/ 6499365 w 12139750"/>
              <a:gd name="connsiteY2629" fmla="*/ 2450542 h 6858290"/>
              <a:gd name="connsiteX2630" fmla="*/ 6521511 w 12139750"/>
              <a:gd name="connsiteY2630" fmla="*/ 2469741 h 6858290"/>
              <a:gd name="connsiteX2631" fmla="*/ 6506270 w 12139750"/>
              <a:gd name="connsiteY2631" fmla="*/ 2520932 h 6858290"/>
              <a:gd name="connsiteX2632" fmla="*/ 6167176 w 12139750"/>
              <a:gd name="connsiteY2632" fmla="*/ 2697234 h 6858290"/>
              <a:gd name="connsiteX2633" fmla="*/ 6115740 w 12139750"/>
              <a:gd name="connsiteY2633" fmla="*/ 2680171 h 6858290"/>
              <a:gd name="connsiteX2634" fmla="*/ 6111930 w 12139750"/>
              <a:gd name="connsiteY2634" fmla="*/ 2663105 h 6858290"/>
              <a:gd name="connsiteX2635" fmla="*/ 6130980 w 12139750"/>
              <a:gd name="connsiteY2635" fmla="*/ 2628984 h 6858290"/>
              <a:gd name="connsiteX2636" fmla="*/ 6470075 w 12139750"/>
              <a:gd name="connsiteY2636" fmla="*/ 2452675 h 6858290"/>
              <a:gd name="connsiteX2637" fmla="*/ 6499365 w 12139750"/>
              <a:gd name="connsiteY2637" fmla="*/ 2450542 h 6858290"/>
              <a:gd name="connsiteX2638" fmla="*/ 5959672 w 12139750"/>
              <a:gd name="connsiteY2638" fmla="*/ 2446994 h 6858290"/>
              <a:gd name="connsiteX2639" fmla="*/ 5983314 w 12139750"/>
              <a:gd name="connsiteY2639" fmla="*/ 2468881 h 6858290"/>
              <a:gd name="connsiteX2640" fmla="*/ 5962297 w 12139750"/>
              <a:gd name="connsiteY2640" fmla="*/ 2525960 h 6858290"/>
              <a:gd name="connsiteX2641" fmla="*/ 5620299 w 12139750"/>
              <a:gd name="connsiteY2641" fmla="*/ 2676247 h 6858290"/>
              <a:gd name="connsiteX2642" fmla="*/ 5564892 w 12139750"/>
              <a:gd name="connsiteY2642" fmla="*/ 2655321 h 6858290"/>
              <a:gd name="connsiteX2643" fmla="*/ 5561071 w 12139750"/>
              <a:gd name="connsiteY2643" fmla="*/ 2638199 h 6858290"/>
              <a:gd name="connsiteX2644" fmla="*/ 5585909 w 12139750"/>
              <a:gd name="connsiteY2644" fmla="*/ 2598249 h 6858290"/>
              <a:gd name="connsiteX2645" fmla="*/ 5925996 w 12139750"/>
              <a:gd name="connsiteY2645" fmla="*/ 2447945 h 6858290"/>
              <a:gd name="connsiteX2646" fmla="*/ 5959672 w 12139750"/>
              <a:gd name="connsiteY2646" fmla="*/ 2446994 h 6858290"/>
              <a:gd name="connsiteX2647" fmla="*/ 399503 w 12139750"/>
              <a:gd name="connsiteY2647" fmla="*/ 2446979 h 6858290"/>
              <a:gd name="connsiteX2648" fmla="*/ 423846 w 12139750"/>
              <a:gd name="connsiteY2648" fmla="*/ 2468864 h 6858290"/>
              <a:gd name="connsiteX2649" fmla="*/ 400935 w 12139750"/>
              <a:gd name="connsiteY2649" fmla="*/ 2525942 h 6858290"/>
              <a:gd name="connsiteX2650" fmla="*/ 61095 w 12139750"/>
              <a:gd name="connsiteY2650" fmla="*/ 2676238 h 6858290"/>
              <a:gd name="connsiteX2651" fmla="*/ 3818 w 12139750"/>
              <a:gd name="connsiteY2651" fmla="*/ 2655311 h 6858290"/>
              <a:gd name="connsiteX2652" fmla="*/ 0 w 12139750"/>
              <a:gd name="connsiteY2652" fmla="*/ 2638187 h 6858290"/>
              <a:gd name="connsiteX2653" fmla="*/ 26729 w 12139750"/>
              <a:gd name="connsiteY2653" fmla="*/ 2598233 h 6858290"/>
              <a:gd name="connsiteX2654" fmla="*/ 366569 w 12139750"/>
              <a:gd name="connsiteY2654" fmla="*/ 2447930 h 6858290"/>
              <a:gd name="connsiteX2655" fmla="*/ 399503 w 12139750"/>
              <a:gd name="connsiteY2655" fmla="*/ 2446979 h 6858290"/>
              <a:gd name="connsiteX2656" fmla="*/ 5396620 w 12139750"/>
              <a:gd name="connsiteY2656" fmla="*/ 2440131 h 6858290"/>
              <a:gd name="connsiteX2657" fmla="*/ 5438856 w 12139750"/>
              <a:gd name="connsiteY2657" fmla="*/ 2471621 h 6858290"/>
              <a:gd name="connsiteX2658" fmla="*/ 5410341 w 12139750"/>
              <a:gd name="connsiteY2658" fmla="*/ 2532340 h 6858290"/>
              <a:gd name="connsiteX2659" fmla="*/ 5070072 w 12139750"/>
              <a:gd name="connsiteY2659" fmla="*/ 2657538 h 6858290"/>
              <a:gd name="connsiteX2660" fmla="*/ 5009250 w 12139750"/>
              <a:gd name="connsiteY2660" fmla="*/ 2629084 h 6858290"/>
              <a:gd name="connsiteX2661" fmla="*/ 5005447 w 12139750"/>
              <a:gd name="connsiteY2661" fmla="*/ 2613907 h 6858290"/>
              <a:gd name="connsiteX2662" fmla="*/ 5037760 w 12139750"/>
              <a:gd name="connsiteY2662" fmla="*/ 2568382 h 6858290"/>
              <a:gd name="connsiteX2663" fmla="*/ 5378027 w 12139750"/>
              <a:gd name="connsiteY2663" fmla="*/ 2443156 h 6858290"/>
              <a:gd name="connsiteX2664" fmla="*/ 5396620 w 12139750"/>
              <a:gd name="connsiteY2664" fmla="*/ 2440131 h 6858290"/>
              <a:gd name="connsiteX2665" fmla="*/ 930705 w 12139750"/>
              <a:gd name="connsiteY2665" fmla="*/ 2440114 h 6858290"/>
              <a:gd name="connsiteX2666" fmla="*/ 973124 w 12139750"/>
              <a:gd name="connsiteY2666" fmla="*/ 2471600 h 6858290"/>
              <a:gd name="connsiteX2667" fmla="*/ 944487 w 12139750"/>
              <a:gd name="connsiteY2667" fmla="*/ 2532315 h 6858290"/>
              <a:gd name="connsiteX2668" fmla="*/ 602753 w 12139750"/>
              <a:gd name="connsiteY2668" fmla="*/ 2657525 h 6858290"/>
              <a:gd name="connsiteX2669" fmla="*/ 541661 w 12139750"/>
              <a:gd name="connsiteY2669" fmla="*/ 2629070 h 6858290"/>
              <a:gd name="connsiteX2670" fmla="*/ 539751 w 12139750"/>
              <a:gd name="connsiteY2670" fmla="*/ 2613892 h 6858290"/>
              <a:gd name="connsiteX2671" fmla="*/ 570297 w 12139750"/>
              <a:gd name="connsiteY2671" fmla="*/ 2568362 h 6858290"/>
              <a:gd name="connsiteX2672" fmla="*/ 912032 w 12139750"/>
              <a:gd name="connsiteY2672" fmla="*/ 2443139 h 6858290"/>
              <a:gd name="connsiteX2673" fmla="*/ 930705 w 12139750"/>
              <a:gd name="connsiteY2673" fmla="*/ 2440114 h 6858290"/>
              <a:gd name="connsiteX2674" fmla="*/ 4847390 w 12139750"/>
              <a:gd name="connsiteY2674" fmla="*/ 2434959 h 6858290"/>
              <a:gd name="connsiteX2675" fmla="*/ 4891123 w 12139750"/>
              <a:gd name="connsiteY2675" fmla="*/ 2472791 h 6858290"/>
              <a:gd name="connsiteX2676" fmla="*/ 4856779 w 12139750"/>
              <a:gd name="connsiteY2676" fmla="*/ 2537664 h 6858290"/>
              <a:gd name="connsiteX2677" fmla="*/ 4513402 w 12139750"/>
              <a:gd name="connsiteY2677" fmla="*/ 2638759 h 6858290"/>
              <a:gd name="connsiteX2678" fmla="*/ 4448539 w 12139750"/>
              <a:gd name="connsiteY2678" fmla="*/ 2602516 h 6858290"/>
              <a:gd name="connsiteX2679" fmla="*/ 4446631 w 12139750"/>
              <a:gd name="connsiteY2679" fmla="*/ 2587256 h 6858290"/>
              <a:gd name="connsiteX2680" fmla="*/ 4482878 w 12139750"/>
              <a:gd name="connsiteY2680" fmla="*/ 2537664 h 6858290"/>
              <a:gd name="connsiteX2681" fmla="*/ 4826251 w 12139750"/>
              <a:gd name="connsiteY2681" fmla="*/ 2436537 h 6858290"/>
              <a:gd name="connsiteX2682" fmla="*/ 4847390 w 12139750"/>
              <a:gd name="connsiteY2682" fmla="*/ 2434959 h 6858290"/>
              <a:gd name="connsiteX2683" fmla="*/ 1482958 w 12139750"/>
              <a:gd name="connsiteY2683" fmla="*/ 2434939 h 6858290"/>
              <a:gd name="connsiteX2684" fmla="*/ 1527491 w 12139750"/>
              <a:gd name="connsiteY2684" fmla="*/ 2472769 h 6858290"/>
              <a:gd name="connsiteX2685" fmla="*/ 1491245 w 12139750"/>
              <a:gd name="connsiteY2685" fmla="*/ 2537636 h 6858290"/>
              <a:gd name="connsiteX2686" fmla="*/ 1147861 w 12139750"/>
              <a:gd name="connsiteY2686" fmla="*/ 2638743 h 6858290"/>
              <a:gd name="connsiteX2687" fmla="*/ 1082999 w 12139750"/>
              <a:gd name="connsiteY2687" fmla="*/ 2602496 h 6858290"/>
              <a:gd name="connsiteX2688" fmla="*/ 1081092 w 12139750"/>
              <a:gd name="connsiteY2688" fmla="*/ 2587234 h 6858290"/>
              <a:gd name="connsiteX2689" fmla="*/ 1119245 w 12139750"/>
              <a:gd name="connsiteY2689" fmla="*/ 2537636 h 6858290"/>
              <a:gd name="connsiteX2690" fmla="*/ 1462630 w 12139750"/>
              <a:gd name="connsiteY2690" fmla="*/ 2436519 h 6858290"/>
              <a:gd name="connsiteX2691" fmla="*/ 1482958 w 12139750"/>
              <a:gd name="connsiteY2691" fmla="*/ 2434939 h 6858290"/>
              <a:gd name="connsiteX2692" fmla="*/ 4270882 w 12139750"/>
              <a:gd name="connsiteY2692" fmla="*/ 2431445 h 6858290"/>
              <a:gd name="connsiteX2693" fmla="*/ 4339323 w 12139750"/>
              <a:gd name="connsiteY2693" fmla="*/ 2475264 h 6858290"/>
              <a:gd name="connsiteX2694" fmla="*/ 4295596 w 12139750"/>
              <a:gd name="connsiteY2694" fmla="*/ 2543855 h 6858290"/>
              <a:gd name="connsiteX2695" fmla="*/ 3951517 w 12139750"/>
              <a:gd name="connsiteY2695" fmla="*/ 2618134 h 6858290"/>
              <a:gd name="connsiteX2696" fmla="*/ 3883076 w 12139750"/>
              <a:gd name="connsiteY2696" fmla="*/ 2574330 h 6858290"/>
              <a:gd name="connsiteX2697" fmla="*/ 3883076 w 12139750"/>
              <a:gd name="connsiteY2697" fmla="*/ 2562902 h 6858290"/>
              <a:gd name="connsiteX2698" fmla="*/ 3926804 w 12139750"/>
              <a:gd name="connsiteY2698" fmla="*/ 2507657 h 6858290"/>
              <a:gd name="connsiteX2699" fmla="*/ 4270882 w 12139750"/>
              <a:gd name="connsiteY2699" fmla="*/ 2431445 h 6858290"/>
              <a:gd name="connsiteX2700" fmla="*/ 2016607 w 12139750"/>
              <a:gd name="connsiteY2700" fmla="*/ 2431425 h 6858290"/>
              <a:gd name="connsiteX2701" fmla="*/ 2085053 w 12139750"/>
              <a:gd name="connsiteY2701" fmla="*/ 2475241 h 6858290"/>
              <a:gd name="connsiteX2702" fmla="*/ 2041322 w 12139750"/>
              <a:gd name="connsiteY2702" fmla="*/ 2543824 h 6858290"/>
              <a:gd name="connsiteX2703" fmla="*/ 1697222 w 12139750"/>
              <a:gd name="connsiteY2703" fmla="*/ 2618115 h 6858290"/>
              <a:gd name="connsiteX2704" fmla="*/ 1630683 w 12139750"/>
              <a:gd name="connsiteY2704" fmla="*/ 2574302 h 6858290"/>
              <a:gd name="connsiteX2705" fmla="*/ 1628782 w 12139750"/>
              <a:gd name="connsiteY2705" fmla="*/ 2562874 h 6858290"/>
              <a:gd name="connsiteX2706" fmla="*/ 1674409 w 12139750"/>
              <a:gd name="connsiteY2706" fmla="*/ 2507628 h 6858290"/>
              <a:gd name="connsiteX2707" fmla="*/ 2016607 w 12139750"/>
              <a:gd name="connsiteY2707" fmla="*/ 2431425 h 6858290"/>
              <a:gd name="connsiteX2708" fmla="*/ 2799530 w 12139750"/>
              <a:gd name="connsiteY2708" fmla="*/ 2428905 h 6858290"/>
              <a:gd name="connsiteX2709" fmla="*/ 3148601 w 12139750"/>
              <a:gd name="connsiteY2709" fmla="*/ 2428905 h 6858290"/>
              <a:gd name="connsiteX2710" fmla="*/ 3221085 w 12139750"/>
              <a:gd name="connsiteY2710" fmla="*/ 2499561 h 6858290"/>
              <a:gd name="connsiteX2711" fmla="*/ 3148601 w 12139750"/>
              <a:gd name="connsiteY2711" fmla="*/ 2570203 h 6858290"/>
              <a:gd name="connsiteX2712" fmla="*/ 2799530 w 12139750"/>
              <a:gd name="connsiteY2712" fmla="*/ 2570203 h 6858290"/>
              <a:gd name="connsiteX2713" fmla="*/ 2728953 w 12139750"/>
              <a:gd name="connsiteY2713" fmla="*/ 2499561 h 6858290"/>
              <a:gd name="connsiteX2714" fmla="*/ 2799530 w 12139750"/>
              <a:gd name="connsiteY2714" fmla="*/ 2428905 h 6858290"/>
              <a:gd name="connsiteX2715" fmla="*/ 3713474 w 12139750"/>
              <a:gd name="connsiteY2715" fmla="*/ 2424778 h 6858290"/>
              <a:gd name="connsiteX2716" fmla="*/ 3782105 w 12139750"/>
              <a:gd name="connsiteY2716" fmla="*/ 2478123 h 6858290"/>
              <a:gd name="connsiteX2717" fmla="*/ 3730631 w 12139750"/>
              <a:gd name="connsiteY2717" fmla="*/ 2546711 h 6858290"/>
              <a:gd name="connsiteX2718" fmla="*/ 3383699 w 12139750"/>
              <a:gd name="connsiteY2718" fmla="*/ 2598132 h 6858290"/>
              <a:gd name="connsiteX2719" fmla="*/ 3315071 w 12139750"/>
              <a:gd name="connsiteY2719" fmla="*/ 2546711 h 6858290"/>
              <a:gd name="connsiteX2720" fmla="*/ 3313164 w 12139750"/>
              <a:gd name="connsiteY2720" fmla="*/ 2537188 h 6858290"/>
              <a:gd name="connsiteX2721" fmla="*/ 3366541 w 12139750"/>
              <a:gd name="connsiteY2721" fmla="*/ 2476218 h 6858290"/>
              <a:gd name="connsiteX2722" fmla="*/ 3713474 w 12139750"/>
              <a:gd name="connsiteY2722" fmla="*/ 2424778 h 6858290"/>
              <a:gd name="connsiteX2723" fmla="*/ 2578386 w 12139750"/>
              <a:gd name="connsiteY2723" fmla="*/ 2424755 h 6858290"/>
              <a:gd name="connsiteX2724" fmla="*/ 2647013 w 12139750"/>
              <a:gd name="connsiteY2724" fmla="*/ 2478098 h 6858290"/>
              <a:gd name="connsiteX2725" fmla="*/ 2595543 w 12139750"/>
              <a:gd name="connsiteY2725" fmla="*/ 2546678 h 6858290"/>
              <a:gd name="connsiteX2726" fmla="*/ 2248597 w 12139750"/>
              <a:gd name="connsiteY2726" fmla="*/ 2598110 h 6858290"/>
              <a:gd name="connsiteX2727" fmla="*/ 2179970 w 12139750"/>
              <a:gd name="connsiteY2727" fmla="*/ 2546678 h 6858290"/>
              <a:gd name="connsiteX2728" fmla="*/ 2178064 w 12139750"/>
              <a:gd name="connsiteY2728" fmla="*/ 2537153 h 6858290"/>
              <a:gd name="connsiteX2729" fmla="*/ 2231440 w 12139750"/>
              <a:gd name="connsiteY2729" fmla="*/ 2476192 h 6858290"/>
              <a:gd name="connsiteX2730" fmla="*/ 2578386 w 12139750"/>
              <a:gd name="connsiteY2730" fmla="*/ 2424755 h 6858290"/>
              <a:gd name="connsiteX2731" fmla="*/ 9856995 w 12139750"/>
              <a:gd name="connsiteY2731" fmla="*/ 2158848 h 6858290"/>
              <a:gd name="connsiteX2732" fmla="*/ 9865791 w 12139750"/>
              <a:gd name="connsiteY2732" fmla="*/ 2163134 h 6858290"/>
              <a:gd name="connsiteX2733" fmla="*/ 9869594 w 12139750"/>
              <a:gd name="connsiteY2733" fmla="*/ 2172659 h 6858290"/>
              <a:gd name="connsiteX2734" fmla="*/ 9865791 w 12139750"/>
              <a:gd name="connsiteY2734" fmla="*/ 2182184 h 6858290"/>
              <a:gd name="connsiteX2735" fmla="*/ 9536809 w 12139750"/>
              <a:gd name="connsiteY2735" fmla="*/ 2494604 h 6858290"/>
              <a:gd name="connsiteX2736" fmla="*/ 9517792 w 12139750"/>
              <a:gd name="connsiteY2736" fmla="*/ 2494604 h 6858290"/>
              <a:gd name="connsiteX2737" fmla="*/ 9519694 w 12139750"/>
              <a:gd name="connsiteY2737" fmla="*/ 2475555 h 6858290"/>
              <a:gd name="connsiteX2738" fmla="*/ 9846774 w 12139750"/>
              <a:gd name="connsiteY2738" fmla="*/ 2163134 h 6858290"/>
              <a:gd name="connsiteX2739" fmla="*/ 9856995 w 12139750"/>
              <a:gd name="connsiteY2739" fmla="*/ 2158848 h 6858290"/>
              <a:gd name="connsiteX2740" fmla="*/ 9280994 w 12139750"/>
              <a:gd name="connsiteY2740" fmla="*/ 2152757 h 6858290"/>
              <a:gd name="connsiteX2741" fmla="*/ 9292682 w 12139750"/>
              <a:gd name="connsiteY2741" fmla="*/ 2158723 h 6858290"/>
              <a:gd name="connsiteX2742" fmla="*/ 9296499 w 12139750"/>
              <a:gd name="connsiteY2742" fmla="*/ 2170175 h 6858290"/>
              <a:gd name="connsiteX2743" fmla="*/ 9290774 w 12139750"/>
              <a:gd name="connsiteY2743" fmla="*/ 2183535 h 6858290"/>
              <a:gd name="connsiteX2744" fmla="*/ 8960635 w 12139750"/>
              <a:gd name="connsiteY2744" fmla="*/ 2475567 h 6858290"/>
              <a:gd name="connsiteX2745" fmla="*/ 8935827 w 12139750"/>
              <a:gd name="connsiteY2745" fmla="*/ 2473653 h 6858290"/>
              <a:gd name="connsiteX2746" fmla="*/ 8935827 w 12139750"/>
              <a:gd name="connsiteY2746" fmla="*/ 2448839 h 6858290"/>
              <a:gd name="connsiteX2747" fmla="*/ 9267874 w 12139750"/>
              <a:gd name="connsiteY2747" fmla="*/ 2156814 h 6858290"/>
              <a:gd name="connsiteX2748" fmla="*/ 9280994 w 12139750"/>
              <a:gd name="connsiteY2748" fmla="*/ 2152757 h 6858290"/>
              <a:gd name="connsiteX2749" fmla="*/ 10441167 w 12139750"/>
              <a:gd name="connsiteY2749" fmla="*/ 2152737 h 6858290"/>
              <a:gd name="connsiteX2750" fmla="*/ 10452845 w 12139750"/>
              <a:gd name="connsiteY2750" fmla="*/ 2158701 h 6858290"/>
              <a:gd name="connsiteX2751" fmla="*/ 10458565 w 12139750"/>
              <a:gd name="connsiteY2751" fmla="*/ 2170154 h 6858290"/>
              <a:gd name="connsiteX2752" fmla="*/ 10452845 w 12139750"/>
              <a:gd name="connsiteY2752" fmla="*/ 2183515 h 6858290"/>
              <a:gd name="connsiteX2753" fmla="*/ 10121085 w 12139750"/>
              <a:gd name="connsiteY2753" fmla="*/ 2475541 h 6858290"/>
              <a:gd name="connsiteX2754" fmla="*/ 10096299 w 12139750"/>
              <a:gd name="connsiteY2754" fmla="*/ 2473632 h 6858290"/>
              <a:gd name="connsiteX2755" fmla="*/ 10098205 w 12139750"/>
              <a:gd name="connsiteY2755" fmla="*/ 2448819 h 6858290"/>
              <a:gd name="connsiteX2756" fmla="*/ 10428058 w 12139750"/>
              <a:gd name="connsiteY2756" fmla="*/ 2156792 h 6858290"/>
              <a:gd name="connsiteX2757" fmla="*/ 10441167 w 12139750"/>
              <a:gd name="connsiteY2757" fmla="*/ 2152737 h 6858290"/>
              <a:gd name="connsiteX2758" fmla="*/ 8711083 w 12139750"/>
              <a:gd name="connsiteY2758" fmla="*/ 2147846 h 6858290"/>
              <a:gd name="connsiteX2759" fmla="*/ 8725621 w 12139750"/>
              <a:gd name="connsiteY2759" fmla="*/ 2156214 h 6858290"/>
              <a:gd name="connsiteX2760" fmla="*/ 8731341 w 12139750"/>
              <a:gd name="connsiteY2760" fmla="*/ 2169603 h 6858290"/>
              <a:gd name="connsiteX2761" fmla="*/ 8723714 w 12139750"/>
              <a:gd name="connsiteY2761" fmla="*/ 2186815 h 6858290"/>
              <a:gd name="connsiteX2762" fmla="*/ 8390055 w 12139750"/>
              <a:gd name="connsiteY2762" fmla="*/ 2454587 h 6858290"/>
              <a:gd name="connsiteX2763" fmla="*/ 8359549 w 12139750"/>
              <a:gd name="connsiteY2763" fmla="*/ 2450760 h 6858290"/>
              <a:gd name="connsiteX2764" fmla="*/ 8363363 w 12139750"/>
              <a:gd name="connsiteY2764" fmla="*/ 2420157 h 6858290"/>
              <a:gd name="connsiteX2765" fmla="*/ 8695115 w 12139750"/>
              <a:gd name="connsiteY2765" fmla="*/ 2152388 h 6858290"/>
              <a:gd name="connsiteX2766" fmla="*/ 8711083 w 12139750"/>
              <a:gd name="connsiteY2766" fmla="*/ 2147846 h 6858290"/>
              <a:gd name="connsiteX2767" fmla="*/ 11019424 w 12139750"/>
              <a:gd name="connsiteY2767" fmla="*/ 2147822 h 6858290"/>
              <a:gd name="connsiteX2768" fmla="*/ 11033901 w 12139750"/>
              <a:gd name="connsiteY2768" fmla="*/ 2156190 h 6858290"/>
              <a:gd name="connsiteX2769" fmla="*/ 11039597 w 12139750"/>
              <a:gd name="connsiteY2769" fmla="*/ 2169578 h 6858290"/>
              <a:gd name="connsiteX2770" fmla="*/ 11030104 w 12139750"/>
              <a:gd name="connsiteY2770" fmla="*/ 2186792 h 6858290"/>
              <a:gd name="connsiteX2771" fmla="*/ 10699740 w 12139750"/>
              <a:gd name="connsiteY2771" fmla="*/ 2454563 h 6858290"/>
              <a:gd name="connsiteX2772" fmla="*/ 10669362 w 12139750"/>
              <a:gd name="connsiteY2772" fmla="*/ 2450738 h 6858290"/>
              <a:gd name="connsiteX2773" fmla="*/ 10673159 w 12139750"/>
              <a:gd name="connsiteY2773" fmla="*/ 2420136 h 6858290"/>
              <a:gd name="connsiteX2774" fmla="*/ 11003523 w 12139750"/>
              <a:gd name="connsiteY2774" fmla="*/ 2152364 h 6858290"/>
              <a:gd name="connsiteX2775" fmla="*/ 11019424 w 12139750"/>
              <a:gd name="connsiteY2775" fmla="*/ 2147822 h 6858290"/>
              <a:gd name="connsiteX2776" fmla="*/ 8148561 w 12139750"/>
              <a:gd name="connsiteY2776" fmla="*/ 2143310 h 6858290"/>
              <a:gd name="connsiteX2777" fmla="*/ 8165230 w 12139750"/>
              <a:gd name="connsiteY2777" fmla="*/ 2153323 h 6858290"/>
              <a:gd name="connsiteX2778" fmla="*/ 8170945 w 12139750"/>
              <a:gd name="connsiteY2778" fmla="*/ 2168580 h 6858290"/>
              <a:gd name="connsiteX2779" fmla="*/ 8159515 w 12139750"/>
              <a:gd name="connsiteY2779" fmla="*/ 2189556 h 6858290"/>
              <a:gd name="connsiteX2780" fmla="*/ 7826135 w 12139750"/>
              <a:gd name="connsiteY2780" fmla="*/ 2433651 h 6858290"/>
              <a:gd name="connsiteX2781" fmla="*/ 7789940 w 12139750"/>
              <a:gd name="connsiteY2781" fmla="*/ 2427930 h 6858290"/>
              <a:gd name="connsiteX2782" fmla="*/ 7795655 w 12139750"/>
              <a:gd name="connsiteY2782" fmla="*/ 2391692 h 6858290"/>
              <a:gd name="connsiteX2783" fmla="*/ 8129034 w 12139750"/>
              <a:gd name="connsiteY2783" fmla="*/ 2147602 h 6858290"/>
              <a:gd name="connsiteX2784" fmla="*/ 8148561 w 12139750"/>
              <a:gd name="connsiteY2784" fmla="*/ 2143310 h 6858290"/>
              <a:gd name="connsiteX2785" fmla="*/ 11593070 w 12139750"/>
              <a:gd name="connsiteY2785" fmla="*/ 2143308 h 6858290"/>
              <a:gd name="connsiteX2786" fmla="*/ 11610468 w 12139750"/>
              <a:gd name="connsiteY2786" fmla="*/ 2153320 h 6858290"/>
              <a:gd name="connsiteX2787" fmla="*/ 11614281 w 12139750"/>
              <a:gd name="connsiteY2787" fmla="*/ 2168577 h 6858290"/>
              <a:gd name="connsiteX2788" fmla="*/ 11604748 w 12139750"/>
              <a:gd name="connsiteY2788" fmla="*/ 2189556 h 6858290"/>
              <a:gd name="connsiteX2789" fmla="*/ 11271096 w 12139750"/>
              <a:gd name="connsiteY2789" fmla="*/ 2433649 h 6858290"/>
              <a:gd name="connsiteX2790" fmla="*/ 11232964 w 12139750"/>
              <a:gd name="connsiteY2790" fmla="*/ 2427928 h 6858290"/>
              <a:gd name="connsiteX2791" fmla="*/ 11238684 w 12139750"/>
              <a:gd name="connsiteY2791" fmla="*/ 2391689 h 6858290"/>
              <a:gd name="connsiteX2792" fmla="*/ 11574243 w 12139750"/>
              <a:gd name="connsiteY2792" fmla="*/ 2147600 h 6858290"/>
              <a:gd name="connsiteX2793" fmla="*/ 11593070 w 12139750"/>
              <a:gd name="connsiteY2793" fmla="*/ 2143308 h 6858290"/>
              <a:gd name="connsiteX2794" fmla="*/ 12139750 w 12139750"/>
              <a:gd name="connsiteY2794" fmla="*/ 2139967 h 6858290"/>
              <a:gd name="connsiteX2795" fmla="*/ 12139750 w 12139750"/>
              <a:gd name="connsiteY2795" fmla="*/ 2212438 h 6858290"/>
              <a:gd name="connsiteX2796" fmla="*/ 11835489 w 12139750"/>
              <a:gd name="connsiteY2796" fmla="*/ 2414592 h 6858290"/>
              <a:gd name="connsiteX2797" fmla="*/ 11793653 w 12139750"/>
              <a:gd name="connsiteY2797" fmla="*/ 2406965 h 6858290"/>
              <a:gd name="connsiteX2798" fmla="*/ 11801260 w 12139750"/>
              <a:gd name="connsiteY2798" fmla="*/ 2363100 h 6858290"/>
              <a:gd name="connsiteX2799" fmla="*/ 12135947 w 12139750"/>
              <a:gd name="connsiteY2799" fmla="*/ 2141874 h 6858290"/>
              <a:gd name="connsiteX2800" fmla="*/ 12139750 w 12139750"/>
              <a:gd name="connsiteY2800" fmla="*/ 2139967 h 6858290"/>
              <a:gd name="connsiteX2801" fmla="*/ 7591500 w 12139750"/>
              <a:gd name="connsiteY2801" fmla="*/ 2137042 h 6858290"/>
              <a:gd name="connsiteX2802" fmla="*/ 7609598 w 12139750"/>
              <a:gd name="connsiteY2802" fmla="*/ 2151126 h 6858290"/>
              <a:gd name="connsiteX2803" fmla="*/ 7615313 w 12139750"/>
              <a:gd name="connsiteY2803" fmla="*/ 2168310 h 6858290"/>
              <a:gd name="connsiteX2804" fmla="*/ 7601978 w 12139750"/>
              <a:gd name="connsiteY2804" fmla="*/ 2193129 h 6858290"/>
              <a:gd name="connsiteX2805" fmla="*/ 7266693 w 12139750"/>
              <a:gd name="connsiteY2805" fmla="*/ 2414586 h 6858290"/>
              <a:gd name="connsiteX2806" fmla="*/ 7224783 w 12139750"/>
              <a:gd name="connsiteY2806" fmla="*/ 2406948 h 6858290"/>
              <a:gd name="connsiteX2807" fmla="*/ 7232403 w 12139750"/>
              <a:gd name="connsiteY2807" fmla="*/ 2363036 h 6858290"/>
              <a:gd name="connsiteX2808" fmla="*/ 7567687 w 12139750"/>
              <a:gd name="connsiteY2808" fmla="*/ 2141577 h 6858290"/>
              <a:gd name="connsiteX2809" fmla="*/ 7591500 w 12139750"/>
              <a:gd name="connsiteY2809" fmla="*/ 2137042 h 6858290"/>
              <a:gd name="connsiteX2810" fmla="*/ 7042453 w 12139750"/>
              <a:gd name="connsiteY2810" fmla="*/ 2131898 h 6858290"/>
              <a:gd name="connsiteX2811" fmla="*/ 7063473 w 12139750"/>
              <a:gd name="connsiteY2811" fmla="*/ 2148647 h 6858290"/>
              <a:gd name="connsiteX2812" fmla="*/ 7069206 w 12139750"/>
              <a:gd name="connsiteY2812" fmla="*/ 2165871 h 6858290"/>
              <a:gd name="connsiteX2813" fmla="*/ 7052008 w 12139750"/>
              <a:gd name="connsiteY2813" fmla="*/ 2196489 h 6858290"/>
              <a:gd name="connsiteX2814" fmla="*/ 6713777 w 12139750"/>
              <a:gd name="connsiteY2814" fmla="*/ 2395511 h 6858290"/>
              <a:gd name="connsiteX2815" fmla="*/ 6666004 w 12139750"/>
              <a:gd name="connsiteY2815" fmla="*/ 2382111 h 6858290"/>
              <a:gd name="connsiteX2816" fmla="*/ 6679381 w 12139750"/>
              <a:gd name="connsiteY2816" fmla="*/ 2334271 h 6858290"/>
              <a:gd name="connsiteX2817" fmla="*/ 7015700 w 12139750"/>
              <a:gd name="connsiteY2817" fmla="*/ 2135246 h 6858290"/>
              <a:gd name="connsiteX2818" fmla="*/ 7042453 w 12139750"/>
              <a:gd name="connsiteY2818" fmla="*/ 2131898 h 6858290"/>
              <a:gd name="connsiteX2819" fmla="*/ 6500021 w 12139750"/>
              <a:gd name="connsiteY2819" fmla="*/ 2128305 h 6858290"/>
              <a:gd name="connsiteX2820" fmla="*/ 6522150 w 12139750"/>
              <a:gd name="connsiteY2820" fmla="*/ 2147621 h 6858290"/>
              <a:gd name="connsiteX2821" fmla="*/ 6527861 w 12139750"/>
              <a:gd name="connsiteY2821" fmla="*/ 2164788 h 6858290"/>
              <a:gd name="connsiteX2822" fmla="*/ 6506921 w 12139750"/>
              <a:gd name="connsiteY2822" fmla="*/ 2199117 h 6858290"/>
              <a:gd name="connsiteX2823" fmla="*/ 6168083 w 12139750"/>
              <a:gd name="connsiteY2823" fmla="*/ 2374582 h 6858290"/>
              <a:gd name="connsiteX2824" fmla="*/ 6116686 w 12139750"/>
              <a:gd name="connsiteY2824" fmla="*/ 2359325 h 6858290"/>
              <a:gd name="connsiteX2825" fmla="*/ 6131914 w 12139750"/>
              <a:gd name="connsiteY2825" fmla="*/ 2305910 h 6858290"/>
              <a:gd name="connsiteX2826" fmla="*/ 6470753 w 12139750"/>
              <a:gd name="connsiteY2826" fmla="*/ 2130452 h 6858290"/>
              <a:gd name="connsiteX2827" fmla="*/ 6500021 w 12139750"/>
              <a:gd name="connsiteY2827" fmla="*/ 2128305 h 6858290"/>
              <a:gd name="connsiteX2828" fmla="*/ 5959154 w 12139750"/>
              <a:gd name="connsiteY2828" fmla="*/ 2123129 h 6858290"/>
              <a:gd name="connsiteX2829" fmla="*/ 5982710 w 12139750"/>
              <a:gd name="connsiteY2829" fmla="*/ 2145011 h 6858290"/>
              <a:gd name="connsiteX2830" fmla="*/ 5986517 w 12139750"/>
              <a:gd name="connsiteY2830" fmla="*/ 2164036 h 6858290"/>
              <a:gd name="connsiteX2831" fmla="*/ 5961771 w 12139750"/>
              <a:gd name="connsiteY2831" fmla="*/ 2202088 h 6858290"/>
              <a:gd name="connsiteX2832" fmla="*/ 5621030 w 12139750"/>
              <a:gd name="connsiteY2832" fmla="*/ 2354289 h 6858290"/>
              <a:gd name="connsiteX2833" fmla="*/ 5565827 w 12139750"/>
              <a:gd name="connsiteY2833" fmla="*/ 2333361 h 6858290"/>
              <a:gd name="connsiteX2834" fmla="*/ 5586766 w 12139750"/>
              <a:gd name="connsiteY2834" fmla="*/ 2276282 h 6858290"/>
              <a:gd name="connsiteX2835" fmla="*/ 5925602 w 12139750"/>
              <a:gd name="connsiteY2835" fmla="*/ 2124078 h 6858290"/>
              <a:gd name="connsiteX2836" fmla="*/ 5959154 w 12139750"/>
              <a:gd name="connsiteY2836" fmla="*/ 2123129 h 6858290"/>
              <a:gd name="connsiteX2837" fmla="*/ 398983 w 12139750"/>
              <a:gd name="connsiteY2837" fmla="*/ 2123125 h 6858290"/>
              <a:gd name="connsiteX2838" fmla="*/ 423236 w 12139750"/>
              <a:gd name="connsiteY2838" fmla="*/ 2145008 h 6858290"/>
              <a:gd name="connsiteX2839" fmla="*/ 427040 w 12139750"/>
              <a:gd name="connsiteY2839" fmla="*/ 2164035 h 6858290"/>
              <a:gd name="connsiteX2840" fmla="*/ 402312 w 12139750"/>
              <a:gd name="connsiteY2840" fmla="*/ 2202084 h 6858290"/>
              <a:gd name="connsiteX2841" fmla="*/ 61813 w 12139750"/>
              <a:gd name="connsiteY2841" fmla="*/ 2354287 h 6858290"/>
              <a:gd name="connsiteX2842" fmla="*/ 6649 w 12139750"/>
              <a:gd name="connsiteY2842" fmla="*/ 2333359 h 6858290"/>
              <a:gd name="connsiteX2843" fmla="*/ 27573 w 12139750"/>
              <a:gd name="connsiteY2843" fmla="*/ 2276282 h 6858290"/>
              <a:gd name="connsiteX2844" fmla="*/ 366169 w 12139750"/>
              <a:gd name="connsiteY2844" fmla="*/ 2124076 h 6858290"/>
              <a:gd name="connsiteX2845" fmla="*/ 398983 w 12139750"/>
              <a:gd name="connsiteY2845" fmla="*/ 2123125 h 6858290"/>
              <a:gd name="connsiteX2846" fmla="*/ 5396847 w 12139750"/>
              <a:gd name="connsiteY2846" fmla="*/ 2116229 h 6858290"/>
              <a:gd name="connsiteX2847" fmla="*/ 5438191 w 12139750"/>
              <a:gd name="connsiteY2847" fmla="*/ 2145804 h 6858290"/>
              <a:gd name="connsiteX2848" fmla="*/ 5442009 w 12139750"/>
              <a:gd name="connsiteY2848" fmla="*/ 2162858 h 6858290"/>
              <a:gd name="connsiteX2849" fmla="*/ 5411464 w 12139750"/>
              <a:gd name="connsiteY2849" fmla="*/ 2206436 h 6858290"/>
              <a:gd name="connsiteX2850" fmla="*/ 5069727 w 12139750"/>
              <a:gd name="connsiteY2850" fmla="*/ 2335278 h 6858290"/>
              <a:gd name="connsiteX2851" fmla="*/ 5008643 w 12139750"/>
              <a:gd name="connsiteY2851" fmla="*/ 2308745 h 6858290"/>
              <a:gd name="connsiteX2852" fmla="*/ 5037276 w 12139750"/>
              <a:gd name="connsiteY2852" fmla="*/ 2248119 h 6858290"/>
              <a:gd name="connsiteX2853" fmla="*/ 5379009 w 12139750"/>
              <a:gd name="connsiteY2853" fmla="*/ 2119278 h 6858290"/>
              <a:gd name="connsiteX2854" fmla="*/ 5396847 w 12139750"/>
              <a:gd name="connsiteY2854" fmla="*/ 2116229 h 6858290"/>
              <a:gd name="connsiteX2855" fmla="*/ 930370 w 12139750"/>
              <a:gd name="connsiteY2855" fmla="*/ 2116224 h 6858290"/>
              <a:gd name="connsiteX2856" fmla="*/ 972820 w 12139750"/>
              <a:gd name="connsiteY2856" fmla="*/ 2145802 h 6858290"/>
              <a:gd name="connsiteX2857" fmla="*/ 974730 w 12139750"/>
              <a:gd name="connsiteY2857" fmla="*/ 2162856 h 6858290"/>
              <a:gd name="connsiteX2858" fmla="*/ 944162 w 12139750"/>
              <a:gd name="connsiteY2858" fmla="*/ 2206434 h 6858290"/>
              <a:gd name="connsiteX2859" fmla="*/ 602179 w 12139750"/>
              <a:gd name="connsiteY2859" fmla="*/ 2335276 h 6858290"/>
              <a:gd name="connsiteX2860" fmla="*/ 542953 w 12139750"/>
              <a:gd name="connsiteY2860" fmla="*/ 2308745 h 6858290"/>
              <a:gd name="connsiteX2861" fmla="*/ 569700 w 12139750"/>
              <a:gd name="connsiteY2861" fmla="*/ 2248116 h 6858290"/>
              <a:gd name="connsiteX2862" fmla="*/ 911683 w 12139750"/>
              <a:gd name="connsiteY2862" fmla="*/ 2119276 h 6858290"/>
              <a:gd name="connsiteX2863" fmla="*/ 930370 w 12139750"/>
              <a:gd name="connsiteY2863" fmla="*/ 2116224 h 6858290"/>
              <a:gd name="connsiteX2864" fmla="*/ 4845975 w 12139750"/>
              <a:gd name="connsiteY2864" fmla="*/ 2110281 h 6858290"/>
              <a:gd name="connsiteX2865" fmla="*/ 4890814 w 12139750"/>
              <a:gd name="connsiteY2865" fmla="*/ 2147142 h 6858290"/>
              <a:gd name="connsiteX2866" fmla="*/ 4892723 w 12139750"/>
              <a:gd name="connsiteY2866" fmla="*/ 2162340 h 6858290"/>
              <a:gd name="connsiteX2867" fmla="*/ 4856446 w 12139750"/>
              <a:gd name="connsiteY2867" fmla="*/ 2209828 h 6858290"/>
              <a:gd name="connsiteX2868" fmla="*/ 4512822 w 12139750"/>
              <a:gd name="connsiteY2868" fmla="*/ 2316199 h 6858290"/>
              <a:gd name="connsiteX2869" fmla="*/ 4449824 w 12139750"/>
              <a:gd name="connsiteY2869" fmla="*/ 2283899 h 6858290"/>
              <a:gd name="connsiteX2870" fmla="*/ 4482278 w 12139750"/>
              <a:gd name="connsiteY2870" fmla="*/ 2219324 h 6858290"/>
              <a:gd name="connsiteX2871" fmla="*/ 4825899 w 12139750"/>
              <a:gd name="connsiteY2871" fmla="*/ 2112951 h 6858290"/>
              <a:gd name="connsiteX2872" fmla="*/ 4845975 w 12139750"/>
              <a:gd name="connsiteY2872" fmla="*/ 2110281 h 6858290"/>
              <a:gd name="connsiteX2873" fmla="*/ 1482447 w 12139750"/>
              <a:gd name="connsiteY2873" fmla="*/ 2110278 h 6858290"/>
              <a:gd name="connsiteX2874" fmla="*/ 1525280 w 12139750"/>
              <a:gd name="connsiteY2874" fmla="*/ 2147139 h 6858290"/>
              <a:gd name="connsiteX2875" fmla="*/ 1527184 w 12139750"/>
              <a:gd name="connsiteY2875" fmla="*/ 2162337 h 6858290"/>
              <a:gd name="connsiteX2876" fmla="*/ 1492917 w 12139750"/>
              <a:gd name="connsiteY2876" fmla="*/ 2209825 h 6858290"/>
              <a:gd name="connsiteX2877" fmla="*/ 1150255 w 12139750"/>
              <a:gd name="connsiteY2877" fmla="*/ 2316198 h 6858290"/>
              <a:gd name="connsiteX2878" fmla="*/ 1085530 w 12139750"/>
              <a:gd name="connsiteY2878" fmla="*/ 2283899 h 6858290"/>
              <a:gd name="connsiteX2879" fmla="*/ 1119796 w 12139750"/>
              <a:gd name="connsiteY2879" fmla="*/ 2219322 h 6858290"/>
              <a:gd name="connsiteX2880" fmla="*/ 1462458 w 12139750"/>
              <a:gd name="connsiteY2880" fmla="*/ 2112949 h 6858290"/>
              <a:gd name="connsiteX2881" fmla="*/ 1482447 w 12139750"/>
              <a:gd name="connsiteY2881" fmla="*/ 2110278 h 6858290"/>
              <a:gd name="connsiteX2882" fmla="*/ 4292468 w 12139750"/>
              <a:gd name="connsiteY2882" fmla="*/ 2106615 h 6858290"/>
              <a:gd name="connsiteX2883" fmla="*/ 4338674 w 12139750"/>
              <a:gd name="connsiteY2883" fmla="*/ 2147679 h 6858290"/>
              <a:gd name="connsiteX2884" fmla="*/ 4338674 w 12139750"/>
              <a:gd name="connsiteY2884" fmla="*/ 2160953 h 6858290"/>
              <a:gd name="connsiteX2885" fmla="*/ 4296646 w 12139750"/>
              <a:gd name="connsiteY2885" fmla="*/ 2214045 h 6858290"/>
              <a:gd name="connsiteX2886" fmla="*/ 3952805 w 12139750"/>
              <a:gd name="connsiteY2886" fmla="*/ 2297470 h 6858290"/>
              <a:gd name="connsiteX2887" fmla="*/ 3884033 w 12139750"/>
              <a:gd name="connsiteY2887" fmla="*/ 2257656 h 6858290"/>
              <a:gd name="connsiteX2888" fmla="*/ 3926060 w 12139750"/>
              <a:gd name="connsiteY2888" fmla="*/ 2191291 h 6858290"/>
              <a:gd name="connsiteX2889" fmla="*/ 4269902 w 12139750"/>
              <a:gd name="connsiteY2889" fmla="*/ 2107861 h 6858290"/>
              <a:gd name="connsiteX2890" fmla="*/ 4292468 w 12139750"/>
              <a:gd name="connsiteY2890" fmla="*/ 2106615 h 6858290"/>
              <a:gd name="connsiteX2891" fmla="*/ 2038710 w 12139750"/>
              <a:gd name="connsiteY2891" fmla="*/ 2106612 h 6858290"/>
              <a:gd name="connsiteX2892" fmla="*/ 2084082 w 12139750"/>
              <a:gd name="connsiteY2892" fmla="*/ 2147677 h 6858290"/>
              <a:gd name="connsiteX2893" fmla="*/ 2085991 w 12139750"/>
              <a:gd name="connsiteY2893" fmla="*/ 2160951 h 6858290"/>
              <a:gd name="connsiteX2894" fmla="*/ 2043989 w 12139750"/>
              <a:gd name="connsiteY2894" fmla="*/ 2214042 h 6858290"/>
              <a:gd name="connsiteX2895" fmla="*/ 1698467 w 12139750"/>
              <a:gd name="connsiteY2895" fmla="*/ 2297470 h 6858290"/>
              <a:gd name="connsiteX2896" fmla="*/ 1631654 w 12139750"/>
              <a:gd name="connsiteY2896" fmla="*/ 2257654 h 6858290"/>
              <a:gd name="connsiteX2897" fmla="*/ 1671742 w 12139750"/>
              <a:gd name="connsiteY2897" fmla="*/ 2191289 h 6858290"/>
              <a:gd name="connsiteX2898" fmla="*/ 2017264 w 12139750"/>
              <a:gd name="connsiteY2898" fmla="*/ 2107857 h 6858290"/>
              <a:gd name="connsiteX2899" fmla="*/ 2038710 w 12139750"/>
              <a:gd name="connsiteY2899" fmla="*/ 2106612 h 6858290"/>
              <a:gd name="connsiteX2900" fmla="*/ 3734742 w 12139750"/>
              <a:gd name="connsiteY2900" fmla="*/ 2101215 h 6858290"/>
              <a:gd name="connsiteX2901" fmla="*/ 3779871 w 12139750"/>
              <a:gd name="connsiteY2901" fmla="*/ 2149168 h 6858290"/>
              <a:gd name="connsiteX2902" fmla="*/ 3779871 w 12139750"/>
              <a:gd name="connsiteY2902" fmla="*/ 2158693 h 6858290"/>
              <a:gd name="connsiteX2903" fmla="*/ 3732116 w 12139750"/>
              <a:gd name="connsiteY2903" fmla="*/ 2217746 h 6858290"/>
              <a:gd name="connsiteX2904" fmla="*/ 3384469 w 12139750"/>
              <a:gd name="connsiteY2904" fmla="*/ 2278704 h 6858290"/>
              <a:gd name="connsiteX2905" fmla="*/ 3315701 w 12139750"/>
              <a:gd name="connsiteY2905" fmla="*/ 2231081 h 6858290"/>
              <a:gd name="connsiteX2906" fmla="*/ 3363456 w 12139750"/>
              <a:gd name="connsiteY2906" fmla="*/ 2160598 h 6858290"/>
              <a:gd name="connsiteX2907" fmla="*/ 3711103 w 12139750"/>
              <a:gd name="connsiteY2907" fmla="*/ 2101543 h 6858290"/>
              <a:gd name="connsiteX2908" fmla="*/ 3734742 w 12139750"/>
              <a:gd name="connsiteY2908" fmla="*/ 2101215 h 6858290"/>
              <a:gd name="connsiteX2909" fmla="*/ 2601252 w 12139750"/>
              <a:gd name="connsiteY2909" fmla="*/ 2101212 h 6858290"/>
              <a:gd name="connsiteX2910" fmla="*/ 2646380 w 12139750"/>
              <a:gd name="connsiteY2910" fmla="*/ 2149163 h 6858290"/>
              <a:gd name="connsiteX2911" fmla="*/ 2646380 w 12139750"/>
              <a:gd name="connsiteY2911" fmla="*/ 2158690 h 6858290"/>
              <a:gd name="connsiteX2912" fmla="*/ 2596715 w 12139750"/>
              <a:gd name="connsiteY2912" fmla="*/ 2217744 h 6858290"/>
              <a:gd name="connsiteX2913" fmla="*/ 2250972 w 12139750"/>
              <a:gd name="connsiteY2913" fmla="*/ 2278703 h 6858290"/>
              <a:gd name="connsiteX2914" fmla="*/ 2182205 w 12139750"/>
              <a:gd name="connsiteY2914" fmla="*/ 2231079 h 6858290"/>
              <a:gd name="connsiteX2915" fmla="*/ 2229960 w 12139750"/>
              <a:gd name="connsiteY2915" fmla="*/ 2160595 h 6858290"/>
              <a:gd name="connsiteX2916" fmla="*/ 2577613 w 12139750"/>
              <a:gd name="connsiteY2916" fmla="*/ 2101540 h 6858290"/>
              <a:gd name="connsiteX2917" fmla="*/ 2601252 w 12139750"/>
              <a:gd name="connsiteY2917" fmla="*/ 2101212 h 6858290"/>
              <a:gd name="connsiteX2918" fmla="*/ 3141099 w 12139750"/>
              <a:gd name="connsiteY2918" fmla="*/ 2094548 h 6858290"/>
              <a:gd name="connsiteX2919" fmla="*/ 3211539 w 12139750"/>
              <a:gd name="connsiteY2919" fmla="*/ 2151594 h 6858290"/>
              <a:gd name="connsiteX2920" fmla="*/ 3211539 w 12139750"/>
              <a:gd name="connsiteY2920" fmla="*/ 2159200 h 6858290"/>
              <a:gd name="connsiteX2921" fmla="*/ 3156330 w 12139750"/>
              <a:gd name="connsiteY2921" fmla="*/ 2221949 h 6858290"/>
              <a:gd name="connsiteX2922" fmla="*/ 2807941 w 12139750"/>
              <a:gd name="connsiteY2922" fmla="*/ 2259980 h 6858290"/>
              <a:gd name="connsiteX2923" fmla="*/ 2737501 w 12139750"/>
              <a:gd name="connsiteY2923" fmla="*/ 2202934 h 6858290"/>
              <a:gd name="connsiteX2924" fmla="*/ 2794615 w 12139750"/>
              <a:gd name="connsiteY2924" fmla="*/ 2132575 h 6858290"/>
              <a:gd name="connsiteX2925" fmla="*/ 3141099 w 12139750"/>
              <a:gd name="connsiteY2925" fmla="*/ 2094548 h 6858290"/>
              <a:gd name="connsiteX2926" fmla="*/ 9859129 w 12139750"/>
              <a:gd name="connsiteY2926" fmla="*/ 1839997 h 6858290"/>
              <a:gd name="connsiteX2927" fmla="*/ 9870549 w 12139750"/>
              <a:gd name="connsiteY2927" fmla="*/ 1845944 h 6858290"/>
              <a:gd name="connsiteX2928" fmla="*/ 9874356 w 12139750"/>
              <a:gd name="connsiteY2928" fmla="*/ 1857363 h 6858290"/>
              <a:gd name="connsiteX2929" fmla="*/ 9868646 w 12139750"/>
              <a:gd name="connsiteY2929" fmla="*/ 1868782 h 6858290"/>
              <a:gd name="connsiteX2930" fmla="*/ 9539364 w 12139750"/>
              <a:gd name="connsiteY2930" fmla="*/ 2165681 h 6858290"/>
              <a:gd name="connsiteX2931" fmla="*/ 9516524 w 12139750"/>
              <a:gd name="connsiteY2931" fmla="*/ 2165681 h 6858290"/>
              <a:gd name="connsiteX2932" fmla="*/ 9516524 w 12139750"/>
              <a:gd name="connsiteY2932" fmla="*/ 2142843 h 6858290"/>
              <a:gd name="connsiteX2933" fmla="*/ 9847709 w 12139750"/>
              <a:gd name="connsiteY2933" fmla="*/ 1844041 h 6858290"/>
              <a:gd name="connsiteX2934" fmla="*/ 9859129 w 12139750"/>
              <a:gd name="connsiteY2934" fmla="*/ 1839997 h 6858290"/>
              <a:gd name="connsiteX2935" fmla="*/ 9281354 w 12139750"/>
              <a:gd name="connsiteY2935" fmla="*/ 1833512 h 6858290"/>
              <a:gd name="connsiteX2936" fmla="*/ 9293964 w 12139750"/>
              <a:gd name="connsiteY2936" fmla="*/ 1841846 h 6858290"/>
              <a:gd name="connsiteX2937" fmla="*/ 9299674 w 12139750"/>
              <a:gd name="connsiteY2937" fmla="*/ 1853277 h 6858290"/>
              <a:gd name="connsiteX2938" fmla="*/ 9292060 w 12139750"/>
              <a:gd name="connsiteY2938" fmla="*/ 1868517 h 6858290"/>
              <a:gd name="connsiteX2939" fmla="*/ 8960867 w 12139750"/>
              <a:gd name="connsiteY2939" fmla="*/ 2146642 h 6858290"/>
              <a:gd name="connsiteX2940" fmla="*/ 8932316 w 12139750"/>
              <a:gd name="connsiteY2940" fmla="*/ 2144739 h 6858290"/>
              <a:gd name="connsiteX2941" fmla="*/ 8936123 w 12139750"/>
              <a:gd name="connsiteY2941" fmla="*/ 2116162 h 6858290"/>
              <a:gd name="connsiteX2942" fmla="*/ 9267316 w 12139750"/>
              <a:gd name="connsiteY2942" fmla="*/ 1838036 h 6858290"/>
              <a:gd name="connsiteX2943" fmla="*/ 9281354 w 12139750"/>
              <a:gd name="connsiteY2943" fmla="*/ 1833512 h 6858290"/>
              <a:gd name="connsiteX2944" fmla="*/ 10443580 w 12139750"/>
              <a:gd name="connsiteY2944" fmla="*/ 1833487 h 6858290"/>
              <a:gd name="connsiteX2945" fmla="*/ 10457916 w 12139750"/>
              <a:gd name="connsiteY2945" fmla="*/ 1841822 h 6858290"/>
              <a:gd name="connsiteX2946" fmla="*/ 10461739 w 12139750"/>
              <a:gd name="connsiteY2946" fmla="*/ 1853252 h 6858290"/>
              <a:gd name="connsiteX2947" fmla="*/ 10454093 w 12139750"/>
              <a:gd name="connsiteY2947" fmla="*/ 1868492 h 6858290"/>
              <a:gd name="connsiteX2948" fmla="*/ 10121491 w 12139750"/>
              <a:gd name="connsiteY2948" fmla="*/ 2146621 h 6858290"/>
              <a:gd name="connsiteX2949" fmla="*/ 10094730 w 12139750"/>
              <a:gd name="connsiteY2949" fmla="*/ 2144715 h 6858290"/>
              <a:gd name="connsiteX2950" fmla="*/ 10096642 w 12139750"/>
              <a:gd name="connsiteY2950" fmla="*/ 2116141 h 6858290"/>
              <a:gd name="connsiteX2951" fmla="*/ 10429243 w 12139750"/>
              <a:gd name="connsiteY2951" fmla="*/ 1838012 h 6858290"/>
              <a:gd name="connsiteX2952" fmla="*/ 10443580 w 12139750"/>
              <a:gd name="connsiteY2952" fmla="*/ 1833487 h 6858290"/>
              <a:gd name="connsiteX2953" fmla="*/ 8711664 w 12139750"/>
              <a:gd name="connsiteY2953" fmla="*/ 1828739 h 6858290"/>
              <a:gd name="connsiteX2954" fmla="*/ 8727194 w 12139750"/>
              <a:gd name="connsiteY2954" fmla="*/ 1837048 h 6858290"/>
              <a:gd name="connsiteX2955" fmla="*/ 8732928 w 12139750"/>
              <a:gd name="connsiteY2955" fmla="*/ 1852242 h 6858290"/>
              <a:gd name="connsiteX2956" fmla="*/ 8723371 w 12139750"/>
              <a:gd name="connsiteY2956" fmla="*/ 1871234 h 6858290"/>
              <a:gd name="connsiteX2957" fmla="*/ 8390798 w 12139750"/>
              <a:gd name="connsiteY2957" fmla="*/ 2127610 h 6858290"/>
              <a:gd name="connsiteX2958" fmla="*/ 8356393 w 12139750"/>
              <a:gd name="connsiteY2958" fmla="*/ 2123813 h 6858290"/>
              <a:gd name="connsiteX2959" fmla="*/ 8360216 w 12139750"/>
              <a:gd name="connsiteY2959" fmla="*/ 2089634 h 6858290"/>
              <a:gd name="connsiteX2960" fmla="*/ 8694701 w 12139750"/>
              <a:gd name="connsiteY2960" fmla="*/ 1833250 h 6858290"/>
              <a:gd name="connsiteX2961" fmla="*/ 8711664 w 12139750"/>
              <a:gd name="connsiteY2961" fmla="*/ 1828739 h 6858290"/>
              <a:gd name="connsiteX2962" fmla="*/ 11021508 w 12139750"/>
              <a:gd name="connsiteY2962" fmla="*/ 1828712 h 6858290"/>
              <a:gd name="connsiteX2963" fmla="*/ 11037038 w 12139750"/>
              <a:gd name="connsiteY2963" fmla="*/ 1837021 h 6858290"/>
              <a:gd name="connsiteX2964" fmla="*/ 11042772 w 12139750"/>
              <a:gd name="connsiteY2964" fmla="*/ 1852214 h 6858290"/>
              <a:gd name="connsiteX2965" fmla="*/ 11033215 w 12139750"/>
              <a:gd name="connsiteY2965" fmla="*/ 1871206 h 6858290"/>
              <a:gd name="connsiteX2966" fmla="*/ 10698730 w 12139750"/>
              <a:gd name="connsiteY2966" fmla="*/ 2127592 h 6858290"/>
              <a:gd name="connsiteX2967" fmla="*/ 10666237 w 12139750"/>
              <a:gd name="connsiteY2967" fmla="*/ 2123794 h 6858290"/>
              <a:gd name="connsiteX2968" fmla="*/ 10670060 w 12139750"/>
              <a:gd name="connsiteY2968" fmla="*/ 2089609 h 6858290"/>
              <a:gd name="connsiteX2969" fmla="*/ 11004545 w 12139750"/>
              <a:gd name="connsiteY2969" fmla="*/ 1833223 h 6858290"/>
              <a:gd name="connsiteX2970" fmla="*/ 11021508 w 12139750"/>
              <a:gd name="connsiteY2970" fmla="*/ 1828712 h 6858290"/>
              <a:gd name="connsiteX2971" fmla="*/ 8148424 w 12139750"/>
              <a:gd name="connsiteY2971" fmla="*/ 1822231 h 6858290"/>
              <a:gd name="connsiteX2972" fmla="*/ 8166804 w 12139750"/>
              <a:gd name="connsiteY2972" fmla="*/ 1832924 h 6858290"/>
              <a:gd name="connsiteX2973" fmla="*/ 8172533 w 12139750"/>
              <a:gd name="connsiteY2973" fmla="*/ 1850033 h 6858290"/>
              <a:gd name="connsiteX2974" fmla="*/ 8161075 w 12139750"/>
              <a:gd name="connsiteY2974" fmla="*/ 1872844 h 6858290"/>
              <a:gd name="connsiteX2975" fmla="*/ 7824980 w 12139750"/>
              <a:gd name="connsiteY2975" fmla="*/ 2108561 h 6858290"/>
              <a:gd name="connsiteX2976" fmla="*/ 7786788 w 12139750"/>
              <a:gd name="connsiteY2976" fmla="*/ 2100956 h 6858290"/>
              <a:gd name="connsiteX2977" fmla="*/ 7792517 w 12139750"/>
              <a:gd name="connsiteY2977" fmla="*/ 2062938 h 6858290"/>
              <a:gd name="connsiteX2978" fmla="*/ 8128611 w 12139750"/>
              <a:gd name="connsiteY2978" fmla="*/ 1827221 h 6858290"/>
              <a:gd name="connsiteX2979" fmla="*/ 8148424 w 12139750"/>
              <a:gd name="connsiteY2979" fmla="*/ 1822231 h 6858290"/>
              <a:gd name="connsiteX2980" fmla="*/ 11593502 w 12139750"/>
              <a:gd name="connsiteY2980" fmla="*/ 1822227 h 6858290"/>
              <a:gd name="connsiteX2981" fmla="*/ 11612061 w 12139750"/>
              <a:gd name="connsiteY2981" fmla="*/ 1832920 h 6858290"/>
              <a:gd name="connsiteX2982" fmla="*/ 11615868 w 12139750"/>
              <a:gd name="connsiteY2982" fmla="*/ 1850029 h 6858290"/>
              <a:gd name="connsiteX2983" fmla="*/ 11604447 w 12139750"/>
              <a:gd name="connsiteY2983" fmla="*/ 1872840 h 6858290"/>
              <a:gd name="connsiteX2984" fmla="*/ 11271337 w 12139750"/>
              <a:gd name="connsiteY2984" fmla="*/ 2108557 h 6858290"/>
              <a:gd name="connsiteX2985" fmla="*/ 11233267 w 12139750"/>
              <a:gd name="connsiteY2985" fmla="*/ 2100952 h 6858290"/>
              <a:gd name="connsiteX2986" fmla="*/ 11238978 w 12139750"/>
              <a:gd name="connsiteY2986" fmla="*/ 2062934 h 6858290"/>
              <a:gd name="connsiteX2987" fmla="*/ 11572088 w 12139750"/>
              <a:gd name="connsiteY2987" fmla="*/ 1827217 h 6858290"/>
              <a:gd name="connsiteX2988" fmla="*/ 11593502 w 12139750"/>
              <a:gd name="connsiteY2988" fmla="*/ 1822227 h 6858290"/>
              <a:gd name="connsiteX2989" fmla="*/ 12139750 w 12139750"/>
              <a:gd name="connsiteY2989" fmla="*/ 1819296 h 6858290"/>
              <a:gd name="connsiteX2990" fmla="*/ 12139750 w 12139750"/>
              <a:gd name="connsiteY2990" fmla="*/ 1893845 h 6858290"/>
              <a:gd name="connsiteX2991" fmla="*/ 11834405 w 12139750"/>
              <a:gd name="connsiteY2991" fmla="*/ 2090726 h 6858290"/>
              <a:gd name="connsiteX2992" fmla="*/ 11790512 w 12139750"/>
              <a:gd name="connsiteY2992" fmla="*/ 2081169 h 6858290"/>
              <a:gd name="connsiteX2993" fmla="*/ 11800054 w 12139750"/>
              <a:gd name="connsiteY2993" fmla="*/ 2037205 h 6858290"/>
              <a:gd name="connsiteX2994" fmla="*/ 12135933 w 12139750"/>
              <a:gd name="connsiteY2994" fmla="*/ 1821208 h 6858290"/>
              <a:gd name="connsiteX2995" fmla="*/ 12139750 w 12139750"/>
              <a:gd name="connsiteY2995" fmla="*/ 1819296 h 6858290"/>
              <a:gd name="connsiteX2996" fmla="*/ 7591461 w 12139750"/>
              <a:gd name="connsiteY2996" fmla="*/ 1816389 h 6858290"/>
              <a:gd name="connsiteX2997" fmla="*/ 7611195 w 12139750"/>
              <a:gd name="connsiteY2997" fmla="*/ 1830500 h 6858290"/>
              <a:gd name="connsiteX2998" fmla="*/ 7616901 w 12139750"/>
              <a:gd name="connsiteY2998" fmla="*/ 1847721 h 6858290"/>
              <a:gd name="connsiteX2999" fmla="*/ 7601685 w 12139750"/>
              <a:gd name="connsiteY2999" fmla="*/ 1874509 h 6858290"/>
              <a:gd name="connsiteX3000" fmla="*/ 7266927 w 12139750"/>
              <a:gd name="connsiteY3000" fmla="*/ 2090722 h 6858290"/>
              <a:gd name="connsiteX3001" fmla="*/ 7223180 w 12139750"/>
              <a:gd name="connsiteY3001" fmla="*/ 2081155 h 6858290"/>
              <a:gd name="connsiteX3002" fmla="*/ 7232690 w 12139750"/>
              <a:gd name="connsiteY3002" fmla="*/ 2037147 h 6858290"/>
              <a:gd name="connsiteX3003" fmla="*/ 7567448 w 12139750"/>
              <a:gd name="connsiteY3003" fmla="*/ 1820933 h 6858290"/>
              <a:gd name="connsiteX3004" fmla="*/ 7591461 w 12139750"/>
              <a:gd name="connsiteY3004" fmla="*/ 1816389 h 6858290"/>
              <a:gd name="connsiteX3005" fmla="*/ 7042453 w 12139750"/>
              <a:gd name="connsiteY3005" fmla="*/ 1811445 h 6858290"/>
              <a:gd name="connsiteX3006" fmla="*/ 7063473 w 12139750"/>
              <a:gd name="connsiteY3006" fmla="*/ 1827876 h 6858290"/>
              <a:gd name="connsiteX3007" fmla="*/ 7069206 w 12139750"/>
              <a:gd name="connsiteY3007" fmla="*/ 1845021 h 6858290"/>
              <a:gd name="connsiteX3008" fmla="*/ 7052008 w 12139750"/>
              <a:gd name="connsiteY3008" fmla="*/ 1875501 h 6858290"/>
              <a:gd name="connsiteX3009" fmla="*/ 6713777 w 12139750"/>
              <a:gd name="connsiteY3009" fmla="*/ 2071714 h 6858290"/>
              <a:gd name="connsiteX3010" fmla="*/ 6666004 w 12139750"/>
              <a:gd name="connsiteY3010" fmla="*/ 2058379 h 6858290"/>
              <a:gd name="connsiteX3011" fmla="*/ 6679381 w 12139750"/>
              <a:gd name="connsiteY3011" fmla="*/ 2010756 h 6858290"/>
              <a:gd name="connsiteX3012" fmla="*/ 7015700 w 12139750"/>
              <a:gd name="connsiteY3012" fmla="*/ 1816445 h 6858290"/>
              <a:gd name="connsiteX3013" fmla="*/ 7042453 w 12139750"/>
              <a:gd name="connsiteY3013" fmla="*/ 1811445 h 6858290"/>
              <a:gd name="connsiteX3014" fmla="*/ 6499936 w 12139750"/>
              <a:gd name="connsiteY3014" fmla="*/ 1806065 h 6858290"/>
              <a:gd name="connsiteX3015" fmla="*/ 6522132 w 12139750"/>
              <a:gd name="connsiteY3015" fmla="*/ 1825400 h 6858290"/>
              <a:gd name="connsiteX3016" fmla="*/ 6527860 w 12139750"/>
              <a:gd name="connsiteY3016" fmla="*/ 1842587 h 6858290"/>
              <a:gd name="connsiteX3017" fmla="*/ 6506857 w 12139750"/>
              <a:gd name="connsiteY3017" fmla="*/ 1876960 h 6858290"/>
              <a:gd name="connsiteX3018" fmla="*/ 6166999 w 12139750"/>
              <a:gd name="connsiteY3018" fmla="*/ 2052641 h 6858290"/>
              <a:gd name="connsiteX3019" fmla="*/ 6115448 w 12139750"/>
              <a:gd name="connsiteY3019" fmla="*/ 2035456 h 6858290"/>
              <a:gd name="connsiteX3020" fmla="*/ 6130722 w 12139750"/>
              <a:gd name="connsiteY3020" fmla="*/ 1983897 h 6858290"/>
              <a:gd name="connsiteX3021" fmla="*/ 6470580 w 12139750"/>
              <a:gd name="connsiteY3021" fmla="*/ 1808213 h 6858290"/>
              <a:gd name="connsiteX3022" fmla="*/ 6499936 w 12139750"/>
              <a:gd name="connsiteY3022" fmla="*/ 1806065 h 6858290"/>
              <a:gd name="connsiteX3023" fmla="*/ 5958440 w 12139750"/>
              <a:gd name="connsiteY3023" fmla="*/ 1800931 h 6858290"/>
              <a:gd name="connsiteX3024" fmla="*/ 5982710 w 12139750"/>
              <a:gd name="connsiteY3024" fmla="*/ 1822950 h 6858290"/>
              <a:gd name="connsiteX3025" fmla="*/ 5986517 w 12139750"/>
              <a:gd name="connsiteY3025" fmla="*/ 1840183 h 6858290"/>
              <a:gd name="connsiteX3026" fmla="*/ 5961771 w 12139750"/>
              <a:gd name="connsiteY3026" fmla="*/ 1878478 h 6858290"/>
              <a:gd name="connsiteX3027" fmla="*/ 5622934 w 12139750"/>
              <a:gd name="connsiteY3027" fmla="*/ 2033566 h 6858290"/>
              <a:gd name="connsiteX3028" fmla="*/ 5565827 w 12139750"/>
              <a:gd name="connsiteY3028" fmla="*/ 2012506 h 6858290"/>
              <a:gd name="connsiteX3029" fmla="*/ 5586766 w 12139750"/>
              <a:gd name="connsiteY3029" fmla="*/ 1955065 h 6858290"/>
              <a:gd name="connsiteX3030" fmla="*/ 5925602 w 12139750"/>
              <a:gd name="connsiteY3030" fmla="*/ 1801889 h 6858290"/>
              <a:gd name="connsiteX3031" fmla="*/ 5958440 w 12139750"/>
              <a:gd name="connsiteY3031" fmla="*/ 1800931 h 6858290"/>
              <a:gd name="connsiteX3032" fmla="*/ 398962 w 12139750"/>
              <a:gd name="connsiteY3032" fmla="*/ 1800922 h 6858290"/>
              <a:gd name="connsiteX3033" fmla="*/ 423233 w 12139750"/>
              <a:gd name="connsiteY3033" fmla="*/ 1822941 h 6858290"/>
              <a:gd name="connsiteX3034" fmla="*/ 427041 w 12139750"/>
              <a:gd name="connsiteY3034" fmla="*/ 1840174 h 6858290"/>
              <a:gd name="connsiteX3035" fmla="*/ 400390 w 12139750"/>
              <a:gd name="connsiteY3035" fmla="*/ 1878468 h 6858290"/>
              <a:gd name="connsiteX3036" fmla="*/ 61546 w 12139750"/>
              <a:gd name="connsiteY3036" fmla="*/ 2033558 h 6858290"/>
              <a:gd name="connsiteX3037" fmla="*/ 6342 w 12139750"/>
              <a:gd name="connsiteY3037" fmla="*/ 2012496 h 6858290"/>
              <a:gd name="connsiteX3038" fmla="*/ 27281 w 12139750"/>
              <a:gd name="connsiteY3038" fmla="*/ 1955055 h 6858290"/>
              <a:gd name="connsiteX3039" fmla="*/ 366125 w 12139750"/>
              <a:gd name="connsiteY3039" fmla="*/ 1801879 h 6858290"/>
              <a:gd name="connsiteX3040" fmla="*/ 398962 w 12139750"/>
              <a:gd name="connsiteY3040" fmla="*/ 1800922 h 6858290"/>
              <a:gd name="connsiteX3041" fmla="*/ 5395741 w 12139750"/>
              <a:gd name="connsiteY3041" fmla="*/ 1792156 h 6858290"/>
              <a:gd name="connsiteX3042" fmla="*/ 5438189 w 12139750"/>
              <a:gd name="connsiteY3042" fmla="*/ 1822160 h 6858290"/>
              <a:gd name="connsiteX3043" fmla="*/ 5442010 w 12139750"/>
              <a:gd name="connsiteY3043" fmla="*/ 1839306 h 6858290"/>
              <a:gd name="connsiteX3044" fmla="*/ 5411443 w 12139750"/>
              <a:gd name="connsiteY3044" fmla="*/ 1883121 h 6858290"/>
              <a:gd name="connsiteX3045" fmla="*/ 5069457 w 12139750"/>
              <a:gd name="connsiteY3045" fmla="*/ 2014565 h 6858290"/>
              <a:gd name="connsiteX3046" fmla="*/ 5010238 w 12139750"/>
              <a:gd name="connsiteY3046" fmla="*/ 1989801 h 6858290"/>
              <a:gd name="connsiteX3047" fmla="*/ 5036983 w 12139750"/>
              <a:gd name="connsiteY3047" fmla="*/ 1928841 h 6858290"/>
              <a:gd name="connsiteX3048" fmla="*/ 5377054 w 12139750"/>
              <a:gd name="connsiteY3048" fmla="*/ 1795490 h 6858290"/>
              <a:gd name="connsiteX3049" fmla="*/ 5395741 w 12139750"/>
              <a:gd name="connsiteY3049" fmla="*/ 1792156 h 6858290"/>
              <a:gd name="connsiteX3050" fmla="*/ 929266 w 12139750"/>
              <a:gd name="connsiteY3050" fmla="*/ 1792145 h 6858290"/>
              <a:gd name="connsiteX3051" fmla="*/ 970909 w 12139750"/>
              <a:gd name="connsiteY3051" fmla="*/ 1822149 h 6858290"/>
              <a:gd name="connsiteX3052" fmla="*/ 974730 w 12139750"/>
              <a:gd name="connsiteY3052" fmla="*/ 1839294 h 6858290"/>
              <a:gd name="connsiteX3053" fmla="*/ 946072 w 12139750"/>
              <a:gd name="connsiteY3053" fmla="*/ 1883109 h 6858290"/>
              <a:gd name="connsiteX3054" fmla="*/ 604089 w 12139750"/>
              <a:gd name="connsiteY3054" fmla="*/ 2014554 h 6858290"/>
              <a:gd name="connsiteX3055" fmla="*/ 542953 w 12139750"/>
              <a:gd name="connsiteY3055" fmla="*/ 1989789 h 6858290"/>
              <a:gd name="connsiteX3056" fmla="*/ 569700 w 12139750"/>
              <a:gd name="connsiteY3056" fmla="*/ 1928829 h 6858290"/>
              <a:gd name="connsiteX3057" fmla="*/ 911683 w 12139750"/>
              <a:gd name="connsiteY3057" fmla="*/ 1795478 h 6858290"/>
              <a:gd name="connsiteX3058" fmla="*/ 929266 w 12139750"/>
              <a:gd name="connsiteY3058" fmla="*/ 1792145 h 6858290"/>
              <a:gd name="connsiteX3059" fmla="*/ 4845289 w 12139750"/>
              <a:gd name="connsiteY3059" fmla="*/ 1786421 h 6858290"/>
              <a:gd name="connsiteX3060" fmla="*/ 4889233 w 12139750"/>
              <a:gd name="connsiteY3060" fmla="*/ 1819733 h 6858290"/>
              <a:gd name="connsiteX3061" fmla="*/ 4891136 w 12139750"/>
              <a:gd name="connsiteY3061" fmla="*/ 1836927 h 6858290"/>
              <a:gd name="connsiteX3062" fmla="*/ 4856841 w 12139750"/>
              <a:gd name="connsiteY3062" fmla="*/ 1884687 h 6858290"/>
              <a:gd name="connsiteX3063" fmla="*/ 4515848 w 12139750"/>
              <a:gd name="connsiteY3063" fmla="*/ 1997399 h 6858290"/>
              <a:gd name="connsiteX3064" fmla="*/ 4451076 w 12139750"/>
              <a:gd name="connsiteY3064" fmla="*/ 1964923 h 6858290"/>
              <a:gd name="connsiteX3065" fmla="*/ 4483463 w 12139750"/>
              <a:gd name="connsiteY3065" fmla="*/ 1901881 h 6858290"/>
              <a:gd name="connsiteX3066" fmla="*/ 4826355 w 12139750"/>
              <a:gd name="connsiteY3066" fmla="*/ 1789167 h 6858290"/>
              <a:gd name="connsiteX3067" fmla="*/ 4845289 w 12139750"/>
              <a:gd name="connsiteY3067" fmla="*/ 1786421 h 6858290"/>
              <a:gd name="connsiteX3068" fmla="*/ 1480544 w 12139750"/>
              <a:gd name="connsiteY3068" fmla="*/ 1786407 h 6858290"/>
              <a:gd name="connsiteX3069" fmla="*/ 1523376 w 12139750"/>
              <a:gd name="connsiteY3069" fmla="*/ 1819719 h 6858290"/>
              <a:gd name="connsiteX3070" fmla="*/ 1527184 w 12139750"/>
              <a:gd name="connsiteY3070" fmla="*/ 1836913 h 6858290"/>
              <a:gd name="connsiteX3071" fmla="*/ 1492918 w 12139750"/>
              <a:gd name="connsiteY3071" fmla="*/ 1884672 h 6858290"/>
              <a:gd name="connsiteX3072" fmla="*/ 1150255 w 12139750"/>
              <a:gd name="connsiteY3072" fmla="*/ 1997385 h 6858290"/>
              <a:gd name="connsiteX3073" fmla="*/ 1087434 w 12139750"/>
              <a:gd name="connsiteY3073" fmla="*/ 1964908 h 6858290"/>
              <a:gd name="connsiteX3074" fmla="*/ 1119796 w 12139750"/>
              <a:gd name="connsiteY3074" fmla="*/ 1901866 h 6858290"/>
              <a:gd name="connsiteX3075" fmla="*/ 1460555 w 12139750"/>
              <a:gd name="connsiteY3075" fmla="*/ 1789153 h 6858290"/>
              <a:gd name="connsiteX3076" fmla="*/ 1480544 w 12139750"/>
              <a:gd name="connsiteY3076" fmla="*/ 1786407 h 6858290"/>
              <a:gd name="connsiteX3077" fmla="*/ 4289929 w 12139750"/>
              <a:gd name="connsiteY3077" fmla="*/ 1779643 h 6858290"/>
              <a:gd name="connsiteX3078" fmla="*/ 4333596 w 12139750"/>
              <a:gd name="connsiteY3078" fmla="*/ 1819260 h 6858290"/>
              <a:gd name="connsiteX3079" fmla="*/ 4335501 w 12139750"/>
              <a:gd name="connsiteY3079" fmla="*/ 1834591 h 6858290"/>
              <a:gd name="connsiteX3080" fmla="*/ 4295495 w 12139750"/>
              <a:gd name="connsiteY3080" fmla="*/ 1886336 h 6858290"/>
              <a:gd name="connsiteX3081" fmla="*/ 3952611 w 12139750"/>
              <a:gd name="connsiteY3081" fmla="*/ 1978325 h 6858290"/>
              <a:gd name="connsiteX3082" fmla="*/ 3885933 w 12139750"/>
              <a:gd name="connsiteY3082" fmla="*/ 1939996 h 6858290"/>
              <a:gd name="connsiteX3083" fmla="*/ 3924033 w 12139750"/>
              <a:gd name="connsiteY3083" fmla="*/ 1872921 h 6858290"/>
              <a:gd name="connsiteX3084" fmla="*/ 4268824 w 12139750"/>
              <a:gd name="connsiteY3084" fmla="*/ 1780930 h 6858290"/>
              <a:gd name="connsiteX3085" fmla="*/ 4289929 w 12139750"/>
              <a:gd name="connsiteY3085" fmla="*/ 1779643 h 6858290"/>
              <a:gd name="connsiteX3086" fmla="*/ 2035632 w 12139750"/>
              <a:gd name="connsiteY3086" fmla="*/ 1779626 h 6858290"/>
              <a:gd name="connsiteX3087" fmla="*/ 2080910 w 12139750"/>
              <a:gd name="connsiteY3087" fmla="*/ 1819243 h 6858290"/>
              <a:gd name="connsiteX3088" fmla="*/ 2082815 w 12139750"/>
              <a:gd name="connsiteY3088" fmla="*/ 1834574 h 6858290"/>
              <a:gd name="connsiteX3089" fmla="*/ 2042805 w 12139750"/>
              <a:gd name="connsiteY3089" fmla="*/ 1886319 h 6858290"/>
              <a:gd name="connsiteX3090" fmla="*/ 1699901 w 12139750"/>
              <a:gd name="connsiteY3090" fmla="*/ 1978307 h 6858290"/>
              <a:gd name="connsiteX3091" fmla="*/ 1633225 w 12139750"/>
              <a:gd name="connsiteY3091" fmla="*/ 1939979 h 6858290"/>
              <a:gd name="connsiteX3092" fmla="*/ 1671326 w 12139750"/>
              <a:gd name="connsiteY3092" fmla="*/ 1872903 h 6858290"/>
              <a:gd name="connsiteX3093" fmla="*/ 2014230 w 12139750"/>
              <a:gd name="connsiteY3093" fmla="*/ 1780914 h 6858290"/>
              <a:gd name="connsiteX3094" fmla="*/ 2035632 w 12139750"/>
              <a:gd name="connsiteY3094" fmla="*/ 1779626 h 6858290"/>
              <a:gd name="connsiteX3095" fmla="*/ 3732186 w 12139750"/>
              <a:gd name="connsiteY3095" fmla="*/ 1775478 h 6858290"/>
              <a:gd name="connsiteX3096" fmla="*/ 3778299 w 12139750"/>
              <a:gd name="connsiteY3096" fmla="*/ 1820020 h 6858290"/>
              <a:gd name="connsiteX3097" fmla="*/ 3778299 w 12139750"/>
              <a:gd name="connsiteY3097" fmla="*/ 1831468 h 6858290"/>
              <a:gd name="connsiteX3098" fmla="*/ 3732545 w 12139750"/>
              <a:gd name="connsiteY3098" fmla="*/ 1888710 h 6858290"/>
              <a:gd name="connsiteX3099" fmla="*/ 3387514 w 12139750"/>
              <a:gd name="connsiteY3099" fmla="*/ 1959308 h 6858290"/>
              <a:gd name="connsiteX3100" fmla="*/ 3318883 w 12139750"/>
              <a:gd name="connsiteY3100" fmla="*/ 1915423 h 6858290"/>
              <a:gd name="connsiteX3101" fmla="*/ 3364636 w 12139750"/>
              <a:gd name="connsiteY3101" fmla="*/ 1846733 h 6858290"/>
              <a:gd name="connsiteX3102" fmla="*/ 3709668 w 12139750"/>
              <a:gd name="connsiteY3102" fmla="*/ 1776134 h 6858290"/>
              <a:gd name="connsiteX3103" fmla="*/ 3732186 w 12139750"/>
              <a:gd name="connsiteY3103" fmla="*/ 1775478 h 6858290"/>
              <a:gd name="connsiteX3104" fmla="*/ 2597096 w 12139750"/>
              <a:gd name="connsiteY3104" fmla="*/ 1775459 h 6858290"/>
              <a:gd name="connsiteX3105" fmla="*/ 2643205 w 12139750"/>
              <a:gd name="connsiteY3105" fmla="*/ 1820000 h 6858290"/>
              <a:gd name="connsiteX3106" fmla="*/ 2643205 w 12139750"/>
              <a:gd name="connsiteY3106" fmla="*/ 1831449 h 6858290"/>
              <a:gd name="connsiteX3107" fmla="*/ 2597453 w 12139750"/>
              <a:gd name="connsiteY3107" fmla="*/ 1888690 h 6858290"/>
              <a:gd name="connsiteX3108" fmla="*/ 2252409 w 12139750"/>
              <a:gd name="connsiteY3108" fmla="*/ 1959288 h 6858290"/>
              <a:gd name="connsiteX3109" fmla="*/ 2183781 w 12139750"/>
              <a:gd name="connsiteY3109" fmla="*/ 1915403 h 6858290"/>
              <a:gd name="connsiteX3110" fmla="*/ 2229533 w 12139750"/>
              <a:gd name="connsiteY3110" fmla="*/ 1846713 h 6858290"/>
              <a:gd name="connsiteX3111" fmla="*/ 2574577 w 12139750"/>
              <a:gd name="connsiteY3111" fmla="*/ 1776115 h 6858290"/>
              <a:gd name="connsiteX3112" fmla="*/ 2597096 w 12139750"/>
              <a:gd name="connsiteY3112" fmla="*/ 1775459 h 6858290"/>
              <a:gd name="connsiteX3113" fmla="*/ 3139439 w 12139750"/>
              <a:gd name="connsiteY3113" fmla="*/ 1767857 h 6858290"/>
              <a:gd name="connsiteX3114" fmla="*/ 3209972 w 12139750"/>
              <a:gd name="connsiteY3114" fmla="*/ 1819203 h 6858290"/>
              <a:gd name="connsiteX3115" fmla="*/ 3209972 w 12139750"/>
              <a:gd name="connsiteY3115" fmla="*/ 1828711 h 6858290"/>
              <a:gd name="connsiteX3116" fmla="*/ 3156596 w 12139750"/>
              <a:gd name="connsiteY3116" fmla="*/ 1889566 h 6858290"/>
              <a:gd name="connsiteX3117" fmla="*/ 2811555 w 12139750"/>
              <a:gd name="connsiteY3117" fmla="*/ 1939010 h 6858290"/>
              <a:gd name="connsiteX3118" fmla="*/ 2741022 w 12139750"/>
              <a:gd name="connsiteY3118" fmla="*/ 1887665 h 6858290"/>
              <a:gd name="connsiteX3119" fmla="*/ 2792492 w 12139750"/>
              <a:gd name="connsiteY3119" fmla="*/ 1819203 h 6858290"/>
              <a:gd name="connsiteX3120" fmla="*/ 3139439 w 12139750"/>
              <a:gd name="connsiteY3120" fmla="*/ 1767857 h 6858290"/>
              <a:gd name="connsiteX3121" fmla="*/ 9859195 w 12139750"/>
              <a:gd name="connsiteY3121" fmla="*/ 1522734 h 6858290"/>
              <a:gd name="connsiteX3122" fmla="*/ 9871816 w 12139750"/>
              <a:gd name="connsiteY3122" fmla="*/ 1530346 h 6858290"/>
              <a:gd name="connsiteX3123" fmla="*/ 9877531 w 12139750"/>
              <a:gd name="connsiteY3123" fmla="*/ 1541765 h 6858290"/>
              <a:gd name="connsiteX3124" fmla="*/ 9869911 w 12139750"/>
              <a:gd name="connsiteY3124" fmla="*/ 1556990 h 6858290"/>
              <a:gd name="connsiteX3125" fmla="*/ 9538436 w 12139750"/>
              <a:gd name="connsiteY3125" fmla="*/ 1838657 h 6858290"/>
              <a:gd name="connsiteX3126" fmla="*/ 9511766 w 12139750"/>
              <a:gd name="connsiteY3126" fmla="*/ 1836754 h 6858290"/>
              <a:gd name="connsiteX3127" fmla="*/ 9513671 w 12139750"/>
              <a:gd name="connsiteY3127" fmla="*/ 1810110 h 6858290"/>
              <a:gd name="connsiteX3128" fmla="*/ 9845146 w 12139750"/>
              <a:gd name="connsiteY3128" fmla="*/ 1526540 h 6858290"/>
              <a:gd name="connsiteX3129" fmla="*/ 9859195 w 12139750"/>
              <a:gd name="connsiteY3129" fmla="*/ 1522734 h 6858290"/>
              <a:gd name="connsiteX3130" fmla="*/ 9283544 w 12139750"/>
              <a:gd name="connsiteY3130" fmla="*/ 1516005 h 6858290"/>
              <a:gd name="connsiteX3131" fmla="*/ 9299036 w 12139750"/>
              <a:gd name="connsiteY3131" fmla="*/ 1524331 h 6858290"/>
              <a:gd name="connsiteX3132" fmla="*/ 9302849 w 12139750"/>
              <a:gd name="connsiteY3132" fmla="*/ 1537653 h 6858290"/>
              <a:gd name="connsiteX3133" fmla="*/ 9295222 w 12139750"/>
              <a:gd name="connsiteY3133" fmla="*/ 1554780 h 6858290"/>
              <a:gd name="connsiteX3134" fmla="*/ 8961563 w 12139750"/>
              <a:gd name="connsiteY3134" fmla="*/ 1821217 h 6858290"/>
              <a:gd name="connsiteX3135" fmla="*/ 8931057 w 12139750"/>
              <a:gd name="connsiteY3135" fmla="*/ 1817411 h 6858290"/>
              <a:gd name="connsiteX3136" fmla="*/ 8934871 w 12139750"/>
              <a:gd name="connsiteY3136" fmla="*/ 1785058 h 6858290"/>
              <a:gd name="connsiteX3137" fmla="*/ 9266623 w 12139750"/>
              <a:gd name="connsiteY3137" fmla="*/ 1520524 h 6858290"/>
              <a:gd name="connsiteX3138" fmla="*/ 9283544 w 12139750"/>
              <a:gd name="connsiteY3138" fmla="*/ 1516005 h 6858290"/>
              <a:gd name="connsiteX3139" fmla="*/ 10444673 w 12139750"/>
              <a:gd name="connsiteY3139" fmla="*/ 1515983 h 6858290"/>
              <a:gd name="connsiteX3140" fmla="*/ 10459199 w 12139750"/>
              <a:gd name="connsiteY3140" fmla="*/ 1524309 h 6858290"/>
              <a:gd name="connsiteX3141" fmla="*/ 10464914 w 12139750"/>
              <a:gd name="connsiteY3141" fmla="*/ 1537630 h 6858290"/>
              <a:gd name="connsiteX3142" fmla="*/ 10455389 w 12139750"/>
              <a:gd name="connsiteY3142" fmla="*/ 1554759 h 6858290"/>
              <a:gd name="connsiteX3143" fmla="*/ 10123915 w 12139750"/>
              <a:gd name="connsiteY3143" fmla="*/ 1821192 h 6858290"/>
              <a:gd name="connsiteX3144" fmla="*/ 10091529 w 12139750"/>
              <a:gd name="connsiteY3144" fmla="*/ 1817385 h 6858290"/>
              <a:gd name="connsiteX3145" fmla="*/ 10095339 w 12139750"/>
              <a:gd name="connsiteY3145" fmla="*/ 1785033 h 6858290"/>
              <a:gd name="connsiteX3146" fmla="*/ 10428719 w 12139750"/>
              <a:gd name="connsiteY3146" fmla="*/ 1520503 h 6858290"/>
              <a:gd name="connsiteX3147" fmla="*/ 10444673 w 12139750"/>
              <a:gd name="connsiteY3147" fmla="*/ 1515983 h 6858290"/>
              <a:gd name="connsiteX3148" fmla="*/ 8713305 w 12139750"/>
              <a:gd name="connsiteY3148" fmla="*/ 1508547 h 6858290"/>
              <a:gd name="connsiteX3149" fmla="*/ 8730703 w 12139750"/>
              <a:gd name="connsiteY3149" fmla="*/ 1518310 h 6858290"/>
              <a:gd name="connsiteX3150" fmla="*/ 8734516 w 12139750"/>
              <a:gd name="connsiteY3150" fmla="*/ 1533551 h 6858290"/>
              <a:gd name="connsiteX3151" fmla="*/ 8724983 w 12139750"/>
              <a:gd name="connsiteY3151" fmla="*/ 1554506 h 6858290"/>
              <a:gd name="connsiteX3152" fmla="*/ 8391331 w 12139750"/>
              <a:gd name="connsiteY3152" fmla="*/ 1802160 h 6858290"/>
              <a:gd name="connsiteX3153" fmla="*/ 8355106 w 12139750"/>
              <a:gd name="connsiteY3153" fmla="*/ 1796444 h 6858290"/>
              <a:gd name="connsiteX3154" fmla="*/ 8360826 w 12139750"/>
              <a:gd name="connsiteY3154" fmla="*/ 1760249 h 6858290"/>
              <a:gd name="connsiteX3155" fmla="*/ 8694478 w 12139750"/>
              <a:gd name="connsiteY3155" fmla="*/ 1514500 h 6858290"/>
              <a:gd name="connsiteX3156" fmla="*/ 8713305 w 12139750"/>
              <a:gd name="connsiteY3156" fmla="*/ 1508547 h 6858290"/>
              <a:gd name="connsiteX3157" fmla="*/ 11022911 w 12139750"/>
              <a:gd name="connsiteY3157" fmla="*/ 1508523 h 6858290"/>
              <a:gd name="connsiteX3158" fmla="*/ 11038640 w 12139750"/>
              <a:gd name="connsiteY3158" fmla="*/ 1518286 h 6858290"/>
              <a:gd name="connsiteX3159" fmla="*/ 11044360 w 12139750"/>
              <a:gd name="connsiteY3159" fmla="*/ 1533526 h 6858290"/>
              <a:gd name="connsiteX3160" fmla="*/ 11034827 w 12139750"/>
              <a:gd name="connsiteY3160" fmla="*/ 1554481 h 6858290"/>
              <a:gd name="connsiteX3161" fmla="*/ 10701175 w 12139750"/>
              <a:gd name="connsiteY3161" fmla="*/ 1802131 h 6858290"/>
              <a:gd name="connsiteX3162" fmla="*/ 10664950 w 12139750"/>
              <a:gd name="connsiteY3162" fmla="*/ 1796416 h 6858290"/>
              <a:gd name="connsiteX3163" fmla="*/ 10670670 w 12139750"/>
              <a:gd name="connsiteY3163" fmla="*/ 1760221 h 6858290"/>
              <a:gd name="connsiteX3164" fmla="*/ 11004322 w 12139750"/>
              <a:gd name="connsiteY3164" fmla="*/ 1514476 h 6858290"/>
              <a:gd name="connsiteX3165" fmla="*/ 11022911 w 12139750"/>
              <a:gd name="connsiteY3165" fmla="*/ 1508523 h 6858290"/>
              <a:gd name="connsiteX3166" fmla="*/ 8149812 w 12139750"/>
              <a:gd name="connsiteY3166" fmla="*/ 1501800 h 6858290"/>
              <a:gd name="connsiteX3167" fmla="*/ 8168401 w 12139750"/>
              <a:gd name="connsiteY3167" fmla="*/ 1514182 h 6858290"/>
              <a:gd name="connsiteX3168" fmla="*/ 8174121 w 12139750"/>
              <a:gd name="connsiteY3168" fmla="*/ 1531327 h 6858290"/>
              <a:gd name="connsiteX3169" fmla="*/ 8160775 w 12139750"/>
              <a:gd name="connsiteY3169" fmla="*/ 1554187 h 6858290"/>
              <a:gd name="connsiteX3170" fmla="*/ 7825223 w 12139750"/>
              <a:gd name="connsiteY3170" fmla="*/ 1782791 h 6858290"/>
              <a:gd name="connsiteX3171" fmla="*/ 7785185 w 12139750"/>
              <a:gd name="connsiteY3171" fmla="*/ 1775171 h 6858290"/>
              <a:gd name="connsiteX3172" fmla="*/ 7792812 w 12139750"/>
              <a:gd name="connsiteY3172" fmla="*/ 1735166 h 6858290"/>
              <a:gd name="connsiteX3173" fmla="*/ 8128364 w 12139750"/>
              <a:gd name="connsiteY3173" fmla="*/ 1506563 h 6858290"/>
              <a:gd name="connsiteX3174" fmla="*/ 8149812 w 12139750"/>
              <a:gd name="connsiteY3174" fmla="*/ 1501800 h 6858290"/>
              <a:gd name="connsiteX3175" fmla="*/ 11594174 w 12139750"/>
              <a:gd name="connsiteY3175" fmla="*/ 1501795 h 6858290"/>
              <a:gd name="connsiteX3176" fmla="*/ 11613654 w 12139750"/>
              <a:gd name="connsiteY3176" fmla="*/ 1514178 h 6858290"/>
              <a:gd name="connsiteX3177" fmla="*/ 11617455 w 12139750"/>
              <a:gd name="connsiteY3177" fmla="*/ 1531323 h 6858290"/>
              <a:gd name="connsiteX3178" fmla="*/ 11606052 w 12139750"/>
              <a:gd name="connsiteY3178" fmla="*/ 1554183 h 6858290"/>
              <a:gd name="connsiteX3179" fmla="*/ 11271574 w 12139750"/>
              <a:gd name="connsiteY3179" fmla="*/ 1782786 h 6858290"/>
              <a:gd name="connsiteX3180" fmla="*/ 11231664 w 12139750"/>
              <a:gd name="connsiteY3180" fmla="*/ 1775166 h 6858290"/>
              <a:gd name="connsiteX3181" fmla="*/ 11239266 w 12139750"/>
              <a:gd name="connsiteY3181" fmla="*/ 1735161 h 6858290"/>
              <a:gd name="connsiteX3182" fmla="*/ 11571844 w 12139750"/>
              <a:gd name="connsiteY3182" fmla="*/ 1506558 h 6858290"/>
              <a:gd name="connsiteX3183" fmla="*/ 11594174 w 12139750"/>
              <a:gd name="connsiteY3183" fmla="*/ 1501795 h 6858290"/>
              <a:gd name="connsiteX3184" fmla="*/ 12139750 w 12139750"/>
              <a:gd name="connsiteY3184" fmla="*/ 1497031 h 6858290"/>
              <a:gd name="connsiteX3185" fmla="*/ 12139750 w 12139750"/>
              <a:gd name="connsiteY3185" fmla="*/ 1573231 h 6858290"/>
              <a:gd name="connsiteX3186" fmla="*/ 11834677 w 12139750"/>
              <a:gd name="connsiteY3186" fmla="*/ 1763733 h 6858290"/>
              <a:gd name="connsiteX3187" fmla="*/ 11788917 w 12139750"/>
              <a:gd name="connsiteY3187" fmla="*/ 1754208 h 6858290"/>
              <a:gd name="connsiteX3188" fmla="*/ 11800357 w 12139750"/>
              <a:gd name="connsiteY3188" fmla="*/ 1710392 h 6858290"/>
              <a:gd name="connsiteX3189" fmla="*/ 12135937 w 12139750"/>
              <a:gd name="connsiteY3189" fmla="*/ 1498936 h 6858290"/>
              <a:gd name="connsiteX3190" fmla="*/ 12139750 w 12139750"/>
              <a:gd name="connsiteY3190" fmla="*/ 1497031 h 6858290"/>
              <a:gd name="connsiteX3191" fmla="*/ 7592412 w 12139750"/>
              <a:gd name="connsiteY3191" fmla="*/ 1496614 h 6858290"/>
              <a:gd name="connsiteX3192" fmla="*/ 7613097 w 12139750"/>
              <a:gd name="connsiteY3192" fmla="*/ 1511548 h 6858290"/>
              <a:gd name="connsiteX3193" fmla="*/ 7616901 w 12139750"/>
              <a:gd name="connsiteY3193" fmla="*/ 1528616 h 6858290"/>
              <a:gd name="connsiteX3194" fmla="*/ 7601685 w 12139750"/>
              <a:gd name="connsiteY3194" fmla="*/ 1555168 h 6858290"/>
              <a:gd name="connsiteX3195" fmla="*/ 7266927 w 12139750"/>
              <a:gd name="connsiteY3195" fmla="*/ 1763784 h 6858290"/>
              <a:gd name="connsiteX3196" fmla="*/ 7223180 w 12139750"/>
              <a:gd name="connsiteY3196" fmla="*/ 1754301 h 6858290"/>
              <a:gd name="connsiteX3197" fmla="*/ 7232690 w 12139750"/>
              <a:gd name="connsiteY3197" fmla="*/ 1710681 h 6858290"/>
              <a:gd name="connsiteX3198" fmla="*/ 7567448 w 12139750"/>
              <a:gd name="connsiteY3198" fmla="*/ 1500170 h 6858290"/>
              <a:gd name="connsiteX3199" fmla="*/ 7592412 w 12139750"/>
              <a:gd name="connsiteY3199" fmla="*/ 1496614 h 6858290"/>
              <a:gd name="connsiteX3200" fmla="*/ 7043429 w 12139750"/>
              <a:gd name="connsiteY3200" fmla="*/ 1490543 h 6858290"/>
              <a:gd name="connsiteX3201" fmla="*/ 7065387 w 12139750"/>
              <a:gd name="connsiteY3201" fmla="*/ 1507250 h 6858290"/>
              <a:gd name="connsiteX3202" fmla="*/ 7069206 w 12139750"/>
              <a:gd name="connsiteY3202" fmla="*/ 1524435 h 6858290"/>
              <a:gd name="connsiteX3203" fmla="*/ 7052021 w 12139750"/>
              <a:gd name="connsiteY3203" fmla="*/ 1554987 h 6858290"/>
              <a:gd name="connsiteX3204" fmla="*/ 6714055 w 12139750"/>
              <a:gd name="connsiteY3204" fmla="*/ 1747844 h 6858290"/>
              <a:gd name="connsiteX3205" fmla="*/ 6664410 w 12139750"/>
              <a:gd name="connsiteY3205" fmla="*/ 1734477 h 6858290"/>
              <a:gd name="connsiteX3206" fmla="*/ 6677776 w 12139750"/>
              <a:gd name="connsiteY3206" fmla="*/ 1684830 h 6858290"/>
              <a:gd name="connsiteX3207" fmla="*/ 7015742 w 12139750"/>
              <a:gd name="connsiteY3207" fmla="*/ 1493885 h 6858290"/>
              <a:gd name="connsiteX3208" fmla="*/ 7043429 w 12139750"/>
              <a:gd name="connsiteY3208" fmla="*/ 1490543 h 6858290"/>
              <a:gd name="connsiteX3209" fmla="*/ 6500175 w 12139750"/>
              <a:gd name="connsiteY3209" fmla="*/ 1483801 h 6858290"/>
              <a:gd name="connsiteX3210" fmla="*/ 6524041 w 12139750"/>
              <a:gd name="connsiteY3210" fmla="*/ 1503135 h 6858290"/>
              <a:gd name="connsiteX3211" fmla="*/ 6527860 w 12139750"/>
              <a:gd name="connsiteY3211" fmla="*/ 1520321 h 6858290"/>
              <a:gd name="connsiteX3212" fmla="*/ 6506857 w 12139750"/>
              <a:gd name="connsiteY3212" fmla="*/ 1554694 h 6858290"/>
              <a:gd name="connsiteX3213" fmla="*/ 6166999 w 12139750"/>
              <a:gd name="connsiteY3213" fmla="*/ 1728470 h 6858290"/>
              <a:gd name="connsiteX3214" fmla="*/ 6113538 w 12139750"/>
              <a:gd name="connsiteY3214" fmla="*/ 1711284 h 6858290"/>
              <a:gd name="connsiteX3215" fmla="*/ 6130722 w 12139750"/>
              <a:gd name="connsiteY3215" fmla="*/ 1659723 h 6858290"/>
              <a:gd name="connsiteX3216" fmla="*/ 6470580 w 12139750"/>
              <a:gd name="connsiteY3216" fmla="*/ 1485949 h 6858290"/>
              <a:gd name="connsiteX3217" fmla="*/ 6500175 w 12139750"/>
              <a:gd name="connsiteY3217" fmla="*/ 1483801 h 6858290"/>
              <a:gd name="connsiteX3218" fmla="*/ 5958440 w 12139750"/>
              <a:gd name="connsiteY3218" fmla="*/ 1477068 h 6858290"/>
              <a:gd name="connsiteX3219" fmla="*/ 5982710 w 12139750"/>
              <a:gd name="connsiteY3219" fmla="*/ 1499058 h 6858290"/>
              <a:gd name="connsiteX3220" fmla="*/ 5986517 w 12139750"/>
              <a:gd name="connsiteY3220" fmla="*/ 1516267 h 6858290"/>
              <a:gd name="connsiteX3221" fmla="*/ 5961771 w 12139750"/>
              <a:gd name="connsiteY3221" fmla="*/ 1556424 h 6858290"/>
              <a:gd name="connsiteX3222" fmla="*/ 5622934 w 12139750"/>
              <a:gd name="connsiteY3222" fmla="*/ 1711317 h 6858290"/>
              <a:gd name="connsiteX3223" fmla="*/ 5565827 w 12139750"/>
              <a:gd name="connsiteY3223" fmla="*/ 1690282 h 6858290"/>
              <a:gd name="connsiteX3224" fmla="*/ 5586766 w 12139750"/>
              <a:gd name="connsiteY3224" fmla="*/ 1632914 h 6858290"/>
              <a:gd name="connsiteX3225" fmla="*/ 5925602 w 12139750"/>
              <a:gd name="connsiteY3225" fmla="*/ 1478023 h 6858290"/>
              <a:gd name="connsiteX3226" fmla="*/ 5958440 w 12139750"/>
              <a:gd name="connsiteY3226" fmla="*/ 1477068 h 6858290"/>
              <a:gd name="connsiteX3227" fmla="*/ 398249 w 12139750"/>
              <a:gd name="connsiteY3227" fmla="*/ 1477059 h 6858290"/>
              <a:gd name="connsiteX3228" fmla="*/ 423234 w 12139750"/>
              <a:gd name="connsiteY3228" fmla="*/ 1499048 h 6858290"/>
              <a:gd name="connsiteX3229" fmla="*/ 427041 w 12139750"/>
              <a:gd name="connsiteY3229" fmla="*/ 1516259 h 6858290"/>
              <a:gd name="connsiteX3230" fmla="*/ 402294 w 12139750"/>
              <a:gd name="connsiteY3230" fmla="*/ 1556416 h 6858290"/>
              <a:gd name="connsiteX3231" fmla="*/ 61547 w 12139750"/>
              <a:gd name="connsiteY3231" fmla="*/ 1711307 h 6858290"/>
              <a:gd name="connsiteX3232" fmla="*/ 6342 w 12139750"/>
              <a:gd name="connsiteY3232" fmla="*/ 1690272 h 6858290"/>
              <a:gd name="connsiteX3233" fmla="*/ 27282 w 12139750"/>
              <a:gd name="connsiteY3233" fmla="*/ 1632905 h 6858290"/>
              <a:gd name="connsiteX3234" fmla="*/ 366125 w 12139750"/>
              <a:gd name="connsiteY3234" fmla="*/ 1478015 h 6858290"/>
              <a:gd name="connsiteX3235" fmla="*/ 398249 w 12139750"/>
              <a:gd name="connsiteY3235" fmla="*/ 1477059 h 6858290"/>
              <a:gd name="connsiteX3236" fmla="*/ 5394603 w 12139750"/>
              <a:gd name="connsiteY3236" fmla="*/ 1468287 h 6858290"/>
              <a:gd name="connsiteX3237" fmla="*/ 5436931 w 12139750"/>
              <a:gd name="connsiteY3237" fmla="*/ 1498212 h 6858290"/>
              <a:gd name="connsiteX3238" fmla="*/ 5438835 w 12139750"/>
              <a:gd name="connsiteY3238" fmla="*/ 1515311 h 6858290"/>
              <a:gd name="connsiteX3239" fmla="*/ 5410261 w 12139750"/>
              <a:gd name="connsiteY3239" fmla="*/ 1557113 h 6858290"/>
              <a:gd name="connsiteX3240" fmla="*/ 5069259 w 12139750"/>
              <a:gd name="connsiteY3240" fmla="*/ 1693914 h 6858290"/>
              <a:gd name="connsiteX3241" fmla="*/ 5010210 w 12139750"/>
              <a:gd name="connsiteY3241" fmla="*/ 1667314 h 6858290"/>
              <a:gd name="connsiteX3242" fmla="*/ 5036878 w 12139750"/>
              <a:gd name="connsiteY3242" fmla="*/ 1608413 h 6858290"/>
              <a:gd name="connsiteX3243" fmla="*/ 5375971 w 12139750"/>
              <a:gd name="connsiteY3243" fmla="*/ 1471613 h 6858290"/>
              <a:gd name="connsiteX3244" fmla="*/ 5394603 w 12139750"/>
              <a:gd name="connsiteY3244" fmla="*/ 1468287 h 6858290"/>
              <a:gd name="connsiteX3245" fmla="*/ 929397 w 12139750"/>
              <a:gd name="connsiteY3245" fmla="*/ 1468276 h 6858290"/>
              <a:gd name="connsiteX3246" fmla="*/ 970920 w 12139750"/>
              <a:gd name="connsiteY3246" fmla="*/ 1498200 h 6858290"/>
              <a:gd name="connsiteX3247" fmla="*/ 974730 w 12139750"/>
              <a:gd name="connsiteY3247" fmla="*/ 1515301 h 6858290"/>
              <a:gd name="connsiteX3248" fmla="*/ 946155 w 12139750"/>
              <a:gd name="connsiteY3248" fmla="*/ 1557101 h 6858290"/>
              <a:gd name="connsiteX3249" fmla="*/ 605156 w 12139750"/>
              <a:gd name="connsiteY3249" fmla="*/ 1693902 h 6858290"/>
              <a:gd name="connsiteX3250" fmla="*/ 546100 w 12139750"/>
              <a:gd name="connsiteY3250" fmla="*/ 1667301 h 6858290"/>
              <a:gd name="connsiteX3251" fmla="*/ 570866 w 12139750"/>
              <a:gd name="connsiteY3251" fmla="*/ 1608401 h 6858290"/>
              <a:gd name="connsiteX3252" fmla="*/ 911865 w 12139750"/>
              <a:gd name="connsiteY3252" fmla="*/ 1471601 h 6858290"/>
              <a:gd name="connsiteX3253" fmla="*/ 929397 w 12139750"/>
              <a:gd name="connsiteY3253" fmla="*/ 1468276 h 6858290"/>
              <a:gd name="connsiteX3254" fmla="*/ 4844455 w 12139750"/>
              <a:gd name="connsiteY3254" fmla="*/ 1461448 h 6858290"/>
              <a:gd name="connsiteX3255" fmla="*/ 4887327 w 12139750"/>
              <a:gd name="connsiteY3255" fmla="*/ 1493862 h 6858290"/>
              <a:gd name="connsiteX3256" fmla="*/ 4891136 w 12139750"/>
              <a:gd name="connsiteY3256" fmla="*/ 1511006 h 6858290"/>
              <a:gd name="connsiteX3257" fmla="*/ 4856841 w 12139750"/>
              <a:gd name="connsiteY3257" fmla="*/ 1556728 h 6858290"/>
              <a:gd name="connsiteX3258" fmla="*/ 4515848 w 12139750"/>
              <a:gd name="connsiteY3258" fmla="*/ 1674839 h 6858290"/>
              <a:gd name="connsiteX3259" fmla="*/ 4452982 w 12139750"/>
              <a:gd name="connsiteY3259" fmla="*/ 1644358 h 6858290"/>
              <a:gd name="connsiteX3260" fmla="*/ 4483463 w 12139750"/>
              <a:gd name="connsiteY3260" fmla="*/ 1583397 h 6858290"/>
              <a:gd name="connsiteX3261" fmla="*/ 4824451 w 12139750"/>
              <a:gd name="connsiteY3261" fmla="*/ 1463382 h 6858290"/>
              <a:gd name="connsiteX3262" fmla="*/ 4844455 w 12139750"/>
              <a:gd name="connsiteY3262" fmla="*/ 1461448 h 6858290"/>
              <a:gd name="connsiteX3263" fmla="*/ 1479724 w 12139750"/>
              <a:gd name="connsiteY3263" fmla="*/ 1461434 h 6858290"/>
              <a:gd name="connsiteX3264" fmla="*/ 1523689 w 12139750"/>
              <a:gd name="connsiteY3264" fmla="*/ 1493848 h 6858290"/>
              <a:gd name="connsiteX3265" fmla="*/ 1525596 w 12139750"/>
              <a:gd name="connsiteY3265" fmla="*/ 1510993 h 6858290"/>
              <a:gd name="connsiteX3266" fmla="*/ 1493187 w 12139750"/>
              <a:gd name="connsiteY3266" fmla="*/ 1556713 h 6858290"/>
              <a:gd name="connsiteX3267" fmla="*/ 1150039 w 12139750"/>
              <a:gd name="connsiteY3267" fmla="*/ 1674825 h 6858290"/>
              <a:gd name="connsiteX3268" fmla="*/ 1089034 w 12139750"/>
              <a:gd name="connsiteY3268" fmla="*/ 1644344 h 6858290"/>
              <a:gd name="connsiteX3269" fmla="*/ 1117630 w 12139750"/>
              <a:gd name="connsiteY3269" fmla="*/ 1583384 h 6858290"/>
              <a:gd name="connsiteX3270" fmla="*/ 1460779 w 12139750"/>
              <a:gd name="connsiteY3270" fmla="*/ 1463368 h 6858290"/>
              <a:gd name="connsiteX3271" fmla="*/ 1479724 w 12139750"/>
              <a:gd name="connsiteY3271" fmla="*/ 1461434 h 6858290"/>
              <a:gd name="connsiteX3272" fmla="*/ 4287991 w 12139750"/>
              <a:gd name="connsiteY3272" fmla="*/ 1454950 h 6858290"/>
              <a:gd name="connsiteX3273" fmla="*/ 4331689 w 12139750"/>
              <a:gd name="connsiteY3273" fmla="*/ 1491704 h 6858290"/>
              <a:gd name="connsiteX3274" fmla="*/ 4335503 w 12139750"/>
              <a:gd name="connsiteY3274" fmla="*/ 1506966 h 6858290"/>
              <a:gd name="connsiteX3275" fmla="*/ 4297375 w 12139750"/>
              <a:gd name="connsiteY3275" fmla="*/ 1558477 h 6858290"/>
              <a:gd name="connsiteX3276" fmla="*/ 3954251 w 12139750"/>
              <a:gd name="connsiteY3276" fmla="*/ 1657683 h 6858290"/>
              <a:gd name="connsiteX3277" fmla="*/ 3887528 w 12139750"/>
              <a:gd name="connsiteY3277" fmla="*/ 1621435 h 6858290"/>
              <a:gd name="connsiteX3278" fmla="*/ 3923748 w 12139750"/>
              <a:gd name="connsiteY3278" fmla="*/ 1556569 h 6858290"/>
              <a:gd name="connsiteX3279" fmla="*/ 4266872 w 12139750"/>
              <a:gd name="connsiteY3279" fmla="*/ 1457365 h 6858290"/>
              <a:gd name="connsiteX3280" fmla="*/ 4287991 w 12139750"/>
              <a:gd name="connsiteY3280" fmla="*/ 1454950 h 6858290"/>
              <a:gd name="connsiteX3281" fmla="*/ 2034947 w 12139750"/>
              <a:gd name="connsiteY3281" fmla="*/ 1454934 h 6858290"/>
              <a:gd name="connsiteX3282" fmla="*/ 2079328 w 12139750"/>
              <a:gd name="connsiteY3282" fmla="*/ 1491688 h 6858290"/>
              <a:gd name="connsiteX3283" fmla="*/ 2081229 w 12139750"/>
              <a:gd name="connsiteY3283" fmla="*/ 1506950 h 6858290"/>
              <a:gd name="connsiteX3284" fmla="*/ 2043204 w 12139750"/>
              <a:gd name="connsiteY3284" fmla="*/ 1558461 h 6858290"/>
              <a:gd name="connsiteX3285" fmla="*/ 1701020 w 12139750"/>
              <a:gd name="connsiteY3285" fmla="*/ 1657667 h 6858290"/>
              <a:gd name="connsiteX3286" fmla="*/ 1636385 w 12139750"/>
              <a:gd name="connsiteY3286" fmla="*/ 1621418 h 6858290"/>
              <a:gd name="connsiteX3287" fmla="*/ 1672505 w 12139750"/>
              <a:gd name="connsiteY3287" fmla="*/ 1556553 h 6858290"/>
              <a:gd name="connsiteX3288" fmla="*/ 2014689 w 12139750"/>
              <a:gd name="connsiteY3288" fmla="*/ 1457348 h 6858290"/>
              <a:gd name="connsiteX3289" fmla="*/ 2034947 w 12139750"/>
              <a:gd name="connsiteY3289" fmla="*/ 1454934 h 6858290"/>
              <a:gd name="connsiteX3290" fmla="*/ 3729077 w 12139750"/>
              <a:gd name="connsiteY3290" fmla="*/ 1449679 h 6858290"/>
              <a:gd name="connsiteX3291" fmla="*/ 3773220 w 12139750"/>
              <a:gd name="connsiteY3291" fmla="*/ 1490538 h 6858290"/>
              <a:gd name="connsiteX3292" fmla="*/ 3775123 w 12139750"/>
              <a:gd name="connsiteY3292" fmla="*/ 1503831 h 6858290"/>
              <a:gd name="connsiteX3293" fmla="*/ 3733267 w 12139750"/>
              <a:gd name="connsiteY3293" fmla="*/ 1558905 h 6858290"/>
              <a:gd name="connsiteX3294" fmla="*/ 3388949 w 12139750"/>
              <a:gd name="connsiteY3294" fmla="*/ 1638666 h 6858290"/>
              <a:gd name="connsiteX3295" fmla="*/ 3322361 w 12139750"/>
              <a:gd name="connsiteY3295" fmla="*/ 1598786 h 6858290"/>
              <a:gd name="connsiteX3296" fmla="*/ 3362311 w 12139750"/>
              <a:gd name="connsiteY3296" fmla="*/ 1530418 h 6858290"/>
              <a:gd name="connsiteX3297" fmla="*/ 3706634 w 12139750"/>
              <a:gd name="connsiteY3297" fmla="*/ 1450658 h 6858290"/>
              <a:gd name="connsiteX3298" fmla="*/ 3729077 w 12139750"/>
              <a:gd name="connsiteY3298" fmla="*/ 1449679 h 6858290"/>
              <a:gd name="connsiteX3299" fmla="*/ 2595306 w 12139750"/>
              <a:gd name="connsiteY3299" fmla="*/ 1449661 h 6858290"/>
              <a:gd name="connsiteX3300" fmla="*/ 2639715 w 12139750"/>
              <a:gd name="connsiteY3300" fmla="*/ 1490520 h 6858290"/>
              <a:gd name="connsiteX3301" fmla="*/ 2641617 w 12139750"/>
              <a:gd name="connsiteY3301" fmla="*/ 1503814 h 6858290"/>
              <a:gd name="connsiteX3302" fmla="*/ 2597862 w 12139750"/>
              <a:gd name="connsiteY3302" fmla="*/ 1558887 h 6858290"/>
              <a:gd name="connsiteX3303" fmla="*/ 2255431 w 12139750"/>
              <a:gd name="connsiteY3303" fmla="*/ 1638648 h 6858290"/>
              <a:gd name="connsiteX3304" fmla="*/ 2188847 w 12139750"/>
              <a:gd name="connsiteY3304" fmla="*/ 1598767 h 6858290"/>
              <a:gd name="connsiteX3305" fmla="*/ 2228797 w 12139750"/>
              <a:gd name="connsiteY3305" fmla="*/ 1530401 h 6858290"/>
              <a:gd name="connsiteX3306" fmla="*/ 2573131 w 12139750"/>
              <a:gd name="connsiteY3306" fmla="*/ 1450640 h 6858290"/>
              <a:gd name="connsiteX3307" fmla="*/ 2595306 w 12139750"/>
              <a:gd name="connsiteY3307" fmla="*/ 1449661 h 6858290"/>
              <a:gd name="connsiteX3308" fmla="*/ 3137758 w 12139750"/>
              <a:gd name="connsiteY3308" fmla="*/ 1442427 h 6858290"/>
              <a:gd name="connsiteX3309" fmla="*/ 3206474 w 12139750"/>
              <a:gd name="connsiteY3309" fmla="*/ 1490052 h 6858290"/>
              <a:gd name="connsiteX3310" fmla="*/ 3208386 w 12139750"/>
              <a:gd name="connsiteY3310" fmla="*/ 1499576 h 6858290"/>
              <a:gd name="connsiteX3311" fmla="*/ 3158756 w 12139750"/>
              <a:gd name="connsiteY3311" fmla="*/ 1558632 h 6858290"/>
              <a:gd name="connsiteX3312" fmla="*/ 2813246 w 12139750"/>
              <a:gd name="connsiteY3312" fmla="*/ 1621498 h 6858290"/>
              <a:gd name="connsiteX3313" fmla="*/ 2744526 w 12139750"/>
              <a:gd name="connsiteY3313" fmla="*/ 1573872 h 6858290"/>
              <a:gd name="connsiteX3314" fmla="*/ 2792249 w 12139750"/>
              <a:gd name="connsiteY3314" fmla="*/ 1505291 h 6858290"/>
              <a:gd name="connsiteX3315" fmla="*/ 3137758 w 12139750"/>
              <a:gd name="connsiteY3315" fmla="*/ 1442427 h 6858290"/>
              <a:gd name="connsiteX3316" fmla="*/ 9860829 w 12139750"/>
              <a:gd name="connsiteY3316" fmla="*/ 1204612 h 6858290"/>
              <a:gd name="connsiteX3317" fmla="*/ 9875319 w 12139750"/>
              <a:gd name="connsiteY3317" fmla="*/ 1211306 h 6858290"/>
              <a:gd name="connsiteX3318" fmla="*/ 9879119 w 12139750"/>
              <a:gd name="connsiteY3318" fmla="*/ 1226607 h 6858290"/>
              <a:gd name="connsiteX3319" fmla="*/ 9871518 w 12139750"/>
              <a:gd name="connsiteY3319" fmla="*/ 1243820 h 6858290"/>
              <a:gd name="connsiteX3320" fmla="*/ 9540880 w 12139750"/>
              <a:gd name="connsiteY3320" fmla="*/ 1511592 h 6858290"/>
              <a:gd name="connsiteX3321" fmla="*/ 9510477 w 12139750"/>
              <a:gd name="connsiteY3321" fmla="*/ 1509680 h 6858290"/>
              <a:gd name="connsiteX3322" fmla="*/ 9514277 w 12139750"/>
              <a:gd name="connsiteY3322" fmla="*/ 1479077 h 6858290"/>
              <a:gd name="connsiteX3323" fmla="*/ 9844915 w 12139750"/>
              <a:gd name="connsiteY3323" fmla="*/ 1209393 h 6858290"/>
              <a:gd name="connsiteX3324" fmla="*/ 9860829 w 12139750"/>
              <a:gd name="connsiteY3324" fmla="*/ 1204612 h 6858290"/>
              <a:gd name="connsiteX3325" fmla="*/ 9284557 w 12139750"/>
              <a:gd name="connsiteY3325" fmla="*/ 1198509 h 6858290"/>
              <a:gd name="connsiteX3326" fmla="*/ 9300299 w 12139750"/>
              <a:gd name="connsiteY3326" fmla="*/ 1206835 h 6858290"/>
              <a:gd name="connsiteX3327" fmla="*/ 9306023 w 12139750"/>
              <a:gd name="connsiteY3327" fmla="*/ 1222058 h 6858290"/>
              <a:gd name="connsiteX3328" fmla="*/ 9296482 w 12139750"/>
              <a:gd name="connsiteY3328" fmla="*/ 1242988 h 6858290"/>
              <a:gd name="connsiteX3329" fmla="*/ 8962556 w 12139750"/>
              <a:gd name="connsiteY3329" fmla="*/ 1494190 h 6858290"/>
              <a:gd name="connsiteX3330" fmla="*/ 8928209 w 12139750"/>
              <a:gd name="connsiteY3330" fmla="*/ 1490384 h 6858290"/>
              <a:gd name="connsiteX3331" fmla="*/ 8932025 w 12139750"/>
              <a:gd name="connsiteY3331" fmla="*/ 1454228 h 6858290"/>
              <a:gd name="connsiteX3332" fmla="*/ 9265952 w 12139750"/>
              <a:gd name="connsiteY3332" fmla="*/ 1203029 h 6858290"/>
              <a:gd name="connsiteX3333" fmla="*/ 9284557 w 12139750"/>
              <a:gd name="connsiteY3333" fmla="*/ 1198509 h 6858290"/>
              <a:gd name="connsiteX3334" fmla="*/ 10445106 w 12139750"/>
              <a:gd name="connsiteY3334" fmla="*/ 1198483 h 6858290"/>
              <a:gd name="connsiteX3335" fmla="*/ 10460796 w 12139750"/>
              <a:gd name="connsiteY3335" fmla="*/ 1206809 h 6858290"/>
              <a:gd name="connsiteX3336" fmla="*/ 10466502 w 12139750"/>
              <a:gd name="connsiteY3336" fmla="*/ 1222033 h 6858290"/>
              <a:gd name="connsiteX3337" fmla="*/ 10456993 w 12139750"/>
              <a:gd name="connsiteY3337" fmla="*/ 1242967 h 6858290"/>
              <a:gd name="connsiteX3338" fmla="*/ 10124163 w 12139750"/>
              <a:gd name="connsiteY3338" fmla="*/ 1494166 h 6858290"/>
              <a:gd name="connsiteX3339" fmla="*/ 10089930 w 12139750"/>
              <a:gd name="connsiteY3339" fmla="*/ 1490360 h 6858290"/>
              <a:gd name="connsiteX3340" fmla="*/ 10093733 w 12139750"/>
              <a:gd name="connsiteY3340" fmla="*/ 1454203 h 6858290"/>
              <a:gd name="connsiteX3341" fmla="*/ 10426562 w 12139750"/>
              <a:gd name="connsiteY3341" fmla="*/ 1203003 h 6858290"/>
              <a:gd name="connsiteX3342" fmla="*/ 10445106 w 12139750"/>
              <a:gd name="connsiteY3342" fmla="*/ 1198483 h 6858290"/>
              <a:gd name="connsiteX3343" fmla="*/ 8713976 w 12139750"/>
              <a:gd name="connsiteY3343" fmla="*/ 1190406 h 6858290"/>
              <a:gd name="connsiteX3344" fmla="*/ 8732297 w 12139750"/>
              <a:gd name="connsiteY3344" fmla="*/ 1201099 h 6858290"/>
              <a:gd name="connsiteX3345" fmla="*/ 8736104 w 12139750"/>
              <a:gd name="connsiteY3345" fmla="*/ 1218208 h 6858290"/>
              <a:gd name="connsiteX3346" fmla="*/ 8724683 w 12139750"/>
              <a:gd name="connsiteY3346" fmla="*/ 1241015 h 6858290"/>
              <a:gd name="connsiteX3347" fmla="*/ 8391573 w 12139750"/>
              <a:gd name="connsiteY3347" fmla="*/ 1476736 h 6858290"/>
              <a:gd name="connsiteX3348" fmla="*/ 8353503 w 12139750"/>
              <a:gd name="connsiteY3348" fmla="*/ 1469132 h 6858290"/>
              <a:gd name="connsiteX3349" fmla="*/ 8359214 w 12139750"/>
              <a:gd name="connsiteY3349" fmla="*/ 1431112 h 6858290"/>
              <a:gd name="connsiteX3350" fmla="*/ 8694227 w 12139750"/>
              <a:gd name="connsiteY3350" fmla="*/ 1195396 h 6858290"/>
              <a:gd name="connsiteX3351" fmla="*/ 8713976 w 12139750"/>
              <a:gd name="connsiteY3351" fmla="*/ 1190406 h 6858290"/>
              <a:gd name="connsiteX3352" fmla="*/ 11023582 w 12139750"/>
              <a:gd name="connsiteY3352" fmla="*/ 1190378 h 6858290"/>
              <a:gd name="connsiteX3353" fmla="*/ 11042141 w 12139750"/>
              <a:gd name="connsiteY3353" fmla="*/ 1201071 h 6858290"/>
              <a:gd name="connsiteX3354" fmla="*/ 11045948 w 12139750"/>
              <a:gd name="connsiteY3354" fmla="*/ 1218180 h 6858290"/>
              <a:gd name="connsiteX3355" fmla="*/ 11034527 w 12139750"/>
              <a:gd name="connsiteY3355" fmla="*/ 1240991 h 6858290"/>
              <a:gd name="connsiteX3356" fmla="*/ 10701417 w 12139750"/>
              <a:gd name="connsiteY3356" fmla="*/ 1476710 h 6858290"/>
              <a:gd name="connsiteX3357" fmla="*/ 10663347 w 12139750"/>
              <a:gd name="connsiteY3357" fmla="*/ 1469106 h 6858290"/>
              <a:gd name="connsiteX3358" fmla="*/ 10669058 w 12139750"/>
              <a:gd name="connsiteY3358" fmla="*/ 1431087 h 6858290"/>
              <a:gd name="connsiteX3359" fmla="*/ 11002168 w 12139750"/>
              <a:gd name="connsiteY3359" fmla="*/ 1195368 h 6858290"/>
              <a:gd name="connsiteX3360" fmla="*/ 11023582 w 12139750"/>
              <a:gd name="connsiteY3360" fmla="*/ 1190378 h 6858290"/>
              <a:gd name="connsiteX3361" fmla="*/ 8150486 w 12139750"/>
              <a:gd name="connsiteY3361" fmla="*/ 1182942 h 6858290"/>
              <a:gd name="connsiteX3362" fmla="*/ 8169997 w 12139750"/>
              <a:gd name="connsiteY3362" fmla="*/ 1196960 h 6858290"/>
              <a:gd name="connsiteX3363" fmla="*/ 8175708 w 12139750"/>
              <a:gd name="connsiteY3363" fmla="*/ 1212168 h 6858290"/>
              <a:gd name="connsiteX3364" fmla="*/ 8160480 w 12139750"/>
              <a:gd name="connsiteY3364" fmla="*/ 1238776 h 6858290"/>
              <a:gd name="connsiteX3365" fmla="*/ 7825460 w 12139750"/>
              <a:gd name="connsiteY3365" fmla="*/ 1457373 h 6858290"/>
              <a:gd name="connsiteX3366" fmla="*/ 7783582 w 12139750"/>
              <a:gd name="connsiteY3366" fmla="*/ 1449769 h 6858290"/>
              <a:gd name="connsiteX3367" fmla="*/ 7793100 w 12139750"/>
              <a:gd name="connsiteY3367" fmla="*/ 1407952 h 6858290"/>
              <a:gd name="connsiteX3368" fmla="*/ 8128120 w 12139750"/>
              <a:gd name="connsiteY3368" fmla="*/ 1187458 h 6858290"/>
              <a:gd name="connsiteX3369" fmla="*/ 8150486 w 12139750"/>
              <a:gd name="connsiteY3369" fmla="*/ 1182942 h 6858290"/>
              <a:gd name="connsiteX3370" fmla="*/ 11595229 w 12139750"/>
              <a:gd name="connsiteY3370" fmla="*/ 1182937 h 6858290"/>
              <a:gd name="connsiteX3371" fmla="*/ 11613327 w 12139750"/>
              <a:gd name="connsiteY3371" fmla="*/ 1196955 h 6858290"/>
              <a:gd name="connsiteX3372" fmla="*/ 11619042 w 12139750"/>
              <a:gd name="connsiteY3372" fmla="*/ 1212161 h 6858290"/>
              <a:gd name="connsiteX3373" fmla="*/ 11605707 w 12139750"/>
              <a:gd name="connsiteY3373" fmla="*/ 1238770 h 6858290"/>
              <a:gd name="connsiteX3374" fmla="*/ 11270423 w 12139750"/>
              <a:gd name="connsiteY3374" fmla="*/ 1457367 h 6858290"/>
              <a:gd name="connsiteX3375" fmla="*/ 11228512 w 12139750"/>
              <a:gd name="connsiteY3375" fmla="*/ 1449763 h 6858290"/>
              <a:gd name="connsiteX3376" fmla="*/ 11236132 w 12139750"/>
              <a:gd name="connsiteY3376" fmla="*/ 1407946 h 6858290"/>
              <a:gd name="connsiteX3377" fmla="*/ 11571416 w 12139750"/>
              <a:gd name="connsiteY3377" fmla="*/ 1187451 h 6858290"/>
              <a:gd name="connsiteX3378" fmla="*/ 11595229 w 12139750"/>
              <a:gd name="connsiteY3378" fmla="*/ 1182937 h 6858290"/>
              <a:gd name="connsiteX3379" fmla="*/ 12139750 w 12139750"/>
              <a:gd name="connsiteY3379" fmla="*/ 1177944 h 6858290"/>
              <a:gd name="connsiteX3380" fmla="*/ 12139750 w 12139750"/>
              <a:gd name="connsiteY3380" fmla="*/ 1255774 h 6858290"/>
              <a:gd name="connsiteX3381" fmla="*/ 11834677 w 12139750"/>
              <a:gd name="connsiteY3381" fmla="*/ 1439913 h 6858290"/>
              <a:gd name="connsiteX3382" fmla="*/ 11788917 w 12139750"/>
              <a:gd name="connsiteY3382" fmla="*/ 1428524 h 6858290"/>
              <a:gd name="connsiteX3383" fmla="*/ 11798450 w 12139750"/>
              <a:gd name="connsiteY3383" fmla="*/ 1382965 h 6858290"/>
              <a:gd name="connsiteX3384" fmla="*/ 12135937 w 12139750"/>
              <a:gd name="connsiteY3384" fmla="*/ 1179842 h 6858290"/>
              <a:gd name="connsiteX3385" fmla="*/ 12139750 w 12139750"/>
              <a:gd name="connsiteY3385" fmla="*/ 1177944 h 6858290"/>
              <a:gd name="connsiteX3386" fmla="*/ 7594338 w 12139750"/>
              <a:gd name="connsiteY3386" fmla="*/ 1175955 h 6858290"/>
              <a:gd name="connsiteX3387" fmla="*/ 7614356 w 12139750"/>
              <a:gd name="connsiteY3387" fmla="*/ 1190924 h 6858290"/>
              <a:gd name="connsiteX3388" fmla="*/ 7620076 w 12139750"/>
              <a:gd name="connsiteY3388" fmla="*/ 1208030 h 6858290"/>
              <a:gd name="connsiteX3389" fmla="*/ 7604824 w 12139750"/>
              <a:gd name="connsiteY3389" fmla="*/ 1236536 h 6858290"/>
              <a:gd name="connsiteX3390" fmla="*/ 7267372 w 12139750"/>
              <a:gd name="connsiteY3390" fmla="*/ 1439910 h 6858290"/>
              <a:gd name="connsiteX3391" fmla="*/ 7221615 w 12139750"/>
              <a:gd name="connsiteY3391" fmla="*/ 1428505 h 6858290"/>
              <a:gd name="connsiteX3392" fmla="*/ 7233054 w 12139750"/>
              <a:gd name="connsiteY3392" fmla="*/ 1382889 h 6858290"/>
              <a:gd name="connsiteX3393" fmla="*/ 7568600 w 12139750"/>
              <a:gd name="connsiteY3393" fmla="*/ 1179519 h 6858290"/>
              <a:gd name="connsiteX3394" fmla="*/ 7594338 w 12139750"/>
              <a:gd name="connsiteY3394" fmla="*/ 1175955 h 6858290"/>
              <a:gd name="connsiteX3395" fmla="*/ 7043844 w 12139750"/>
              <a:gd name="connsiteY3395" fmla="*/ 1168289 h 6858290"/>
              <a:gd name="connsiteX3396" fmla="*/ 7065070 w 12139750"/>
              <a:gd name="connsiteY3396" fmla="*/ 1185018 h 6858290"/>
              <a:gd name="connsiteX3397" fmla="*/ 7070794 w 12139750"/>
              <a:gd name="connsiteY3397" fmla="*/ 1204137 h 6858290"/>
              <a:gd name="connsiteX3398" fmla="*/ 7051714 w 12139750"/>
              <a:gd name="connsiteY3398" fmla="*/ 1234720 h 6858290"/>
              <a:gd name="connsiteX3399" fmla="*/ 6714009 w 12139750"/>
              <a:gd name="connsiteY3399" fmla="*/ 1423981 h 6858290"/>
              <a:gd name="connsiteX3400" fmla="*/ 6664402 w 12139750"/>
              <a:gd name="connsiteY3400" fmla="*/ 1410601 h 6858290"/>
              <a:gd name="connsiteX3401" fmla="*/ 6677758 w 12139750"/>
              <a:gd name="connsiteY3401" fmla="*/ 1360894 h 6858290"/>
              <a:gd name="connsiteX3402" fmla="*/ 7015463 w 12139750"/>
              <a:gd name="connsiteY3402" fmla="*/ 1171635 h 6858290"/>
              <a:gd name="connsiteX3403" fmla="*/ 7043844 w 12139750"/>
              <a:gd name="connsiteY3403" fmla="*/ 1168289 h 6858290"/>
              <a:gd name="connsiteX3404" fmla="*/ 6500891 w 12139750"/>
              <a:gd name="connsiteY3404" fmla="*/ 1161548 h 6858290"/>
              <a:gd name="connsiteX3405" fmla="*/ 6524041 w 12139750"/>
              <a:gd name="connsiteY3405" fmla="*/ 1180908 h 6858290"/>
              <a:gd name="connsiteX3406" fmla="*/ 6527860 w 12139750"/>
              <a:gd name="connsiteY3406" fmla="*/ 1198115 h 6858290"/>
              <a:gd name="connsiteX3407" fmla="*/ 6506857 w 12139750"/>
              <a:gd name="connsiteY3407" fmla="*/ 1234440 h 6858290"/>
              <a:gd name="connsiteX3408" fmla="*/ 6166999 w 12139750"/>
              <a:gd name="connsiteY3408" fmla="*/ 1406519 h 6858290"/>
              <a:gd name="connsiteX3409" fmla="*/ 6113538 w 12139750"/>
              <a:gd name="connsiteY3409" fmla="*/ 1389310 h 6858290"/>
              <a:gd name="connsiteX3410" fmla="*/ 6130722 w 12139750"/>
              <a:gd name="connsiteY3410" fmla="*/ 1335774 h 6858290"/>
              <a:gd name="connsiteX3411" fmla="*/ 6470580 w 12139750"/>
              <a:gd name="connsiteY3411" fmla="*/ 1163700 h 6858290"/>
              <a:gd name="connsiteX3412" fmla="*/ 6500891 w 12139750"/>
              <a:gd name="connsiteY3412" fmla="*/ 1161548 h 6858290"/>
              <a:gd name="connsiteX3413" fmla="*/ 5957726 w 12139750"/>
              <a:gd name="connsiteY3413" fmla="*/ 1155628 h 6858290"/>
              <a:gd name="connsiteX3414" fmla="*/ 5982710 w 12139750"/>
              <a:gd name="connsiteY3414" fmla="*/ 1178193 h 6858290"/>
              <a:gd name="connsiteX3415" fmla="*/ 5986517 w 12139750"/>
              <a:gd name="connsiteY3415" fmla="*/ 1195296 h 6858290"/>
              <a:gd name="connsiteX3416" fmla="*/ 5961771 w 12139750"/>
              <a:gd name="connsiteY3416" fmla="*/ 1233296 h 6858290"/>
              <a:gd name="connsiteX3417" fmla="*/ 5622934 w 12139750"/>
              <a:gd name="connsiteY3417" fmla="*/ 1389114 h 6858290"/>
              <a:gd name="connsiteX3418" fmla="*/ 5565827 w 12139750"/>
              <a:gd name="connsiteY3418" fmla="*/ 1368212 h 6858290"/>
              <a:gd name="connsiteX3419" fmla="*/ 5586766 w 12139750"/>
              <a:gd name="connsiteY3419" fmla="*/ 1313104 h 6858290"/>
              <a:gd name="connsiteX3420" fmla="*/ 5925602 w 12139750"/>
              <a:gd name="connsiteY3420" fmla="*/ 1157291 h 6858290"/>
              <a:gd name="connsiteX3421" fmla="*/ 5957726 w 12139750"/>
              <a:gd name="connsiteY3421" fmla="*/ 1155628 h 6858290"/>
              <a:gd name="connsiteX3422" fmla="*/ 398307 w 12139750"/>
              <a:gd name="connsiteY3422" fmla="*/ 1155617 h 6858290"/>
              <a:gd name="connsiteX3423" fmla="*/ 421644 w 12139750"/>
              <a:gd name="connsiteY3423" fmla="*/ 1178183 h 6858290"/>
              <a:gd name="connsiteX3424" fmla="*/ 425454 w 12139750"/>
              <a:gd name="connsiteY3424" fmla="*/ 1195284 h 6858290"/>
              <a:gd name="connsiteX3425" fmla="*/ 402594 w 12139750"/>
              <a:gd name="connsiteY3425" fmla="*/ 1233286 h 6858290"/>
              <a:gd name="connsiteX3426" fmla="*/ 61595 w 12139750"/>
              <a:gd name="connsiteY3426" fmla="*/ 1389103 h 6858290"/>
              <a:gd name="connsiteX3427" fmla="*/ 6349 w 12139750"/>
              <a:gd name="connsiteY3427" fmla="*/ 1368201 h 6858290"/>
              <a:gd name="connsiteX3428" fmla="*/ 27304 w 12139750"/>
              <a:gd name="connsiteY3428" fmla="*/ 1313094 h 6858290"/>
              <a:gd name="connsiteX3429" fmla="*/ 366398 w 12139750"/>
              <a:gd name="connsiteY3429" fmla="*/ 1157280 h 6858290"/>
              <a:gd name="connsiteX3430" fmla="*/ 398307 w 12139750"/>
              <a:gd name="connsiteY3430" fmla="*/ 1155617 h 6858290"/>
              <a:gd name="connsiteX3431" fmla="*/ 5393468 w 12139750"/>
              <a:gd name="connsiteY3431" fmla="*/ 1144402 h 6858290"/>
              <a:gd name="connsiteX3432" fmla="*/ 5435021 w 12139750"/>
              <a:gd name="connsiteY3432" fmla="*/ 1172421 h 6858290"/>
              <a:gd name="connsiteX3433" fmla="*/ 5438834 w 12139750"/>
              <a:gd name="connsiteY3433" fmla="*/ 1189500 h 6858290"/>
              <a:gd name="connsiteX3434" fmla="*/ 5410239 w 12139750"/>
              <a:gd name="connsiteY3434" fmla="*/ 1231244 h 6858290"/>
              <a:gd name="connsiteX3435" fmla="*/ 5070896 w 12139750"/>
              <a:gd name="connsiteY3435" fmla="*/ 1371665 h 6858290"/>
              <a:gd name="connsiteX3436" fmla="*/ 5011805 w 12139750"/>
              <a:gd name="connsiteY3436" fmla="*/ 1346995 h 6858290"/>
              <a:gd name="connsiteX3437" fmla="*/ 5036585 w 12139750"/>
              <a:gd name="connsiteY3437" fmla="*/ 1288169 h 6858290"/>
              <a:gd name="connsiteX3438" fmla="*/ 5375924 w 12139750"/>
              <a:gd name="connsiteY3438" fmla="*/ 1147752 h 6858290"/>
              <a:gd name="connsiteX3439" fmla="*/ 5393468 w 12139750"/>
              <a:gd name="connsiteY3439" fmla="*/ 1144402 h 6858290"/>
              <a:gd name="connsiteX3440" fmla="*/ 929385 w 12139750"/>
              <a:gd name="connsiteY3440" fmla="*/ 1144389 h 6858290"/>
              <a:gd name="connsiteX3441" fmla="*/ 969330 w 12139750"/>
              <a:gd name="connsiteY3441" fmla="*/ 1172407 h 6858290"/>
              <a:gd name="connsiteX3442" fmla="*/ 973143 w 12139750"/>
              <a:gd name="connsiteY3442" fmla="*/ 1189486 h 6858290"/>
              <a:gd name="connsiteX3443" fmla="*/ 946453 w 12139750"/>
              <a:gd name="connsiteY3443" fmla="*/ 1231231 h 6858290"/>
              <a:gd name="connsiteX3444" fmla="*/ 605206 w 12139750"/>
              <a:gd name="connsiteY3444" fmla="*/ 1371652 h 6858290"/>
              <a:gd name="connsiteX3445" fmla="*/ 546107 w 12139750"/>
              <a:gd name="connsiteY3445" fmla="*/ 1346983 h 6858290"/>
              <a:gd name="connsiteX3446" fmla="*/ 570891 w 12139750"/>
              <a:gd name="connsiteY3446" fmla="*/ 1288158 h 6858290"/>
              <a:gd name="connsiteX3447" fmla="*/ 912138 w 12139750"/>
              <a:gd name="connsiteY3447" fmla="*/ 1147739 h 6858290"/>
              <a:gd name="connsiteX3448" fmla="*/ 929385 w 12139750"/>
              <a:gd name="connsiteY3448" fmla="*/ 1144389 h 6858290"/>
              <a:gd name="connsiteX3449" fmla="*/ 4842182 w 12139750"/>
              <a:gd name="connsiteY3449" fmla="*/ 1136797 h 6858290"/>
              <a:gd name="connsiteX3450" fmla="*/ 4884159 w 12139750"/>
              <a:gd name="connsiteY3450" fmla="*/ 1168322 h 6858290"/>
              <a:gd name="connsiteX3451" fmla="*/ 4887960 w 12139750"/>
              <a:gd name="connsiteY3451" fmla="*/ 1185422 h 6858290"/>
              <a:gd name="connsiteX3452" fmla="*/ 4855640 w 12139750"/>
              <a:gd name="connsiteY3452" fmla="*/ 1231014 h 6858290"/>
              <a:gd name="connsiteX3453" fmla="*/ 4515378 w 12139750"/>
              <a:gd name="connsiteY3453" fmla="*/ 1354501 h 6858290"/>
              <a:gd name="connsiteX3454" fmla="*/ 4454548 w 12139750"/>
              <a:gd name="connsiteY3454" fmla="*/ 1326004 h 6858290"/>
              <a:gd name="connsiteX3455" fmla="*/ 4483064 w 12139750"/>
              <a:gd name="connsiteY3455" fmla="*/ 1263308 h 6858290"/>
              <a:gd name="connsiteX3456" fmla="*/ 4823320 w 12139750"/>
              <a:gd name="connsiteY3456" fmla="*/ 1139825 h 6858290"/>
              <a:gd name="connsiteX3457" fmla="*/ 4842182 w 12139750"/>
              <a:gd name="connsiteY3457" fmla="*/ 1136797 h 6858290"/>
              <a:gd name="connsiteX3458" fmla="*/ 1478252 w 12139750"/>
              <a:gd name="connsiteY3458" fmla="*/ 1136782 h 6858290"/>
              <a:gd name="connsiteX3459" fmla="*/ 1520519 w 12139750"/>
              <a:gd name="connsiteY3459" fmla="*/ 1168307 h 6858290"/>
              <a:gd name="connsiteX3460" fmla="*/ 1522421 w 12139750"/>
              <a:gd name="connsiteY3460" fmla="*/ 1185406 h 6858290"/>
              <a:gd name="connsiteX3461" fmla="*/ 1491984 w 12139750"/>
              <a:gd name="connsiteY3461" fmla="*/ 1231000 h 6858290"/>
              <a:gd name="connsiteX3462" fmla="*/ 1151475 w 12139750"/>
              <a:gd name="connsiteY3462" fmla="*/ 1354486 h 6858290"/>
              <a:gd name="connsiteX3463" fmla="*/ 1088700 w 12139750"/>
              <a:gd name="connsiteY3463" fmla="*/ 1325989 h 6858290"/>
              <a:gd name="connsiteX3464" fmla="*/ 1117234 w 12139750"/>
              <a:gd name="connsiteY3464" fmla="*/ 1263296 h 6858290"/>
              <a:gd name="connsiteX3465" fmla="*/ 1459646 w 12139750"/>
              <a:gd name="connsiteY3465" fmla="*/ 1139810 h 6858290"/>
              <a:gd name="connsiteX3466" fmla="*/ 1478252 w 12139750"/>
              <a:gd name="connsiteY3466" fmla="*/ 1136782 h 6858290"/>
              <a:gd name="connsiteX3467" fmla="*/ 4287306 w 12139750"/>
              <a:gd name="connsiteY3467" fmla="*/ 1129713 h 6858290"/>
              <a:gd name="connsiteX3468" fmla="*/ 4330110 w 12139750"/>
              <a:gd name="connsiteY3468" fmla="*/ 1165826 h 6858290"/>
              <a:gd name="connsiteX3469" fmla="*/ 4333916 w 12139750"/>
              <a:gd name="connsiteY3469" fmla="*/ 1181045 h 6858290"/>
              <a:gd name="connsiteX3470" fmla="*/ 4297769 w 12139750"/>
              <a:gd name="connsiteY3470" fmla="*/ 1228599 h 6858290"/>
              <a:gd name="connsiteX3471" fmla="*/ 3955366 w 12139750"/>
              <a:gd name="connsiteY3471" fmla="*/ 1337029 h 6858290"/>
              <a:gd name="connsiteX3472" fmla="*/ 3890685 w 12139750"/>
              <a:gd name="connsiteY3472" fmla="*/ 1302787 h 6858290"/>
              <a:gd name="connsiteX3473" fmla="*/ 3924928 w 12139750"/>
              <a:gd name="connsiteY3473" fmla="*/ 1240012 h 6858290"/>
              <a:gd name="connsiteX3474" fmla="*/ 4267331 w 12139750"/>
              <a:gd name="connsiteY3474" fmla="*/ 1131585 h 6858290"/>
              <a:gd name="connsiteX3475" fmla="*/ 4287306 w 12139750"/>
              <a:gd name="connsiteY3475" fmla="*/ 1129713 h 6858290"/>
              <a:gd name="connsiteX3476" fmla="*/ 2033027 w 12139750"/>
              <a:gd name="connsiteY3476" fmla="*/ 1129695 h 6858290"/>
              <a:gd name="connsiteX3477" fmla="*/ 2077738 w 12139750"/>
              <a:gd name="connsiteY3477" fmla="*/ 1165808 h 6858290"/>
              <a:gd name="connsiteX3478" fmla="*/ 2079641 w 12139750"/>
              <a:gd name="connsiteY3478" fmla="*/ 1181027 h 6858290"/>
              <a:gd name="connsiteX3479" fmla="*/ 2043467 w 12139750"/>
              <a:gd name="connsiteY3479" fmla="*/ 1228582 h 6858290"/>
              <a:gd name="connsiteX3480" fmla="*/ 1702708 w 12139750"/>
              <a:gd name="connsiteY3480" fmla="*/ 1337012 h 6858290"/>
              <a:gd name="connsiteX3481" fmla="*/ 1637983 w 12139750"/>
              <a:gd name="connsiteY3481" fmla="*/ 1302771 h 6858290"/>
              <a:gd name="connsiteX3482" fmla="*/ 1670346 w 12139750"/>
              <a:gd name="connsiteY3482" fmla="*/ 1239996 h 6858290"/>
              <a:gd name="connsiteX3483" fmla="*/ 2013008 w 12139750"/>
              <a:gd name="connsiteY3483" fmla="*/ 1131568 h 6858290"/>
              <a:gd name="connsiteX3484" fmla="*/ 2033027 w 12139750"/>
              <a:gd name="connsiteY3484" fmla="*/ 1129695 h 6858290"/>
              <a:gd name="connsiteX3485" fmla="*/ 3726353 w 12139750"/>
              <a:gd name="connsiteY3485" fmla="*/ 1122417 h 6858290"/>
              <a:gd name="connsiteX3486" fmla="*/ 3771630 w 12139750"/>
              <a:gd name="connsiteY3486" fmla="*/ 1162034 h 6858290"/>
              <a:gd name="connsiteX3487" fmla="*/ 3773534 w 12139750"/>
              <a:gd name="connsiteY3487" fmla="*/ 1175449 h 6858290"/>
              <a:gd name="connsiteX3488" fmla="*/ 3733528 w 12139750"/>
              <a:gd name="connsiteY3488" fmla="*/ 1229108 h 6858290"/>
              <a:gd name="connsiteX3489" fmla="*/ 3390637 w 12139750"/>
              <a:gd name="connsiteY3489" fmla="*/ 1321097 h 6858290"/>
              <a:gd name="connsiteX3490" fmla="*/ 3323960 w 12139750"/>
              <a:gd name="connsiteY3490" fmla="*/ 1282766 h 6858290"/>
              <a:gd name="connsiteX3491" fmla="*/ 3362061 w 12139750"/>
              <a:gd name="connsiteY3491" fmla="*/ 1215695 h 6858290"/>
              <a:gd name="connsiteX3492" fmla="*/ 3704951 w 12139750"/>
              <a:gd name="connsiteY3492" fmla="*/ 1123705 h 6858290"/>
              <a:gd name="connsiteX3493" fmla="*/ 3726353 w 12139750"/>
              <a:gd name="connsiteY3493" fmla="*/ 1122417 h 6858290"/>
              <a:gd name="connsiteX3494" fmla="*/ 2592851 w 12139750"/>
              <a:gd name="connsiteY3494" fmla="*/ 1122397 h 6858290"/>
              <a:gd name="connsiteX3495" fmla="*/ 2638126 w 12139750"/>
              <a:gd name="connsiteY3495" fmla="*/ 1162013 h 6858290"/>
              <a:gd name="connsiteX3496" fmla="*/ 2640030 w 12139750"/>
              <a:gd name="connsiteY3496" fmla="*/ 1175429 h 6858290"/>
              <a:gd name="connsiteX3497" fmla="*/ 2600026 w 12139750"/>
              <a:gd name="connsiteY3497" fmla="*/ 1229089 h 6858290"/>
              <a:gd name="connsiteX3498" fmla="*/ 2257121 w 12139750"/>
              <a:gd name="connsiteY3498" fmla="*/ 1321078 h 6858290"/>
              <a:gd name="connsiteX3499" fmla="*/ 2190445 w 12139750"/>
              <a:gd name="connsiteY3499" fmla="*/ 1282749 h 6858290"/>
              <a:gd name="connsiteX3500" fmla="*/ 2228546 w 12139750"/>
              <a:gd name="connsiteY3500" fmla="*/ 1215674 h 6858290"/>
              <a:gd name="connsiteX3501" fmla="*/ 2571449 w 12139750"/>
              <a:gd name="connsiteY3501" fmla="*/ 1123685 h 6858290"/>
              <a:gd name="connsiteX3502" fmla="*/ 2592851 w 12139750"/>
              <a:gd name="connsiteY3502" fmla="*/ 1122397 h 6858290"/>
              <a:gd name="connsiteX3503" fmla="*/ 3157611 w 12139750"/>
              <a:gd name="connsiteY3503" fmla="*/ 1116357 h 6858290"/>
              <a:gd name="connsiteX3504" fmla="*/ 3201722 w 12139750"/>
              <a:gd name="connsiteY3504" fmla="*/ 1159220 h 6858290"/>
              <a:gd name="connsiteX3505" fmla="*/ 3203624 w 12139750"/>
              <a:gd name="connsiteY3505" fmla="*/ 1172555 h 6858290"/>
              <a:gd name="connsiteX3506" fmla="*/ 3159900 w 12139750"/>
              <a:gd name="connsiteY3506" fmla="*/ 1227799 h 6858290"/>
              <a:gd name="connsiteX3507" fmla="*/ 2815797 w 12139750"/>
              <a:gd name="connsiteY3507" fmla="*/ 1303997 h 6858290"/>
              <a:gd name="connsiteX3508" fmla="*/ 2747356 w 12139750"/>
              <a:gd name="connsiteY3508" fmla="*/ 1260182 h 6858290"/>
              <a:gd name="connsiteX3509" fmla="*/ 2791085 w 12139750"/>
              <a:gd name="connsiteY3509" fmla="*/ 1191605 h 6858290"/>
              <a:gd name="connsiteX3510" fmla="*/ 3135184 w 12139750"/>
              <a:gd name="connsiteY3510" fmla="*/ 1117309 h 6858290"/>
              <a:gd name="connsiteX3511" fmla="*/ 3157611 w 12139750"/>
              <a:gd name="connsiteY3511" fmla="*/ 1116357 h 6858290"/>
              <a:gd name="connsiteX3512" fmla="*/ 9862398 w 12139750"/>
              <a:gd name="connsiteY3512" fmla="*/ 887331 h 6858290"/>
              <a:gd name="connsiteX3513" fmla="*/ 9878153 w 12139750"/>
              <a:gd name="connsiteY3513" fmla="*/ 895649 h 6858290"/>
              <a:gd name="connsiteX3514" fmla="*/ 9883882 w 12139750"/>
              <a:gd name="connsiteY3514" fmla="*/ 910857 h 6858290"/>
              <a:gd name="connsiteX3515" fmla="*/ 9874333 w 12139750"/>
              <a:gd name="connsiteY3515" fmla="*/ 929868 h 6858290"/>
              <a:gd name="connsiteX3516" fmla="*/ 9540128 w 12139750"/>
              <a:gd name="connsiteY3516" fmla="*/ 1184614 h 6858290"/>
              <a:gd name="connsiteX3517" fmla="*/ 9505753 w 12139750"/>
              <a:gd name="connsiteY3517" fmla="*/ 1178911 h 6858290"/>
              <a:gd name="connsiteX3518" fmla="*/ 9511482 w 12139750"/>
              <a:gd name="connsiteY3518" fmla="*/ 1144691 h 6858290"/>
              <a:gd name="connsiteX3519" fmla="*/ 9843777 w 12139750"/>
              <a:gd name="connsiteY3519" fmla="*/ 891846 h 6858290"/>
              <a:gd name="connsiteX3520" fmla="*/ 9862398 w 12139750"/>
              <a:gd name="connsiteY3520" fmla="*/ 887331 h 6858290"/>
              <a:gd name="connsiteX3521" fmla="*/ 9285227 w 12139750"/>
              <a:gd name="connsiteY3521" fmla="*/ 879270 h 6858290"/>
              <a:gd name="connsiteX3522" fmla="*/ 9301896 w 12139750"/>
              <a:gd name="connsiteY3522" fmla="*/ 890009 h 6858290"/>
              <a:gd name="connsiteX3523" fmla="*/ 9307611 w 12139750"/>
              <a:gd name="connsiteY3523" fmla="*/ 905281 h 6858290"/>
              <a:gd name="connsiteX3524" fmla="*/ 9296181 w 12139750"/>
              <a:gd name="connsiteY3524" fmla="*/ 928189 h 6858290"/>
              <a:gd name="connsiteX3525" fmla="*/ 8962802 w 12139750"/>
              <a:gd name="connsiteY3525" fmla="*/ 1168731 h 6858290"/>
              <a:gd name="connsiteX3526" fmla="*/ 8924701 w 12139750"/>
              <a:gd name="connsiteY3526" fmla="*/ 1161095 h 6858290"/>
              <a:gd name="connsiteX3527" fmla="*/ 8930416 w 12139750"/>
              <a:gd name="connsiteY3527" fmla="*/ 1124823 h 6858290"/>
              <a:gd name="connsiteX3528" fmla="*/ 9265700 w 12139750"/>
              <a:gd name="connsiteY3528" fmla="*/ 884282 h 6858290"/>
              <a:gd name="connsiteX3529" fmla="*/ 9285227 w 12139750"/>
              <a:gd name="connsiteY3529" fmla="*/ 879270 h 6858290"/>
              <a:gd name="connsiteX3530" fmla="*/ 10445943 w 12139750"/>
              <a:gd name="connsiteY3530" fmla="*/ 879249 h 6858290"/>
              <a:gd name="connsiteX3531" fmla="*/ 10464279 w 12139750"/>
              <a:gd name="connsiteY3531" fmla="*/ 889987 h 6858290"/>
              <a:gd name="connsiteX3532" fmla="*/ 10468089 w 12139750"/>
              <a:gd name="connsiteY3532" fmla="*/ 905259 h 6858290"/>
              <a:gd name="connsiteX3533" fmla="*/ 10458564 w 12139750"/>
              <a:gd name="connsiteY3533" fmla="*/ 928168 h 6858290"/>
              <a:gd name="connsiteX3534" fmla="*/ 10123280 w 12139750"/>
              <a:gd name="connsiteY3534" fmla="*/ 1168705 h 6858290"/>
              <a:gd name="connsiteX3535" fmla="*/ 10087084 w 12139750"/>
              <a:gd name="connsiteY3535" fmla="*/ 1161069 h 6858290"/>
              <a:gd name="connsiteX3536" fmla="*/ 10092799 w 12139750"/>
              <a:gd name="connsiteY3536" fmla="*/ 1124797 h 6858290"/>
              <a:gd name="connsiteX3537" fmla="*/ 10426178 w 12139750"/>
              <a:gd name="connsiteY3537" fmla="*/ 884260 h 6858290"/>
              <a:gd name="connsiteX3538" fmla="*/ 10445943 w 12139750"/>
              <a:gd name="connsiteY3538" fmla="*/ 879249 h 6858290"/>
              <a:gd name="connsiteX3539" fmla="*/ 8716319 w 12139750"/>
              <a:gd name="connsiteY3539" fmla="*/ 870617 h 6858290"/>
              <a:gd name="connsiteX3540" fmla="*/ 8735146 w 12139750"/>
              <a:gd name="connsiteY3540" fmla="*/ 883981 h 6858290"/>
              <a:gd name="connsiteX3541" fmla="*/ 8740866 w 12139750"/>
              <a:gd name="connsiteY3541" fmla="*/ 899254 h 6858290"/>
              <a:gd name="connsiteX3542" fmla="*/ 8727520 w 12139750"/>
              <a:gd name="connsiteY3542" fmla="*/ 924073 h 6858290"/>
              <a:gd name="connsiteX3543" fmla="*/ 8391968 w 12139750"/>
              <a:gd name="connsiteY3543" fmla="*/ 1151267 h 6858290"/>
              <a:gd name="connsiteX3544" fmla="*/ 8351931 w 12139750"/>
              <a:gd name="connsiteY3544" fmla="*/ 1141721 h 6858290"/>
              <a:gd name="connsiteX3545" fmla="*/ 8359557 w 12139750"/>
              <a:gd name="connsiteY3545" fmla="*/ 1101629 h 6858290"/>
              <a:gd name="connsiteX3546" fmla="*/ 8693202 w 12139750"/>
              <a:gd name="connsiteY3546" fmla="*/ 874435 h 6858290"/>
              <a:gd name="connsiteX3547" fmla="*/ 8716319 w 12139750"/>
              <a:gd name="connsiteY3547" fmla="*/ 870617 h 6858290"/>
              <a:gd name="connsiteX3548" fmla="*/ 11024254 w 12139750"/>
              <a:gd name="connsiteY3548" fmla="*/ 870594 h 6858290"/>
              <a:gd name="connsiteX3549" fmla="*/ 11043734 w 12139750"/>
              <a:gd name="connsiteY3549" fmla="*/ 883958 h 6858290"/>
              <a:gd name="connsiteX3550" fmla="*/ 11047535 w 12139750"/>
              <a:gd name="connsiteY3550" fmla="*/ 899231 h 6858290"/>
              <a:gd name="connsiteX3551" fmla="*/ 11036132 w 12139750"/>
              <a:gd name="connsiteY3551" fmla="*/ 924050 h 6858290"/>
              <a:gd name="connsiteX3552" fmla="*/ 10701654 w 12139750"/>
              <a:gd name="connsiteY3552" fmla="*/ 1151239 h 6858290"/>
              <a:gd name="connsiteX3553" fmla="*/ 10659844 w 12139750"/>
              <a:gd name="connsiteY3553" fmla="*/ 1141693 h 6858290"/>
              <a:gd name="connsiteX3554" fmla="*/ 10669346 w 12139750"/>
              <a:gd name="connsiteY3554" fmla="*/ 1101601 h 6858290"/>
              <a:gd name="connsiteX3555" fmla="*/ 11001924 w 12139750"/>
              <a:gd name="connsiteY3555" fmla="*/ 874412 h 6858290"/>
              <a:gd name="connsiteX3556" fmla="*/ 11024254 w 12139750"/>
              <a:gd name="connsiteY3556" fmla="*/ 870594 h 6858290"/>
              <a:gd name="connsiteX3557" fmla="*/ 8152171 w 12139750"/>
              <a:gd name="connsiteY3557" fmla="*/ 862274 h 6858290"/>
              <a:gd name="connsiteX3558" fmla="*/ 8171905 w 12139750"/>
              <a:gd name="connsiteY3558" fmla="*/ 876324 h 6858290"/>
              <a:gd name="connsiteX3559" fmla="*/ 8175709 w 12139750"/>
              <a:gd name="connsiteY3559" fmla="*/ 893468 h 6858290"/>
              <a:gd name="connsiteX3560" fmla="*/ 8162395 w 12139750"/>
              <a:gd name="connsiteY3560" fmla="*/ 920138 h 6858290"/>
              <a:gd name="connsiteX3561" fmla="*/ 7825735 w 12139750"/>
              <a:gd name="connsiteY3561" fmla="*/ 1133503 h 6858290"/>
              <a:gd name="connsiteX3562" fmla="*/ 7781988 w 12139750"/>
              <a:gd name="connsiteY3562" fmla="*/ 1123978 h 6858290"/>
              <a:gd name="connsiteX3563" fmla="*/ 7791498 w 12139750"/>
              <a:gd name="connsiteY3563" fmla="*/ 1078258 h 6858290"/>
              <a:gd name="connsiteX3564" fmla="*/ 8128158 w 12139750"/>
              <a:gd name="connsiteY3564" fmla="*/ 866799 h 6858290"/>
              <a:gd name="connsiteX3565" fmla="*/ 8152171 w 12139750"/>
              <a:gd name="connsiteY3565" fmla="*/ 862274 h 6858290"/>
              <a:gd name="connsiteX3566" fmla="*/ 11596678 w 12139750"/>
              <a:gd name="connsiteY3566" fmla="*/ 862268 h 6858290"/>
              <a:gd name="connsiteX3567" fmla="*/ 11616489 w 12139750"/>
              <a:gd name="connsiteY3567" fmla="*/ 876317 h 6858290"/>
              <a:gd name="connsiteX3568" fmla="*/ 11622218 w 12139750"/>
              <a:gd name="connsiteY3568" fmla="*/ 893462 h 6858290"/>
              <a:gd name="connsiteX3569" fmla="*/ 11606942 w 12139750"/>
              <a:gd name="connsiteY3569" fmla="*/ 920132 h 6858290"/>
              <a:gd name="connsiteX3570" fmla="*/ 11270867 w 12139750"/>
              <a:gd name="connsiteY3570" fmla="*/ 1133497 h 6858290"/>
              <a:gd name="connsiteX3571" fmla="*/ 11226948 w 12139750"/>
              <a:gd name="connsiteY3571" fmla="*/ 1123971 h 6858290"/>
              <a:gd name="connsiteX3572" fmla="*/ 11236495 w 12139750"/>
              <a:gd name="connsiteY3572" fmla="*/ 1078251 h 6858290"/>
              <a:gd name="connsiteX3573" fmla="*/ 11572570 w 12139750"/>
              <a:gd name="connsiteY3573" fmla="*/ 866793 h 6858290"/>
              <a:gd name="connsiteX3574" fmla="*/ 11596678 w 12139750"/>
              <a:gd name="connsiteY3574" fmla="*/ 862268 h 6858290"/>
              <a:gd name="connsiteX3575" fmla="*/ 12139750 w 12139750"/>
              <a:gd name="connsiteY3575" fmla="*/ 857266 h 6858290"/>
              <a:gd name="connsiteX3576" fmla="*/ 12139750 w 12139750"/>
              <a:gd name="connsiteY3576" fmla="*/ 935278 h 6858290"/>
              <a:gd name="connsiteX3577" fmla="*/ 11834946 w 12139750"/>
              <a:gd name="connsiteY3577" fmla="*/ 1116043 h 6858290"/>
              <a:gd name="connsiteX3578" fmla="*/ 11787320 w 12139750"/>
              <a:gd name="connsiteY3578" fmla="*/ 1104626 h 6858290"/>
              <a:gd name="connsiteX3579" fmla="*/ 11798750 w 12139750"/>
              <a:gd name="connsiteY3579" fmla="*/ 1057058 h 6858290"/>
              <a:gd name="connsiteX3580" fmla="*/ 12135940 w 12139750"/>
              <a:gd name="connsiteY3580" fmla="*/ 859168 h 6858290"/>
              <a:gd name="connsiteX3581" fmla="*/ 12139750 w 12139750"/>
              <a:gd name="connsiteY3581" fmla="*/ 857266 h 6858290"/>
              <a:gd name="connsiteX3582" fmla="*/ 7595013 w 12139750"/>
              <a:gd name="connsiteY3582" fmla="*/ 854170 h 6858290"/>
              <a:gd name="connsiteX3583" fmla="*/ 7615952 w 12139750"/>
              <a:gd name="connsiteY3583" fmla="*/ 870582 h 6858290"/>
              <a:gd name="connsiteX3584" fmla="*/ 7621663 w 12139750"/>
              <a:gd name="connsiteY3584" fmla="*/ 887708 h 6858290"/>
              <a:gd name="connsiteX3585" fmla="*/ 7604531 w 12139750"/>
              <a:gd name="connsiteY3585" fmla="*/ 918153 h 6858290"/>
              <a:gd name="connsiteX3586" fmla="*/ 7267601 w 12139750"/>
              <a:gd name="connsiteY3586" fmla="*/ 1116053 h 6858290"/>
              <a:gd name="connsiteX3587" fmla="*/ 7220013 w 12139750"/>
              <a:gd name="connsiteY3587" fmla="*/ 1104635 h 6858290"/>
              <a:gd name="connsiteX3588" fmla="*/ 7233337 w 12139750"/>
              <a:gd name="connsiteY3588" fmla="*/ 1057064 h 6858290"/>
              <a:gd name="connsiteX3589" fmla="*/ 7568363 w 12139750"/>
              <a:gd name="connsiteY3589" fmla="*/ 859165 h 6858290"/>
              <a:gd name="connsiteX3590" fmla="*/ 7595013 w 12139750"/>
              <a:gd name="connsiteY3590" fmla="*/ 854170 h 6858290"/>
              <a:gd name="connsiteX3591" fmla="*/ 7044817 w 12139750"/>
              <a:gd name="connsiteY3591" fmla="*/ 846270 h 6858290"/>
              <a:gd name="connsiteX3592" fmla="*/ 7066980 w 12139750"/>
              <a:gd name="connsiteY3592" fmla="*/ 864693 h 6858290"/>
              <a:gd name="connsiteX3593" fmla="*/ 7070793 w 12139750"/>
              <a:gd name="connsiteY3593" fmla="*/ 881918 h 6858290"/>
              <a:gd name="connsiteX3594" fmla="*/ 7051728 w 12139750"/>
              <a:gd name="connsiteY3594" fmla="*/ 914456 h 6858290"/>
              <a:gd name="connsiteX3595" fmla="*/ 6714282 w 12139750"/>
              <a:gd name="connsiteY3595" fmla="*/ 1100119 h 6858290"/>
              <a:gd name="connsiteX3596" fmla="*/ 6664714 w 12139750"/>
              <a:gd name="connsiteY3596" fmla="*/ 1084808 h 6858290"/>
              <a:gd name="connsiteX3597" fmla="*/ 6678059 w 12139750"/>
              <a:gd name="connsiteY3597" fmla="*/ 1035038 h 6858290"/>
              <a:gd name="connsiteX3598" fmla="*/ 7015505 w 12139750"/>
              <a:gd name="connsiteY3598" fmla="*/ 849380 h 6858290"/>
              <a:gd name="connsiteX3599" fmla="*/ 7044817 w 12139750"/>
              <a:gd name="connsiteY3599" fmla="*/ 846270 h 6858290"/>
              <a:gd name="connsiteX3600" fmla="*/ 6485646 w 12139750"/>
              <a:gd name="connsiteY3600" fmla="*/ 836909 h 6858290"/>
              <a:gd name="connsiteX3601" fmla="*/ 6524041 w 12139750"/>
              <a:gd name="connsiteY3601" fmla="*/ 858929 h 6858290"/>
              <a:gd name="connsiteX3602" fmla="*/ 6527860 w 12139750"/>
              <a:gd name="connsiteY3602" fmla="*/ 876115 h 6858290"/>
              <a:gd name="connsiteX3603" fmla="*/ 6506857 w 12139750"/>
              <a:gd name="connsiteY3603" fmla="*/ 912398 h 6858290"/>
              <a:gd name="connsiteX3604" fmla="*/ 6166999 w 12139750"/>
              <a:gd name="connsiteY3604" fmla="*/ 1082357 h 6858290"/>
              <a:gd name="connsiteX3605" fmla="*/ 6113538 w 12139750"/>
              <a:gd name="connsiteY3605" fmla="*/ 1065171 h 6858290"/>
              <a:gd name="connsiteX3606" fmla="*/ 6130722 w 12139750"/>
              <a:gd name="connsiteY3606" fmla="*/ 1011697 h 6858290"/>
              <a:gd name="connsiteX3607" fmla="*/ 6470580 w 12139750"/>
              <a:gd name="connsiteY3607" fmla="*/ 841743 h 6858290"/>
              <a:gd name="connsiteX3608" fmla="*/ 6485646 w 12139750"/>
              <a:gd name="connsiteY3608" fmla="*/ 836909 h 6858290"/>
              <a:gd name="connsiteX3609" fmla="*/ 5957785 w 12139750"/>
              <a:gd name="connsiteY3609" fmla="*/ 832476 h 6858290"/>
              <a:gd name="connsiteX3610" fmla="*/ 5981121 w 12139750"/>
              <a:gd name="connsiteY3610" fmla="*/ 854301 h 6858290"/>
              <a:gd name="connsiteX3611" fmla="*/ 5984930 w 12139750"/>
              <a:gd name="connsiteY3611" fmla="*/ 871381 h 6858290"/>
              <a:gd name="connsiteX3612" fmla="*/ 5962070 w 12139750"/>
              <a:gd name="connsiteY3612" fmla="*/ 909338 h 6858290"/>
              <a:gd name="connsiteX3613" fmla="*/ 5622984 w 12139750"/>
              <a:gd name="connsiteY3613" fmla="*/ 1066863 h 6858290"/>
              <a:gd name="connsiteX3614" fmla="*/ 5565834 w 12139750"/>
              <a:gd name="connsiteY3614" fmla="*/ 1045982 h 6858290"/>
              <a:gd name="connsiteX3615" fmla="*/ 5586789 w 12139750"/>
              <a:gd name="connsiteY3615" fmla="*/ 990945 h 6858290"/>
              <a:gd name="connsiteX3616" fmla="*/ 5925876 w 12139750"/>
              <a:gd name="connsiteY3616" fmla="*/ 833424 h 6858290"/>
              <a:gd name="connsiteX3617" fmla="*/ 5957785 w 12139750"/>
              <a:gd name="connsiteY3617" fmla="*/ 832476 h 6858290"/>
              <a:gd name="connsiteX3618" fmla="*/ 398307 w 12139750"/>
              <a:gd name="connsiteY3618" fmla="*/ 832466 h 6858290"/>
              <a:gd name="connsiteX3619" fmla="*/ 421644 w 12139750"/>
              <a:gd name="connsiteY3619" fmla="*/ 854291 h 6858290"/>
              <a:gd name="connsiteX3620" fmla="*/ 425454 w 12139750"/>
              <a:gd name="connsiteY3620" fmla="*/ 871371 h 6858290"/>
              <a:gd name="connsiteX3621" fmla="*/ 400689 w 12139750"/>
              <a:gd name="connsiteY3621" fmla="*/ 909328 h 6858290"/>
              <a:gd name="connsiteX3622" fmla="*/ 61595 w 12139750"/>
              <a:gd name="connsiteY3622" fmla="*/ 1066852 h 6858290"/>
              <a:gd name="connsiteX3623" fmla="*/ 6349 w 12139750"/>
              <a:gd name="connsiteY3623" fmla="*/ 1045972 h 6858290"/>
              <a:gd name="connsiteX3624" fmla="*/ 27304 w 12139750"/>
              <a:gd name="connsiteY3624" fmla="*/ 990935 h 6858290"/>
              <a:gd name="connsiteX3625" fmla="*/ 366398 w 12139750"/>
              <a:gd name="connsiteY3625" fmla="*/ 833414 h 6858290"/>
              <a:gd name="connsiteX3626" fmla="*/ 398307 w 12139750"/>
              <a:gd name="connsiteY3626" fmla="*/ 832466 h 6858290"/>
              <a:gd name="connsiteX3627" fmla="*/ 5410477 w 12139750"/>
              <a:gd name="connsiteY3627" fmla="*/ 824774 h 6858290"/>
              <a:gd name="connsiteX3628" fmla="*/ 5435021 w 12139750"/>
              <a:gd name="connsiteY3628" fmla="*/ 848257 h 6858290"/>
              <a:gd name="connsiteX3629" fmla="*/ 5438834 w 12139750"/>
              <a:gd name="connsiteY3629" fmla="*/ 865335 h 6858290"/>
              <a:gd name="connsiteX3630" fmla="*/ 5410239 w 12139750"/>
              <a:gd name="connsiteY3630" fmla="*/ 907081 h 6858290"/>
              <a:gd name="connsiteX3631" fmla="*/ 5070896 w 12139750"/>
              <a:gd name="connsiteY3631" fmla="*/ 1049397 h 6858290"/>
              <a:gd name="connsiteX3632" fmla="*/ 5011805 w 12139750"/>
              <a:gd name="connsiteY3632" fmla="*/ 1024730 h 6858290"/>
              <a:gd name="connsiteX3633" fmla="*/ 5034679 w 12139750"/>
              <a:gd name="connsiteY3633" fmla="*/ 967803 h 6858290"/>
              <a:gd name="connsiteX3634" fmla="*/ 5375924 w 12139750"/>
              <a:gd name="connsiteY3634" fmla="*/ 825486 h 6858290"/>
              <a:gd name="connsiteX3635" fmla="*/ 5410477 w 12139750"/>
              <a:gd name="connsiteY3635" fmla="*/ 824774 h 6858290"/>
              <a:gd name="connsiteX3636" fmla="*/ 944785 w 12139750"/>
              <a:gd name="connsiteY3636" fmla="*/ 824762 h 6858290"/>
              <a:gd name="connsiteX3637" fmla="*/ 969330 w 12139750"/>
              <a:gd name="connsiteY3637" fmla="*/ 848245 h 6858290"/>
              <a:gd name="connsiteX3638" fmla="*/ 973143 w 12139750"/>
              <a:gd name="connsiteY3638" fmla="*/ 865323 h 6858290"/>
              <a:gd name="connsiteX3639" fmla="*/ 946453 w 12139750"/>
              <a:gd name="connsiteY3639" fmla="*/ 907069 h 6858290"/>
              <a:gd name="connsiteX3640" fmla="*/ 605206 w 12139750"/>
              <a:gd name="connsiteY3640" fmla="*/ 1049386 h 6858290"/>
              <a:gd name="connsiteX3641" fmla="*/ 546108 w 12139750"/>
              <a:gd name="connsiteY3641" fmla="*/ 1024718 h 6858290"/>
              <a:gd name="connsiteX3642" fmla="*/ 570891 w 12139750"/>
              <a:gd name="connsiteY3642" fmla="*/ 967791 h 6858290"/>
              <a:gd name="connsiteX3643" fmla="*/ 910231 w 12139750"/>
              <a:gd name="connsiteY3643" fmla="*/ 825474 h 6858290"/>
              <a:gd name="connsiteX3644" fmla="*/ 944785 w 12139750"/>
              <a:gd name="connsiteY3644" fmla="*/ 824762 h 6858290"/>
              <a:gd name="connsiteX3645" fmla="*/ 4842166 w 12139750"/>
              <a:gd name="connsiteY3645" fmla="*/ 812941 h 6858290"/>
              <a:gd name="connsiteX3646" fmla="*/ 4884470 w 12139750"/>
              <a:gd name="connsiteY3646" fmla="*/ 842717 h 6858290"/>
              <a:gd name="connsiteX3647" fmla="*/ 4886374 w 12139750"/>
              <a:gd name="connsiteY3647" fmla="*/ 859885 h 6858290"/>
              <a:gd name="connsiteX3648" fmla="*/ 4855910 w 12139750"/>
              <a:gd name="connsiteY3648" fmla="*/ 903759 h 6858290"/>
              <a:gd name="connsiteX3649" fmla="*/ 4515164 w 12139750"/>
              <a:gd name="connsiteY3649" fmla="*/ 1033473 h 6858290"/>
              <a:gd name="connsiteX3650" fmla="*/ 4454246 w 12139750"/>
              <a:gd name="connsiteY3650" fmla="*/ 1006767 h 6858290"/>
              <a:gd name="connsiteX3651" fmla="*/ 4482801 w 12139750"/>
              <a:gd name="connsiteY3651" fmla="*/ 945725 h 6858290"/>
              <a:gd name="connsiteX3652" fmla="*/ 4823545 w 12139750"/>
              <a:gd name="connsiteY3652" fmla="*/ 816011 h 6858290"/>
              <a:gd name="connsiteX3653" fmla="*/ 4842166 w 12139750"/>
              <a:gd name="connsiteY3653" fmla="*/ 812941 h 6858290"/>
              <a:gd name="connsiteX3654" fmla="*/ 1476350 w 12139750"/>
              <a:gd name="connsiteY3654" fmla="*/ 812927 h 6858290"/>
              <a:gd name="connsiteX3655" fmla="*/ 1518617 w 12139750"/>
              <a:gd name="connsiteY3655" fmla="*/ 842703 h 6858290"/>
              <a:gd name="connsiteX3656" fmla="*/ 1522421 w 12139750"/>
              <a:gd name="connsiteY3656" fmla="*/ 859871 h 6858290"/>
              <a:gd name="connsiteX3657" fmla="*/ 1491985 w 12139750"/>
              <a:gd name="connsiteY3657" fmla="*/ 903745 h 6858290"/>
              <a:gd name="connsiteX3658" fmla="*/ 1151476 w 12139750"/>
              <a:gd name="connsiteY3658" fmla="*/ 1033459 h 6858290"/>
              <a:gd name="connsiteX3659" fmla="*/ 1090602 w 12139750"/>
              <a:gd name="connsiteY3659" fmla="*/ 1006753 h 6858290"/>
              <a:gd name="connsiteX3660" fmla="*/ 1117234 w 12139750"/>
              <a:gd name="connsiteY3660" fmla="*/ 945711 h 6858290"/>
              <a:gd name="connsiteX3661" fmla="*/ 1457743 w 12139750"/>
              <a:gd name="connsiteY3661" fmla="*/ 815997 h 6858290"/>
              <a:gd name="connsiteX3662" fmla="*/ 1476350 w 12139750"/>
              <a:gd name="connsiteY3662" fmla="*/ 812927 h 6858290"/>
              <a:gd name="connsiteX3663" fmla="*/ 4285652 w 12139750"/>
              <a:gd name="connsiteY3663" fmla="*/ 804258 h 6858290"/>
              <a:gd name="connsiteX3664" fmla="*/ 4328516 w 12139750"/>
              <a:gd name="connsiteY3664" fmla="*/ 838596 h 6858290"/>
              <a:gd name="connsiteX3665" fmla="*/ 4332327 w 12139750"/>
              <a:gd name="connsiteY3665" fmla="*/ 853857 h 6858290"/>
              <a:gd name="connsiteX3666" fmla="*/ 4298035 w 12139750"/>
              <a:gd name="connsiteY3666" fmla="*/ 901549 h 6858290"/>
              <a:gd name="connsiteX3667" fmla="*/ 3957057 w 12139750"/>
              <a:gd name="connsiteY3667" fmla="*/ 1017917 h 6858290"/>
              <a:gd name="connsiteX3668" fmla="*/ 3894189 w 12139750"/>
              <a:gd name="connsiteY3668" fmla="*/ 985486 h 6858290"/>
              <a:gd name="connsiteX3669" fmla="*/ 3924669 w 12139750"/>
              <a:gd name="connsiteY3669" fmla="*/ 922533 h 6858290"/>
              <a:gd name="connsiteX3670" fmla="*/ 4265650 w 12139750"/>
              <a:gd name="connsiteY3670" fmla="*/ 806166 h 6858290"/>
              <a:gd name="connsiteX3671" fmla="*/ 4285652 w 12139750"/>
              <a:gd name="connsiteY3671" fmla="*/ 804258 h 6858290"/>
              <a:gd name="connsiteX3672" fmla="*/ 2032209 w 12139750"/>
              <a:gd name="connsiteY3672" fmla="*/ 804242 h 6858290"/>
              <a:gd name="connsiteX3673" fmla="*/ 2076148 w 12139750"/>
              <a:gd name="connsiteY3673" fmla="*/ 838580 h 6858290"/>
              <a:gd name="connsiteX3674" fmla="*/ 2078054 w 12139750"/>
              <a:gd name="connsiteY3674" fmla="*/ 853842 h 6858290"/>
              <a:gd name="connsiteX3675" fmla="*/ 2043759 w 12139750"/>
              <a:gd name="connsiteY3675" fmla="*/ 901533 h 6858290"/>
              <a:gd name="connsiteX3676" fmla="*/ 1702759 w 12139750"/>
              <a:gd name="connsiteY3676" fmla="*/ 1017901 h 6858290"/>
              <a:gd name="connsiteX3677" fmla="*/ 1639894 w 12139750"/>
              <a:gd name="connsiteY3677" fmla="*/ 985471 h 6858290"/>
              <a:gd name="connsiteX3678" fmla="*/ 1670374 w 12139750"/>
              <a:gd name="connsiteY3678" fmla="*/ 922518 h 6858290"/>
              <a:gd name="connsiteX3679" fmla="*/ 2013278 w 12139750"/>
              <a:gd name="connsiteY3679" fmla="*/ 806150 h 6858290"/>
              <a:gd name="connsiteX3680" fmla="*/ 2032209 w 12139750"/>
              <a:gd name="connsiteY3680" fmla="*/ 804242 h 6858290"/>
              <a:gd name="connsiteX3681" fmla="*/ 3725236 w 12139750"/>
              <a:gd name="connsiteY3681" fmla="*/ 796620 h 6858290"/>
              <a:gd name="connsiteX3682" fmla="*/ 3770039 w 12139750"/>
              <a:gd name="connsiteY3682" fmla="*/ 832569 h 6858290"/>
              <a:gd name="connsiteX3683" fmla="*/ 3771948 w 12139750"/>
              <a:gd name="connsiteY3683" fmla="*/ 847831 h 6858290"/>
              <a:gd name="connsiteX3684" fmla="*/ 3733791 w 12139750"/>
              <a:gd name="connsiteY3684" fmla="*/ 897434 h 6858290"/>
              <a:gd name="connsiteX3685" fmla="*/ 3390423 w 12139750"/>
              <a:gd name="connsiteY3685" fmla="*/ 1000454 h 6858290"/>
              <a:gd name="connsiteX3686" fmla="*/ 3325558 w 12139750"/>
              <a:gd name="connsiteY3686" fmla="*/ 964206 h 6858290"/>
              <a:gd name="connsiteX3687" fmla="*/ 3361806 w 12139750"/>
              <a:gd name="connsiteY3687" fmla="*/ 899342 h 6858290"/>
              <a:gd name="connsiteX3688" fmla="*/ 3705177 w 12139750"/>
              <a:gd name="connsiteY3688" fmla="*/ 798229 h 6858290"/>
              <a:gd name="connsiteX3689" fmla="*/ 3725236 w 12139750"/>
              <a:gd name="connsiteY3689" fmla="*/ 796620 h 6858290"/>
              <a:gd name="connsiteX3690" fmla="*/ 2591734 w 12139750"/>
              <a:gd name="connsiteY3690" fmla="*/ 796602 h 6858290"/>
              <a:gd name="connsiteX3691" fmla="*/ 2636535 w 12139750"/>
              <a:gd name="connsiteY3691" fmla="*/ 832551 h 6858290"/>
              <a:gd name="connsiteX3692" fmla="*/ 2638443 w 12139750"/>
              <a:gd name="connsiteY3692" fmla="*/ 847814 h 6858290"/>
              <a:gd name="connsiteX3693" fmla="*/ 2600289 w 12139750"/>
              <a:gd name="connsiteY3693" fmla="*/ 897416 h 6858290"/>
              <a:gd name="connsiteX3694" fmla="*/ 2256905 w 12139750"/>
              <a:gd name="connsiteY3694" fmla="*/ 1000437 h 6858290"/>
              <a:gd name="connsiteX3695" fmla="*/ 2192044 w 12139750"/>
              <a:gd name="connsiteY3695" fmla="*/ 964189 h 6858290"/>
              <a:gd name="connsiteX3696" fmla="*/ 2228290 w 12139750"/>
              <a:gd name="connsiteY3696" fmla="*/ 899324 h 6858290"/>
              <a:gd name="connsiteX3697" fmla="*/ 2571674 w 12139750"/>
              <a:gd name="connsiteY3697" fmla="*/ 798211 h 6858290"/>
              <a:gd name="connsiteX3698" fmla="*/ 2591734 w 12139750"/>
              <a:gd name="connsiteY3698" fmla="*/ 796602 h 6858290"/>
              <a:gd name="connsiteX3699" fmla="*/ 3154890 w 12139750"/>
              <a:gd name="connsiteY3699" fmla="*/ 787711 h 6858290"/>
              <a:gd name="connsiteX3700" fmla="*/ 3200131 w 12139750"/>
              <a:gd name="connsiteY3700" fmla="*/ 828698 h 6858290"/>
              <a:gd name="connsiteX3701" fmla="*/ 3202035 w 12139750"/>
              <a:gd name="connsiteY3701" fmla="*/ 842033 h 6858290"/>
              <a:gd name="connsiteX3702" fmla="*/ 3160155 w 12139750"/>
              <a:gd name="connsiteY3702" fmla="*/ 895372 h 6858290"/>
              <a:gd name="connsiteX3703" fmla="*/ 2817485 w 12139750"/>
              <a:gd name="connsiteY3703" fmla="*/ 983002 h 6858290"/>
              <a:gd name="connsiteX3704" fmla="*/ 2750856 w 12139750"/>
              <a:gd name="connsiteY3704" fmla="*/ 944903 h 6858290"/>
              <a:gd name="connsiteX3705" fmla="*/ 2788932 w 12139750"/>
              <a:gd name="connsiteY3705" fmla="*/ 878228 h 6858290"/>
              <a:gd name="connsiteX3706" fmla="*/ 3133502 w 12139750"/>
              <a:gd name="connsiteY3706" fmla="*/ 788693 h 6858290"/>
              <a:gd name="connsiteX3707" fmla="*/ 3154890 w 12139750"/>
              <a:gd name="connsiteY3707" fmla="*/ 787711 h 6858290"/>
              <a:gd name="connsiteX3708" fmla="*/ 9863739 w 12139750"/>
              <a:gd name="connsiteY3708" fmla="*/ 570068 h 6858290"/>
              <a:gd name="connsiteX3709" fmla="*/ 9881347 w 12139750"/>
              <a:gd name="connsiteY3709" fmla="*/ 580048 h 6858290"/>
              <a:gd name="connsiteX3710" fmla="*/ 9887057 w 12139750"/>
              <a:gd name="connsiteY3710" fmla="*/ 597157 h 6858290"/>
              <a:gd name="connsiteX3711" fmla="*/ 9875636 w 12139750"/>
              <a:gd name="connsiteY3711" fmla="*/ 618067 h 6858290"/>
              <a:gd name="connsiteX3712" fmla="*/ 9540623 w 12139750"/>
              <a:gd name="connsiteY3712" fmla="*/ 857587 h 6858290"/>
              <a:gd name="connsiteX3713" fmla="*/ 9504456 w 12139750"/>
              <a:gd name="connsiteY3713" fmla="*/ 849984 h 6858290"/>
              <a:gd name="connsiteX3714" fmla="*/ 9510167 w 12139750"/>
              <a:gd name="connsiteY3714" fmla="*/ 811965 h 6858290"/>
              <a:gd name="connsiteX3715" fmla="*/ 9843277 w 12139750"/>
              <a:gd name="connsiteY3715" fmla="*/ 574345 h 6858290"/>
              <a:gd name="connsiteX3716" fmla="*/ 9863739 w 12139750"/>
              <a:gd name="connsiteY3716" fmla="*/ 570068 h 6858290"/>
              <a:gd name="connsiteX3717" fmla="*/ 9288066 w 12139750"/>
              <a:gd name="connsiteY3717" fmla="*/ 561743 h 6858290"/>
              <a:gd name="connsiteX3718" fmla="*/ 9306654 w 12139750"/>
              <a:gd name="connsiteY3718" fmla="*/ 574308 h 6858290"/>
              <a:gd name="connsiteX3719" fmla="*/ 9312374 w 12139750"/>
              <a:gd name="connsiteY3719" fmla="*/ 589483 h 6858290"/>
              <a:gd name="connsiteX3720" fmla="*/ 9299028 w 12139750"/>
              <a:gd name="connsiteY3720" fmla="*/ 614140 h 6858290"/>
              <a:gd name="connsiteX3721" fmla="*/ 8963476 w 12139750"/>
              <a:gd name="connsiteY3721" fmla="*/ 839853 h 6858290"/>
              <a:gd name="connsiteX3722" fmla="*/ 8923439 w 12139750"/>
              <a:gd name="connsiteY3722" fmla="*/ 832266 h 6858290"/>
              <a:gd name="connsiteX3723" fmla="*/ 8931065 w 12139750"/>
              <a:gd name="connsiteY3723" fmla="*/ 792434 h 6858290"/>
              <a:gd name="connsiteX3724" fmla="*/ 9266617 w 12139750"/>
              <a:gd name="connsiteY3724" fmla="*/ 564825 h 6858290"/>
              <a:gd name="connsiteX3725" fmla="*/ 9288066 w 12139750"/>
              <a:gd name="connsiteY3725" fmla="*/ 561743 h 6858290"/>
              <a:gd name="connsiteX3726" fmla="*/ 10448544 w 12139750"/>
              <a:gd name="connsiteY3726" fmla="*/ 561719 h 6858290"/>
              <a:gd name="connsiteX3727" fmla="*/ 10467132 w 12139750"/>
              <a:gd name="connsiteY3727" fmla="*/ 574285 h 6858290"/>
              <a:gd name="connsiteX3728" fmla="*/ 10472852 w 12139750"/>
              <a:gd name="connsiteY3728" fmla="*/ 589459 h 6858290"/>
              <a:gd name="connsiteX3729" fmla="*/ 10459506 w 12139750"/>
              <a:gd name="connsiteY3729" fmla="*/ 614117 h 6858290"/>
              <a:gd name="connsiteX3730" fmla="*/ 10123954 w 12139750"/>
              <a:gd name="connsiteY3730" fmla="*/ 839831 h 6858290"/>
              <a:gd name="connsiteX3731" fmla="*/ 10083917 w 12139750"/>
              <a:gd name="connsiteY3731" fmla="*/ 832244 h 6858290"/>
              <a:gd name="connsiteX3732" fmla="*/ 10091543 w 12139750"/>
              <a:gd name="connsiteY3732" fmla="*/ 792412 h 6858290"/>
              <a:gd name="connsiteX3733" fmla="*/ 10427095 w 12139750"/>
              <a:gd name="connsiteY3733" fmla="*/ 564801 h 6858290"/>
              <a:gd name="connsiteX3734" fmla="*/ 10448544 w 12139750"/>
              <a:gd name="connsiteY3734" fmla="*/ 561719 h 6858290"/>
              <a:gd name="connsiteX3735" fmla="*/ 8716914 w 12139750"/>
              <a:gd name="connsiteY3735" fmla="*/ 552708 h 6858290"/>
              <a:gd name="connsiteX3736" fmla="*/ 8736725 w 12139750"/>
              <a:gd name="connsiteY3736" fmla="*/ 566742 h 6858290"/>
              <a:gd name="connsiteX3737" fmla="*/ 8742454 w 12139750"/>
              <a:gd name="connsiteY3737" fmla="*/ 583868 h 6858290"/>
              <a:gd name="connsiteX3738" fmla="*/ 8727178 w 12139750"/>
              <a:gd name="connsiteY3738" fmla="*/ 608605 h 6858290"/>
              <a:gd name="connsiteX3739" fmla="*/ 8391103 w 12139750"/>
              <a:gd name="connsiteY3739" fmla="*/ 825535 h 6858290"/>
              <a:gd name="connsiteX3740" fmla="*/ 8347184 w 12139750"/>
              <a:gd name="connsiteY3740" fmla="*/ 816021 h 6858290"/>
              <a:gd name="connsiteX3741" fmla="*/ 8356731 w 12139750"/>
              <a:gd name="connsiteY3741" fmla="*/ 772254 h 6858290"/>
              <a:gd name="connsiteX3742" fmla="*/ 8692806 w 12139750"/>
              <a:gd name="connsiteY3742" fmla="*/ 557227 h 6858290"/>
              <a:gd name="connsiteX3743" fmla="*/ 8716914 w 12139750"/>
              <a:gd name="connsiteY3743" fmla="*/ 552708 h 6858290"/>
              <a:gd name="connsiteX3744" fmla="*/ 11026758 w 12139750"/>
              <a:gd name="connsiteY3744" fmla="*/ 552682 h 6858290"/>
              <a:gd name="connsiteX3745" fmla="*/ 11046569 w 12139750"/>
              <a:gd name="connsiteY3745" fmla="*/ 566716 h 6858290"/>
              <a:gd name="connsiteX3746" fmla="*/ 11052298 w 12139750"/>
              <a:gd name="connsiteY3746" fmla="*/ 583843 h 6858290"/>
              <a:gd name="connsiteX3747" fmla="*/ 11037022 w 12139750"/>
              <a:gd name="connsiteY3747" fmla="*/ 608580 h 6858290"/>
              <a:gd name="connsiteX3748" fmla="*/ 10700947 w 12139750"/>
              <a:gd name="connsiteY3748" fmla="*/ 825511 h 6858290"/>
              <a:gd name="connsiteX3749" fmla="*/ 10657028 w 12139750"/>
              <a:gd name="connsiteY3749" fmla="*/ 815996 h 6858290"/>
              <a:gd name="connsiteX3750" fmla="*/ 10666575 w 12139750"/>
              <a:gd name="connsiteY3750" fmla="*/ 772230 h 6858290"/>
              <a:gd name="connsiteX3751" fmla="*/ 11002650 w 12139750"/>
              <a:gd name="connsiteY3751" fmla="*/ 557202 h 6858290"/>
              <a:gd name="connsiteX3752" fmla="*/ 11026758 w 12139750"/>
              <a:gd name="connsiteY3752" fmla="*/ 552682 h 6858290"/>
              <a:gd name="connsiteX3753" fmla="*/ 8152845 w 12139750"/>
              <a:gd name="connsiteY3753" fmla="*/ 544127 h 6858290"/>
              <a:gd name="connsiteX3754" fmla="*/ 8173498 w 12139750"/>
              <a:gd name="connsiteY3754" fmla="*/ 559095 h 6858290"/>
              <a:gd name="connsiteX3755" fmla="*/ 8177296 w 12139750"/>
              <a:gd name="connsiteY3755" fmla="*/ 576201 h 6858290"/>
              <a:gd name="connsiteX3756" fmla="*/ 8162103 w 12139750"/>
              <a:gd name="connsiteY3756" fmla="*/ 604711 h 6858290"/>
              <a:gd name="connsiteX3757" fmla="*/ 7825963 w 12139750"/>
              <a:gd name="connsiteY3757" fmla="*/ 808083 h 6858290"/>
              <a:gd name="connsiteX3758" fmla="*/ 7780385 w 12139750"/>
              <a:gd name="connsiteY3758" fmla="*/ 796679 h 6858290"/>
              <a:gd name="connsiteX3759" fmla="*/ 7791780 w 12139750"/>
              <a:gd name="connsiteY3759" fmla="*/ 751063 h 6858290"/>
              <a:gd name="connsiteX3760" fmla="*/ 8127919 w 12139750"/>
              <a:gd name="connsiteY3760" fmla="*/ 547691 h 6858290"/>
              <a:gd name="connsiteX3761" fmla="*/ 8152845 w 12139750"/>
              <a:gd name="connsiteY3761" fmla="*/ 544127 h 6858290"/>
              <a:gd name="connsiteX3762" fmla="*/ 11598067 w 12139750"/>
              <a:gd name="connsiteY3762" fmla="*/ 544120 h 6858290"/>
              <a:gd name="connsiteX3763" fmla="*/ 11618085 w 12139750"/>
              <a:gd name="connsiteY3763" fmla="*/ 559088 h 6858290"/>
              <a:gd name="connsiteX3764" fmla="*/ 11623805 w 12139750"/>
              <a:gd name="connsiteY3764" fmla="*/ 576194 h 6858290"/>
              <a:gd name="connsiteX3765" fmla="*/ 11606646 w 12139750"/>
              <a:gd name="connsiteY3765" fmla="*/ 604704 h 6858290"/>
              <a:gd name="connsiteX3766" fmla="*/ 11271101 w 12139750"/>
              <a:gd name="connsiteY3766" fmla="*/ 808077 h 6858290"/>
              <a:gd name="connsiteX3767" fmla="*/ 11225345 w 12139750"/>
              <a:gd name="connsiteY3767" fmla="*/ 796673 h 6858290"/>
              <a:gd name="connsiteX3768" fmla="*/ 11236784 w 12139750"/>
              <a:gd name="connsiteY3768" fmla="*/ 751056 h 6858290"/>
              <a:gd name="connsiteX3769" fmla="*/ 11572329 w 12139750"/>
              <a:gd name="connsiteY3769" fmla="*/ 547684 h 6858290"/>
              <a:gd name="connsiteX3770" fmla="*/ 11598067 w 12139750"/>
              <a:gd name="connsiteY3770" fmla="*/ 544120 h 6858290"/>
              <a:gd name="connsiteX3771" fmla="*/ 12139750 w 12139750"/>
              <a:gd name="connsiteY3771" fmla="*/ 535003 h 6858290"/>
              <a:gd name="connsiteX3772" fmla="*/ 12139750 w 12139750"/>
              <a:gd name="connsiteY3772" fmla="*/ 616918 h 6858290"/>
              <a:gd name="connsiteX3773" fmla="*/ 11835212 w 12139750"/>
              <a:gd name="connsiteY3773" fmla="*/ 792178 h 6858290"/>
              <a:gd name="connsiteX3774" fmla="*/ 11785725 w 12139750"/>
              <a:gd name="connsiteY3774" fmla="*/ 778843 h 6858290"/>
              <a:gd name="connsiteX3775" fmla="*/ 11799048 w 12139750"/>
              <a:gd name="connsiteY3775" fmla="*/ 729313 h 6858290"/>
              <a:gd name="connsiteX3776" fmla="*/ 12135943 w 12139750"/>
              <a:gd name="connsiteY3776" fmla="*/ 536908 h 6858290"/>
              <a:gd name="connsiteX3777" fmla="*/ 12139750 w 12139750"/>
              <a:gd name="connsiteY3777" fmla="*/ 535003 h 6858290"/>
              <a:gd name="connsiteX3778" fmla="*/ 7595886 w 12139750"/>
              <a:gd name="connsiteY3778" fmla="*/ 534825 h 6858290"/>
              <a:gd name="connsiteX3779" fmla="*/ 7617844 w 12139750"/>
              <a:gd name="connsiteY3779" fmla="*/ 551417 h 6858290"/>
              <a:gd name="connsiteX3780" fmla="*/ 7621663 w 12139750"/>
              <a:gd name="connsiteY3780" fmla="*/ 568482 h 6858290"/>
              <a:gd name="connsiteX3781" fmla="*/ 7604478 w 12139750"/>
              <a:gd name="connsiteY3781" fmla="*/ 600717 h 6858290"/>
              <a:gd name="connsiteX3782" fmla="*/ 7266512 w 12139750"/>
              <a:gd name="connsiteY3782" fmla="*/ 792231 h 6858290"/>
              <a:gd name="connsiteX3783" fmla="*/ 7218776 w 12139750"/>
              <a:gd name="connsiteY3783" fmla="*/ 778957 h 6858290"/>
              <a:gd name="connsiteX3784" fmla="*/ 7230233 w 12139750"/>
              <a:gd name="connsiteY3784" fmla="*/ 729657 h 6858290"/>
              <a:gd name="connsiteX3785" fmla="*/ 7568199 w 12139750"/>
              <a:gd name="connsiteY3785" fmla="*/ 538144 h 6858290"/>
              <a:gd name="connsiteX3786" fmla="*/ 7595886 w 12139750"/>
              <a:gd name="connsiteY3786" fmla="*/ 534825 h 6858290"/>
              <a:gd name="connsiteX3787" fmla="*/ 7044520 w 12139750"/>
              <a:gd name="connsiteY3787" fmla="*/ 526281 h 6858290"/>
              <a:gd name="connsiteX3788" fmla="*/ 7066666 w 12139750"/>
              <a:gd name="connsiteY3788" fmla="*/ 543903 h 6858290"/>
              <a:gd name="connsiteX3789" fmla="*/ 7072381 w 12139750"/>
              <a:gd name="connsiteY3789" fmla="*/ 562953 h 6858290"/>
              <a:gd name="connsiteX3790" fmla="*/ 7051425 w 12139750"/>
              <a:gd name="connsiteY3790" fmla="*/ 595337 h 6858290"/>
              <a:gd name="connsiteX3791" fmla="*/ 6714236 w 12139750"/>
              <a:gd name="connsiteY3791" fmla="*/ 776312 h 6858290"/>
              <a:gd name="connsiteX3792" fmla="*/ 6662800 w 12139750"/>
              <a:gd name="connsiteY3792" fmla="*/ 761072 h 6858290"/>
              <a:gd name="connsiteX3793" fmla="*/ 6678040 w 12139750"/>
              <a:gd name="connsiteY3793" fmla="*/ 709637 h 6858290"/>
              <a:gd name="connsiteX3794" fmla="*/ 7015230 w 12139750"/>
              <a:gd name="connsiteY3794" fmla="*/ 528663 h 6858290"/>
              <a:gd name="connsiteX3795" fmla="*/ 7044520 w 12139750"/>
              <a:gd name="connsiteY3795" fmla="*/ 526281 h 6858290"/>
              <a:gd name="connsiteX3796" fmla="*/ 6500891 w 12139750"/>
              <a:gd name="connsiteY3796" fmla="*/ 517214 h 6858290"/>
              <a:gd name="connsiteX3797" fmla="*/ 6524041 w 12139750"/>
              <a:gd name="connsiteY3797" fmla="*/ 538118 h 6858290"/>
              <a:gd name="connsiteX3798" fmla="*/ 6527860 w 12139750"/>
              <a:gd name="connsiteY3798" fmla="*/ 555221 h 6858290"/>
              <a:gd name="connsiteX3799" fmla="*/ 6506857 w 12139750"/>
              <a:gd name="connsiteY3799" fmla="*/ 591328 h 6858290"/>
              <a:gd name="connsiteX3800" fmla="*/ 6166999 w 12139750"/>
              <a:gd name="connsiteY3800" fmla="*/ 760460 h 6858290"/>
              <a:gd name="connsiteX3801" fmla="*/ 6113538 w 12139750"/>
              <a:gd name="connsiteY3801" fmla="*/ 743357 h 6858290"/>
              <a:gd name="connsiteX3802" fmla="*/ 6130722 w 12139750"/>
              <a:gd name="connsiteY3802" fmla="*/ 690147 h 6858290"/>
              <a:gd name="connsiteX3803" fmla="*/ 6470580 w 12139750"/>
              <a:gd name="connsiteY3803" fmla="*/ 519114 h 6858290"/>
              <a:gd name="connsiteX3804" fmla="*/ 6500891 w 12139750"/>
              <a:gd name="connsiteY3804" fmla="*/ 517214 h 6858290"/>
              <a:gd name="connsiteX3805" fmla="*/ 5942009 w 12139750"/>
              <a:gd name="connsiteY3805" fmla="*/ 506693 h 6858290"/>
              <a:gd name="connsiteX3806" fmla="*/ 5981121 w 12139750"/>
              <a:gd name="connsiteY3806" fmla="*/ 530416 h 6858290"/>
              <a:gd name="connsiteX3807" fmla="*/ 5984930 w 12139750"/>
              <a:gd name="connsiteY3807" fmla="*/ 547475 h 6858290"/>
              <a:gd name="connsiteX3808" fmla="*/ 5962070 w 12139750"/>
              <a:gd name="connsiteY3808" fmla="*/ 585386 h 6858290"/>
              <a:gd name="connsiteX3809" fmla="*/ 5622984 w 12139750"/>
              <a:gd name="connsiteY3809" fmla="*/ 744609 h 6858290"/>
              <a:gd name="connsiteX3810" fmla="*/ 5565834 w 12139750"/>
              <a:gd name="connsiteY3810" fmla="*/ 723759 h 6858290"/>
              <a:gd name="connsiteX3811" fmla="*/ 5586789 w 12139750"/>
              <a:gd name="connsiteY3811" fmla="*/ 668789 h 6858290"/>
              <a:gd name="connsiteX3812" fmla="*/ 5925876 w 12139750"/>
              <a:gd name="connsiteY3812" fmla="*/ 511460 h 6858290"/>
              <a:gd name="connsiteX3813" fmla="*/ 5942009 w 12139750"/>
              <a:gd name="connsiteY3813" fmla="*/ 506693 h 6858290"/>
              <a:gd name="connsiteX3814" fmla="*/ 382532 w 12139750"/>
              <a:gd name="connsiteY3814" fmla="*/ 506681 h 6858290"/>
              <a:gd name="connsiteX3815" fmla="*/ 421644 w 12139750"/>
              <a:gd name="connsiteY3815" fmla="*/ 530405 h 6858290"/>
              <a:gd name="connsiteX3816" fmla="*/ 425454 w 12139750"/>
              <a:gd name="connsiteY3816" fmla="*/ 547464 h 6858290"/>
              <a:gd name="connsiteX3817" fmla="*/ 400689 w 12139750"/>
              <a:gd name="connsiteY3817" fmla="*/ 585374 h 6858290"/>
              <a:gd name="connsiteX3818" fmla="*/ 61595 w 12139750"/>
              <a:gd name="connsiteY3818" fmla="*/ 744598 h 6858290"/>
              <a:gd name="connsiteX3819" fmla="*/ 6349 w 12139750"/>
              <a:gd name="connsiteY3819" fmla="*/ 723747 h 6858290"/>
              <a:gd name="connsiteX3820" fmla="*/ 27304 w 12139750"/>
              <a:gd name="connsiteY3820" fmla="*/ 668777 h 6858290"/>
              <a:gd name="connsiteX3821" fmla="*/ 366399 w 12139750"/>
              <a:gd name="connsiteY3821" fmla="*/ 511449 h 6858290"/>
              <a:gd name="connsiteX3822" fmla="*/ 382532 w 12139750"/>
              <a:gd name="connsiteY3822" fmla="*/ 506681 h 6858290"/>
              <a:gd name="connsiteX3823" fmla="*/ 5409823 w 12139750"/>
              <a:gd name="connsiteY3823" fmla="*/ 500973 h 6858290"/>
              <a:gd name="connsiteX3824" fmla="*/ 5433432 w 12139750"/>
              <a:gd name="connsiteY3824" fmla="*/ 524577 h 6858290"/>
              <a:gd name="connsiteX3825" fmla="*/ 5437247 w 12139750"/>
              <a:gd name="connsiteY3825" fmla="*/ 541744 h 6858290"/>
              <a:gd name="connsiteX3826" fmla="*/ 5410538 w 12139750"/>
              <a:gd name="connsiteY3826" fmla="*/ 581801 h 6858290"/>
              <a:gd name="connsiteX3827" fmla="*/ 5070947 w 12139750"/>
              <a:gd name="connsiteY3827" fmla="*/ 728676 h 6858290"/>
              <a:gd name="connsiteX3828" fmla="*/ 5011811 w 12139750"/>
              <a:gd name="connsiteY3828" fmla="*/ 705786 h 6858290"/>
              <a:gd name="connsiteX3829" fmla="*/ 5034702 w 12139750"/>
              <a:gd name="connsiteY3829" fmla="*/ 648562 h 6858290"/>
              <a:gd name="connsiteX3830" fmla="*/ 5376198 w 12139750"/>
              <a:gd name="connsiteY3830" fmla="*/ 501688 h 6858290"/>
              <a:gd name="connsiteX3831" fmla="*/ 5409823 w 12139750"/>
              <a:gd name="connsiteY3831" fmla="*/ 500973 h 6858290"/>
              <a:gd name="connsiteX3832" fmla="*/ 943575 w 12139750"/>
              <a:gd name="connsiteY3832" fmla="*/ 500959 h 6858290"/>
              <a:gd name="connsiteX3833" fmla="*/ 968066 w 12139750"/>
              <a:gd name="connsiteY3833" fmla="*/ 524564 h 6858290"/>
              <a:gd name="connsiteX3834" fmla="*/ 969968 w 12139750"/>
              <a:gd name="connsiteY3834" fmla="*/ 541731 h 6858290"/>
              <a:gd name="connsiteX3835" fmla="*/ 945239 w 12139750"/>
              <a:gd name="connsiteY3835" fmla="*/ 581788 h 6858290"/>
              <a:gd name="connsiteX3836" fmla="*/ 604741 w 12139750"/>
              <a:gd name="connsiteY3836" fmla="*/ 728662 h 6858290"/>
              <a:gd name="connsiteX3837" fmla="*/ 547674 w 12139750"/>
              <a:gd name="connsiteY3837" fmla="*/ 705773 h 6858290"/>
              <a:gd name="connsiteX3838" fmla="*/ 570501 w 12139750"/>
              <a:gd name="connsiteY3838" fmla="*/ 648549 h 6858290"/>
              <a:gd name="connsiteX3839" fmla="*/ 909097 w 12139750"/>
              <a:gd name="connsiteY3839" fmla="*/ 501674 h 6858290"/>
              <a:gd name="connsiteX3840" fmla="*/ 943575 w 12139750"/>
              <a:gd name="connsiteY3840" fmla="*/ 500959 h 6858290"/>
              <a:gd name="connsiteX3841" fmla="*/ 4841065 w 12139750"/>
              <a:gd name="connsiteY3841" fmla="*/ 488779 h 6858290"/>
              <a:gd name="connsiteX3842" fmla="*/ 4882567 w 12139750"/>
              <a:gd name="connsiteY3842" fmla="*/ 516870 h 6858290"/>
              <a:gd name="connsiteX3843" fmla="*/ 4886374 w 12139750"/>
              <a:gd name="connsiteY3843" fmla="*/ 533993 h 6858290"/>
              <a:gd name="connsiteX3844" fmla="*/ 4855910 w 12139750"/>
              <a:gd name="connsiteY3844" fmla="*/ 577749 h 6858290"/>
              <a:gd name="connsiteX3845" fmla="*/ 4517066 w 12139750"/>
              <a:gd name="connsiteY3845" fmla="*/ 712825 h 6858290"/>
              <a:gd name="connsiteX3846" fmla="*/ 4456150 w 12139750"/>
              <a:gd name="connsiteY3846" fmla="*/ 686191 h 6858290"/>
              <a:gd name="connsiteX3847" fmla="*/ 4482801 w 12139750"/>
              <a:gd name="connsiteY3847" fmla="*/ 627214 h 6858290"/>
              <a:gd name="connsiteX3848" fmla="*/ 4823545 w 12139750"/>
              <a:gd name="connsiteY3848" fmla="*/ 492138 h 6858290"/>
              <a:gd name="connsiteX3849" fmla="*/ 4841065 w 12139750"/>
              <a:gd name="connsiteY3849" fmla="*/ 488779 h 6858290"/>
              <a:gd name="connsiteX3850" fmla="*/ 1475768 w 12139750"/>
              <a:gd name="connsiteY3850" fmla="*/ 488763 h 6858290"/>
              <a:gd name="connsiteX3851" fmla="*/ 1517023 w 12139750"/>
              <a:gd name="connsiteY3851" fmla="*/ 516854 h 6858290"/>
              <a:gd name="connsiteX3852" fmla="*/ 1520833 w 12139750"/>
              <a:gd name="connsiteY3852" fmla="*/ 533977 h 6858290"/>
              <a:gd name="connsiteX3853" fmla="*/ 1492258 w 12139750"/>
              <a:gd name="connsiteY3853" fmla="*/ 577734 h 6858290"/>
              <a:gd name="connsiteX3854" fmla="*/ 1151259 w 12139750"/>
              <a:gd name="connsiteY3854" fmla="*/ 712810 h 6858290"/>
              <a:gd name="connsiteX3855" fmla="*/ 1092203 w 12139750"/>
              <a:gd name="connsiteY3855" fmla="*/ 686175 h 6858290"/>
              <a:gd name="connsiteX3856" fmla="*/ 1116969 w 12139750"/>
              <a:gd name="connsiteY3856" fmla="*/ 627198 h 6858290"/>
              <a:gd name="connsiteX3857" fmla="*/ 1457968 w 12139750"/>
              <a:gd name="connsiteY3857" fmla="*/ 492122 h 6858290"/>
              <a:gd name="connsiteX3858" fmla="*/ 1475768 w 12139750"/>
              <a:gd name="connsiteY3858" fmla="*/ 488763 h 6858290"/>
              <a:gd name="connsiteX3859" fmla="*/ 4284536 w 12139750"/>
              <a:gd name="connsiteY3859" fmla="*/ 479572 h 6858290"/>
              <a:gd name="connsiteX3860" fmla="*/ 4326924 w 12139750"/>
              <a:gd name="connsiteY3860" fmla="*/ 511096 h 6858290"/>
              <a:gd name="connsiteX3861" fmla="*/ 4330740 w 12139750"/>
              <a:gd name="connsiteY3861" fmla="*/ 528194 h 6858290"/>
              <a:gd name="connsiteX3862" fmla="*/ 4298306 w 12139750"/>
              <a:gd name="connsiteY3862" fmla="*/ 571889 h 6858290"/>
              <a:gd name="connsiteX3863" fmla="*/ 3956840 w 12139750"/>
              <a:gd name="connsiteY3863" fmla="*/ 695376 h 6858290"/>
              <a:gd name="connsiteX3864" fmla="*/ 3895789 w 12139750"/>
              <a:gd name="connsiteY3864" fmla="*/ 666879 h 6858290"/>
              <a:gd name="connsiteX3865" fmla="*/ 3924406 w 12139750"/>
              <a:gd name="connsiteY3865" fmla="*/ 606085 h 6858290"/>
              <a:gd name="connsiteX3866" fmla="*/ 4265875 w 12139750"/>
              <a:gd name="connsiteY3866" fmla="*/ 482599 h 6858290"/>
              <a:gd name="connsiteX3867" fmla="*/ 4284536 w 12139750"/>
              <a:gd name="connsiteY3867" fmla="*/ 479572 h 6858290"/>
              <a:gd name="connsiteX3868" fmla="*/ 2030557 w 12139750"/>
              <a:gd name="connsiteY3868" fmla="*/ 479554 h 6858290"/>
              <a:gd name="connsiteX3869" fmla="*/ 2074559 w 12139750"/>
              <a:gd name="connsiteY3869" fmla="*/ 511078 h 6858290"/>
              <a:gd name="connsiteX3870" fmla="*/ 2076467 w 12139750"/>
              <a:gd name="connsiteY3870" fmla="*/ 528177 h 6858290"/>
              <a:gd name="connsiteX3871" fmla="*/ 2045938 w 12139750"/>
              <a:gd name="connsiteY3871" fmla="*/ 571872 h 6858290"/>
              <a:gd name="connsiteX3872" fmla="*/ 1702543 w 12139750"/>
              <a:gd name="connsiteY3872" fmla="*/ 695358 h 6858290"/>
              <a:gd name="connsiteX3873" fmla="*/ 1641495 w 12139750"/>
              <a:gd name="connsiteY3873" fmla="*/ 666862 h 6858290"/>
              <a:gd name="connsiteX3874" fmla="*/ 1670112 w 12139750"/>
              <a:gd name="connsiteY3874" fmla="*/ 606068 h 6858290"/>
              <a:gd name="connsiteX3875" fmla="*/ 2011599 w 12139750"/>
              <a:gd name="connsiteY3875" fmla="*/ 482582 h 6858290"/>
              <a:gd name="connsiteX3876" fmla="*/ 2030557 w 12139750"/>
              <a:gd name="connsiteY3876" fmla="*/ 479554 h 6858290"/>
              <a:gd name="connsiteX3877" fmla="*/ 3723552 w 12139750"/>
              <a:gd name="connsiteY3877" fmla="*/ 470402 h 6858290"/>
              <a:gd name="connsiteX3878" fmla="*/ 3766538 w 12139750"/>
              <a:gd name="connsiteY3878" fmla="*/ 505544 h 6858290"/>
              <a:gd name="connsiteX3879" fmla="*/ 3770360 w 12139750"/>
              <a:gd name="connsiteY3879" fmla="*/ 520805 h 6858290"/>
              <a:gd name="connsiteX3880" fmla="*/ 3734060 w 12139750"/>
              <a:gd name="connsiteY3880" fmla="*/ 568497 h 6858290"/>
              <a:gd name="connsiteX3881" fmla="*/ 3392112 w 12139750"/>
              <a:gd name="connsiteY3881" fmla="*/ 681049 h 6858290"/>
              <a:gd name="connsiteX3882" fmla="*/ 3329066 w 12139750"/>
              <a:gd name="connsiteY3882" fmla="*/ 648619 h 6858290"/>
              <a:gd name="connsiteX3883" fmla="*/ 3359633 w 12139750"/>
              <a:gd name="connsiteY3883" fmla="*/ 585666 h 6858290"/>
              <a:gd name="connsiteX3884" fmla="*/ 3703492 w 12139750"/>
              <a:gd name="connsiteY3884" fmla="*/ 473114 h 6858290"/>
              <a:gd name="connsiteX3885" fmla="*/ 3723552 w 12139750"/>
              <a:gd name="connsiteY3885" fmla="*/ 470402 h 6858290"/>
              <a:gd name="connsiteX3886" fmla="*/ 2590051 w 12139750"/>
              <a:gd name="connsiteY3886" fmla="*/ 470381 h 6858290"/>
              <a:gd name="connsiteX3887" fmla="*/ 2633035 w 12139750"/>
              <a:gd name="connsiteY3887" fmla="*/ 505524 h 6858290"/>
              <a:gd name="connsiteX3888" fmla="*/ 2636856 w 12139750"/>
              <a:gd name="connsiteY3888" fmla="*/ 520785 h 6858290"/>
              <a:gd name="connsiteX3889" fmla="*/ 2600558 w 12139750"/>
              <a:gd name="connsiteY3889" fmla="*/ 568477 h 6858290"/>
              <a:gd name="connsiteX3890" fmla="*/ 2258596 w 12139750"/>
              <a:gd name="connsiteY3890" fmla="*/ 681030 h 6858290"/>
              <a:gd name="connsiteX3891" fmla="*/ 2195553 w 12139750"/>
              <a:gd name="connsiteY3891" fmla="*/ 648599 h 6858290"/>
              <a:gd name="connsiteX3892" fmla="*/ 2226119 w 12139750"/>
              <a:gd name="connsiteY3892" fmla="*/ 585646 h 6858290"/>
              <a:gd name="connsiteX3893" fmla="*/ 2569992 w 12139750"/>
              <a:gd name="connsiteY3893" fmla="*/ 473094 h 6858290"/>
              <a:gd name="connsiteX3894" fmla="*/ 2590051 w 12139750"/>
              <a:gd name="connsiteY3894" fmla="*/ 470381 h 6858290"/>
              <a:gd name="connsiteX3895" fmla="*/ 3153226 w 12139750"/>
              <a:gd name="connsiteY3895" fmla="*/ 461689 h 6858290"/>
              <a:gd name="connsiteX3896" fmla="*/ 3196954 w 12139750"/>
              <a:gd name="connsiteY3896" fmla="*/ 499516 h 6858290"/>
              <a:gd name="connsiteX3897" fmla="*/ 3198860 w 12139750"/>
              <a:gd name="connsiteY3897" fmla="*/ 512871 h 6858290"/>
              <a:gd name="connsiteX3898" fmla="*/ 3162616 w 12139750"/>
              <a:gd name="connsiteY3898" fmla="*/ 564381 h 6858290"/>
              <a:gd name="connsiteX3899" fmla="*/ 2819228 w 12139750"/>
              <a:gd name="connsiteY3899" fmla="*/ 665493 h 6858290"/>
              <a:gd name="connsiteX3900" fmla="*/ 2754367 w 12139750"/>
              <a:gd name="connsiteY3900" fmla="*/ 629246 h 6858290"/>
              <a:gd name="connsiteX3901" fmla="*/ 2788705 w 12139750"/>
              <a:gd name="connsiteY3901" fmla="*/ 564381 h 6858290"/>
              <a:gd name="connsiteX3902" fmla="*/ 3132091 w 12139750"/>
              <a:gd name="connsiteY3902" fmla="*/ 463269 h 6858290"/>
              <a:gd name="connsiteX3903" fmla="*/ 3153226 w 12139750"/>
              <a:gd name="connsiteY3903" fmla="*/ 461689 h 6858290"/>
              <a:gd name="connsiteX3904" fmla="*/ 9865382 w 12139750"/>
              <a:gd name="connsiteY3904" fmla="*/ 251073 h 6858290"/>
              <a:gd name="connsiteX3905" fmla="*/ 9884846 w 12139750"/>
              <a:gd name="connsiteY3905" fmla="*/ 265137 h 6858290"/>
              <a:gd name="connsiteX3906" fmla="*/ 9888644 w 12139750"/>
              <a:gd name="connsiteY3906" fmla="*/ 280394 h 6858290"/>
              <a:gd name="connsiteX3907" fmla="*/ 9875351 w 12139750"/>
              <a:gd name="connsiteY3907" fmla="*/ 305186 h 6858290"/>
              <a:gd name="connsiteX3908" fmla="*/ 9543036 w 12139750"/>
              <a:gd name="connsiteY3908" fmla="*/ 530219 h 6858290"/>
              <a:gd name="connsiteX3909" fmla="*/ 9501259 w 12139750"/>
              <a:gd name="connsiteY3909" fmla="*/ 520684 h 6858290"/>
              <a:gd name="connsiteX3910" fmla="*/ 9508855 w 12139750"/>
              <a:gd name="connsiteY3910" fmla="*/ 480636 h 6858290"/>
              <a:gd name="connsiteX3911" fmla="*/ 9843069 w 12139750"/>
              <a:gd name="connsiteY3911" fmla="*/ 255602 h 6858290"/>
              <a:gd name="connsiteX3912" fmla="*/ 9865382 w 12139750"/>
              <a:gd name="connsiteY3912" fmla="*/ 251073 h 6858290"/>
              <a:gd name="connsiteX3913" fmla="*/ 9288660 w 12139750"/>
              <a:gd name="connsiteY3913" fmla="*/ 242274 h 6858290"/>
              <a:gd name="connsiteX3914" fmla="*/ 9308232 w 12139750"/>
              <a:gd name="connsiteY3914" fmla="*/ 255594 h 6858290"/>
              <a:gd name="connsiteX3915" fmla="*/ 9313961 w 12139750"/>
              <a:gd name="connsiteY3915" fmla="*/ 272720 h 6858290"/>
              <a:gd name="connsiteX3916" fmla="*/ 9298685 w 12139750"/>
              <a:gd name="connsiteY3916" fmla="*/ 299361 h 6858290"/>
              <a:gd name="connsiteX3917" fmla="*/ 8962610 w 12139750"/>
              <a:gd name="connsiteY3917" fmla="*/ 514388 h 6858290"/>
              <a:gd name="connsiteX3918" fmla="*/ 8918691 w 12139750"/>
              <a:gd name="connsiteY3918" fmla="*/ 504873 h 6858290"/>
              <a:gd name="connsiteX3919" fmla="*/ 8928238 w 12139750"/>
              <a:gd name="connsiteY3919" fmla="*/ 461107 h 6858290"/>
              <a:gd name="connsiteX3920" fmla="*/ 9266223 w 12139750"/>
              <a:gd name="connsiteY3920" fmla="*/ 246080 h 6858290"/>
              <a:gd name="connsiteX3921" fmla="*/ 9288660 w 12139750"/>
              <a:gd name="connsiteY3921" fmla="*/ 242274 h 6858290"/>
              <a:gd name="connsiteX3922" fmla="*/ 10450170 w 12139750"/>
              <a:gd name="connsiteY3922" fmla="*/ 242248 h 6858290"/>
              <a:gd name="connsiteX3923" fmla="*/ 10470633 w 12139750"/>
              <a:gd name="connsiteY3923" fmla="*/ 255569 h 6858290"/>
              <a:gd name="connsiteX3924" fmla="*/ 10474440 w 12139750"/>
              <a:gd name="connsiteY3924" fmla="*/ 272695 h 6858290"/>
              <a:gd name="connsiteX3925" fmla="*/ 10461115 w 12139750"/>
              <a:gd name="connsiteY3925" fmla="*/ 299335 h 6858290"/>
              <a:gd name="connsiteX3926" fmla="*/ 10124192 w 12139750"/>
              <a:gd name="connsiteY3926" fmla="*/ 514363 h 6858290"/>
              <a:gd name="connsiteX3927" fmla="*/ 10082315 w 12139750"/>
              <a:gd name="connsiteY3927" fmla="*/ 504848 h 6858290"/>
              <a:gd name="connsiteX3928" fmla="*/ 10091832 w 12139750"/>
              <a:gd name="connsiteY3928" fmla="*/ 461082 h 6858290"/>
              <a:gd name="connsiteX3929" fmla="*/ 10426852 w 12139750"/>
              <a:gd name="connsiteY3929" fmla="*/ 246054 h 6858290"/>
              <a:gd name="connsiteX3930" fmla="*/ 10450170 w 12139750"/>
              <a:gd name="connsiteY3930" fmla="*/ 242248 h 6858290"/>
              <a:gd name="connsiteX3931" fmla="*/ 8718303 w 12139750"/>
              <a:gd name="connsiteY3931" fmla="*/ 233007 h 6858290"/>
              <a:gd name="connsiteX3932" fmla="*/ 8738321 w 12139750"/>
              <a:gd name="connsiteY3932" fmla="*/ 248042 h 6858290"/>
              <a:gd name="connsiteX3933" fmla="*/ 8744041 w 12139750"/>
              <a:gd name="connsiteY3933" fmla="*/ 265226 h 6858290"/>
              <a:gd name="connsiteX3934" fmla="*/ 8728789 w 12139750"/>
              <a:gd name="connsiteY3934" fmla="*/ 293865 h 6858290"/>
              <a:gd name="connsiteX3935" fmla="*/ 8391337 w 12139750"/>
              <a:gd name="connsiteY3935" fmla="*/ 500068 h 6858290"/>
              <a:gd name="connsiteX3936" fmla="*/ 8345581 w 12139750"/>
              <a:gd name="connsiteY3936" fmla="*/ 488612 h 6858290"/>
              <a:gd name="connsiteX3937" fmla="*/ 8357020 w 12139750"/>
              <a:gd name="connsiteY3937" fmla="*/ 442790 h 6858290"/>
              <a:gd name="connsiteX3938" fmla="*/ 8692565 w 12139750"/>
              <a:gd name="connsiteY3938" fmla="*/ 236587 h 6858290"/>
              <a:gd name="connsiteX3939" fmla="*/ 8718303 w 12139750"/>
              <a:gd name="connsiteY3939" fmla="*/ 233007 h 6858290"/>
              <a:gd name="connsiteX3940" fmla="*/ 11027432 w 12139750"/>
              <a:gd name="connsiteY3940" fmla="*/ 232979 h 6858290"/>
              <a:gd name="connsiteX3941" fmla="*/ 11048165 w 12139750"/>
              <a:gd name="connsiteY3941" fmla="*/ 248015 h 6858290"/>
              <a:gd name="connsiteX3942" fmla="*/ 11053885 w 12139750"/>
              <a:gd name="connsiteY3942" fmla="*/ 265198 h 6858290"/>
              <a:gd name="connsiteX3943" fmla="*/ 11036726 w 12139750"/>
              <a:gd name="connsiteY3943" fmla="*/ 293838 h 6858290"/>
              <a:gd name="connsiteX3944" fmla="*/ 10701181 w 12139750"/>
              <a:gd name="connsiteY3944" fmla="*/ 500041 h 6858290"/>
              <a:gd name="connsiteX3945" fmla="*/ 10655425 w 12139750"/>
              <a:gd name="connsiteY3945" fmla="*/ 488585 h 6858290"/>
              <a:gd name="connsiteX3946" fmla="*/ 10666864 w 12139750"/>
              <a:gd name="connsiteY3946" fmla="*/ 442762 h 6858290"/>
              <a:gd name="connsiteX3947" fmla="*/ 11002409 w 12139750"/>
              <a:gd name="connsiteY3947" fmla="*/ 236559 h 6858290"/>
              <a:gd name="connsiteX3948" fmla="*/ 11027432 w 12139750"/>
              <a:gd name="connsiteY3948" fmla="*/ 232979 h 6858290"/>
              <a:gd name="connsiteX3949" fmla="*/ 8154912 w 12139750"/>
              <a:gd name="connsiteY3949" fmla="*/ 223468 h 6858290"/>
              <a:gd name="connsiteX3950" fmla="*/ 8176649 w 12139750"/>
              <a:gd name="connsiteY3950" fmla="*/ 238470 h 6858290"/>
              <a:gd name="connsiteX3951" fmla="*/ 8180471 w 12139750"/>
              <a:gd name="connsiteY3951" fmla="*/ 257520 h 6858290"/>
              <a:gd name="connsiteX3952" fmla="*/ 8163273 w 12139750"/>
              <a:gd name="connsiteY3952" fmla="*/ 288000 h 6858290"/>
              <a:gd name="connsiteX3953" fmla="*/ 7825042 w 12139750"/>
              <a:gd name="connsiteY3953" fmla="*/ 484214 h 6858290"/>
              <a:gd name="connsiteX3954" fmla="*/ 7777269 w 12139750"/>
              <a:gd name="connsiteY3954" fmla="*/ 470879 h 6858290"/>
              <a:gd name="connsiteX3955" fmla="*/ 7790646 w 12139750"/>
              <a:gd name="connsiteY3955" fmla="*/ 423255 h 6858290"/>
              <a:gd name="connsiteX3956" fmla="*/ 8128876 w 12139750"/>
              <a:gd name="connsiteY3956" fmla="*/ 227040 h 6858290"/>
              <a:gd name="connsiteX3957" fmla="*/ 8154912 w 12139750"/>
              <a:gd name="connsiteY3957" fmla="*/ 223468 h 6858290"/>
              <a:gd name="connsiteX3958" fmla="*/ 11598743 w 12139750"/>
              <a:gd name="connsiteY3958" fmla="*/ 223460 h 6858290"/>
              <a:gd name="connsiteX3959" fmla="*/ 11619682 w 12139750"/>
              <a:gd name="connsiteY3959" fmla="*/ 238461 h 6858290"/>
              <a:gd name="connsiteX3960" fmla="*/ 11625393 w 12139750"/>
              <a:gd name="connsiteY3960" fmla="*/ 257511 h 6858290"/>
              <a:gd name="connsiteX3961" fmla="*/ 11608261 w 12139750"/>
              <a:gd name="connsiteY3961" fmla="*/ 287991 h 6858290"/>
              <a:gd name="connsiteX3962" fmla="*/ 11271332 w 12139750"/>
              <a:gd name="connsiteY3962" fmla="*/ 484206 h 6858290"/>
              <a:gd name="connsiteX3963" fmla="*/ 11223743 w 12139750"/>
              <a:gd name="connsiteY3963" fmla="*/ 470871 h 6858290"/>
              <a:gd name="connsiteX3964" fmla="*/ 11237068 w 12139750"/>
              <a:gd name="connsiteY3964" fmla="*/ 423246 h 6858290"/>
              <a:gd name="connsiteX3965" fmla="*/ 11572093 w 12139750"/>
              <a:gd name="connsiteY3965" fmla="*/ 227031 h 6858290"/>
              <a:gd name="connsiteX3966" fmla="*/ 11598743 w 12139750"/>
              <a:gd name="connsiteY3966" fmla="*/ 223460 h 6858290"/>
              <a:gd name="connsiteX3967" fmla="*/ 12139750 w 12139750"/>
              <a:gd name="connsiteY3967" fmla="*/ 215916 h 6858290"/>
              <a:gd name="connsiteX3968" fmla="*/ 12139750 w 12139750"/>
              <a:gd name="connsiteY3968" fmla="*/ 297535 h 6858290"/>
              <a:gd name="connsiteX3969" fmla="*/ 11835475 w 12139750"/>
              <a:gd name="connsiteY3969" fmla="*/ 466465 h 6858290"/>
              <a:gd name="connsiteX3970" fmla="*/ 11784129 w 12139750"/>
              <a:gd name="connsiteY3970" fmla="*/ 453179 h 6858290"/>
              <a:gd name="connsiteX3971" fmla="*/ 11799342 w 12139750"/>
              <a:gd name="connsiteY3971" fmla="*/ 403828 h 6858290"/>
              <a:gd name="connsiteX3972" fmla="*/ 12135947 w 12139750"/>
              <a:gd name="connsiteY3972" fmla="*/ 217814 h 6858290"/>
              <a:gd name="connsiteX3973" fmla="*/ 12139750 w 12139750"/>
              <a:gd name="connsiteY3973" fmla="*/ 215916 h 6858290"/>
              <a:gd name="connsiteX3974" fmla="*/ 7596540 w 12139750"/>
              <a:gd name="connsiteY3974" fmla="*/ 214167 h 6858290"/>
              <a:gd name="connsiteX3975" fmla="*/ 7619435 w 12139750"/>
              <a:gd name="connsiteY3975" fmla="*/ 230796 h 6858290"/>
              <a:gd name="connsiteX3976" fmla="*/ 7623251 w 12139750"/>
              <a:gd name="connsiteY3976" fmla="*/ 247901 h 6858290"/>
              <a:gd name="connsiteX3977" fmla="*/ 7604171 w 12139750"/>
              <a:gd name="connsiteY3977" fmla="*/ 280210 h 6858290"/>
              <a:gd name="connsiteX3978" fmla="*/ 7266466 w 12139750"/>
              <a:gd name="connsiteY3978" fmla="*/ 466461 h 6858290"/>
              <a:gd name="connsiteX3979" fmla="*/ 7216859 w 12139750"/>
              <a:gd name="connsiteY3979" fmla="*/ 453158 h 6858290"/>
              <a:gd name="connsiteX3980" fmla="*/ 7230215 w 12139750"/>
              <a:gd name="connsiteY3980" fmla="*/ 403744 h 6858290"/>
              <a:gd name="connsiteX3981" fmla="*/ 7567920 w 12139750"/>
              <a:gd name="connsiteY3981" fmla="*/ 217493 h 6858290"/>
              <a:gd name="connsiteX3982" fmla="*/ 7596540 w 12139750"/>
              <a:gd name="connsiteY3982" fmla="*/ 214167 h 6858290"/>
              <a:gd name="connsiteX3983" fmla="*/ 7044758 w 12139750"/>
              <a:gd name="connsiteY3983" fmla="*/ 204259 h 6858290"/>
              <a:gd name="connsiteX3984" fmla="*/ 7068571 w 12139750"/>
              <a:gd name="connsiteY3984" fmla="*/ 223547 h 6858290"/>
              <a:gd name="connsiteX3985" fmla="*/ 7072381 w 12139750"/>
              <a:gd name="connsiteY3985" fmla="*/ 240692 h 6858290"/>
              <a:gd name="connsiteX3986" fmla="*/ 7051425 w 12139750"/>
              <a:gd name="connsiteY3986" fmla="*/ 274982 h 6858290"/>
              <a:gd name="connsiteX3987" fmla="*/ 6714236 w 12139750"/>
              <a:gd name="connsiteY3987" fmla="*/ 452146 h 6858290"/>
              <a:gd name="connsiteX3988" fmla="*/ 6662800 w 12139750"/>
              <a:gd name="connsiteY3988" fmla="*/ 436906 h 6858290"/>
              <a:gd name="connsiteX3989" fmla="*/ 6678040 w 12139750"/>
              <a:gd name="connsiteY3989" fmla="*/ 385472 h 6858290"/>
              <a:gd name="connsiteX3990" fmla="*/ 7015230 w 12139750"/>
              <a:gd name="connsiteY3990" fmla="*/ 206402 h 6858290"/>
              <a:gd name="connsiteX3991" fmla="*/ 7044758 w 12139750"/>
              <a:gd name="connsiteY3991" fmla="*/ 204259 h 6858290"/>
              <a:gd name="connsiteX3992" fmla="*/ 6500891 w 12139750"/>
              <a:gd name="connsiteY3992" fmla="*/ 194963 h 6858290"/>
              <a:gd name="connsiteX3993" fmla="*/ 6524041 w 12139750"/>
              <a:gd name="connsiteY3993" fmla="*/ 215892 h 6858290"/>
              <a:gd name="connsiteX3994" fmla="*/ 6527860 w 12139750"/>
              <a:gd name="connsiteY3994" fmla="*/ 233016 h 6858290"/>
              <a:gd name="connsiteX3995" fmla="*/ 6506857 w 12139750"/>
              <a:gd name="connsiteY3995" fmla="*/ 269166 h 6858290"/>
              <a:gd name="connsiteX3996" fmla="*/ 6166999 w 12139750"/>
              <a:gd name="connsiteY3996" fmla="*/ 436601 h 6858290"/>
              <a:gd name="connsiteX3997" fmla="*/ 6113538 w 12139750"/>
              <a:gd name="connsiteY3997" fmla="*/ 419477 h 6858290"/>
              <a:gd name="connsiteX3998" fmla="*/ 6130722 w 12139750"/>
              <a:gd name="connsiteY3998" fmla="*/ 366202 h 6858290"/>
              <a:gd name="connsiteX3999" fmla="*/ 6470580 w 12139750"/>
              <a:gd name="connsiteY3999" fmla="*/ 196865 h 6858290"/>
              <a:gd name="connsiteX4000" fmla="*/ 6500891 w 12139750"/>
              <a:gd name="connsiteY4000" fmla="*/ 194963 h 6858290"/>
              <a:gd name="connsiteX4001" fmla="*/ 5957785 w 12139750"/>
              <a:gd name="connsiteY4001" fmla="*/ 186367 h 6858290"/>
              <a:gd name="connsiteX4002" fmla="*/ 5981121 w 12139750"/>
              <a:gd name="connsiteY4002" fmla="*/ 208192 h 6858290"/>
              <a:gd name="connsiteX4003" fmla="*/ 5984930 w 12139750"/>
              <a:gd name="connsiteY4003" fmla="*/ 225273 h 6858290"/>
              <a:gd name="connsiteX4004" fmla="*/ 5962070 w 12139750"/>
              <a:gd name="connsiteY4004" fmla="*/ 263230 h 6858290"/>
              <a:gd name="connsiteX4005" fmla="*/ 5622984 w 12139750"/>
              <a:gd name="connsiteY4005" fmla="*/ 420750 h 6858290"/>
              <a:gd name="connsiteX4006" fmla="*/ 5567739 w 12139750"/>
              <a:gd name="connsiteY4006" fmla="*/ 401772 h 6858290"/>
              <a:gd name="connsiteX4007" fmla="*/ 5586789 w 12139750"/>
              <a:gd name="connsiteY4007" fmla="*/ 346734 h 6858290"/>
              <a:gd name="connsiteX4008" fmla="*/ 5925876 w 12139750"/>
              <a:gd name="connsiteY4008" fmla="*/ 187316 h 6858290"/>
              <a:gd name="connsiteX4009" fmla="*/ 5957785 w 12139750"/>
              <a:gd name="connsiteY4009" fmla="*/ 186367 h 6858290"/>
              <a:gd name="connsiteX4010" fmla="*/ 398308 w 12139750"/>
              <a:gd name="connsiteY4010" fmla="*/ 186354 h 6858290"/>
              <a:gd name="connsiteX4011" fmla="*/ 421644 w 12139750"/>
              <a:gd name="connsiteY4011" fmla="*/ 208179 h 6858290"/>
              <a:gd name="connsiteX4012" fmla="*/ 425454 w 12139750"/>
              <a:gd name="connsiteY4012" fmla="*/ 225260 h 6858290"/>
              <a:gd name="connsiteX4013" fmla="*/ 400689 w 12139750"/>
              <a:gd name="connsiteY4013" fmla="*/ 263217 h 6858290"/>
              <a:gd name="connsiteX4014" fmla="*/ 61595 w 12139750"/>
              <a:gd name="connsiteY4014" fmla="*/ 420738 h 6858290"/>
              <a:gd name="connsiteX4015" fmla="*/ 6349 w 12139750"/>
              <a:gd name="connsiteY4015" fmla="*/ 401759 h 6858290"/>
              <a:gd name="connsiteX4016" fmla="*/ 27305 w 12139750"/>
              <a:gd name="connsiteY4016" fmla="*/ 346722 h 6858290"/>
              <a:gd name="connsiteX4017" fmla="*/ 366399 w 12139750"/>
              <a:gd name="connsiteY4017" fmla="*/ 187303 h 6858290"/>
              <a:gd name="connsiteX4018" fmla="*/ 398308 w 12139750"/>
              <a:gd name="connsiteY4018" fmla="*/ 186354 h 6858290"/>
              <a:gd name="connsiteX4019" fmla="*/ 5409190 w 12139750"/>
              <a:gd name="connsiteY4019" fmla="*/ 176874 h 6858290"/>
              <a:gd name="connsiteX4020" fmla="*/ 5433443 w 12139750"/>
              <a:gd name="connsiteY4020" fmla="*/ 198782 h 6858290"/>
              <a:gd name="connsiteX4021" fmla="*/ 5437247 w 12139750"/>
              <a:gd name="connsiteY4021" fmla="*/ 217832 h 6858290"/>
              <a:gd name="connsiteX4022" fmla="*/ 5410617 w 12139750"/>
              <a:gd name="connsiteY4022" fmla="*/ 255932 h 6858290"/>
              <a:gd name="connsiteX4023" fmla="*/ 5072018 w 12139750"/>
              <a:gd name="connsiteY4023" fmla="*/ 406426 h 6858290"/>
              <a:gd name="connsiteX4024" fmla="*/ 5014959 w 12139750"/>
              <a:gd name="connsiteY4024" fmla="*/ 385471 h 6858290"/>
              <a:gd name="connsiteX4025" fmla="*/ 5035880 w 12139750"/>
              <a:gd name="connsiteY4025" fmla="*/ 328321 h 6858290"/>
              <a:gd name="connsiteX4026" fmla="*/ 5376377 w 12139750"/>
              <a:gd name="connsiteY4026" fmla="*/ 177827 h 6858290"/>
              <a:gd name="connsiteX4027" fmla="*/ 5409190 w 12139750"/>
              <a:gd name="connsiteY4027" fmla="*/ 176874 h 6858290"/>
              <a:gd name="connsiteX4028" fmla="*/ 942624 w 12139750"/>
              <a:gd name="connsiteY4028" fmla="*/ 176859 h 6858290"/>
              <a:gd name="connsiteX4029" fmla="*/ 966164 w 12139750"/>
              <a:gd name="connsiteY4029" fmla="*/ 198766 h 6858290"/>
              <a:gd name="connsiteX4030" fmla="*/ 969968 w 12139750"/>
              <a:gd name="connsiteY4030" fmla="*/ 217816 h 6858290"/>
              <a:gd name="connsiteX4031" fmla="*/ 945239 w 12139750"/>
              <a:gd name="connsiteY4031" fmla="*/ 255916 h 6858290"/>
              <a:gd name="connsiteX4032" fmla="*/ 604741 w 12139750"/>
              <a:gd name="connsiteY4032" fmla="*/ 406411 h 6858290"/>
              <a:gd name="connsiteX4033" fmla="*/ 547674 w 12139750"/>
              <a:gd name="connsiteY4033" fmla="*/ 385456 h 6858290"/>
              <a:gd name="connsiteX4034" fmla="*/ 570501 w 12139750"/>
              <a:gd name="connsiteY4034" fmla="*/ 328306 h 6858290"/>
              <a:gd name="connsiteX4035" fmla="*/ 909097 w 12139750"/>
              <a:gd name="connsiteY4035" fmla="*/ 177812 h 6858290"/>
              <a:gd name="connsiteX4036" fmla="*/ 942624 w 12139750"/>
              <a:gd name="connsiteY4036" fmla="*/ 176859 h 6858290"/>
              <a:gd name="connsiteX4037" fmla="*/ 4856424 w 12139750"/>
              <a:gd name="connsiteY4037" fmla="*/ 167564 h 6858290"/>
              <a:gd name="connsiteX4038" fmla="*/ 4880972 w 12139750"/>
              <a:gd name="connsiteY4038" fmla="*/ 191077 h 6858290"/>
              <a:gd name="connsiteX4039" fmla="*/ 4884784 w 12139750"/>
              <a:gd name="connsiteY4039" fmla="*/ 208176 h 6858290"/>
              <a:gd name="connsiteX4040" fmla="*/ 4856185 w 12139750"/>
              <a:gd name="connsiteY4040" fmla="*/ 249976 h 6858290"/>
              <a:gd name="connsiteX4041" fmla="*/ 4516850 w 12139750"/>
              <a:gd name="connsiteY4041" fmla="*/ 390576 h 6858290"/>
              <a:gd name="connsiteX4042" fmla="*/ 4457750 w 12139750"/>
              <a:gd name="connsiteY4042" fmla="*/ 367776 h 6858290"/>
              <a:gd name="connsiteX4043" fmla="*/ 4482534 w 12139750"/>
              <a:gd name="connsiteY4043" fmla="*/ 308876 h 6858290"/>
              <a:gd name="connsiteX4044" fmla="*/ 4821864 w 12139750"/>
              <a:gd name="connsiteY4044" fmla="*/ 168277 h 6858290"/>
              <a:gd name="connsiteX4045" fmla="*/ 4856424 w 12139750"/>
              <a:gd name="connsiteY4045" fmla="*/ 167564 h 6858290"/>
              <a:gd name="connsiteX4046" fmla="*/ 1492476 w 12139750"/>
              <a:gd name="connsiteY4046" fmla="*/ 167547 h 6858290"/>
              <a:gd name="connsiteX4047" fmla="*/ 1517021 w 12139750"/>
              <a:gd name="connsiteY4047" fmla="*/ 191059 h 6858290"/>
              <a:gd name="connsiteX4048" fmla="*/ 1520833 w 12139750"/>
              <a:gd name="connsiteY4048" fmla="*/ 208159 h 6858290"/>
              <a:gd name="connsiteX4049" fmla="*/ 1492238 w 12139750"/>
              <a:gd name="connsiteY4049" fmla="*/ 249959 h 6858290"/>
              <a:gd name="connsiteX4050" fmla="*/ 1150990 w 12139750"/>
              <a:gd name="connsiteY4050" fmla="*/ 390559 h 6858290"/>
              <a:gd name="connsiteX4051" fmla="*/ 1093798 w 12139750"/>
              <a:gd name="connsiteY4051" fmla="*/ 367759 h 6858290"/>
              <a:gd name="connsiteX4052" fmla="*/ 1116675 w 12139750"/>
              <a:gd name="connsiteY4052" fmla="*/ 308859 h 6858290"/>
              <a:gd name="connsiteX4053" fmla="*/ 1457922 w 12139750"/>
              <a:gd name="connsiteY4053" fmla="*/ 168259 h 6858290"/>
              <a:gd name="connsiteX4054" fmla="*/ 1492476 w 12139750"/>
              <a:gd name="connsiteY4054" fmla="*/ 167547 h 6858290"/>
              <a:gd name="connsiteX4055" fmla="*/ 4266102 w 12139750"/>
              <a:gd name="connsiteY4055" fmla="*/ 156882 h 6858290"/>
              <a:gd name="connsiteX4056" fmla="*/ 4325330 w 12139750"/>
              <a:gd name="connsiteY4056" fmla="*/ 183588 h 6858290"/>
              <a:gd name="connsiteX4057" fmla="*/ 4329151 w 12139750"/>
              <a:gd name="connsiteY4057" fmla="*/ 200756 h 6858290"/>
              <a:gd name="connsiteX4058" fmla="*/ 4298582 w 12139750"/>
              <a:gd name="connsiteY4058" fmla="*/ 244630 h 6858290"/>
              <a:gd name="connsiteX4059" fmla="*/ 3956617 w 12139750"/>
              <a:gd name="connsiteY4059" fmla="*/ 376251 h 6858290"/>
              <a:gd name="connsiteX4060" fmla="*/ 3897391 w 12139750"/>
              <a:gd name="connsiteY4060" fmla="*/ 349546 h 6858290"/>
              <a:gd name="connsiteX4061" fmla="*/ 3924139 w 12139750"/>
              <a:gd name="connsiteY4061" fmla="*/ 290411 h 6858290"/>
              <a:gd name="connsiteX4062" fmla="*/ 4266102 w 12139750"/>
              <a:gd name="connsiteY4062" fmla="*/ 156882 h 6858290"/>
              <a:gd name="connsiteX4063" fmla="*/ 2010467 w 12139750"/>
              <a:gd name="connsiteY4063" fmla="*/ 156862 h 6858290"/>
              <a:gd name="connsiteX4064" fmla="*/ 2071388 w 12139750"/>
              <a:gd name="connsiteY4064" fmla="*/ 183568 h 6858290"/>
              <a:gd name="connsiteX4065" fmla="*/ 2073292 w 12139750"/>
              <a:gd name="connsiteY4065" fmla="*/ 200736 h 6858290"/>
              <a:gd name="connsiteX4066" fmla="*/ 2044733 w 12139750"/>
              <a:gd name="connsiteY4066" fmla="*/ 244610 h 6858290"/>
              <a:gd name="connsiteX4067" fmla="*/ 1703979 w 12139750"/>
              <a:gd name="connsiteY4067" fmla="*/ 376232 h 6858290"/>
              <a:gd name="connsiteX4068" fmla="*/ 1643062 w 12139750"/>
              <a:gd name="connsiteY4068" fmla="*/ 349526 h 6858290"/>
              <a:gd name="connsiteX4069" fmla="*/ 1669713 w 12139750"/>
              <a:gd name="connsiteY4069" fmla="*/ 290392 h 6858290"/>
              <a:gd name="connsiteX4070" fmla="*/ 2010467 w 12139750"/>
              <a:gd name="connsiteY4070" fmla="*/ 156862 h 6858290"/>
              <a:gd name="connsiteX4071" fmla="*/ 3720656 w 12139750"/>
              <a:gd name="connsiteY4071" fmla="*/ 144611 h 6858290"/>
              <a:gd name="connsiteX4072" fmla="*/ 3763698 w 12139750"/>
              <a:gd name="connsiteY4072" fmla="*/ 176135 h 6858290"/>
              <a:gd name="connsiteX4073" fmla="*/ 3765599 w 12139750"/>
              <a:gd name="connsiteY4073" fmla="*/ 193233 h 6858290"/>
              <a:gd name="connsiteX4074" fmla="*/ 3735180 w 12139750"/>
              <a:gd name="connsiteY4074" fmla="*/ 238828 h 6858290"/>
              <a:gd name="connsiteX4075" fmla="*/ 3393028 w 12139750"/>
              <a:gd name="connsiteY4075" fmla="*/ 360415 h 6858290"/>
              <a:gd name="connsiteX4076" fmla="*/ 3332195 w 12139750"/>
              <a:gd name="connsiteY4076" fmla="*/ 331918 h 6858290"/>
              <a:gd name="connsiteX4077" fmla="*/ 3360708 w 12139750"/>
              <a:gd name="connsiteY4077" fmla="*/ 271125 h 6858290"/>
              <a:gd name="connsiteX4078" fmla="*/ 3700964 w 12139750"/>
              <a:gd name="connsiteY4078" fmla="*/ 147639 h 6858290"/>
              <a:gd name="connsiteX4079" fmla="*/ 3720656 w 12139750"/>
              <a:gd name="connsiteY4079" fmla="*/ 144611 h 6858290"/>
              <a:gd name="connsiteX4080" fmla="*/ 2586993 w 12139750"/>
              <a:gd name="connsiteY4080" fmla="*/ 144589 h 6858290"/>
              <a:gd name="connsiteX4081" fmla="*/ 2630185 w 12139750"/>
              <a:gd name="connsiteY4081" fmla="*/ 176114 h 6858290"/>
              <a:gd name="connsiteX4082" fmla="*/ 2632093 w 12139750"/>
              <a:gd name="connsiteY4082" fmla="*/ 193212 h 6858290"/>
              <a:gd name="connsiteX4083" fmla="*/ 2601569 w 12139750"/>
              <a:gd name="connsiteY4083" fmla="*/ 238807 h 6858290"/>
              <a:gd name="connsiteX4084" fmla="*/ 2258175 w 12139750"/>
              <a:gd name="connsiteY4084" fmla="*/ 360394 h 6858290"/>
              <a:gd name="connsiteX4085" fmla="*/ 2197127 w 12139750"/>
              <a:gd name="connsiteY4085" fmla="*/ 331897 h 6858290"/>
              <a:gd name="connsiteX4086" fmla="*/ 2225743 w 12139750"/>
              <a:gd name="connsiteY4086" fmla="*/ 271103 h 6858290"/>
              <a:gd name="connsiteX4087" fmla="*/ 2567230 w 12139750"/>
              <a:gd name="connsiteY4087" fmla="*/ 147617 h 6858290"/>
              <a:gd name="connsiteX4088" fmla="*/ 2586993 w 12139750"/>
              <a:gd name="connsiteY4088" fmla="*/ 144589 h 6858290"/>
              <a:gd name="connsiteX4089" fmla="*/ 3149047 w 12139750"/>
              <a:gd name="connsiteY4089" fmla="*/ 135364 h 6858290"/>
              <a:gd name="connsiteX4090" fmla="*/ 3191878 w 12139750"/>
              <a:gd name="connsiteY4090" fmla="*/ 168396 h 6858290"/>
              <a:gd name="connsiteX4091" fmla="*/ 3195685 w 12139750"/>
              <a:gd name="connsiteY4091" fmla="*/ 185444 h 6858290"/>
              <a:gd name="connsiteX4092" fmla="*/ 3161420 w 12139750"/>
              <a:gd name="connsiteY4092" fmla="*/ 232802 h 6858290"/>
              <a:gd name="connsiteX4093" fmla="*/ 2818756 w 12139750"/>
              <a:gd name="connsiteY4093" fmla="*/ 344567 h 6858290"/>
              <a:gd name="connsiteX4094" fmla="*/ 2755934 w 12139750"/>
              <a:gd name="connsiteY4094" fmla="*/ 314258 h 6858290"/>
              <a:gd name="connsiteX4095" fmla="*/ 2788299 w 12139750"/>
              <a:gd name="connsiteY4095" fmla="*/ 249851 h 6858290"/>
              <a:gd name="connsiteX4096" fmla="*/ 3129056 w 12139750"/>
              <a:gd name="connsiteY4096" fmla="*/ 138087 h 6858290"/>
              <a:gd name="connsiteX4097" fmla="*/ 3149047 w 12139750"/>
              <a:gd name="connsiteY4097" fmla="*/ 135364 h 6858290"/>
              <a:gd name="connsiteX4098" fmla="*/ 9144187 w 12139750"/>
              <a:gd name="connsiteY4098" fmla="*/ 30 h 6858290"/>
              <a:gd name="connsiteX4099" fmla="*/ 9275861 w 12139750"/>
              <a:gd name="connsiteY4099" fmla="*/ 30 h 6858290"/>
              <a:gd name="connsiteX4100" fmla="*/ 8962897 w 12139750"/>
              <a:gd name="connsiteY4100" fmla="*/ 187323 h 6858290"/>
              <a:gd name="connsiteX4101" fmla="*/ 8917098 w 12139750"/>
              <a:gd name="connsiteY4101" fmla="*/ 175856 h 6858290"/>
              <a:gd name="connsiteX4102" fmla="*/ 8928547 w 12139750"/>
              <a:gd name="connsiteY4102" fmla="*/ 129989 h 6858290"/>
              <a:gd name="connsiteX4103" fmla="*/ 9144187 w 12139750"/>
              <a:gd name="connsiteY4103" fmla="*/ 30 h 6858290"/>
              <a:gd name="connsiteX4104" fmla="*/ 8549535 w 12139750"/>
              <a:gd name="connsiteY4104" fmla="*/ 29 h 6858290"/>
              <a:gd name="connsiteX4105" fmla="*/ 8688477 w 12139750"/>
              <a:gd name="connsiteY4105" fmla="*/ 29 h 6858290"/>
              <a:gd name="connsiteX4106" fmla="*/ 8391560 w 12139750"/>
              <a:gd name="connsiteY4106" fmla="*/ 173083 h 6858290"/>
              <a:gd name="connsiteX4107" fmla="*/ 8343977 w 12139750"/>
              <a:gd name="connsiteY4107" fmla="*/ 159771 h 6858290"/>
              <a:gd name="connsiteX4108" fmla="*/ 8357300 w 12139750"/>
              <a:gd name="connsiteY4108" fmla="*/ 112230 h 6858290"/>
              <a:gd name="connsiteX4109" fmla="*/ 8549535 w 12139750"/>
              <a:gd name="connsiteY4109" fmla="*/ 29 h 6858290"/>
              <a:gd name="connsiteX4110" fmla="*/ 7958714 w 12139750"/>
              <a:gd name="connsiteY4110" fmla="*/ 29 h 6858290"/>
              <a:gd name="connsiteX4111" fmla="*/ 8107445 w 12139750"/>
              <a:gd name="connsiteY4111" fmla="*/ 29 h 6858290"/>
              <a:gd name="connsiteX4112" fmla="*/ 7825239 w 12139750"/>
              <a:gd name="connsiteY4112" fmla="*/ 158743 h 6858290"/>
              <a:gd name="connsiteX4113" fmla="*/ 7775662 w 12139750"/>
              <a:gd name="connsiteY4113" fmla="*/ 145357 h 6858290"/>
              <a:gd name="connsiteX4114" fmla="*/ 7790916 w 12139750"/>
              <a:gd name="connsiteY4114" fmla="*/ 95640 h 6858290"/>
              <a:gd name="connsiteX4115" fmla="*/ 7958714 w 12139750"/>
              <a:gd name="connsiteY4115" fmla="*/ 29 h 6858290"/>
              <a:gd name="connsiteX4116" fmla="*/ 7373861 w 12139750"/>
              <a:gd name="connsiteY4116" fmla="*/ 29 h 6858290"/>
              <a:gd name="connsiteX4117" fmla="*/ 7534349 w 12139750"/>
              <a:gd name="connsiteY4117" fmla="*/ 29 h 6858290"/>
              <a:gd name="connsiteX4118" fmla="*/ 7266870 w 12139750"/>
              <a:gd name="connsiteY4118" fmla="*/ 142904 h 6858290"/>
              <a:gd name="connsiteX4119" fmla="*/ 7215285 w 12139750"/>
              <a:gd name="connsiteY4119" fmla="*/ 127664 h 6858290"/>
              <a:gd name="connsiteX4120" fmla="*/ 7230569 w 12139750"/>
              <a:gd name="connsiteY4120" fmla="*/ 76229 h 6858290"/>
              <a:gd name="connsiteX4121" fmla="*/ 7373861 w 12139750"/>
              <a:gd name="connsiteY4121" fmla="*/ 29 h 6858290"/>
              <a:gd name="connsiteX4122" fmla="*/ 6792947 w 12139750"/>
              <a:gd name="connsiteY4122" fmla="*/ 29 h 6858290"/>
              <a:gd name="connsiteX4123" fmla="*/ 6962841 w 12139750"/>
              <a:gd name="connsiteY4123" fmla="*/ 29 h 6858290"/>
              <a:gd name="connsiteX4124" fmla="*/ 6714681 w 12139750"/>
              <a:gd name="connsiteY4124" fmla="*/ 130160 h 6858290"/>
              <a:gd name="connsiteX4125" fmla="*/ 6661231 w 12139750"/>
              <a:gd name="connsiteY4125" fmla="*/ 112937 h 6858290"/>
              <a:gd name="connsiteX4126" fmla="*/ 6678412 w 12139750"/>
              <a:gd name="connsiteY4126" fmla="*/ 59354 h 6858290"/>
              <a:gd name="connsiteX4127" fmla="*/ 6792947 w 12139750"/>
              <a:gd name="connsiteY4127" fmla="*/ 29 h 6858290"/>
              <a:gd name="connsiteX4128" fmla="*/ 6214724 w 12139750"/>
              <a:gd name="connsiteY4128" fmla="*/ 29 h 6858290"/>
              <a:gd name="connsiteX4129" fmla="*/ 6396096 w 12139750"/>
              <a:gd name="connsiteY4129" fmla="*/ 29 h 6858290"/>
              <a:gd name="connsiteX4130" fmla="*/ 6166995 w 12139750"/>
              <a:gd name="connsiteY4130" fmla="*/ 114329 h 6858290"/>
              <a:gd name="connsiteX4131" fmla="*/ 6113538 w 12139750"/>
              <a:gd name="connsiteY4131" fmla="*/ 95279 h 6858290"/>
              <a:gd name="connsiteX4132" fmla="*/ 6130720 w 12139750"/>
              <a:gd name="connsiteY4132" fmla="*/ 41939 h 6858290"/>
              <a:gd name="connsiteX4133" fmla="*/ 6214724 w 12139750"/>
              <a:gd name="connsiteY4133" fmla="*/ 29 h 6858290"/>
              <a:gd name="connsiteX4134" fmla="*/ 5637626 w 12139750"/>
              <a:gd name="connsiteY4134" fmla="*/ 29 h 6858290"/>
              <a:gd name="connsiteX4135" fmla="*/ 5829356 w 12139750"/>
              <a:gd name="connsiteY4135" fmla="*/ 29 h 6858290"/>
              <a:gd name="connsiteX4136" fmla="*/ 5622440 w 12139750"/>
              <a:gd name="connsiteY4136" fmla="*/ 99958 h 6858290"/>
              <a:gd name="connsiteX4137" fmla="*/ 5567388 w 12139750"/>
              <a:gd name="connsiteY4137" fmla="*/ 80741 h 6858290"/>
              <a:gd name="connsiteX4138" fmla="*/ 5586371 w 12139750"/>
              <a:gd name="connsiteY4138" fmla="*/ 25011 h 6858290"/>
              <a:gd name="connsiteX4139" fmla="*/ 5637626 w 12139750"/>
              <a:gd name="connsiteY4139" fmla="*/ 29 h 6858290"/>
              <a:gd name="connsiteX4140" fmla="*/ 5050992 w 12139750"/>
              <a:gd name="connsiteY4140" fmla="*/ 29 h 6858290"/>
              <a:gd name="connsiteX4141" fmla="*/ 5257856 w 12139750"/>
              <a:gd name="connsiteY4141" fmla="*/ 29 h 6858290"/>
              <a:gd name="connsiteX4142" fmla="*/ 5071866 w 12139750"/>
              <a:gd name="connsiteY4142" fmla="*/ 83849 h 6858290"/>
              <a:gd name="connsiteX4143" fmla="*/ 5014937 w 12139750"/>
              <a:gd name="connsiteY4143" fmla="*/ 62894 h 6858290"/>
              <a:gd name="connsiteX4144" fmla="*/ 5037708 w 12139750"/>
              <a:gd name="connsiteY4144" fmla="*/ 7649 h 6858290"/>
              <a:gd name="connsiteX4145" fmla="*/ 5050992 w 12139750"/>
              <a:gd name="connsiteY4145" fmla="*/ 29 h 6858290"/>
              <a:gd name="connsiteX4146" fmla="*/ 4468136 w 12139750"/>
              <a:gd name="connsiteY4146" fmla="*/ 29 h 6858290"/>
              <a:gd name="connsiteX4147" fmla="*/ 4678410 w 12139750"/>
              <a:gd name="connsiteY4147" fmla="*/ 29 h 6858290"/>
              <a:gd name="connsiteX4148" fmla="*/ 4517392 w 12139750"/>
              <a:gd name="connsiteY4148" fmla="*/ 71353 h 6858290"/>
              <a:gd name="connsiteX4149" fmla="*/ 4460559 w 12139750"/>
              <a:gd name="connsiteY4149" fmla="*/ 48221 h 6858290"/>
              <a:gd name="connsiteX4150" fmla="*/ 4468136 w 12139750"/>
              <a:gd name="connsiteY4150" fmla="*/ 29 h 6858290"/>
              <a:gd name="connsiteX4151" fmla="*/ 3898002 w 12139750"/>
              <a:gd name="connsiteY4151" fmla="*/ 29 h 6858290"/>
              <a:gd name="connsiteX4152" fmla="*/ 4092634 w 12139750"/>
              <a:gd name="connsiteY4152" fmla="*/ 29 h 6858290"/>
              <a:gd name="connsiteX4153" fmla="*/ 3959065 w 12139750"/>
              <a:gd name="connsiteY4153" fmla="*/ 55545 h 6858290"/>
              <a:gd name="connsiteX4154" fmla="*/ 3899912 w 12139750"/>
              <a:gd name="connsiteY4154" fmla="*/ 30658 h 6858290"/>
              <a:gd name="connsiteX4155" fmla="*/ 3898002 w 12139750"/>
              <a:gd name="connsiteY4155" fmla="*/ 29 h 6858290"/>
              <a:gd name="connsiteX4156" fmla="*/ 3332212 w 12139750"/>
              <a:gd name="connsiteY4156" fmla="*/ 29 h 6858290"/>
              <a:gd name="connsiteX4157" fmla="*/ 3497315 w 12139750"/>
              <a:gd name="connsiteY4157" fmla="*/ 29 h 6858290"/>
              <a:gd name="connsiteX4158" fmla="*/ 3394843 w 12139750"/>
              <a:gd name="connsiteY4158" fmla="*/ 41670 h 6858290"/>
              <a:gd name="connsiteX4159" fmla="*/ 3334111 w 12139750"/>
              <a:gd name="connsiteY4159" fmla="*/ 15171 h 6858290"/>
              <a:gd name="connsiteX4160" fmla="*/ 3332212 w 12139750"/>
              <a:gd name="connsiteY4160" fmla="*/ 29 h 6858290"/>
              <a:gd name="connsiteX4161" fmla="*/ 2760703 w 12139750"/>
              <a:gd name="connsiteY4161" fmla="*/ 28 h 6858290"/>
              <a:gd name="connsiteX4162" fmla="*/ 2890880 w 12139750"/>
              <a:gd name="connsiteY4162" fmla="*/ 28 h 6858290"/>
              <a:gd name="connsiteX4163" fmla="*/ 2821076 w 12139750"/>
              <a:gd name="connsiteY4163" fmla="*/ 27192 h 6858290"/>
              <a:gd name="connsiteX4164" fmla="*/ 2760703 w 12139750"/>
              <a:gd name="connsiteY4164" fmla="*/ 28 h 6858290"/>
              <a:gd name="connsiteX4165" fmla="*/ 11404328 w 12139750"/>
              <a:gd name="connsiteY4165" fmla="*/ 19 h 6858290"/>
              <a:gd name="connsiteX4166" fmla="*/ 11552367 w 12139750"/>
              <a:gd name="connsiteY4166" fmla="*/ 19 h 6858290"/>
              <a:gd name="connsiteX4167" fmla="*/ 11271473 w 12139750"/>
              <a:gd name="connsiteY4167" fmla="*/ 158733 h 6858290"/>
              <a:gd name="connsiteX4168" fmla="*/ 11222127 w 12139750"/>
              <a:gd name="connsiteY4168" fmla="*/ 145347 h 6858290"/>
              <a:gd name="connsiteX4169" fmla="*/ 11235412 w 12139750"/>
              <a:gd name="connsiteY4169" fmla="*/ 95630 h 6858290"/>
              <a:gd name="connsiteX4170" fmla="*/ 11404328 w 12139750"/>
              <a:gd name="connsiteY4170" fmla="*/ 19 h 6858290"/>
              <a:gd name="connsiteX4171" fmla="*/ 11942099 w 12139750"/>
              <a:gd name="connsiteY4171" fmla="*/ 17 h 6858290"/>
              <a:gd name="connsiteX4172" fmla="*/ 12100062 w 12139750"/>
              <a:gd name="connsiteY4172" fmla="*/ 17 h 6858290"/>
              <a:gd name="connsiteX4173" fmla="*/ 11835521 w 12139750"/>
              <a:gd name="connsiteY4173" fmla="*/ 142892 h 6858290"/>
              <a:gd name="connsiteX4174" fmla="*/ 11784136 w 12139750"/>
              <a:gd name="connsiteY4174" fmla="*/ 127652 h 6858290"/>
              <a:gd name="connsiteX4175" fmla="*/ 11799361 w 12139750"/>
              <a:gd name="connsiteY4175" fmla="*/ 76217 h 6858290"/>
              <a:gd name="connsiteX4176" fmla="*/ 11942099 w 12139750"/>
              <a:gd name="connsiteY4176" fmla="*/ 17 h 6858290"/>
              <a:gd name="connsiteX4177" fmla="*/ 76928 w 12139750"/>
              <a:gd name="connsiteY4177" fmla="*/ 14 h 6858290"/>
              <a:gd name="connsiteX4178" fmla="*/ 271465 w 12139750"/>
              <a:gd name="connsiteY4178" fmla="*/ 14 h 6858290"/>
              <a:gd name="connsiteX4179" fmla="*/ 63577 w 12139750"/>
              <a:gd name="connsiteY4179" fmla="*/ 99944 h 6858290"/>
              <a:gd name="connsiteX4180" fmla="*/ 8268 w 12139750"/>
              <a:gd name="connsiteY4180" fmla="*/ 80727 h 6858290"/>
              <a:gd name="connsiteX4181" fmla="*/ 27340 w 12139750"/>
              <a:gd name="connsiteY4181" fmla="*/ 24997 h 6858290"/>
              <a:gd name="connsiteX4182" fmla="*/ 76928 w 12139750"/>
              <a:gd name="connsiteY4182" fmla="*/ 14 h 6858290"/>
              <a:gd name="connsiteX4183" fmla="*/ 583733 w 12139750"/>
              <a:gd name="connsiteY4183" fmla="*/ 12 h 6858290"/>
              <a:gd name="connsiteX4184" fmla="*/ 792167 w 12139750"/>
              <a:gd name="connsiteY4184" fmla="*/ 12 h 6858290"/>
              <a:gd name="connsiteX4185" fmla="*/ 604767 w 12139750"/>
              <a:gd name="connsiteY4185" fmla="*/ 83832 h 6858290"/>
              <a:gd name="connsiteX4186" fmla="*/ 549312 w 12139750"/>
              <a:gd name="connsiteY4186" fmla="*/ 62877 h 6858290"/>
              <a:gd name="connsiteX4187" fmla="*/ 570347 w 12139750"/>
              <a:gd name="connsiteY4187" fmla="*/ 7632 h 6858290"/>
              <a:gd name="connsiteX4188" fmla="*/ 583733 w 12139750"/>
              <a:gd name="connsiteY4188" fmla="*/ 12 h 6858290"/>
              <a:gd name="connsiteX4189" fmla="*/ 1102307 w 12139750"/>
              <a:gd name="connsiteY4189" fmla="*/ 10 h 6858290"/>
              <a:gd name="connsiteX4190" fmla="*/ 1312869 w 12139750"/>
              <a:gd name="connsiteY4190" fmla="*/ 10 h 6858290"/>
              <a:gd name="connsiteX4191" fmla="*/ 1153525 w 12139750"/>
              <a:gd name="connsiteY4191" fmla="*/ 71334 h 6858290"/>
              <a:gd name="connsiteX4192" fmla="*/ 1094719 w 12139750"/>
              <a:gd name="connsiteY4192" fmla="*/ 48202 h 6858290"/>
              <a:gd name="connsiteX4193" fmla="*/ 1102307 w 12139750"/>
              <a:gd name="connsiteY4193" fmla="*/ 10 h 6858290"/>
              <a:gd name="connsiteX4194" fmla="*/ 1643393 w 12139750"/>
              <a:gd name="connsiteY4194" fmla="*/ 7 h 6858290"/>
              <a:gd name="connsiteX4195" fmla="*/ 1838335 w 12139750"/>
              <a:gd name="connsiteY4195" fmla="*/ 7 h 6858290"/>
              <a:gd name="connsiteX4196" fmla="*/ 1704551 w 12139750"/>
              <a:gd name="connsiteY4196" fmla="*/ 55524 h 6858290"/>
              <a:gd name="connsiteX4197" fmla="*/ 1645304 w 12139750"/>
              <a:gd name="connsiteY4197" fmla="*/ 30637 h 6858290"/>
              <a:gd name="connsiteX4198" fmla="*/ 1643393 w 12139750"/>
              <a:gd name="connsiteY4198" fmla="*/ 7 h 6858290"/>
              <a:gd name="connsiteX4199" fmla="*/ 2197113 w 12139750"/>
              <a:gd name="connsiteY4199" fmla="*/ 5 h 6858290"/>
              <a:gd name="connsiteX4200" fmla="*/ 2363803 w 12139750"/>
              <a:gd name="connsiteY4200" fmla="*/ 5 h 6858290"/>
              <a:gd name="connsiteX4201" fmla="*/ 2260341 w 12139750"/>
              <a:gd name="connsiteY4201" fmla="*/ 41647 h 6858290"/>
              <a:gd name="connsiteX4202" fmla="*/ 2199030 w 12139750"/>
              <a:gd name="connsiteY4202" fmla="*/ 15147 h 6858290"/>
              <a:gd name="connsiteX4203" fmla="*/ 2197113 w 12139750"/>
              <a:gd name="connsiteY4203" fmla="*/ 5 h 6858290"/>
              <a:gd name="connsiteX4204" fmla="*/ 9742488 w 12139750"/>
              <a:gd name="connsiteY4204" fmla="*/ 4 h 6858290"/>
              <a:gd name="connsiteX4205" fmla="*/ 9866419 w 12139750"/>
              <a:gd name="connsiteY4205" fmla="*/ 4 h 6858290"/>
              <a:gd name="connsiteX4206" fmla="*/ 9542293 w 12139750"/>
              <a:gd name="connsiteY4206" fmla="*/ 201631 h 6858290"/>
              <a:gd name="connsiteX4207" fmla="*/ 9496534 w 12139750"/>
              <a:gd name="connsiteY4207" fmla="*/ 192120 h 6858290"/>
              <a:gd name="connsiteX4208" fmla="*/ 9507974 w 12139750"/>
              <a:gd name="connsiteY4208" fmla="*/ 146469 h 6858290"/>
              <a:gd name="connsiteX4209" fmla="*/ 9742488 w 12139750"/>
              <a:gd name="connsiteY4209" fmla="*/ 4 h 6858290"/>
              <a:gd name="connsiteX4210" fmla="*/ 10304665 w 12139750"/>
              <a:gd name="connsiteY4210" fmla="*/ 2 h 6858290"/>
              <a:gd name="connsiteX4211" fmla="*/ 10436339 w 12139750"/>
              <a:gd name="connsiteY4211" fmla="*/ 2 h 6858290"/>
              <a:gd name="connsiteX4212" fmla="*/ 10125283 w 12139750"/>
              <a:gd name="connsiteY4212" fmla="*/ 187296 h 6858290"/>
              <a:gd name="connsiteX4213" fmla="*/ 10077576 w 12139750"/>
              <a:gd name="connsiteY4213" fmla="*/ 175829 h 6858290"/>
              <a:gd name="connsiteX4214" fmla="*/ 10089025 w 12139750"/>
              <a:gd name="connsiteY4214" fmla="*/ 129961 h 6858290"/>
              <a:gd name="connsiteX4215" fmla="*/ 10304665 w 12139750"/>
              <a:gd name="connsiteY4215" fmla="*/ 2 h 6858290"/>
              <a:gd name="connsiteX4216" fmla="*/ 10857477 w 12139750"/>
              <a:gd name="connsiteY4216" fmla="*/ 0 h 6858290"/>
              <a:gd name="connsiteX4217" fmla="*/ 10998322 w 12139750"/>
              <a:gd name="connsiteY4217" fmla="*/ 0 h 6858290"/>
              <a:gd name="connsiteX4218" fmla="*/ 10701405 w 12139750"/>
              <a:gd name="connsiteY4218" fmla="*/ 173054 h 6858290"/>
              <a:gd name="connsiteX4219" fmla="*/ 10653822 w 12139750"/>
              <a:gd name="connsiteY4219" fmla="*/ 159742 h 6858290"/>
              <a:gd name="connsiteX4220" fmla="*/ 10665241 w 12139750"/>
              <a:gd name="connsiteY4220" fmla="*/ 112200 h 6858290"/>
              <a:gd name="connsiteX4221" fmla="*/ 10857477 w 12139750"/>
              <a:gd name="connsiteY4221" fmla="*/ 0 h 6858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</a:cxnLst>
            <a:rect l="l" t="t" r="r" b="b"/>
            <a:pathLst>
              <a:path w="12139750" h="6858290">
                <a:moveTo>
                  <a:pt x="9863865" y="6730848"/>
                </a:moveTo>
                <a:cubicBezTo>
                  <a:pt x="9882230" y="6731206"/>
                  <a:pt x="9898990" y="6742279"/>
                  <a:pt x="9906123" y="6760852"/>
                </a:cubicBezTo>
                <a:cubicBezTo>
                  <a:pt x="9915632" y="6783712"/>
                  <a:pt x="9904221" y="6810382"/>
                  <a:pt x="9879496" y="6819907"/>
                </a:cubicBezTo>
                <a:cubicBezTo>
                  <a:pt x="9879496" y="6819907"/>
                  <a:pt x="9879496" y="6819907"/>
                  <a:pt x="9782500" y="6858007"/>
                </a:cubicBezTo>
                <a:cubicBezTo>
                  <a:pt x="9782500" y="6858007"/>
                  <a:pt x="9782500" y="6858007"/>
                  <a:pt x="9531452" y="6858007"/>
                </a:cubicBezTo>
                <a:cubicBezTo>
                  <a:pt x="9531452" y="6858007"/>
                  <a:pt x="9531452" y="6858007"/>
                  <a:pt x="9845262" y="6734182"/>
                </a:cubicBezTo>
                <a:cubicBezTo>
                  <a:pt x="9851443" y="6731801"/>
                  <a:pt x="9857743" y="6730729"/>
                  <a:pt x="9863865" y="6730848"/>
                </a:cubicBezTo>
                <a:close/>
                <a:moveTo>
                  <a:pt x="10445577" y="6718092"/>
                </a:moveTo>
                <a:cubicBezTo>
                  <a:pt x="10463182" y="6718359"/>
                  <a:pt x="10479983" y="6729028"/>
                  <a:pt x="10487132" y="6746099"/>
                </a:cubicBezTo>
                <a:cubicBezTo>
                  <a:pt x="10496665" y="6768860"/>
                  <a:pt x="10485226" y="6795414"/>
                  <a:pt x="10462348" y="6804898"/>
                </a:cubicBezTo>
                <a:cubicBezTo>
                  <a:pt x="10462348" y="6804898"/>
                  <a:pt x="10462348" y="6804898"/>
                  <a:pt x="10328892" y="6858007"/>
                </a:cubicBezTo>
                <a:cubicBezTo>
                  <a:pt x="10328892" y="6858007"/>
                  <a:pt x="10328892" y="6858007"/>
                  <a:pt x="10088672" y="6858007"/>
                </a:cubicBezTo>
                <a:cubicBezTo>
                  <a:pt x="10088672" y="6858007"/>
                  <a:pt x="10088672" y="6858007"/>
                  <a:pt x="10428031" y="6721441"/>
                </a:cubicBezTo>
                <a:cubicBezTo>
                  <a:pt x="10433751" y="6719070"/>
                  <a:pt x="10439708" y="6718003"/>
                  <a:pt x="10445577" y="6718092"/>
                </a:cubicBezTo>
                <a:close/>
                <a:moveTo>
                  <a:pt x="9285099" y="6718092"/>
                </a:moveTo>
                <a:cubicBezTo>
                  <a:pt x="9302704" y="6718359"/>
                  <a:pt x="9319505" y="6729028"/>
                  <a:pt x="9326654" y="6746099"/>
                </a:cubicBezTo>
                <a:cubicBezTo>
                  <a:pt x="9336187" y="6768860"/>
                  <a:pt x="9324748" y="6795414"/>
                  <a:pt x="9301870" y="6804898"/>
                </a:cubicBezTo>
                <a:cubicBezTo>
                  <a:pt x="9301870" y="6804898"/>
                  <a:pt x="9301870" y="6804898"/>
                  <a:pt x="9168414" y="6858007"/>
                </a:cubicBezTo>
                <a:cubicBezTo>
                  <a:pt x="9168414" y="6858007"/>
                  <a:pt x="9168414" y="6858007"/>
                  <a:pt x="8928194" y="6858007"/>
                </a:cubicBezTo>
                <a:cubicBezTo>
                  <a:pt x="8928194" y="6858007"/>
                  <a:pt x="8928194" y="6858007"/>
                  <a:pt x="9267553" y="6721441"/>
                </a:cubicBezTo>
                <a:cubicBezTo>
                  <a:pt x="9273273" y="6719070"/>
                  <a:pt x="9279230" y="6718003"/>
                  <a:pt x="9285099" y="6718092"/>
                </a:cubicBezTo>
                <a:close/>
                <a:moveTo>
                  <a:pt x="11021925" y="6702243"/>
                </a:moveTo>
                <a:cubicBezTo>
                  <a:pt x="11039503" y="6702511"/>
                  <a:pt x="11056279" y="6713227"/>
                  <a:pt x="11063417" y="6730372"/>
                </a:cubicBezTo>
                <a:cubicBezTo>
                  <a:pt x="11072935" y="6753232"/>
                  <a:pt x="11061513" y="6779902"/>
                  <a:pt x="11038670" y="6789427"/>
                </a:cubicBezTo>
                <a:cubicBezTo>
                  <a:pt x="11038670" y="6789427"/>
                  <a:pt x="11038670" y="6789427"/>
                  <a:pt x="10873058" y="6858007"/>
                </a:cubicBezTo>
                <a:cubicBezTo>
                  <a:pt x="10873058" y="6858007"/>
                  <a:pt x="10873058" y="6858007"/>
                  <a:pt x="10652242" y="6858007"/>
                </a:cubicBezTo>
                <a:cubicBezTo>
                  <a:pt x="10656049" y="6854197"/>
                  <a:pt x="10659856" y="6852292"/>
                  <a:pt x="10665567" y="6850387"/>
                </a:cubicBezTo>
                <a:cubicBezTo>
                  <a:pt x="10665567" y="6850387"/>
                  <a:pt x="10665567" y="6850387"/>
                  <a:pt x="11004406" y="6705607"/>
                </a:cubicBezTo>
                <a:cubicBezTo>
                  <a:pt x="11010117" y="6703225"/>
                  <a:pt x="11016065" y="6702154"/>
                  <a:pt x="11021925" y="6702243"/>
                </a:cubicBezTo>
                <a:close/>
                <a:moveTo>
                  <a:pt x="8712081" y="6702243"/>
                </a:moveTo>
                <a:cubicBezTo>
                  <a:pt x="8729659" y="6702511"/>
                  <a:pt x="8746435" y="6713227"/>
                  <a:pt x="8753573" y="6730372"/>
                </a:cubicBezTo>
                <a:cubicBezTo>
                  <a:pt x="8763091" y="6753232"/>
                  <a:pt x="8753573" y="6779902"/>
                  <a:pt x="8730730" y="6789427"/>
                </a:cubicBezTo>
                <a:cubicBezTo>
                  <a:pt x="8730730" y="6789427"/>
                  <a:pt x="8730730" y="6789427"/>
                  <a:pt x="8565118" y="6858007"/>
                </a:cubicBezTo>
                <a:cubicBezTo>
                  <a:pt x="8565118" y="6858007"/>
                  <a:pt x="8565118" y="6858007"/>
                  <a:pt x="8342398" y="6858007"/>
                </a:cubicBezTo>
                <a:cubicBezTo>
                  <a:pt x="8346205" y="6854197"/>
                  <a:pt x="8350012" y="6852292"/>
                  <a:pt x="8355723" y="6850387"/>
                </a:cubicBezTo>
                <a:cubicBezTo>
                  <a:pt x="8355723" y="6850387"/>
                  <a:pt x="8355723" y="6850387"/>
                  <a:pt x="8694562" y="6705607"/>
                </a:cubicBezTo>
                <a:cubicBezTo>
                  <a:pt x="8700273" y="6703226"/>
                  <a:pt x="8706221" y="6702154"/>
                  <a:pt x="8712081" y="6702243"/>
                </a:cubicBezTo>
                <a:close/>
                <a:moveTo>
                  <a:pt x="11608144" y="6692160"/>
                </a:moveTo>
                <a:cubicBezTo>
                  <a:pt x="11618391" y="6696194"/>
                  <a:pt x="11626970" y="6704261"/>
                  <a:pt x="11631736" y="6715650"/>
                </a:cubicBezTo>
                <a:cubicBezTo>
                  <a:pt x="11641268" y="6738427"/>
                  <a:pt x="11631736" y="6763102"/>
                  <a:pt x="11608858" y="6772593"/>
                </a:cubicBezTo>
                <a:cubicBezTo>
                  <a:pt x="11608858" y="6772593"/>
                  <a:pt x="11608858" y="6772593"/>
                  <a:pt x="11412495" y="6858007"/>
                </a:cubicBezTo>
                <a:cubicBezTo>
                  <a:pt x="11412495" y="6858007"/>
                  <a:pt x="11412495" y="6858007"/>
                  <a:pt x="11214225" y="6858007"/>
                </a:cubicBezTo>
                <a:cubicBezTo>
                  <a:pt x="11219944" y="6850415"/>
                  <a:pt x="11225664" y="6844721"/>
                  <a:pt x="11235196" y="6840924"/>
                </a:cubicBezTo>
                <a:cubicBezTo>
                  <a:pt x="11235196" y="6840924"/>
                  <a:pt x="11235196" y="6840924"/>
                  <a:pt x="11574543" y="6692872"/>
                </a:cubicBezTo>
                <a:cubicBezTo>
                  <a:pt x="11585981" y="6688127"/>
                  <a:pt x="11597897" y="6688127"/>
                  <a:pt x="11608144" y="6692160"/>
                </a:cubicBezTo>
                <a:close/>
                <a:moveTo>
                  <a:pt x="8162632" y="6692160"/>
                </a:moveTo>
                <a:cubicBezTo>
                  <a:pt x="8173079" y="6696194"/>
                  <a:pt x="8182101" y="6704261"/>
                  <a:pt x="8186849" y="6715650"/>
                </a:cubicBezTo>
                <a:cubicBezTo>
                  <a:pt x="8196346" y="6738427"/>
                  <a:pt x="8186849" y="6763102"/>
                  <a:pt x="8164057" y="6772593"/>
                </a:cubicBezTo>
                <a:cubicBezTo>
                  <a:pt x="8164057" y="6772593"/>
                  <a:pt x="8164057" y="6772593"/>
                  <a:pt x="7966524" y="6858007"/>
                </a:cubicBezTo>
                <a:cubicBezTo>
                  <a:pt x="7966524" y="6858007"/>
                  <a:pt x="7966524" y="6858007"/>
                  <a:pt x="7770890" y="6858007"/>
                </a:cubicBezTo>
                <a:cubicBezTo>
                  <a:pt x="7774688" y="6850415"/>
                  <a:pt x="7782286" y="6844721"/>
                  <a:pt x="7789883" y="6840924"/>
                </a:cubicBezTo>
                <a:cubicBezTo>
                  <a:pt x="7789883" y="6840924"/>
                  <a:pt x="7789883" y="6840924"/>
                  <a:pt x="8129868" y="6692872"/>
                </a:cubicBezTo>
                <a:cubicBezTo>
                  <a:pt x="8140315" y="6688127"/>
                  <a:pt x="8152186" y="6688127"/>
                  <a:pt x="8162632" y="6692160"/>
                </a:cubicBezTo>
                <a:close/>
                <a:moveTo>
                  <a:pt x="7602161" y="6677681"/>
                </a:moveTo>
                <a:cubicBezTo>
                  <a:pt x="7612631" y="6681497"/>
                  <a:pt x="7621673" y="6689130"/>
                  <a:pt x="7626432" y="6699625"/>
                </a:cubicBezTo>
                <a:cubicBezTo>
                  <a:pt x="7635950" y="6720616"/>
                  <a:pt x="7626432" y="6747331"/>
                  <a:pt x="7605492" y="6756872"/>
                </a:cubicBezTo>
                <a:cubicBezTo>
                  <a:pt x="7605492" y="6756872"/>
                  <a:pt x="7605492" y="6756872"/>
                  <a:pt x="7378961" y="6858007"/>
                </a:cubicBezTo>
                <a:cubicBezTo>
                  <a:pt x="7378961" y="6858007"/>
                  <a:pt x="7378961" y="6858007"/>
                  <a:pt x="7205732" y="6858007"/>
                </a:cubicBezTo>
                <a:cubicBezTo>
                  <a:pt x="7209539" y="6846558"/>
                  <a:pt x="7219057" y="6837017"/>
                  <a:pt x="7230479" y="6831292"/>
                </a:cubicBezTo>
                <a:cubicBezTo>
                  <a:pt x="7230479" y="6831292"/>
                  <a:pt x="7230479" y="6831292"/>
                  <a:pt x="7569323" y="6678635"/>
                </a:cubicBezTo>
                <a:cubicBezTo>
                  <a:pt x="7579793" y="6673864"/>
                  <a:pt x="7591691" y="6673864"/>
                  <a:pt x="7602161" y="6677681"/>
                </a:cubicBezTo>
                <a:close/>
                <a:moveTo>
                  <a:pt x="12139750" y="6677032"/>
                </a:moveTo>
                <a:cubicBezTo>
                  <a:pt x="12139750" y="6677032"/>
                  <a:pt x="12139750" y="6677032"/>
                  <a:pt x="12139750" y="6770377"/>
                </a:cubicBezTo>
                <a:cubicBezTo>
                  <a:pt x="12139750" y="6770377"/>
                  <a:pt x="12139750" y="6770377"/>
                  <a:pt x="12139750" y="6858007"/>
                </a:cubicBezTo>
                <a:cubicBezTo>
                  <a:pt x="12139750" y="6858007"/>
                  <a:pt x="12139750" y="6858007"/>
                  <a:pt x="11945775" y="6858007"/>
                </a:cubicBezTo>
                <a:cubicBezTo>
                  <a:pt x="11945775" y="6858007"/>
                  <a:pt x="11945775" y="6858007"/>
                  <a:pt x="11774620" y="6858007"/>
                </a:cubicBezTo>
                <a:cubicBezTo>
                  <a:pt x="11778423" y="6846577"/>
                  <a:pt x="11786030" y="6837052"/>
                  <a:pt x="11797441" y="6831337"/>
                </a:cubicBezTo>
                <a:lnTo>
                  <a:pt x="12137848" y="6678937"/>
                </a:lnTo>
                <a:cubicBezTo>
                  <a:pt x="12137848" y="6678937"/>
                  <a:pt x="12139750" y="6677032"/>
                  <a:pt x="12139750" y="6677032"/>
                </a:cubicBezTo>
                <a:close/>
                <a:moveTo>
                  <a:pt x="7049044" y="6663353"/>
                </a:moveTo>
                <a:cubicBezTo>
                  <a:pt x="7059045" y="6667151"/>
                  <a:pt x="7067618" y="6674747"/>
                  <a:pt x="7072381" y="6685192"/>
                </a:cubicBezTo>
                <a:cubicBezTo>
                  <a:pt x="7081906" y="6706082"/>
                  <a:pt x="7074286" y="6730770"/>
                  <a:pt x="7051425" y="6742164"/>
                </a:cubicBezTo>
                <a:cubicBezTo>
                  <a:pt x="7051425" y="6742164"/>
                  <a:pt x="7051425" y="6742164"/>
                  <a:pt x="6798057" y="6858007"/>
                </a:cubicBezTo>
                <a:cubicBezTo>
                  <a:pt x="6798057" y="6858007"/>
                  <a:pt x="6798057" y="6858007"/>
                  <a:pt x="6653275" y="6858007"/>
                </a:cubicBezTo>
                <a:cubicBezTo>
                  <a:pt x="6653275" y="6842815"/>
                  <a:pt x="6662800" y="6829521"/>
                  <a:pt x="6678040" y="6821925"/>
                </a:cubicBezTo>
                <a:cubicBezTo>
                  <a:pt x="6678040" y="6821925"/>
                  <a:pt x="6678040" y="6821925"/>
                  <a:pt x="7017135" y="6664302"/>
                </a:cubicBezTo>
                <a:cubicBezTo>
                  <a:pt x="7027613" y="6659555"/>
                  <a:pt x="7039043" y="6659555"/>
                  <a:pt x="7049044" y="6663353"/>
                </a:cubicBezTo>
                <a:close/>
                <a:moveTo>
                  <a:pt x="6502912" y="6648865"/>
                </a:moveTo>
                <a:cubicBezTo>
                  <a:pt x="6512921" y="6652443"/>
                  <a:pt x="6521500" y="6659597"/>
                  <a:pt x="6526266" y="6669136"/>
                </a:cubicBezTo>
                <a:cubicBezTo>
                  <a:pt x="6535798" y="6690121"/>
                  <a:pt x="6528172" y="6714923"/>
                  <a:pt x="6507201" y="6724462"/>
                </a:cubicBezTo>
                <a:cubicBezTo>
                  <a:pt x="6507201" y="6724462"/>
                  <a:pt x="6507201" y="6724462"/>
                  <a:pt x="6226954" y="6858007"/>
                </a:cubicBezTo>
                <a:cubicBezTo>
                  <a:pt x="6226954" y="6858007"/>
                  <a:pt x="6226954" y="6858007"/>
                  <a:pt x="6108755" y="6858007"/>
                </a:cubicBezTo>
                <a:cubicBezTo>
                  <a:pt x="6108755" y="6856099"/>
                  <a:pt x="6108755" y="6852284"/>
                  <a:pt x="6108755" y="6850376"/>
                </a:cubicBezTo>
                <a:cubicBezTo>
                  <a:pt x="6108755" y="6835114"/>
                  <a:pt x="6118287" y="6819851"/>
                  <a:pt x="6131632" y="6812220"/>
                </a:cubicBezTo>
                <a:cubicBezTo>
                  <a:pt x="6131632" y="6812220"/>
                  <a:pt x="6131632" y="6812220"/>
                  <a:pt x="6470979" y="6650058"/>
                </a:cubicBezTo>
                <a:cubicBezTo>
                  <a:pt x="6481464" y="6645288"/>
                  <a:pt x="6492903" y="6645288"/>
                  <a:pt x="6502912" y="6648865"/>
                </a:cubicBezTo>
                <a:close/>
                <a:moveTo>
                  <a:pt x="5955433" y="6635428"/>
                </a:moveTo>
                <a:cubicBezTo>
                  <a:pt x="5965210" y="6638757"/>
                  <a:pt x="5973796" y="6645891"/>
                  <a:pt x="5978564" y="6656354"/>
                </a:cubicBezTo>
                <a:cubicBezTo>
                  <a:pt x="5988105" y="6675378"/>
                  <a:pt x="5980473" y="6700109"/>
                  <a:pt x="5961395" y="6709621"/>
                </a:cubicBezTo>
                <a:cubicBezTo>
                  <a:pt x="5961395" y="6709621"/>
                  <a:pt x="5961395" y="6709621"/>
                  <a:pt x="5656142" y="6858007"/>
                </a:cubicBezTo>
                <a:cubicBezTo>
                  <a:pt x="5656142" y="6858007"/>
                  <a:pt x="5656142" y="6858007"/>
                  <a:pt x="5568382" y="6858007"/>
                </a:cubicBezTo>
                <a:cubicBezTo>
                  <a:pt x="5568382" y="6858007"/>
                  <a:pt x="5568382" y="6858007"/>
                  <a:pt x="5566474" y="6858007"/>
                </a:cubicBezTo>
                <a:cubicBezTo>
                  <a:pt x="5564566" y="6852300"/>
                  <a:pt x="5562658" y="6844691"/>
                  <a:pt x="5562658" y="6838983"/>
                </a:cubicBezTo>
                <a:cubicBezTo>
                  <a:pt x="5562658" y="6823764"/>
                  <a:pt x="5572198" y="6810448"/>
                  <a:pt x="5585552" y="6802838"/>
                </a:cubicBezTo>
                <a:cubicBezTo>
                  <a:pt x="5585552" y="6802838"/>
                  <a:pt x="5585552" y="6802838"/>
                  <a:pt x="5925146" y="6637331"/>
                </a:cubicBezTo>
                <a:cubicBezTo>
                  <a:pt x="5934685" y="6632575"/>
                  <a:pt x="5945655" y="6632099"/>
                  <a:pt x="5955433" y="6635428"/>
                </a:cubicBezTo>
                <a:close/>
                <a:moveTo>
                  <a:pt x="396081" y="6635428"/>
                </a:moveTo>
                <a:cubicBezTo>
                  <a:pt x="405822" y="6638757"/>
                  <a:pt x="414376" y="6645891"/>
                  <a:pt x="419128" y="6656354"/>
                </a:cubicBezTo>
                <a:cubicBezTo>
                  <a:pt x="428631" y="6675378"/>
                  <a:pt x="421028" y="6700109"/>
                  <a:pt x="400120" y="6709621"/>
                </a:cubicBezTo>
                <a:cubicBezTo>
                  <a:pt x="400120" y="6709621"/>
                  <a:pt x="400120" y="6709621"/>
                  <a:pt x="97901" y="6858007"/>
                </a:cubicBezTo>
                <a:cubicBezTo>
                  <a:pt x="97901" y="6858007"/>
                  <a:pt x="97901" y="6858007"/>
                  <a:pt x="10466" y="6858007"/>
                </a:cubicBezTo>
                <a:cubicBezTo>
                  <a:pt x="10466" y="6858007"/>
                  <a:pt x="8566" y="6858007"/>
                  <a:pt x="8566" y="6858007"/>
                </a:cubicBezTo>
                <a:cubicBezTo>
                  <a:pt x="6665" y="6852300"/>
                  <a:pt x="4764" y="6844691"/>
                  <a:pt x="4764" y="6838983"/>
                </a:cubicBezTo>
                <a:cubicBezTo>
                  <a:pt x="4764" y="6823764"/>
                  <a:pt x="12367" y="6810448"/>
                  <a:pt x="27573" y="6802838"/>
                </a:cubicBezTo>
                <a:cubicBezTo>
                  <a:pt x="27573" y="6802838"/>
                  <a:pt x="27573" y="6802838"/>
                  <a:pt x="365906" y="6637331"/>
                </a:cubicBezTo>
                <a:cubicBezTo>
                  <a:pt x="375410" y="6632575"/>
                  <a:pt x="386339" y="6632099"/>
                  <a:pt x="396081" y="6635428"/>
                </a:cubicBezTo>
                <a:close/>
                <a:moveTo>
                  <a:pt x="5405387" y="6619812"/>
                </a:moveTo>
                <a:cubicBezTo>
                  <a:pt x="5414897" y="6622912"/>
                  <a:pt x="5422982" y="6630065"/>
                  <a:pt x="5427736" y="6640556"/>
                </a:cubicBezTo>
                <a:cubicBezTo>
                  <a:pt x="5437247" y="6659630"/>
                  <a:pt x="5429640" y="6682520"/>
                  <a:pt x="5410617" y="6693965"/>
                </a:cubicBezTo>
                <a:cubicBezTo>
                  <a:pt x="5410617" y="6693965"/>
                  <a:pt x="5410617" y="6693965"/>
                  <a:pt x="5083442" y="6858007"/>
                </a:cubicBezTo>
                <a:cubicBezTo>
                  <a:pt x="5083442" y="6858007"/>
                  <a:pt x="5083442" y="6858007"/>
                  <a:pt x="5028286" y="6858007"/>
                </a:cubicBezTo>
                <a:cubicBezTo>
                  <a:pt x="5024482" y="6856100"/>
                  <a:pt x="5022579" y="6852285"/>
                  <a:pt x="5020677" y="6846562"/>
                </a:cubicBezTo>
                <a:cubicBezTo>
                  <a:pt x="5016874" y="6840840"/>
                  <a:pt x="5014971" y="6835118"/>
                  <a:pt x="5014971" y="6829395"/>
                </a:cubicBezTo>
                <a:cubicBezTo>
                  <a:pt x="5014971" y="6814136"/>
                  <a:pt x="5024482" y="6800783"/>
                  <a:pt x="5037795" y="6793153"/>
                </a:cubicBezTo>
                <a:cubicBezTo>
                  <a:pt x="5037795" y="6793153"/>
                  <a:pt x="5037795" y="6793153"/>
                  <a:pt x="5374477" y="6623389"/>
                </a:cubicBezTo>
                <a:cubicBezTo>
                  <a:pt x="5384938" y="6617666"/>
                  <a:pt x="5395876" y="6616713"/>
                  <a:pt x="5405387" y="6619812"/>
                </a:cubicBezTo>
                <a:close/>
                <a:moveTo>
                  <a:pt x="939733" y="6619812"/>
                </a:moveTo>
                <a:cubicBezTo>
                  <a:pt x="949279" y="6622912"/>
                  <a:pt x="957871" y="6630065"/>
                  <a:pt x="963599" y="6640556"/>
                </a:cubicBezTo>
                <a:cubicBezTo>
                  <a:pt x="973146" y="6659630"/>
                  <a:pt x="965509" y="6682520"/>
                  <a:pt x="944506" y="6693965"/>
                </a:cubicBezTo>
                <a:cubicBezTo>
                  <a:pt x="944506" y="6693965"/>
                  <a:pt x="944506" y="6693965"/>
                  <a:pt x="618014" y="6858007"/>
                </a:cubicBezTo>
                <a:cubicBezTo>
                  <a:pt x="618014" y="6858007"/>
                  <a:pt x="618014" y="6858007"/>
                  <a:pt x="562644" y="6858007"/>
                </a:cubicBezTo>
                <a:cubicBezTo>
                  <a:pt x="558825" y="6856100"/>
                  <a:pt x="555007" y="6852285"/>
                  <a:pt x="553097" y="6846562"/>
                </a:cubicBezTo>
                <a:cubicBezTo>
                  <a:pt x="549279" y="6840840"/>
                  <a:pt x="549279" y="6835118"/>
                  <a:pt x="549279" y="6829395"/>
                </a:cubicBezTo>
                <a:cubicBezTo>
                  <a:pt x="549279" y="6814136"/>
                  <a:pt x="556916" y="6800783"/>
                  <a:pt x="570281" y="6793153"/>
                </a:cubicBezTo>
                <a:cubicBezTo>
                  <a:pt x="570281" y="6793153"/>
                  <a:pt x="570281" y="6793153"/>
                  <a:pt x="910138" y="6623389"/>
                </a:cubicBezTo>
                <a:cubicBezTo>
                  <a:pt x="919685" y="6617666"/>
                  <a:pt x="930186" y="6616712"/>
                  <a:pt x="939733" y="6619812"/>
                </a:cubicBezTo>
                <a:close/>
                <a:moveTo>
                  <a:pt x="4850594" y="6606634"/>
                </a:moveTo>
                <a:cubicBezTo>
                  <a:pt x="4860350" y="6609734"/>
                  <a:pt x="4868920" y="6616409"/>
                  <a:pt x="4873677" y="6625946"/>
                </a:cubicBezTo>
                <a:cubicBezTo>
                  <a:pt x="4883197" y="6645019"/>
                  <a:pt x="4875583" y="6667906"/>
                  <a:pt x="4856543" y="6677443"/>
                </a:cubicBezTo>
                <a:cubicBezTo>
                  <a:pt x="4856543" y="6677443"/>
                  <a:pt x="4856543" y="6677443"/>
                  <a:pt x="4519613" y="6852914"/>
                </a:cubicBezTo>
                <a:cubicBezTo>
                  <a:pt x="4500580" y="6864357"/>
                  <a:pt x="4477736" y="6856728"/>
                  <a:pt x="4466313" y="6837655"/>
                </a:cubicBezTo>
                <a:cubicBezTo>
                  <a:pt x="4464410" y="6831933"/>
                  <a:pt x="4462507" y="6824304"/>
                  <a:pt x="4462507" y="6818582"/>
                </a:cubicBezTo>
                <a:cubicBezTo>
                  <a:pt x="4462507" y="6805231"/>
                  <a:pt x="4470121" y="6791880"/>
                  <a:pt x="4483447" y="6784251"/>
                </a:cubicBezTo>
                <a:cubicBezTo>
                  <a:pt x="4483447" y="6784251"/>
                  <a:pt x="4483447" y="6784251"/>
                  <a:pt x="4820372" y="6608780"/>
                </a:cubicBezTo>
                <a:cubicBezTo>
                  <a:pt x="4829889" y="6604012"/>
                  <a:pt x="4840835" y="6603535"/>
                  <a:pt x="4850594" y="6606634"/>
                </a:cubicBezTo>
                <a:close/>
                <a:moveTo>
                  <a:pt x="1485698" y="6606634"/>
                </a:moveTo>
                <a:cubicBezTo>
                  <a:pt x="1494978" y="6609734"/>
                  <a:pt x="1503069" y="6616409"/>
                  <a:pt x="1507827" y="6625946"/>
                </a:cubicBezTo>
                <a:cubicBezTo>
                  <a:pt x="1519249" y="6645019"/>
                  <a:pt x="1511635" y="6667906"/>
                  <a:pt x="1492599" y="6677443"/>
                </a:cubicBezTo>
                <a:cubicBezTo>
                  <a:pt x="1492599" y="6677443"/>
                  <a:pt x="1492599" y="6677443"/>
                  <a:pt x="1153761" y="6852914"/>
                </a:cubicBezTo>
                <a:cubicBezTo>
                  <a:pt x="1134725" y="6864357"/>
                  <a:pt x="1111882" y="6856728"/>
                  <a:pt x="1102364" y="6837655"/>
                </a:cubicBezTo>
                <a:cubicBezTo>
                  <a:pt x="1098557" y="6831933"/>
                  <a:pt x="1098557" y="6824304"/>
                  <a:pt x="1098557" y="6818582"/>
                </a:cubicBezTo>
                <a:cubicBezTo>
                  <a:pt x="1098557" y="6805231"/>
                  <a:pt x="1106171" y="6791880"/>
                  <a:pt x="1119496" y="6784251"/>
                </a:cubicBezTo>
                <a:cubicBezTo>
                  <a:pt x="1119496" y="6784251"/>
                  <a:pt x="1119496" y="6784251"/>
                  <a:pt x="1456431" y="6608780"/>
                </a:cubicBezTo>
                <a:cubicBezTo>
                  <a:pt x="1465948" y="6604012"/>
                  <a:pt x="1476418" y="6603535"/>
                  <a:pt x="1485698" y="6606634"/>
                </a:cubicBezTo>
                <a:close/>
                <a:moveTo>
                  <a:pt x="4291129" y="6592973"/>
                </a:moveTo>
                <a:cubicBezTo>
                  <a:pt x="4300416" y="6595593"/>
                  <a:pt x="4308514" y="6601784"/>
                  <a:pt x="4313276" y="6611309"/>
                </a:cubicBezTo>
                <a:cubicBezTo>
                  <a:pt x="4322801" y="6630359"/>
                  <a:pt x="4317086" y="6653219"/>
                  <a:pt x="4298035" y="6662744"/>
                </a:cubicBezTo>
                <a:cubicBezTo>
                  <a:pt x="4298035" y="6662744"/>
                  <a:pt x="4298035" y="6662744"/>
                  <a:pt x="3960866" y="6841814"/>
                </a:cubicBezTo>
                <a:cubicBezTo>
                  <a:pt x="3941817" y="6853244"/>
                  <a:pt x="3918955" y="6845624"/>
                  <a:pt x="3909430" y="6826574"/>
                </a:cubicBezTo>
                <a:cubicBezTo>
                  <a:pt x="3905620" y="6820859"/>
                  <a:pt x="3903713" y="6815144"/>
                  <a:pt x="3903713" y="6809429"/>
                </a:cubicBezTo>
                <a:cubicBezTo>
                  <a:pt x="3903713" y="6796094"/>
                  <a:pt x="3911334" y="6782759"/>
                  <a:pt x="3924671" y="6775139"/>
                </a:cubicBezTo>
                <a:cubicBezTo>
                  <a:pt x="3924671" y="6775139"/>
                  <a:pt x="3924671" y="6775139"/>
                  <a:pt x="4261838" y="6596069"/>
                </a:cubicBezTo>
                <a:cubicBezTo>
                  <a:pt x="4271364" y="6591306"/>
                  <a:pt x="4281843" y="6590354"/>
                  <a:pt x="4291129" y="6592973"/>
                </a:cubicBezTo>
                <a:close/>
                <a:moveTo>
                  <a:pt x="2037015" y="6592973"/>
                </a:moveTo>
                <a:cubicBezTo>
                  <a:pt x="2046302" y="6595592"/>
                  <a:pt x="2054881" y="6601784"/>
                  <a:pt x="2060595" y="6611309"/>
                </a:cubicBezTo>
                <a:cubicBezTo>
                  <a:pt x="2070120" y="6630359"/>
                  <a:pt x="2062500" y="6653219"/>
                  <a:pt x="2043444" y="6662744"/>
                </a:cubicBezTo>
                <a:cubicBezTo>
                  <a:pt x="2043444" y="6662744"/>
                  <a:pt x="2043444" y="6662744"/>
                  <a:pt x="1706255" y="6841814"/>
                </a:cubicBezTo>
                <a:cubicBezTo>
                  <a:pt x="1687205" y="6853244"/>
                  <a:pt x="1664344" y="6845624"/>
                  <a:pt x="1654819" y="6826574"/>
                </a:cubicBezTo>
                <a:cubicBezTo>
                  <a:pt x="1652914" y="6820859"/>
                  <a:pt x="1651009" y="6815144"/>
                  <a:pt x="1651009" y="6809429"/>
                </a:cubicBezTo>
                <a:cubicBezTo>
                  <a:pt x="1651009" y="6796094"/>
                  <a:pt x="1658629" y="6782759"/>
                  <a:pt x="1670059" y="6775139"/>
                </a:cubicBezTo>
                <a:cubicBezTo>
                  <a:pt x="1670059" y="6775139"/>
                  <a:pt x="1670059" y="6775139"/>
                  <a:pt x="2009154" y="6596069"/>
                </a:cubicBezTo>
                <a:cubicBezTo>
                  <a:pt x="2017726" y="6591306"/>
                  <a:pt x="2027728" y="6590354"/>
                  <a:pt x="2037015" y="6592973"/>
                </a:cubicBezTo>
                <a:close/>
                <a:moveTo>
                  <a:pt x="3727789" y="6578033"/>
                </a:moveTo>
                <a:cubicBezTo>
                  <a:pt x="3736844" y="6580647"/>
                  <a:pt x="3744949" y="6586823"/>
                  <a:pt x="3749716" y="6595376"/>
                </a:cubicBezTo>
                <a:cubicBezTo>
                  <a:pt x="3759247" y="6614381"/>
                  <a:pt x="3753527" y="6635287"/>
                  <a:pt x="3734462" y="6646690"/>
                </a:cubicBezTo>
                <a:cubicBezTo>
                  <a:pt x="3734462" y="6646690"/>
                  <a:pt x="3734462" y="6646690"/>
                  <a:pt x="3397032" y="6831042"/>
                </a:cubicBezTo>
                <a:cubicBezTo>
                  <a:pt x="3379870" y="6840544"/>
                  <a:pt x="3356992" y="6832942"/>
                  <a:pt x="3347462" y="6815837"/>
                </a:cubicBezTo>
                <a:cubicBezTo>
                  <a:pt x="3343646" y="6810136"/>
                  <a:pt x="3341741" y="6804434"/>
                  <a:pt x="3341741" y="6798733"/>
                </a:cubicBezTo>
                <a:cubicBezTo>
                  <a:pt x="3341741" y="6785429"/>
                  <a:pt x="3349366" y="6772125"/>
                  <a:pt x="3362712" y="6764523"/>
                </a:cubicBezTo>
                <a:cubicBezTo>
                  <a:pt x="3362712" y="6764523"/>
                  <a:pt x="3362712" y="6764523"/>
                  <a:pt x="3700143" y="6582072"/>
                </a:cubicBezTo>
                <a:cubicBezTo>
                  <a:pt x="3708723" y="6576370"/>
                  <a:pt x="3718732" y="6575420"/>
                  <a:pt x="3727789" y="6578033"/>
                </a:cubicBezTo>
                <a:close/>
                <a:moveTo>
                  <a:pt x="2592701" y="6578033"/>
                </a:moveTo>
                <a:cubicBezTo>
                  <a:pt x="2601757" y="6580646"/>
                  <a:pt x="2609859" y="6586823"/>
                  <a:pt x="2614625" y="6595376"/>
                </a:cubicBezTo>
                <a:cubicBezTo>
                  <a:pt x="2624159" y="6614381"/>
                  <a:pt x="2618439" y="6635287"/>
                  <a:pt x="2599374" y="6646690"/>
                </a:cubicBezTo>
                <a:cubicBezTo>
                  <a:pt x="2599374" y="6646690"/>
                  <a:pt x="2599374" y="6646690"/>
                  <a:pt x="2261929" y="6831042"/>
                </a:cubicBezTo>
                <a:cubicBezTo>
                  <a:pt x="2244770" y="6840544"/>
                  <a:pt x="2221893" y="6832942"/>
                  <a:pt x="2212361" y="6815837"/>
                </a:cubicBezTo>
                <a:cubicBezTo>
                  <a:pt x="2208547" y="6810136"/>
                  <a:pt x="2206641" y="6804434"/>
                  <a:pt x="2206641" y="6798733"/>
                </a:cubicBezTo>
                <a:cubicBezTo>
                  <a:pt x="2206641" y="6785429"/>
                  <a:pt x="2214267" y="6772125"/>
                  <a:pt x="2225706" y="6764523"/>
                </a:cubicBezTo>
                <a:cubicBezTo>
                  <a:pt x="2225706" y="6764523"/>
                  <a:pt x="2225706" y="6764523"/>
                  <a:pt x="2565057" y="6582072"/>
                </a:cubicBezTo>
                <a:cubicBezTo>
                  <a:pt x="2573636" y="6576370"/>
                  <a:pt x="2583648" y="6575420"/>
                  <a:pt x="2592701" y="6578033"/>
                </a:cubicBezTo>
                <a:close/>
                <a:moveTo>
                  <a:pt x="3153211" y="6564138"/>
                </a:moveTo>
                <a:cubicBezTo>
                  <a:pt x="3162241" y="6566511"/>
                  <a:pt x="3170320" y="6572206"/>
                  <a:pt x="3175070" y="6580749"/>
                </a:cubicBezTo>
                <a:cubicBezTo>
                  <a:pt x="3184574" y="6599732"/>
                  <a:pt x="3178873" y="6620614"/>
                  <a:pt x="3161766" y="6630106"/>
                </a:cubicBezTo>
                <a:cubicBezTo>
                  <a:pt x="3161766" y="6630106"/>
                  <a:pt x="3161766" y="6630106"/>
                  <a:pt x="2825350" y="6819941"/>
                </a:cubicBezTo>
                <a:cubicBezTo>
                  <a:pt x="2808242" y="6829432"/>
                  <a:pt x="2785433" y="6823737"/>
                  <a:pt x="2775931" y="6804754"/>
                </a:cubicBezTo>
                <a:cubicBezTo>
                  <a:pt x="2772130" y="6799059"/>
                  <a:pt x="2770229" y="6793364"/>
                  <a:pt x="2770229" y="6787669"/>
                </a:cubicBezTo>
                <a:cubicBezTo>
                  <a:pt x="2770229" y="6774380"/>
                  <a:pt x="2777831" y="6762990"/>
                  <a:pt x="2789236" y="6757295"/>
                </a:cubicBezTo>
                <a:cubicBezTo>
                  <a:pt x="2789236" y="6757295"/>
                  <a:pt x="2789236" y="6757295"/>
                  <a:pt x="3125653" y="6567460"/>
                </a:cubicBezTo>
                <a:cubicBezTo>
                  <a:pt x="3134208" y="6562715"/>
                  <a:pt x="3144185" y="6561765"/>
                  <a:pt x="3153211" y="6564138"/>
                </a:cubicBezTo>
                <a:close/>
                <a:moveTo>
                  <a:pt x="9862101" y="6403755"/>
                </a:moveTo>
                <a:cubicBezTo>
                  <a:pt x="9878927" y="6403933"/>
                  <a:pt x="9895752" y="6414278"/>
                  <a:pt x="9902911" y="6429975"/>
                </a:cubicBezTo>
                <a:cubicBezTo>
                  <a:pt x="9912457" y="6452806"/>
                  <a:pt x="9902911" y="6477539"/>
                  <a:pt x="9880000" y="6487052"/>
                </a:cubicBezTo>
                <a:lnTo>
                  <a:pt x="9540159" y="6637356"/>
                </a:lnTo>
                <a:cubicBezTo>
                  <a:pt x="9517248" y="6646869"/>
                  <a:pt x="9492429" y="6635453"/>
                  <a:pt x="9482882" y="6614525"/>
                </a:cubicBezTo>
                <a:cubicBezTo>
                  <a:pt x="9479064" y="6608817"/>
                  <a:pt x="9479064" y="6603109"/>
                  <a:pt x="9479064" y="6597402"/>
                </a:cubicBezTo>
                <a:cubicBezTo>
                  <a:pt x="9479064" y="6580278"/>
                  <a:pt x="9488610" y="6565058"/>
                  <a:pt x="9505793" y="6557447"/>
                </a:cubicBezTo>
                <a:cubicBezTo>
                  <a:pt x="9505793" y="6557447"/>
                  <a:pt x="9505793" y="6557447"/>
                  <a:pt x="9845634" y="6407144"/>
                </a:cubicBezTo>
                <a:cubicBezTo>
                  <a:pt x="9850884" y="6404766"/>
                  <a:pt x="9856493" y="6403695"/>
                  <a:pt x="9862101" y="6403755"/>
                </a:cubicBezTo>
                <a:close/>
                <a:moveTo>
                  <a:pt x="10444609" y="6390314"/>
                </a:moveTo>
                <a:cubicBezTo>
                  <a:pt x="10460837" y="6389686"/>
                  <a:pt x="10476531" y="6400097"/>
                  <a:pt x="10483665" y="6415894"/>
                </a:cubicBezTo>
                <a:cubicBezTo>
                  <a:pt x="10495078" y="6436955"/>
                  <a:pt x="10483665" y="6463761"/>
                  <a:pt x="10462740" y="6473334"/>
                </a:cubicBezTo>
                <a:cubicBezTo>
                  <a:pt x="10462740" y="6473334"/>
                  <a:pt x="10462740" y="6473334"/>
                  <a:pt x="10124143" y="6624595"/>
                </a:cubicBezTo>
                <a:cubicBezTo>
                  <a:pt x="10101317" y="6634169"/>
                  <a:pt x="10076588" y="6624595"/>
                  <a:pt x="10067076" y="6603534"/>
                </a:cubicBezTo>
                <a:cubicBezTo>
                  <a:pt x="10065174" y="6597790"/>
                  <a:pt x="10063272" y="6592045"/>
                  <a:pt x="10063272" y="6586301"/>
                </a:cubicBezTo>
                <a:cubicBezTo>
                  <a:pt x="10063272" y="6569069"/>
                  <a:pt x="10072783" y="6553752"/>
                  <a:pt x="10088001" y="6546093"/>
                </a:cubicBezTo>
                <a:cubicBezTo>
                  <a:pt x="10088001" y="6546093"/>
                  <a:pt x="10088001" y="6546093"/>
                  <a:pt x="10428500" y="6394832"/>
                </a:cubicBezTo>
                <a:cubicBezTo>
                  <a:pt x="10433731" y="6391960"/>
                  <a:pt x="10439200" y="6390524"/>
                  <a:pt x="10444609" y="6390314"/>
                </a:cubicBezTo>
                <a:close/>
                <a:moveTo>
                  <a:pt x="9283606" y="6390314"/>
                </a:moveTo>
                <a:cubicBezTo>
                  <a:pt x="9300650" y="6389686"/>
                  <a:pt x="9316354" y="6400097"/>
                  <a:pt x="9323493" y="6415894"/>
                </a:cubicBezTo>
                <a:cubicBezTo>
                  <a:pt x="9333011" y="6436955"/>
                  <a:pt x="9323493" y="6463761"/>
                  <a:pt x="9302553" y="6473334"/>
                </a:cubicBezTo>
                <a:cubicBezTo>
                  <a:pt x="9302553" y="6473334"/>
                  <a:pt x="9302553" y="6473334"/>
                  <a:pt x="8961805" y="6624595"/>
                </a:cubicBezTo>
                <a:cubicBezTo>
                  <a:pt x="8940865" y="6634169"/>
                  <a:pt x="8916118" y="6624595"/>
                  <a:pt x="8906600" y="6603534"/>
                </a:cubicBezTo>
                <a:cubicBezTo>
                  <a:pt x="8902793" y="6597790"/>
                  <a:pt x="8902793" y="6592045"/>
                  <a:pt x="8902793" y="6586301"/>
                </a:cubicBezTo>
                <a:cubicBezTo>
                  <a:pt x="8902793" y="6569069"/>
                  <a:pt x="8912311" y="6553752"/>
                  <a:pt x="8927540" y="6546093"/>
                </a:cubicBezTo>
                <a:cubicBezTo>
                  <a:pt x="8927540" y="6546093"/>
                  <a:pt x="8927540" y="6546093"/>
                  <a:pt x="9266384" y="6394832"/>
                </a:cubicBezTo>
                <a:cubicBezTo>
                  <a:pt x="9272095" y="6391960"/>
                  <a:pt x="9277925" y="6390524"/>
                  <a:pt x="9283606" y="6390314"/>
                </a:cubicBezTo>
                <a:close/>
                <a:moveTo>
                  <a:pt x="11020686" y="6377294"/>
                </a:moveTo>
                <a:cubicBezTo>
                  <a:pt x="11037076" y="6376226"/>
                  <a:pt x="11053197" y="6385845"/>
                  <a:pt x="11061795" y="6402947"/>
                </a:cubicBezTo>
                <a:cubicBezTo>
                  <a:pt x="11071348" y="6423849"/>
                  <a:pt x="11061795" y="6448552"/>
                  <a:pt x="11038867" y="6458052"/>
                </a:cubicBezTo>
                <a:cubicBezTo>
                  <a:pt x="11038867" y="6458052"/>
                  <a:pt x="11038867" y="6458052"/>
                  <a:pt x="10698772" y="6611968"/>
                </a:cubicBezTo>
                <a:cubicBezTo>
                  <a:pt x="10677755" y="6621469"/>
                  <a:pt x="10652917" y="6611968"/>
                  <a:pt x="10643363" y="6591066"/>
                </a:cubicBezTo>
                <a:cubicBezTo>
                  <a:pt x="10639542" y="6585365"/>
                  <a:pt x="10639542" y="6579665"/>
                  <a:pt x="10639542" y="6573964"/>
                </a:cubicBezTo>
                <a:cubicBezTo>
                  <a:pt x="10639542" y="6556862"/>
                  <a:pt x="10647185" y="6541661"/>
                  <a:pt x="10664380" y="6534060"/>
                </a:cubicBezTo>
                <a:cubicBezTo>
                  <a:pt x="10664380" y="6534060"/>
                  <a:pt x="10664380" y="6534060"/>
                  <a:pt x="11004475" y="6382045"/>
                </a:cubicBezTo>
                <a:cubicBezTo>
                  <a:pt x="11009729" y="6379195"/>
                  <a:pt x="11015222" y="6377651"/>
                  <a:pt x="11020686" y="6377294"/>
                </a:cubicBezTo>
                <a:close/>
                <a:moveTo>
                  <a:pt x="8711110" y="6377294"/>
                </a:moveTo>
                <a:cubicBezTo>
                  <a:pt x="8727948" y="6376226"/>
                  <a:pt x="8744786" y="6385845"/>
                  <a:pt x="8751951" y="6402947"/>
                </a:cubicBezTo>
                <a:cubicBezTo>
                  <a:pt x="8761504" y="6423849"/>
                  <a:pt x="8751951" y="6448552"/>
                  <a:pt x="8730934" y="6458052"/>
                </a:cubicBezTo>
                <a:cubicBezTo>
                  <a:pt x="8730934" y="6458052"/>
                  <a:pt x="8730934" y="6458052"/>
                  <a:pt x="8388928" y="6611968"/>
                </a:cubicBezTo>
                <a:cubicBezTo>
                  <a:pt x="8367911" y="6621469"/>
                  <a:pt x="8343073" y="6611968"/>
                  <a:pt x="8333519" y="6591066"/>
                </a:cubicBezTo>
                <a:cubicBezTo>
                  <a:pt x="8329698" y="6585365"/>
                  <a:pt x="8329698" y="6579665"/>
                  <a:pt x="8329698" y="6573964"/>
                </a:cubicBezTo>
                <a:cubicBezTo>
                  <a:pt x="8329698" y="6556862"/>
                  <a:pt x="8339251" y="6541661"/>
                  <a:pt x="8354536" y="6534060"/>
                </a:cubicBezTo>
                <a:cubicBezTo>
                  <a:pt x="8354536" y="6534060"/>
                  <a:pt x="8354536" y="6534060"/>
                  <a:pt x="8694631" y="6382045"/>
                </a:cubicBezTo>
                <a:cubicBezTo>
                  <a:pt x="8699885" y="6379195"/>
                  <a:pt x="8705498" y="6377651"/>
                  <a:pt x="8711110" y="6377294"/>
                </a:cubicBezTo>
                <a:close/>
                <a:moveTo>
                  <a:pt x="8145353" y="6364557"/>
                </a:moveTo>
                <a:cubicBezTo>
                  <a:pt x="8162396" y="6363400"/>
                  <a:pt x="8178101" y="6372652"/>
                  <a:pt x="8185240" y="6388309"/>
                </a:cubicBezTo>
                <a:cubicBezTo>
                  <a:pt x="8194758" y="6411083"/>
                  <a:pt x="8185240" y="6435755"/>
                  <a:pt x="8164300" y="6445244"/>
                </a:cubicBezTo>
                <a:cubicBezTo>
                  <a:pt x="8164300" y="6445244"/>
                  <a:pt x="8164300" y="6445244"/>
                  <a:pt x="7825456" y="6600868"/>
                </a:cubicBezTo>
                <a:cubicBezTo>
                  <a:pt x="7804516" y="6610357"/>
                  <a:pt x="7779769" y="6600868"/>
                  <a:pt x="7768347" y="6579991"/>
                </a:cubicBezTo>
                <a:cubicBezTo>
                  <a:pt x="7766443" y="6574298"/>
                  <a:pt x="7764540" y="6568604"/>
                  <a:pt x="7764540" y="6562911"/>
                </a:cubicBezTo>
                <a:cubicBezTo>
                  <a:pt x="7764540" y="6545830"/>
                  <a:pt x="7774058" y="6530647"/>
                  <a:pt x="7789287" y="6523056"/>
                </a:cubicBezTo>
                <a:cubicBezTo>
                  <a:pt x="7789287" y="6523056"/>
                  <a:pt x="7789287" y="6523056"/>
                  <a:pt x="8128131" y="6369331"/>
                </a:cubicBezTo>
                <a:cubicBezTo>
                  <a:pt x="8133842" y="6366484"/>
                  <a:pt x="8139672" y="6364942"/>
                  <a:pt x="8145353" y="6364557"/>
                </a:cubicBezTo>
                <a:close/>
                <a:moveTo>
                  <a:pt x="11589455" y="6364556"/>
                </a:moveTo>
                <a:cubicBezTo>
                  <a:pt x="11605707" y="6363400"/>
                  <a:pt x="11621424" y="6372652"/>
                  <a:pt x="11628568" y="6388309"/>
                </a:cubicBezTo>
                <a:cubicBezTo>
                  <a:pt x="11638093" y="6411083"/>
                  <a:pt x="11630473" y="6435755"/>
                  <a:pt x="11607613" y="6445244"/>
                </a:cubicBezTo>
                <a:cubicBezTo>
                  <a:pt x="11607613" y="6445244"/>
                  <a:pt x="11607613" y="6445244"/>
                  <a:pt x="11268518" y="6600868"/>
                </a:cubicBezTo>
                <a:cubicBezTo>
                  <a:pt x="11247563" y="6610357"/>
                  <a:pt x="11222797" y="6600868"/>
                  <a:pt x="11213272" y="6579991"/>
                </a:cubicBezTo>
                <a:cubicBezTo>
                  <a:pt x="11211367" y="6574298"/>
                  <a:pt x="11209462" y="6568604"/>
                  <a:pt x="11209462" y="6562911"/>
                </a:cubicBezTo>
                <a:cubicBezTo>
                  <a:pt x="11209462" y="6545830"/>
                  <a:pt x="11218987" y="6530647"/>
                  <a:pt x="11234227" y="6523056"/>
                </a:cubicBezTo>
                <a:cubicBezTo>
                  <a:pt x="11234227" y="6523056"/>
                  <a:pt x="11234227" y="6523056"/>
                  <a:pt x="11573322" y="6369331"/>
                </a:cubicBezTo>
                <a:cubicBezTo>
                  <a:pt x="11578561" y="6366484"/>
                  <a:pt x="11584038" y="6364942"/>
                  <a:pt x="11589455" y="6364556"/>
                </a:cubicBezTo>
                <a:close/>
                <a:moveTo>
                  <a:pt x="12139750" y="6353181"/>
                </a:moveTo>
                <a:cubicBezTo>
                  <a:pt x="12139750" y="6353181"/>
                  <a:pt x="12139750" y="6353181"/>
                  <a:pt x="12139750" y="6444739"/>
                </a:cubicBezTo>
                <a:cubicBezTo>
                  <a:pt x="12139750" y="6444739"/>
                  <a:pt x="12139750" y="6444739"/>
                  <a:pt x="11833573" y="6587799"/>
                </a:cubicBezTo>
                <a:cubicBezTo>
                  <a:pt x="11812654" y="6599244"/>
                  <a:pt x="11787932" y="6589706"/>
                  <a:pt x="11778423" y="6568724"/>
                </a:cubicBezTo>
                <a:cubicBezTo>
                  <a:pt x="11774620" y="6563002"/>
                  <a:pt x="11774620" y="6557280"/>
                  <a:pt x="11774620" y="6551557"/>
                </a:cubicBezTo>
                <a:cubicBezTo>
                  <a:pt x="11774620" y="6534390"/>
                  <a:pt x="11782227" y="6519130"/>
                  <a:pt x="11797441" y="6513408"/>
                </a:cubicBezTo>
                <a:lnTo>
                  <a:pt x="12135947" y="6355088"/>
                </a:lnTo>
                <a:cubicBezTo>
                  <a:pt x="12137848" y="6353181"/>
                  <a:pt x="12139750" y="6353181"/>
                  <a:pt x="12139750" y="6353181"/>
                </a:cubicBezTo>
                <a:close/>
                <a:moveTo>
                  <a:pt x="7585725" y="6350302"/>
                </a:moveTo>
                <a:cubicBezTo>
                  <a:pt x="7601977" y="6349140"/>
                  <a:pt x="7617694" y="6358438"/>
                  <a:pt x="7624838" y="6374174"/>
                </a:cubicBezTo>
                <a:cubicBezTo>
                  <a:pt x="7634363" y="6395155"/>
                  <a:pt x="7624838" y="6419951"/>
                  <a:pt x="7605787" y="6429488"/>
                </a:cubicBezTo>
                <a:cubicBezTo>
                  <a:pt x="7605787" y="6429488"/>
                  <a:pt x="7605787" y="6429488"/>
                  <a:pt x="7264788" y="6587800"/>
                </a:cubicBezTo>
                <a:cubicBezTo>
                  <a:pt x="7243832" y="6599244"/>
                  <a:pt x="7219067" y="6589707"/>
                  <a:pt x="7209542" y="6568726"/>
                </a:cubicBezTo>
                <a:cubicBezTo>
                  <a:pt x="7207637" y="6563004"/>
                  <a:pt x="7205732" y="6557282"/>
                  <a:pt x="7205732" y="6551559"/>
                </a:cubicBezTo>
                <a:cubicBezTo>
                  <a:pt x="7205732" y="6534393"/>
                  <a:pt x="7215257" y="6519134"/>
                  <a:pt x="7230497" y="6513412"/>
                </a:cubicBezTo>
                <a:cubicBezTo>
                  <a:pt x="7230497" y="6513412"/>
                  <a:pt x="7230497" y="6513412"/>
                  <a:pt x="7569592" y="6355100"/>
                </a:cubicBezTo>
                <a:cubicBezTo>
                  <a:pt x="7574831" y="6352239"/>
                  <a:pt x="7580308" y="6350689"/>
                  <a:pt x="7585725" y="6350302"/>
                </a:cubicBezTo>
                <a:close/>
                <a:moveTo>
                  <a:pt x="7049044" y="6340183"/>
                </a:moveTo>
                <a:cubicBezTo>
                  <a:pt x="7059045" y="6343525"/>
                  <a:pt x="7067618" y="6350687"/>
                  <a:pt x="7072381" y="6361190"/>
                </a:cubicBezTo>
                <a:cubicBezTo>
                  <a:pt x="7081906" y="6382198"/>
                  <a:pt x="7072381" y="6407025"/>
                  <a:pt x="7051425" y="6416574"/>
                </a:cubicBezTo>
                <a:cubicBezTo>
                  <a:pt x="7051425" y="6416574"/>
                  <a:pt x="7051425" y="6416574"/>
                  <a:pt x="6714236" y="6576995"/>
                </a:cubicBezTo>
                <a:cubicBezTo>
                  <a:pt x="6693280" y="6586544"/>
                  <a:pt x="6668515" y="6578905"/>
                  <a:pt x="6658990" y="6557897"/>
                </a:cubicBezTo>
                <a:cubicBezTo>
                  <a:pt x="6655180" y="6552168"/>
                  <a:pt x="6653275" y="6546438"/>
                  <a:pt x="6653275" y="6540709"/>
                </a:cubicBezTo>
                <a:cubicBezTo>
                  <a:pt x="6653275" y="6523521"/>
                  <a:pt x="6662800" y="6510153"/>
                  <a:pt x="6678040" y="6502514"/>
                </a:cubicBezTo>
                <a:cubicBezTo>
                  <a:pt x="6678040" y="6502514"/>
                  <a:pt x="6678040" y="6502514"/>
                  <a:pt x="7017135" y="6342093"/>
                </a:cubicBezTo>
                <a:cubicBezTo>
                  <a:pt x="7027612" y="6337318"/>
                  <a:pt x="7039043" y="6336841"/>
                  <a:pt x="7049044" y="6340183"/>
                </a:cubicBezTo>
                <a:close/>
                <a:moveTo>
                  <a:pt x="6502912" y="6327426"/>
                </a:moveTo>
                <a:cubicBezTo>
                  <a:pt x="6512921" y="6330743"/>
                  <a:pt x="6521500" y="6337851"/>
                  <a:pt x="6526266" y="6348277"/>
                </a:cubicBezTo>
                <a:cubicBezTo>
                  <a:pt x="6535798" y="6367232"/>
                  <a:pt x="6528172" y="6391874"/>
                  <a:pt x="6507201" y="6401351"/>
                </a:cubicBezTo>
                <a:cubicBezTo>
                  <a:pt x="6507201" y="6401351"/>
                  <a:pt x="6507201" y="6401351"/>
                  <a:pt x="6167854" y="6564366"/>
                </a:cubicBezTo>
                <a:cubicBezTo>
                  <a:pt x="6146884" y="6573844"/>
                  <a:pt x="6122100" y="6566262"/>
                  <a:pt x="6112568" y="6545411"/>
                </a:cubicBezTo>
                <a:cubicBezTo>
                  <a:pt x="6110661" y="6539724"/>
                  <a:pt x="6108755" y="6534038"/>
                  <a:pt x="6108755" y="6528351"/>
                </a:cubicBezTo>
                <a:cubicBezTo>
                  <a:pt x="6108755" y="6513187"/>
                  <a:pt x="6118287" y="6498023"/>
                  <a:pt x="6131632" y="6490441"/>
                </a:cubicBezTo>
                <a:cubicBezTo>
                  <a:pt x="6131632" y="6490441"/>
                  <a:pt x="6131632" y="6490441"/>
                  <a:pt x="6470979" y="6329321"/>
                </a:cubicBezTo>
                <a:cubicBezTo>
                  <a:pt x="6481464" y="6324583"/>
                  <a:pt x="6492903" y="6324109"/>
                  <a:pt x="6502912" y="6327426"/>
                </a:cubicBezTo>
                <a:close/>
                <a:moveTo>
                  <a:pt x="5955853" y="6313176"/>
                </a:moveTo>
                <a:cubicBezTo>
                  <a:pt x="5965384" y="6316510"/>
                  <a:pt x="5973487" y="6323653"/>
                  <a:pt x="5978253" y="6334131"/>
                </a:cubicBezTo>
                <a:cubicBezTo>
                  <a:pt x="5989691" y="6353181"/>
                  <a:pt x="5980159" y="6377946"/>
                  <a:pt x="5961095" y="6387471"/>
                </a:cubicBezTo>
                <a:cubicBezTo>
                  <a:pt x="5961095" y="6387471"/>
                  <a:pt x="5961095" y="6387471"/>
                  <a:pt x="5621756" y="6553206"/>
                </a:cubicBezTo>
                <a:cubicBezTo>
                  <a:pt x="5600786" y="6562731"/>
                  <a:pt x="5576002" y="6553206"/>
                  <a:pt x="5566471" y="6534156"/>
                </a:cubicBezTo>
                <a:cubicBezTo>
                  <a:pt x="5564565" y="6528441"/>
                  <a:pt x="5562658" y="6522726"/>
                  <a:pt x="5562658" y="6517011"/>
                </a:cubicBezTo>
                <a:cubicBezTo>
                  <a:pt x="5562658" y="6501771"/>
                  <a:pt x="5572190" y="6486531"/>
                  <a:pt x="5585535" y="6478911"/>
                </a:cubicBezTo>
                <a:cubicBezTo>
                  <a:pt x="5585535" y="6478911"/>
                  <a:pt x="5585535" y="6478911"/>
                  <a:pt x="5924874" y="6315081"/>
                </a:cubicBezTo>
                <a:cubicBezTo>
                  <a:pt x="5935360" y="6310318"/>
                  <a:pt x="5946321" y="6309842"/>
                  <a:pt x="5955853" y="6313176"/>
                </a:cubicBezTo>
                <a:close/>
                <a:moveTo>
                  <a:pt x="396081" y="6313176"/>
                </a:moveTo>
                <a:cubicBezTo>
                  <a:pt x="405822" y="6316509"/>
                  <a:pt x="414375" y="6323653"/>
                  <a:pt x="419127" y="6334131"/>
                </a:cubicBezTo>
                <a:cubicBezTo>
                  <a:pt x="428631" y="6353181"/>
                  <a:pt x="421028" y="6377946"/>
                  <a:pt x="400120" y="6387471"/>
                </a:cubicBezTo>
                <a:cubicBezTo>
                  <a:pt x="400120" y="6387471"/>
                  <a:pt x="400120" y="6387471"/>
                  <a:pt x="63687" y="6553206"/>
                </a:cubicBezTo>
                <a:cubicBezTo>
                  <a:pt x="42779" y="6562731"/>
                  <a:pt x="18069" y="6553206"/>
                  <a:pt x="8565" y="6534156"/>
                </a:cubicBezTo>
                <a:cubicBezTo>
                  <a:pt x="6665" y="6528441"/>
                  <a:pt x="4764" y="6522726"/>
                  <a:pt x="4764" y="6517011"/>
                </a:cubicBezTo>
                <a:cubicBezTo>
                  <a:pt x="4764" y="6501771"/>
                  <a:pt x="12367" y="6486531"/>
                  <a:pt x="27573" y="6478911"/>
                </a:cubicBezTo>
                <a:cubicBezTo>
                  <a:pt x="27573" y="6478911"/>
                  <a:pt x="27573" y="6478911"/>
                  <a:pt x="365906" y="6315081"/>
                </a:cubicBezTo>
                <a:cubicBezTo>
                  <a:pt x="375410" y="6310318"/>
                  <a:pt x="386339" y="6309842"/>
                  <a:pt x="396081" y="6313176"/>
                </a:cubicBezTo>
                <a:close/>
                <a:moveTo>
                  <a:pt x="5405334" y="6300229"/>
                </a:moveTo>
                <a:cubicBezTo>
                  <a:pt x="5415075" y="6303320"/>
                  <a:pt x="5423628" y="6309980"/>
                  <a:pt x="5429330" y="6319493"/>
                </a:cubicBezTo>
                <a:cubicBezTo>
                  <a:pt x="5438834" y="6340422"/>
                  <a:pt x="5431231" y="6363255"/>
                  <a:pt x="5410323" y="6372768"/>
                </a:cubicBezTo>
                <a:cubicBezTo>
                  <a:pt x="5410323" y="6372768"/>
                  <a:pt x="5410323" y="6372768"/>
                  <a:pt x="5071988" y="6540203"/>
                </a:cubicBezTo>
                <a:cubicBezTo>
                  <a:pt x="5052982" y="6551619"/>
                  <a:pt x="5028275" y="6542105"/>
                  <a:pt x="5018774" y="6523079"/>
                </a:cubicBezTo>
                <a:cubicBezTo>
                  <a:pt x="5016874" y="6517371"/>
                  <a:pt x="5014971" y="6511663"/>
                  <a:pt x="5014971" y="6505955"/>
                </a:cubicBezTo>
                <a:cubicBezTo>
                  <a:pt x="5014971" y="6490733"/>
                  <a:pt x="5022573" y="6475512"/>
                  <a:pt x="5037777" y="6469804"/>
                </a:cubicBezTo>
                <a:cubicBezTo>
                  <a:pt x="5037777" y="6469804"/>
                  <a:pt x="5037777" y="6469804"/>
                  <a:pt x="5374210" y="6302369"/>
                </a:cubicBezTo>
                <a:cubicBezTo>
                  <a:pt x="5384664" y="6297613"/>
                  <a:pt x="5395594" y="6297137"/>
                  <a:pt x="5405334" y="6300229"/>
                </a:cubicBezTo>
                <a:close/>
                <a:moveTo>
                  <a:pt x="940474" y="6300229"/>
                </a:moveTo>
                <a:cubicBezTo>
                  <a:pt x="950252" y="6303320"/>
                  <a:pt x="958837" y="6309980"/>
                  <a:pt x="963607" y="6319493"/>
                </a:cubicBezTo>
                <a:cubicBezTo>
                  <a:pt x="973146" y="6340422"/>
                  <a:pt x="965515" y="6363255"/>
                  <a:pt x="944529" y="6372768"/>
                </a:cubicBezTo>
                <a:cubicBezTo>
                  <a:pt x="944529" y="6372768"/>
                  <a:pt x="944529" y="6372768"/>
                  <a:pt x="606835" y="6540203"/>
                </a:cubicBezTo>
                <a:cubicBezTo>
                  <a:pt x="585849" y="6551619"/>
                  <a:pt x="562954" y="6542105"/>
                  <a:pt x="551507" y="6523079"/>
                </a:cubicBezTo>
                <a:cubicBezTo>
                  <a:pt x="549599" y="6517371"/>
                  <a:pt x="547691" y="6511663"/>
                  <a:pt x="547691" y="6505955"/>
                </a:cubicBezTo>
                <a:cubicBezTo>
                  <a:pt x="547691" y="6490733"/>
                  <a:pt x="557231" y="6475512"/>
                  <a:pt x="570586" y="6469804"/>
                </a:cubicBezTo>
                <a:cubicBezTo>
                  <a:pt x="570586" y="6469804"/>
                  <a:pt x="570586" y="6469804"/>
                  <a:pt x="910187" y="6302369"/>
                </a:cubicBezTo>
                <a:cubicBezTo>
                  <a:pt x="919726" y="6297613"/>
                  <a:pt x="930696" y="6297137"/>
                  <a:pt x="940474" y="6300229"/>
                </a:cubicBezTo>
                <a:close/>
                <a:moveTo>
                  <a:pt x="4851394" y="6285987"/>
                </a:moveTo>
                <a:cubicBezTo>
                  <a:pt x="4860934" y="6289098"/>
                  <a:pt x="4869520" y="6295798"/>
                  <a:pt x="4875244" y="6305369"/>
                </a:cubicBezTo>
                <a:cubicBezTo>
                  <a:pt x="4884787" y="6324513"/>
                  <a:pt x="4877154" y="6349399"/>
                  <a:pt x="4856163" y="6358971"/>
                </a:cubicBezTo>
                <a:cubicBezTo>
                  <a:pt x="4856163" y="6358971"/>
                  <a:pt x="4856163" y="6358971"/>
                  <a:pt x="4518476" y="6529347"/>
                </a:cubicBezTo>
                <a:cubicBezTo>
                  <a:pt x="4497490" y="6538919"/>
                  <a:pt x="4474595" y="6531261"/>
                  <a:pt x="4465055" y="6512118"/>
                </a:cubicBezTo>
                <a:cubicBezTo>
                  <a:pt x="4461240" y="6506375"/>
                  <a:pt x="4459332" y="6500632"/>
                  <a:pt x="4459332" y="6494889"/>
                </a:cubicBezTo>
                <a:cubicBezTo>
                  <a:pt x="4459332" y="6479574"/>
                  <a:pt x="4468872" y="6466174"/>
                  <a:pt x="4482226" y="6458517"/>
                </a:cubicBezTo>
                <a:cubicBezTo>
                  <a:pt x="4482226" y="6458517"/>
                  <a:pt x="4482226" y="6458517"/>
                  <a:pt x="4821817" y="6288140"/>
                </a:cubicBezTo>
                <a:cubicBezTo>
                  <a:pt x="4831356" y="6283355"/>
                  <a:pt x="4841852" y="6282876"/>
                  <a:pt x="4851394" y="6285987"/>
                </a:cubicBezTo>
                <a:close/>
                <a:moveTo>
                  <a:pt x="1486674" y="6285987"/>
                </a:moveTo>
                <a:cubicBezTo>
                  <a:pt x="1496423" y="6289098"/>
                  <a:pt x="1504982" y="6295798"/>
                  <a:pt x="1509738" y="6305369"/>
                </a:cubicBezTo>
                <a:cubicBezTo>
                  <a:pt x="1519249" y="6324513"/>
                  <a:pt x="1511640" y="6349399"/>
                  <a:pt x="1492618" y="6358971"/>
                </a:cubicBezTo>
                <a:cubicBezTo>
                  <a:pt x="1492618" y="6358971"/>
                  <a:pt x="1492618" y="6358971"/>
                  <a:pt x="1154033" y="6529347"/>
                </a:cubicBezTo>
                <a:cubicBezTo>
                  <a:pt x="1135012" y="6538919"/>
                  <a:pt x="1110284" y="6531261"/>
                  <a:pt x="1100773" y="6512118"/>
                </a:cubicBezTo>
                <a:cubicBezTo>
                  <a:pt x="1098871" y="6506375"/>
                  <a:pt x="1096968" y="6500632"/>
                  <a:pt x="1096968" y="6494889"/>
                </a:cubicBezTo>
                <a:cubicBezTo>
                  <a:pt x="1096968" y="6479574"/>
                  <a:pt x="1104577" y="6466174"/>
                  <a:pt x="1117892" y="6458517"/>
                </a:cubicBezTo>
                <a:cubicBezTo>
                  <a:pt x="1117892" y="6458517"/>
                  <a:pt x="1117892" y="6458517"/>
                  <a:pt x="1456477" y="6288140"/>
                </a:cubicBezTo>
                <a:cubicBezTo>
                  <a:pt x="1465988" y="6283355"/>
                  <a:pt x="1476926" y="6282876"/>
                  <a:pt x="1486674" y="6285987"/>
                </a:cubicBezTo>
                <a:close/>
                <a:moveTo>
                  <a:pt x="4292528" y="6273233"/>
                </a:moveTo>
                <a:cubicBezTo>
                  <a:pt x="4302038" y="6276321"/>
                  <a:pt x="4310122" y="6282972"/>
                  <a:pt x="4314879" y="6292474"/>
                </a:cubicBezTo>
                <a:cubicBezTo>
                  <a:pt x="4324390" y="6311478"/>
                  <a:pt x="4316781" y="6334282"/>
                  <a:pt x="4297758" y="6345684"/>
                </a:cubicBezTo>
                <a:cubicBezTo>
                  <a:pt x="4297758" y="6345684"/>
                  <a:pt x="4297758" y="6345684"/>
                  <a:pt x="3961098" y="6516717"/>
                </a:cubicBezTo>
                <a:cubicBezTo>
                  <a:pt x="3940171" y="6526219"/>
                  <a:pt x="3917345" y="6518617"/>
                  <a:pt x="3907833" y="6499614"/>
                </a:cubicBezTo>
                <a:cubicBezTo>
                  <a:pt x="3904029" y="6493913"/>
                  <a:pt x="3902127" y="6488211"/>
                  <a:pt x="3902127" y="6482510"/>
                </a:cubicBezTo>
                <a:cubicBezTo>
                  <a:pt x="3902127" y="6467307"/>
                  <a:pt x="3911637" y="6454005"/>
                  <a:pt x="3924953" y="6446403"/>
                </a:cubicBezTo>
                <a:cubicBezTo>
                  <a:pt x="3924953" y="6446403"/>
                  <a:pt x="3924953" y="6446403"/>
                  <a:pt x="4261616" y="6275371"/>
                </a:cubicBezTo>
                <a:cubicBezTo>
                  <a:pt x="4272079" y="6270620"/>
                  <a:pt x="4283017" y="6270145"/>
                  <a:pt x="4292528" y="6273233"/>
                </a:cubicBezTo>
                <a:close/>
                <a:moveTo>
                  <a:pt x="2038415" y="6273233"/>
                </a:moveTo>
                <a:cubicBezTo>
                  <a:pt x="2047931" y="6276321"/>
                  <a:pt x="2056491" y="6282972"/>
                  <a:pt x="2062198" y="6292474"/>
                </a:cubicBezTo>
                <a:cubicBezTo>
                  <a:pt x="2071708" y="6311478"/>
                  <a:pt x="2064099" y="6334282"/>
                  <a:pt x="2045072" y="6345684"/>
                </a:cubicBezTo>
                <a:cubicBezTo>
                  <a:pt x="2045072" y="6345684"/>
                  <a:pt x="2045072" y="6345684"/>
                  <a:pt x="1706487" y="6516717"/>
                </a:cubicBezTo>
                <a:cubicBezTo>
                  <a:pt x="1687465" y="6526219"/>
                  <a:pt x="1662737" y="6518617"/>
                  <a:pt x="1653226" y="6499614"/>
                </a:cubicBezTo>
                <a:cubicBezTo>
                  <a:pt x="1651324" y="6493913"/>
                  <a:pt x="1649422" y="6488211"/>
                  <a:pt x="1649422" y="6482510"/>
                </a:cubicBezTo>
                <a:cubicBezTo>
                  <a:pt x="1649422" y="6467307"/>
                  <a:pt x="1657031" y="6454005"/>
                  <a:pt x="1670346" y="6446403"/>
                </a:cubicBezTo>
                <a:cubicBezTo>
                  <a:pt x="1670346" y="6446403"/>
                  <a:pt x="1670346" y="6446403"/>
                  <a:pt x="2008931" y="6275371"/>
                </a:cubicBezTo>
                <a:cubicBezTo>
                  <a:pt x="2018442" y="6270620"/>
                  <a:pt x="2028904" y="6270145"/>
                  <a:pt x="2038415" y="6273233"/>
                </a:cubicBezTo>
                <a:close/>
                <a:moveTo>
                  <a:pt x="3729186" y="6260524"/>
                </a:moveTo>
                <a:cubicBezTo>
                  <a:pt x="3738467" y="6263608"/>
                  <a:pt x="3746557" y="6270252"/>
                  <a:pt x="3751317" y="6279742"/>
                </a:cubicBezTo>
                <a:cubicBezTo>
                  <a:pt x="3760836" y="6298723"/>
                  <a:pt x="3755126" y="6321500"/>
                  <a:pt x="3736088" y="6330991"/>
                </a:cubicBezTo>
                <a:cubicBezTo>
                  <a:pt x="3736088" y="6330991"/>
                  <a:pt x="3736088" y="6330991"/>
                  <a:pt x="3397264" y="6505616"/>
                </a:cubicBezTo>
                <a:cubicBezTo>
                  <a:pt x="3378225" y="6515107"/>
                  <a:pt x="3355383" y="6507514"/>
                  <a:pt x="3345866" y="6488533"/>
                </a:cubicBezTo>
                <a:cubicBezTo>
                  <a:pt x="3342057" y="6482839"/>
                  <a:pt x="3340155" y="6477145"/>
                  <a:pt x="3340155" y="6469552"/>
                </a:cubicBezTo>
                <a:cubicBezTo>
                  <a:pt x="3340155" y="6456266"/>
                  <a:pt x="3347765" y="6442979"/>
                  <a:pt x="3361094" y="6435386"/>
                </a:cubicBezTo>
                <a:cubicBezTo>
                  <a:pt x="3361094" y="6435386"/>
                  <a:pt x="3361094" y="6435386"/>
                  <a:pt x="3699919" y="6262659"/>
                </a:cubicBezTo>
                <a:cubicBezTo>
                  <a:pt x="3709437" y="6257914"/>
                  <a:pt x="3719905" y="6257440"/>
                  <a:pt x="3729186" y="6260524"/>
                </a:cubicBezTo>
                <a:close/>
                <a:moveTo>
                  <a:pt x="2595567" y="6260524"/>
                </a:moveTo>
                <a:cubicBezTo>
                  <a:pt x="2604884" y="6263608"/>
                  <a:pt x="2613003" y="6270252"/>
                  <a:pt x="2617780" y="6279742"/>
                </a:cubicBezTo>
                <a:cubicBezTo>
                  <a:pt x="2627334" y="6298723"/>
                  <a:pt x="2621601" y="6321500"/>
                  <a:pt x="2600583" y="6330991"/>
                </a:cubicBezTo>
                <a:cubicBezTo>
                  <a:pt x="2600583" y="6330991"/>
                  <a:pt x="2600583" y="6330991"/>
                  <a:pt x="2262377" y="6505616"/>
                </a:cubicBezTo>
                <a:cubicBezTo>
                  <a:pt x="2243270" y="6515107"/>
                  <a:pt x="2220340" y="6507514"/>
                  <a:pt x="2210786" y="6488533"/>
                </a:cubicBezTo>
                <a:cubicBezTo>
                  <a:pt x="2206965" y="6482839"/>
                  <a:pt x="2205054" y="6477145"/>
                  <a:pt x="2205054" y="6469552"/>
                </a:cubicBezTo>
                <a:cubicBezTo>
                  <a:pt x="2205054" y="6456266"/>
                  <a:pt x="2212697" y="6442979"/>
                  <a:pt x="2226073" y="6435386"/>
                </a:cubicBezTo>
                <a:cubicBezTo>
                  <a:pt x="2226073" y="6435386"/>
                  <a:pt x="2226073" y="6435386"/>
                  <a:pt x="2566189" y="6262659"/>
                </a:cubicBezTo>
                <a:cubicBezTo>
                  <a:pt x="2575743" y="6257914"/>
                  <a:pt x="2586252" y="6257440"/>
                  <a:pt x="2595567" y="6260524"/>
                </a:cubicBezTo>
                <a:close/>
                <a:moveTo>
                  <a:pt x="3155659" y="6245326"/>
                </a:moveTo>
                <a:cubicBezTo>
                  <a:pt x="3164974" y="6247952"/>
                  <a:pt x="3173095" y="6254158"/>
                  <a:pt x="3177874" y="6263706"/>
                </a:cubicBezTo>
                <a:cubicBezTo>
                  <a:pt x="3189337" y="6282802"/>
                  <a:pt x="3181694" y="6305717"/>
                  <a:pt x="3162585" y="6317174"/>
                </a:cubicBezTo>
                <a:cubicBezTo>
                  <a:pt x="3162585" y="6317174"/>
                  <a:pt x="3162585" y="6317174"/>
                  <a:pt x="2822468" y="6492858"/>
                </a:cubicBezTo>
                <a:cubicBezTo>
                  <a:pt x="2805269" y="6502406"/>
                  <a:pt x="2780431" y="6496677"/>
                  <a:pt x="2770875" y="6477581"/>
                </a:cubicBezTo>
                <a:cubicBezTo>
                  <a:pt x="2768965" y="6471852"/>
                  <a:pt x="2767055" y="6466123"/>
                  <a:pt x="2767055" y="6458485"/>
                </a:cubicBezTo>
                <a:cubicBezTo>
                  <a:pt x="2767055" y="6445118"/>
                  <a:pt x="2774698" y="6431751"/>
                  <a:pt x="2788072" y="6426022"/>
                </a:cubicBezTo>
                <a:cubicBezTo>
                  <a:pt x="2788072" y="6426022"/>
                  <a:pt x="2788072" y="6426022"/>
                  <a:pt x="3126282" y="6248429"/>
                </a:cubicBezTo>
                <a:cubicBezTo>
                  <a:pt x="3135836" y="6243655"/>
                  <a:pt x="3146345" y="6242700"/>
                  <a:pt x="3155659" y="6245326"/>
                </a:cubicBezTo>
                <a:close/>
                <a:moveTo>
                  <a:pt x="9874931" y="6079814"/>
                </a:moveTo>
                <a:cubicBezTo>
                  <a:pt x="9884902" y="6083147"/>
                  <a:pt x="9893449" y="6090291"/>
                  <a:pt x="9898198" y="6100769"/>
                </a:cubicBezTo>
                <a:cubicBezTo>
                  <a:pt x="9907695" y="6119819"/>
                  <a:pt x="9900098" y="6144584"/>
                  <a:pt x="9879205" y="6154109"/>
                </a:cubicBezTo>
                <a:cubicBezTo>
                  <a:pt x="9879205" y="6154109"/>
                  <a:pt x="9879205" y="6154109"/>
                  <a:pt x="9541119" y="6319844"/>
                </a:cubicBezTo>
                <a:cubicBezTo>
                  <a:pt x="9522126" y="6329369"/>
                  <a:pt x="9497434" y="6319844"/>
                  <a:pt x="9487937" y="6300794"/>
                </a:cubicBezTo>
                <a:cubicBezTo>
                  <a:pt x="9484138" y="6295079"/>
                  <a:pt x="9482239" y="6287459"/>
                  <a:pt x="9482239" y="6281744"/>
                </a:cubicBezTo>
                <a:cubicBezTo>
                  <a:pt x="9482239" y="6266504"/>
                  <a:pt x="9491736" y="6253169"/>
                  <a:pt x="9506931" y="6245549"/>
                </a:cubicBezTo>
                <a:cubicBezTo>
                  <a:pt x="9506931" y="6245549"/>
                  <a:pt x="9506931" y="6245549"/>
                  <a:pt x="9843117" y="6081719"/>
                </a:cubicBezTo>
                <a:cubicBezTo>
                  <a:pt x="9853564" y="6076956"/>
                  <a:pt x="9864959" y="6076480"/>
                  <a:pt x="9874931" y="6079814"/>
                </a:cubicBezTo>
                <a:close/>
                <a:moveTo>
                  <a:pt x="10459016" y="6066240"/>
                </a:moveTo>
                <a:cubicBezTo>
                  <a:pt x="10469025" y="6069812"/>
                  <a:pt x="10477604" y="6076956"/>
                  <a:pt x="10482370" y="6086481"/>
                </a:cubicBezTo>
                <a:cubicBezTo>
                  <a:pt x="10491902" y="6107436"/>
                  <a:pt x="10484276" y="6132201"/>
                  <a:pt x="10463305" y="6141726"/>
                </a:cubicBezTo>
                <a:cubicBezTo>
                  <a:pt x="10463305" y="6141726"/>
                  <a:pt x="10463305" y="6141726"/>
                  <a:pt x="10123959" y="6305556"/>
                </a:cubicBezTo>
                <a:cubicBezTo>
                  <a:pt x="10102988" y="6315081"/>
                  <a:pt x="10080111" y="6307461"/>
                  <a:pt x="10068672" y="6286506"/>
                </a:cubicBezTo>
                <a:cubicBezTo>
                  <a:pt x="10066765" y="6280791"/>
                  <a:pt x="10064859" y="6275076"/>
                  <a:pt x="10064859" y="6269361"/>
                </a:cubicBezTo>
                <a:cubicBezTo>
                  <a:pt x="10064859" y="6254121"/>
                  <a:pt x="10074391" y="6238881"/>
                  <a:pt x="10087736" y="6231261"/>
                </a:cubicBezTo>
                <a:cubicBezTo>
                  <a:pt x="10087736" y="6231261"/>
                  <a:pt x="10087736" y="6231261"/>
                  <a:pt x="10427083" y="6067431"/>
                </a:cubicBezTo>
                <a:cubicBezTo>
                  <a:pt x="10437569" y="6062668"/>
                  <a:pt x="10449007" y="6062668"/>
                  <a:pt x="10459016" y="6066240"/>
                </a:cubicBezTo>
                <a:close/>
                <a:moveTo>
                  <a:pt x="9297823" y="6066240"/>
                </a:moveTo>
                <a:cubicBezTo>
                  <a:pt x="9307594" y="6069812"/>
                  <a:pt x="9316172" y="6076956"/>
                  <a:pt x="9321892" y="6086481"/>
                </a:cubicBezTo>
                <a:cubicBezTo>
                  <a:pt x="9331424" y="6107436"/>
                  <a:pt x="9321892" y="6132201"/>
                  <a:pt x="9302827" y="6141726"/>
                </a:cubicBezTo>
                <a:cubicBezTo>
                  <a:pt x="9302827" y="6141726"/>
                  <a:pt x="9302827" y="6141726"/>
                  <a:pt x="8963481" y="6305556"/>
                </a:cubicBezTo>
                <a:cubicBezTo>
                  <a:pt x="8942510" y="6315081"/>
                  <a:pt x="8917726" y="6307461"/>
                  <a:pt x="8908194" y="6286506"/>
                </a:cubicBezTo>
                <a:cubicBezTo>
                  <a:pt x="8906287" y="6280791"/>
                  <a:pt x="8904381" y="6275076"/>
                  <a:pt x="8904381" y="6269361"/>
                </a:cubicBezTo>
                <a:cubicBezTo>
                  <a:pt x="8904381" y="6254121"/>
                  <a:pt x="8912007" y="6238881"/>
                  <a:pt x="8927258" y="6231261"/>
                </a:cubicBezTo>
                <a:cubicBezTo>
                  <a:pt x="8927258" y="6231261"/>
                  <a:pt x="8927258" y="6231261"/>
                  <a:pt x="9266605" y="6067431"/>
                </a:cubicBezTo>
                <a:cubicBezTo>
                  <a:pt x="9277091" y="6062668"/>
                  <a:pt x="9288053" y="6062668"/>
                  <a:pt x="9297823" y="6066240"/>
                </a:cubicBezTo>
                <a:close/>
                <a:moveTo>
                  <a:pt x="11018858" y="6051844"/>
                </a:moveTo>
                <a:cubicBezTo>
                  <a:pt x="11034272" y="6050683"/>
                  <a:pt x="11049953" y="6059970"/>
                  <a:pt x="11057081" y="6075686"/>
                </a:cubicBezTo>
                <a:cubicBezTo>
                  <a:pt x="11066585" y="6094736"/>
                  <a:pt x="11058982" y="6119501"/>
                  <a:pt x="11038074" y="6129026"/>
                </a:cubicBezTo>
                <a:cubicBezTo>
                  <a:pt x="11038074" y="6129026"/>
                  <a:pt x="11038074" y="6129026"/>
                  <a:pt x="10699740" y="6292856"/>
                </a:cubicBezTo>
                <a:cubicBezTo>
                  <a:pt x="10680732" y="6302381"/>
                  <a:pt x="10656022" y="6294761"/>
                  <a:pt x="10646519" y="6273806"/>
                </a:cubicBezTo>
                <a:cubicBezTo>
                  <a:pt x="10642717" y="6268091"/>
                  <a:pt x="10642717" y="6262376"/>
                  <a:pt x="10642717" y="6256661"/>
                </a:cubicBezTo>
                <a:cubicBezTo>
                  <a:pt x="10642717" y="6241421"/>
                  <a:pt x="10650320" y="6226181"/>
                  <a:pt x="10665526" y="6220466"/>
                </a:cubicBezTo>
                <a:cubicBezTo>
                  <a:pt x="10665526" y="6220466"/>
                  <a:pt x="10665526" y="6220466"/>
                  <a:pt x="11003860" y="6056636"/>
                </a:cubicBezTo>
                <a:cubicBezTo>
                  <a:pt x="11008612" y="6053778"/>
                  <a:pt x="11013720" y="6052230"/>
                  <a:pt x="11018858" y="6051844"/>
                </a:cubicBezTo>
                <a:close/>
                <a:moveTo>
                  <a:pt x="8710944" y="6051843"/>
                </a:moveTo>
                <a:cubicBezTo>
                  <a:pt x="8726672" y="6050683"/>
                  <a:pt x="8741328" y="6059970"/>
                  <a:pt x="8748477" y="6075686"/>
                </a:cubicBezTo>
                <a:cubicBezTo>
                  <a:pt x="8759916" y="6094736"/>
                  <a:pt x="8750384" y="6119501"/>
                  <a:pt x="8731319" y="6129026"/>
                </a:cubicBezTo>
                <a:cubicBezTo>
                  <a:pt x="8731319" y="6129026"/>
                  <a:pt x="8731319" y="6129026"/>
                  <a:pt x="8391973" y="6292856"/>
                </a:cubicBezTo>
                <a:cubicBezTo>
                  <a:pt x="8371002" y="6302381"/>
                  <a:pt x="8346218" y="6294761"/>
                  <a:pt x="8336686" y="6273806"/>
                </a:cubicBezTo>
                <a:cubicBezTo>
                  <a:pt x="8334779" y="6268091"/>
                  <a:pt x="8332873" y="6262376"/>
                  <a:pt x="8332873" y="6256661"/>
                </a:cubicBezTo>
                <a:cubicBezTo>
                  <a:pt x="8332873" y="6241421"/>
                  <a:pt x="8340499" y="6226181"/>
                  <a:pt x="8355750" y="6220466"/>
                </a:cubicBezTo>
                <a:cubicBezTo>
                  <a:pt x="8355750" y="6220466"/>
                  <a:pt x="8355750" y="6220466"/>
                  <a:pt x="8695097" y="6056636"/>
                </a:cubicBezTo>
                <a:cubicBezTo>
                  <a:pt x="8700340" y="6053778"/>
                  <a:pt x="8705702" y="6052230"/>
                  <a:pt x="8710944" y="6051843"/>
                </a:cubicBezTo>
                <a:close/>
                <a:moveTo>
                  <a:pt x="11603954" y="6041714"/>
                </a:moveTo>
                <a:cubicBezTo>
                  <a:pt x="11613696" y="6045048"/>
                  <a:pt x="11622249" y="6052191"/>
                  <a:pt x="11627001" y="6062669"/>
                </a:cubicBezTo>
                <a:cubicBezTo>
                  <a:pt x="11636505" y="6083624"/>
                  <a:pt x="11628902" y="6106484"/>
                  <a:pt x="11607994" y="6117914"/>
                </a:cubicBezTo>
                <a:cubicBezTo>
                  <a:pt x="11607994" y="6117914"/>
                  <a:pt x="11607994" y="6117914"/>
                  <a:pt x="11271560" y="6281744"/>
                </a:cubicBezTo>
                <a:cubicBezTo>
                  <a:pt x="11250652" y="6291269"/>
                  <a:pt x="11225942" y="6281744"/>
                  <a:pt x="11216439" y="6262694"/>
                </a:cubicBezTo>
                <a:cubicBezTo>
                  <a:pt x="11212637" y="6256979"/>
                  <a:pt x="11212637" y="6251264"/>
                  <a:pt x="11212637" y="6243644"/>
                </a:cubicBezTo>
                <a:cubicBezTo>
                  <a:pt x="11212637" y="6228404"/>
                  <a:pt x="11220240" y="6215069"/>
                  <a:pt x="11235446" y="6207449"/>
                </a:cubicBezTo>
                <a:cubicBezTo>
                  <a:pt x="11235446" y="6207449"/>
                  <a:pt x="11235446" y="6207449"/>
                  <a:pt x="11573780" y="6043619"/>
                </a:cubicBezTo>
                <a:cubicBezTo>
                  <a:pt x="11583284" y="6038856"/>
                  <a:pt x="11594213" y="6038380"/>
                  <a:pt x="11603954" y="6041714"/>
                </a:cubicBezTo>
                <a:close/>
                <a:moveTo>
                  <a:pt x="8160285" y="6041714"/>
                </a:moveTo>
                <a:cubicBezTo>
                  <a:pt x="8170293" y="6045048"/>
                  <a:pt x="8178872" y="6052191"/>
                  <a:pt x="8183639" y="6062669"/>
                </a:cubicBezTo>
                <a:cubicBezTo>
                  <a:pt x="8193171" y="6083624"/>
                  <a:pt x="8183639" y="6106484"/>
                  <a:pt x="8164574" y="6117914"/>
                </a:cubicBezTo>
                <a:cubicBezTo>
                  <a:pt x="8164574" y="6117914"/>
                  <a:pt x="8164574" y="6117914"/>
                  <a:pt x="7825227" y="6281744"/>
                </a:cubicBezTo>
                <a:cubicBezTo>
                  <a:pt x="7804257" y="6291269"/>
                  <a:pt x="7781379" y="6281744"/>
                  <a:pt x="7769941" y="6262694"/>
                </a:cubicBezTo>
                <a:cubicBezTo>
                  <a:pt x="7768034" y="6256979"/>
                  <a:pt x="7766128" y="6251264"/>
                  <a:pt x="7766128" y="6243644"/>
                </a:cubicBezTo>
                <a:cubicBezTo>
                  <a:pt x="7766128" y="6228404"/>
                  <a:pt x="7775660" y="6215069"/>
                  <a:pt x="7789005" y="6207449"/>
                </a:cubicBezTo>
                <a:cubicBezTo>
                  <a:pt x="7789005" y="6207449"/>
                  <a:pt x="7789005" y="6207449"/>
                  <a:pt x="8128352" y="6043619"/>
                </a:cubicBezTo>
                <a:cubicBezTo>
                  <a:pt x="8138837" y="6038856"/>
                  <a:pt x="8150276" y="6038380"/>
                  <a:pt x="8160285" y="6041714"/>
                </a:cubicBezTo>
                <a:close/>
                <a:moveTo>
                  <a:pt x="12135947" y="6029331"/>
                </a:moveTo>
                <a:cubicBezTo>
                  <a:pt x="12137848" y="6029331"/>
                  <a:pt x="12139750" y="6029331"/>
                  <a:pt x="12139750" y="6029331"/>
                </a:cubicBezTo>
                <a:cubicBezTo>
                  <a:pt x="12139750" y="6029331"/>
                  <a:pt x="12139750" y="6029331"/>
                  <a:pt x="12139750" y="6118866"/>
                </a:cubicBezTo>
                <a:cubicBezTo>
                  <a:pt x="12139750" y="6118866"/>
                  <a:pt x="12139750" y="6118866"/>
                  <a:pt x="11833573" y="6267456"/>
                </a:cubicBezTo>
                <a:cubicBezTo>
                  <a:pt x="11814556" y="6276981"/>
                  <a:pt x="11789834" y="6269361"/>
                  <a:pt x="11780325" y="6248406"/>
                </a:cubicBezTo>
                <a:cubicBezTo>
                  <a:pt x="11776522" y="6242691"/>
                  <a:pt x="11774620" y="6236976"/>
                  <a:pt x="11774620" y="6231261"/>
                </a:cubicBezTo>
                <a:cubicBezTo>
                  <a:pt x="11774620" y="6216021"/>
                  <a:pt x="11784129" y="6200781"/>
                  <a:pt x="11797441" y="6195066"/>
                </a:cubicBezTo>
                <a:close/>
                <a:moveTo>
                  <a:pt x="7599808" y="6028140"/>
                </a:moveTo>
                <a:cubicBezTo>
                  <a:pt x="7609579" y="6031712"/>
                  <a:pt x="7618158" y="6038856"/>
                  <a:pt x="7622924" y="6048381"/>
                </a:cubicBezTo>
                <a:cubicBezTo>
                  <a:pt x="7634363" y="6069336"/>
                  <a:pt x="7624831" y="6094101"/>
                  <a:pt x="7603860" y="6103626"/>
                </a:cubicBezTo>
                <a:cubicBezTo>
                  <a:pt x="7603860" y="6103626"/>
                  <a:pt x="7603860" y="6103626"/>
                  <a:pt x="7266419" y="6267456"/>
                </a:cubicBezTo>
                <a:cubicBezTo>
                  <a:pt x="7245449" y="6276981"/>
                  <a:pt x="7220665" y="6269361"/>
                  <a:pt x="7211133" y="6248406"/>
                </a:cubicBezTo>
                <a:cubicBezTo>
                  <a:pt x="7209226" y="6242691"/>
                  <a:pt x="7207320" y="6236976"/>
                  <a:pt x="7207320" y="6231261"/>
                </a:cubicBezTo>
                <a:cubicBezTo>
                  <a:pt x="7207320" y="6216021"/>
                  <a:pt x="7214946" y="6200781"/>
                  <a:pt x="7230197" y="6195066"/>
                </a:cubicBezTo>
                <a:cubicBezTo>
                  <a:pt x="7230197" y="6195066"/>
                  <a:pt x="7230197" y="6195066"/>
                  <a:pt x="7569544" y="6029331"/>
                </a:cubicBezTo>
                <a:cubicBezTo>
                  <a:pt x="7579076" y="6024568"/>
                  <a:pt x="7590038" y="6024568"/>
                  <a:pt x="7599808" y="6028140"/>
                </a:cubicBezTo>
                <a:close/>
                <a:moveTo>
                  <a:pt x="7047350" y="6016314"/>
                </a:moveTo>
                <a:cubicBezTo>
                  <a:pt x="7057121" y="6019648"/>
                  <a:pt x="7065700" y="6026791"/>
                  <a:pt x="7070466" y="6037269"/>
                </a:cubicBezTo>
                <a:cubicBezTo>
                  <a:pt x="7081905" y="6056319"/>
                  <a:pt x="7072373" y="6081084"/>
                  <a:pt x="7051402" y="6090609"/>
                </a:cubicBezTo>
                <a:cubicBezTo>
                  <a:pt x="7051402" y="6090609"/>
                  <a:pt x="7051402" y="6090609"/>
                  <a:pt x="6713961" y="6254439"/>
                </a:cubicBezTo>
                <a:cubicBezTo>
                  <a:pt x="6692991" y="6265869"/>
                  <a:pt x="6668207" y="6256344"/>
                  <a:pt x="6658675" y="6235389"/>
                </a:cubicBezTo>
                <a:cubicBezTo>
                  <a:pt x="6656768" y="6229674"/>
                  <a:pt x="6654862" y="6223959"/>
                  <a:pt x="6654862" y="6218244"/>
                </a:cubicBezTo>
                <a:cubicBezTo>
                  <a:pt x="6654862" y="6203004"/>
                  <a:pt x="6662488" y="6189669"/>
                  <a:pt x="6677739" y="6182049"/>
                </a:cubicBezTo>
                <a:cubicBezTo>
                  <a:pt x="6677739" y="6182049"/>
                  <a:pt x="6677739" y="6182049"/>
                  <a:pt x="7017086" y="6018219"/>
                </a:cubicBezTo>
                <a:cubicBezTo>
                  <a:pt x="7026618" y="6013456"/>
                  <a:pt x="7037580" y="6012980"/>
                  <a:pt x="7047350" y="6016314"/>
                </a:cubicBezTo>
                <a:close/>
                <a:moveTo>
                  <a:pt x="6502912" y="6003613"/>
                </a:moveTo>
                <a:cubicBezTo>
                  <a:pt x="6512921" y="6006947"/>
                  <a:pt x="6521500" y="6014090"/>
                  <a:pt x="6526266" y="6024568"/>
                </a:cubicBezTo>
                <a:cubicBezTo>
                  <a:pt x="6535798" y="6045523"/>
                  <a:pt x="6526266" y="6070288"/>
                  <a:pt x="6507201" y="6079813"/>
                </a:cubicBezTo>
                <a:cubicBezTo>
                  <a:pt x="6507201" y="6079813"/>
                  <a:pt x="6507201" y="6079813"/>
                  <a:pt x="6167854" y="6243643"/>
                </a:cubicBezTo>
                <a:cubicBezTo>
                  <a:pt x="6146884" y="6253168"/>
                  <a:pt x="6124006" y="6243643"/>
                  <a:pt x="6112568" y="6224593"/>
                </a:cubicBezTo>
                <a:cubicBezTo>
                  <a:pt x="6110661" y="6218878"/>
                  <a:pt x="6108755" y="6213163"/>
                  <a:pt x="6108755" y="6207448"/>
                </a:cubicBezTo>
                <a:cubicBezTo>
                  <a:pt x="6108755" y="6192208"/>
                  <a:pt x="6118287" y="6176968"/>
                  <a:pt x="6131632" y="6169348"/>
                </a:cubicBezTo>
                <a:cubicBezTo>
                  <a:pt x="6131632" y="6169348"/>
                  <a:pt x="6131632" y="6169348"/>
                  <a:pt x="6470979" y="6005518"/>
                </a:cubicBezTo>
                <a:cubicBezTo>
                  <a:pt x="6481464" y="6000755"/>
                  <a:pt x="6492903" y="6000279"/>
                  <a:pt x="6502912" y="6003613"/>
                </a:cubicBezTo>
                <a:close/>
                <a:moveTo>
                  <a:pt x="5940751" y="5988314"/>
                </a:moveTo>
                <a:cubicBezTo>
                  <a:pt x="5956567" y="5987064"/>
                  <a:pt x="5971580" y="5995993"/>
                  <a:pt x="5980159" y="6010281"/>
                </a:cubicBezTo>
                <a:cubicBezTo>
                  <a:pt x="5989691" y="6031236"/>
                  <a:pt x="5980159" y="6056001"/>
                  <a:pt x="5961095" y="6065526"/>
                </a:cubicBezTo>
                <a:cubicBezTo>
                  <a:pt x="5961095" y="6065526"/>
                  <a:pt x="5961095" y="6065526"/>
                  <a:pt x="5621756" y="6229356"/>
                </a:cubicBezTo>
                <a:cubicBezTo>
                  <a:pt x="5600786" y="6238881"/>
                  <a:pt x="5576002" y="6231261"/>
                  <a:pt x="5566471" y="6210306"/>
                </a:cubicBezTo>
                <a:cubicBezTo>
                  <a:pt x="5564565" y="6204591"/>
                  <a:pt x="5562658" y="6198876"/>
                  <a:pt x="5562658" y="6193161"/>
                </a:cubicBezTo>
                <a:cubicBezTo>
                  <a:pt x="5562658" y="6177921"/>
                  <a:pt x="5570284" y="6162681"/>
                  <a:pt x="5585535" y="6156966"/>
                </a:cubicBezTo>
                <a:cubicBezTo>
                  <a:pt x="5585535" y="6156966"/>
                  <a:pt x="5585535" y="6156966"/>
                  <a:pt x="5924874" y="5993136"/>
                </a:cubicBezTo>
                <a:cubicBezTo>
                  <a:pt x="5930116" y="5990278"/>
                  <a:pt x="5935479" y="5988730"/>
                  <a:pt x="5940751" y="5988314"/>
                </a:cubicBezTo>
                <a:close/>
                <a:moveTo>
                  <a:pt x="380904" y="5988314"/>
                </a:moveTo>
                <a:cubicBezTo>
                  <a:pt x="396318" y="5987064"/>
                  <a:pt x="411999" y="5995993"/>
                  <a:pt x="419127" y="6010281"/>
                </a:cubicBezTo>
                <a:cubicBezTo>
                  <a:pt x="428631" y="6031236"/>
                  <a:pt x="421028" y="6056001"/>
                  <a:pt x="400120" y="6065526"/>
                </a:cubicBezTo>
                <a:cubicBezTo>
                  <a:pt x="400120" y="6065526"/>
                  <a:pt x="400120" y="6065526"/>
                  <a:pt x="63687" y="6229356"/>
                </a:cubicBezTo>
                <a:cubicBezTo>
                  <a:pt x="42779" y="6238881"/>
                  <a:pt x="18069" y="6231261"/>
                  <a:pt x="8565" y="6210306"/>
                </a:cubicBezTo>
                <a:cubicBezTo>
                  <a:pt x="6664" y="6204591"/>
                  <a:pt x="4764" y="6198876"/>
                  <a:pt x="4764" y="6193161"/>
                </a:cubicBezTo>
                <a:cubicBezTo>
                  <a:pt x="4764" y="6177921"/>
                  <a:pt x="12367" y="6162681"/>
                  <a:pt x="27573" y="6156966"/>
                </a:cubicBezTo>
                <a:cubicBezTo>
                  <a:pt x="27573" y="6156966"/>
                  <a:pt x="27573" y="6156966"/>
                  <a:pt x="365906" y="5993136"/>
                </a:cubicBezTo>
                <a:cubicBezTo>
                  <a:pt x="370658" y="5990278"/>
                  <a:pt x="375766" y="5988730"/>
                  <a:pt x="380904" y="5988314"/>
                </a:cubicBezTo>
                <a:close/>
                <a:moveTo>
                  <a:pt x="5406285" y="5978213"/>
                </a:moveTo>
                <a:cubicBezTo>
                  <a:pt x="5416026" y="5981547"/>
                  <a:pt x="5424579" y="5988690"/>
                  <a:pt x="5429330" y="5999168"/>
                </a:cubicBezTo>
                <a:cubicBezTo>
                  <a:pt x="5438834" y="6018218"/>
                  <a:pt x="5431231" y="6042983"/>
                  <a:pt x="5410323" y="6052508"/>
                </a:cubicBezTo>
                <a:cubicBezTo>
                  <a:pt x="5410323" y="6052508"/>
                  <a:pt x="5410323" y="6052508"/>
                  <a:pt x="5071988" y="6218243"/>
                </a:cubicBezTo>
                <a:cubicBezTo>
                  <a:pt x="5052982" y="6227768"/>
                  <a:pt x="5028275" y="6218243"/>
                  <a:pt x="5018774" y="6199193"/>
                </a:cubicBezTo>
                <a:cubicBezTo>
                  <a:pt x="5014971" y="6193478"/>
                  <a:pt x="5014971" y="6185858"/>
                  <a:pt x="5014971" y="6180143"/>
                </a:cubicBezTo>
                <a:cubicBezTo>
                  <a:pt x="5014971" y="6164903"/>
                  <a:pt x="5022573" y="6151568"/>
                  <a:pt x="5037777" y="6143948"/>
                </a:cubicBezTo>
                <a:cubicBezTo>
                  <a:pt x="5037777" y="6143948"/>
                  <a:pt x="5037777" y="6143948"/>
                  <a:pt x="5376110" y="5980118"/>
                </a:cubicBezTo>
                <a:cubicBezTo>
                  <a:pt x="5385614" y="5975355"/>
                  <a:pt x="5396543" y="5974879"/>
                  <a:pt x="5406285" y="5978213"/>
                </a:cubicBezTo>
                <a:close/>
                <a:moveTo>
                  <a:pt x="940179" y="5978213"/>
                </a:moveTo>
                <a:cubicBezTo>
                  <a:pt x="949950" y="5981546"/>
                  <a:pt x="958529" y="5988690"/>
                  <a:pt x="963295" y="5999168"/>
                </a:cubicBezTo>
                <a:cubicBezTo>
                  <a:pt x="974733" y="6018218"/>
                  <a:pt x="965201" y="6042983"/>
                  <a:pt x="944230" y="6052508"/>
                </a:cubicBezTo>
                <a:cubicBezTo>
                  <a:pt x="944230" y="6052508"/>
                  <a:pt x="944230" y="6052508"/>
                  <a:pt x="606791" y="6218243"/>
                </a:cubicBezTo>
                <a:cubicBezTo>
                  <a:pt x="585820" y="6227768"/>
                  <a:pt x="561036" y="6218243"/>
                  <a:pt x="551504" y="6199193"/>
                </a:cubicBezTo>
                <a:cubicBezTo>
                  <a:pt x="549598" y="6193478"/>
                  <a:pt x="547691" y="6185858"/>
                  <a:pt x="547691" y="6180143"/>
                </a:cubicBezTo>
                <a:cubicBezTo>
                  <a:pt x="547691" y="6164903"/>
                  <a:pt x="555317" y="6151568"/>
                  <a:pt x="570568" y="6143948"/>
                </a:cubicBezTo>
                <a:cubicBezTo>
                  <a:pt x="570568" y="6143948"/>
                  <a:pt x="570568" y="6143948"/>
                  <a:pt x="909915" y="5980118"/>
                </a:cubicBezTo>
                <a:cubicBezTo>
                  <a:pt x="919447" y="5975355"/>
                  <a:pt x="930409" y="5974879"/>
                  <a:pt x="940179" y="5978213"/>
                </a:cubicBezTo>
                <a:close/>
                <a:moveTo>
                  <a:pt x="4852108" y="5966227"/>
                </a:moveTo>
                <a:cubicBezTo>
                  <a:pt x="4861887" y="5969799"/>
                  <a:pt x="4870476" y="5976943"/>
                  <a:pt x="4875244" y="5986468"/>
                </a:cubicBezTo>
                <a:cubicBezTo>
                  <a:pt x="4884787" y="6007423"/>
                  <a:pt x="4877154" y="6032188"/>
                  <a:pt x="4856163" y="6041713"/>
                </a:cubicBezTo>
                <a:cubicBezTo>
                  <a:pt x="4856163" y="6041713"/>
                  <a:pt x="4856163" y="6041713"/>
                  <a:pt x="4516568" y="6205543"/>
                </a:cubicBezTo>
                <a:cubicBezTo>
                  <a:pt x="4497490" y="6215068"/>
                  <a:pt x="4472687" y="6207448"/>
                  <a:pt x="4463147" y="6186493"/>
                </a:cubicBezTo>
                <a:cubicBezTo>
                  <a:pt x="4459332" y="6180778"/>
                  <a:pt x="4459332" y="6175063"/>
                  <a:pt x="4459332" y="6169348"/>
                </a:cubicBezTo>
                <a:cubicBezTo>
                  <a:pt x="4459332" y="6154108"/>
                  <a:pt x="4466963" y="6138868"/>
                  <a:pt x="4482226" y="6131248"/>
                </a:cubicBezTo>
                <a:cubicBezTo>
                  <a:pt x="4482226" y="6131248"/>
                  <a:pt x="4482226" y="6131248"/>
                  <a:pt x="4821817" y="5967418"/>
                </a:cubicBezTo>
                <a:cubicBezTo>
                  <a:pt x="4831356" y="5962655"/>
                  <a:pt x="4842330" y="5962655"/>
                  <a:pt x="4852108" y="5966227"/>
                </a:cubicBezTo>
                <a:close/>
                <a:moveTo>
                  <a:pt x="1487950" y="5966227"/>
                </a:moveTo>
                <a:cubicBezTo>
                  <a:pt x="1497958" y="5969799"/>
                  <a:pt x="1506537" y="5976943"/>
                  <a:pt x="1511303" y="5986468"/>
                </a:cubicBezTo>
                <a:cubicBezTo>
                  <a:pt x="1520836" y="6007423"/>
                  <a:pt x="1513210" y="6032188"/>
                  <a:pt x="1492239" y="6041713"/>
                </a:cubicBezTo>
                <a:cubicBezTo>
                  <a:pt x="1492239" y="6041713"/>
                  <a:pt x="1492239" y="6041713"/>
                  <a:pt x="1152893" y="6205543"/>
                </a:cubicBezTo>
                <a:cubicBezTo>
                  <a:pt x="1131922" y="6215068"/>
                  <a:pt x="1109045" y="6207448"/>
                  <a:pt x="1097606" y="6186493"/>
                </a:cubicBezTo>
                <a:cubicBezTo>
                  <a:pt x="1095700" y="6180778"/>
                  <a:pt x="1093793" y="6175063"/>
                  <a:pt x="1093793" y="6169348"/>
                </a:cubicBezTo>
                <a:cubicBezTo>
                  <a:pt x="1093793" y="6154108"/>
                  <a:pt x="1103326" y="6138868"/>
                  <a:pt x="1116671" y="6131248"/>
                </a:cubicBezTo>
                <a:cubicBezTo>
                  <a:pt x="1116671" y="6131248"/>
                  <a:pt x="1116671" y="6131248"/>
                  <a:pt x="1456017" y="5967418"/>
                </a:cubicBezTo>
                <a:cubicBezTo>
                  <a:pt x="1466502" y="5962655"/>
                  <a:pt x="1477941" y="5962655"/>
                  <a:pt x="1487950" y="5966227"/>
                </a:cubicBezTo>
                <a:close/>
                <a:moveTo>
                  <a:pt x="4293425" y="5952822"/>
                </a:moveTo>
                <a:cubicBezTo>
                  <a:pt x="4303167" y="5956160"/>
                  <a:pt x="4311721" y="5963313"/>
                  <a:pt x="4316472" y="5973803"/>
                </a:cubicBezTo>
                <a:cubicBezTo>
                  <a:pt x="4325976" y="5992877"/>
                  <a:pt x="4318373" y="6017673"/>
                  <a:pt x="4297464" y="6027210"/>
                </a:cubicBezTo>
                <a:cubicBezTo>
                  <a:pt x="4297464" y="6027210"/>
                  <a:pt x="4297464" y="6027210"/>
                  <a:pt x="3959151" y="6191244"/>
                </a:cubicBezTo>
                <a:cubicBezTo>
                  <a:pt x="3940145" y="6200781"/>
                  <a:pt x="3915434" y="6193151"/>
                  <a:pt x="3905930" y="6172170"/>
                </a:cubicBezTo>
                <a:cubicBezTo>
                  <a:pt x="3902127" y="6166448"/>
                  <a:pt x="3902127" y="6160726"/>
                  <a:pt x="3902127" y="6155004"/>
                </a:cubicBezTo>
                <a:cubicBezTo>
                  <a:pt x="3902127" y="6139745"/>
                  <a:pt x="3909730" y="6124486"/>
                  <a:pt x="3924936" y="6118764"/>
                </a:cubicBezTo>
                <a:cubicBezTo>
                  <a:pt x="3924936" y="6118764"/>
                  <a:pt x="3924936" y="6118764"/>
                  <a:pt x="4263250" y="5954730"/>
                </a:cubicBezTo>
                <a:cubicBezTo>
                  <a:pt x="4272754" y="5949961"/>
                  <a:pt x="4283684" y="5949484"/>
                  <a:pt x="4293425" y="5952822"/>
                </a:cubicBezTo>
                <a:close/>
                <a:moveTo>
                  <a:pt x="2039813" y="5952822"/>
                </a:moveTo>
                <a:cubicBezTo>
                  <a:pt x="2049553" y="5956160"/>
                  <a:pt x="2058100" y="5963313"/>
                  <a:pt x="2063798" y="5973803"/>
                </a:cubicBezTo>
                <a:cubicBezTo>
                  <a:pt x="2073295" y="5992877"/>
                  <a:pt x="2063798" y="6017673"/>
                  <a:pt x="2044799" y="6027210"/>
                </a:cubicBezTo>
                <a:cubicBezTo>
                  <a:pt x="2044799" y="6027210"/>
                  <a:pt x="2044799" y="6027210"/>
                  <a:pt x="1706714" y="6191244"/>
                </a:cubicBezTo>
                <a:cubicBezTo>
                  <a:pt x="1685821" y="6200781"/>
                  <a:pt x="1661129" y="6193151"/>
                  <a:pt x="1651633" y="6172170"/>
                </a:cubicBezTo>
                <a:cubicBezTo>
                  <a:pt x="1649733" y="6166448"/>
                  <a:pt x="1647834" y="6160726"/>
                  <a:pt x="1647834" y="6155004"/>
                </a:cubicBezTo>
                <a:cubicBezTo>
                  <a:pt x="1647834" y="6139745"/>
                  <a:pt x="1655431" y="6124486"/>
                  <a:pt x="1670626" y="6118764"/>
                </a:cubicBezTo>
                <a:cubicBezTo>
                  <a:pt x="1670626" y="6118764"/>
                  <a:pt x="1670626" y="6118764"/>
                  <a:pt x="2008712" y="5954730"/>
                </a:cubicBezTo>
                <a:cubicBezTo>
                  <a:pt x="2019158" y="5949961"/>
                  <a:pt x="2030079" y="5949484"/>
                  <a:pt x="2039813" y="5952822"/>
                </a:cubicBezTo>
                <a:close/>
                <a:moveTo>
                  <a:pt x="3730408" y="5940113"/>
                </a:moveTo>
                <a:cubicBezTo>
                  <a:pt x="3740180" y="5943447"/>
                  <a:pt x="3748757" y="5950590"/>
                  <a:pt x="3754477" y="5961068"/>
                </a:cubicBezTo>
                <a:cubicBezTo>
                  <a:pt x="3764010" y="5982023"/>
                  <a:pt x="3754477" y="6004883"/>
                  <a:pt x="3735413" y="6016313"/>
                </a:cubicBezTo>
                <a:cubicBezTo>
                  <a:pt x="3735413" y="6016313"/>
                  <a:pt x="3735413" y="6016313"/>
                  <a:pt x="3396080" y="6180143"/>
                </a:cubicBezTo>
                <a:cubicBezTo>
                  <a:pt x="3375107" y="6189668"/>
                  <a:pt x="3350323" y="6180143"/>
                  <a:pt x="3340791" y="6161093"/>
                </a:cubicBezTo>
                <a:cubicBezTo>
                  <a:pt x="3338885" y="6155378"/>
                  <a:pt x="3336980" y="6149663"/>
                  <a:pt x="3336980" y="6142043"/>
                </a:cubicBezTo>
                <a:cubicBezTo>
                  <a:pt x="3336980" y="6126803"/>
                  <a:pt x="3346510" y="6113468"/>
                  <a:pt x="3359854" y="6105848"/>
                </a:cubicBezTo>
                <a:cubicBezTo>
                  <a:pt x="3359854" y="6105848"/>
                  <a:pt x="3359854" y="6105848"/>
                  <a:pt x="3699190" y="5942018"/>
                </a:cubicBezTo>
                <a:cubicBezTo>
                  <a:pt x="3709676" y="5937255"/>
                  <a:pt x="3720634" y="5936779"/>
                  <a:pt x="3730408" y="5940113"/>
                </a:cubicBezTo>
                <a:close/>
                <a:moveTo>
                  <a:pt x="2596907" y="5940113"/>
                </a:moveTo>
                <a:cubicBezTo>
                  <a:pt x="2606677" y="5943447"/>
                  <a:pt x="2615256" y="5950590"/>
                  <a:pt x="2620976" y="5961068"/>
                </a:cubicBezTo>
                <a:cubicBezTo>
                  <a:pt x="2630508" y="5982023"/>
                  <a:pt x="2620976" y="6004883"/>
                  <a:pt x="2601911" y="6016313"/>
                </a:cubicBezTo>
                <a:cubicBezTo>
                  <a:pt x="2601911" y="6016313"/>
                  <a:pt x="2601911" y="6016313"/>
                  <a:pt x="2262565" y="6180143"/>
                </a:cubicBezTo>
                <a:cubicBezTo>
                  <a:pt x="2241595" y="6189668"/>
                  <a:pt x="2216811" y="6180143"/>
                  <a:pt x="2207278" y="6161093"/>
                </a:cubicBezTo>
                <a:cubicBezTo>
                  <a:pt x="2205372" y="6155378"/>
                  <a:pt x="2203466" y="6149663"/>
                  <a:pt x="2203466" y="6142043"/>
                </a:cubicBezTo>
                <a:cubicBezTo>
                  <a:pt x="2203466" y="6126803"/>
                  <a:pt x="2211091" y="6113468"/>
                  <a:pt x="2226343" y="6105848"/>
                </a:cubicBezTo>
                <a:cubicBezTo>
                  <a:pt x="2226343" y="6105848"/>
                  <a:pt x="2226343" y="6105848"/>
                  <a:pt x="2565688" y="5942018"/>
                </a:cubicBezTo>
                <a:cubicBezTo>
                  <a:pt x="2576174" y="5937255"/>
                  <a:pt x="2587136" y="5936779"/>
                  <a:pt x="2596907" y="5940113"/>
                </a:cubicBezTo>
                <a:close/>
                <a:moveTo>
                  <a:pt x="3158038" y="5928127"/>
                </a:moveTo>
                <a:cubicBezTo>
                  <a:pt x="3168046" y="5931699"/>
                  <a:pt x="3176626" y="5938843"/>
                  <a:pt x="3181392" y="5948368"/>
                </a:cubicBezTo>
                <a:cubicBezTo>
                  <a:pt x="3190924" y="5969323"/>
                  <a:pt x="3183299" y="5994088"/>
                  <a:pt x="3162325" y="6003613"/>
                </a:cubicBezTo>
                <a:cubicBezTo>
                  <a:pt x="3162325" y="6003613"/>
                  <a:pt x="3162325" y="6003613"/>
                  <a:pt x="2822979" y="6167443"/>
                </a:cubicBezTo>
                <a:cubicBezTo>
                  <a:pt x="2803913" y="6176968"/>
                  <a:pt x="2779131" y="6169348"/>
                  <a:pt x="2769598" y="6148393"/>
                </a:cubicBezTo>
                <a:cubicBezTo>
                  <a:pt x="2765784" y="6142678"/>
                  <a:pt x="2763878" y="6136963"/>
                  <a:pt x="2763878" y="6131248"/>
                </a:cubicBezTo>
                <a:cubicBezTo>
                  <a:pt x="2763878" y="6116008"/>
                  <a:pt x="2773410" y="6100768"/>
                  <a:pt x="2788667" y="6093148"/>
                </a:cubicBezTo>
                <a:cubicBezTo>
                  <a:pt x="2788667" y="6093148"/>
                  <a:pt x="2788667" y="6093148"/>
                  <a:pt x="3126105" y="5929318"/>
                </a:cubicBezTo>
                <a:cubicBezTo>
                  <a:pt x="3136591" y="5924555"/>
                  <a:pt x="3148030" y="5924555"/>
                  <a:pt x="3158038" y="5928127"/>
                </a:cubicBezTo>
                <a:close/>
                <a:moveTo>
                  <a:pt x="9872849" y="5750963"/>
                </a:moveTo>
                <a:cubicBezTo>
                  <a:pt x="9882136" y="5754058"/>
                  <a:pt x="9890233" y="5760726"/>
                  <a:pt x="9894995" y="5770251"/>
                </a:cubicBezTo>
                <a:cubicBezTo>
                  <a:pt x="9904520" y="5787396"/>
                  <a:pt x="9898805" y="5810256"/>
                  <a:pt x="9879755" y="5821686"/>
                </a:cubicBezTo>
                <a:cubicBezTo>
                  <a:pt x="9879755" y="5821686"/>
                  <a:pt x="9879755" y="5821686"/>
                  <a:pt x="9542565" y="6000756"/>
                </a:cubicBezTo>
                <a:cubicBezTo>
                  <a:pt x="9523515" y="6010281"/>
                  <a:pt x="9500654" y="6002661"/>
                  <a:pt x="9489224" y="5983611"/>
                </a:cubicBezTo>
                <a:cubicBezTo>
                  <a:pt x="9487319" y="5977896"/>
                  <a:pt x="9485414" y="5972181"/>
                  <a:pt x="9485414" y="5966466"/>
                </a:cubicBezTo>
                <a:cubicBezTo>
                  <a:pt x="9485414" y="5953131"/>
                  <a:pt x="9493034" y="5939796"/>
                  <a:pt x="9506369" y="5932176"/>
                </a:cubicBezTo>
                <a:cubicBezTo>
                  <a:pt x="9506369" y="5932176"/>
                  <a:pt x="9506369" y="5932176"/>
                  <a:pt x="9843559" y="5753106"/>
                </a:cubicBezTo>
                <a:cubicBezTo>
                  <a:pt x="9853084" y="5748343"/>
                  <a:pt x="9863562" y="5747867"/>
                  <a:pt x="9872849" y="5750963"/>
                </a:cubicBezTo>
                <a:close/>
                <a:moveTo>
                  <a:pt x="10455469" y="5739858"/>
                </a:moveTo>
                <a:cubicBezTo>
                  <a:pt x="10464756" y="5742958"/>
                  <a:pt x="10472852" y="5749633"/>
                  <a:pt x="10477615" y="5759170"/>
                </a:cubicBezTo>
                <a:cubicBezTo>
                  <a:pt x="10487140" y="5776335"/>
                  <a:pt x="10481425" y="5801130"/>
                  <a:pt x="10462375" y="5810667"/>
                </a:cubicBezTo>
                <a:cubicBezTo>
                  <a:pt x="10462375" y="5810667"/>
                  <a:pt x="10462375" y="5810667"/>
                  <a:pt x="10123280" y="5988044"/>
                </a:cubicBezTo>
                <a:cubicBezTo>
                  <a:pt x="10104230" y="5997581"/>
                  <a:pt x="10081369" y="5989952"/>
                  <a:pt x="10071844" y="5970879"/>
                </a:cubicBezTo>
                <a:cubicBezTo>
                  <a:pt x="10068034" y="5965157"/>
                  <a:pt x="10068034" y="5959435"/>
                  <a:pt x="10068034" y="5953713"/>
                </a:cubicBezTo>
                <a:cubicBezTo>
                  <a:pt x="10068034" y="5938455"/>
                  <a:pt x="10075654" y="5925104"/>
                  <a:pt x="10088989" y="5919382"/>
                </a:cubicBezTo>
                <a:cubicBezTo>
                  <a:pt x="10088989" y="5919382"/>
                  <a:pt x="10088989" y="5919382"/>
                  <a:pt x="10426179" y="5742004"/>
                </a:cubicBezTo>
                <a:cubicBezTo>
                  <a:pt x="10435704" y="5737236"/>
                  <a:pt x="10446182" y="5736759"/>
                  <a:pt x="10455469" y="5739858"/>
                </a:cubicBezTo>
                <a:close/>
                <a:moveTo>
                  <a:pt x="9295014" y="5739858"/>
                </a:moveTo>
                <a:cubicBezTo>
                  <a:pt x="9304294" y="5742958"/>
                  <a:pt x="9312384" y="5749633"/>
                  <a:pt x="9317143" y="5759170"/>
                </a:cubicBezTo>
                <a:cubicBezTo>
                  <a:pt x="9326661" y="5776335"/>
                  <a:pt x="9319047" y="5801130"/>
                  <a:pt x="9300011" y="5810667"/>
                </a:cubicBezTo>
                <a:cubicBezTo>
                  <a:pt x="9300011" y="5810667"/>
                  <a:pt x="9300011" y="5810667"/>
                  <a:pt x="8963076" y="5988044"/>
                </a:cubicBezTo>
                <a:cubicBezTo>
                  <a:pt x="8944040" y="5997581"/>
                  <a:pt x="8921197" y="5989952"/>
                  <a:pt x="8911679" y="5970879"/>
                </a:cubicBezTo>
                <a:cubicBezTo>
                  <a:pt x="8907872" y="5965157"/>
                  <a:pt x="8905968" y="5959435"/>
                  <a:pt x="8905968" y="5953713"/>
                </a:cubicBezTo>
                <a:cubicBezTo>
                  <a:pt x="8905968" y="5938455"/>
                  <a:pt x="8913582" y="5925104"/>
                  <a:pt x="8926907" y="5919382"/>
                </a:cubicBezTo>
                <a:cubicBezTo>
                  <a:pt x="8926907" y="5919382"/>
                  <a:pt x="8926907" y="5919382"/>
                  <a:pt x="9265746" y="5742004"/>
                </a:cubicBezTo>
                <a:cubicBezTo>
                  <a:pt x="9275264" y="5737236"/>
                  <a:pt x="9285734" y="5736759"/>
                  <a:pt x="9295014" y="5739858"/>
                </a:cubicBezTo>
                <a:close/>
                <a:moveTo>
                  <a:pt x="11032399" y="5727762"/>
                </a:moveTo>
                <a:cubicBezTo>
                  <a:pt x="11042155" y="5730372"/>
                  <a:pt x="11050721" y="5736541"/>
                  <a:pt x="11055480" y="5746031"/>
                </a:cubicBezTo>
                <a:cubicBezTo>
                  <a:pt x="11064998" y="5766910"/>
                  <a:pt x="11057384" y="5789687"/>
                  <a:pt x="11038348" y="5799178"/>
                </a:cubicBezTo>
                <a:cubicBezTo>
                  <a:pt x="11038348" y="5799178"/>
                  <a:pt x="11038348" y="5799178"/>
                  <a:pt x="10701413" y="5973803"/>
                </a:cubicBezTo>
                <a:cubicBezTo>
                  <a:pt x="10682377" y="5983294"/>
                  <a:pt x="10657630" y="5975701"/>
                  <a:pt x="10648112" y="5956720"/>
                </a:cubicBezTo>
                <a:cubicBezTo>
                  <a:pt x="10646209" y="5951026"/>
                  <a:pt x="10644305" y="5945332"/>
                  <a:pt x="10644305" y="5937739"/>
                </a:cubicBezTo>
                <a:cubicBezTo>
                  <a:pt x="10644305" y="5924453"/>
                  <a:pt x="10651919" y="5911166"/>
                  <a:pt x="10665244" y="5903573"/>
                </a:cubicBezTo>
                <a:cubicBezTo>
                  <a:pt x="10665244" y="5903573"/>
                  <a:pt x="10665244" y="5903573"/>
                  <a:pt x="11002180" y="5730846"/>
                </a:cubicBezTo>
                <a:cubicBezTo>
                  <a:pt x="11011697" y="5726101"/>
                  <a:pt x="11022643" y="5725152"/>
                  <a:pt x="11032399" y="5727762"/>
                </a:cubicBezTo>
                <a:close/>
                <a:moveTo>
                  <a:pt x="8723506" y="5727762"/>
                </a:moveTo>
                <a:cubicBezTo>
                  <a:pt x="8732786" y="5730372"/>
                  <a:pt x="8740876" y="5736541"/>
                  <a:pt x="8745635" y="5746031"/>
                </a:cubicBezTo>
                <a:cubicBezTo>
                  <a:pt x="8755153" y="5766910"/>
                  <a:pt x="8747539" y="5789687"/>
                  <a:pt x="8728503" y="5799178"/>
                </a:cubicBezTo>
                <a:cubicBezTo>
                  <a:pt x="8728503" y="5799178"/>
                  <a:pt x="8728503" y="5799178"/>
                  <a:pt x="8391568" y="5973803"/>
                </a:cubicBezTo>
                <a:cubicBezTo>
                  <a:pt x="8372532" y="5983294"/>
                  <a:pt x="8349689" y="5975701"/>
                  <a:pt x="8338267" y="5956720"/>
                </a:cubicBezTo>
                <a:cubicBezTo>
                  <a:pt x="8336363" y="5951026"/>
                  <a:pt x="8334460" y="5945332"/>
                  <a:pt x="8334460" y="5937739"/>
                </a:cubicBezTo>
                <a:cubicBezTo>
                  <a:pt x="8334460" y="5924453"/>
                  <a:pt x="8342074" y="5911166"/>
                  <a:pt x="8355399" y="5903573"/>
                </a:cubicBezTo>
                <a:cubicBezTo>
                  <a:pt x="8355399" y="5903573"/>
                  <a:pt x="8355399" y="5903573"/>
                  <a:pt x="8694238" y="5730846"/>
                </a:cubicBezTo>
                <a:cubicBezTo>
                  <a:pt x="8703756" y="5726101"/>
                  <a:pt x="8714226" y="5725152"/>
                  <a:pt x="8723506" y="5727762"/>
                </a:cubicBezTo>
                <a:close/>
                <a:moveTo>
                  <a:pt x="11603271" y="5714468"/>
                </a:moveTo>
                <a:cubicBezTo>
                  <a:pt x="11612551" y="5717571"/>
                  <a:pt x="11620641" y="5724254"/>
                  <a:pt x="11625400" y="5733802"/>
                </a:cubicBezTo>
                <a:cubicBezTo>
                  <a:pt x="11634918" y="5754808"/>
                  <a:pt x="11627304" y="5777723"/>
                  <a:pt x="11608268" y="5787271"/>
                </a:cubicBezTo>
                <a:cubicBezTo>
                  <a:pt x="11608268" y="5787271"/>
                  <a:pt x="11608268" y="5787271"/>
                  <a:pt x="11271333" y="5961045"/>
                </a:cubicBezTo>
                <a:cubicBezTo>
                  <a:pt x="11252297" y="5970593"/>
                  <a:pt x="11227550" y="5962954"/>
                  <a:pt x="11218032" y="5941949"/>
                </a:cubicBezTo>
                <a:cubicBezTo>
                  <a:pt x="11214225" y="5936220"/>
                  <a:pt x="11214225" y="5930491"/>
                  <a:pt x="11214225" y="5924762"/>
                </a:cubicBezTo>
                <a:cubicBezTo>
                  <a:pt x="11214225" y="5911395"/>
                  <a:pt x="11221839" y="5896118"/>
                  <a:pt x="11235164" y="5890389"/>
                </a:cubicBezTo>
                <a:cubicBezTo>
                  <a:pt x="11235164" y="5890389"/>
                  <a:pt x="11235164" y="5890389"/>
                  <a:pt x="11574003" y="5716616"/>
                </a:cubicBezTo>
                <a:cubicBezTo>
                  <a:pt x="11583521" y="5711842"/>
                  <a:pt x="11593991" y="5711364"/>
                  <a:pt x="11603271" y="5714468"/>
                </a:cubicBezTo>
                <a:close/>
                <a:moveTo>
                  <a:pt x="8158886" y="5714468"/>
                </a:moveTo>
                <a:cubicBezTo>
                  <a:pt x="8168671" y="5717571"/>
                  <a:pt x="8177263" y="5724254"/>
                  <a:pt x="8182036" y="5733802"/>
                </a:cubicBezTo>
                <a:cubicBezTo>
                  <a:pt x="8191583" y="5754808"/>
                  <a:pt x="8183946" y="5777723"/>
                  <a:pt x="8164852" y="5787271"/>
                </a:cubicBezTo>
                <a:cubicBezTo>
                  <a:pt x="8164852" y="5787271"/>
                  <a:pt x="8164852" y="5787271"/>
                  <a:pt x="7824994" y="5961045"/>
                </a:cubicBezTo>
                <a:cubicBezTo>
                  <a:pt x="7805901" y="5970593"/>
                  <a:pt x="7782989" y="5962954"/>
                  <a:pt x="7771533" y="5941949"/>
                </a:cubicBezTo>
                <a:cubicBezTo>
                  <a:pt x="7769624" y="5936220"/>
                  <a:pt x="7767715" y="5930491"/>
                  <a:pt x="7767715" y="5924762"/>
                </a:cubicBezTo>
                <a:cubicBezTo>
                  <a:pt x="7767715" y="5911395"/>
                  <a:pt x="7775352" y="5896118"/>
                  <a:pt x="7788717" y="5890389"/>
                </a:cubicBezTo>
                <a:cubicBezTo>
                  <a:pt x="7788717" y="5890389"/>
                  <a:pt x="7788717" y="5890389"/>
                  <a:pt x="8128575" y="5716616"/>
                </a:cubicBezTo>
                <a:cubicBezTo>
                  <a:pt x="8138122" y="5711842"/>
                  <a:pt x="8149101" y="5711364"/>
                  <a:pt x="8158886" y="5714468"/>
                </a:cubicBezTo>
                <a:close/>
                <a:moveTo>
                  <a:pt x="12139750" y="5703893"/>
                </a:moveTo>
                <a:cubicBezTo>
                  <a:pt x="12139750" y="5703893"/>
                  <a:pt x="12139750" y="5703893"/>
                  <a:pt x="12139750" y="5793652"/>
                </a:cubicBezTo>
                <a:cubicBezTo>
                  <a:pt x="12139750" y="5793652"/>
                  <a:pt x="12139750" y="5793652"/>
                  <a:pt x="11833309" y="5948344"/>
                </a:cubicBezTo>
                <a:cubicBezTo>
                  <a:pt x="11814275" y="5957893"/>
                  <a:pt x="11789532" y="5950254"/>
                  <a:pt x="11780015" y="5929246"/>
                </a:cubicBezTo>
                <a:cubicBezTo>
                  <a:pt x="11778111" y="5923517"/>
                  <a:pt x="11776208" y="5917787"/>
                  <a:pt x="11776208" y="5912058"/>
                </a:cubicBezTo>
                <a:cubicBezTo>
                  <a:pt x="11776208" y="5896780"/>
                  <a:pt x="11783821" y="5883412"/>
                  <a:pt x="11799048" y="5875772"/>
                </a:cubicBezTo>
                <a:lnTo>
                  <a:pt x="12135943" y="5705803"/>
                </a:lnTo>
                <a:cubicBezTo>
                  <a:pt x="12137847" y="5705803"/>
                  <a:pt x="12139750" y="5705803"/>
                  <a:pt x="12139750" y="5703893"/>
                </a:cubicBezTo>
                <a:close/>
                <a:moveTo>
                  <a:pt x="7600201" y="5703365"/>
                </a:moveTo>
                <a:cubicBezTo>
                  <a:pt x="7609950" y="5706472"/>
                  <a:pt x="7618509" y="5713164"/>
                  <a:pt x="7623265" y="5722723"/>
                </a:cubicBezTo>
                <a:cubicBezTo>
                  <a:pt x="7632776" y="5743755"/>
                  <a:pt x="7625167" y="5766698"/>
                  <a:pt x="7604243" y="5776258"/>
                </a:cubicBezTo>
                <a:cubicBezTo>
                  <a:pt x="7604243" y="5776258"/>
                  <a:pt x="7604243" y="5776258"/>
                  <a:pt x="7267560" y="5948334"/>
                </a:cubicBezTo>
                <a:cubicBezTo>
                  <a:pt x="7246636" y="5957894"/>
                  <a:pt x="7223810" y="5950246"/>
                  <a:pt x="7214299" y="5929214"/>
                </a:cubicBezTo>
                <a:cubicBezTo>
                  <a:pt x="7210495" y="5923479"/>
                  <a:pt x="7210495" y="5917743"/>
                  <a:pt x="7210495" y="5912007"/>
                </a:cubicBezTo>
                <a:cubicBezTo>
                  <a:pt x="7210495" y="5896711"/>
                  <a:pt x="7218103" y="5883327"/>
                  <a:pt x="7231419" y="5875680"/>
                </a:cubicBezTo>
                <a:cubicBezTo>
                  <a:pt x="7231419" y="5875680"/>
                  <a:pt x="7231419" y="5875680"/>
                  <a:pt x="7570004" y="5705516"/>
                </a:cubicBezTo>
                <a:cubicBezTo>
                  <a:pt x="7579515" y="5700736"/>
                  <a:pt x="7590452" y="5700258"/>
                  <a:pt x="7600201" y="5703365"/>
                </a:cubicBezTo>
                <a:close/>
                <a:moveTo>
                  <a:pt x="7047645" y="5692216"/>
                </a:moveTo>
                <a:cubicBezTo>
                  <a:pt x="7057423" y="5695307"/>
                  <a:pt x="7066008" y="5701967"/>
                  <a:pt x="7070778" y="5711480"/>
                </a:cubicBezTo>
                <a:cubicBezTo>
                  <a:pt x="7080318" y="5732409"/>
                  <a:pt x="7072686" y="5757144"/>
                  <a:pt x="7051700" y="5766658"/>
                </a:cubicBezTo>
                <a:cubicBezTo>
                  <a:pt x="7051700" y="5766658"/>
                  <a:pt x="7051700" y="5766658"/>
                  <a:pt x="6714006" y="5934092"/>
                </a:cubicBezTo>
                <a:cubicBezTo>
                  <a:pt x="6693019" y="5943606"/>
                  <a:pt x="6670125" y="5934092"/>
                  <a:pt x="6658677" y="5915066"/>
                </a:cubicBezTo>
                <a:cubicBezTo>
                  <a:pt x="6656770" y="5909358"/>
                  <a:pt x="6654862" y="5903650"/>
                  <a:pt x="6654862" y="5897942"/>
                </a:cubicBezTo>
                <a:cubicBezTo>
                  <a:pt x="6654862" y="5882720"/>
                  <a:pt x="6664401" y="5867499"/>
                  <a:pt x="6677756" y="5861791"/>
                </a:cubicBezTo>
                <a:cubicBezTo>
                  <a:pt x="6677756" y="5861791"/>
                  <a:pt x="6677756" y="5861791"/>
                  <a:pt x="7017358" y="5694356"/>
                </a:cubicBezTo>
                <a:cubicBezTo>
                  <a:pt x="7026897" y="5689600"/>
                  <a:pt x="7037868" y="5689124"/>
                  <a:pt x="7047645" y="5692216"/>
                </a:cubicBezTo>
                <a:close/>
                <a:moveTo>
                  <a:pt x="6486856" y="5678743"/>
                </a:moveTo>
                <a:cubicBezTo>
                  <a:pt x="6502673" y="5677494"/>
                  <a:pt x="6517687" y="5686413"/>
                  <a:pt x="6526266" y="5700683"/>
                </a:cubicBezTo>
                <a:cubicBezTo>
                  <a:pt x="6535798" y="5721612"/>
                  <a:pt x="6526266" y="5746347"/>
                  <a:pt x="6507201" y="5755860"/>
                </a:cubicBezTo>
                <a:cubicBezTo>
                  <a:pt x="6507201" y="5755860"/>
                  <a:pt x="6507201" y="5755860"/>
                  <a:pt x="6167854" y="5921392"/>
                </a:cubicBezTo>
                <a:cubicBezTo>
                  <a:pt x="6146884" y="5930906"/>
                  <a:pt x="6124006" y="5921392"/>
                  <a:pt x="6114474" y="5902366"/>
                </a:cubicBezTo>
                <a:cubicBezTo>
                  <a:pt x="6110661" y="5896658"/>
                  <a:pt x="6108755" y="5890950"/>
                  <a:pt x="6108755" y="5883339"/>
                </a:cubicBezTo>
                <a:cubicBezTo>
                  <a:pt x="6108755" y="5870020"/>
                  <a:pt x="6118287" y="5854799"/>
                  <a:pt x="6131632" y="5847188"/>
                </a:cubicBezTo>
                <a:cubicBezTo>
                  <a:pt x="6131632" y="5847188"/>
                  <a:pt x="6131632" y="5847188"/>
                  <a:pt x="6470979" y="5683559"/>
                </a:cubicBezTo>
                <a:cubicBezTo>
                  <a:pt x="6476221" y="5680705"/>
                  <a:pt x="6481583" y="5679159"/>
                  <a:pt x="6486856" y="5678743"/>
                </a:cubicBezTo>
                <a:close/>
                <a:moveTo>
                  <a:pt x="5956806" y="5667777"/>
                </a:moveTo>
                <a:cubicBezTo>
                  <a:pt x="5966814" y="5671349"/>
                  <a:pt x="5975394" y="5678493"/>
                  <a:pt x="5980159" y="5688018"/>
                </a:cubicBezTo>
                <a:cubicBezTo>
                  <a:pt x="5989691" y="5708973"/>
                  <a:pt x="5980159" y="5733738"/>
                  <a:pt x="5961095" y="5743263"/>
                </a:cubicBezTo>
                <a:cubicBezTo>
                  <a:pt x="5961095" y="5743263"/>
                  <a:pt x="5961095" y="5743263"/>
                  <a:pt x="5621756" y="5907093"/>
                </a:cubicBezTo>
                <a:cubicBezTo>
                  <a:pt x="5600786" y="5916618"/>
                  <a:pt x="5576002" y="5907093"/>
                  <a:pt x="5566471" y="5888043"/>
                </a:cubicBezTo>
                <a:cubicBezTo>
                  <a:pt x="5564565" y="5882328"/>
                  <a:pt x="5562658" y="5874708"/>
                  <a:pt x="5562658" y="5868993"/>
                </a:cubicBezTo>
                <a:cubicBezTo>
                  <a:pt x="5562658" y="5853753"/>
                  <a:pt x="5570284" y="5840418"/>
                  <a:pt x="5585535" y="5832798"/>
                </a:cubicBezTo>
                <a:cubicBezTo>
                  <a:pt x="5585535" y="5832798"/>
                  <a:pt x="5585535" y="5832798"/>
                  <a:pt x="5924874" y="5668968"/>
                </a:cubicBezTo>
                <a:cubicBezTo>
                  <a:pt x="5935360" y="5664205"/>
                  <a:pt x="5946797" y="5664205"/>
                  <a:pt x="5956806" y="5667777"/>
                </a:cubicBezTo>
                <a:close/>
                <a:moveTo>
                  <a:pt x="397251" y="5667777"/>
                </a:moveTo>
                <a:cubicBezTo>
                  <a:pt x="407022" y="5671349"/>
                  <a:pt x="415601" y="5678493"/>
                  <a:pt x="420367" y="5688018"/>
                </a:cubicBezTo>
                <a:cubicBezTo>
                  <a:pt x="431806" y="5708973"/>
                  <a:pt x="422273" y="5733738"/>
                  <a:pt x="401303" y="5743263"/>
                </a:cubicBezTo>
                <a:cubicBezTo>
                  <a:pt x="401303" y="5743263"/>
                  <a:pt x="401303" y="5743263"/>
                  <a:pt x="63863" y="5907093"/>
                </a:cubicBezTo>
                <a:cubicBezTo>
                  <a:pt x="42892" y="5916618"/>
                  <a:pt x="18109" y="5907093"/>
                  <a:pt x="8576" y="5888043"/>
                </a:cubicBezTo>
                <a:cubicBezTo>
                  <a:pt x="4764" y="5882328"/>
                  <a:pt x="4764" y="5874708"/>
                  <a:pt x="4764" y="5868993"/>
                </a:cubicBezTo>
                <a:cubicBezTo>
                  <a:pt x="4764" y="5853753"/>
                  <a:pt x="12389" y="5840418"/>
                  <a:pt x="27641" y="5832798"/>
                </a:cubicBezTo>
                <a:cubicBezTo>
                  <a:pt x="27641" y="5832798"/>
                  <a:pt x="27641" y="5832798"/>
                  <a:pt x="366987" y="5668968"/>
                </a:cubicBezTo>
                <a:cubicBezTo>
                  <a:pt x="376519" y="5664205"/>
                  <a:pt x="387481" y="5664205"/>
                  <a:pt x="397251" y="5667777"/>
                </a:cubicBezTo>
                <a:close/>
                <a:moveTo>
                  <a:pt x="5407592" y="5656676"/>
                </a:moveTo>
                <a:cubicBezTo>
                  <a:pt x="5417631" y="5660252"/>
                  <a:pt x="5426713" y="5667405"/>
                  <a:pt x="5432449" y="5676941"/>
                </a:cubicBezTo>
                <a:cubicBezTo>
                  <a:pt x="5442009" y="5697922"/>
                  <a:pt x="5432449" y="5722718"/>
                  <a:pt x="5411416" y="5732255"/>
                </a:cubicBezTo>
                <a:cubicBezTo>
                  <a:pt x="5411416" y="5732255"/>
                  <a:pt x="5411416" y="5732255"/>
                  <a:pt x="5071064" y="5894382"/>
                </a:cubicBezTo>
                <a:cubicBezTo>
                  <a:pt x="5050034" y="5903919"/>
                  <a:pt x="5025180" y="5894382"/>
                  <a:pt x="5015621" y="5873401"/>
                </a:cubicBezTo>
                <a:cubicBezTo>
                  <a:pt x="5013709" y="5867679"/>
                  <a:pt x="5011797" y="5861957"/>
                  <a:pt x="5011797" y="5856234"/>
                </a:cubicBezTo>
                <a:cubicBezTo>
                  <a:pt x="5011797" y="5840975"/>
                  <a:pt x="5021356" y="5825716"/>
                  <a:pt x="5036651" y="5818087"/>
                </a:cubicBezTo>
                <a:cubicBezTo>
                  <a:pt x="5036651" y="5818087"/>
                  <a:pt x="5036651" y="5818087"/>
                  <a:pt x="5377000" y="5657868"/>
                </a:cubicBezTo>
                <a:cubicBezTo>
                  <a:pt x="5386560" y="5653099"/>
                  <a:pt x="5397554" y="5653099"/>
                  <a:pt x="5407592" y="5656676"/>
                </a:cubicBezTo>
                <a:close/>
                <a:moveTo>
                  <a:pt x="941847" y="5656676"/>
                </a:moveTo>
                <a:cubicBezTo>
                  <a:pt x="951856" y="5660252"/>
                  <a:pt x="960435" y="5667405"/>
                  <a:pt x="965201" y="5676941"/>
                </a:cubicBezTo>
                <a:cubicBezTo>
                  <a:pt x="974733" y="5697922"/>
                  <a:pt x="965201" y="5722718"/>
                  <a:pt x="946137" y="5732255"/>
                </a:cubicBezTo>
                <a:cubicBezTo>
                  <a:pt x="946137" y="5732255"/>
                  <a:pt x="946137" y="5732255"/>
                  <a:pt x="606791" y="5894382"/>
                </a:cubicBezTo>
                <a:cubicBezTo>
                  <a:pt x="585820" y="5903919"/>
                  <a:pt x="561036" y="5894382"/>
                  <a:pt x="551504" y="5873401"/>
                </a:cubicBezTo>
                <a:cubicBezTo>
                  <a:pt x="547691" y="5867679"/>
                  <a:pt x="547691" y="5861957"/>
                  <a:pt x="547691" y="5856234"/>
                </a:cubicBezTo>
                <a:cubicBezTo>
                  <a:pt x="547691" y="5840975"/>
                  <a:pt x="555317" y="5825716"/>
                  <a:pt x="570568" y="5818087"/>
                </a:cubicBezTo>
                <a:cubicBezTo>
                  <a:pt x="570568" y="5818087"/>
                  <a:pt x="570568" y="5818087"/>
                  <a:pt x="909914" y="5657868"/>
                </a:cubicBezTo>
                <a:cubicBezTo>
                  <a:pt x="920400" y="5653099"/>
                  <a:pt x="931838" y="5653099"/>
                  <a:pt x="941847" y="5656676"/>
                </a:cubicBezTo>
                <a:close/>
                <a:moveTo>
                  <a:pt x="4853506" y="5644857"/>
                </a:moveTo>
                <a:cubicBezTo>
                  <a:pt x="4863510" y="5648199"/>
                  <a:pt x="4872082" y="5655361"/>
                  <a:pt x="4876848" y="5665864"/>
                </a:cubicBezTo>
                <a:cubicBezTo>
                  <a:pt x="4886374" y="5686872"/>
                  <a:pt x="4876848" y="5711699"/>
                  <a:pt x="4855887" y="5723158"/>
                </a:cubicBezTo>
                <a:cubicBezTo>
                  <a:pt x="4855887" y="5723158"/>
                  <a:pt x="4855887" y="5723158"/>
                  <a:pt x="4516801" y="5881669"/>
                </a:cubicBezTo>
                <a:cubicBezTo>
                  <a:pt x="4495844" y="5891218"/>
                  <a:pt x="4471079" y="5881669"/>
                  <a:pt x="4461553" y="5860661"/>
                </a:cubicBezTo>
                <a:cubicBezTo>
                  <a:pt x="4459649" y="5854932"/>
                  <a:pt x="4457744" y="5849203"/>
                  <a:pt x="4457744" y="5843473"/>
                </a:cubicBezTo>
                <a:cubicBezTo>
                  <a:pt x="4457744" y="5828195"/>
                  <a:pt x="4467269" y="5812917"/>
                  <a:pt x="4482509" y="5805278"/>
                </a:cubicBezTo>
                <a:cubicBezTo>
                  <a:pt x="4482509" y="5805278"/>
                  <a:pt x="4482509" y="5805278"/>
                  <a:pt x="4821592" y="5646767"/>
                </a:cubicBezTo>
                <a:cubicBezTo>
                  <a:pt x="4832070" y="5641992"/>
                  <a:pt x="4843502" y="5641515"/>
                  <a:pt x="4853506" y="5644857"/>
                </a:cubicBezTo>
                <a:close/>
                <a:moveTo>
                  <a:pt x="1487895" y="5644857"/>
                </a:moveTo>
                <a:cubicBezTo>
                  <a:pt x="1498134" y="5648199"/>
                  <a:pt x="1507183" y="5655361"/>
                  <a:pt x="1512898" y="5665864"/>
                </a:cubicBezTo>
                <a:cubicBezTo>
                  <a:pt x="1522423" y="5686872"/>
                  <a:pt x="1512898" y="5711699"/>
                  <a:pt x="1491943" y="5723158"/>
                </a:cubicBezTo>
                <a:cubicBezTo>
                  <a:pt x="1491943" y="5723158"/>
                  <a:pt x="1491943" y="5723158"/>
                  <a:pt x="1152849" y="5881669"/>
                </a:cubicBezTo>
                <a:cubicBezTo>
                  <a:pt x="1131894" y="5891218"/>
                  <a:pt x="1107128" y="5881669"/>
                  <a:pt x="1097603" y="5860661"/>
                </a:cubicBezTo>
                <a:cubicBezTo>
                  <a:pt x="1093793" y="5854932"/>
                  <a:pt x="1093793" y="5849203"/>
                  <a:pt x="1093793" y="5843473"/>
                </a:cubicBezTo>
                <a:cubicBezTo>
                  <a:pt x="1093793" y="5828195"/>
                  <a:pt x="1101413" y="5812917"/>
                  <a:pt x="1116653" y="5805278"/>
                </a:cubicBezTo>
                <a:cubicBezTo>
                  <a:pt x="1116653" y="5805278"/>
                  <a:pt x="1116653" y="5805278"/>
                  <a:pt x="1455747" y="5646767"/>
                </a:cubicBezTo>
                <a:cubicBezTo>
                  <a:pt x="1466225" y="5641992"/>
                  <a:pt x="1477655" y="5641515"/>
                  <a:pt x="1487895" y="5644857"/>
                </a:cubicBezTo>
                <a:close/>
                <a:moveTo>
                  <a:pt x="4280333" y="5631131"/>
                </a:moveTo>
                <a:cubicBezTo>
                  <a:pt x="4296645" y="5629974"/>
                  <a:pt x="4312420" y="5639226"/>
                  <a:pt x="4319591" y="5654883"/>
                </a:cubicBezTo>
                <a:cubicBezTo>
                  <a:pt x="4329151" y="5677657"/>
                  <a:pt x="4319591" y="5702329"/>
                  <a:pt x="4298557" y="5711818"/>
                </a:cubicBezTo>
                <a:cubicBezTo>
                  <a:pt x="4298557" y="5711818"/>
                  <a:pt x="4298557" y="5711818"/>
                  <a:pt x="3958229" y="5867442"/>
                </a:cubicBezTo>
                <a:cubicBezTo>
                  <a:pt x="3937196" y="5876931"/>
                  <a:pt x="3912337" y="5867442"/>
                  <a:pt x="3902776" y="5846565"/>
                </a:cubicBezTo>
                <a:cubicBezTo>
                  <a:pt x="3898954" y="5840872"/>
                  <a:pt x="3898954" y="5835178"/>
                  <a:pt x="3898954" y="5829485"/>
                </a:cubicBezTo>
                <a:cubicBezTo>
                  <a:pt x="3898954" y="5812404"/>
                  <a:pt x="3906600" y="5797221"/>
                  <a:pt x="3923810" y="5789630"/>
                </a:cubicBezTo>
                <a:cubicBezTo>
                  <a:pt x="3923810" y="5789630"/>
                  <a:pt x="3923810" y="5789630"/>
                  <a:pt x="4264139" y="5635905"/>
                </a:cubicBezTo>
                <a:cubicBezTo>
                  <a:pt x="4269397" y="5633058"/>
                  <a:pt x="4274895" y="5631516"/>
                  <a:pt x="4280333" y="5631131"/>
                </a:cubicBezTo>
                <a:close/>
                <a:moveTo>
                  <a:pt x="2025802" y="5631130"/>
                </a:moveTo>
                <a:cubicBezTo>
                  <a:pt x="2042192" y="5629974"/>
                  <a:pt x="2058318" y="5639226"/>
                  <a:pt x="2066916" y="5654883"/>
                </a:cubicBezTo>
                <a:cubicBezTo>
                  <a:pt x="2076469" y="5677657"/>
                  <a:pt x="2066916" y="5702329"/>
                  <a:pt x="2045894" y="5711818"/>
                </a:cubicBezTo>
                <a:cubicBezTo>
                  <a:pt x="2045894" y="5711818"/>
                  <a:pt x="2045894" y="5711818"/>
                  <a:pt x="1705799" y="5867442"/>
                </a:cubicBezTo>
                <a:cubicBezTo>
                  <a:pt x="1682871" y="5876931"/>
                  <a:pt x="1658033" y="5867442"/>
                  <a:pt x="1648480" y="5846565"/>
                </a:cubicBezTo>
                <a:cubicBezTo>
                  <a:pt x="1646569" y="5840872"/>
                  <a:pt x="1644659" y="5835178"/>
                  <a:pt x="1644659" y="5829485"/>
                </a:cubicBezTo>
                <a:cubicBezTo>
                  <a:pt x="1644659" y="5812404"/>
                  <a:pt x="1654212" y="5797221"/>
                  <a:pt x="1669497" y="5789630"/>
                </a:cubicBezTo>
                <a:cubicBezTo>
                  <a:pt x="1669497" y="5789630"/>
                  <a:pt x="1669497" y="5789630"/>
                  <a:pt x="2009592" y="5635905"/>
                </a:cubicBezTo>
                <a:cubicBezTo>
                  <a:pt x="2014846" y="5633058"/>
                  <a:pt x="2020339" y="5631516"/>
                  <a:pt x="2025802" y="5631130"/>
                </a:cubicBezTo>
                <a:close/>
                <a:moveTo>
                  <a:pt x="3732521" y="5620423"/>
                </a:moveTo>
                <a:cubicBezTo>
                  <a:pt x="3742753" y="5624247"/>
                  <a:pt x="3751320" y="5631896"/>
                  <a:pt x="3756078" y="5642413"/>
                </a:cubicBezTo>
                <a:cubicBezTo>
                  <a:pt x="3765599" y="5665360"/>
                  <a:pt x="3756078" y="5690219"/>
                  <a:pt x="3735138" y="5699780"/>
                </a:cubicBezTo>
                <a:cubicBezTo>
                  <a:pt x="3735138" y="5699780"/>
                  <a:pt x="3735138" y="5699780"/>
                  <a:pt x="3396308" y="5854670"/>
                </a:cubicBezTo>
                <a:cubicBezTo>
                  <a:pt x="3373464" y="5864231"/>
                  <a:pt x="3348715" y="5854670"/>
                  <a:pt x="3339199" y="5833635"/>
                </a:cubicBezTo>
                <a:cubicBezTo>
                  <a:pt x="3337292" y="5827899"/>
                  <a:pt x="3335390" y="5820250"/>
                  <a:pt x="3335390" y="5814513"/>
                </a:cubicBezTo>
                <a:cubicBezTo>
                  <a:pt x="3335390" y="5799215"/>
                  <a:pt x="3344907" y="5783918"/>
                  <a:pt x="3360135" y="5776269"/>
                </a:cubicBezTo>
                <a:cubicBezTo>
                  <a:pt x="3360135" y="5776269"/>
                  <a:pt x="3360135" y="5776269"/>
                  <a:pt x="3698967" y="5621379"/>
                </a:cubicBezTo>
                <a:cubicBezTo>
                  <a:pt x="3710391" y="5616598"/>
                  <a:pt x="3722287" y="5616598"/>
                  <a:pt x="3732521" y="5620423"/>
                </a:cubicBezTo>
                <a:close/>
                <a:moveTo>
                  <a:pt x="2598306" y="5620423"/>
                </a:moveTo>
                <a:cubicBezTo>
                  <a:pt x="2608777" y="5624247"/>
                  <a:pt x="2617819" y="5631896"/>
                  <a:pt x="2622577" y="5642413"/>
                </a:cubicBezTo>
                <a:cubicBezTo>
                  <a:pt x="2632096" y="5665360"/>
                  <a:pt x="2622577" y="5690219"/>
                  <a:pt x="2601638" y="5699780"/>
                </a:cubicBezTo>
                <a:cubicBezTo>
                  <a:pt x="2601638" y="5699780"/>
                  <a:pt x="2601638" y="5699780"/>
                  <a:pt x="2262794" y="5854670"/>
                </a:cubicBezTo>
                <a:cubicBezTo>
                  <a:pt x="2239951" y="5864231"/>
                  <a:pt x="2215204" y="5854670"/>
                  <a:pt x="2205686" y="5833635"/>
                </a:cubicBezTo>
                <a:cubicBezTo>
                  <a:pt x="2203782" y="5827899"/>
                  <a:pt x="2201879" y="5820250"/>
                  <a:pt x="2201879" y="5814513"/>
                </a:cubicBezTo>
                <a:cubicBezTo>
                  <a:pt x="2201879" y="5799215"/>
                  <a:pt x="2211397" y="5783918"/>
                  <a:pt x="2226626" y="5776269"/>
                </a:cubicBezTo>
                <a:cubicBezTo>
                  <a:pt x="2226626" y="5776269"/>
                  <a:pt x="2226626" y="5776269"/>
                  <a:pt x="2565468" y="5621379"/>
                </a:cubicBezTo>
                <a:cubicBezTo>
                  <a:pt x="2575938" y="5616598"/>
                  <a:pt x="2587837" y="5616598"/>
                  <a:pt x="2598306" y="5620423"/>
                </a:cubicBezTo>
                <a:close/>
                <a:moveTo>
                  <a:pt x="3160334" y="5609267"/>
                </a:moveTo>
                <a:cubicBezTo>
                  <a:pt x="3170798" y="5613073"/>
                  <a:pt x="3179834" y="5620683"/>
                  <a:pt x="3184589" y="5631147"/>
                </a:cubicBezTo>
                <a:cubicBezTo>
                  <a:pt x="3194099" y="5653978"/>
                  <a:pt x="3184589" y="5678712"/>
                  <a:pt x="3161758" y="5688224"/>
                </a:cubicBezTo>
                <a:cubicBezTo>
                  <a:pt x="3161758" y="5688224"/>
                  <a:pt x="3161758" y="5688224"/>
                  <a:pt x="2823162" y="5840431"/>
                </a:cubicBezTo>
                <a:cubicBezTo>
                  <a:pt x="2800335" y="5849944"/>
                  <a:pt x="2775607" y="5840431"/>
                  <a:pt x="2766094" y="5817600"/>
                </a:cubicBezTo>
                <a:cubicBezTo>
                  <a:pt x="2764193" y="5811892"/>
                  <a:pt x="2762292" y="5806184"/>
                  <a:pt x="2762292" y="5800477"/>
                </a:cubicBezTo>
                <a:cubicBezTo>
                  <a:pt x="2762292" y="5783353"/>
                  <a:pt x="2771803" y="5768133"/>
                  <a:pt x="2787018" y="5760522"/>
                </a:cubicBezTo>
                <a:cubicBezTo>
                  <a:pt x="2787018" y="5760522"/>
                  <a:pt x="2787018" y="5760522"/>
                  <a:pt x="3127521" y="5610219"/>
                </a:cubicBezTo>
                <a:cubicBezTo>
                  <a:pt x="3137983" y="5605462"/>
                  <a:pt x="3149871" y="5605462"/>
                  <a:pt x="3160334" y="5609267"/>
                </a:cubicBezTo>
                <a:close/>
                <a:moveTo>
                  <a:pt x="9870771" y="5423698"/>
                </a:moveTo>
                <a:cubicBezTo>
                  <a:pt x="9879370" y="5426080"/>
                  <a:pt x="9887013" y="5431795"/>
                  <a:pt x="9891790" y="5439415"/>
                </a:cubicBezTo>
                <a:cubicBezTo>
                  <a:pt x="9901345" y="5456560"/>
                  <a:pt x="9895612" y="5479420"/>
                  <a:pt x="9878414" y="5488945"/>
                </a:cubicBezTo>
                <a:cubicBezTo>
                  <a:pt x="9878414" y="5488945"/>
                  <a:pt x="9878414" y="5488945"/>
                  <a:pt x="9542094" y="5683255"/>
                </a:cubicBezTo>
                <a:cubicBezTo>
                  <a:pt x="9524896" y="5692780"/>
                  <a:pt x="9501965" y="5687065"/>
                  <a:pt x="9492411" y="5669920"/>
                </a:cubicBezTo>
                <a:cubicBezTo>
                  <a:pt x="9490500" y="5664205"/>
                  <a:pt x="9488589" y="5658490"/>
                  <a:pt x="9488589" y="5650870"/>
                </a:cubicBezTo>
                <a:cubicBezTo>
                  <a:pt x="9488589" y="5639440"/>
                  <a:pt x="9494322" y="5628010"/>
                  <a:pt x="9505787" y="5620390"/>
                </a:cubicBezTo>
                <a:cubicBezTo>
                  <a:pt x="9505787" y="5620390"/>
                  <a:pt x="9505787" y="5620390"/>
                  <a:pt x="9844018" y="5427985"/>
                </a:cubicBezTo>
                <a:cubicBezTo>
                  <a:pt x="9852617" y="5422270"/>
                  <a:pt x="9862172" y="5421317"/>
                  <a:pt x="9870771" y="5423698"/>
                </a:cubicBezTo>
                <a:close/>
                <a:moveTo>
                  <a:pt x="10454072" y="5413206"/>
                </a:moveTo>
                <a:cubicBezTo>
                  <a:pt x="10463135" y="5415582"/>
                  <a:pt x="10471244" y="5421284"/>
                  <a:pt x="10476013" y="5429836"/>
                </a:cubicBezTo>
                <a:cubicBezTo>
                  <a:pt x="10485553" y="5446941"/>
                  <a:pt x="10479829" y="5469747"/>
                  <a:pt x="10460750" y="5479250"/>
                </a:cubicBezTo>
                <a:cubicBezTo>
                  <a:pt x="10460750" y="5479250"/>
                  <a:pt x="10460750" y="5479250"/>
                  <a:pt x="10123044" y="5667402"/>
                </a:cubicBezTo>
                <a:cubicBezTo>
                  <a:pt x="10105873" y="5676905"/>
                  <a:pt x="10084886" y="5671203"/>
                  <a:pt x="10075346" y="5654098"/>
                </a:cubicBezTo>
                <a:cubicBezTo>
                  <a:pt x="10071530" y="5648397"/>
                  <a:pt x="10069622" y="5642695"/>
                  <a:pt x="10069622" y="5636994"/>
                </a:cubicBezTo>
                <a:cubicBezTo>
                  <a:pt x="10069622" y="5623690"/>
                  <a:pt x="10077254" y="5610386"/>
                  <a:pt x="10088701" y="5604685"/>
                </a:cubicBezTo>
                <a:cubicBezTo>
                  <a:pt x="10088701" y="5604685"/>
                  <a:pt x="10088701" y="5604685"/>
                  <a:pt x="10426407" y="5416532"/>
                </a:cubicBezTo>
                <a:cubicBezTo>
                  <a:pt x="10434993" y="5411781"/>
                  <a:pt x="10445009" y="5410831"/>
                  <a:pt x="10454072" y="5413206"/>
                </a:cubicBezTo>
                <a:close/>
                <a:moveTo>
                  <a:pt x="9292639" y="5413206"/>
                </a:moveTo>
                <a:cubicBezTo>
                  <a:pt x="9301225" y="5415582"/>
                  <a:pt x="9308857" y="5421284"/>
                  <a:pt x="9313626" y="5429836"/>
                </a:cubicBezTo>
                <a:cubicBezTo>
                  <a:pt x="9325074" y="5446941"/>
                  <a:pt x="9317442" y="5469747"/>
                  <a:pt x="9300271" y="5479250"/>
                </a:cubicBezTo>
                <a:cubicBezTo>
                  <a:pt x="9300271" y="5479250"/>
                  <a:pt x="9300271" y="5479250"/>
                  <a:pt x="8962565" y="5667402"/>
                </a:cubicBezTo>
                <a:cubicBezTo>
                  <a:pt x="8945394" y="5676905"/>
                  <a:pt x="8922499" y="5671203"/>
                  <a:pt x="8912959" y="5654098"/>
                </a:cubicBezTo>
                <a:cubicBezTo>
                  <a:pt x="8911051" y="5648397"/>
                  <a:pt x="8909143" y="5642695"/>
                  <a:pt x="8909143" y="5636994"/>
                </a:cubicBezTo>
                <a:cubicBezTo>
                  <a:pt x="8909143" y="5623690"/>
                  <a:pt x="8914867" y="5610386"/>
                  <a:pt x="8928222" y="5604685"/>
                </a:cubicBezTo>
                <a:cubicBezTo>
                  <a:pt x="8928222" y="5604685"/>
                  <a:pt x="8928222" y="5604685"/>
                  <a:pt x="9265928" y="5416532"/>
                </a:cubicBezTo>
                <a:cubicBezTo>
                  <a:pt x="9274513" y="5411781"/>
                  <a:pt x="9284053" y="5410831"/>
                  <a:pt x="9292639" y="5413206"/>
                </a:cubicBezTo>
                <a:close/>
                <a:moveTo>
                  <a:pt x="11031715" y="5402102"/>
                </a:moveTo>
                <a:cubicBezTo>
                  <a:pt x="11041009" y="5404480"/>
                  <a:pt x="11049111" y="5410188"/>
                  <a:pt x="11053878" y="5418751"/>
                </a:cubicBezTo>
                <a:cubicBezTo>
                  <a:pt x="11063410" y="5437778"/>
                  <a:pt x="11055784" y="5460611"/>
                  <a:pt x="11038626" y="5470125"/>
                </a:cubicBezTo>
                <a:cubicBezTo>
                  <a:pt x="11038626" y="5470125"/>
                  <a:pt x="11038626" y="5470125"/>
                  <a:pt x="10701180" y="5654692"/>
                </a:cubicBezTo>
                <a:cubicBezTo>
                  <a:pt x="10682115" y="5664206"/>
                  <a:pt x="10661144" y="5658498"/>
                  <a:pt x="10649705" y="5639470"/>
                </a:cubicBezTo>
                <a:cubicBezTo>
                  <a:pt x="10647798" y="5633762"/>
                  <a:pt x="10645892" y="5628053"/>
                  <a:pt x="10645892" y="5622345"/>
                </a:cubicBezTo>
                <a:cubicBezTo>
                  <a:pt x="10645892" y="5609026"/>
                  <a:pt x="10653518" y="5595707"/>
                  <a:pt x="10664957" y="5589998"/>
                </a:cubicBezTo>
                <a:cubicBezTo>
                  <a:pt x="10664957" y="5589998"/>
                  <a:pt x="10664957" y="5589998"/>
                  <a:pt x="11002403" y="5405432"/>
                </a:cubicBezTo>
                <a:cubicBezTo>
                  <a:pt x="11011936" y="5400675"/>
                  <a:pt x="11022421" y="5399723"/>
                  <a:pt x="11031715" y="5402102"/>
                </a:cubicBezTo>
                <a:close/>
                <a:moveTo>
                  <a:pt x="8722109" y="5402102"/>
                </a:moveTo>
                <a:cubicBezTo>
                  <a:pt x="8731165" y="5404480"/>
                  <a:pt x="8739268" y="5410189"/>
                  <a:pt x="8744034" y="5418751"/>
                </a:cubicBezTo>
                <a:cubicBezTo>
                  <a:pt x="8753566" y="5437778"/>
                  <a:pt x="8747847" y="5460611"/>
                  <a:pt x="8728782" y="5470125"/>
                </a:cubicBezTo>
                <a:cubicBezTo>
                  <a:pt x="8728782" y="5470125"/>
                  <a:pt x="8728782" y="5470125"/>
                  <a:pt x="8391336" y="5654692"/>
                </a:cubicBezTo>
                <a:cubicBezTo>
                  <a:pt x="8374177" y="5664206"/>
                  <a:pt x="8351300" y="5658498"/>
                  <a:pt x="8341767" y="5639470"/>
                </a:cubicBezTo>
                <a:cubicBezTo>
                  <a:pt x="8337954" y="5633762"/>
                  <a:pt x="8336048" y="5628053"/>
                  <a:pt x="8336048" y="5622345"/>
                </a:cubicBezTo>
                <a:cubicBezTo>
                  <a:pt x="8336048" y="5609026"/>
                  <a:pt x="8343674" y="5595707"/>
                  <a:pt x="8355113" y="5589998"/>
                </a:cubicBezTo>
                <a:cubicBezTo>
                  <a:pt x="8355113" y="5589998"/>
                  <a:pt x="8355113" y="5589998"/>
                  <a:pt x="8694465" y="5405432"/>
                </a:cubicBezTo>
                <a:cubicBezTo>
                  <a:pt x="8703044" y="5400675"/>
                  <a:pt x="8713053" y="5399723"/>
                  <a:pt x="8722109" y="5402102"/>
                </a:cubicBezTo>
                <a:close/>
                <a:moveTo>
                  <a:pt x="11601635" y="5389647"/>
                </a:moveTo>
                <a:cubicBezTo>
                  <a:pt x="11610929" y="5392266"/>
                  <a:pt x="11619032" y="5398458"/>
                  <a:pt x="11623798" y="5407983"/>
                </a:cubicBezTo>
                <a:cubicBezTo>
                  <a:pt x="11633330" y="5427033"/>
                  <a:pt x="11627611" y="5449893"/>
                  <a:pt x="11608546" y="5459418"/>
                </a:cubicBezTo>
                <a:cubicBezTo>
                  <a:pt x="11608546" y="5459418"/>
                  <a:pt x="11608546" y="5459418"/>
                  <a:pt x="11271100" y="5638488"/>
                </a:cubicBezTo>
                <a:cubicBezTo>
                  <a:pt x="11252035" y="5649918"/>
                  <a:pt x="11229157" y="5642298"/>
                  <a:pt x="11219625" y="5623248"/>
                </a:cubicBezTo>
                <a:cubicBezTo>
                  <a:pt x="11215812" y="5617533"/>
                  <a:pt x="11215812" y="5611818"/>
                  <a:pt x="11215812" y="5606103"/>
                </a:cubicBezTo>
                <a:cubicBezTo>
                  <a:pt x="11215812" y="5592768"/>
                  <a:pt x="11221531" y="5579433"/>
                  <a:pt x="11234877" y="5571813"/>
                </a:cubicBezTo>
                <a:cubicBezTo>
                  <a:pt x="11234877" y="5571813"/>
                  <a:pt x="11234877" y="5571813"/>
                  <a:pt x="11572323" y="5392743"/>
                </a:cubicBezTo>
                <a:cubicBezTo>
                  <a:pt x="11581856" y="5387980"/>
                  <a:pt x="11592341" y="5387028"/>
                  <a:pt x="11601635" y="5389647"/>
                </a:cubicBezTo>
                <a:close/>
                <a:moveTo>
                  <a:pt x="8158325" y="5389647"/>
                </a:moveTo>
                <a:cubicBezTo>
                  <a:pt x="8167612" y="5392267"/>
                  <a:pt x="8175708" y="5398458"/>
                  <a:pt x="8180471" y="5407983"/>
                </a:cubicBezTo>
                <a:cubicBezTo>
                  <a:pt x="8189996" y="5427033"/>
                  <a:pt x="8182376" y="5449893"/>
                  <a:pt x="8165230" y="5459418"/>
                </a:cubicBezTo>
                <a:cubicBezTo>
                  <a:pt x="8165230" y="5459418"/>
                  <a:pt x="8165230" y="5459418"/>
                  <a:pt x="7826136" y="5638488"/>
                </a:cubicBezTo>
                <a:cubicBezTo>
                  <a:pt x="7808990" y="5649918"/>
                  <a:pt x="7786130" y="5642298"/>
                  <a:pt x="7774700" y="5623248"/>
                </a:cubicBezTo>
                <a:cubicBezTo>
                  <a:pt x="7772795" y="5617533"/>
                  <a:pt x="7770890" y="5611818"/>
                  <a:pt x="7770890" y="5606103"/>
                </a:cubicBezTo>
                <a:cubicBezTo>
                  <a:pt x="7770890" y="5592768"/>
                  <a:pt x="7778510" y="5579433"/>
                  <a:pt x="7791845" y="5571813"/>
                </a:cubicBezTo>
                <a:cubicBezTo>
                  <a:pt x="7791845" y="5571813"/>
                  <a:pt x="7791845" y="5571813"/>
                  <a:pt x="8129035" y="5392743"/>
                </a:cubicBezTo>
                <a:cubicBezTo>
                  <a:pt x="8138560" y="5387980"/>
                  <a:pt x="8149038" y="5387028"/>
                  <a:pt x="8158325" y="5389647"/>
                </a:cubicBezTo>
                <a:close/>
                <a:moveTo>
                  <a:pt x="12139750" y="5380043"/>
                </a:moveTo>
                <a:cubicBezTo>
                  <a:pt x="12139750" y="5380043"/>
                  <a:pt x="12139750" y="5380043"/>
                  <a:pt x="12139750" y="5467782"/>
                </a:cubicBezTo>
                <a:cubicBezTo>
                  <a:pt x="12139750" y="5467782"/>
                  <a:pt x="12139750" y="5467782"/>
                  <a:pt x="11833041" y="5626094"/>
                </a:cubicBezTo>
                <a:cubicBezTo>
                  <a:pt x="11813990" y="5635631"/>
                  <a:pt x="11791130" y="5628001"/>
                  <a:pt x="11781605" y="5608928"/>
                </a:cubicBezTo>
                <a:cubicBezTo>
                  <a:pt x="11777795" y="5603205"/>
                  <a:pt x="11777795" y="5597483"/>
                  <a:pt x="11777795" y="5591761"/>
                </a:cubicBezTo>
                <a:cubicBezTo>
                  <a:pt x="11777795" y="5578410"/>
                  <a:pt x="11785415" y="5565058"/>
                  <a:pt x="11798750" y="5557428"/>
                </a:cubicBezTo>
                <a:lnTo>
                  <a:pt x="12135940" y="5381950"/>
                </a:lnTo>
                <a:cubicBezTo>
                  <a:pt x="12137845" y="5381950"/>
                  <a:pt x="12139750" y="5380043"/>
                  <a:pt x="12139750" y="5380043"/>
                </a:cubicBezTo>
                <a:close/>
                <a:moveTo>
                  <a:pt x="7599540" y="5379505"/>
                </a:moveTo>
                <a:cubicBezTo>
                  <a:pt x="7608821" y="5382608"/>
                  <a:pt x="7616911" y="5389291"/>
                  <a:pt x="7621670" y="5398839"/>
                </a:cubicBezTo>
                <a:cubicBezTo>
                  <a:pt x="7631188" y="5417935"/>
                  <a:pt x="7623573" y="5440850"/>
                  <a:pt x="7604538" y="5450398"/>
                </a:cubicBezTo>
                <a:cubicBezTo>
                  <a:pt x="7604538" y="5450398"/>
                  <a:pt x="7604538" y="5450398"/>
                  <a:pt x="7267602" y="5626082"/>
                </a:cubicBezTo>
                <a:cubicBezTo>
                  <a:pt x="7248567" y="5635630"/>
                  <a:pt x="7225723" y="5627991"/>
                  <a:pt x="7214302" y="5608895"/>
                </a:cubicBezTo>
                <a:cubicBezTo>
                  <a:pt x="7212398" y="5603167"/>
                  <a:pt x="7210495" y="5597438"/>
                  <a:pt x="7210495" y="5591709"/>
                </a:cubicBezTo>
                <a:cubicBezTo>
                  <a:pt x="7210495" y="5578342"/>
                  <a:pt x="7218109" y="5564975"/>
                  <a:pt x="7231434" y="5557336"/>
                </a:cubicBezTo>
                <a:cubicBezTo>
                  <a:pt x="7231434" y="5557336"/>
                  <a:pt x="7231434" y="5557336"/>
                  <a:pt x="7570273" y="5381653"/>
                </a:cubicBezTo>
                <a:cubicBezTo>
                  <a:pt x="7579791" y="5376879"/>
                  <a:pt x="7590261" y="5376401"/>
                  <a:pt x="7599540" y="5379505"/>
                </a:cubicBezTo>
                <a:close/>
                <a:moveTo>
                  <a:pt x="7046905" y="5368357"/>
                </a:moveTo>
                <a:cubicBezTo>
                  <a:pt x="7056451" y="5371445"/>
                  <a:pt x="7065043" y="5378096"/>
                  <a:pt x="7070771" y="5387598"/>
                </a:cubicBezTo>
                <a:cubicBezTo>
                  <a:pt x="7080318" y="5406602"/>
                  <a:pt x="7072681" y="5431306"/>
                  <a:pt x="7051678" y="5440808"/>
                </a:cubicBezTo>
                <a:cubicBezTo>
                  <a:pt x="7051678" y="5440808"/>
                  <a:pt x="7051678" y="5440808"/>
                  <a:pt x="6713729" y="5611841"/>
                </a:cubicBezTo>
                <a:cubicBezTo>
                  <a:pt x="6694636" y="5621343"/>
                  <a:pt x="6669815" y="5613741"/>
                  <a:pt x="6660268" y="5594738"/>
                </a:cubicBezTo>
                <a:cubicBezTo>
                  <a:pt x="6656450" y="5589037"/>
                  <a:pt x="6656450" y="5581435"/>
                  <a:pt x="6656450" y="5575734"/>
                </a:cubicBezTo>
                <a:cubicBezTo>
                  <a:pt x="6656450" y="5562431"/>
                  <a:pt x="6664087" y="5547229"/>
                  <a:pt x="6677452" y="5541527"/>
                </a:cubicBezTo>
                <a:cubicBezTo>
                  <a:pt x="6677452" y="5541527"/>
                  <a:pt x="6677452" y="5541527"/>
                  <a:pt x="7017310" y="5370495"/>
                </a:cubicBezTo>
                <a:cubicBezTo>
                  <a:pt x="7026857" y="5365744"/>
                  <a:pt x="7037358" y="5365269"/>
                  <a:pt x="7046905" y="5368357"/>
                </a:cubicBezTo>
                <a:close/>
                <a:moveTo>
                  <a:pt x="6501958" y="5357490"/>
                </a:moveTo>
                <a:cubicBezTo>
                  <a:pt x="6511491" y="5360820"/>
                  <a:pt x="6519593" y="5367955"/>
                  <a:pt x="6524359" y="5378420"/>
                </a:cubicBezTo>
                <a:cubicBezTo>
                  <a:pt x="6535798" y="5397446"/>
                  <a:pt x="6526266" y="5422181"/>
                  <a:pt x="6507201" y="5431695"/>
                </a:cubicBezTo>
                <a:cubicBezTo>
                  <a:pt x="6507201" y="5431695"/>
                  <a:pt x="6507201" y="5431695"/>
                  <a:pt x="6167854" y="5597227"/>
                </a:cubicBezTo>
                <a:cubicBezTo>
                  <a:pt x="6148790" y="5608643"/>
                  <a:pt x="6124006" y="5599129"/>
                  <a:pt x="6114474" y="5580103"/>
                </a:cubicBezTo>
                <a:cubicBezTo>
                  <a:pt x="6110661" y="5574395"/>
                  <a:pt x="6108755" y="5568687"/>
                  <a:pt x="6108755" y="5561076"/>
                </a:cubicBezTo>
                <a:cubicBezTo>
                  <a:pt x="6108755" y="5547757"/>
                  <a:pt x="6118287" y="5532536"/>
                  <a:pt x="6131632" y="5524925"/>
                </a:cubicBezTo>
                <a:cubicBezTo>
                  <a:pt x="6131632" y="5524925"/>
                  <a:pt x="6131632" y="5524925"/>
                  <a:pt x="6470979" y="5359393"/>
                </a:cubicBezTo>
                <a:cubicBezTo>
                  <a:pt x="6481464" y="5354637"/>
                  <a:pt x="6492426" y="5354161"/>
                  <a:pt x="6501958" y="5357490"/>
                </a:cubicBezTo>
                <a:close/>
                <a:moveTo>
                  <a:pt x="5956806" y="5347061"/>
                </a:moveTo>
                <a:cubicBezTo>
                  <a:pt x="5966814" y="5350615"/>
                  <a:pt x="5975394" y="5357723"/>
                  <a:pt x="5980159" y="5367201"/>
                </a:cubicBezTo>
                <a:cubicBezTo>
                  <a:pt x="5989691" y="5388051"/>
                  <a:pt x="5980159" y="5412693"/>
                  <a:pt x="5961095" y="5422171"/>
                </a:cubicBezTo>
                <a:cubicBezTo>
                  <a:pt x="5961095" y="5422171"/>
                  <a:pt x="5961095" y="5422171"/>
                  <a:pt x="5621756" y="5583290"/>
                </a:cubicBezTo>
                <a:cubicBezTo>
                  <a:pt x="5600786" y="5592768"/>
                  <a:pt x="5576002" y="5585186"/>
                  <a:pt x="5566471" y="5564335"/>
                </a:cubicBezTo>
                <a:cubicBezTo>
                  <a:pt x="5562658" y="5558648"/>
                  <a:pt x="5562658" y="5552962"/>
                  <a:pt x="5562658" y="5547275"/>
                </a:cubicBezTo>
                <a:cubicBezTo>
                  <a:pt x="5562658" y="5532111"/>
                  <a:pt x="5570284" y="5516947"/>
                  <a:pt x="5585535" y="5509365"/>
                </a:cubicBezTo>
                <a:cubicBezTo>
                  <a:pt x="5585535" y="5509365"/>
                  <a:pt x="5585535" y="5509365"/>
                  <a:pt x="5924874" y="5348245"/>
                </a:cubicBezTo>
                <a:cubicBezTo>
                  <a:pt x="5935360" y="5343507"/>
                  <a:pt x="5946797" y="5343507"/>
                  <a:pt x="5956806" y="5347061"/>
                </a:cubicBezTo>
                <a:close/>
                <a:moveTo>
                  <a:pt x="398204" y="5347061"/>
                </a:moveTo>
                <a:cubicBezTo>
                  <a:pt x="407975" y="5350615"/>
                  <a:pt x="416554" y="5357723"/>
                  <a:pt x="422273" y="5367201"/>
                </a:cubicBezTo>
                <a:cubicBezTo>
                  <a:pt x="431805" y="5388051"/>
                  <a:pt x="422273" y="5412693"/>
                  <a:pt x="401302" y="5422171"/>
                </a:cubicBezTo>
                <a:cubicBezTo>
                  <a:pt x="401302" y="5422171"/>
                  <a:pt x="401302" y="5422171"/>
                  <a:pt x="63863" y="5583290"/>
                </a:cubicBezTo>
                <a:cubicBezTo>
                  <a:pt x="42892" y="5592768"/>
                  <a:pt x="18108" y="5585186"/>
                  <a:pt x="8576" y="5564335"/>
                </a:cubicBezTo>
                <a:cubicBezTo>
                  <a:pt x="4763" y="5558648"/>
                  <a:pt x="4763" y="5552962"/>
                  <a:pt x="4763" y="5547275"/>
                </a:cubicBezTo>
                <a:cubicBezTo>
                  <a:pt x="4763" y="5532111"/>
                  <a:pt x="12389" y="5516947"/>
                  <a:pt x="27641" y="5509365"/>
                </a:cubicBezTo>
                <a:cubicBezTo>
                  <a:pt x="27641" y="5509365"/>
                  <a:pt x="27641" y="5509365"/>
                  <a:pt x="366986" y="5348245"/>
                </a:cubicBezTo>
                <a:cubicBezTo>
                  <a:pt x="377472" y="5343507"/>
                  <a:pt x="388434" y="5343507"/>
                  <a:pt x="398204" y="5347061"/>
                </a:cubicBezTo>
                <a:close/>
                <a:moveTo>
                  <a:pt x="5409026" y="5334662"/>
                </a:moveTo>
                <a:cubicBezTo>
                  <a:pt x="5419064" y="5338481"/>
                  <a:pt x="5427669" y="5346121"/>
                  <a:pt x="5432449" y="5356624"/>
                </a:cubicBezTo>
                <a:cubicBezTo>
                  <a:pt x="5442009" y="5377632"/>
                  <a:pt x="5432449" y="5402459"/>
                  <a:pt x="5411416" y="5412008"/>
                </a:cubicBezTo>
                <a:cubicBezTo>
                  <a:pt x="5411416" y="5412008"/>
                  <a:pt x="5411416" y="5412008"/>
                  <a:pt x="5071064" y="5570519"/>
                </a:cubicBezTo>
                <a:cubicBezTo>
                  <a:pt x="5050034" y="5580068"/>
                  <a:pt x="5025180" y="5570519"/>
                  <a:pt x="5015621" y="5549511"/>
                </a:cubicBezTo>
                <a:cubicBezTo>
                  <a:pt x="5011797" y="5543782"/>
                  <a:pt x="5011797" y="5538053"/>
                  <a:pt x="5011797" y="5532323"/>
                </a:cubicBezTo>
                <a:cubicBezTo>
                  <a:pt x="5011797" y="5515135"/>
                  <a:pt x="5021356" y="5499857"/>
                  <a:pt x="5036651" y="5494128"/>
                </a:cubicBezTo>
                <a:cubicBezTo>
                  <a:pt x="5036651" y="5494128"/>
                  <a:pt x="5036651" y="5494128"/>
                  <a:pt x="5377000" y="5335617"/>
                </a:cubicBezTo>
                <a:cubicBezTo>
                  <a:pt x="5387517" y="5330842"/>
                  <a:pt x="5398989" y="5330842"/>
                  <a:pt x="5409026" y="5334662"/>
                </a:cubicBezTo>
                <a:close/>
                <a:moveTo>
                  <a:pt x="941871" y="5334662"/>
                </a:moveTo>
                <a:cubicBezTo>
                  <a:pt x="951873" y="5338481"/>
                  <a:pt x="960445" y="5346121"/>
                  <a:pt x="965208" y="5356624"/>
                </a:cubicBezTo>
                <a:cubicBezTo>
                  <a:pt x="974733" y="5377632"/>
                  <a:pt x="967113" y="5402459"/>
                  <a:pt x="946158" y="5412008"/>
                </a:cubicBezTo>
                <a:cubicBezTo>
                  <a:pt x="946158" y="5412008"/>
                  <a:pt x="946158" y="5412008"/>
                  <a:pt x="605159" y="5570519"/>
                </a:cubicBezTo>
                <a:cubicBezTo>
                  <a:pt x="584203" y="5580068"/>
                  <a:pt x="559438" y="5570519"/>
                  <a:pt x="549913" y="5549511"/>
                </a:cubicBezTo>
                <a:cubicBezTo>
                  <a:pt x="548008" y="5543782"/>
                  <a:pt x="546103" y="5538053"/>
                  <a:pt x="546103" y="5532323"/>
                </a:cubicBezTo>
                <a:cubicBezTo>
                  <a:pt x="546103" y="5515135"/>
                  <a:pt x="555628" y="5499857"/>
                  <a:pt x="570868" y="5494128"/>
                </a:cubicBezTo>
                <a:cubicBezTo>
                  <a:pt x="570868" y="5494128"/>
                  <a:pt x="570868" y="5494128"/>
                  <a:pt x="909962" y="5335617"/>
                </a:cubicBezTo>
                <a:cubicBezTo>
                  <a:pt x="920440" y="5330842"/>
                  <a:pt x="931870" y="5330842"/>
                  <a:pt x="941871" y="5334662"/>
                </a:cubicBezTo>
                <a:close/>
                <a:moveTo>
                  <a:pt x="4854192" y="5323799"/>
                </a:moveTo>
                <a:cubicBezTo>
                  <a:pt x="4864655" y="5327862"/>
                  <a:pt x="4873694" y="5335989"/>
                  <a:pt x="4878449" y="5347462"/>
                </a:cubicBezTo>
                <a:cubicBezTo>
                  <a:pt x="4887960" y="5368497"/>
                  <a:pt x="4878449" y="5393356"/>
                  <a:pt x="4855618" y="5402917"/>
                </a:cubicBezTo>
                <a:cubicBezTo>
                  <a:pt x="4855618" y="5402917"/>
                  <a:pt x="4855618" y="5402917"/>
                  <a:pt x="4517026" y="5555894"/>
                </a:cubicBezTo>
                <a:cubicBezTo>
                  <a:pt x="4496103" y="5567368"/>
                  <a:pt x="4471375" y="5557807"/>
                  <a:pt x="4459961" y="5534860"/>
                </a:cubicBezTo>
                <a:cubicBezTo>
                  <a:pt x="4458059" y="5529123"/>
                  <a:pt x="4456156" y="5523387"/>
                  <a:pt x="4456156" y="5517650"/>
                </a:cubicBezTo>
                <a:cubicBezTo>
                  <a:pt x="4456156" y="5500440"/>
                  <a:pt x="4465668" y="5485142"/>
                  <a:pt x="4482788" y="5477493"/>
                </a:cubicBezTo>
                <a:cubicBezTo>
                  <a:pt x="4482788" y="5477493"/>
                  <a:pt x="4482788" y="5477493"/>
                  <a:pt x="4821374" y="5324516"/>
                </a:cubicBezTo>
                <a:cubicBezTo>
                  <a:pt x="4831837" y="5319735"/>
                  <a:pt x="4843727" y="5319735"/>
                  <a:pt x="4854192" y="5323799"/>
                </a:cubicBezTo>
                <a:close/>
                <a:moveTo>
                  <a:pt x="1489585" y="5323799"/>
                </a:moveTo>
                <a:cubicBezTo>
                  <a:pt x="1499579" y="5327862"/>
                  <a:pt x="1508145" y="5335989"/>
                  <a:pt x="1512904" y="5347462"/>
                </a:cubicBezTo>
                <a:cubicBezTo>
                  <a:pt x="1522422" y="5368497"/>
                  <a:pt x="1512904" y="5393356"/>
                  <a:pt x="1491964" y="5402917"/>
                </a:cubicBezTo>
                <a:cubicBezTo>
                  <a:pt x="1491964" y="5402917"/>
                  <a:pt x="1491964" y="5402917"/>
                  <a:pt x="1153121" y="5555894"/>
                </a:cubicBezTo>
                <a:cubicBezTo>
                  <a:pt x="1130277" y="5567368"/>
                  <a:pt x="1105530" y="5557807"/>
                  <a:pt x="1096012" y="5534860"/>
                </a:cubicBezTo>
                <a:cubicBezTo>
                  <a:pt x="1094109" y="5529123"/>
                  <a:pt x="1092205" y="5523387"/>
                  <a:pt x="1092205" y="5517650"/>
                </a:cubicBezTo>
                <a:cubicBezTo>
                  <a:pt x="1092205" y="5500440"/>
                  <a:pt x="1101723" y="5485142"/>
                  <a:pt x="1116952" y="5477493"/>
                </a:cubicBezTo>
                <a:cubicBezTo>
                  <a:pt x="1116952" y="5477493"/>
                  <a:pt x="1116952" y="5477493"/>
                  <a:pt x="1457699" y="5324516"/>
                </a:cubicBezTo>
                <a:cubicBezTo>
                  <a:pt x="1468169" y="5319735"/>
                  <a:pt x="1479591" y="5319735"/>
                  <a:pt x="1489585" y="5323799"/>
                </a:cubicBezTo>
                <a:close/>
                <a:moveTo>
                  <a:pt x="4281187" y="5309975"/>
                </a:moveTo>
                <a:cubicBezTo>
                  <a:pt x="4298281" y="5310153"/>
                  <a:pt x="4314032" y="5320512"/>
                  <a:pt x="4321192" y="5336228"/>
                </a:cubicBezTo>
                <a:cubicBezTo>
                  <a:pt x="4330738" y="5359088"/>
                  <a:pt x="4321192" y="5383853"/>
                  <a:pt x="4298280" y="5395283"/>
                </a:cubicBezTo>
                <a:cubicBezTo>
                  <a:pt x="4298280" y="5395283"/>
                  <a:pt x="4298280" y="5395283"/>
                  <a:pt x="3958460" y="5541968"/>
                </a:cubicBezTo>
                <a:cubicBezTo>
                  <a:pt x="3935548" y="5551493"/>
                  <a:pt x="3910731" y="5541968"/>
                  <a:pt x="3901184" y="5519108"/>
                </a:cubicBezTo>
                <a:cubicBezTo>
                  <a:pt x="3897365" y="5513393"/>
                  <a:pt x="3897365" y="5507678"/>
                  <a:pt x="3897365" y="5501963"/>
                </a:cubicBezTo>
                <a:cubicBezTo>
                  <a:pt x="3897365" y="5484818"/>
                  <a:pt x="3906911" y="5469578"/>
                  <a:pt x="3924093" y="5461958"/>
                </a:cubicBezTo>
                <a:cubicBezTo>
                  <a:pt x="3924093" y="5461958"/>
                  <a:pt x="3924093" y="5461958"/>
                  <a:pt x="4263914" y="5313368"/>
                </a:cubicBezTo>
                <a:cubicBezTo>
                  <a:pt x="4269641" y="5310987"/>
                  <a:pt x="4275489" y="5309915"/>
                  <a:pt x="4281187" y="5309975"/>
                </a:cubicBezTo>
                <a:close/>
                <a:moveTo>
                  <a:pt x="2026929" y="5309974"/>
                </a:moveTo>
                <a:cubicBezTo>
                  <a:pt x="2044546" y="5310153"/>
                  <a:pt x="2061364" y="5320511"/>
                  <a:pt x="2068518" y="5336228"/>
                </a:cubicBezTo>
                <a:cubicBezTo>
                  <a:pt x="2078057" y="5359088"/>
                  <a:pt x="2066610" y="5383853"/>
                  <a:pt x="2045619" y="5395283"/>
                </a:cubicBezTo>
                <a:cubicBezTo>
                  <a:pt x="2045619" y="5395283"/>
                  <a:pt x="2045619" y="5395283"/>
                  <a:pt x="1704121" y="5541968"/>
                </a:cubicBezTo>
                <a:cubicBezTo>
                  <a:pt x="1683136" y="5551493"/>
                  <a:pt x="1656426" y="5541968"/>
                  <a:pt x="1646887" y="5519108"/>
                </a:cubicBezTo>
                <a:cubicBezTo>
                  <a:pt x="1644979" y="5513393"/>
                  <a:pt x="1643071" y="5507678"/>
                  <a:pt x="1643071" y="5501963"/>
                </a:cubicBezTo>
                <a:cubicBezTo>
                  <a:pt x="1643071" y="5484818"/>
                  <a:pt x="1652611" y="5469578"/>
                  <a:pt x="1669781" y="5461958"/>
                </a:cubicBezTo>
                <a:cubicBezTo>
                  <a:pt x="1669781" y="5461958"/>
                  <a:pt x="1669781" y="5461958"/>
                  <a:pt x="2009371" y="5313368"/>
                </a:cubicBezTo>
                <a:cubicBezTo>
                  <a:pt x="2015094" y="5310986"/>
                  <a:pt x="2021056" y="5309915"/>
                  <a:pt x="2026929" y="5309974"/>
                </a:cubicBezTo>
                <a:close/>
                <a:moveTo>
                  <a:pt x="3719258" y="5298899"/>
                </a:moveTo>
                <a:cubicBezTo>
                  <a:pt x="3736337" y="5299168"/>
                  <a:pt x="3752079" y="5309897"/>
                  <a:pt x="3759237" y="5327064"/>
                </a:cubicBezTo>
                <a:cubicBezTo>
                  <a:pt x="3768773" y="5349954"/>
                  <a:pt x="3759237" y="5376658"/>
                  <a:pt x="3736337" y="5386196"/>
                </a:cubicBezTo>
                <a:cubicBezTo>
                  <a:pt x="3736337" y="5386196"/>
                  <a:pt x="3736337" y="5386196"/>
                  <a:pt x="3394855" y="5529255"/>
                </a:cubicBezTo>
                <a:cubicBezTo>
                  <a:pt x="3371961" y="5538793"/>
                  <a:pt x="3347159" y="5527348"/>
                  <a:pt x="3337618" y="5504458"/>
                </a:cubicBezTo>
                <a:cubicBezTo>
                  <a:pt x="3333804" y="5498736"/>
                  <a:pt x="3333804" y="5493014"/>
                  <a:pt x="3333804" y="5487291"/>
                </a:cubicBezTo>
                <a:cubicBezTo>
                  <a:pt x="3333804" y="5470124"/>
                  <a:pt x="3343341" y="5454864"/>
                  <a:pt x="3360513" y="5447234"/>
                </a:cubicBezTo>
                <a:cubicBezTo>
                  <a:pt x="3360513" y="5447234"/>
                  <a:pt x="3360513" y="5447234"/>
                  <a:pt x="3701998" y="5302267"/>
                </a:cubicBezTo>
                <a:cubicBezTo>
                  <a:pt x="3707719" y="5299883"/>
                  <a:pt x="3713565" y="5298810"/>
                  <a:pt x="3719258" y="5298899"/>
                </a:cubicBezTo>
                <a:close/>
                <a:moveTo>
                  <a:pt x="2583547" y="5298899"/>
                </a:moveTo>
                <a:cubicBezTo>
                  <a:pt x="2600298" y="5299168"/>
                  <a:pt x="2617050" y="5309897"/>
                  <a:pt x="2624178" y="5327064"/>
                </a:cubicBezTo>
                <a:cubicBezTo>
                  <a:pt x="2633683" y="5349954"/>
                  <a:pt x="2624178" y="5376658"/>
                  <a:pt x="2601368" y="5386196"/>
                </a:cubicBezTo>
                <a:cubicBezTo>
                  <a:pt x="2601368" y="5386196"/>
                  <a:pt x="2601368" y="5386196"/>
                  <a:pt x="2261117" y="5529255"/>
                </a:cubicBezTo>
                <a:cubicBezTo>
                  <a:pt x="2238307" y="5538793"/>
                  <a:pt x="2213596" y="5527348"/>
                  <a:pt x="2204092" y="5504458"/>
                </a:cubicBezTo>
                <a:cubicBezTo>
                  <a:pt x="2200290" y="5498736"/>
                  <a:pt x="2200290" y="5493014"/>
                  <a:pt x="2200290" y="5487291"/>
                </a:cubicBezTo>
                <a:cubicBezTo>
                  <a:pt x="2200290" y="5470124"/>
                  <a:pt x="2209795" y="5454864"/>
                  <a:pt x="2226902" y="5447234"/>
                </a:cubicBezTo>
                <a:cubicBezTo>
                  <a:pt x="2226902" y="5447234"/>
                  <a:pt x="2226902" y="5447234"/>
                  <a:pt x="2567153" y="5302267"/>
                </a:cubicBezTo>
                <a:cubicBezTo>
                  <a:pt x="2572380" y="5299883"/>
                  <a:pt x="2577964" y="5298810"/>
                  <a:pt x="2583547" y="5298899"/>
                </a:cubicBezTo>
                <a:close/>
                <a:moveTo>
                  <a:pt x="3161733" y="5292230"/>
                </a:moveTo>
                <a:cubicBezTo>
                  <a:pt x="3172419" y="5296505"/>
                  <a:pt x="3181443" y="5305055"/>
                  <a:pt x="3186188" y="5317405"/>
                </a:cubicBezTo>
                <a:cubicBezTo>
                  <a:pt x="3195686" y="5340205"/>
                  <a:pt x="3184290" y="5366805"/>
                  <a:pt x="3161495" y="5376305"/>
                </a:cubicBezTo>
                <a:cubicBezTo>
                  <a:pt x="3161495" y="5376305"/>
                  <a:pt x="3161495" y="5376305"/>
                  <a:pt x="2821486" y="5515005"/>
                </a:cubicBezTo>
                <a:cubicBezTo>
                  <a:pt x="2798692" y="5524505"/>
                  <a:pt x="2772100" y="5513105"/>
                  <a:pt x="2762604" y="5488405"/>
                </a:cubicBezTo>
                <a:cubicBezTo>
                  <a:pt x="2760705" y="5484605"/>
                  <a:pt x="2760705" y="5477005"/>
                  <a:pt x="2760705" y="5471305"/>
                </a:cubicBezTo>
                <a:cubicBezTo>
                  <a:pt x="2760705" y="5454205"/>
                  <a:pt x="2770200" y="5437105"/>
                  <a:pt x="2787298" y="5429505"/>
                </a:cubicBezTo>
                <a:cubicBezTo>
                  <a:pt x="2787298" y="5429505"/>
                  <a:pt x="2787298" y="5429505"/>
                  <a:pt x="3127305" y="5292705"/>
                </a:cubicBezTo>
                <a:cubicBezTo>
                  <a:pt x="3138701" y="5287955"/>
                  <a:pt x="3151049" y="5287955"/>
                  <a:pt x="3161733" y="5292230"/>
                </a:cubicBezTo>
                <a:close/>
                <a:moveTo>
                  <a:pt x="9868289" y="5096095"/>
                </a:moveTo>
                <a:cubicBezTo>
                  <a:pt x="9876611" y="5097754"/>
                  <a:pt x="9884219" y="5102496"/>
                  <a:pt x="9888974" y="5110082"/>
                </a:cubicBezTo>
                <a:cubicBezTo>
                  <a:pt x="9896582" y="5125253"/>
                  <a:pt x="9892778" y="5146115"/>
                  <a:pt x="9877562" y="5155597"/>
                </a:cubicBezTo>
                <a:cubicBezTo>
                  <a:pt x="9877562" y="5155597"/>
                  <a:pt x="9877562" y="5155597"/>
                  <a:pt x="9542804" y="5364209"/>
                </a:cubicBezTo>
                <a:cubicBezTo>
                  <a:pt x="9527588" y="5373692"/>
                  <a:pt x="9506665" y="5368002"/>
                  <a:pt x="9497155" y="5352831"/>
                </a:cubicBezTo>
                <a:cubicBezTo>
                  <a:pt x="9493351" y="5347141"/>
                  <a:pt x="9493351" y="5341452"/>
                  <a:pt x="9493351" y="5335762"/>
                </a:cubicBezTo>
                <a:cubicBezTo>
                  <a:pt x="9493351" y="5324383"/>
                  <a:pt x="9497155" y="5314901"/>
                  <a:pt x="9508567" y="5307315"/>
                </a:cubicBezTo>
                <a:cubicBezTo>
                  <a:pt x="9508567" y="5307315"/>
                  <a:pt x="9508567" y="5307315"/>
                  <a:pt x="9843325" y="5100599"/>
                </a:cubicBezTo>
                <a:cubicBezTo>
                  <a:pt x="9850933" y="5095858"/>
                  <a:pt x="9859968" y="5094436"/>
                  <a:pt x="9868289" y="5096095"/>
                </a:cubicBezTo>
                <a:close/>
                <a:moveTo>
                  <a:pt x="10452111" y="5084390"/>
                </a:moveTo>
                <a:cubicBezTo>
                  <a:pt x="10460452" y="5086541"/>
                  <a:pt x="10468078" y="5091797"/>
                  <a:pt x="10472844" y="5099443"/>
                </a:cubicBezTo>
                <a:cubicBezTo>
                  <a:pt x="10482377" y="5116646"/>
                  <a:pt x="10476657" y="5137673"/>
                  <a:pt x="10461405" y="5147230"/>
                </a:cubicBezTo>
                <a:cubicBezTo>
                  <a:pt x="10461405" y="5147230"/>
                  <a:pt x="10461405" y="5147230"/>
                  <a:pt x="10125860" y="5349847"/>
                </a:cubicBezTo>
                <a:cubicBezTo>
                  <a:pt x="10108701" y="5359405"/>
                  <a:pt x="10087730" y="5353670"/>
                  <a:pt x="10078197" y="5338378"/>
                </a:cubicBezTo>
                <a:cubicBezTo>
                  <a:pt x="10074384" y="5332644"/>
                  <a:pt x="10074384" y="5326910"/>
                  <a:pt x="10074384" y="5321175"/>
                </a:cubicBezTo>
                <a:cubicBezTo>
                  <a:pt x="10074384" y="5309706"/>
                  <a:pt x="10080104" y="5298237"/>
                  <a:pt x="10089636" y="5290591"/>
                </a:cubicBezTo>
                <a:cubicBezTo>
                  <a:pt x="10089636" y="5290591"/>
                  <a:pt x="10089636" y="5290591"/>
                  <a:pt x="10427088" y="5087974"/>
                </a:cubicBezTo>
                <a:cubicBezTo>
                  <a:pt x="10434714" y="5083196"/>
                  <a:pt x="10443770" y="5082240"/>
                  <a:pt x="10452111" y="5084390"/>
                </a:cubicBezTo>
                <a:close/>
                <a:moveTo>
                  <a:pt x="9291418" y="5084390"/>
                </a:moveTo>
                <a:cubicBezTo>
                  <a:pt x="9299991" y="5086541"/>
                  <a:pt x="9307611" y="5091797"/>
                  <a:pt x="9312374" y="5099443"/>
                </a:cubicBezTo>
                <a:cubicBezTo>
                  <a:pt x="9321899" y="5116646"/>
                  <a:pt x="9316184" y="5137673"/>
                  <a:pt x="9300944" y="5147230"/>
                </a:cubicBezTo>
                <a:cubicBezTo>
                  <a:pt x="9300944" y="5147230"/>
                  <a:pt x="9300944" y="5147230"/>
                  <a:pt x="8963754" y="5349847"/>
                </a:cubicBezTo>
                <a:cubicBezTo>
                  <a:pt x="8948514" y="5359405"/>
                  <a:pt x="8927558" y="5353670"/>
                  <a:pt x="8918033" y="5338378"/>
                </a:cubicBezTo>
                <a:cubicBezTo>
                  <a:pt x="8914223" y="5332644"/>
                  <a:pt x="8912318" y="5326910"/>
                  <a:pt x="8912318" y="5321175"/>
                </a:cubicBezTo>
                <a:cubicBezTo>
                  <a:pt x="8912318" y="5309706"/>
                  <a:pt x="8918033" y="5298237"/>
                  <a:pt x="8929463" y="5290591"/>
                </a:cubicBezTo>
                <a:cubicBezTo>
                  <a:pt x="8929463" y="5290591"/>
                  <a:pt x="8929463" y="5290591"/>
                  <a:pt x="9264748" y="5087974"/>
                </a:cubicBezTo>
                <a:cubicBezTo>
                  <a:pt x="9273321" y="5083196"/>
                  <a:pt x="9282846" y="5082240"/>
                  <a:pt x="9291418" y="5084390"/>
                </a:cubicBezTo>
                <a:close/>
                <a:moveTo>
                  <a:pt x="11029363" y="5075090"/>
                </a:moveTo>
                <a:cubicBezTo>
                  <a:pt x="11037955" y="5077474"/>
                  <a:pt x="11045593" y="5083196"/>
                  <a:pt x="11050366" y="5091778"/>
                </a:cubicBezTo>
                <a:cubicBezTo>
                  <a:pt x="11061823" y="5107036"/>
                  <a:pt x="11056095" y="5129922"/>
                  <a:pt x="11038910" y="5139458"/>
                </a:cubicBezTo>
                <a:cubicBezTo>
                  <a:pt x="11038910" y="5139458"/>
                  <a:pt x="11038910" y="5139458"/>
                  <a:pt x="10700944" y="5333994"/>
                </a:cubicBezTo>
                <a:cubicBezTo>
                  <a:pt x="10683759" y="5343530"/>
                  <a:pt x="10662755" y="5337808"/>
                  <a:pt x="10653208" y="5320643"/>
                </a:cubicBezTo>
                <a:cubicBezTo>
                  <a:pt x="10649389" y="5314922"/>
                  <a:pt x="10647480" y="5309200"/>
                  <a:pt x="10647480" y="5303478"/>
                </a:cubicBezTo>
                <a:cubicBezTo>
                  <a:pt x="10647480" y="5292035"/>
                  <a:pt x="10655118" y="5280592"/>
                  <a:pt x="10664665" y="5272963"/>
                </a:cubicBezTo>
                <a:cubicBezTo>
                  <a:pt x="10664665" y="5272963"/>
                  <a:pt x="10664665" y="5272963"/>
                  <a:pt x="11002631" y="5078428"/>
                </a:cubicBezTo>
                <a:cubicBezTo>
                  <a:pt x="11011223" y="5073660"/>
                  <a:pt x="11020770" y="5072706"/>
                  <a:pt x="11029363" y="5075090"/>
                </a:cubicBezTo>
                <a:close/>
                <a:moveTo>
                  <a:pt x="8719756" y="5075090"/>
                </a:moveTo>
                <a:cubicBezTo>
                  <a:pt x="8728587" y="5077474"/>
                  <a:pt x="8736703" y="5083196"/>
                  <a:pt x="8742431" y="5091778"/>
                </a:cubicBezTo>
                <a:cubicBezTo>
                  <a:pt x="8751978" y="5107036"/>
                  <a:pt x="8746250" y="5129922"/>
                  <a:pt x="8729065" y="5139458"/>
                </a:cubicBezTo>
                <a:cubicBezTo>
                  <a:pt x="8729065" y="5139458"/>
                  <a:pt x="8729065" y="5139458"/>
                  <a:pt x="8391099" y="5333994"/>
                </a:cubicBezTo>
                <a:cubicBezTo>
                  <a:pt x="8373914" y="5343530"/>
                  <a:pt x="8352910" y="5337808"/>
                  <a:pt x="8343363" y="5320643"/>
                </a:cubicBezTo>
                <a:cubicBezTo>
                  <a:pt x="8339544" y="5314922"/>
                  <a:pt x="8337635" y="5309200"/>
                  <a:pt x="8337635" y="5303478"/>
                </a:cubicBezTo>
                <a:cubicBezTo>
                  <a:pt x="8337635" y="5292035"/>
                  <a:pt x="8345273" y="5280592"/>
                  <a:pt x="8356729" y="5272963"/>
                </a:cubicBezTo>
                <a:cubicBezTo>
                  <a:pt x="8356729" y="5272963"/>
                  <a:pt x="8356729" y="5272963"/>
                  <a:pt x="8692786" y="5078428"/>
                </a:cubicBezTo>
                <a:cubicBezTo>
                  <a:pt x="8701379" y="5073660"/>
                  <a:pt x="8710925" y="5072706"/>
                  <a:pt x="8719756" y="5075090"/>
                </a:cubicBezTo>
                <a:close/>
                <a:moveTo>
                  <a:pt x="11600954" y="5064224"/>
                </a:moveTo>
                <a:cubicBezTo>
                  <a:pt x="11609785" y="5066850"/>
                  <a:pt x="11617423" y="5073055"/>
                  <a:pt x="11622196" y="5082602"/>
                </a:cubicBezTo>
                <a:cubicBezTo>
                  <a:pt x="11631743" y="5099787"/>
                  <a:pt x="11626015" y="5120791"/>
                  <a:pt x="11608830" y="5132248"/>
                </a:cubicBezTo>
                <a:cubicBezTo>
                  <a:pt x="11608830" y="5132248"/>
                  <a:pt x="11608830" y="5132248"/>
                  <a:pt x="11270864" y="5319373"/>
                </a:cubicBezTo>
                <a:cubicBezTo>
                  <a:pt x="11253679" y="5330830"/>
                  <a:pt x="11230766" y="5323192"/>
                  <a:pt x="11221219" y="5306007"/>
                </a:cubicBezTo>
                <a:cubicBezTo>
                  <a:pt x="11217400" y="5300279"/>
                  <a:pt x="11217400" y="5294550"/>
                  <a:pt x="11217400" y="5288822"/>
                </a:cubicBezTo>
                <a:cubicBezTo>
                  <a:pt x="11217400" y="5275456"/>
                  <a:pt x="11223128" y="5262090"/>
                  <a:pt x="11234585" y="5256362"/>
                </a:cubicBezTo>
                <a:cubicBezTo>
                  <a:pt x="11234585" y="5256362"/>
                  <a:pt x="11234585" y="5256362"/>
                  <a:pt x="11572551" y="5067327"/>
                </a:cubicBezTo>
                <a:cubicBezTo>
                  <a:pt x="11582098" y="5062553"/>
                  <a:pt x="11592123" y="5061599"/>
                  <a:pt x="11600954" y="5064224"/>
                </a:cubicBezTo>
                <a:close/>
                <a:moveTo>
                  <a:pt x="8155460" y="5064224"/>
                </a:moveTo>
                <a:cubicBezTo>
                  <a:pt x="8164488" y="5066850"/>
                  <a:pt x="8172566" y="5073055"/>
                  <a:pt x="8177317" y="5082602"/>
                </a:cubicBezTo>
                <a:cubicBezTo>
                  <a:pt x="8186821" y="5099787"/>
                  <a:pt x="8181119" y="5120791"/>
                  <a:pt x="8162112" y="5132248"/>
                </a:cubicBezTo>
                <a:cubicBezTo>
                  <a:pt x="8162112" y="5132248"/>
                  <a:pt x="8162112" y="5132248"/>
                  <a:pt x="7825696" y="5319373"/>
                </a:cubicBezTo>
                <a:cubicBezTo>
                  <a:pt x="7808590" y="5330830"/>
                  <a:pt x="7787683" y="5323192"/>
                  <a:pt x="7776279" y="5306007"/>
                </a:cubicBezTo>
                <a:cubicBezTo>
                  <a:pt x="7774378" y="5300279"/>
                  <a:pt x="7772478" y="5294550"/>
                  <a:pt x="7772478" y="5288822"/>
                </a:cubicBezTo>
                <a:cubicBezTo>
                  <a:pt x="7772478" y="5275456"/>
                  <a:pt x="7780080" y="5262090"/>
                  <a:pt x="7791484" y="5256362"/>
                </a:cubicBezTo>
                <a:cubicBezTo>
                  <a:pt x="7791484" y="5256362"/>
                  <a:pt x="7791484" y="5256362"/>
                  <a:pt x="8127900" y="5067327"/>
                </a:cubicBezTo>
                <a:cubicBezTo>
                  <a:pt x="8136453" y="5062553"/>
                  <a:pt x="8146432" y="5061599"/>
                  <a:pt x="8155460" y="5064224"/>
                </a:cubicBezTo>
                <a:close/>
                <a:moveTo>
                  <a:pt x="12139750" y="5056192"/>
                </a:moveTo>
                <a:cubicBezTo>
                  <a:pt x="12139750" y="5056192"/>
                  <a:pt x="12139750" y="5056192"/>
                  <a:pt x="12139750" y="5139909"/>
                </a:cubicBezTo>
                <a:cubicBezTo>
                  <a:pt x="12139750" y="5139909"/>
                  <a:pt x="12139750" y="5139909"/>
                  <a:pt x="11834946" y="5305441"/>
                </a:cubicBezTo>
                <a:cubicBezTo>
                  <a:pt x="11815896" y="5314955"/>
                  <a:pt x="11793035" y="5307344"/>
                  <a:pt x="11783510" y="5290220"/>
                </a:cubicBezTo>
                <a:cubicBezTo>
                  <a:pt x="11779700" y="5284512"/>
                  <a:pt x="11777795" y="5276901"/>
                  <a:pt x="11777795" y="5271193"/>
                </a:cubicBezTo>
                <a:cubicBezTo>
                  <a:pt x="11777795" y="5257875"/>
                  <a:pt x="11785415" y="5244556"/>
                  <a:pt x="11798750" y="5238848"/>
                </a:cubicBezTo>
                <a:lnTo>
                  <a:pt x="12135940" y="5058094"/>
                </a:lnTo>
                <a:cubicBezTo>
                  <a:pt x="12137845" y="5056192"/>
                  <a:pt x="12137845" y="5056192"/>
                  <a:pt x="12139750" y="5056192"/>
                </a:cubicBezTo>
                <a:close/>
                <a:moveTo>
                  <a:pt x="7597906" y="5054684"/>
                </a:moveTo>
                <a:cubicBezTo>
                  <a:pt x="7607199" y="5057304"/>
                  <a:pt x="7615302" y="5063495"/>
                  <a:pt x="7620068" y="5073020"/>
                </a:cubicBezTo>
                <a:cubicBezTo>
                  <a:pt x="7629601" y="5090165"/>
                  <a:pt x="7623881" y="5113025"/>
                  <a:pt x="7604817" y="5124455"/>
                </a:cubicBezTo>
                <a:cubicBezTo>
                  <a:pt x="7604817" y="5124455"/>
                  <a:pt x="7604817" y="5124455"/>
                  <a:pt x="7267371" y="5305430"/>
                </a:cubicBezTo>
                <a:cubicBezTo>
                  <a:pt x="7248306" y="5314955"/>
                  <a:pt x="7225428" y="5307335"/>
                  <a:pt x="7215896" y="5290190"/>
                </a:cubicBezTo>
                <a:cubicBezTo>
                  <a:pt x="7213989" y="5284475"/>
                  <a:pt x="7212083" y="5276855"/>
                  <a:pt x="7212083" y="5271140"/>
                </a:cubicBezTo>
                <a:cubicBezTo>
                  <a:pt x="7212083" y="5257805"/>
                  <a:pt x="7219709" y="5244470"/>
                  <a:pt x="7231147" y="5238755"/>
                </a:cubicBezTo>
                <a:cubicBezTo>
                  <a:pt x="7231147" y="5238755"/>
                  <a:pt x="7231147" y="5238755"/>
                  <a:pt x="7568594" y="5057780"/>
                </a:cubicBezTo>
                <a:cubicBezTo>
                  <a:pt x="7578126" y="5053017"/>
                  <a:pt x="7588611" y="5052065"/>
                  <a:pt x="7597906" y="5054684"/>
                </a:cubicBezTo>
                <a:close/>
                <a:moveTo>
                  <a:pt x="7046964" y="5044542"/>
                </a:moveTo>
                <a:cubicBezTo>
                  <a:pt x="7056279" y="5047645"/>
                  <a:pt x="7064400" y="5054328"/>
                  <a:pt x="7069177" y="5063876"/>
                </a:cubicBezTo>
                <a:cubicBezTo>
                  <a:pt x="7078731" y="5082972"/>
                  <a:pt x="7071088" y="5105887"/>
                  <a:pt x="7051980" y="5115435"/>
                </a:cubicBezTo>
                <a:cubicBezTo>
                  <a:pt x="7051980" y="5115435"/>
                  <a:pt x="7051980" y="5115435"/>
                  <a:pt x="6713773" y="5291119"/>
                </a:cubicBezTo>
                <a:cubicBezTo>
                  <a:pt x="6694665" y="5300667"/>
                  <a:pt x="6669825" y="5293028"/>
                  <a:pt x="6660271" y="5273932"/>
                </a:cubicBezTo>
                <a:cubicBezTo>
                  <a:pt x="6658361" y="5268204"/>
                  <a:pt x="6656450" y="5262475"/>
                  <a:pt x="6656450" y="5256746"/>
                </a:cubicBezTo>
                <a:cubicBezTo>
                  <a:pt x="6656450" y="5241469"/>
                  <a:pt x="6664093" y="5228102"/>
                  <a:pt x="6677468" y="5222373"/>
                </a:cubicBezTo>
                <a:cubicBezTo>
                  <a:pt x="6677468" y="5222373"/>
                  <a:pt x="6677468" y="5222373"/>
                  <a:pt x="7017586" y="5046690"/>
                </a:cubicBezTo>
                <a:cubicBezTo>
                  <a:pt x="7027140" y="5041916"/>
                  <a:pt x="7037649" y="5041438"/>
                  <a:pt x="7046964" y="5044542"/>
                </a:cubicBezTo>
                <a:close/>
                <a:moveTo>
                  <a:pt x="6485663" y="5032630"/>
                </a:moveTo>
                <a:cubicBezTo>
                  <a:pt x="6501356" y="5031381"/>
                  <a:pt x="6515979" y="5040300"/>
                  <a:pt x="6523112" y="5054570"/>
                </a:cubicBezTo>
                <a:cubicBezTo>
                  <a:pt x="6532623" y="5075499"/>
                  <a:pt x="6525014" y="5098331"/>
                  <a:pt x="6505992" y="5107845"/>
                </a:cubicBezTo>
                <a:cubicBezTo>
                  <a:pt x="6505992" y="5107845"/>
                  <a:pt x="6505992" y="5107845"/>
                  <a:pt x="6167407" y="5275279"/>
                </a:cubicBezTo>
                <a:cubicBezTo>
                  <a:pt x="6148385" y="5284793"/>
                  <a:pt x="6123657" y="5277182"/>
                  <a:pt x="6114146" y="5258155"/>
                </a:cubicBezTo>
                <a:cubicBezTo>
                  <a:pt x="6110342" y="5252447"/>
                  <a:pt x="6110342" y="5246739"/>
                  <a:pt x="6110342" y="5239129"/>
                </a:cubicBezTo>
                <a:cubicBezTo>
                  <a:pt x="6110342" y="5225810"/>
                  <a:pt x="6117950" y="5210589"/>
                  <a:pt x="6131266" y="5202978"/>
                </a:cubicBezTo>
                <a:cubicBezTo>
                  <a:pt x="6131266" y="5202978"/>
                  <a:pt x="6131266" y="5202978"/>
                  <a:pt x="6469851" y="5037446"/>
                </a:cubicBezTo>
                <a:cubicBezTo>
                  <a:pt x="6475082" y="5034592"/>
                  <a:pt x="6480432" y="5033046"/>
                  <a:pt x="6485663" y="5032630"/>
                </a:cubicBezTo>
                <a:close/>
                <a:moveTo>
                  <a:pt x="5956806" y="5024850"/>
                </a:moveTo>
                <a:cubicBezTo>
                  <a:pt x="5966814" y="5028426"/>
                  <a:pt x="5975394" y="5035579"/>
                  <a:pt x="5980159" y="5045115"/>
                </a:cubicBezTo>
                <a:cubicBezTo>
                  <a:pt x="5989691" y="5066096"/>
                  <a:pt x="5980159" y="5090892"/>
                  <a:pt x="5961095" y="5100429"/>
                </a:cubicBezTo>
                <a:cubicBezTo>
                  <a:pt x="5961095" y="5100429"/>
                  <a:pt x="5961095" y="5100429"/>
                  <a:pt x="5621756" y="5262556"/>
                </a:cubicBezTo>
                <a:cubicBezTo>
                  <a:pt x="5600786" y="5272093"/>
                  <a:pt x="5576002" y="5262556"/>
                  <a:pt x="5566471" y="5241575"/>
                </a:cubicBezTo>
                <a:cubicBezTo>
                  <a:pt x="5562658" y="5235853"/>
                  <a:pt x="5562658" y="5230131"/>
                  <a:pt x="5562658" y="5224408"/>
                </a:cubicBezTo>
                <a:cubicBezTo>
                  <a:pt x="5562658" y="5209149"/>
                  <a:pt x="5570284" y="5193890"/>
                  <a:pt x="5585535" y="5186261"/>
                </a:cubicBezTo>
                <a:cubicBezTo>
                  <a:pt x="5585535" y="5186261"/>
                  <a:pt x="5585535" y="5186261"/>
                  <a:pt x="5924874" y="5026042"/>
                </a:cubicBezTo>
                <a:cubicBezTo>
                  <a:pt x="5935360" y="5021273"/>
                  <a:pt x="5946797" y="5021273"/>
                  <a:pt x="5956806" y="5024850"/>
                </a:cubicBezTo>
                <a:close/>
                <a:moveTo>
                  <a:pt x="398945" y="5024850"/>
                </a:moveTo>
                <a:cubicBezTo>
                  <a:pt x="408946" y="5028426"/>
                  <a:pt x="417519" y="5035578"/>
                  <a:pt x="422281" y="5045115"/>
                </a:cubicBezTo>
                <a:cubicBezTo>
                  <a:pt x="431806" y="5066096"/>
                  <a:pt x="422281" y="5090892"/>
                  <a:pt x="401326" y="5100429"/>
                </a:cubicBezTo>
                <a:cubicBezTo>
                  <a:pt x="401326" y="5100429"/>
                  <a:pt x="401326" y="5100429"/>
                  <a:pt x="62232" y="5262556"/>
                </a:cubicBezTo>
                <a:cubicBezTo>
                  <a:pt x="43182" y="5272093"/>
                  <a:pt x="18416" y="5262556"/>
                  <a:pt x="8891" y="5241575"/>
                </a:cubicBezTo>
                <a:cubicBezTo>
                  <a:pt x="5081" y="5235853"/>
                  <a:pt x="3176" y="5230131"/>
                  <a:pt x="3176" y="5224408"/>
                </a:cubicBezTo>
                <a:cubicBezTo>
                  <a:pt x="3176" y="5209149"/>
                  <a:pt x="12701" y="5193890"/>
                  <a:pt x="27941" y="5186261"/>
                </a:cubicBezTo>
                <a:cubicBezTo>
                  <a:pt x="27941" y="5186261"/>
                  <a:pt x="27941" y="5186261"/>
                  <a:pt x="367036" y="5026042"/>
                </a:cubicBezTo>
                <a:cubicBezTo>
                  <a:pt x="377513" y="5021273"/>
                  <a:pt x="388943" y="5021273"/>
                  <a:pt x="398945" y="5024850"/>
                </a:cubicBezTo>
                <a:close/>
                <a:moveTo>
                  <a:pt x="5409053" y="5014180"/>
                </a:moveTo>
                <a:cubicBezTo>
                  <a:pt x="5419083" y="5018218"/>
                  <a:pt x="5427680" y="5026294"/>
                  <a:pt x="5432458" y="5037695"/>
                </a:cubicBezTo>
                <a:cubicBezTo>
                  <a:pt x="5442010" y="5058597"/>
                  <a:pt x="5434368" y="5083300"/>
                  <a:pt x="5411440" y="5092800"/>
                </a:cubicBezTo>
                <a:cubicBezTo>
                  <a:pt x="5411440" y="5092800"/>
                  <a:pt x="5411440" y="5092800"/>
                  <a:pt x="5071343" y="5246716"/>
                </a:cubicBezTo>
                <a:cubicBezTo>
                  <a:pt x="5050328" y="5256217"/>
                  <a:pt x="5025493" y="5246716"/>
                  <a:pt x="5014031" y="5225814"/>
                </a:cubicBezTo>
                <a:cubicBezTo>
                  <a:pt x="5012120" y="5220113"/>
                  <a:pt x="5010210" y="5214413"/>
                  <a:pt x="5010210" y="5208712"/>
                </a:cubicBezTo>
                <a:cubicBezTo>
                  <a:pt x="5010210" y="5191610"/>
                  <a:pt x="5019762" y="5176409"/>
                  <a:pt x="5036956" y="5168808"/>
                </a:cubicBezTo>
                <a:cubicBezTo>
                  <a:pt x="5036956" y="5168808"/>
                  <a:pt x="5036956" y="5168808"/>
                  <a:pt x="5377049" y="5014893"/>
                </a:cubicBezTo>
                <a:cubicBezTo>
                  <a:pt x="5387557" y="5010142"/>
                  <a:pt x="5399022" y="5010142"/>
                  <a:pt x="5409053" y="5014180"/>
                </a:cubicBezTo>
                <a:close/>
                <a:moveTo>
                  <a:pt x="942531" y="5014180"/>
                </a:moveTo>
                <a:cubicBezTo>
                  <a:pt x="953001" y="5018218"/>
                  <a:pt x="962043" y="5026294"/>
                  <a:pt x="966802" y="5037695"/>
                </a:cubicBezTo>
                <a:cubicBezTo>
                  <a:pt x="976320" y="5058597"/>
                  <a:pt x="966802" y="5083300"/>
                  <a:pt x="945862" y="5092800"/>
                </a:cubicBezTo>
                <a:cubicBezTo>
                  <a:pt x="945862" y="5092800"/>
                  <a:pt x="945862" y="5092800"/>
                  <a:pt x="605115" y="5246716"/>
                </a:cubicBezTo>
                <a:cubicBezTo>
                  <a:pt x="584175" y="5256217"/>
                  <a:pt x="559428" y="5246716"/>
                  <a:pt x="549910" y="5225814"/>
                </a:cubicBezTo>
                <a:cubicBezTo>
                  <a:pt x="546103" y="5220113"/>
                  <a:pt x="546103" y="5214413"/>
                  <a:pt x="546103" y="5208712"/>
                </a:cubicBezTo>
                <a:cubicBezTo>
                  <a:pt x="546103" y="5191610"/>
                  <a:pt x="555621" y="5176409"/>
                  <a:pt x="570850" y="5168808"/>
                </a:cubicBezTo>
                <a:cubicBezTo>
                  <a:pt x="570850" y="5168808"/>
                  <a:pt x="570850" y="5168808"/>
                  <a:pt x="909693" y="5014893"/>
                </a:cubicBezTo>
                <a:cubicBezTo>
                  <a:pt x="920163" y="5010142"/>
                  <a:pt x="932061" y="5010142"/>
                  <a:pt x="942531" y="5014180"/>
                </a:cubicBezTo>
                <a:close/>
                <a:moveTo>
                  <a:pt x="4856076" y="5004632"/>
                </a:moveTo>
                <a:cubicBezTo>
                  <a:pt x="4866333" y="5008659"/>
                  <a:pt x="4874919" y="5016714"/>
                  <a:pt x="4879688" y="5028084"/>
                </a:cubicBezTo>
                <a:cubicBezTo>
                  <a:pt x="4891136" y="5050826"/>
                  <a:pt x="4879688" y="5075463"/>
                  <a:pt x="4856791" y="5084939"/>
                </a:cubicBezTo>
                <a:cubicBezTo>
                  <a:pt x="4856791" y="5084939"/>
                  <a:pt x="4856791" y="5084939"/>
                  <a:pt x="4517208" y="5230866"/>
                </a:cubicBezTo>
                <a:cubicBezTo>
                  <a:pt x="4494314" y="5240342"/>
                  <a:pt x="4469511" y="5230866"/>
                  <a:pt x="4459972" y="5208124"/>
                </a:cubicBezTo>
                <a:cubicBezTo>
                  <a:pt x="4456156" y="5202439"/>
                  <a:pt x="4456156" y="5196753"/>
                  <a:pt x="4456156" y="5191068"/>
                </a:cubicBezTo>
                <a:cubicBezTo>
                  <a:pt x="4456156" y="5174011"/>
                  <a:pt x="4465696" y="5158850"/>
                  <a:pt x="4482867" y="5151269"/>
                </a:cubicBezTo>
                <a:cubicBezTo>
                  <a:pt x="4482867" y="5151269"/>
                  <a:pt x="4482867" y="5151269"/>
                  <a:pt x="4822445" y="5005343"/>
                </a:cubicBezTo>
                <a:cubicBezTo>
                  <a:pt x="4833893" y="5000605"/>
                  <a:pt x="4845820" y="5000605"/>
                  <a:pt x="4856076" y="5004632"/>
                </a:cubicBezTo>
                <a:close/>
                <a:moveTo>
                  <a:pt x="1491734" y="5004632"/>
                </a:moveTo>
                <a:cubicBezTo>
                  <a:pt x="1502228" y="5008659"/>
                  <a:pt x="1511290" y="5016713"/>
                  <a:pt x="1516059" y="5028084"/>
                </a:cubicBezTo>
                <a:cubicBezTo>
                  <a:pt x="1525598" y="5050826"/>
                  <a:pt x="1516059" y="5075463"/>
                  <a:pt x="1493165" y="5084939"/>
                </a:cubicBezTo>
                <a:cubicBezTo>
                  <a:pt x="1493165" y="5084939"/>
                  <a:pt x="1493165" y="5084939"/>
                  <a:pt x="1153575" y="5230866"/>
                </a:cubicBezTo>
                <a:cubicBezTo>
                  <a:pt x="1130682" y="5240342"/>
                  <a:pt x="1103972" y="5230866"/>
                  <a:pt x="1094433" y="5208124"/>
                </a:cubicBezTo>
                <a:cubicBezTo>
                  <a:pt x="1092526" y="5202439"/>
                  <a:pt x="1090618" y="5196753"/>
                  <a:pt x="1090618" y="5191068"/>
                </a:cubicBezTo>
                <a:cubicBezTo>
                  <a:pt x="1090618" y="5174011"/>
                  <a:pt x="1102065" y="5158850"/>
                  <a:pt x="1117327" y="5151269"/>
                </a:cubicBezTo>
                <a:cubicBezTo>
                  <a:pt x="1117327" y="5151269"/>
                  <a:pt x="1117327" y="5151269"/>
                  <a:pt x="1458825" y="5005343"/>
                </a:cubicBezTo>
                <a:cubicBezTo>
                  <a:pt x="1469318" y="5000605"/>
                  <a:pt x="1481242" y="5000605"/>
                  <a:pt x="1491734" y="5004632"/>
                </a:cubicBezTo>
                <a:close/>
                <a:moveTo>
                  <a:pt x="4281239" y="4989344"/>
                </a:moveTo>
                <a:cubicBezTo>
                  <a:pt x="4298844" y="4989613"/>
                  <a:pt x="4315645" y="5000357"/>
                  <a:pt x="4322794" y="5017546"/>
                </a:cubicBezTo>
                <a:cubicBezTo>
                  <a:pt x="4332327" y="5040466"/>
                  <a:pt x="4320887" y="5067205"/>
                  <a:pt x="4298010" y="5076755"/>
                </a:cubicBezTo>
                <a:cubicBezTo>
                  <a:pt x="4298010" y="5076755"/>
                  <a:pt x="4298010" y="5076755"/>
                  <a:pt x="3958691" y="5218092"/>
                </a:cubicBezTo>
                <a:cubicBezTo>
                  <a:pt x="3933908" y="5227642"/>
                  <a:pt x="3909123" y="5216182"/>
                  <a:pt x="3899590" y="5193262"/>
                </a:cubicBezTo>
                <a:cubicBezTo>
                  <a:pt x="3895779" y="5187533"/>
                  <a:pt x="3895779" y="5181803"/>
                  <a:pt x="3895779" y="5176073"/>
                </a:cubicBezTo>
                <a:cubicBezTo>
                  <a:pt x="3895779" y="5156973"/>
                  <a:pt x="3905309" y="5141694"/>
                  <a:pt x="3924374" y="5134054"/>
                </a:cubicBezTo>
                <a:cubicBezTo>
                  <a:pt x="3924374" y="5134054"/>
                  <a:pt x="3924374" y="5134054"/>
                  <a:pt x="4263694" y="4992717"/>
                </a:cubicBezTo>
                <a:cubicBezTo>
                  <a:pt x="4269413" y="4990329"/>
                  <a:pt x="4275371" y="4989255"/>
                  <a:pt x="4281239" y="4989344"/>
                </a:cubicBezTo>
                <a:close/>
                <a:moveTo>
                  <a:pt x="2028590" y="4989344"/>
                </a:moveTo>
                <a:cubicBezTo>
                  <a:pt x="2046182" y="4989613"/>
                  <a:pt x="2062975" y="5000357"/>
                  <a:pt x="2070119" y="5017546"/>
                </a:cubicBezTo>
                <a:cubicBezTo>
                  <a:pt x="2079644" y="5040466"/>
                  <a:pt x="2068214" y="5067205"/>
                  <a:pt x="2045349" y="5076755"/>
                </a:cubicBezTo>
                <a:cubicBezTo>
                  <a:pt x="2045349" y="5076755"/>
                  <a:pt x="2045349" y="5076755"/>
                  <a:pt x="1704349" y="5218092"/>
                </a:cubicBezTo>
                <a:cubicBezTo>
                  <a:pt x="1681489" y="5227642"/>
                  <a:pt x="1654818" y="5216182"/>
                  <a:pt x="1645293" y="5193262"/>
                </a:cubicBezTo>
                <a:cubicBezTo>
                  <a:pt x="1643388" y="5187533"/>
                  <a:pt x="1641483" y="5181803"/>
                  <a:pt x="1641483" y="5176073"/>
                </a:cubicBezTo>
                <a:cubicBezTo>
                  <a:pt x="1641483" y="5156973"/>
                  <a:pt x="1652914" y="5141694"/>
                  <a:pt x="1670059" y="5134054"/>
                </a:cubicBezTo>
                <a:cubicBezTo>
                  <a:pt x="1670059" y="5134054"/>
                  <a:pt x="1670059" y="5134054"/>
                  <a:pt x="2011058" y="4992717"/>
                </a:cubicBezTo>
                <a:cubicBezTo>
                  <a:pt x="2016773" y="4990329"/>
                  <a:pt x="2022726" y="4989255"/>
                  <a:pt x="2028590" y="4989344"/>
                </a:cubicBezTo>
                <a:close/>
                <a:moveTo>
                  <a:pt x="3720408" y="4979833"/>
                </a:moveTo>
                <a:cubicBezTo>
                  <a:pt x="3738808" y="4980190"/>
                  <a:pt x="3755595" y="4991263"/>
                  <a:pt x="3762739" y="5009837"/>
                </a:cubicBezTo>
                <a:cubicBezTo>
                  <a:pt x="3770360" y="5032697"/>
                  <a:pt x="3758930" y="5059367"/>
                  <a:pt x="3736068" y="5068892"/>
                </a:cubicBezTo>
                <a:cubicBezTo>
                  <a:pt x="3736068" y="5068892"/>
                  <a:pt x="3736068" y="5068892"/>
                  <a:pt x="3395084" y="5202242"/>
                </a:cubicBezTo>
                <a:cubicBezTo>
                  <a:pt x="3370317" y="5211767"/>
                  <a:pt x="3343646" y="5200337"/>
                  <a:pt x="3334121" y="5175572"/>
                </a:cubicBezTo>
                <a:cubicBezTo>
                  <a:pt x="3332215" y="5169857"/>
                  <a:pt x="3332215" y="5164142"/>
                  <a:pt x="3332215" y="5158427"/>
                </a:cubicBezTo>
                <a:cubicBezTo>
                  <a:pt x="3332215" y="5141282"/>
                  <a:pt x="3343646" y="5122232"/>
                  <a:pt x="3360792" y="5116517"/>
                </a:cubicBezTo>
                <a:cubicBezTo>
                  <a:pt x="3360792" y="5116517"/>
                  <a:pt x="3360792" y="5116517"/>
                  <a:pt x="3701777" y="4983167"/>
                </a:cubicBezTo>
                <a:cubicBezTo>
                  <a:pt x="3707968" y="4980786"/>
                  <a:pt x="3714280" y="4979714"/>
                  <a:pt x="3720408" y="4979833"/>
                </a:cubicBezTo>
                <a:close/>
                <a:moveTo>
                  <a:pt x="2585923" y="4979833"/>
                </a:moveTo>
                <a:cubicBezTo>
                  <a:pt x="2604117" y="4980190"/>
                  <a:pt x="2622040" y="4991263"/>
                  <a:pt x="2629210" y="5009837"/>
                </a:cubicBezTo>
                <a:cubicBezTo>
                  <a:pt x="2636858" y="5032697"/>
                  <a:pt x="2625387" y="5059367"/>
                  <a:pt x="2602444" y="5068892"/>
                </a:cubicBezTo>
                <a:cubicBezTo>
                  <a:pt x="2602444" y="5068892"/>
                  <a:pt x="2602444" y="5068892"/>
                  <a:pt x="2260209" y="5202242"/>
                </a:cubicBezTo>
                <a:cubicBezTo>
                  <a:pt x="2235354" y="5211767"/>
                  <a:pt x="2208587" y="5200337"/>
                  <a:pt x="2199027" y="5175572"/>
                </a:cubicBezTo>
                <a:cubicBezTo>
                  <a:pt x="2197115" y="5169857"/>
                  <a:pt x="2197115" y="5164142"/>
                  <a:pt x="2197115" y="5158427"/>
                </a:cubicBezTo>
                <a:cubicBezTo>
                  <a:pt x="2197115" y="5141282"/>
                  <a:pt x="2206675" y="5122232"/>
                  <a:pt x="2225794" y="5116517"/>
                </a:cubicBezTo>
                <a:cubicBezTo>
                  <a:pt x="2225794" y="5116517"/>
                  <a:pt x="2225794" y="5116517"/>
                  <a:pt x="2568028" y="4983167"/>
                </a:cubicBezTo>
                <a:cubicBezTo>
                  <a:pt x="2573764" y="4980785"/>
                  <a:pt x="2579859" y="4979714"/>
                  <a:pt x="2585923" y="4979833"/>
                </a:cubicBezTo>
                <a:close/>
                <a:moveTo>
                  <a:pt x="3148522" y="4969036"/>
                </a:moveTo>
                <a:cubicBezTo>
                  <a:pt x="3166945" y="4969932"/>
                  <a:pt x="3183758" y="4982109"/>
                  <a:pt x="3190913" y="5000733"/>
                </a:cubicBezTo>
                <a:cubicBezTo>
                  <a:pt x="3200448" y="5025565"/>
                  <a:pt x="3187095" y="5052307"/>
                  <a:pt x="3162293" y="5061858"/>
                </a:cubicBezTo>
                <a:cubicBezTo>
                  <a:pt x="3162293" y="5061858"/>
                  <a:pt x="3162293" y="5061858"/>
                  <a:pt x="2820804" y="5187929"/>
                </a:cubicBezTo>
                <a:cubicBezTo>
                  <a:pt x="2796003" y="5197480"/>
                  <a:pt x="2769296" y="5184109"/>
                  <a:pt x="2759756" y="5161187"/>
                </a:cubicBezTo>
                <a:cubicBezTo>
                  <a:pt x="2757847" y="5155456"/>
                  <a:pt x="2755940" y="5149726"/>
                  <a:pt x="2755940" y="5143995"/>
                </a:cubicBezTo>
                <a:cubicBezTo>
                  <a:pt x="2755940" y="5124894"/>
                  <a:pt x="2767388" y="5105792"/>
                  <a:pt x="2788374" y="5098151"/>
                </a:cubicBezTo>
                <a:cubicBezTo>
                  <a:pt x="2788374" y="5098151"/>
                  <a:pt x="2788374" y="5098151"/>
                  <a:pt x="3129862" y="4972081"/>
                </a:cubicBezTo>
                <a:cubicBezTo>
                  <a:pt x="3136060" y="4969693"/>
                  <a:pt x="3142382" y="4968738"/>
                  <a:pt x="3148522" y="4969036"/>
                </a:cubicBezTo>
                <a:close/>
                <a:moveTo>
                  <a:pt x="9865943" y="4767278"/>
                </a:moveTo>
                <a:cubicBezTo>
                  <a:pt x="9873563" y="4768710"/>
                  <a:pt x="9880706" y="4773005"/>
                  <a:pt x="9885469" y="4779687"/>
                </a:cubicBezTo>
                <a:cubicBezTo>
                  <a:pt x="9894994" y="4794960"/>
                  <a:pt x="9891184" y="4812143"/>
                  <a:pt x="9875944" y="4821688"/>
                </a:cubicBezTo>
                <a:cubicBezTo>
                  <a:pt x="9875944" y="4821688"/>
                  <a:pt x="9875944" y="4821688"/>
                  <a:pt x="9542565" y="5046968"/>
                </a:cubicBezTo>
                <a:cubicBezTo>
                  <a:pt x="9527324" y="5054605"/>
                  <a:pt x="9510179" y="5052696"/>
                  <a:pt x="9500654" y="5037422"/>
                </a:cubicBezTo>
                <a:cubicBezTo>
                  <a:pt x="9496844" y="5033604"/>
                  <a:pt x="9494939" y="5027877"/>
                  <a:pt x="9494939" y="5022149"/>
                </a:cubicBezTo>
                <a:cubicBezTo>
                  <a:pt x="9494939" y="5012603"/>
                  <a:pt x="9500654" y="5003058"/>
                  <a:pt x="9508274" y="4997330"/>
                </a:cubicBezTo>
                <a:cubicBezTo>
                  <a:pt x="9508274" y="4997330"/>
                  <a:pt x="9508274" y="4997330"/>
                  <a:pt x="9843558" y="4772051"/>
                </a:cubicBezTo>
                <a:cubicBezTo>
                  <a:pt x="9850226" y="4767278"/>
                  <a:pt x="9858322" y="4765846"/>
                  <a:pt x="9865943" y="4767278"/>
                </a:cubicBezTo>
                <a:close/>
                <a:moveTo>
                  <a:pt x="10450715" y="4757980"/>
                </a:moveTo>
                <a:cubicBezTo>
                  <a:pt x="10458830" y="4759647"/>
                  <a:pt x="10466468" y="4764410"/>
                  <a:pt x="10471242" y="4772030"/>
                </a:cubicBezTo>
                <a:cubicBezTo>
                  <a:pt x="10480790" y="4787270"/>
                  <a:pt x="10475061" y="4806320"/>
                  <a:pt x="10461695" y="4815845"/>
                </a:cubicBezTo>
                <a:cubicBezTo>
                  <a:pt x="10461695" y="4815845"/>
                  <a:pt x="10461695" y="4815845"/>
                  <a:pt x="10125619" y="5029205"/>
                </a:cubicBezTo>
                <a:cubicBezTo>
                  <a:pt x="10110343" y="5038730"/>
                  <a:pt x="10091248" y="5034920"/>
                  <a:pt x="10081701" y="5019680"/>
                </a:cubicBezTo>
                <a:cubicBezTo>
                  <a:pt x="10077882" y="5015870"/>
                  <a:pt x="10075972" y="5010155"/>
                  <a:pt x="10075972" y="5004440"/>
                </a:cubicBezTo>
                <a:cubicBezTo>
                  <a:pt x="10075972" y="4993010"/>
                  <a:pt x="10081701" y="4983485"/>
                  <a:pt x="10091248" y="4977770"/>
                </a:cubicBezTo>
                <a:cubicBezTo>
                  <a:pt x="10091248" y="4977770"/>
                  <a:pt x="10091248" y="4977770"/>
                  <a:pt x="10427323" y="4762505"/>
                </a:cubicBezTo>
                <a:cubicBezTo>
                  <a:pt x="10434006" y="4757742"/>
                  <a:pt x="10442599" y="4756314"/>
                  <a:pt x="10450715" y="4757980"/>
                </a:cubicBezTo>
                <a:close/>
                <a:moveTo>
                  <a:pt x="9287869" y="4757980"/>
                </a:moveTo>
                <a:cubicBezTo>
                  <a:pt x="9295722" y="4759647"/>
                  <a:pt x="9302860" y="4764410"/>
                  <a:pt x="9307618" y="4772030"/>
                </a:cubicBezTo>
                <a:cubicBezTo>
                  <a:pt x="9317136" y="4787270"/>
                  <a:pt x="9313329" y="4806320"/>
                  <a:pt x="9298101" y="4815845"/>
                </a:cubicBezTo>
                <a:cubicBezTo>
                  <a:pt x="9298101" y="4815845"/>
                  <a:pt x="9298101" y="4815845"/>
                  <a:pt x="8963081" y="5029205"/>
                </a:cubicBezTo>
                <a:cubicBezTo>
                  <a:pt x="8949756" y="5038730"/>
                  <a:pt x="8928818" y="5034920"/>
                  <a:pt x="8919300" y="5019680"/>
                </a:cubicBezTo>
                <a:cubicBezTo>
                  <a:pt x="8917397" y="5015870"/>
                  <a:pt x="8915493" y="5010155"/>
                  <a:pt x="8915493" y="5004440"/>
                </a:cubicBezTo>
                <a:cubicBezTo>
                  <a:pt x="8915493" y="4993010"/>
                  <a:pt x="8919300" y="4983485"/>
                  <a:pt x="8928818" y="4977770"/>
                </a:cubicBezTo>
                <a:cubicBezTo>
                  <a:pt x="8928818" y="4977770"/>
                  <a:pt x="8928818" y="4977770"/>
                  <a:pt x="9263837" y="4762505"/>
                </a:cubicBezTo>
                <a:cubicBezTo>
                  <a:pt x="9271451" y="4757742"/>
                  <a:pt x="9280018" y="4756314"/>
                  <a:pt x="9287869" y="4757980"/>
                </a:cubicBezTo>
                <a:close/>
                <a:moveTo>
                  <a:pt x="11026794" y="4748711"/>
                </a:moveTo>
                <a:cubicBezTo>
                  <a:pt x="11035135" y="4750623"/>
                  <a:pt x="11042761" y="4755879"/>
                  <a:pt x="11047527" y="4764481"/>
                </a:cubicBezTo>
                <a:cubicBezTo>
                  <a:pt x="11057060" y="4779773"/>
                  <a:pt x="11053247" y="4800799"/>
                  <a:pt x="11036088" y="4810357"/>
                </a:cubicBezTo>
                <a:cubicBezTo>
                  <a:pt x="11036088" y="4810357"/>
                  <a:pt x="11036088" y="4810357"/>
                  <a:pt x="10700543" y="5014885"/>
                </a:cubicBezTo>
                <a:cubicBezTo>
                  <a:pt x="10685291" y="5024443"/>
                  <a:pt x="10664319" y="5020620"/>
                  <a:pt x="10654787" y="5005328"/>
                </a:cubicBezTo>
                <a:cubicBezTo>
                  <a:pt x="10650974" y="4999593"/>
                  <a:pt x="10649067" y="4993859"/>
                  <a:pt x="10649067" y="4988125"/>
                </a:cubicBezTo>
                <a:cubicBezTo>
                  <a:pt x="10649067" y="4976656"/>
                  <a:pt x="10654787" y="4965187"/>
                  <a:pt x="10666226" y="4959452"/>
                </a:cubicBezTo>
                <a:cubicBezTo>
                  <a:pt x="10666226" y="4959452"/>
                  <a:pt x="10666226" y="4959452"/>
                  <a:pt x="11001771" y="4753012"/>
                </a:cubicBezTo>
                <a:cubicBezTo>
                  <a:pt x="11009397" y="4748234"/>
                  <a:pt x="11018453" y="4746800"/>
                  <a:pt x="11026794" y="4748711"/>
                </a:cubicBezTo>
                <a:close/>
                <a:moveTo>
                  <a:pt x="8717757" y="4748711"/>
                </a:moveTo>
                <a:cubicBezTo>
                  <a:pt x="8725834" y="4750623"/>
                  <a:pt x="8732961" y="4755880"/>
                  <a:pt x="8737713" y="4764481"/>
                </a:cubicBezTo>
                <a:cubicBezTo>
                  <a:pt x="8747216" y="4779773"/>
                  <a:pt x="8743415" y="4800799"/>
                  <a:pt x="8728210" y="4810357"/>
                </a:cubicBezTo>
                <a:cubicBezTo>
                  <a:pt x="8728210" y="4810357"/>
                  <a:pt x="8728210" y="4810357"/>
                  <a:pt x="8391812" y="5014885"/>
                </a:cubicBezTo>
                <a:cubicBezTo>
                  <a:pt x="8376608" y="5024443"/>
                  <a:pt x="8355702" y="5020620"/>
                  <a:pt x="8346199" y="5005328"/>
                </a:cubicBezTo>
                <a:cubicBezTo>
                  <a:pt x="8342398" y="4999593"/>
                  <a:pt x="8342398" y="4993859"/>
                  <a:pt x="8342398" y="4988125"/>
                </a:cubicBezTo>
                <a:cubicBezTo>
                  <a:pt x="8342398" y="4976656"/>
                  <a:pt x="8348100" y="4965187"/>
                  <a:pt x="8357602" y="4959452"/>
                </a:cubicBezTo>
                <a:cubicBezTo>
                  <a:pt x="8357602" y="4959452"/>
                  <a:pt x="8357602" y="4959452"/>
                  <a:pt x="8692100" y="4753012"/>
                </a:cubicBezTo>
                <a:cubicBezTo>
                  <a:pt x="8700653" y="4748234"/>
                  <a:pt x="8709680" y="4746800"/>
                  <a:pt x="8717757" y="4748711"/>
                </a:cubicBezTo>
                <a:close/>
                <a:moveTo>
                  <a:pt x="11598111" y="4739890"/>
                </a:moveTo>
                <a:cubicBezTo>
                  <a:pt x="11606677" y="4742035"/>
                  <a:pt x="11614291" y="4747280"/>
                  <a:pt x="11619050" y="4754909"/>
                </a:cubicBezTo>
                <a:cubicBezTo>
                  <a:pt x="11628568" y="4772074"/>
                  <a:pt x="11622857" y="4793053"/>
                  <a:pt x="11607629" y="4802589"/>
                </a:cubicBezTo>
                <a:cubicBezTo>
                  <a:pt x="11607629" y="4802589"/>
                  <a:pt x="11607629" y="4802589"/>
                  <a:pt x="11270700" y="4999032"/>
                </a:cubicBezTo>
                <a:cubicBezTo>
                  <a:pt x="11253568" y="5008568"/>
                  <a:pt x="11232628" y="5002846"/>
                  <a:pt x="11223111" y="4987588"/>
                </a:cubicBezTo>
                <a:cubicBezTo>
                  <a:pt x="11219304" y="4981867"/>
                  <a:pt x="11217400" y="4976145"/>
                  <a:pt x="11217400" y="4968516"/>
                </a:cubicBezTo>
                <a:cubicBezTo>
                  <a:pt x="11217400" y="4957073"/>
                  <a:pt x="11225014" y="4945630"/>
                  <a:pt x="11236436" y="4939908"/>
                </a:cubicBezTo>
                <a:cubicBezTo>
                  <a:pt x="11236436" y="4939908"/>
                  <a:pt x="11236436" y="4939908"/>
                  <a:pt x="11571461" y="4743466"/>
                </a:cubicBezTo>
                <a:cubicBezTo>
                  <a:pt x="11580027" y="4738698"/>
                  <a:pt x="11589545" y="4737744"/>
                  <a:pt x="11598111" y="4739890"/>
                </a:cubicBezTo>
                <a:close/>
                <a:moveTo>
                  <a:pt x="8154062" y="4739890"/>
                </a:moveTo>
                <a:cubicBezTo>
                  <a:pt x="8162866" y="4742035"/>
                  <a:pt x="8170956" y="4747280"/>
                  <a:pt x="8175715" y="4754909"/>
                </a:cubicBezTo>
                <a:cubicBezTo>
                  <a:pt x="8185233" y="4772074"/>
                  <a:pt x="8179522" y="4793053"/>
                  <a:pt x="8162390" y="4802589"/>
                </a:cubicBezTo>
                <a:cubicBezTo>
                  <a:pt x="8162390" y="4802589"/>
                  <a:pt x="8162390" y="4802589"/>
                  <a:pt x="7825461" y="4999032"/>
                </a:cubicBezTo>
                <a:cubicBezTo>
                  <a:pt x="7810232" y="5008568"/>
                  <a:pt x="7787390" y="5002846"/>
                  <a:pt x="7777872" y="4987588"/>
                </a:cubicBezTo>
                <a:cubicBezTo>
                  <a:pt x="7775968" y="4981867"/>
                  <a:pt x="7774065" y="4976145"/>
                  <a:pt x="7774065" y="4968516"/>
                </a:cubicBezTo>
                <a:cubicBezTo>
                  <a:pt x="7774065" y="4957073"/>
                  <a:pt x="7779775" y="4945630"/>
                  <a:pt x="7791197" y="4939908"/>
                </a:cubicBezTo>
                <a:cubicBezTo>
                  <a:pt x="7791197" y="4939908"/>
                  <a:pt x="7791197" y="4939908"/>
                  <a:pt x="8128126" y="4743466"/>
                </a:cubicBezTo>
                <a:cubicBezTo>
                  <a:pt x="8135740" y="4738698"/>
                  <a:pt x="8145258" y="4737744"/>
                  <a:pt x="8154062" y="4739890"/>
                </a:cubicBezTo>
                <a:close/>
                <a:moveTo>
                  <a:pt x="12135937" y="4732342"/>
                </a:moveTo>
                <a:cubicBezTo>
                  <a:pt x="12137843" y="4732342"/>
                  <a:pt x="12137843" y="4732342"/>
                  <a:pt x="12139750" y="4732342"/>
                </a:cubicBezTo>
                <a:cubicBezTo>
                  <a:pt x="12139750" y="4732342"/>
                  <a:pt x="12139750" y="4732342"/>
                  <a:pt x="12139750" y="4814057"/>
                </a:cubicBezTo>
                <a:cubicBezTo>
                  <a:pt x="12139750" y="4814057"/>
                  <a:pt x="12139750" y="4814057"/>
                  <a:pt x="11834677" y="4983190"/>
                </a:cubicBezTo>
                <a:cubicBezTo>
                  <a:pt x="11815610" y="4992692"/>
                  <a:pt x="11794637" y="4986991"/>
                  <a:pt x="11783196" y="4969887"/>
                </a:cubicBezTo>
                <a:cubicBezTo>
                  <a:pt x="11781290" y="4964186"/>
                  <a:pt x="11779383" y="4958485"/>
                  <a:pt x="11779383" y="4950884"/>
                </a:cubicBezTo>
                <a:cubicBezTo>
                  <a:pt x="11779383" y="4939482"/>
                  <a:pt x="11787010" y="4926179"/>
                  <a:pt x="11798450" y="4920478"/>
                </a:cubicBezTo>
                <a:close/>
                <a:moveTo>
                  <a:pt x="7597191" y="4729944"/>
                </a:moveTo>
                <a:cubicBezTo>
                  <a:pt x="7606246" y="4732795"/>
                  <a:pt x="7614349" y="4738971"/>
                  <a:pt x="7620068" y="4747524"/>
                </a:cubicBezTo>
                <a:cubicBezTo>
                  <a:pt x="7629601" y="4764628"/>
                  <a:pt x="7621975" y="4787435"/>
                  <a:pt x="7604817" y="4796937"/>
                </a:cubicBezTo>
                <a:cubicBezTo>
                  <a:pt x="7604817" y="4796937"/>
                  <a:pt x="7604817" y="4796937"/>
                  <a:pt x="7267371" y="4983189"/>
                </a:cubicBezTo>
                <a:cubicBezTo>
                  <a:pt x="7250212" y="4992692"/>
                  <a:pt x="7227335" y="4986990"/>
                  <a:pt x="7217802" y="4969885"/>
                </a:cubicBezTo>
                <a:cubicBezTo>
                  <a:pt x="7213989" y="4964184"/>
                  <a:pt x="7212083" y="4958482"/>
                  <a:pt x="7212083" y="4950880"/>
                </a:cubicBezTo>
                <a:cubicBezTo>
                  <a:pt x="7212083" y="4939477"/>
                  <a:pt x="7219709" y="4926173"/>
                  <a:pt x="7231147" y="4920472"/>
                </a:cubicBezTo>
                <a:cubicBezTo>
                  <a:pt x="7231147" y="4920472"/>
                  <a:pt x="7231147" y="4920472"/>
                  <a:pt x="7568594" y="4732319"/>
                </a:cubicBezTo>
                <a:cubicBezTo>
                  <a:pt x="7578126" y="4727568"/>
                  <a:pt x="7588135" y="4727093"/>
                  <a:pt x="7597191" y="4729944"/>
                </a:cubicBezTo>
                <a:close/>
                <a:moveTo>
                  <a:pt x="7045531" y="4720682"/>
                </a:moveTo>
                <a:cubicBezTo>
                  <a:pt x="7054846" y="4723782"/>
                  <a:pt x="7063445" y="4730457"/>
                  <a:pt x="7069177" y="4739994"/>
                </a:cubicBezTo>
                <a:cubicBezTo>
                  <a:pt x="7078731" y="4759067"/>
                  <a:pt x="7071088" y="4781954"/>
                  <a:pt x="7051980" y="4791491"/>
                </a:cubicBezTo>
                <a:cubicBezTo>
                  <a:pt x="7051980" y="4791491"/>
                  <a:pt x="7051980" y="4791491"/>
                  <a:pt x="6713773" y="4968868"/>
                </a:cubicBezTo>
                <a:cubicBezTo>
                  <a:pt x="6694665" y="4978405"/>
                  <a:pt x="6671736" y="4972683"/>
                  <a:pt x="6662182" y="4953610"/>
                </a:cubicBezTo>
                <a:cubicBezTo>
                  <a:pt x="6658361" y="4947888"/>
                  <a:pt x="6656450" y="4942166"/>
                  <a:pt x="6656450" y="4934537"/>
                </a:cubicBezTo>
                <a:cubicBezTo>
                  <a:pt x="6656450" y="4921186"/>
                  <a:pt x="6664093" y="4907835"/>
                  <a:pt x="6677468" y="4902113"/>
                </a:cubicBezTo>
                <a:cubicBezTo>
                  <a:pt x="6677468" y="4902113"/>
                  <a:pt x="6677468" y="4902113"/>
                  <a:pt x="7017586" y="4722828"/>
                </a:cubicBezTo>
                <a:cubicBezTo>
                  <a:pt x="7026184" y="4718060"/>
                  <a:pt x="7036216" y="4717583"/>
                  <a:pt x="7045531" y="4720682"/>
                </a:cubicBezTo>
                <a:close/>
                <a:moveTo>
                  <a:pt x="6500048" y="4711377"/>
                </a:moveTo>
                <a:cubicBezTo>
                  <a:pt x="6509797" y="4714707"/>
                  <a:pt x="6518357" y="4721842"/>
                  <a:pt x="6523112" y="4732307"/>
                </a:cubicBezTo>
                <a:cubicBezTo>
                  <a:pt x="6532623" y="4751333"/>
                  <a:pt x="6525014" y="4774166"/>
                  <a:pt x="6505992" y="4785582"/>
                </a:cubicBezTo>
                <a:cubicBezTo>
                  <a:pt x="6505992" y="4785582"/>
                  <a:pt x="6505992" y="4785582"/>
                  <a:pt x="6167407" y="4953016"/>
                </a:cubicBezTo>
                <a:cubicBezTo>
                  <a:pt x="6148385" y="4962530"/>
                  <a:pt x="6123657" y="4954919"/>
                  <a:pt x="6114146" y="4935892"/>
                </a:cubicBezTo>
                <a:cubicBezTo>
                  <a:pt x="6110342" y="4930184"/>
                  <a:pt x="6110342" y="4924476"/>
                  <a:pt x="6110342" y="4916866"/>
                </a:cubicBezTo>
                <a:cubicBezTo>
                  <a:pt x="6110342" y="4903547"/>
                  <a:pt x="6117950" y="4888326"/>
                  <a:pt x="6131266" y="4882618"/>
                </a:cubicBezTo>
                <a:cubicBezTo>
                  <a:pt x="6131266" y="4882618"/>
                  <a:pt x="6131266" y="4882618"/>
                  <a:pt x="6469851" y="4713280"/>
                </a:cubicBezTo>
                <a:cubicBezTo>
                  <a:pt x="6479362" y="4708524"/>
                  <a:pt x="6490300" y="4708048"/>
                  <a:pt x="6500048" y="4711377"/>
                </a:cubicBezTo>
                <a:close/>
                <a:moveTo>
                  <a:pt x="5956806" y="4701881"/>
                </a:moveTo>
                <a:cubicBezTo>
                  <a:pt x="5966814" y="4705223"/>
                  <a:pt x="5975394" y="4712385"/>
                  <a:pt x="5980159" y="4722888"/>
                </a:cubicBezTo>
                <a:cubicBezTo>
                  <a:pt x="5989691" y="4743896"/>
                  <a:pt x="5982065" y="4768723"/>
                  <a:pt x="5961095" y="4778272"/>
                </a:cubicBezTo>
                <a:cubicBezTo>
                  <a:pt x="5961095" y="4778272"/>
                  <a:pt x="5961095" y="4778272"/>
                  <a:pt x="5621756" y="4938693"/>
                </a:cubicBezTo>
                <a:cubicBezTo>
                  <a:pt x="5600786" y="4948242"/>
                  <a:pt x="5576002" y="4940603"/>
                  <a:pt x="5566471" y="4919595"/>
                </a:cubicBezTo>
                <a:cubicBezTo>
                  <a:pt x="5562658" y="4913866"/>
                  <a:pt x="5562658" y="4906227"/>
                  <a:pt x="5562658" y="4900497"/>
                </a:cubicBezTo>
                <a:cubicBezTo>
                  <a:pt x="5562658" y="4885219"/>
                  <a:pt x="5570284" y="4869941"/>
                  <a:pt x="5585535" y="4864212"/>
                </a:cubicBezTo>
                <a:cubicBezTo>
                  <a:pt x="5585535" y="4864212"/>
                  <a:pt x="5585535" y="4864212"/>
                  <a:pt x="5924874" y="4703791"/>
                </a:cubicBezTo>
                <a:cubicBezTo>
                  <a:pt x="5935360" y="4699016"/>
                  <a:pt x="5946797" y="4698539"/>
                  <a:pt x="5956806" y="4701881"/>
                </a:cubicBezTo>
                <a:close/>
                <a:moveTo>
                  <a:pt x="398944" y="4701881"/>
                </a:moveTo>
                <a:cubicBezTo>
                  <a:pt x="408946" y="4705223"/>
                  <a:pt x="417518" y="4712385"/>
                  <a:pt x="422281" y="4722888"/>
                </a:cubicBezTo>
                <a:cubicBezTo>
                  <a:pt x="431806" y="4743896"/>
                  <a:pt x="422281" y="4768723"/>
                  <a:pt x="401326" y="4778272"/>
                </a:cubicBezTo>
                <a:cubicBezTo>
                  <a:pt x="401326" y="4778272"/>
                  <a:pt x="401326" y="4778272"/>
                  <a:pt x="62232" y="4938693"/>
                </a:cubicBezTo>
                <a:cubicBezTo>
                  <a:pt x="43181" y="4948242"/>
                  <a:pt x="16511" y="4940603"/>
                  <a:pt x="6986" y="4919595"/>
                </a:cubicBezTo>
                <a:cubicBezTo>
                  <a:pt x="5081" y="4913866"/>
                  <a:pt x="3176" y="4906227"/>
                  <a:pt x="3176" y="4900497"/>
                </a:cubicBezTo>
                <a:cubicBezTo>
                  <a:pt x="3176" y="4885219"/>
                  <a:pt x="12701" y="4869941"/>
                  <a:pt x="27941" y="4864212"/>
                </a:cubicBezTo>
                <a:cubicBezTo>
                  <a:pt x="27941" y="4864212"/>
                  <a:pt x="27941" y="4864212"/>
                  <a:pt x="367035" y="4703791"/>
                </a:cubicBezTo>
                <a:cubicBezTo>
                  <a:pt x="377513" y="4699016"/>
                  <a:pt x="388943" y="4698539"/>
                  <a:pt x="398944" y="4701881"/>
                </a:cubicBezTo>
                <a:close/>
                <a:moveTo>
                  <a:pt x="5409709" y="4693289"/>
                </a:moveTo>
                <a:cubicBezTo>
                  <a:pt x="5420209" y="4697099"/>
                  <a:pt x="5429278" y="4704719"/>
                  <a:pt x="5434051" y="4715197"/>
                </a:cubicBezTo>
                <a:cubicBezTo>
                  <a:pt x="5443597" y="4738057"/>
                  <a:pt x="5434051" y="4762822"/>
                  <a:pt x="5411140" y="4772347"/>
                </a:cubicBezTo>
                <a:cubicBezTo>
                  <a:pt x="5411140" y="4772347"/>
                  <a:pt x="5411140" y="4772347"/>
                  <a:pt x="5071297" y="4922842"/>
                </a:cubicBezTo>
                <a:cubicBezTo>
                  <a:pt x="5048391" y="4932367"/>
                  <a:pt x="5023574" y="4922842"/>
                  <a:pt x="5014028" y="4901887"/>
                </a:cubicBezTo>
                <a:cubicBezTo>
                  <a:pt x="5012119" y="4894267"/>
                  <a:pt x="5010210" y="4888552"/>
                  <a:pt x="5010210" y="4882837"/>
                </a:cubicBezTo>
                <a:cubicBezTo>
                  <a:pt x="5010210" y="4867597"/>
                  <a:pt x="5019755" y="4850452"/>
                  <a:pt x="5036935" y="4842832"/>
                </a:cubicBezTo>
                <a:cubicBezTo>
                  <a:pt x="5036935" y="4842832"/>
                  <a:pt x="5036935" y="4842832"/>
                  <a:pt x="5376776" y="4694242"/>
                </a:cubicBezTo>
                <a:cubicBezTo>
                  <a:pt x="5387276" y="4689479"/>
                  <a:pt x="5399209" y="4689479"/>
                  <a:pt x="5409709" y="4693289"/>
                </a:cubicBezTo>
                <a:close/>
                <a:moveTo>
                  <a:pt x="943147" y="4693289"/>
                </a:moveTo>
                <a:cubicBezTo>
                  <a:pt x="953409" y="4697099"/>
                  <a:pt x="962000" y="4704719"/>
                  <a:pt x="966774" y="4715197"/>
                </a:cubicBezTo>
                <a:cubicBezTo>
                  <a:pt x="976320" y="4738057"/>
                  <a:pt x="966774" y="4762822"/>
                  <a:pt x="945772" y="4772347"/>
                </a:cubicBezTo>
                <a:cubicBezTo>
                  <a:pt x="945772" y="4772347"/>
                  <a:pt x="945772" y="4772347"/>
                  <a:pt x="604023" y="4922842"/>
                </a:cubicBezTo>
                <a:cubicBezTo>
                  <a:pt x="583021" y="4932367"/>
                  <a:pt x="556292" y="4922842"/>
                  <a:pt x="546746" y="4901887"/>
                </a:cubicBezTo>
                <a:cubicBezTo>
                  <a:pt x="544837" y="4894267"/>
                  <a:pt x="542928" y="4888552"/>
                  <a:pt x="542928" y="4882837"/>
                </a:cubicBezTo>
                <a:cubicBezTo>
                  <a:pt x="542928" y="4867597"/>
                  <a:pt x="552474" y="4850452"/>
                  <a:pt x="569657" y="4842832"/>
                </a:cubicBezTo>
                <a:cubicBezTo>
                  <a:pt x="569657" y="4842832"/>
                  <a:pt x="569657" y="4842832"/>
                  <a:pt x="909497" y="4694242"/>
                </a:cubicBezTo>
                <a:cubicBezTo>
                  <a:pt x="920952" y="4689479"/>
                  <a:pt x="932885" y="4689479"/>
                  <a:pt x="943147" y="4693289"/>
                </a:cubicBezTo>
                <a:close/>
                <a:moveTo>
                  <a:pt x="4840043" y="4679741"/>
                </a:moveTo>
                <a:cubicBezTo>
                  <a:pt x="4857649" y="4680008"/>
                  <a:pt x="4874453" y="4690682"/>
                  <a:pt x="4881602" y="4707760"/>
                </a:cubicBezTo>
                <a:cubicBezTo>
                  <a:pt x="4891136" y="4730531"/>
                  <a:pt x="4879696" y="4757097"/>
                  <a:pt x="4856815" y="4766584"/>
                </a:cubicBezTo>
                <a:cubicBezTo>
                  <a:pt x="4856815" y="4766584"/>
                  <a:pt x="4856815" y="4766584"/>
                  <a:pt x="4517479" y="4907004"/>
                </a:cubicBezTo>
                <a:cubicBezTo>
                  <a:pt x="4494604" y="4916492"/>
                  <a:pt x="4467914" y="4905106"/>
                  <a:pt x="4458382" y="4882336"/>
                </a:cubicBezTo>
                <a:cubicBezTo>
                  <a:pt x="4456475" y="4876643"/>
                  <a:pt x="4454569" y="4870950"/>
                  <a:pt x="4454569" y="4865258"/>
                </a:cubicBezTo>
                <a:cubicBezTo>
                  <a:pt x="4454569" y="4848180"/>
                  <a:pt x="4466007" y="4831101"/>
                  <a:pt x="4483164" y="4823511"/>
                </a:cubicBezTo>
                <a:cubicBezTo>
                  <a:pt x="4483164" y="4823511"/>
                  <a:pt x="4483164" y="4823511"/>
                  <a:pt x="4822495" y="4683092"/>
                </a:cubicBezTo>
                <a:cubicBezTo>
                  <a:pt x="4828213" y="4680720"/>
                  <a:pt x="4834174" y="4679652"/>
                  <a:pt x="4840043" y="4679741"/>
                </a:cubicBezTo>
                <a:close/>
                <a:moveTo>
                  <a:pt x="1476099" y="4679741"/>
                </a:moveTo>
                <a:cubicBezTo>
                  <a:pt x="1493704" y="4680008"/>
                  <a:pt x="1510504" y="4690682"/>
                  <a:pt x="1517653" y="4707760"/>
                </a:cubicBezTo>
                <a:cubicBezTo>
                  <a:pt x="1527185" y="4730531"/>
                  <a:pt x="1515746" y="4757097"/>
                  <a:pt x="1492870" y="4766584"/>
                </a:cubicBezTo>
                <a:cubicBezTo>
                  <a:pt x="1492870" y="4766584"/>
                  <a:pt x="1492870" y="4766584"/>
                  <a:pt x="1151623" y="4907004"/>
                </a:cubicBezTo>
                <a:cubicBezTo>
                  <a:pt x="1128746" y="4916492"/>
                  <a:pt x="1102056" y="4905106"/>
                  <a:pt x="1094430" y="4882336"/>
                </a:cubicBezTo>
                <a:cubicBezTo>
                  <a:pt x="1090618" y="4876643"/>
                  <a:pt x="1090618" y="4870950"/>
                  <a:pt x="1090618" y="4865258"/>
                </a:cubicBezTo>
                <a:cubicBezTo>
                  <a:pt x="1090618" y="4848180"/>
                  <a:pt x="1100150" y="4831101"/>
                  <a:pt x="1117307" y="4823511"/>
                </a:cubicBezTo>
                <a:cubicBezTo>
                  <a:pt x="1117307" y="4823511"/>
                  <a:pt x="1117307" y="4823511"/>
                  <a:pt x="1458554" y="4683092"/>
                </a:cubicBezTo>
                <a:cubicBezTo>
                  <a:pt x="1464273" y="4680720"/>
                  <a:pt x="1470231" y="4679652"/>
                  <a:pt x="1476099" y="4679741"/>
                </a:cubicBezTo>
                <a:close/>
                <a:moveTo>
                  <a:pt x="4282901" y="4670538"/>
                </a:moveTo>
                <a:cubicBezTo>
                  <a:pt x="4300482" y="4671342"/>
                  <a:pt x="4317257" y="4683129"/>
                  <a:pt x="4324395" y="4700274"/>
                </a:cubicBezTo>
                <a:cubicBezTo>
                  <a:pt x="4333916" y="4725039"/>
                  <a:pt x="4322492" y="4751709"/>
                  <a:pt x="4297744" y="4761234"/>
                </a:cubicBezTo>
                <a:cubicBezTo>
                  <a:pt x="4297744" y="4761234"/>
                  <a:pt x="4297744" y="4761234"/>
                  <a:pt x="3957011" y="4892679"/>
                </a:cubicBezTo>
                <a:cubicBezTo>
                  <a:pt x="3934167" y="4902204"/>
                  <a:pt x="3907513" y="4890774"/>
                  <a:pt x="3897996" y="4866009"/>
                </a:cubicBezTo>
                <a:cubicBezTo>
                  <a:pt x="3896095" y="4860294"/>
                  <a:pt x="3894189" y="4854579"/>
                  <a:pt x="3894189" y="4848864"/>
                </a:cubicBezTo>
                <a:cubicBezTo>
                  <a:pt x="3894189" y="4829814"/>
                  <a:pt x="3905611" y="4812669"/>
                  <a:pt x="3924649" y="4805049"/>
                </a:cubicBezTo>
                <a:cubicBezTo>
                  <a:pt x="3924649" y="4805049"/>
                  <a:pt x="3924649" y="4805049"/>
                  <a:pt x="4265381" y="4673604"/>
                </a:cubicBezTo>
                <a:cubicBezTo>
                  <a:pt x="4271092" y="4671223"/>
                  <a:pt x="4277042" y="4670270"/>
                  <a:pt x="4282901" y="4670538"/>
                </a:cubicBezTo>
                <a:close/>
                <a:moveTo>
                  <a:pt x="2029448" y="4670538"/>
                </a:moveTo>
                <a:cubicBezTo>
                  <a:pt x="2047822" y="4671342"/>
                  <a:pt x="2064586" y="4683129"/>
                  <a:pt x="2071719" y="4700274"/>
                </a:cubicBezTo>
                <a:cubicBezTo>
                  <a:pt x="2081231" y="4725039"/>
                  <a:pt x="2067915" y="4751709"/>
                  <a:pt x="2045082" y="4761234"/>
                </a:cubicBezTo>
                <a:cubicBezTo>
                  <a:pt x="2045082" y="4761234"/>
                  <a:pt x="2045082" y="4761234"/>
                  <a:pt x="1704573" y="4892679"/>
                </a:cubicBezTo>
                <a:cubicBezTo>
                  <a:pt x="1679843" y="4902204"/>
                  <a:pt x="1653211" y="4890774"/>
                  <a:pt x="1643700" y="4866009"/>
                </a:cubicBezTo>
                <a:cubicBezTo>
                  <a:pt x="1641797" y="4860294"/>
                  <a:pt x="1639895" y="4854579"/>
                  <a:pt x="1639895" y="4848864"/>
                </a:cubicBezTo>
                <a:cubicBezTo>
                  <a:pt x="1639895" y="4829814"/>
                  <a:pt x="1651309" y="4812669"/>
                  <a:pt x="1670332" y="4805049"/>
                </a:cubicBezTo>
                <a:cubicBezTo>
                  <a:pt x="1670332" y="4805049"/>
                  <a:pt x="1670332" y="4805049"/>
                  <a:pt x="2010841" y="4673604"/>
                </a:cubicBezTo>
                <a:cubicBezTo>
                  <a:pt x="2017024" y="4671223"/>
                  <a:pt x="2023325" y="4670270"/>
                  <a:pt x="2029448" y="4670538"/>
                </a:cubicBezTo>
                <a:close/>
                <a:moveTo>
                  <a:pt x="3720839" y="4661025"/>
                </a:moveTo>
                <a:cubicBezTo>
                  <a:pt x="3740053" y="4661915"/>
                  <a:pt x="3756855" y="4674027"/>
                  <a:pt x="3764003" y="4692550"/>
                </a:cubicBezTo>
                <a:cubicBezTo>
                  <a:pt x="3773538" y="4717247"/>
                  <a:pt x="3760192" y="4745744"/>
                  <a:pt x="3735407" y="4755243"/>
                </a:cubicBezTo>
                <a:cubicBezTo>
                  <a:pt x="3735407" y="4755243"/>
                  <a:pt x="3735407" y="4755243"/>
                  <a:pt x="3392273" y="4876830"/>
                </a:cubicBezTo>
                <a:cubicBezTo>
                  <a:pt x="3367488" y="4886329"/>
                  <a:pt x="3340798" y="4873030"/>
                  <a:pt x="3331265" y="4848333"/>
                </a:cubicBezTo>
                <a:cubicBezTo>
                  <a:pt x="3329361" y="4842633"/>
                  <a:pt x="3327453" y="4836934"/>
                  <a:pt x="3327453" y="4831235"/>
                </a:cubicBezTo>
                <a:cubicBezTo>
                  <a:pt x="3327453" y="4812237"/>
                  <a:pt x="3340798" y="4793239"/>
                  <a:pt x="3359861" y="4785640"/>
                </a:cubicBezTo>
                <a:cubicBezTo>
                  <a:pt x="3359861" y="4785640"/>
                  <a:pt x="3359861" y="4785640"/>
                  <a:pt x="3701092" y="4664053"/>
                </a:cubicBezTo>
                <a:cubicBezTo>
                  <a:pt x="3707764" y="4661678"/>
                  <a:pt x="3714436" y="4660728"/>
                  <a:pt x="3720839" y="4661025"/>
                </a:cubicBezTo>
                <a:close/>
                <a:moveTo>
                  <a:pt x="2587339" y="4661025"/>
                </a:moveTo>
                <a:cubicBezTo>
                  <a:pt x="2606552" y="4661915"/>
                  <a:pt x="2623352" y="4674027"/>
                  <a:pt x="2630501" y="4692550"/>
                </a:cubicBezTo>
                <a:cubicBezTo>
                  <a:pt x="2640033" y="4717247"/>
                  <a:pt x="2626688" y="4745744"/>
                  <a:pt x="2601905" y="4755243"/>
                </a:cubicBezTo>
                <a:cubicBezTo>
                  <a:pt x="2601905" y="4755243"/>
                  <a:pt x="2601905" y="4755243"/>
                  <a:pt x="2258757" y="4876830"/>
                </a:cubicBezTo>
                <a:cubicBezTo>
                  <a:pt x="2233974" y="4886329"/>
                  <a:pt x="2207285" y="4873030"/>
                  <a:pt x="2197753" y="4848333"/>
                </a:cubicBezTo>
                <a:cubicBezTo>
                  <a:pt x="2195847" y="4842633"/>
                  <a:pt x="2193940" y="4836934"/>
                  <a:pt x="2193940" y="4831235"/>
                </a:cubicBezTo>
                <a:cubicBezTo>
                  <a:pt x="2193940" y="4812237"/>
                  <a:pt x="2207285" y="4793239"/>
                  <a:pt x="2226348" y="4785640"/>
                </a:cubicBezTo>
                <a:cubicBezTo>
                  <a:pt x="2226348" y="4785640"/>
                  <a:pt x="2226348" y="4785640"/>
                  <a:pt x="2567590" y="4664053"/>
                </a:cubicBezTo>
                <a:cubicBezTo>
                  <a:pt x="2574263" y="4661678"/>
                  <a:pt x="2580935" y="4660728"/>
                  <a:pt x="2587339" y="4661025"/>
                </a:cubicBezTo>
                <a:close/>
                <a:moveTo>
                  <a:pt x="3149675" y="4651825"/>
                </a:moveTo>
                <a:cubicBezTo>
                  <a:pt x="3169412" y="4653256"/>
                  <a:pt x="3187273" y="4666490"/>
                  <a:pt x="3194414" y="4685090"/>
                </a:cubicBezTo>
                <a:cubicBezTo>
                  <a:pt x="3202035" y="4711797"/>
                  <a:pt x="3188702" y="4740412"/>
                  <a:pt x="3162027" y="4748043"/>
                </a:cubicBezTo>
                <a:cubicBezTo>
                  <a:pt x="3162027" y="4748043"/>
                  <a:pt x="3162027" y="4748043"/>
                  <a:pt x="2819126" y="4862503"/>
                </a:cubicBezTo>
                <a:cubicBezTo>
                  <a:pt x="2794360" y="4872042"/>
                  <a:pt x="2765783" y="4856780"/>
                  <a:pt x="2756258" y="4830073"/>
                </a:cubicBezTo>
                <a:cubicBezTo>
                  <a:pt x="2754353" y="4826258"/>
                  <a:pt x="2754353" y="4820535"/>
                  <a:pt x="2754353" y="4814812"/>
                </a:cubicBezTo>
                <a:cubicBezTo>
                  <a:pt x="2754353" y="4793827"/>
                  <a:pt x="2767688" y="4774750"/>
                  <a:pt x="2788646" y="4767120"/>
                </a:cubicBezTo>
                <a:cubicBezTo>
                  <a:pt x="2788646" y="4767120"/>
                  <a:pt x="2788646" y="4767120"/>
                  <a:pt x="3129644" y="4654567"/>
                </a:cubicBezTo>
                <a:cubicBezTo>
                  <a:pt x="3136311" y="4652183"/>
                  <a:pt x="3143098" y="4651348"/>
                  <a:pt x="3149675" y="4651825"/>
                </a:cubicBezTo>
                <a:close/>
                <a:moveTo>
                  <a:pt x="9864585" y="4440631"/>
                </a:moveTo>
                <a:cubicBezTo>
                  <a:pt x="9871274" y="4441819"/>
                  <a:pt x="9877485" y="4445621"/>
                  <a:pt x="9882263" y="4452274"/>
                </a:cubicBezTo>
                <a:cubicBezTo>
                  <a:pt x="9891819" y="4463680"/>
                  <a:pt x="9887997" y="4480789"/>
                  <a:pt x="9876530" y="4488393"/>
                </a:cubicBezTo>
                <a:cubicBezTo>
                  <a:pt x="9876530" y="4488393"/>
                  <a:pt x="9876530" y="4488393"/>
                  <a:pt x="9540160" y="4727913"/>
                </a:cubicBezTo>
                <a:cubicBezTo>
                  <a:pt x="9528693" y="4735517"/>
                  <a:pt x="9511492" y="4733616"/>
                  <a:pt x="9503848" y="4720309"/>
                </a:cubicBezTo>
                <a:cubicBezTo>
                  <a:pt x="9500025" y="4716507"/>
                  <a:pt x="9498114" y="4710804"/>
                  <a:pt x="9498114" y="4705101"/>
                </a:cubicBezTo>
                <a:cubicBezTo>
                  <a:pt x="9498114" y="4697498"/>
                  <a:pt x="9501936" y="4687993"/>
                  <a:pt x="9509581" y="4684191"/>
                </a:cubicBezTo>
                <a:cubicBezTo>
                  <a:pt x="9509581" y="4684191"/>
                  <a:pt x="9509581" y="4684191"/>
                  <a:pt x="9844039" y="4444671"/>
                </a:cubicBezTo>
                <a:cubicBezTo>
                  <a:pt x="9850729" y="4440869"/>
                  <a:pt x="9857896" y="4439443"/>
                  <a:pt x="9864585" y="4440631"/>
                </a:cubicBezTo>
                <a:close/>
                <a:moveTo>
                  <a:pt x="10447906" y="4432309"/>
                </a:moveTo>
                <a:cubicBezTo>
                  <a:pt x="10455055" y="4433740"/>
                  <a:pt x="10461728" y="4438030"/>
                  <a:pt x="10466494" y="4444705"/>
                </a:cubicBezTo>
                <a:cubicBezTo>
                  <a:pt x="10476027" y="4458055"/>
                  <a:pt x="10472214" y="4475218"/>
                  <a:pt x="10458868" y="4484754"/>
                </a:cubicBezTo>
                <a:cubicBezTo>
                  <a:pt x="10458868" y="4484754"/>
                  <a:pt x="10458868" y="4484754"/>
                  <a:pt x="10123316" y="4711694"/>
                </a:cubicBezTo>
                <a:cubicBezTo>
                  <a:pt x="10109970" y="4721230"/>
                  <a:pt x="10092811" y="4717416"/>
                  <a:pt x="10083279" y="4704066"/>
                </a:cubicBezTo>
                <a:cubicBezTo>
                  <a:pt x="10079466" y="4698345"/>
                  <a:pt x="10077559" y="4692624"/>
                  <a:pt x="10077559" y="4686903"/>
                </a:cubicBezTo>
                <a:cubicBezTo>
                  <a:pt x="10077559" y="4679274"/>
                  <a:pt x="10083279" y="4669739"/>
                  <a:pt x="10090905" y="4664018"/>
                </a:cubicBezTo>
                <a:cubicBezTo>
                  <a:pt x="10090905" y="4664018"/>
                  <a:pt x="10090905" y="4664018"/>
                  <a:pt x="10426457" y="4437077"/>
                </a:cubicBezTo>
                <a:cubicBezTo>
                  <a:pt x="10433130" y="4432310"/>
                  <a:pt x="10440756" y="4430879"/>
                  <a:pt x="10447906" y="4432309"/>
                </a:cubicBezTo>
                <a:close/>
                <a:moveTo>
                  <a:pt x="9287428" y="4432309"/>
                </a:moveTo>
                <a:cubicBezTo>
                  <a:pt x="9294577" y="4433740"/>
                  <a:pt x="9301250" y="4438031"/>
                  <a:pt x="9306016" y="4444705"/>
                </a:cubicBezTo>
                <a:cubicBezTo>
                  <a:pt x="9315549" y="4458055"/>
                  <a:pt x="9311736" y="4475218"/>
                  <a:pt x="9298390" y="4484754"/>
                </a:cubicBezTo>
                <a:cubicBezTo>
                  <a:pt x="9298390" y="4484754"/>
                  <a:pt x="9298390" y="4484754"/>
                  <a:pt x="8962838" y="4711694"/>
                </a:cubicBezTo>
                <a:cubicBezTo>
                  <a:pt x="8949492" y="4721230"/>
                  <a:pt x="8932333" y="4717416"/>
                  <a:pt x="8922801" y="4704066"/>
                </a:cubicBezTo>
                <a:cubicBezTo>
                  <a:pt x="8918988" y="4698345"/>
                  <a:pt x="8917081" y="4692624"/>
                  <a:pt x="8917081" y="4686903"/>
                </a:cubicBezTo>
                <a:cubicBezTo>
                  <a:pt x="8917081" y="4679274"/>
                  <a:pt x="8922801" y="4669739"/>
                  <a:pt x="8930427" y="4664018"/>
                </a:cubicBezTo>
                <a:cubicBezTo>
                  <a:pt x="8930427" y="4664018"/>
                  <a:pt x="8930427" y="4664018"/>
                  <a:pt x="9265979" y="4437077"/>
                </a:cubicBezTo>
                <a:cubicBezTo>
                  <a:pt x="9272652" y="4432310"/>
                  <a:pt x="9280278" y="4430879"/>
                  <a:pt x="9287428" y="4432309"/>
                </a:cubicBezTo>
                <a:close/>
                <a:moveTo>
                  <a:pt x="11026206" y="4423012"/>
                </a:moveTo>
                <a:cubicBezTo>
                  <a:pt x="11034058" y="4424677"/>
                  <a:pt x="11041196" y="4429434"/>
                  <a:pt x="11045955" y="4437046"/>
                </a:cubicBezTo>
                <a:cubicBezTo>
                  <a:pt x="11055473" y="4450366"/>
                  <a:pt x="11051666" y="4471298"/>
                  <a:pt x="11036438" y="4478910"/>
                </a:cubicBezTo>
                <a:cubicBezTo>
                  <a:pt x="11036438" y="4478910"/>
                  <a:pt x="11036438" y="4478910"/>
                  <a:pt x="10701418" y="4695840"/>
                </a:cubicBezTo>
                <a:cubicBezTo>
                  <a:pt x="10686190" y="4705355"/>
                  <a:pt x="10667155" y="4699646"/>
                  <a:pt x="10657637" y="4686326"/>
                </a:cubicBezTo>
                <a:cubicBezTo>
                  <a:pt x="10653830" y="4680617"/>
                  <a:pt x="10653830" y="4674908"/>
                  <a:pt x="10653830" y="4669200"/>
                </a:cubicBezTo>
                <a:cubicBezTo>
                  <a:pt x="10653830" y="4657782"/>
                  <a:pt x="10657637" y="4648268"/>
                  <a:pt x="10667155" y="4642559"/>
                </a:cubicBezTo>
                <a:cubicBezTo>
                  <a:pt x="10667155" y="4642559"/>
                  <a:pt x="10667155" y="4642559"/>
                  <a:pt x="11002174" y="4427531"/>
                </a:cubicBezTo>
                <a:cubicBezTo>
                  <a:pt x="11009789" y="4422774"/>
                  <a:pt x="11018354" y="4421347"/>
                  <a:pt x="11026206" y="4423012"/>
                </a:cubicBezTo>
                <a:close/>
                <a:moveTo>
                  <a:pt x="8716363" y="4423012"/>
                </a:moveTo>
                <a:cubicBezTo>
                  <a:pt x="8724214" y="4424677"/>
                  <a:pt x="8731352" y="4429434"/>
                  <a:pt x="8736111" y="4437046"/>
                </a:cubicBezTo>
                <a:cubicBezTo>
                  <a:pt x="8745629" y="4450366"/>
                  <a:pt x="8741822" y="4471298"/>
                  <a:pt x="8726594" y="4478910"/>
                </a:cubicBezTo>
                <a:cubicBezTo>
                  <a:pt x="8726594" y="4478910"/>
                  <a:pt x="8726594" y="4478910"/>
                  <a:pt x="8391574" y="4695840"/>
                </a:cubicBezTo>
                <a:cubicBezTo>
                  <a:pt x="8378249" y="4705355"/>
                  <a:pt x="8357311" y="4699646"/>
                  <a:pt x="8347793" y="4686326"/>
                </a:cubicBezTo>
                <a:cubicBezTo>
                  <a:pt x="8345890" y="4680617"/>
                  <a:pt x="8343986" y="4674908"/>
                  <a:pt x="8343986" y="4669200"/>
                </a:cubicBezTo>
                <a:cubicBezTo>
                  <a:pt x="8343986" y="4657782"/>
                  <a:pt x="8347793" y="4648268"/>
                  <a:pt x="8357311" y="4642559"/>
                </a:cubicBezTo>
                <a:cubicBezTo>
                  <a:pt x="8357311" y="4642559"/>
                  <a:pt x="8357311" y="4642559"/>
                  <a:pt x="8692330" y="4427531"/>
                </a:cubicBezTo>
                <a:cubicBezTo>
                  <a:pt x="8699945" y="4422774"/>
                  <a:pt x="8708511" y="4421347"/>
                  <a:pt x="8716363" y="4423012"/>
                </a:cubicBezTo>
                <a:close/>
                <a:moveTo>
                  <a:pt x="11596714" y="4414431"/>
                </a:moveTo>
                <a:cubicBezTo>
                  <a:pt x="11605055" y="4416570"/>
                  <a:pt x="11612681" y="4421797"/>
                  <a:pt x="11617447" y="4429399"/>
                </a:cubicBezTo>
                <a:cubicBezTo>
                  <a:pt x="11626980" y="4444605"/>
                  <a:pt x="11623167" y="4465512"/>
                  <a:pt x="11606008" y="4475016"/>
                </a:cubicBezTo>
                <a:cubicBezTo>
                  <a:pt x="11606008" y="4475016"/>
                  <a:pt x="11606008" y="4475016"/>
                  <a:pt x="11270463" y="4678388"/>
                </a:cubicBezTo>
                <a:cubicBezTo>
                  <a:pt x="11255211" y="4687892"/>
                  <a:pt x="11234239" y="4684090"/>
                  <a:pt x="11224707" y="4666984"/>
                </a:cubicBezTo>
                <a:cubicBezTo>
                  <a:pt x="11220894" y="4663183"/>
                  <a:pt x="11218987" y="4655580"/>
                  <a:pt x="11218987" y="4649878"/>
                </a:cubicBezTo>
                <a:cubicBezTo>
                  <a:pt x="11218987" y="4638474"/>
                  <a:pt x="11224707" y="4628971"/>
                  <a:pt x="11236146" y="4621368"/>
                </a:cubicBezTo>
                <a:cubicBezTo>
                  <a:pt x="11236146" y="4621368"/>
                  <a:pt x="11236146" y="4621368"/>
                  <a:pt x="11571691" y="4417995"/>
                </a:cubicBezTo>
                <a:cubicBezTo>
                  <a:pt x="11579317" y="4413244"/>
                  <a:pt x="11588373" y="4412293"/>
                  <a:pt x="11596714" y="4414431"/>
                </a:cubicBezTo>
                <a:close/>
                <a:moveTo>
                  <a:pt x="8153380" y="4414431"/>
                </a:moveTo>
                <a:cubicBezTo>
                  <a:pt x="8161721" y="4416570"/>
                  <a:pt x="8169347" y="4421797"/>
                  <a:pt x="8174113" y="4429399"/>
                </a:cubicBezTo>
                <a:cubicBezTo>
                  <a:pt x="8183646" y="4444605"/>
                  <a:pt x="8177926" y="4465512"/>
                  <a:pt x="8162674" y="4475016"/>
                </a:cubicBezTo>
                <a:cubicBezTo>
                  <a:pt x="8162674" y="4475016"/>
                  <a:pt x="8162674" y="4475016"/>
                  <a:pt x="7825222" y="4678388"/>
                </a:cubicBezTo>
                <a:cubicBezTo>
                  <a:pt x="7809970" y="4687892"/>
                  <a:pt x="7788998" y="4684090"/>
                  <a:pt x="7779466" y="4666984"/>
                </a:cubicBezTo>
                <a:cubicBezTo>
                  <a:pt x="7777559" y="4663183"/>
                  <a:pt x="7775653" y="4655580"/>
                  <a:pt x="7775653" y="4649878"/>
                </a:cubicBezTo>
                <a:cubicBezTo>
                  <a:pt x="7775653" y="4638474"/>
                  <a:pt x="7781372" y="4628971"/>
                  <a:pt x="7790905" y="4621368"/>
                </a:cubicBezTo>
                <a:cubicBezTo>
                  <a:pt x="7790905" y="4621368"/>
                  <a:pt x="7790905" y="4621368"/>
                  <a:pt x="8128357" y="4417995"/>
                </a:cubicBezTo>
                <a:cubicBezTo>
                  <a:pt x="8135983" y="4413244"/>
                  <a:pt x="8145039" y="4412293"/>
                  <a:pt x="8153380" y="4414431"/>
                </a:cubicBezTo>
                <a:close/>
                <a:moveTo>
                  <a:pt x="12139750" y="4406904"/>
                </a:moveTo>
                <a:cubicBezTo>
                  <a:pt x="12139750" y="4406904"/>
                  <a:pt x="12139750" y="4406904"/>
                  <a:pt x="12139750" y="4488819"/>
                </a:cubicBezTo>
                <a:cubicBezTo>
                  <a:pt x="12139750" y="4488819"/>
                  <a:pt x="12139750" y="4488819"/>
                  <a:pt x="11834405" y="4664079"/>
                </a:cubicBezTo>
                <a:cubicBezTo>
                  <a:pt x="11817230" y="4673604"/>
                  <a:pt x="11794329" y="4667889"/>
                  <a:pt x="11784787" y="4650744"/>
                </a:cubicBezTo>
                <a:cubicBezTo>
                  <a:pt x="11780970" y="4645029"/>
                  <a:pt x="11780970" y="4639314"/>
                  <a:pt x="11780970" y="4633599"/>
                </a:cubicBezTo>
                <a:cubicBezTo>
                  <a:pt x="11780970" y="4620264"/>
                  <a:pt x="11786695" y="4608834"/>
                  <a:pt x="11798146" y="4601214"/>
                </a:cubicBezTo>
                <a:lnTo>
                  <a:pt x="12135933" y="4408809"/>
                </a:lnTo>
                <a:cubicBezTo>
                  <a:pt x="12137842" y="4408809"/>
                  <a:pt x="12137842" y="4408809"/>
                  <a:pt x="12139750" y="4406904"/>
                </a:cubicBezTo>
                <a:close/>
                <a:moveTo>
                  <a:pt x="7595041" y="4405165"/>
                </a:moveTo>
                <a:cubicBezTo>
                  <a:pt x="7604076" y="4407549"/>
                  <a:pt x="7612160" y="4413271"/>
                  <a:pt x="7616915" y="4421853"/>
                </a:cubicBezTo>
                <a:cubicBezTo>
                  <a:pt x="7626426" y="4439018"/>
                  <a:pt x="7620719" y="4461905"/>
                  <a:pt x="7603601" y="4471441"/>
                </a:cubicBezTo>
                <a:cubicBezTo>
                  <a:pt x="7603601" y="4471441"/>
                  <a:pt x="7603601" y="4471441"/>
                  <a:pt x="7266929" y="4664069"/>
                </a:cubicBezTo>
                <a:cubicBezTo>
                  <a:pt x="7249810" y="4673605"/>
                  <a:pt x="7228887" y="4667883"/>
                  <a:pt x="7219376" y="4650718"/>
                </a:cubicBezTo>
                <a:cubicBezTo>
                  <a:pt x="7215572" y="4644997"/>
                  <a:pt x="7213670" y="4639275"/>
                  <a:pt x="7213670" y="4633553"/>
                </a:cubicBezTo>
                <a:cubicBezTo>
                  <a:pt x="7213670" y="4620203"/>
                  <a:pt x="7219376" y="4608760"/>
                  <a:pt x="7230789" y="4601131"/>
                </a:cubicBezTo>
                <a:cubicBezTo>
                  <a:pt x="7230789" y="4601131"/>
                  <a:pt x="7230789" y="4601131"/>
                  <a:pt x="7567461" y="4408503"/>
                </a:cubicBezTo>
                <a:cubicBezTo>
                  <a:pt x="7576020" y="4403735"/>
                  <a:pt x="7586006" y="4402781"/>
                  <a:pt x="7595041" y="4405165"/>
                </a:cubicBezTo>
                <a:close/>
                <a:moveTo>
                  <a:pt x="7045447" y="4396577"/>
                </a:moveTo>
                <a:cubicBezTo>
                  <a:pt x="7054741" y="4399431"/>
                  <a:pt x="7062844" y="4405615"/>
                  <a:pt x="7067610" y="4414178"/>
                </a:cubicBezTo>
                <a:cubicBezTo>
                  <a:pt x="7077143" y="4433205"/>
                  <a:pt x="7071423" y="4456038"/>
                  <a:pt x="7052359" y="4465552"/>
                </a:cubicBezTo>
                <a:cubicBezTo>
                  <a:pt x="7052359" y="4465552"/>
                  <a:pt x="7052359" y="4465552"/>
                  <a:pt x="6714913" y="4646313"/>
                </a:cubicBezTo>
                <a:cubicBezTo>
                  <a:pt x="6695848" y="4657730"/>
                  <a:pt x="6672970" y="4650119"/>
                  <a:pt x="6663438" y="4631091"/>
                </a:cubicBezTo>
                <a:cubicBezTo>
                  <a:pt x="6661531" y="4625383"/>
                  <a:pt x="6659625" y="4619675"/>
                  <a:pt x="6659625" y="4613966"/>
                </a:cubicBezTo>
                <a:cubicBezTo>
                  <a:pt x="6659625" y="4600647"/>
                  <a:pt x="6667251" y="4587328"/>
                  <a:pt x="6678689" y="4581620"/>
                </a:cubicBezTo>
                <a:cubicBezTo>
                  <a:pt x="6678689" y="4581620"/>
                  <a:pt x="6678689" y="4581620"/>
                  <a:pt x="7016136" y="4398956"/>
                </a:cubicBezTo>
                <a:cubicBezTo>
                  <a:pt x="7025668" y="4394199"/>
                  <a:pt x="7036153" y="4393723"/>
                  <a:pt x="7045447" y="4396577"/>
                </a:cubicBezTo>
                <a:close/>
                <a:moveTo>
                  <a:pt x="6484860" y="4386509"/>
                </a:moveTo>
                <a:cubicBezTo>
                  <a:pt x="6500286" y="4385262"/>
                  <a:pt x="6515979" y="4394170"/>
                  <a:pt x="6523112" y="4408422"/>
                </a:cubicBezTo>
                <a:cubicBezTo>
                  <a:pt x="6532623" y="4427426"/>
                  <a:pt x="6525014" y="4452131"/>
                  <a:pt x="6505992" y="4461632"/>
                </a:cubicBezTo>
                <a:cubicBezTo>
                  <a:pt x="6505992" y="4461632"/>
                  <a:pt x="6505992" y="4461632"/>
                  <a:pt x="6167407" y="4630765"/>
                </a:cubicBezTo>
                <a:cubicBezTo>
                  <a:pt x="6148385" y="4640267"/>
                  <a:pt x="6123657" y="4632665"/>
                  <a:pt x="6114146" y="4613662"/>
                </a:cubicBezTo>
                <a:cubicBezTo>
                  <a:pt x="6112244" y="4607961"/>
                  <a:pt x="6110342" y="4600359"/>
                  <a:pt x="6110342" y="4594658"/>
                </a:cubicBezTo>
                <a:cubicBezTo>
                  <a:pt x="6110342" y="4581355"/>
                  <a:pt x="6117950" y="4566153"/>
                  <a:pt x="6131266" y="4560451"/>
                </a:cubicBezTo>
                <a:cubicBezTo>
                  <a:pt x="6131266" y="4560451"/>
                  <a:pt x="6131266" y="4560451"/>
                  <a:pt x="6469851" y="4391319"/>
                </a:cubicBezTo>
                <a:cubicBezTo>
                  <a:pt x="6474607" y="4388468"/>
                  <a:pt x="6479719" y="4386924"/>
                  <a:pt x="6484860" y="4386509"/>
                </a:cubicBezTo>
                <a:close/>
                <a:moveTo>
                  <a:pt x="5956833" y="4379618"/>
                </a:moveTo>
                <a:cubicBezTo>
                  <a:pt x="5966832" y="4382960"/>
                  <a:pt x="5975405" y="4390122"/>
                  <a:pt x="5980168" y="4400625"/>
                </a:cubicBezTo>
                <a:cubicBezTo>
                  <a:pt x="5989692" y="4421633"/>
                  <a:pt x="5982072" y="4446460"/>
                  <a:pt x="5961117" y="4456009"/>
                </a:cubicBezTo>
                <a:cubicBezTo>
                  <a:pt x="5961117" y="4456009"/>
                  <a:pt x="5961117" y="4456009"/>
                  <a:pt x="5622030" y="4616430"/>
                </a:cubicBezTo>
                <a:cubicBezTo>
                  <a:pt x="5601076" y="4625979"/>
                  <a:pt x="5576311" y="4616430"/>
                  <a:pt x="5564881" y="4595422"/>
                </a:cubicBezTo>
                <a:cubicBezTo>
                  <a:pt x="5562977" y="4589693"/>
                  <a:pt x="5561071" y="4583964"/>
                  <a:pt x="5561071" y="4578234"/>
                </a:cubicBezTo>
                <a:cubicBezTo>
                  <a:pt x="5561071" y="4561046"/>
                  <a:pt x="5570596" y="4547678"/>
                  <a:pt x="5585836" y="4540039"/>
                </a:cubicBezTo>
                <a:cubicBezTo>
                  <a:pt x="5585836" y="4540039"/>
                  <a:pt x="5585836" y="4540039"/>
                  <a:pt x="5924922" y="4381528"/>
                </a:cubicBezTo>
                <a:cubicBezTo>
                  <a:pt x="5935400" y="4376753"/>
                  <a:pt x="5946830" y="4376276"/>
                  <a:pt x="5956833" y="4379618"/>
                </a:cubicBezTo>
                <a:close/>
                <a:moveTo>
                  <a:pt x="398944" y="4379618"/>
                </a:moveTo>
                <a:cubicBezTo>
                  <a:pt x="408946" y="4382960"/>
                  <a:pt x="417518" y="4390121"/>
                  <a:pt x="422281" y="4400625"/>
                </a:cubicBezTo>
                <a:cubicBezTo>
                  <a:pt x="431806" y="4421633"/>
                  <a:pt x="422281" y="4446460"/>
                  <a:pt x="401326" y="4456009"/>
                </a:cubicBezTo>
                <a:cubicBezTo>
                  <a:pt x="401326" y="4456009"/>
                  <a:pt x="401326" y="4456009"/>
                  <a:pt x="62232" y="4616430"/>
                </a:cubicBezTo>
                <a:cubicBezTo>
                  <a:pt x="41276" y="4625979"/>
                  <a:pt x="16511" y="4616430"/>
                  <a:pt x="6986" y="4595422"/>
                </a:cubicBezTo>
                <a:cubicBezTo>
                  <a:pt x="5081" y="4589693"/>
                  <a:pt x="3176" y="4583964"/>
                  <a:pt x="3176" y="4578234"/>
                </a:cubicBezTo>
                <a:cubicBezTo>
                  <a:pt x="3176" y="4561046"/>
                  <a:pt x="12701" y="4547678"/>
                  <a:pt x="27941" y="4540039"/>
                </a:cubicBezTo>
                <a:cubicBezTo>
                  <a:pt x="27941" y="4540039"/>
                  <a:pt x="27941" y="4540039"/>
                  <a:pt x="367035" y="4381528"/>
                </a:cubicBezTo>
                <a:cubicBezTo>
                  <a:pt x="377513" y="4376753"/>
                  <a:pt x="388943" y="4376276"/>
                  <a:pt x="398944" y="4379618"/>
                </a:cubicBezTo>
                <a:close/>
                <a:moveTo>
                  <a:pt x="5410426" y="4371276"/>
                </a:moveTo>
                <a:cubicBezTo>
                  <a:pt x="5420686" y="4375329"/>
                  <a:pt x="5429278" y="4383436"/>
                  <a:pt x="5434051" y="4394881"/>
                </a:cubicBezTo>
                <a:cubicBezTo>
                  <a:pt x="5443597" y="4415863"/>
                  <a:pt x="5434051" y="4442567"/>
                  <a:pt x="5411140" y="4452105"/>
                </a:cubicBezTo>
                <a:cubicBezTo>
                  <a:pt x="5411140" y="4452105"/>
                  <a:pt x="5411140" y="4452105"/>
                  <a:pt x="5071297" y="4598979"/>
                </a:cubicBezTo>
                <a:cubicBezTo>
                  <a:pt x="5048391" y="4608517"/>
                  <a:pt x="5023574" y="4598979"/>
                  <a:pt x="5014028" y="4576090"/>
                </a:cubicBezTo>
                <a:cubicBezTo>
                  <a:pt x="5010210" y="4570367"/>
                  <a:pt x="5010210" y="4564645"/>
                  <a:pt x="5010210" y="4558923"/>
                </a:cubicBezTo>
                <a:cubicBezTo>
                  <a:pt x="5010210" y="4541755"/>
                  <a:pt x="5019755" y="4526496"/>
                  <a:pt x="5036935" y="4518866"/>
                </a:cubicBezTo>
                <a:cubicBezTo>
                  <a:pt x="5036935" y="4518866"/>
                  <a:pt x="5036935" y="4518866"/>
                  <a:pt x="5376776" y="4371991"/>
                </a:cubicBezTo>
                <a:cubicBezTo>
                  <a:pt x="5388231" y="4367223"/>
                  <a:pt x="5400164" y="4367223"/>
                  <a:pt x="5410426" y="4371276"/>
                </a:cubicBezTo>
                <a:close/>
                <a:moveTo>
                  <a:pt x="943805" y="4371276"/>
                </a:moveTo>
                <a:cubicBezTo>
                  <a:pt x="954537" y="4375329"/>
                  <a:pt x="963599" y="4383436"/>
                  <a:pt x="968368" y="4394881"/>
                </a:cubicBezTo>
                <a:cubicBezTo>
                  <a:pt x="977908" y="4415863"/>
                  <a:pt x="966461" y="4442567"/>
                  <a:pt x="945475" y="4452105"/>
                </a:cubicBezTo>
                <a:cubicBezTo>
                  <a:pt x="945475" y="4452105"/>
                  <a:pt x="945475" y="4452105"/>
                  <a:pt x="603977" y="4598979"/>
                </a:cubicBezTo>
                <a:cubicBezTo>
                  <a:pt x="581084" y="4608517"/>
                  <a:pt x="556282" y="4598979"/>
                  <a:pt x="546743" y="4576090"/>
                </a:cubicBezTo>
                <a:cubicBezTo>
                  <a:pt x="544835" y="4570367"/>
                  <a:pt x="542927" y="4564645"/>
                  <a:pt x="542927" y="4558923"/>
                </a:cubicBezTo>
                <a:cubicBezTo>
                  <a:pt x="542927" y="4541755"/>
                  <a:pt x="552466" y="4526496"/>
                  <a:pt x="569637" y="4518866"/>
                </a:cubicBezTo>
                <a:cubicBezTo>
                  <a:pt x="569637" y="4518866"/>
                  <a:pt x="569637" y="4518866"/>
                  <a:pt x="909226" y="4371991"/>
                </a:cubicBezTo>
                <a:cubicBezTo>
                  <a:pt x="920673" y="4367223"/>
                  <a:pt x="933074" y="4367223"/>
                  <a:pt x="943805" y="4371276"/>
                </a:cubicBezTo>
                <a:close/>
                <a:moveTo>
                  <a:pt x="4841668" y="4359082"/>
                </a:moveTo>
                <a:cubicBezTo>
                  <a:pt x="4859264" y="4359350"/>
                  <a:pt x="4876053" y="4370051"/>
                  <a:pt x="4883197" y="4387173"/>
                </a:cubicBezTo>
                <a:cubicBezTo>
                  <a:pt x="4892723" y="4411906"/>
                  <a:pt x="4881294" y="4438541"/>
                  <a:pt x="4856524" y="4448053"/>
                </a:cubicBezTo>
                <a:cubicBezTo>
                  <a:pt x="4856524" y="4448053"/>
                  <a:pt x="4856524" y="4448053"/>
                  <a:pt x="4517434" y="4583129"/>
                </a:cubicBezTo>
                <a:cubicBezTo>
                  <a:pt x="4492670" y="4592642"/>
                  <a:pt x="4465999" y="4581227"/>
                  <a:pt x="4456473" y="4556495"/>
                </a:cubicBezTo>
                <a:cubicBezTo>
                  <a:pt x="4454569" y="4550787"/>
                  <a:pt x="4454569" y="4545080"/>
                  <a:pt x="4454569" y="4539372"/>
                </a:cubicBezTo>
                <a:cubicBezTo>
                  <a:pt x="4454569" y="4522250"/>
                  <a:pt x="4464094" y="4505127"/>
                  <a:pt x="4483145" y="4497518"/>
                </a:cubicBezTo>
                <a:cubicBezTo>
                  <a:pt x="4483145" y="4497518"/>
                  <a:pt x="4483145" y="4497518"/>
                  <a:pt x="4824132" y="4362441"/>
                </a:cubicBezTo>
                <a:cubicBezTo>
                  <a:pt x="4829847" y="4360063"/>
                  <a:pt x="4835802" y="4358993"/>
                  <a:pt x="4841668" y="4359082"/>
                </a:cubicBezTo>
                <a:close/>
                <a:moveTo>
                  <a:pt x="1477208" y="4359082"/>
                </a:moveTo>
                <a:cubicBezTo>
                  <a:pt x="1495514" y="4359350"/>
                  <a:pt x="1511945" y="4370051"/>
                  <a:pt x="1517660" y="4387173"/>
                </a:cubicBezTo>
                <a:cubicBezTo>
                  <a:pt x="1527185" y="4411906"/>
                  <a:pt x="1515755" y="4438541"/>
                  <a:pt x="1492894" y="4448053"/>
                </a:cubicBezTo>
                <a:cubicBezTo>
                  <a:pt x="1492894" y="4448053"/>
                  <a:pt x="1492894" y="4448053"/>
                  <a:pt x="1151895" y="4583129"/>
                </a:cubicBezTo>
                <a:cubicBezTo>
                  <a:pt x="1129035" y="4592642"/>
                  <a:pt x="1102365" y="4581227"/>
                  <a:pt x="1092840" y="4556495"/>
                </a:cubicBezTo>
                <a:cubicBezTo>
                  <a:pt x="1090934" y="4550787"/>
                  <a:pt x="1089029" y="4545080"/>
                  <a:pt x="1089029" y="4539372"/>
                </a:cubicBezTo>
                <a:cubicBezTo>
                  <a:pt x="1089029" y="4522250"/>
                  <a:pt x="1100460" y="4505127"/>
                  <a:pt x="1117605" y="4497518"/>
                </a:cubicBezTo>
                <a:cubicBezTo>
                  <a:pt x="1117605" y="4497518"/>
                  <a:pt x="1117605" y="4497518"/>
                  <a:pt x="1458604" y="4362441"/>
                </a:cubicBezTo>
                <a:cubicBezTo>
                  <a:pt x="1464795" y="4360063"/>
                  <a:pt x="1471106" y="4358993"/>
                  <a:pt x="1477208" y="4359082"/>
                </a:cubicBezTo>
                <a:close/>
                <a:moveTo>
                  <a:pt x="4284027" y="4349919"/>
                </a:moveTo>
                <a:cubicBezTo>
                  <a:pt x="4302829" y="4350816"/>
                  <a:pt x="4320295" y="4363010"/>
                  <a:pt x="4325998" y="4381660"/>
                </a:cubicBezTo>
                <a:cubicBezTo>
                  <a:pt x="4335503" y="4406527"/>
                  <a:pt x="4322195" y="4435219"/>
                  <a:pt x="4297483" y="4442870"/>
                </a:cubicBezTo>
                <a:cubicBezTo>
                  <a:pt x="4297483" y="4442870"/>
                  <a:pt x="4297483" y="4442870"/>
                  <a:pt x="3957235" y="4569116"/>
                </a:cubicBezTo>
                <a:cubicBezTo>
                  <a:pt x="3932522" y="4576767"/>
                  <a:pt x="3904008" y="4565290"/>
                  <a:pt x="3896403" y="4538511"/>
                </a:cubicBezTo>
                <a:cubicBezTo>
                  <a:pt x="3894503" y="4534685"/>
                  <a:pt x="3892602" y="4528946"/>
                  <a:pt x="3892602" y="4523208"/>
                </a:cubicBezTo>
                <a:cubicBezTo>
                  <a:pt x="3892602" y="4502167"/>
                  <a:pt x="3904008" y="4484952"/>
                  <a:pt x="3924918" y="4477301"/>
                </a:cubicBezTo>
                <a:cubicBezTo>
                  <a:pt x="3924918" y="4477301"/>
                  <a:pt x="3924918" y="4477301"/>
                  <a:pt x="4265165" y="4352968"/>
                </a:cubicBezTo>
                <a:cubicBezTo>
                  <a:pt x="4271344" y="4350577"/>
                  <a:pt x="4277760" y="4349620"/>
                  <a:pt x="4284027" y="4349919"/>
                </a:cubicBezTo>
                <a:close/>
                <a:moveTo>
                  <a:pt x="2029782" y="4349919"/>
                </a:moveTo>
                <a:cubicBezTo>
                  <a:pt x="2048677" y="4350816"/>
                  <a:pt x="2066499" y="4363010"/>
                  <a:pt x="2073629" y="4381660"/>
                </a:cubicBezTo>
                <a:cubicBezTo>
                  <a:pt x="2081232" y="4406527"/>
                  <a:pt x="2069826" y="4435219"/>
                  <a:pt x="2045109" y="4442870"/>
                </a:cubicBezTo>
                <a:cubicBezTo>
                  <a:pt x="2045109" y="4442870"/>
                  <a:pt x="2045109" y="4442870"/>
                  <a:pt x="1702940" y="4569116"/>
                </a:cubicBezTo>
                <a:cubicBezTo>
                  <a:pt x="1678228" y="4576767"/>
                  <a:pt x="1651615" y="4565290"/>
                  <a:pt x="1642110" y="4538511"/>
                </a:cubicBezTo>
                <a:cubicBezTo>
                  <a:pt x="1640209" y="4534685"/>
                  <a:pt x="1638308" y="4528946"/>
                  <a:pt x="1638308" y="4523208"/>
                </a:cubicBezTo>
                <a:cubicBezTo>
                  <a:pt x="1638308" y="4502167"/>
                  <a:pt x="1651615" y="4484952"/>
                  <a:pt x="1670624" y="4477301"/>
                </a:cubicBezTo>
                <a:cubicBezTo>
                  <a:pt x="1670624" y="4477301"/>
                  <a:pt x="1670624" y="4477301"/>
                  <a:pt x="2010892" y="4352968"/>
                </a:cubicBezTo>
                <a:cubicBezTo>
                  <a:pt x="2017070" y="4350577"/>
                  <a:pt x="2023486" y="4349620"/>
                  <a:pt x="2029782" y="4349919"/>
                </a:cubicBezTo>
                <a:close/>
                <a:moveTo>
                  <a:pt x="3722769" y="4341198"/>
                </a:moveTo>
                <a:cubicBezTo>
                  <a:pt x="3742403" y="4342989"/>
                  <a:pt x="3759894" y="4355526"/>
                  <a:pt x="3765602" y="4375585"/>
                </a:cubicBezTo>
                <a:cubicBezTo>
                  <a:pt x="3775123" y="4402330"/>
                  <a:pt x="3759894" y="4430986"/>
                  <a:pt x="3733240" y="4438627"/>
                </a:cubicBezTo>
                <a:cubicBezTo>
                  <a:pt x="3733240" y="4438627"/>
                  <a:pt x="3733240" y="4438627"/>
                  <a:pt x="3392498" y="4551340"/>
                </a:cubicBezTo>
                <a:cubicBezTo>
                  <a:pt x="3365843" y="4560892"/>
                  <a:pt x="3337287" y="4545609"/>
                  <a:pt x="3329674" y="4518863"/>
                </a:cubicBezTo>
                <a:cubicBezTo>
                  <a:pt x="3327768" y="4515043"/>
                  <a:pt x="3325864" y="4509311"/>
                  <a:pt x="3325864" y="4503580"/>
                </a:cubicBezTo>
                <a:cubicBezTo>
                  <a:pt x="3325864" y="4482566"/>
                  <a:pt x="3339192" y="4463462"/>
                  <a:pt x="3360130" y="4455821"/>
                </a:cubicBezTo>
                <a:cubicBezTo>
                  <a:pt x="3360130" y="4455821"/>
                  <a:pt x="3360130" y="4455821"/>
                  <a:pt x="3702782" y="4343108"/>
                </a:cubicBezTo>
                <a:cubicBezTo>
                  <a:pt x="3709444" y="4341198"/>
                  <a:pt x="3716226" y="4340601"/>
                  <a:pt x="3722769" y="4341198"/>
                </a:cubicBezTo>
                <a:close/>
                <a:moveTo>
                  <a:pt x="2589270" y="4341198"/>
                </a:moveTo>
                <a:cubicBezTo>
                  <a:pt x="2608901" y="4342989"/>
                  <a:pt x="2626391" y="4355526"/>
                  <a:pt x="2632103" y="4375585"/>
                </a:cubicBezTo>
                <a:cubicBezTo>
                  <a:pt x="2641621" y="4402330"/>
                  <a:pt x="2626391" y="4430986"/>
                  <a:pt x="2599739" y="4438627"/>
                </a:cubicBezTo>
                <a:cubicBezTo>
                  <a:pt x="2599739" y="4438627"/>
                  <a:pt x="2599739" y="4438627"/>
                  <a:pt x="2258981" y="4551340"/>
                </a:cubicBezTo>
                <a:cubicBezTo>
                  <a:pt x="2232330" y="4560892"/>
                  <a:pt x="2203775" y="4545609"/>
                  <a:pt x="2196160" y="4518863"/>
                </a:cubicBezTo>
                <a:cubicBezTo>
                  <a:pt x="2194257" y="4515043"/>
                  <a:pt x="2192353" y="4509311"/>
                  <a:pt x="2192353" y="4503580"/>
                </a:cubicBezTo>
                <a:cubicBezTo>
                  <a:pt x="2192353" y="4482566"/>
                  <a:pt x="2205679" y="4463462"/>
                  <a:pt x="2226618" y="4455821"/>
                </a:cubicBezTo>
                <a:cubicBezTo>
                  <a:pt x="2226618" y="4455821"/>
                  <a:pt x="2226618" y="4455821"/>
                  <a:pt x="2569281" y="4343108"/>
                </a:cubicBezTo>
                <a:cubicBezTo>
                  <a:pt x="2575943" y="4341198"/>
                  <a:pt x="2582725" y="4340601"/>
                  <a:pt x="2589270" y="4341198"/>
                </a:cubicBezTo>
                <a:close/>
                <a:moveTo>
                  <a:pt x="3152169" y="4331993"/>
                </a:moveTo>
                <a:cubicBezTo>
                  <a:pt x="3172559" y="4334408"/>
                  <a:pt x="3190013" y="4348358"/>
                  <a:pt x="3195709" y="4369821"/>
                </a:cubicBezTo>
                <a:cubicBezTo>
                  <a:pt x="3205209" y="4396530"/>
                  <a:pt x="3188113" y="4427055"/>
                  <a:pt x="3161515" y="4434686"/>
                </a:cubicBezTo>
                <a:cubicBezTo>
                  <a:pt x="3161515" y="4434686"/>
                  <a:pt x="3161515" y="4434686"/>
                  <a:pt x="2819566" y="4535799"/>
                </a:cubicBezTo>
                <a:cubicBezTo>
                  <a:pt x="2791073" y="4543430"/>
                  <a:pt x="2762578" y="4528167"/>
                  <a:pt x="2753078" y="4499551"/>
                </a:cubicBezTo>
                <a:cubicBezTo>
                  <a:pt x="2753078" y="4495735"/>
                  <a:pt x="2751179" y="4490012"/>
                  <a:pt x="2751179" y="4486196"/>
                </a:cubicBezTo>
                <a:cubicBezTo>
                  <a:pt x="2751179" y="4463303"/>
                  <a:pt x="2766377" y="4442317"/>
                  <a:pt x="2789170" y="4434686"/>
                </a:cubicBezTo>
                <a:cubicBezTo>
                  <a:pt x="2789170" y="4434686"/>
                  <a:pt x="2789170" y="4434686"/>
                  <a:pt x="3131122" y="4333573"/>
                </a:cubicBezTo>
                <a:cubicBezTo>
                  <a:pt x="3138245" y="4331665"/>
                  <a:pt x="3145370" y="4331188"/>
                  <a:pt x="3152169" y="4331993"/>
                </a:cubicBezTo>
                <a:close/>
                <a:moveTo>
                  <a:pt x="9861856" y="4113368"/>
                </a:moveTo>
                <a:cubicBezTo>
                  <a:pt x="9868037" y="4114318"/>
                  <a:pt x="9873743" y="4117645"/>
                  <a:pt x="9877547" y="4123348"/>
                </a:cubicBezTo>
                <a:cubicBezTo>
                  <a:pt x="9887056" y="4132854"/>
                  <a:pt x="9885154" y="4149964"/>
                  <a:pt x="9873743" y="4157568"/>
                </a:cubicBezTo>
                <a:cubicBezTo>
                  <a:pt x="9873743" y="4157568"/>
                  <a:pt x="9873743" y="4157568"/>
                  <a:pt x="9540914" y="4410411"/>
                </a:cubicBezTo>
                <a:cubicBezTo>
                  <a:pt x="9531404" y="4418016"/>
                  <a:pt x="9516189" y="4416115"/>
                  <a:pt x="9506680" y="4404708"/>
                </a:cubicBezTo>
                <a:cubicBezTo>
                  <a:pt x="9502876" y="4400906"/>
                  <a:pt x="9502876" y="4395203"/>
                  <a:pt x="9502876" y="4391401"/>
                </a:cubicBezTo>
                <a:cubicBezTo>
                  <a:pt x="9502876" y="4383796"/>
                  <a:pt x="9504778" y="4376192"/>
                  <a:pt x="9512385" y="4370489"/>
                </a:cubicBezTo>
                <a:cubicBezTo>
                  <a:pt x="9512385" y="4370489"/>
                  <a:pt x="9512385" y="4370489"/>
                  <a:pt x="9843313" y="4117645"/>
                </a:cubicBezTo>
                <a:cubicBezTo>
                  <a:pt x="9849018" y="4113843"/>
                  <a:pt x="9855675" y="4112417"/>
                  <a:pt x="9861856" y="4113368"/>
                </a:cubicBezTo>
                <a:close/>
                <a:moveTo>
                  <a:pt x="10446896" y="4105427"/>
                </a:moveTo>
                <a:cubicBezTo>
                  <a:pt x="10453802" y="4106377"/>
                  <a:pt x="10460470" y="4109700"/>
                  <a:pt x="10465232" y="4115397"/>
                </a:cubicBezTo>
                <a:cubicBezTo>
                  <a:pt x="10472852" y="4128690"/>
                  <a:pt x="10470947" y="4145780"/>
                  <a:pt x="10459517" y="4153376"/>
                </a:cubicBezTo>
                <a:cubicBezTo>
                  <a:pt x="10459517" y="4153376"/>
                  <a:pt x="10459517" y="4153376"/>
                  <a:pt x="10124233" y="4392647"/>
                </a:cubicBezTo>
                <a:cubicBezTo>
                  <a:pt x="10112802" y="4402142"/>
                  <a:pt x="10095657" y="4398344"/>
                  <a:pt x="10088037" y="4386950"/>
                </a:cubicBezTo>
                <a:cubicBezTo>
                  <a:pt x="10084227" y="4381253"/>
                  <a:pt x="10082322" y="4375556"/>
                  <a:pt x="10082322" y="4369859"/>
                </a:cubicBezTo>
                <a:cubicBezTo>
                  <a:pt x="10082322" y="4362263"/>
                  <a:pt x="10086132" y="4354667"/>
                  <a:pt x="10093752" y="4348970"/>
                </a:cubicBezTo>
                <a:cubicBezTo>
                  <a:pt x="10093752" y="4348970"/>
                  <a:pt x="10093752" y="4348970"/>
                  <a:pt x="10427131" y="4109700"/>
                </a:cubicBezTo>
                <a:cubicBezTo>
                  <a:pt x="10432846" y="4105902"/>
                  <a:pt x="10439990" y="4104478"/>
                  <a:pt x="10446896" y="4105427"/>
                </a:cubicBezTo>
                <a:close/>
                <a:moveTo>
                  <a:pt x="9286179" y="4105427"/>
                </a:moveTo>
                <a:cubicBezTo>
                  <a:pt x="9292847" y="4106377"/>
                  <a:pt x="9299038" y="4109700"/>
                  <a:pt x="9302848" y="4115397"/>
                </a:cubicBezTo>
                <a:cubicBezTo>
                  <a:pt x="9312373" y="4128690"/>
                  <a:pt x="9310468" y="4145780"/>
                  <a:pt x="9297133" y="4153376"/>
                </a:cubicBezTo>
                <a:cubicBezTo>
                  <a:pt x="9297133" y="4153376"/>
                  <a:pt x="9297133" y="4153376"/>
                  <a:pt x="8963754" y="4392647"/>
                </a:cubicBezTo>
                <a:cubicBezTo>
                  <a:pt x="8952323" y="4402142"/>
                  <a:pt x="8935178" y="4398344"/>
                  <a:pt x="8925653" y="4386950"/>
                </a:cubicBezTo>
                <a:cubicBezTo>
                  <a:pt x="8921843" y="4381253"/>
                  <a:pt x="8921843" y="4375556"/>
                  <a:pt x="8921843" y="4369859"/>
                </a:cubicBezTo>
                <a:cubicBezTo>
                  <a:pt x="8921843" y="4362263"/>
                  <a:pt x="8925653" y="4354667"/>
                  <a:pt x="8931368" y="4348970"/>
                </a:cubicBezTo>
                <a:cubicBezTo>
                  <a:pt x="8931368" y="4348970"/>
                  <a:pt x="8931368" y="4348970"/>
                  <a:pt x="9266652" y="4109700"/>
                </a:cubicBezTo>
                <a:cubicBezTo>
                  <a:pt x="9272368" y="4105902"/>
                  <a:pt x="9279512" y="4104478"/>
                  <a:pt x="9286179" y="4105427"/>
                </a:cubicBezTo>
                <a:close/>
                <a:moveTo>
                  <a:pt x="11024810" y="4097347"/>
                </a:moveTo>
                <a:cubicBezTo>
                  <a:pt x="11032437" y="4098777"/>
                  <a:pt x="11039586" y="4103068"/>
                  <a:pt x="11044352" y="4109742"/>
                </a:cubicBezTo>
                <a:cubicBezTo>
                  <a:pt x="11053885" y="4123092"/>
                  <a:pt x="11050072" y="4142163"/>
                  <a:pt x="11036726" y="4149791"/>
                </a:cubicBezTo>
                <a:cubicBezTo>
                  <a:pt x="11036726" y="4149791"/>
                  <a:pt x="11036726" y="4149791"/>
                  <a:pt x="10701174" y="4376731"/>
                </a:cubicBezTo>
                <a:cubicBezTo>
                  <a:pt x="10687828" y="4386267"/>
                  <a:pt x="10668763" y="4382453"/>
                  <a:pt x="10659230" y="4369103"/>
                </a:cubicBezTo>
                <a:cubicBezTo>
                  <a:pt x="10657324" y="4363382"/>
                  <a:pt x="10655417" y="4357661"/>
                  <a:pt x="10655417" y="4351940"/>
                </a:cubicBezTo>
                <a:cubicBezTo>
                  <a:pt x="10655417" y="4342404"/>
                  <a:pt x="10659230" y="4332869"/>
                  <a:pt x="10668763" y="4327148"/>
                </a:cubicBezTo>
                <a:cubicBezTo>
                  <a:pt x="10668763" y="4327148"/>
                  <a:pt x="10668763" y="4327148"/>
                  <a:pt x="11002408" y="4102114"/>
                </a:cubicBezTo>
                <a:cubicBezTo>
                  <a:pt x="11009081" y="4097346"/>
                  <a:pt x="11017184" y="4095916"/>
                  <a:pt x="11024810" y="4097347"/>
                </a:cubicBezTo>
                <a:close/>
                <a:moveTo>
                  <a:pt x="8715681" y="4097347"/>
                </a:moveTo>
                <a:cubicBezTo>
                  <a:pt x="8723069" y="4098777"/>
                  <a:pt x="8729742" y="4103068"/>
                  <a:pt x="8734508" y="4109742"/>
                </a:cubicBezTo>
                <a:cubicBezTo>
                  <a:pt x="8744041" y="4123092"/>
                  <a:pt x="8740228" y="4142163"/>
                  <a:pt x="8726882" y="4149791"/>
                </a:cubicBezTo>
                <a:cubicBezTo>
                  <a:pt x="8726882" y="4149791"/>
                  <a:pt x="8726882" y="4149791"/>
                  <a:pt x="8391330" y="4376731"/>
                </a:cubicBezTo>
                <a:cubicBezTo>
                  <a:pt x="8377984" y="4386267"/>
                  <a:pt x="8358919" y="4382453"/>
                  <a:pt x="8351293" y="4369103"/>
                </a:cubicBezTo>
                <a:cubicBezTo>
                  <a:pt x="8347480" y="4363382"/>
                  <a:pt x="8345573" y="4357661"/>
                  <a:pt x="8345573" y="4351940"/>
                </a:cubicBezTo>
                <a:cubicBezTo>
                  <a:pt x="8345573" y="4342404"/>
                  <a:pt x="8349386" y="4332869"/>
                  <a:pt x="8358919" y="4327148"/>
                </a:cubicBezTo>
                <a:cubicBezTo>
                  <a:pt x="8358919" y="4327148"/>
                  <a:pt x="8358919" y="4327148"/>
                  <a:pt x="8692564" y="4102114"/>
                </a:cubicBezTo>
                <a:cubicBezTo>
                  <a:pt x="8700190" y="4097347"/>
                  <a:pt x="8708293" y="4095916"/>
                  <a:pt x="8715681" y="4097347"/>
                </a:cubicBezTo>
                <a:close/>
                <a:moveTo>
                  <a:pt x="11596149" y="4089007"/>
                </a:moveTo>
                <a:cubicBezTo>
                  <a:pt x="11603995" y="4091150"/>
                  <a:pt x="11611128" y="4096389"/>
                  <a:pt x="11615883" y="4104009"/>
                </a:cubicBezTo>
                <a:cubicBezTo>
                  <a:pt x="11625393" y="4117344"/>
                  <a:pt x="11621589" y="4138299"/>
                  <a:pt x="11606373" y="4147824"/>
                </a:cubicBezTo>
                <a:cubicBezTo>
                  <a:pt x="11606373" y="4147824"/>
                  <a:pt x="11606373" y="4147824"/>
                  <a:pt x="11271615" y="4359279"/>
                </a:cubicBezTo>
                <a:cubicBezTo>
                  <a:pt x="11256399" y="4368804"/>
                  <a:pt x="11237378" y="4364994"/>
                  <a:pt x="11227868" y="4349754"/>
                </a:cubicBezTo>
                <a:cubicBezTo>
                  <a:pt x="11224064" y="4344039"/>
                  <a:pt x="11222162" y="4338324"/>
                  <a:pt x="11222162" y="4332609"/>
                </a:cubicBezTo>
                <a:cubicBezTo>
                  <a:pt x="11222162" y="4321179"/>
                  <a:pt x="11227868" y="4311654"/>
                  <a:pt x="11237378" y="4305939"/>
                </a:cubicBezTo>
                <a:cubicBezTo>
                  <a:pt x="11237378" y="4305939"/>
                  <a:pt x="11237378" y="4305939"/>
                  <a:pt x="11572136" y="4092579"/>
                </a:cubicBezTo>
                <a:cubicBezTo>
                  <a:pt x="11579744" y="4087816"/>
                  <a:pt x="11588303" y="4086864"/>
                  <a:pt x="11596149" y="4089007"/>
                </a:cubicBezTo>
                <a:close/>
                <a:moveTo>
                  <a:pt x="8152699" y="4089007"/>
                </a:moveTo>
                <a:cubicBezTo>
                  <a:pt x="8160576" y="4091150"/>
                  <a:pt x="8167736" y="4096389"/>
                  <a:pt x="8172510" y="4104009"/>
                </a:cubicBezTo>
                <a:cubicBezTo>
                  <a:pt x="8182058" y="4117344"/>
                  <a:pt x="8176329" y="4138299"/>
                  <a:pt x="8162963" y="4147824"/>
                </a:cubicBezTo>
                <a:cubicBezTo>
                  <a:pt x="8162963" y="4147824"/>
                  <a:pt x="8162963" y="4147824"/>
                  <a:pt x="7824978" y="4359279"/>
                </a:cubicBezTo>
                <a:cubicBezTo>
                  <a:pt x="7811611" y="4368804"/>
                  <a:pt x="7790606" y="4364994"/>
                  <a:pt x="7781059" y="4349754"/>
                </a:cubicBezTo>
                <a:cubicBezTo>
                  <a:pt x="7779149" y="4344039"/>
                  <a:pt x="7777240" y="4338324"/>
                  <a:pt x="7777240" y="4332609"/>
                </a:cubicBezTo>
                <a:cubicBezTo>
                  <a:pt x="7777240" y="4321179"/>
                  <a:pt x="7781059" y="4311654"/>
                  <a:pt x="7792516" y="4305939"/>
                </a:cubicBezTo>
                <a:cubicBezTo>
                  <a:pt x="7792516" y="4305939"/>
                  <a:pt x="7792516" y="4305939"/>
                  <a:pt x="8128591" y="4092579"/>
                </a:cubicBezTo>
                <a:cubicBezTo>
                  <a:pt x="8136229" y="4087816"/>
                  <a:pt x="8144822" y="4086864"/>
                  <a:pt x="8152699" y="4089007"/>
                </a:cubicBezTo>
                <a:close/>
                <a:moveTo>
                  <a:pt x="12139750" y="4083054"/>
                </a:moveTo>
                <a:cubicBezTo>
                  <a:pt x="12139750" y="4083054"/>
                  <a:pt x="12139750" y="4083054"/>
                  <a:pt x="12139750" y="4162969"/>
                </a:cubicBezTo>
                <a:cubicBezTo>
                  <a:pt x="12139750" y="4162969"/>
                  <a:pt x="12139750" y="4162969"/>
                  <a:pt x="11834405" y="4341828"/>
                </a:cubicBezTo>
                <a:cubicBezTo>
                  <a:pt x="11817230" y="4351342"/>
                  <a:pt x="11796237" y="4347536"/>
                  <a:pt x="11786695" y="4330411"/>
                </a:cubicBezTo>
                <a:cubicBezTo>
                  <a:pt x="11782878" y="4324703"/>
                  <a:pt x="11780970" y="4318995"/>
                  <a:pt x="11780970" y="4313287"/>
                </a:cubicBezTo>
                <a:cubicBezTo>
                  <a:pt x="11780970" y="4301870"/>
                  <a:pt x="11788604" y="4290454"/>
                  <a:pt x="11798146" y="4282843"/>
                </a:cubicBezTo>
                <a:lnTo>
                  <a:pt x="12135933" y="4084957"/>
                </a:lnTo>
                <a:cubicBezTo>
                  <a:pt x="12137842" y="4084957"/>
                  <a:pt x="12137842" y="4083054"/>
                  <a:pt x="12139750" y="4083054"/>
                </a:cubicBezTo>
                <a:close/>
                <a:moveTo>
                  <a:pt x="7594358" y="4081069"/>
                </a:moveTo>
                <a:cubicBezTo>
                  <a:pt x="7602931" y="4083212"/>
                  <a:pt x="7610551" y="4088451"/>
                  <a:pt x="7615314" y="4096071"/>
                </a:cubicBezTo>
                <a:cubicBezTo>
                  <a:pt x="7624839" y="4113216"/>
                  <a:pt x="7619124" y="4134171"/>
                  <a:pt x="7603883" y="4143696"/>
                </a:cubicBezTo>
                <a:cubicBezTo>
                  <a:pt x="7603883" y="4143696"/>
                  <a:pt x="7603883" y="4143696"/>
                  <a:pt x="7266694" y="4341816"/>
                </a:cubicBezTo>
                <a:cubicBezTo>
                  <a:pt x="7249548" y="4351341"/>
                  <a:pt x="7228593" y="4347531"/>
                  <a:pt x="7219068" y="4330386"/>
                </a:cubicBezTo>
                <a:cubicBezTo>
                  <a:pt x="7217163" y="4324671"/>
                  <a:pt x="7215258" y="4318956"/>
                  <a:pt x="7215258" y="4313241"/>
                </a:cubicBezTo>
                <a:cubicBezTo>
                  <a:pt x="7215258" y="4301811"/>
                  <a:pt x="7220973" y="4290381"/>
                  <a:pt x="7232403" y="4282761"/>
                </a:cubicBezTo>
                <a:cubicBezTo>
                  <a:pt x="7232403" y="4282761"/>
                  <a:pt x="7232403" y="4282761"/>
                  <a:pt x="7567688" y="4084641"/>
                </a:cubicBezTo>
                <a:cubicBezTo>
                  <a:pt x="7576260" y="4079878"/>
                  <a:pt x="7585786" y="4078926"/>
                  <a:pt x="7594358" y="4081069"/>
                </a:cubicBezTo>
                <a:close/>
                <a:moveTo>
                  <a:pt x="7045448" y="4072718"/>
                </a:moveTo>
                <a:cubicBezTo>
                  <a:pt x="7054741" y="4075569"/>
                  <a:pt x="7062844" y="4081745"/>
                  <a:pt x="7067610" y="4090298"/>
                </a:cubicBezTo>
                <a:cubicBezTo>
                  <a:pt x="7077143" y="4109303"/>
                  <a:pt x="7069517" y="4130209"/>
                  <a:pt x="7052359" y="4141612"/>
                </a:cubicBezTo>
                <a:cubicBezTo>
                  <a:pt x="7052359" y="4141612"/>
                  <a:pt x="7052359" y="4141612"/>
                  <a:pt x="6714913" y="4325963"/>
                </a:cubicBezTo>
                <a:cubicBezTo>
                  <a:pt x="6697754" y="4335466"/>
                  <a:pt x="6674877" y="4327864"/>
                  <a:pt x="6665344" y="4310759"/>
                </a:cubicBezTo>
                <a:cubicBezTo>
                  <a:pt x="6661531" y="4305057"/>
                  <a:pt x="6659625" y="4299356"/>
                  <a:pt x="6659625" y="4293654"/>
                </a:cubicBezTo>
                <a:cubicBezTo>
                  <a:pt x="6659625" y="4280350"/>
                  <a:pt x="6667251" y="4267047"/>
                  <a:pt x="6678689" y="4259445"/>
                </a:cubicBezTo>
                <a:cubicBezTo>
                  <a:pt x="6678689" y="4259445"/>
                  <a:pt x="6678689" y="4259445"/>
                  <a:pt x="7016136" y="4075094"/>
                </a:cubicBezTo>
                <a:cubicBezTo>
                  <a:pt x="7025668" y="4070342"/>
                  <a:pt x="7036154" y="4069867"/>
                  <a:pt x="7045448" y="4072718"/>
                </a:cubicBezTo>
                <a:close/>
                <a:moveTo>
                  <a:pt x="6500048" y="4065063"/>
                </a:moveTo>
                <a:cubicBezTo>
                  <a:pt x="6509797" y="4068170"/>
                  <a:pt x="6518356" y="4074862"/>
                  <a:pt x="6523112" y="4084421"/>
                </a:cubicBezTo>
                <a:cubicBezTo>
                  <a:pt x="6532623" y="4103541"/>
                  <a:pt x="6525014" y="4128396"/>
                  <a:pt x="6505992" y="4137956"/>
                </a:cubicBezTo>
                <a:cubicBezTo>
                  <a:pt x="6505992" y="4137956"/>
                  <a:pt x="6505992" y="4137956"/>
                  <a:pt x="6167407" y="4310032"/>
                </a:cubicBezTo>
                <a:cubicBezTo>
                  <a:pt x="6148385" y="4319592"/>
                  <a:pt x="6123657" y="4311944"/>
                  <a:pt x="6114146" y="4292824"/>
                </a:cubicBezTo>
                <a:cubicBezTo>
                  <a:pt x="6112244" y="4287089"/>
                  <a:pt x="6110342" y="4279441"/>
                  <a:pt x="6110342" y="4273705"/>
                </a:cubicBezTo>
                <a:cubicBezTo>
                  <a:pt x="6110342" y="4260321"/>
                  <a:pt x="6117950" y="4245025"/>
                  <a:pt x="6131266" y="4239290"/>
                </a:cubicBezTo>
                <a:cubicBezTo>
                  <a:pt x="6131266" y="4239290"/>
                  <a:pt x="6131266" y="4239290"/>
                  <a:pt x="6469851" y="4067214"/>
                </a:cubicBezTo>
                <a:cubicBezTo>
                  <a:pt x="6479362" y="4062434"/>
                  <a:pt x="6490299" y="4061956"/>
                  <a:pt x="6500048" y="4065063"/>
                </a:cubicBezTo>
                <a:close/>
                <a:moveTo>
                  <a:pt x="5941056" y="4054783"/>
                </a:moveTo>
                <a:cubicBezTo>
                  <a:pt x="5957307" y="4053619"/>
                  <a:pt x="5973023" y="4062930"/>
                  <a:pt x="5980168" y="4078685"/>
                </a:cubicBezTo>
                <a:cubicBezTo>
                  <a:pt x="5989692" y="4099693"/>
                  <a:pt x="5982072" y="4124520"/>
                  <a:pt x="5961117" y="4135978"/>
                </a:cubicBezTo>
                <a:cubicBezTo>
                  <a:pt x="5961117" y="4135978"/>
                  <a:pt x="5961117" y="4135978"/>
                  <a:pt x="5622030" y="4292580"/>
                </a:cubicBezTo>
                <a:cubicBezTo>
                  <a:pt x="5601076" y="4302129"/>
                  <a:pt x="5574406" y="4292580"/>
                  <a:pt x="5564881" y="4271572"/>
                </a:cubicBezTo>
                <a:cubicBezTo>
                  <a:pt x="5562977" y="4265843"/>
                  <a:pt x="5561071" y="4260114"/>
                  <a:pt x="5561071" y="4254384"/>
                </a:cubicBezTo>
                <a:cubicBezTo>
                  <a:pt x="5561071" y="4239106"/>
                  <a:pt x="5570596" y="4223828"/>
                  <a:pt x="5585836" y="4216189"/>
                </a:cubicBezTo>
                <a:cubicBezTo>
                  <a:pt x="5585836" y="4216189"/>
                  <a:pt x="5585836" y="4216189"/>
                  <a:pt x="5924922" y="4059588"/>
                </a:cubicBezTo>
                <a:cubicBezTo>
                  <a:pt x="5930162" y="4056723"/>
                  <a:pt x="5935639" y="4055171"/>
                  <a:pt x="5941056" y="4054783"/>
                </a:cubicBezTo>
                <a:close/>
                <a:moveTo>
                  <a:pt x="383168" y="4054783"/>
                </a:moveTo>
                <a:cubicBezTo>
                  <a:pt x="399420" y="4053619"/>
                  <a:pt x="415137" y="4062930"/>
                  <a:pt x="422281" y="4078685"/>
                </a:cubicBezTo>
                <a:cubicBezTo>
                  <a:pt x="431806" y="4099693"/>
                  <a:pt x="424186" y="4124520"/>
                  <a:pt x="401325" y="4135978"/>
                </a:cubicBezTo>
                <a:cubicBezTo>
                  <a:pt x="401325" y="4135978"/>
                  <a:pt x="401325" y="4135978"/>
                  <a:pt x="62231" y="4292580"/>
                </a:cubicBezTo>
                <a:cubicBezTo>
                  <a:pt x="41276" y="4302129"/>
                  <a:pt x="16511" y="4292580"/>
                  <a:pt x="6986" y="4271572"/>
                </a:cubicBezTo>
                <a:cubicBezTo>
                  <a:pt x="5081" y="4265843"/>
                  <a:pt x="3176" y="4260114"/>
                  <a:pt x="3176" y="4254384"/>
                </a:cubicBezTo>
                <a:cubicBezTo>
                  <a:pt x="3176" y="4239106"/>
                  <a:pt x="12701" y="4223828"/>
                  <a:pt x="27941" y="4216189"/>
                </a:cubicBezTo>
                <a:cubicBezTo>
                  <a:pt x="27941" y="4216189"/>
                  <a:pt x="27941" y="4216189"/>
                  <a:pt x="367035" y="4059588"/>
                </a:cubicBezTo>
                <a:cubicBezTo>
                  <a:pt x="372274" y="4056723"/>
                  <a:pt x="377751" y="4055171"/>
                  <a:pt x="383168" y="4054783"/>
                </a:cubicBezTo>
                <a:close/>
                <a:moveTo>
                  <a:pt x="5394099" y="4046339"/>
                </a:moveTo>
                <a:cubicBezTo>
                  <a:pt x="5411704" y="4046518"/>
                  <a:pt x="5428503" y="4056903"/>
                  <a:pt x="5435652" y="4072660"/>
                </a:cubicBezTo>
                <a:cubicBezTo>
                  <a:pt x="5445184" y="4095580"/>
                  <a:pt x="5433745" y="4122319"/>
                  <a:pt x="5410870" y="4131869"/>
                </a:cubicBezTo>
                <a:cubicBezTo>
                  <a:pt x="5410870" y="4131869"/>
                  <a:pt x="5410870" y="4131869"/>
                  <a:pt x="5071527" y="4275116"/>
                </a:cubicBezTo>
                <a:cubicBezTo>
                  <a:pt x="5048652" y="4284666"/>
                  <a:pt x="5021965" y="4275116"/>
                  <a:pt x="5012435" y="4252196"/>
                </a:cubicBezTo>
                <a:cubicBezTo>
                  <a:pt x="5010529" y="4246467"/>
                  <a:pt x="5008623" y="4240737"/>
                  <a:pt x="5008623" y="4235007"/>
                </a:cubicBezTo>
                <a:cubicBezTo>
                  <a:pt x="5008623" y="4217817"/>
                  <a:pt x="5020059" y="4200627"/>
                  <a:pt x="5037215" y="4192988"/>
                </a:cubicBezTo>
                <a:cubicBezTo>
                  <a:pt x="5037215" y="4192988"/>
                  <a:pt x="5037215" y="4192988"/>
                  <a:pt x="5376554" y="4049741"/>
                </a:cubicBezTo>
                <a:cubicBezTo>
                  <a:pt x="5382274" y="4047353"/>
                  <a:pt x="5388231" y="4046279"/>
                  <a:pt x="5394099" y="4046339"/>
                </a:cubicBezTo>
                <a:close/>
                <a:moveTo>
                  <a:pt x="926784" y="4046338"/>
                </a:moveTo>
                <a:cubicBezTo>
                  <a:pt x="944402" y="4046518"/>
                  <a:pt x="961214" y="4056903"/>
                  <a:pt x="968368" y="4072660"/>
                </a:cubicBezTo>
                <a:cubicBezTo>
                  <a:pt x="977907" y="4095580"/>
                  <a:pt x="966460" y="4122319"/>
                  <a:pt x="945475" y="4131869"/>
                </a:cubicBezTo>
                <a:cubicBezTo>
                  <a:pt x="945475" y="4131869"/>
                  <a:pt x="945475" y="4131869"/>
                  <a:pt x="603977" y="4275116"/>
                </a:cubicBezTo>
                <a:cubicBezTo>
                  <a:pt x="581083" y="4284666"/>
                  <a:pt x="554374" y="4275116"/>
                  <a:pt x="544835" y="4252196"/>
                </a:cubicBezTo>
                <a:cubicBezTo>
                  <a:pt x="542927" y="4246467"/>
                  <a:pt x="542927" y="4240737"/>
                  <a:pt x="542927" y="4235007"/>
                </a:cubicBezTo>
                <a:cubicBezTo>
                  <a:pt x="542927" y="4217817"/>
                  <a:pt x="552466" y="4200627"/>
                  <a:pt x="569637" y="4192988"/>
                </a:cubicBezTo>
                <a:cubicBezTo>
                  <a:pt x="569637" y="4192988"/>
                  <a:pt x="569637" y="4192988"/>
                  <a:pt x="909226" y="4049741"/>
                </a:cubicBezTo>
                <a:cubicBezTo>
                  <a:pt x="914950" y="4047353"/>
                  <a:pt x="920912" y="4046279"/>
                  <a:pt x="926784" y="4046338"/>
                </a:cubicBezTo>
                <a:close/>
                <a:moveTo>
                  <a:pt x="4823918" y="4041420"/>
                </a:moveTo>
                <a:cubicBezTo>
                  <a:pt x="4848651" y="4033841"/>
                  <a:pt x="4875286" y="4045209"/>
                  <a:pt x="4884801" y="4069841"/>
                </a:cubicBezTo>
                <a:cubicBezTo>
                  <a:pt x="4894313" y="4092578"/>
                  <a:pt x="4880994" y="4121000"/>
                  <a:pt x="4856260" y="4130474"/>
                </a:cubicBezTo>
                <a:cubicBezTo>
                  <a:pt x="4856260" y="4130474"/>
                  <a:pt x="4856260" y="4130474"/>
                  <a:pt x="4515756" y="4259317"/>
                </a:cubicBezTo>
                <a:cubicBezTo>
                  <a:pt x="4492930" y="4268791"/>
                  <a:pt x="4464395" y="4255527"/>
                  <a:pt x="4454884" y="4230896"/>
                </a:cubicBezTo>
                <a:cubicBezTo>
                  <a:pt x="4452982" y="4225211"/>
                  <a:pt x="4452982" y="4219527"/>
                  <a:pt x="4452982" y="4215738"/>
                </a:cubicBezTo>
                <a:cubicBezTo>
                  <a:pt x="4452982" y="4196790"/>
                  <a:pt x="4464395" y="4177842"/>
                  <a:pt x="4483418" y="4170263"/>
                </a:cubicBezTo>
                <a:cubicBezTo>
                  <a:pt x="4483418" y="4170263"/>
                  <a:pt x="4483418" y="4170263"/>
                  <a:pt x="4823918" y="4041420"/>
                </a:cubicBezTo>
                <a:close/>
                <a:moveTo>
                  <a:pt x="1458388" y="4041420"/>
                </a:moveTo>
                <a:cubicBezTo>
                  <a:pt x="1483118" y="4033841"/>
                  <a:pt x="1509750" y="4045209"/>
                  <a:pt x="1519261" y="4069841"/>
                </a:cubicBezTo>
                <a:cubicBezTo>
                  <a:pt x="1528773" y="4092578"/>
                  <a:pt x="1517359" y="4121000"/>
                  <a:pt x="1492629" y="4130474"/>
                </a:cubicBezTo>
                <a:cubicBezTo>
                  <a:pt x="1492629" y="4130474"/>
                  <a:pt x="1492629" y="4130474"/>
                  <a:pt x="1152120" y="4259317"/>
                </a:cubicBezTo>
                <a:cubicBezTo>
                  <a:pt x="1127390" y="4268791"/>
                  <a:pt x="1100758" y="4255527"/>
                  <a:pt x="1091247" y="4230896"/>
                </a:cubicBezTo>
                <a:cubicBezTo>
                  <a:pt x="1089345" y="4225211"/>
                  <a:pt x="1087442" y="4219527"/>
                  <a:pt x="1087442" y="4215738"/>
                </a:cubicBezTo>
                <a:cubicBezTo>
                  <a:pt x="1087442" y="4196790"/>
                  <a:pt x="1098856" y="4177842"/>
                  <a:pt x="1117879" y="4170263"/>
                </a:cubicBezTo>
                <a:cubicBezTo>
                  <a:pt x="1117879" y="4170263"/>
                  <a:pt x="1117879" y="4170263"/>
                  <a:pt x="1458388" y="4041420"/>
                </a:cubicBezTo>
                <a:close/>
                <a:moveTo>
                  <a:pt x="4286101" y="4031102"/>
                </a:moveTo>
                <a:cubicBezTo>
                  <a:pt x="4305817" y="4032531"/>
                  <a:pt x="4323382" y="4045747"/>
                  <a:pt x="4329117" y="4064321"/>
                </a:cubicBezTo>
                <a:cubicBezTo>
                  <a:pt x="4338676" y="4090991"/>
                  <a:pt x="4325294" y="4119566"/>
                  <a:pt x="4298528" y="4127186"/>
                </a:cubicBezTo>
                <a:cubicBezTo>
                  <a:pt x="4298528" y="4127186"/>
                  <a:pt x="4298528" y="4127186"/>
                  <a:pt x="3956340" y="4243391"/>
                </a:cubicBezTo>
                <a:cubicBezTo>
                  <a:pt x="3929573" y="4252916"/>
                  <a:pt x="3900897" y="4237676"/>
                  <a:pt x="3893251" y="4212911"/>
                </a:cubicBezTo>
                <a:cubicBezTo>
                  <a:pt x="3891337" y="4207196"/>
                  <a:pt x="3889424" y="4201481"/>
                  <a:pt x="3889424" y="4195766"/>
                </a:cubicBezTo>
                <a:cubicBezTo>
                  <a:pt x="3889424" y="4174811"/>
                  <a:pt x="3902811" y="4155761"/>
                  <a:pt x="3923839" y="4150046"/>
                </a:cubicBezTo>
                <a:cubicBezTo>
                  <a:pt x="3923839" y="4150046"/>
                  <a:pt x="3923839" y="4150046"/>
                  <a:pt x="4266028" y="4033841"/>
                </a:cubicBezTo>
                <a:cubicBezTo>
                  <a:pt x="4272718" y="4031460"/>
                  <a:pt x="4279529" y="4030626"/>
                  <a:pt x="4286101" y="4031102"/>
                </a:cubicBezTo>
                <a:close/>
                <a:moveTo>
                  <a:pt x="2031406" y="4031102"/>
                </a:moveTo>
                <a:cubicBezTo>
                  <a:pt x="2050288" y="4032531"/>
                  <a:pt x="2068096" y="4045747"/>
                  <a:pt x="2075219" y="4064321"/>
                </a:cubicBezTo>
                <a:cubicBezTo>
                  <a:pt x="2082819" y="4090991"/>
                  <a:pt x="2069521" y="4119566"/>
                  <a:pt x="2042922" y="4127186"/>
                </a:cubicBezTo>
                <a:cubicBezTo>
                  <a:pt x="2042922" y="4127186"/>
                  <a:pt x="2042922" y="4127186"/>
                  <a:pt x="1702894" y="4243391"/>
                </a:cubicBezTo>
                <a:cubicBezTo>
                  <a:pt x="1676300" y="4252916"/>
                  <a:pt x="1649705" y="4237676"/>
                  <a:pt x="1640208" y="4212911"/>
                </a:cubicBezTo>
                <a:cubicBezTo>
                  <a:pt x="1638308" y="4207196"/>
                  <a:pt x="1638308" y="4201481"/>
                  <a:pt x="1638308" y="4195766"/>
                </a:cubicBezTo>
                <a:cubicBezTo>
                  <a:pt x="1638308" y="4174811"/>
                  <a:pt x="1649705" y="4155761"/>
                  <a:pt x="1670601" y="4150046"/>
                </a:cubicBezTo>
                <a:cubicBezTo>
                  <a:pt x="1670601" y="4150046"/>
                  <a:pt x="1670601" y="4150046"/>
                  <a:pt x="2012528" y="4033841"/>
                </a:cubicBezTo>
                <a:cubicBezTo>
                  <a:pt x="2018702" y="4031460"/>
                  <a:pt x="2025113" y="4030626"/>
                  <a:pt x="2031406" y="4031102"/>
                </a:cubicBezTo>
                <a:close/>
                <a:moveTo>
                  <a:pt x="3725864" y="4022421"/>
                </a:moveTo>
                <a:cubicBezTo>
                  <a:pt x="3745629" y="4024832"/>
                  <a:pt x="3763515" y="4038763"/>
                  <a:pt x="3770669" y="4060194"/>
                </a:cubicBezTo>
                <a:cubicBezTo>
                  <a:pt x="3778299" y="4086864"/>
                  <a:pt x="3763037" y="4115439"/>
                  <a:pt x="3734420" y="4124964"/>
                </a:cubicBezTo>
                <a:cubicBezTo>
                  <a:pt x="3734420" y="4124964"/>
                  <a:pt x="3734420" y="4124964"/>
                  <a:pt x="3391048" y="4225929"/>
                </a:cubicBezTo>
                <a:cubicBezTo>
                  <a:pt x="3364339" y="4235454"/>
                  <a:pt x="3335725" y="4218309"/>
                  <a:pt x="3326184" y="4191639"/>
                </a:cubicBezTo>
                <a:cubicBezTo>
                  <a:pt x="3326184" y="4185924"/>
                  <a:pt x="3324277" y="4182114"/>
                  <a:pt x="3324277" y="4176399"/>
                </a:cubicBezTo>
                <a:cubicBezTo>
                  <a:pt x="3324277" y="4153539"/>
                  <a:pt x="3339540" y="4132584"/>
                  <a:pt x="3362432" y="4126869"/>
                </a:cubicBezTo>
                <a:cubicBezTo>
                  <a:pt x="3362432" y="4126869"/>
                  <a:pt x="3362432" y="4126869"/>
                  <a:pt x="3705804" y="4023999"/>
                </a:cubicBezTo>
                <a:cubicBezTo>
                  <a:pt x="3712480" y="4022094"/>
                  <a:pt x="3719276" y="4021618"/>
                  <a:pt x="3725864" y="4022421"/>
                </a:cubicBezTo>
                <a:close/>
                <a:moveTo>
                  <a:pt x="2590959" y="4022421"/>
                </a:moveTo>
                <a:cubicBezTo>
                  <a:pt x="2610652" y="4024832"/>
                  <a:pt x="2628475" y="4038763"/>
                  <a:pt x="2635603" y="4060194"/>
                </a:cubicBezTo>
                <a:cubicBezTo>
                  <a:pt x="2643208" y="4086864"/>
                  <a:pt x="2627999" y="4115439"/>
                  <a:pt x="2599484" y="4124964"/>
                </a:cubicBezTo>
                <a:cubicBezTo>
                  <a:pt x="2599484" y="4124964"/>
                  <a:pt x="2599484" y="4124964"/>
                  <a:pt x="2257300" y="4225929"/>
                </a:cubicBezTo>
                <a:cubicBezTo>
                  <a:pt x="2230686" y="4235454"/>
                  <a:pt x="2202171" y="4218309"/>
                  <a:pt x="2192666" y="4191639"/>
                </a:cubicBezTo>
                <a:cubicBezTo>
                  <a:pt x="2190765" y="4185924"/>
                  <a:pt x="2190765" y="4182114"/>
                  <a:pt x="2190765" y="4176399"/>
                </a:cubicBezTo>
                <a:cubicBezTo>
                  <a:pt x="2190765" y="4153539"/>
                  <a:pt x="2205972" y="4132584"/>
                  <a:pt x="2228785" y="4126869"/>
                </a:cubicBezTo>
                <a:cubicBezTo>
                  <a:pt x="2228785" y="4126869"/>
                  <a:pt x="2228785" y="4126869"/>
                  <a:pt x="2570968" y="4023999"/>
                </a:cubicBezTo>
                <a:cubicBezTo>
                  <a:pt x="2577622" y="4022094"/>
                  <a:pt x="2584395" y="4021618"/>
                  <a:pt x="2590959" y="4022421"/>
                </a:cubicBezTo>
                <a:close/>
                <a:moveTo>
                  <a:pt x="3155344" y="4014781"/>
                </a:moveTo>
                <a:cubicBezTo>
                  <a:pt x="3176388" y="4017728"/>
                  <a:pt x="3195015" y="4032730"/>
                  <a:pt x="3200742" y="4054161"/>
                </a:cubicBezTo>
                <a:cubicBezTo>
                  <a:pt x="3208384" y="4084641"/>
                  <a:pt x="3189282" y="4113216"/>
                  <a:pt x="3160626" y="4120836"/>
                </a:cubicBezTo>
                <a:cubicBezTo>
                  <a:pt x="3160626" y="4120836"/>
                  <a:pt x="3160626" y="4120836"/>
                  <a:pt x="2816772" y="4210371"/>
                </a:cubicBezTo>
                <a:cubicBezTo>
                  <a:pt x="2786207" y="4217991"/>
                  <a:pt x="2757555" y="4198941"/>
                  <a:pt x="2749914" y="4170366"/>
                </a:cubicBezTo>
                <a:cubicBezTo>
                  <a:pt x="2748002" y="4166556"/>
                  <a:pt x="2748002" y="4160841"/>
                  <a:pt x="2748002" y="4157031"/>
                </a:cubicBezTo>
                <a:cubicBezTo>
                  <a:pt x="2748002" y="4132266"/>
                  <a:pt x="2765195" y="4109406"/>
                  <a:pt x="2788116" y="4103691"/>
                </a:cubicBezTo>
                <a:cubicBezTo>
                  <a:pt x="2788116" y="4103691"/>
                  <a:pt x="2788116" y="4103691"/>
                  <a:pt x="3133885" y="4016061"/>
                </a:cubicBezTo>
                <a:cubicBezTo>
                  <a:pt x="3141047" y="4014156"/>
                  <a:pt x="3148330" y="4013799"/>
                  <a:pt x="3155344" y="4014781"/>
                </a:cubicBezTo>
                <a:close/>
                <a:moveTo>
                  <a:pt x="9861718" y="3784929"/>
                </a:moveTo>
                <a:cubicBezTo>
                  <a:pt x="9867199" y="3785407"/>
                  <a:pt x="9872442" y="3787798"/>
                  <a:pt x="9876256" y="3792579"/>
                </a:cubicBezTo>
                <a:cubicBezTo>
                  <a:pt x="9883882" y="3802142"/>
                  <a:pt x="9881975" y="3815531"/>
                  <a:pt x="9872442" y="3823182"/>
                </a:cubicBezTo>
                <a:cubicBezTo>
                  <a:pt x="9872442" y="3823182"/>
                  <a:pt x="9872442" y="3823182"/>
                  <a:pt x="9540690" y="4092865"/>
                </a:cubicBezTo>
                <a:cubicBezTo>
                  <a:pt x="9531157" y="4100516"/>
                  <a:pt x="9517810" y="4098603"/>
                  <a:pt x="9510184" y="4089040"/>
                </a:cubicBezTo>
                <a:cubicBezTo>
                  <a:pt x="9506371" y="4085215"/>
                  <a:pt x="9504464" y="4081389"/>
                  <a:pt x="9504464" y="4075651"/>
                </a:cubicBezTo>
                <a:cubicBezTo>
                  <a:pt x="9504464" y="4069913"/>
                  <a:pt x="9508277" y="4064175"/>
                  <a:pt x="9513997" y="4058438"/>
                </a:cubicBezTo>
                <a:cubicBezTo>
                  <a:pt x="9513997" y="4058438"/>
                  <a:pt x="9513997" y="4058438"/>
                  <a:pt x="9845750" y="3788754"/>
                </a:cubicBezTo>
                <a:cubicBezTo>
                  <a:pt x="9850517" y="3785885"/>
                  <a:pt x="9856236" y="3784450"/>
                  <a:pt x="9861718" y="3784929"/>
                </a:cubicBezTo>
                <a:close/>
                <a:moveTo>
                  <a:pt x="10445981" y="3777074"/>
                </a:moveTo>
                <a:cubicBezTo>
                  <a:pt x="10452183" y="3777790"/>
                  <a:pt x="10457907" y="3781135"/>
                  <a:pt x="10461723" y="3786867"/>
                </a:cubicBezTo>
                <a:cubicBezTo>
                  <a:pt x="10471264" y="3798332"/>
                  <a:pt x="10469356" y="3813619"/>
                  <a:pt x="10457907" y="3821263"/>
                </a:cubicBezTo>
                <a:cubicBezTo>
                  <a:pt x="10457907" y="3821263"/>
                  <a:pt x="10457907" y="3821263"/>
                  <a:pt x="10123980" y="4075410"/>
                </a:cubicBezTo>
                <a:cubicBezTo>
                  <a:pt x="10112531" y="4083054"/>
                  <a:pt x="10097266" y="4081143"/>
                  <a:pt x="10089633" y="4069678"/>
                </a:cubicBezTo>
                <a:cubicBezTo>
                  <a:pt x="10085817" y="4065856"/>
                  <a:pt x="10083909" y="4060123"/>
                  <a:pt x="10083909" y="4054391"/>
                </a:cubicBezTo>
                <a:cubicBezTo>
                  <a:pt x="10083909" y="4048658"/>
                  <a:pt x="10087725" y="4041014"/>
                  <a:pt x="10093450" y="4035282"/>
                </a:cubicBezTo>
                <a:cubicBezTo>
                  <a:pt x="10093450" y="4035282"/>
                  <a:pt x="10093450" y="4035282"/>
                  <a:pt x="10427376" y="3783045"/>
                </a:cubicBezTo>
                <a:cubicBezTo>
                  <a:pt x="10433101" y="3778268"/>
                  <a:pt x="10439779" y="3776357"/>
                  <a:pt x="10445981" y="3777074"/>
                </a:cubicBezTo>
                <a:close/>
                <a:moveTo>
                  <a:pt x="9284313" y="3777074"/>
                </a:moveTo>
                <a:cubicBezTo>
                  <a:pt x="9290494" y="3777790"/>
                  <a:pt x="9296199" y="3781135"/>
                  <a:pt x="9300003" y="3786867"/>
                </a:cubicBezTo>
                <a:cubicBezTo>
                  <a:pt x="9307611" y="3798332"/>
                  <a:pt x="9305709" y="3813619"/>
                  <a:pt x="9296200" y="3821263"/>
                </a:cubicBezTo>
                <a:cubicBezTo>
                  <a:pt x="9296200" y="3821263"/>
                  <a:pt x="9296200" y="3821263"/>
                  <a:pt x="8963371" y="4075410"/>
                </a:cubicBezTo>
                <a:cubicBezTo>
                  <a:pt x="8951959" y="4083054"/>
                  <a:pt x="8936744" y="4081143"/>
                  <a:pt x="8929137" y="4069678"/>
                </a:cubicBezTo>
                <a:cubicBezTo>
                  <a:pt x="8925333" y="4065856"/>
                  <a:pt x="8923431" y="4060123"/>
                  <a:pt x="8923431" y="4054391"/>
                </a:cubicBezTo>
                <a:cubicBezTo>
                  <a:pt x="8923431" y="4048658"/>
                  <a:pt x="8927235" y="4041014"/>
                  <a:pt x="8932940" y="4035282"/>
                </a:cubicBezTo>
                <a:cubicBezTo>
                  <a:pt x="8932940" y="4035282"/>
                  <a:pt x="8932940" y="4035282"/>
                  <a:pt x="9265770" y="3783045"/>
                </a:cubicBezTo>
                <a:cubicBezTo>
                  <a:pt x="9271476" y="3778268"/>
                  <a:pt x="9278132" y="3776357"/>
                  <a:pt x="9284313" y="3777074"/>
                </a:cubicBezTo>
                <a:close/>
                <a:moveTo>
                  <a:pt x="8714826" y="3771656"/>
                </a:moveTo>
                <a:cubicBezTo>
                  <a:pt x="8721754" y="3772844"/>
                  <a:pt x="8728443" y="3776646"/>
                  <a:pt x="8733221" y="3782349"/>
                </a:cubicBezTo>
                <a:cubicBezTo>
                  <a:pt x="8740866" y="3795655"/>
                  <a:pt x="8738955" y="3812764"/>
                  <a:pt x="8725576" y="3820368"/>
                </a:cubicBezTo>
                <a:cubicBezTo>
                  <a:pt x="8725576" y="3820368"/>
                  <a:pt x="8725576" y="3820368"/>
                  <a:pt x="8391118" y="4056086"/>
                </a:cubicBezTo>
                <a:cubicBezTo>
                  <a:pt x="8377740" y="4065591"/>
                  <a:pt x="8360539" y="4063690"/>
                  <a:pt x="8352895" y="4050383"/>
                </a:cubicBezTo>
                <a:cubicBezTo>
                  <a:pt x="8349072" y="4044680"/>
                  <a:pt x="8347161" y="4040878"/>
                  <a:pt x="8347161" y="4035176"/>
                </a:cubicBezTo>
                <a:cubicBezTo>
                  <a:pt x="8347161" y="4025671"/>
                  <a:pt x="8350983" y="4018067"/>
                  <a:pt x="8358628" y="4012364"/>
                </a:cubicBezTo>
                <a:cubicBezTo>
                  <a:pt x="8358628" y="4012364"/>
                  <a:pt x="8358628" y="4012364"/>
                  <a:pt x="8694997" y="3776646"/>
                </a:cubicBezTo>
                <a:cubicBezTo>
                  <a:pt x="8700731" y="3771893"/>
                  <a:pt x="8707898" y="3770468"/>
                  <a:pt x="8714826" y="3771656"/>
                </a:cubicBezTo>
                <a:close/>
                <a:moveTo>
                  <a:pt x="11022950" y="3771656"/>
                </a:moveTo>
                <a:cubicBezTo>
                  <a:pt x="11030088" y="3772844"/>
                  <a:pt x="11036751" y="3776646"/>
                  <a:pt x="11041509" y="3782349"/>
                </a:cubicBezTo>
                <a:cubicBezTo>
                  <a:pt x="11049123" y="3795655"/>
                  <a:pt x="11047220" y="3812764"/>
                  <a:pt x="11033895" y="3820368"/>
                </a:cubicBezTo>
                <a:cubicBezTo>
                  <a:pt x="11033895" y="3820368"/>
                  <a:pt x="11033895" y="3820368"/>
                  <a:pt x="10700785" y="4056086"/>
                </a:cubicBezTo>
                <a:cubicBezTo>
                  <a:pt x="10687461" y="4065591"/>
                  <a:pt x="10670329" y="4063690"/>
                  <a:pt x="10662715" y="4050383"/>
                </a:cubicBezTo>
                <a:cubicBezTo>
                  <a:pt x="10658908" y="4044680"/>
                  <a:pt x="10657005" y="4040878"/>
                  <a:pt x="10657005" y="4035176"/>
                </a:cubicBezTo>
                <a:cubicBezTo>
                  <a:pt x="10657005" y="4025671"/>
                  <a:pt x="10660812" y="4018067"/>
                  <a:pt x="10668426" y="4012364"/>
                </a:cubicBezTo>
                <a:cubicBezTo>
                  <a:pt x="10668426" y="4012364"/>
                  <a:pt x="10668426" y="4012364"/>
                  <a:pt x="11001536" y="3776646"/>
                </a:cubicBezTo>
                <a:cubicBezTo>
                  <a:pt x="11008198" y="3771893"/>
                  <a:pt x="11015812" y="3770468"/>
                  <a:pt x="11022950" y="3771656"/>
                </a:cubicBezTo>
                <a:close/>
                <a:moveTo>
                  <a:pt x="8151418" y="3763955"/>
                </a:moveTo>
                <a:cubicBezTo>
                  <a:pt x="8159038" y="3765381"/>
                  <a:pt x="8166182" y="3769658"/>
                  <a:pt x="8170945" y="3776310"/>
                </a:cubicBezTo>
                <a:cubicBezTo>
                  <a:pt x="8180470" y="3791517"/>
                  <a:pt x="8176660" y="3810525"/>
                  <a:pt x="8161420" y="3820029"/>
                </a:cubicBezTo>
                <a:cubicBezTo>
                  <a:pt x="8161420" y="3820029"/>
                  <a:pt x="8161420" y="3820029"/>
                  <a:pt x="7826135" y="4038624"/>
                </a:cubicBezTo>
                <a:cubicBezTo>
                  <a:pt x="7812800" y="4048128"/>
                  <a:pt x="7793750" y="4044326"/>
                  <a:pt x="7784225" y="4031020"/>
                </a:cubicBezTo>
                <a:cubicBezTo>
                  <a:pt x="7780415" y="4025318"/>
                  <a:pt x="7780415" y="4019616"/>
                  <a:pt x="7780415" y="4013913"/>
                </a:cubicBezTo>
                <a:cubicBezTo>
                  <a:pt x="7780415" y="4004409"/>
                  <a:pt x="7784225" y="3993004"/>
                  <a:pt x="7793750" y="3987302"/>
                </a:cubicBezTo>
                <a:cubicBezTo>
                  <a:pt x="7793750" y="3987302"/>
                  <a:pt x="7793750" y="3987302"/>
                  <a:pt x="8129034" y="3768707"/>
                </a:cubicBezTo>
                <a:cubicBezTo>
                  <a:pt x="8135702" y="3763955"/>
                  <a:pt x="8143798" y="3762529"/>
                  <a:pt x="8151418" y="3763955"/>
                </a:cubicBezTo>
                <a:close/>
                <a:moveTo>
                  <a:pt x="11596182" y="3763955"/>
                </a:moveTo>
                <a:cubicBezTo>
                  <a:pt x="11603803" y="3765381"/>
                  <a:pt x="11610470" y="3769658"/>
                  <a:pt x="11614280" y="3776310"/>
                </a:cubicBezTo>
                <a:cubicBezTo>
                  <a:pt x="11623805" y="3791517"/>
                  <a:pt x="11619995" y="3810525"/>
                  <a:pt x="11606660" y="3820029"/>
                </a:cubicBezTo>
                <a:cubicBezTo>
                  <a:pt x="11606660" y="3820029"/>
                  <a:pt x="11606660" y="3820029"/>
                  <a:pt x="11271376" y="4038624"/>
                </a:cubicBezTo>
                <a:cubicBezTo>
                  <a:pt x="11258040" y="4048128"/>
                  <a:pt x="11238990" y="4044326"/>
                  <a:pt x="11229465" y="4031020"/>
                </a:cubicBezTo>
                <a:cubicBezTo>
                  <a:pt x="11225655" y="4025318"/>
                  <a:pt x="11223750" y="4019616"/>
                  <a:pt x="11223750" y="4013913"/>
                </a:cubicBezTo>
                <a:cubicBezTo>
                  <a:pt x="11223750" y="4004409"/>
                  <a:pt x="11229465" y="3993004"/>
                  <a:pt x="11237085" y="3987302"/>
                </a:cubicBezTo>
                <a:cubicBezTo>
                  <a:pt x="11237085" y="3987302"/>
                  <a:pt x="11237085" y="3987302"/>
                  <a:pt x="11572369" y="3768707"/>
                </a:cubicBezTo>
                <a:cubicBezTo>
                  <a:pt x="11579990" y="3763955"/>
                  <a:pt x="11588562" y="3762529"/>
                  <a:pt x="11596182" y="3763955"/>
                </a:cubicBezTo>
                <a:close/>
                <a:moveTo>
                  <a:pt x="12139750" y="3759203"/>
                </a:moveTo>
                <a:cubicBezTo>
                  <a:pt x="12139750" y="3759203"/>
                  <a:pt x="12139750" y="3759203"/>
                  <a:pt x="12139750" y="3835137"/>
                </a:cubicBezTo>
                <a:cubicBezTo>
                  <a:pt x="12139750" y="3835137"/>
                  <a:pt x="12139750" y="3835137"/>
                  <a:pt x="11835489" y="4021174"/>
                </a:cubicBezTo>
                <a:cubicBezTo>
                  <a:pt x="11818374" y="4030666"/>
                  <a:pt x="11799358" y="4024971"/>
                  <a:pt x="11789850" y="4009784"/>
                </a:cubicBezTo>
                <a:cubicBezTo>
                  <a:pt x="11786047" y="4004089"/>
                  <a:pt x="11784145" y="3998394"/>
                  <a:pt x="11784145" y="3992699"/>
                </a:cubicBezTo>
                <a:cubicBezTo>
                  <a:pt x="11784145" y="3981309"/>
                  <a:pt x="11789850" y="3969919"/>
                  <a:pt x="11799358" y="3964224"/>
                </a:cubicBezTo>
                <a:lnTo>
                  <a:pt x="12135947" y="3761101"/>
                </a:lnTo>
                <a:cubicBezTo>
                  <a:pt x="12137848" y="3759203"/>
                  <a:pt x="12137848" y="3759203"/>
                  <a:pt x="12139750" y="3759203"/>
                </a:cubicBezTo>
                <a:close/>
                <a:moveTo>
                  <a:pt x="7593700" y="3756493"/>
                </a:moveTo>
                <a:cubicBezTo>
                  <a:pt x="7601803" y="3758393"/>
                  <a:pt x="7608952" y="3763620"/>
                  <a:pt x="7613718" y="3772173"/>
                </a:cubicBezTo>
                <a:cubicBezTo>
                  <a:pt x="7623251" y="3787379"/>
                  <a:pt x="7619438" y="3808286"/>
                  <a:pt x="7604186" y="3817790"/>
                </a:cubicBezTo>
                <a:cubicBezTo>
                  <a:pt x="7604186" y="3817790"/>
                  <a:pt x="7604186" y="3817790"/>
                  <a:pt x="7266734" y="4021162"/>
                </a:cubicBezTo>
                <a:cubicBezTo>
                  <a:pt x="7251481" y="4030666"/>
                  <a:pt x="7230510" y="4024964"/>
                  <a:pt x="7220977" y="4009758"/>
                </a:cubicBezTo>
                <a:cubicBezTo>
                  <a:pt x="7217164" y="4004056"/>
                  <a:pt x="7215258" y="3998354"/>
                  <a:pt x="7215258" y="3992652"/>
                </a:cubicBezTo>
                <a:cubicBezTo>
                  <a:pt x="7215258" y="3981248"/>
                  <a:pt x="7220977" y="3969844"/>
                  <a:pt x="7232416" y="3964142"/>
                </a:cubicBezTo>
                <a:cubicBezTo>
                  <a:pt x="7232416" y="3964142"/>
                  <a:pt x="7232416" y="3964142"/>
                  <a:pt x="7567962" y="3760769"/>
                </a:cubicBezTo>
                <a:cubicBezTo>
                  <a:pt x="7576541" y="3756018"/>
                  <a:pt x="7585597" y="3754592"/>
                  <a:pt x="7593700" y="3756493"/>
                </a:cubicBezTo>
                <a:close/>
                <a:moveTo>
                  <a:pt x="7044469" y="3749140"/>
                </a:moveTo>
                <a:cubicBezTo>
                  <a:pt x="7053293" y="3751765"/>
                  <a:pt x="7060925" y="3757971"/>
                  <a:pt x="7065695" y="3766564"/>
                </a:cubicBezTo>
                <a:cubicBezTo>
                  <a:pt x="7077143" y="3783749"/>
                  <a:pt x="7069511" y="3806662"/>
                  <a:pt x="7052340" y="3816209"/>
                </a:cubicBezTo>
                <a:cubicBezTo>
                  <a:pt x="7052340" y="3816209"/>
                  <a:pt x="7052340" y="3816209"/>
                  <a:pt x="6714634" y="4005244"/>
                </a:cubicBezTo>
                <a:cubicBezTo>
                  <a:pt x="6697463" y="4014791"/>
                  <a:pt x="6674567" y="4009063"/>
                  <a:pt x="6665028" y="3989968"/>
                </a:cubicBezTo>
                <a:cubicBezTo>
                  <a:pt x="6661212" y="3984240"/>
                  <a:pt x="6661212" y="3978511"/>
                  <a:pt x="6661212" y="3972783"/>
                </a:cubicBezTo>
                <a:cubicBezTo>
                  <a:pt x="6661212" y="3959417"/>
                  <a:pt x="6666936" y="3947960"/>
                  <a:pt x="6678383" y="3940323"/>
                </a:cubicBezTo>
                <a:cubicBezTo>
                  <a:pt x="6678383" y="3940323"/>
                  <a:pt x="6678383" y="3940323"/>
                  <a:pt x="7016089" y="3753198"/>
                </a:cubicBezTo>
                <a:cubicBezTo>
                  <a:pt x="7025629" y="3747469"/>
                  <a:pt x="7035645" y="3746515"/>
                  <a:pt x="7044469" y="3749140"/>
                </a:cubicBezTo>
                <a:close/>
                <a:moveTo>
                  <a:pt x="6500048" y="3741441"/>
                </a:moveTo>
                <a:cubicBezTo>
                  <a:pt x="6509797" y="3744783"/>
                  <a:pt x="6518356" y="3751944"/>
                  <a:pt x="6523112" y="3762447"/>
                </a:cubicBezTo>
                <a:cubicBezTo>
                  <a:pt x="6532623" y="3781543"/>
                  <a:pt x="6525014" y="3804458"/>
                  <a:pt x="6505992" y="3814006"/>
                </a:cubicBezTo>
                <a:cubicBezTo>
                  <a:pt x="6505992" y="3814006"/>
                  <a:pt x="6505992" y="3814006"/>
                  <a:pt x="6167407" y="3987780"/>
                </a:cubicBezTo>
                <a:cubicBezTo>
                  <a:pt x="6148385" y="3997328"/>
                  <a:pt x="6125559" y="3989689"/>
                  <a:pt x="6114146" y="3970593"/>
                </a:cubicBezTo>
                <a:cubicBezTo>
                  <a:pt x="6112244" y="3964865"/>
                  <a:pt x="6110342" y="3957226"/>
                  <a:pt x="6110342" y="3951497"/>
                </a:cubicBezTo>
                <a:cubicBezTo>
                  <a:pt x="6110342" y="3938130"/>
                  <a:pt x="6117950" y="3922853"/>
                  <a:pt x="6131266" y="3917125"/>
                </a:cubicBezTo>
                <a:cubicBezTo>
                  <a:pt x="6131266" y="3917125"/>
                  <a:pt x="6131266" y="3917125"/>
                  <a:pt x="6469851" y="3743351"/>
                </a:cubicBezTo>
                <a:cubicBezTo>
                  <a:pt x="6479362" y="3738577"/>
                  <a:pt x="6490300" y="3738100"/>
                  <a:pt x="6500048" y="3741441"/>
                </a:cubicBezTo>
                <a:close/>
                <a:moveTo>
                  <a:pt x="5958237" y="3734460"/>
                </a:moveTo>
                <a:cubicBezTo>
                  <a:pt x="5968507" y="3738279"/>
                  <a:pt x="5977583" y="3745919"/>
                  <a:pt x="5983314" y="3756422"/>
                </a:cubicBezTo>
                <a:cubicBezTo>
                  <a:pt x="5992867" y="3777430"/>
                  <a:pt x="5983314" y="3804167"/>
                  <a:pt x="5962297" y="3813715"/>
                </a:cubicBezTo>
                <a:cubicBezTo>
                  <a:pt x="5962297" y="3813715"/>
                  <a:pt x="5962297" y="3813715"/>
                  <a:pt x="5622211" y="3970317"/>
                </a:cubicBezTo>
                <a:cubicBezTo>
                  <a:pt x="5599283" y="3979866"/>
                  <a:pt x="5574446" y="3970317"/>
                  <a:pt x="5564892" y="3949309"/>
                </a:cubicBezTo>
                <a:cubicBezTo>
                  <a:pt x="5562981" y="3943580"/>
                  <a:pt x="5561071" y="3935941"/>
                  <a:pt x="5561071" y="3930212"/>
                </a:cubicBezTo>
                <a:cubicBezTo>
                  <a:pt x="5561071" y="3914934"/>
                  <a:pt x="5570624" y="3899655"/>
                  <a:pt x="5585909" y="3892016"/>
                </a:cubicBezTo>
                <a:cubicBezTo>
                  <a:pt x="5585909" y="3892016"/>
                  <a:pt x="5585909" y="3892016"/>
                  <a:pt x="5925996" y="3735415"/>
                </a:cubicBezTo>
                <a:cubicBezTo>
                  <a:pt x="5936505" y="3730640"/>
                  <a:pt x="5947969" y="3730640"/>
                  <a:pt x="5958237" y="3734460"/>
                </a:cubicBezTo>
                <a:close/>
                <a:moveTo>
                  <a:pt x="398944" y="3734460"/>
                </a:moveTo>
                <a:cubicBezTo>
                  <a:pt x="408945" y="3738279"/>
                  <a:pt x="417518" y="3745919"/>
                  <a:pt x="422280" y="3756422"/>
                </a:cubicBezTo>
                <a:cubicBezTo>
                  <a:pt x="431805" y="3777430"/>
                  <a:pt x="424185" y="3804167"/>
                  <a:pt x="401325" y="3813715"/>
                </a:cubicBezTo>
                <a:cubicBezTo>
                  <a:pt x="401325" y="3813715"/>
                  <a:pt x="401325" y="3813715"/>
                  <a:pt x="62231" y="3970317"/>
                </a:cubicBezTo>
                <a:cubicBezTo>
                  <a:pt x="41276" y="3979866"/>
                  <a:pt x="16511" y="3970317"/>
                  <a:pt x="6985" y="3949309"/>
                </a:cubicBezTo>
                <a:cubicBezTo>
                  <a:pt x="5080" y="3943580"/>
                  <a:pt x="3175" y="3935941"/>
                  <a:pt x="3175" y="3930212"/>
                </a:cubicBezTo>
                <a:cubicBezTo>
                  <a:pt x="3175" y="3914934"/>
                  <a:pt x="12701" y="3899655"/>
                  <a:pt x="27941" y="3892016"/>
                </a:cubicBezTo>
                <a:cubicBezTo>
                  <a:pt x="27941" y="3892016"/>
                  <a:pt x="27941" y="3892016"/>
                  <a:pt x="367035" y="3735415"/>
                </a:cubicBezTo>
                <a:cubicBezTo>
                  <a:pt x="377512" y="3730640"/>
                  <a:pt x="388942" y="3730640"/>
                  <a:pt x="398944" y="3734460"/>
                </a:cubicBezTo>
                <a:close/>
                <a:moveTo>
                  <a:pt x="5394099" y="3725661"/>
                </a:moveTo>
                <a:cubicBezTo>
                  <a:pt x="5411704" y="3725928"/>
                  <a:pt x="5428503" y="3736616"/>
                  <a:pt x="5435652" y="3753716"/>
                </a:cubicBezTo>
                <a:cubicBezTo>
                  <a:pt x="5445184" y="3776516"/>
                  <a:pt x="5433745" y="3803116"/>
                  <a:pt x="5410870" y="3812616"/>
                </a:cubicBezTo>
                <a:cubicBezTo>
                  <a:pt x="5410870" y="3812616"/>
                  <a:pt x="5410870" y="3812616"/>
                  <a:pt x="5071527" y="3951316"/>
                </a:cubicBezTo>
                <a:cubicBezTo>
                  <a:pt x="5046746" y="3960816"/>
                  <a:pt x="5021965" y="3951316"/>
                  <a:pt x="5012435" y="3928516"/>
                </a:cubicBezTo>
                <a:cubicBezTo>
                  <a:pt x="5008623" y="3922816"/>
                  <a:pt x="5008623" y="3917116"/>
                  <a:pt x="5008623" y="3911416"/>
                </a:cubicBezTo>
                <a:cubicBezTo>
                  <a:pt x="5008623" y="3892416"/>
                  <a:pt x="5018153" y="3875316"/>
                  <a:pt x="5037215" y="3869616"/>
                </a:cubicBezTo>
                <a:cubicBezTo>
                  <a:pt x="5037215" y="3869616"/>
                  <a:pt x="5037215" y="3869616"/>
                  <a:pt x="5376554" y="3729016"/>
                </a:cubicBezTo>
                <a:cubicBezTo>
                  <a:pt x="5382274" y="3726641"/>
                  <a:pt x="5388231" y="3725572"/>
                  <a:pt x="5394099" y="3725661"/>
                </a:cubicBezTo>
                <a:close/>
                <a:moveTo>
                  <a:pt x="927625" y="3725661"/>
                </a:moveTo>
                <a:cubicBezTo>
                  <a:pt x="945497" y="3725928"/>
                  <a:pt x="961225" y="3736616"/>
                  <a:pt x="968374" y="3753716"/>
                </a:cubicBezTo>
                <a:cubicBezTo>
                  <a:pt x="977906" y="3776516"/>
                  <a:pt x="968374" y="3803116"/>
                  <a:pt x="945497" y="3812616"/>
                </a:cubicBezTo>
                <a:cubicBezTo>
                  <a:pt x="945497" y="3812616"/>
                  <a:pt x="945497" y="3812616"/>
                  <a:pt x="604250" y="3951316"/>
                </a:cubicBezTo>
                <a:cubicBezTo>
                  <a:pt x="581374" y="3960816"/>
                  <a:pt x="554684" y="3951316"/>
                  <a:pt x="545152" y="3928516"/>
                </a:cubicBezTo>
                <a:cubicBezTo>
                  <a:pt x="543246" y="3922816"/>
                  <a:pt x="541339" y="3917116"/>
                  <a:pt x="541339" y="3911416"/>
                </a:cubicBezTo>
                <a:cubicBezTo>
                  <a:pt x="541339" y="3892416"/>
                  <a:pt x="552778" y="3875316"/>
                  <a:pt x="569935" y="3869616"/>
                </a:cubicBezTo>
                <a:cubicBezTo>
                  <a:pt x="569935" y="3869616"/>
                  <a:pt x="569935" y="3869616"/>
                  <a:pt x="909276" y="3729016"/>
                </a:cubicBezTo>
                <a:cubicBezTo>
                  <a:pt x="915471" y="3726641"/>
                  <a:pt x="921667" y="3725572"/>
                  <a:pt x="927625" y="3725661"/>
                </a:cubicBezTo>
                <a:close/>
                <a:moveTo>
                  <a:pt x="4842646" y="3718049"/>
                </a:moveTo>
                <a:cubicBezTo>
                  <a:pt x="4861517" y="3718940"/>
                  <a:pt x="4879049" y="3731051"/>
                  <a:pt x="4884773" y="3749574"/>
                </a:cubicBezTo>
                <a:cubicBezTo>
                  <a:pt x="4894313" y="3774271"/>
                  <a:pt x="4880958" y="3802768"/>
                  <a:pt x="4856151" y="3810367"/>
                </a:cubicBezTo>
                <a:cubicBezTo>
                  <a:pt x="4856151" y="3810367"/>
                  <a:pt x="4856151" y="3810367"/>
                  <a:pt x="4514670" y="3933854"/>
                </a:cubicBezTo>
                <a:cubicBezTo>
                  <a:pt x="4489871" y="3943353"/>
                  <a:pt x="4463161" y="3930054"/>
                  <a:pt x="4453622" y="3905357"/>
                </a:cubicBezTo>
                <a:cubicBezTo>
                  <a:pt x="4451715" y="3901557"/>
                  <a:pt x="4449806" y="3895858"/>
                  <a:pt x="4449806" y="3890159"/>
                </a:cubicBezTo>
                <a:cubicBezTo>
                  <a:pt x="4449806" y="3869261"/>
                  <a:pt x="4463161" y="3852163"/>
                  <a:pt x="4482239" y="3844564"/>
                </a:cubicBezTo>
                <a:cubicBezTo>
                  <a:pt x="4482239" y="3844564"/>
                  <a:pt x="4482239" y="3844564"/>
                  <a:pt x="4823715" y="3721077"/>
                </a:cubicBezTo>
                <a:cubicBezTo>
                  <a:pt x="4829917" y="3718702"/>
                  <a:pt x="4836355" y="3717752"/>
                  <a:pt x="4842646" y="3718049"/>
                </a:cubicBezTo>
                <a:close/>
                <a:moveTo>
                  <a:pt x="1478619" y="3718049"/>
                </a:moveTo>
                <a:cubicBezTo>
                  <a:pt x="1496975" y="3718940"/>
                  <a:pt x="1513727" y="3731051"/>
                  <a:pt x="1520856" y="3749574"/>
                </a:cubicBezTo>
                <a:cubicBezTo>
                  <a:pt x="1530361" y="3774271"/>
                  <a:pt x="1517054" y="3802768"/>
                  <a:pt x="1492342" y="3810367"/>
                </a:cubicBezTo>
                <a:cubicBezTo>
                  <a:pt x="1492342" y="3810367"/>
                  <a:pt x="1492342" y="3810367"/>
                  <a:pt x="1152074" y="3933854"/>
                </a:cubicBezTo>
                <a:cubicBezTo>
                  <a:pt x="1127362" y="3943353"/>
                  <a:pt x="1098848" y="3930054"/>
                  <a:pt x="1089343" y="3905357"/>
                </a:cubicBezTo>
                <a:cubicBezTo>
                  <a:pt x="1087442" y="3901557"/>
                  <a:pt x="1087442" y="3895858"/>
                  <a:pt x="1087442" y="3890159"/>
                </a:cubicBezTo>
                <a:cubicBezTo>
                  <a:pt x="1087442" y="3869261"/>
                  <a:pt x="1098848" y="3852163"/>
                  <a:pt x="1117857" y="3844564"/>
                </a:cubicBezTo>
                <a:cubicBezTo>
                  <a:pt x="1117857" y="3844564"/>
                  <a:pt x="1117857" y="3844564"/>
                  <a:pt x="1460026" y="3721077"/>
                </a:cubicBezTo>
                <a:cubicBezTo>
                  <a:pt x="1466204" y="3718702"/>
                  <a:pt x="1472501" y="3717752"/>
                  <a:pt x="1478619" y="3718049"/>
                </a:cubicBezTo>
                <a:close/>
                <a:moveTo>
                  <a:pt x="2033482" y="3710438"/>
                </a:moveTo>
                <a:cubicBezTo>
                  <a:pt x="2053278" y="3711952"/>
                  <a:pt x="2071188" y="3725486"/>
                  <a:pt x="2078351" y="3745431"/>
                </a:cubicBezTo>
                <a:cubicBezTo>
                  <a:pt x="2085994" y="3772025"/>
                  <a:pt x="2070710" y="3800519"/>
                  <a:pt x="2043960" y="3810017"/>
                </a:cubicBezTo>
                <a:cubicBezTo>
                  <a:pt x="2043960" y="3810017"/>
                  <a:pt x="2043960" y="3810017"/>
                  <a:pt x="1701997" y="3916393"/>
                </a:cubicBezTo>
                <a:cubicBezTo>
                  <a:pt x="1673341" y="3925891"/>
                  <a:pt x="1644685" y="3910694"/>
                  <a:pt x="1637043" y="3884100"/>
                </a:cubicBezTo>
                <a:cubicBezTo>
                  <a:pt x="1635133" y="3878402"/>
                  <a:pt x="1635133" y="3874602"/>
                  <a:pt x="1635133" y="3868904"/>
                </a:cubicBezTo>
                <a:cubicBezTo>
                  <a:pt x="1635133" y="3846109"/>
                  <a:pt x="1648506" y="3827113"/>
                  <a:pt x="1669520" y="3819515"/>
                </a:cubicBezTo>
                <a:cubicBezTo>
                  <a:pt x="1669520" y="3819515"/>
                  <a:pt x="1669520" y="3819515"/>
                  <a:pt x="2013393" y="3713139"/>
                </a:cubicBezTo>
                <a:cubicBezTo>
                  <a:pt x="2020079" y="3710764"/>
                  <a:pt x="2026885" y="3709933"/>
                  <a:pt x="2033482" y="3710438"/>
                </a:cubicBezTo>
                <a:close/>
                <a:moveTo>
                  <a:pt x="4287765" y="3710438"/>
                </a:moveTo>
                <a:cubicBezTo>
                  <a:pt x="4307452" y="3711952"/>
                  <a:pt x="4324991" y="3725486"/>
                  <a:pt x="4330719" y="3745431"/>
                </a:cubicBezTo>
                <a:cubicBezTo>
                  <a:pt x="4340265" y="3772025"/>
                  <a:pt x="4324991" y="3800519"/>
                  <a:pt x="4298265" y="3810017"/>
                </a:cubicBezTo>
                <a:cubicBezTo>
                  <a:pt x="4298265" y="3810017"/>
                  <a:pt x="4298265" y="3810017"/>
                  <a:pt x="3954657" y="3916393"/>
                </a:cubicBezTo>
                <a:cubicBezTo>
                  <a:pt x="3927929" y="3925891"/>
                  <a:pt x="3899294" y="3910694"/>
                  <a:pt x="3891656" y="3884100"/>
                </a:cubicBezTo>
                <a:cubicBezTo>
                  <a:pt x="3889749" y="3878402"/>
                  <a:pt x="3887840" y="3874602"/>
                  <a:pt x="3887840" y="3868904"/>
                </a:cubicBezTo>
                <a:cubicBezTo>
                  <a:pt x="3887840" y="3846109"/>
                  <a:pt x="3903113" y="3827113"/>
                  <a:pt x="3924112" y="3819515"/>
                </a:cubicBezTo>
                <a:cubicBezTo>
                  <a:pt x="3924112" y="3819515"/>
                  <a:pt x="3924112" y="3819515"/>
                  <a:pt x="4267719" y="3713139"/>
                </a:cubicBezTo>
                <a:cubicBezTo>
                  <a:pt x="4274401" y="3710764"/>
                  <a:pt x="4281202" y="3709933"/>
                  <a:pt x="4287765" y="3710438"/>
                </a:cubicBezTo>
                <a:close/>
                <a:moveTo>
                  <a:pt x="3726989" y="3702866"/>
                </a:moveTo>
                <a:cubicBezTo>
                  <a:pt x="3747976" y="3705095"/>
                  <a:pt x="3766549" y="3720431"/>
                  <a:pt x="3772266" y="3743256"/>
                </a:cubicBezTo>
                <a:cubicBezTo>
                  <a:pt x="3779885" y="3771789"/>
                  <a:pt x="3762739" y="3800321"/>
                  <a:pt x="3734163" y="3807929"/>
                </a:cubicBezTo>
                <a:cubicBezTo>
                  <a:pt x="3734163" y="3807929"/>
                  <a:pt x="3734163" y="3807929"/>
                  <a:pt x="3391274" y="3899232"/>
                </a:cubicBezTo>
                <a:cubicBezTo>
                  <a:pt x="3360792" y="3906841"/>
                  <a:pt x="3332215" y="3889722"/>
                  <a:pt x="3324595" y="3861189"/>
                </a:cubicBezTo>
                <a:cubicBezTo>
                  <a:pt x="3322691" y="3857385"/>
                  <a:pt x="3322691" y="3851679"/>
                  <a:pt x="3322691" y="3847874"/>
                </a:cubicBezTo>
                <a:cubicBezTo>
                  <a:pt x="3322691" y="3823147"/>
                  <a:pt x="3337931" y="3802223"/>
                  <a:pt x="3362695" y="3796517"/>
                </a:cubicBezTo>
                <a:cubicBezTo>
                  <a:pt x="3362695" y="3796517"/>
                  <a:pt x="3362695" y="3796517"/>
                  <a:pt x="3705588" y="3705214"/>
                </a:cubicBezTo>
                <a:cubicBezTo>
                  <a:pt x="3712732" y="3702836"/>
                  <a:pt x="3719992" y="3702123"/>
                  <a:pt x="3726989" y="3702866"/>
                </a:cubicBezTo>
                <a:close/>
                <a:moveTo>
                  <a:pt x="2593304" y="3702866"/>
                </a:moveTo>
                <a:cubicBezTo>
                  <a:pt x="2614363" y="3705095"/>
                  <a:pt x="2633002" y="3720431"/>
                  <a:pt x="2638736" y="3743256"/>
                </a:cubicBezTo>
                <a:cubicBezTo>
                  <a:pt x="2646382" y="3771789"/>
                  <a:pt x="2629177" y="3800321"/>
                  <a:pt x="2600503" y="3807929"/>
                </a:cubicBezTo>
                <a:cubicBezTo>
                  <a:pt x="2600503" y="3807929"/>
                  <a:pt x="2600503" y="3807929"/>
                  <a:pt x="2256408" y="3899232"/>
                </a:cubicBezTo>
                <a:cubicBezTo>
                  <a:pt x="2225822" y="3906841"/>
                  <a:pt x="2197147" y="3889722"/>
                  <a:pt x="2189501" y="3861189"/>
                </a:cubicBezTo>
                <a:cubicBezTo>
                  <a:pt x="2187590" y="3857385"/>
                  <a:pt x="2187590" y="3851679"/>
                  <a:pt x="2187590" y="3847874"/>
                </a:cubicBezTo>
                <a:cubicBezTo>
                  <a:pt x="2187590" y="3823147"/>
                  <a:pt x="2202883" y="3802223"/>
                  <a:pt x="2227734" y="3796517"/>
                </a:cubicBezTo>
                <a:cubicBezTo>
                  <a:pt x="2227734" y="3796517"/>
                  <a:pt x="2227734" y="3796517"/>
                  <a:pt x="2571828" y="3705214"/>
                </a:cubicBezTo>
                <a:cubicBezTo>
                  <a:pt x="2578997" y="3702836"/>
                  <a:pt x="2586285" y="3702123"/>
                  <a:pt x="2593304" y="3702866"/>
                </a:cubicBezTo>
                <a:close/>
                <a:moveTo>
                  <a:pt x="3135575" y="3696656"/>
                </a:moveTo>
                <a:cubicBezTo>
                  <a:pt x="3166097" y="3690941"/>
                  <a:pt x="3196619" y="3709991"/>
                  <a:pt x="3202342" y="3740471"/>
                </a:cubicBezTo>
                <a:cubicBezTo>
                  <a:pt x="3209972" y="3770951"/>
                  <a:pt x="3190898" y="3801431"/>
                  <a:pt x="3160373" y="3809051"/>
                </a:cubicBezTo>
                <a:cubicBezTo>
                  <a:pt x="3160373" y="3809051"/>
                  <a:pt x="3160373" y="3809051"/>
                  <a:pt x="2815092" y="3883346"/>
                </a:cubicBezTo>
                <a:cubicBezTo>
                  <a:pt x="2784567" y="3890966"/>
                  <a:pt x="2754047" y="3871916"/>
                  <a:pt x="2746418" y="3841436"/>
                </a:cubicBezTo>
                <a:cubicBezTo>
                  <a:pt x="2746418" y="3835721"/>
                  <a:pt x="2746418" y="3831911"/>
                  <a:pt x="2746418" y="3828101"/>
                </a:cubicBezTo>
                <a:cubicBezTo>
                  <a:pt x="2746418" y="3801431"/>
                  <a:pt x="2763583" y="3778571"/>
                  <a:pt x="2790295" y="3772856"/>
                </a:cubicBezTo>
                <a:cubicBezTo>
                  <a:pt x="2790295" y="3772856"/>
                  <a:pt x="2790295" y="3772856"/>
                  <a:pt x="3135575" y="3696656"/>
                </a:cubicBezTo>
                <a:close/>
                <a:moveTo>
                  <a:pt x="9858878" y="3457894"/>
                </a:moveTo>
                <a:cubicBezTo>
                  <a:pt x="9863879" y="3458370"/>
                  <a:pt x="9868642" y="3460749"/>
                  <a:pt x="9871499" y="3465507"/>
                </a:cubicBezTo>
                <a:cubicBezTo>
                  <a:pt x="9879119" y="3473119"/>
                  <a:pt x="9877214" y="3484538"/>
                  <a:pt x="9869594" y="3492151"/>
                </a:cubicBezTo>
                <a:cubicBezTo>
                  <a:pt x="9869594" y="3492151"/>
                  <a:pt x="9869594" y="3492151"/>
                  <a:pt x="9538119" y="3773816"/>
                </a:cubicBezTo>
                <a:cubicBezTo>
                  <a:pt x="9530499" y="3781429"/>
                  <a:pt x="9519069" y="3781429"/>
                  <a:pt x="9511449" y="3771913"/>
                </a:cubicBezTo>
                <a:cubicBezTo>
                  <a:pt x="9509544" y="3768107"/>
                  <a:pt x="9507639" y="3764301"/>
                  <a:pt x="9507639" y="3760494"/>
                </a:cubicBezTo>
                <a:cubicBezTo>
                  <a:pt x="9507639" y="3754785"/>
                  <a:pt x="9509544" y="3749075"/>
                  <a:pt x="9513354" y="3745269"/>
                </a:cubicBezTo>
                <a:cubicBezTo>
                  <a:pt x="9513354" y="3745269"/>
                  <a:pt x="9513354" y="3745269"/>
                  <a:pt x="9844829" y="3461700"/>
                </a:cubicBezTo>
                <a:cubicBezTo>
                  <a:pt x="9848639" y="3458846"/>
                  <a:pt x="9853878" y="3457418"/>
                  <a:pt x="9858878" y="3457894"/>
                </a:cubicBezTo>
                <a:close/>
                <a:moveTo>
                  <a:pt x="10444338" y="3451145"/>
                </a:moveTo>
                <a:cubicBezTo>
                  <a:pt x="10449819" y="3451859"/>
                  <a:pt x="10455062" y="3454714"/>
                  <a:pt x="10458876" y="3459471"/>
                </a:cubicBezTo>
                <a:cubicBezTo>
                  <a:pt x="10466502" y="3468987"/>
                  <a:pt x="10464595" y="3482308"/>
                  <a:pt x="10455062" y="3489921"/>
                </a:cubicBezTo>
                <a:cubicBezTo>
                  <a:pt x="10455062" y="3489921"/>
                  <a:pt x="10455062" y="3489921"/>
                  <a:pt x="10123310" y="3756353"/>
                </a:cubicBezTo>
                <a:cubicBezTo>
                  <a:pt x="10113777" y="3763966"/>
                  <a:pt x="10098524" y="3762063"/>
                  <a:pt x="10090897" y="3752547"/>
                </a:cubicBezTo>
                <a:cubicBezTo>
                  <a:pt x="10088991" y="3748741"/>
                  <a:pt x="10087084" y="3743032"/>
                  <a:pt x="10087084" y="3737323"/>
                </a:cubicBezTo>
                <a:cubicBezTo>
                  <a:pt x="10087084" y="3731613"/>
                  <a:pt x="10088991" y="3725904"/>
                  <a:pt x="10094710" y="3720195"/>
                </a:cubicBezTo>
                <a:cubicBezTo>
                  <a:pt x="10094710" y="3720195"/>
                  <a:pt x="10094710" y="3720195"/>
                  <a:pt x="10428370" y="3455665"/>
                </a:cubicBezTo>
                <a:cubicBezTo>
                  <a:pt x="10433136" y="3451859"/>
                  <a:pt x="10438856" y="3450432"/>
                  <a:pt x="10444338" y="3451145"/>
                </a:cubicBezTo>
                <a:close/>
                <a:moveTo>
                  <a:pt x="9282925" y="3451145"/>
                </a:moveTo>
                <a:cubicBezTo>
                  <a:pt x="9288878" y="3451859"/>
                  <a:pt x="9294593" y="3454714"/>
                  <a:pt x="9298403" y="3459471"/>
                </a:cubicBezTo>
                <a:cubicBezTo>
                  <a:pt x="9306023" y="3468987"/>
                  <a:pt x="9304118" y="3482308"/>
                  <a:pt x="9294593" y="3489921"/>
                </a:cubicBezTo>
                <a:cubicBezTo>
                  <a:pt x="9294593" y="3489921"/>
                  <a:pt x="9294593" y="3489921"/>
                  <a:pt x="8961213" y="3756353"/>
                </a:cubicBezTo>
                <a:cubicBezTo>
                  <a:pt x="8951688" y="3763966"/>
                  <a:pt x="8938353" y="3762063"/>
                  <a:pt x="8930733" y="3752547"/>
                </a:cubicBezTo>
                <a:cubicBezTo>
                  <a:pt x="8926923" y="3748741"/>
                  <a:pt x="8925018" y="3743032"/>
                  <a:pt x="8925018" y="3737323"/>
                </a:cubicBezTo>
                <a:cubicBezTo>
                  <a:pt x="8925018" y="3731613"/>
                  <a:pt x="8928828" y="3725904"/>
                  <a:pt x="8934543" y="3720195"/>
                </a:cubicBezTo>
                <a:cubicBezTo>
                  <a:pt x="8934543" y="3720195"/>
                  <a:pt x="8934543" y="3720195"/>
                  <a:pt x="9266017" y="3455665"/>
                </a:cubicBezTo>
                <a:cubicBezTo>
                  <a:pt x="9270780" y="3451859"/>
                  <a:pt x="9276971" y="3450432"/>
                  <a:pt x="9282925" y="3451145"/>
                </a:cubicBezTo>
                <a:close/>
                <a:moveTo>
                  <a:pt x="8712667" y="3443688"/>
                </a:moveTo>
                <a:cubicBezTo>
                  <a:pt x="8719102" y="3444402"/>
                  <a:pt x="8725299" y="3447736"/>
                  <a:pt x="8730065" y="3453451"/>
                </a:cubicBezTo>
                <a:cubicBezTo>
                  <a:pt x="8737691" y="3464881"/>
                  <a:pt x="8735784" y="3482026"/>
                  <a:pt x="8724345" y="3489646"/>
                </a:cubicBezTo>
                <a:cubicBezTo>
                  <a:pt x="8724345" y="3489646"/>
                  <a:pt x="8724345" y="3489646"/>
                  <a:pt x="8390693" y="3737296"/>
                </a:cubicBezTo>
                <a:cubicBezTo>
                  <a:pt x="8379253" y="3744916"/>
                  <a:pt x="8362094" y="3743011"/>
                  <a:pt x="8354468" y="3731581"/>
                </a:cubicBezTo>
                <a:cubicBezTo>
                  <a:pt x="8350655" y="3727771"/>
                  <a:pt x="8348748" y="3722056"/>
                  <a:pt x="8348748" y="3716341"/>
                </a:cubicBezTo>
                <a:cubicBezTo>
                  <a:pt x="8348748" y="3708721"/>
                  <a:pt x="8352561" y="3701101"/>
                  <a:pt x="8360188" y="3695386"/>
                </a:cubicBezTo>
                <a:cubicBezTo>
                  <a:pt x="8360188" y="3695386"/>
                  <a:pt x="8360188" y="3695386"/>
                  <a:pt x="8693840" y="3449641"/>
                </a:cubicBezTo>
                <a:cubicBezTo>
                  <a:pt x="8699560" y="3444878"/>
                  <a:pt x="8706233" y="3442973"/>
                  <a:pt x="8712667" y="3443688"/>
                </a:cubicBezTo>
                <a:close/>
                <a:moveTo>
                  <a:pt x="11022273" y="3443688"/>
                </a:moveTo>
                <a:cubicBezTo>
                  <a:pt x="11028469" y="3444402"/>
                  <a:pt x="11034189" y="3447736"/>
                  <a:pt x="11038002" y="3453451"/>
                </a:cubicBezTo>
                <a:cubicBezTo>
                  <a:pt x="11047535" y="3464881"/>
                  <a:pt x="11045628" y="3482026"/>
                  <a:pt x="11034189" y="3489646"/>
                </a:cubicBezTo>
                <a:cubicBezTo>
                  <a:pt x="11034189" y="3489646"/>
                  <a:pt x="11034189" y="3489646"/>
                  <a:pt x="10700537" y="3737296"/>
                </a:cubicBezTo>
                <a:cubicBezTo>
                  <a:pt x="10689097" y="3744916"/>
                  <a:pt x="10671938" y="3743011"/>
                  <a:pt x="10664312" y="3731581"/>
                </a:cubicBezTo>
                <a:cubicBezTo>
                  <a:pt x="10660499" y="3727771"/>
                  <a:pt x="10658592" y="3722056"/>
                  <a:pt x="10658592" y="3716341"/>
                </a:cubicBezTo>
                <a:cubicBezTo>
                  <a:pt x="10658592" y="3708721"/>
                  <a:pt x="10662405" y="3701101"/>
                  <a:pt x="10670032" y="3695386"/>
                </a:cubicBezTo>
                <a:cubicBezTo>
                  <a:pt x="10670032" y="3695386"/>
                  <a:pt x="10670032" y="3695386"/>
                  <a:pt x="11003684" y="3449641"/>
                </a:cubicBezTo>
                <a:cubicBezTo>
                  <a:pt x="11009404" y="3444878"/>
                  <a:pt x="11016077" y="3442973"/>
                  <a:pt x="11022273" y="3443688"/>
                </a:cubicBezTo>
                <a:close/>
                <a:moveTo>
                  <a:pt x="11595028" y="3438528"/>
                </a:moveTo>
                <a:cubicBezTo>
                  <a:pt x="11602660" y="3439957"/>
                  <a:pt x="11609816" y="3444243"/>
                  <a:pt x="11614586" y="3450911"/>
                </a:cubicBezTo>
                <a:cubicBezTo>
                  <a:pt x="11622218" y="3464246"/>
                  <a:pt x="11620310" y="3483296"/>
                  <a:pt x="11606953" y="3490916"/>
                </a:cubicBezTo>
                <a:cubicBezTo>
                  <a:pt x="11606953" y="3490916"/>
                  <a:pt x="11606953" y="3490916"/>
                  <a:pt x="11271132" y="3719516"/>
                </a:cubicBezTo>
                <a:cubicBezTo>
                  <a:pt x="11257775" y="3729041"/>
                  <a:pt x="11238695" y="3725231"/>
                  <a:pt x="11231062" y="3711896"/>
                </a:cubicBezTo>
                <a:cubicBezTo>
                  <a:pt x="11227246" y="3706181"/>
                  <a:pt x="11225338" y="3700466"/>
                  <a:pt x="11225338" y="3696656"/>
                </a:cubicBezTo>
                <a:cubicBezTo>
                  <a:pt x="11225338" y="3687131"/>
                  <a:pt x="11229154" y="3677606"/>
                  <a:pt x="11238695" y="3671891"/>
                </a:cubicBezTo>
                <a:cubicBezTo>
                  <a:pt x="11238695" y="3671891"/>
                  <a:pt x="11238695" y="3671891"/>
                  <a:pt x="11572608" y="3443291"/>
                </a:cubicBezTo>
                <a:cubicBezTo>
                  <a:pt x="11579286" y="3438528"/>
                  <a:pt x="11587396" y="3437100"/>
                  <a:pt x="11595028" y="3438528"/>
                </a:cubicBezTo>
                <a:close/>
                <a:moveTo>
                  <a:pt x="8149264" y="3438528"/>
                </a:moveTo>
                <a:cubicBezTo>
                  <a:pt x="8156391" y="3439957"/>
                  <a:pt x="8163042" y="3444243"/>
                  <a:pt x="8167794" y="3450911"/>
                </a:cubicBezTo>
                <a:cubicBezTo>
                  <a:pt x="8177296" y="3464246"/>
                  <a:pt x="8173495" y="3483296"/>
                  <a:pt x="8160192" y="3490916"/>
                </a:cubicBezTo>
                <a:cubicBezTo>
                  <a:pt x="8160192" y="3490916"/>
                  <a:pt x="8160192" y="3490916"/>
                  <a:pt x="7825713" y="3719516"/>
                </a:cubicBezTo>
                <a:cubicBezTo>
                  <a:pt x="7812410" y="3729041"/>
                  <a:pt x="7795306" y="3725231"/>
                  <a:pt x="7785804" y="3711896"/>
                </a:cubicBezTo>
                <a:cubicBezTo>
                  <a:pt x="7782003" y="3706181"/>
                  <a:pt x="7782003" y="3700466"/>
                  <a:pt x="7782003" y="3696656"/>
                </a:cubicBezTo>
                <a:cubicBezTo>
                  <a:pt x="7782003" y="3687131"/>
                  <a:pt x="7785804" y="3677606"/>
                  <a:pt x="7793405" y="3671891"/>
                </a:cubicBezTo>
                <a:cubicBezTo>
                  <a:pt x="7793405" y="3671891"/>
                  <a:pt x="7793405" y="3671891"/>
                  <a:pt x="8127884" y="3443291"/>
                </a:cubicBezTo>
                <a:cubicBezTo>
                  <a:pt x="8134536" y="3438528"/>
                  <a:pt x="8142137" y="3437100"/>
                  <a:pt x="8149264" y="3438528"/>
                </a:cubicBezTo>
                <a:close/>
                <a:moveTo>
                  <a:pt x="12139750" y="3433766"/>
                </a:moveTo>
                <a:cubicBezTo>
                  <a:pt x="12139750" y="3433766"/>
                  <a:pt x="12139750" y="3433766"/>
                  <a:pt x="12139750" y="3509879"/>
                </a:cubicBezTo>
                <a:cubicBezTo>
                  <a:pt x="12139750" y="3509879"/>
                  <a:pt x="12139750" y="3509879"/>
                  <a:pt x="11835219" y="3702065"/>
                </a:cubicBezTo>
                <a:cubicBezTo>
                  <a:pt x="11819993" y="3711579"/>
                  <a:pt x="11799056" y="3705870"/>
                  <a:pt x="11789540" y="3690648"/>
                </a:cubicBezTo>
                <a:cubicBezTo>
                  <a:pt x="11785733" y="3684939"/>
                  <a:pt x="11785733" y="3679231"/>
                  <a:pt x="11785733" y="3673522"/>
                </a:cubicBezTo>
                <a:cubicBezTo>
                  <a:pt x="11785733" y="3662105"/>
                  <a:pt x="11789540" y="3652591"/>
                  <a:pt x="11800960" y="3646883"/>
                </a:cubicBezTo>
                <a:lnTo>
                  <a:pt x="12135943" y="3435669"/>
                </a:lnTo>
                <a:cubicBezTo>
                  <a:pt x="12137847" y="3435669"/>
                  <a:pt x="12137847" y="3435669"/>
                  <a:pt x="12139750" y="3433766"/>
                </a:cubicBezTo>
                <a:close/>
                <a:moveTo>
                  <a:pt x="7592961" y="3431781"/>
                </a:moveTo>
                <a:cubicBezTo>
                  <a:pt x="7601309" y="3433924"/>
                  <a:pt x="7608941" y="3439163"/>
                  <a:pt x="7613711" y="3446783"/>
                </a:cubicBezTo>
                <a:cubicBezTo>
                  <a:pt x="7623251" y="3462023"/>
                  <a:pt x="7617527" y="3481073"/>
                  <a:pt x="7602263" y="3490598"/>
                </a:cubicBezTo>
                <a:cubicBezTo>
                  <a:pt x="7602263" y="3490598"/>
                  <a:pt x="7602263" y="3490598"/>
                  <a:pt x="7266453" y="3702053"/>
                </a:cubicBezTo>
                <a:cubicBezTo>
                  <a:pt x="7251189" y="3711578"/>
                  <a:pt x="7232109" y="3705863"/>
                  <a:pt x="7222569" y="3690623"/>
                </a:cubicBezTo>
                <a:cubicBezTo>
                  <a:pt x="7218753" y="3684908"/>
                  <a:pt x="7216845" y="3679193"/>
                  <a:pt x="7216845" y="3673478"/>
                </a:cubicBezTo>
                <a:cubicBezTo>
                  <a:pt x="7216845" y="3662048"/>
                  <a:pt x="7222569" y="3652523"/>
                  <a:pt x="7232109" y="3646808"/>
                </a:cubicBezTo>
                <a:cubicBezTo>
                  <a:pt x="7232109" y="3646808"/>
                  <a:pt x="7232109" y="3646808"/>
                  <a:pt x="7567918" y="3435353"/>
                </a:cubicBezTo>
                <a:cubicBezTo>
                  <a:pt x="7575551" y="3430590"/>
                  <a:pt x="7584614" y="3429638"/>
                  <a:pt x="7592961" y="3431781"/>
                </a:cubicBezTo>
                <a:close/>
                <a:moveTo>
                  <a:pt x="7042583" y="3425684"/>
                </a:moveTo>
                <a:cubicBezTo>
                  <a:pt x="7051618" y="3428071"/>
                  <a:pt x="7059702" y="3433799"/>
                  <a:pt x="7064457" y="3442391"/>
                </a:cubicBezTo>
                <a:cubicBezTo>
                  <a:pt x="7073968" y="3459576"/>
                  <a:pt x="7068261" y="3480580"/>
                  <a:pt x="7051143" y="3490127"/>
                </a:cubicBezTo>
                <a:cubicBezTo>
                  <a:pt x="7051143" y="3490127"/>
                  <a:pt x="7051143" y="3490127"/>
                  <a:pt x="6714471" y="3682981"/>
                </a:cubicBezTo>
                <a:cubicBezTo>
                  <a:pt x="6697352" y="3692528"/>
                  <a:pt x="6676429" y="3686800"/>
                  <a:pt x="6665016" y="3669615"/>
                </a:cubicBezTo>
                <a:cubicBezTo>
                  <a:pt x="6663114" y="3663886"/>
                  <a:pt x="6661212" y="3658158"/>
                  <a:pt x="6661212" y="3652430"/>
                </a:cubicBezTo>
                <a:cubicBezTo>
                  <a:pt x="6661212" y="3639064"/>
                  <a:pt x="6666918" y="3627607"/>
                  <a:pt x="6678331" y="3619969"/>
                </a:cubicBezTo>
                <a:cubicBezTo>
                  <a:pt x="6678331" y="3619969"/>
                  <a:pt x="6678331" y="3619969"/>
                  <a:pt x="7015003" y="3429025"/>
                </a:cubicBezTo>
                <a:cubicBezTo>
                  <a:pt x="7023562" y="3424254"/>
                  <a:pt x="7033548" y="3423297"/>
                  <a:pt x="7042583" y="3425684"/>
                </a:cubicBezTo>
                <a:close/>
                <a:moveTo>
                  <a:pt x="6499335" y="3418940"/>
                </a:moveTo>
                <a:cubicBezTo>
                  <a:pt x="6508845" y="3422044"/>
                  <a:pt x="6517405" y="3428727"/>
                  <a:pt x="6523112" y="3438274"/>
                </a:cubicBezTo>
                <a:cubicBezTo>
                  <a:pt x="6532623" y="3457370"/>
                  <a:pt x="6525014" y="3480286"/>
                  <a:pt x="6505992" y="3491743"/>
                </a:cubicBezTo>
                <a:cubicBezTo>
                  <a:pt x="6505992" y="3491743"/>
                  <a:pt x="6505992" y="3491743"/>
                  <a:pt x="6167407" y="3663607"/>
                </a:cubicBezTo>
                <a:cubicBezTo>
                  <a:pt x="6148385" y="3675065"/>
                  <a:pt x="6125559" y="3667426"/>
                  <a:pt x="6116048" y="3648330"/>
                </a:cubicBezTo>
                <a:cubicBezTo>
                  <a:pt x="6112244" y="3642602"/>
                  <a:pt x="6110342" y="3634963"/>
                  <a:pt x="6110342" y="3629234"/>
                </a:cubicBezTo>
                <a:cubicBezTo>
                  <a:pt x="6110342" y="3615867"/>
                  <a:pt x="6117950" y="3602500"/>
                  <a:pt x="6131266" y="3594862"/>
                </a:cubicBezTo>
                <a:cubicBezTo>
                  <a:pt x="6131266" y="3594862"/>
                  <a:pt x="6131266" y="3594862"/>
                  <a:pt x="6469851" y="3421090"/>
                </a:cubicBezTo>
                <a:cubicBezTo>
                  <a:pt x="6479362" y="3416316"/>
                  <a:pt x="6489824" y="3415839"/>
                  <a:pt x="6499335" y="3418940"/>
                </a:cubicBezTo>
                <a:close/>
                <a:moveTo>
                  <a:pt x="5958954" y="3413743"/>
                </a:moveTo>
                <a:cubicBezTo>
                  <a:pt x="5969462" y="3417542"/>
                  <a:pt x="5978538" y="3425142"/>
                  <a:pt x="5983314" y="3435593"/>
                </a:cubicBezTo>
                <a:cubicBezTo>
                  <a:pt x="5992867" y="3456495"/>
                  <a:pt x="5983314" y="3483098"/>
                  <a:pt x="5962297" y="3492599"/>
                </a:cubicBezTo>
                <a:cubicBezTo>
                  <a:pt x="5962297" y="3492599"/>
                  <a:pt x="5962297" y="3492599"/>
                  <a:pt x="5622211" y="3646514"/>
                </a:cubicBezTo>
                <a:cubicBezTo>
                  <a:pt x="5599283" y="3656015"/>
                  <a:pt x="5574446" y="3646514"/>
                  <a:pt x="5564892" y="3625612"/>
                </a:cubicBezTo>
                <a:cubicBezTo>
                  <a:pt x="5562981" y="3619911"/>
                  <a:pt x="5561071" y="3614211"/>
                  <a:pt x="5561071" y="3608510"/>
                </a:cubicBezTo>
                <a:cubicBezTo>
                  <a:pt x="5561071" y="3591408"/>
                  <a:pt x="5570624" y="3576207"/>
                  <a:pt x="5585909" y="3568606"/>
                </a:cubicBezTo>
                <a:cubicBezTo>
                  <a:pt x="5585909" y="3568606"/>
                  <a:pt x="5585909" y="3568606"/>
                  <a:pt x="5925996" y="3414692"/>
                </a:cubicBezTo>
                <a:cubicBezTo>
                  <a:pt x="5936505" y="3409944"/>
                  <a:pt x="5948446" y="3409944"/>
                  <a:pt x="5958954" y="3413743"/>
                </a:cubicBezTo>
                <a:close/>
                <a:moveTo>
                  <a:pt x="398651" y="3413741"/>
                </a:moveTo>
                <a:cubicBezTo>
                  <a:pt x="408645" y="3417542"/>
                  <a:pt x="417211" y="3425142"/>
                  <a:pt x="421971" y="3435593"/>
                </a:cubicBezTo>
                <a:cubicBezTo>
                  <a:pt x="433392" y="3456495"/>
                  <a:pt x="423874" y="3483098"/>
                  <a:pt x="401031" y="3492599"/>
                </a:cubicBezTo>
                <a:cubicBezTo>
                  <a:pt x="401031" y="3492599"/>
                  <a:pt x="401031" y="3492599"/>
                  <a:pt x="62187" y="3646514"/>
                </a:cubicBezTo>
                <a:cubicBezTo>
                  <a:pt x="41248" y="3656015"/>
                  <a:pt x="16501" y="3646514"/>
                  <a:pt x="6983" y="3625612"/>
                </a:cubicBezTo>
                <a:cubicBezTo>
                  <a:pt x="3175" y="3619911"/>
                  <a:pt x="3175" y="3614211"/>
                  <a:pt x="3175" y="3608510"/>
                </a:cubicBezTo>
                <a:cubicBezTo>
                  <a:pt x="3175" y="3591408"/>
                  <a:pt x="12693" y="3576207"/>
                  <a:pt x="27922" y="3568606"/>
                </a:cubicBezTo>
                <a:cubicBezTo>
                  <a:pt x="27922" y="3568606"/>
                  <a:pt x="27922" y="3568606"/>
                  <a:pt x="366766" y="3414692"/>
                </a:cubicBezTo>
                <a:cubicBezTo>
                  <a:pt x="377236" y="3409942"/>
                  <a:pt x="388657" y="3409942"/>
                  <a:pt x="398651" y="3413741"/>
                </a:cubicBezTo>
                <a:close/>
                <a:moveTo>
                  <a:pt x="5394959" y="3403430"/>
                </a:moveTo>
                <a:cubicBezTo>
                  <a:pt x="5413341" y="3403787"/>
                  <a:pt x="5430116" y="3414829"/>
                  <a:pt x="5437255" y="3433353"/>
                </a:cubicBezTo>
                <a:cubicBezTo>
                  <a:pt x="5446773" y="3456153"/>
                  <a:pt x="5435351" y="3482753"/>
                  <a:pt x="5410604" y="3492253"/>
                </a:cubicBezTo>
                <a:cubicBezTo>
                  <a:pt x="5410604" y="3492253"/>
                  <a:pt x="5410604" y="3492253"/>
                  <a:pt x="5069849" y="3629053"/>
                </a:cubicBezTo>
                <a:cubicBezTo>
                  <a:pt x="5047007" y="3638553"/>
                  <a:pt x="5020359" y="3627153"/>
                  <a:pt x="5010842" y="3602453"/>
                </a:cubicBezTo>
                <a:cubicBezTo>
                  <a:pt x="5008938" y="3596753"/>
                  <a:pt x="5007035" y="3591053"/>
                  <a:pt x="5007035" y="3585353"/>
                </a:cubicBezTo>
                <a:cubicBezTo>
                  <a:pt x="5007035" y="3568253"/>
                  <a:pt x="5018456" y="3551153"/>
                  <a:pt x="5037491" y="3543553"/>
                </a:cubicBezTo>
                <a:cubicBezTo>
                  <a:pt x="5037491" y="3543553"/>
                  <a:pt x="5037491" y="3543553"/>
                  <a:pt x="5376340" y="3406755"/>
                </a:cubicBezTo>
                <a:cubicBezTo>
                  <a:pt x="5382526" y="3404382"/>
                  <a:pt x="5388832" y="3403312"/>
                  <a:pt x="5394959" y="3403430"/>
                </a:cubicBezTo>
                <a:close/>
                <a:moveTo>
                  <a:pt x="928445" y="3403428"/>
                </a:moveTo>
                <a:cubicBezTo>
                  <a:pt x="946037" y="3403784"/>
                  <a:pt x="962825" y="3414829"/>
                  <a:pt x="969969" y="3433353"/>
                </a:cubicBezTo>
                <a:cubicBezTo>
                  <a:pt x="979494" y="3456153"/>
                  <a:pt x="968064" y="3482753"/>
                  <a:pt x="945204" y="3492253"/>
                </a:cubicBezTo>
                <a:cubicBezTo>
                  <a:pt x="945204" y="3492253"/>
                  <a:pt x="945204" y="3492253"/>
                  <a:pt x="604205" y="3629053"/>
                </a:cubicBezTo>
                <a:cubicBezTo>
                  <a:pt x="579439" y="3638553"/>
                  <a:pt x="552769" y="3627153"/>
                  <a:pt x="543244" y="3602453"/>
                </a:cubicBezTo>
                <a:cubicBezTo>
                  <a:pt x="541339" y="3596753"/>
                  <a:pt x="541339" y="3591053"/>
                  <a:pt x="541339" y="3585353"/>
                </a:cubicBezTo>
                <a:cubicBezTo>
                  <a:pt x="541339" y="3568253"/>
                  <a:pt x="550864" y="3551153"/>
                  <a:pt x="569914" y="3543553"/>
                </a:cubicBezTo>
                <a:cubicBezTo>
                  <a:pt x="569914" y="3543553"/>
                  <a:pt x="569914" y="3543553"/>
                  <a:pt x="910913" y="3406753"/>
                </a:cubicBezTo>
                <a:cubicBezTo>
                  <a:pt x="916628" y="3404380"/>
                  <a:pt x="922581" y="3403309"/>
                  <a:pt x="928445" y="3403428"/>
                </a:cubicBezTo>
                <a:close/>
                <a:moveTo>
                  <a:pt x="4843466" y="3396591"/>
                </a:moveTo>
                <a:cubicBezTo>
                  <a:pt x="4863129" y="3398289"/>
                  <a:pt x="4880646" y="3410433"/>
                  <a:pt x="4886368" y="3429004"/>
                </a:cubicBezTo>
                <a:cubicBezTo>
                  <a:pt x="4895902" y="3455673"/>
                  <a:pt x="4882555" y="3484248"/>
                  <a:pt x="4855860" y="3491868"/>
                </a:cubicBezTo>
                <a:cubicBezTo>
                  <a:pt x="4855860" y="3491868"/>
                  <a:pt x="4855860" y="3491868"/>
                  <a:pt x="4514625" y="3609978"/>
                </a:cubicBezTo>
                <a:cubicBezTo>
                  <a:pt x="4487935" y="3619503"/>
                  <a:pt x="4461245" y="3606168"/>
                  <a:pt x="4451713" y="3579498"/>
                </a:cubicBezTo>
                <a:cubicBezTo>
                  <a:pt x="4449806" y="3575688"/>
                  <a:pt x="4449806" y="3569973"/>
                  <a:pt x="4449806" y="3564258"/>
                </a:cubicBezTo>
                <a:cubicBezTo>
                  <a:pt x="4449806" y="3543303"/>
                  <a:pt x="4461245" y="3524253"/>
                  <a:pt x="4482216" y="3518538"/>
                </a:cubicBezTo>
                <a:cubicBezTo>
                  <a:pt x="4482216" y="3518538"/>
                  <a:pt x="4482216" y="3518538"/>
                  <a:pt x="4823448" y="3398526"/>
                </a:cubicBezTo>
                <a:cubicBezTo>
                  <a:pt x="4830120" y="3396621"/>
                  <a:pt x="4836914" y="3396026"/>
                  <a:pt x="4843466" y="3396591"/>
                </a:cubicBezTo>
                <a:close/>
                <a:moveTo>
                  <a:pt x="1478769" y="3396589"/>
                </a:moveTo>
                <a:cubicBezTo>
                  <a:pt x="1497714" y="3398285"/>
                  <a:pt x="1515586" y="3410431"/>
                  <a:pt x="1522735" y="3429004"/>
                </a:cubicBezTo>
                <a:cubicBezTo>
                  <a:pt x="1530360" y="3455673"/>
                  <a:pt x="1517016" y="3484248"/>
                  <a:pt x="1492233" y="3491868"/>
                </a:cubicBezTo>
                <a:cubicBezTo>
                  <a:pt x="1492233" y="3491868"/>
                  <a:pt x="1492233" y="3491868"/>
                  <a:pt x="1149084" y="3609978"/>
                </a:cubicBezTo>
                <a:cubicBezTo>
                  <a:pt x="1124301" y="3619503"/>
                  <a:pt x="1095705" y="3606168"/>
                  <a:pt x="1088080" y="3579498"/>
                </a:cubicBezTo>
                <a:cubicBezTo>
                  <a:pt x="1086173" y="3575688"/>
                  <a:pt x="1084267" y="3569973"/>
                  <a:pt x="1084267" y="3564258"/>
                </a:cubicBezTo>
                <a:cubicBezTo>
                  <a:pt x="1084267" y="3543303"/>
                  <a:pt x="1097612" y="3524253"/>
                  <a:pt x="1116676" y="3518538"/>
                </a:cubicBezTo>
                <a:cubicBezTo>
                  <a:pt x="1116676" y="3518538"/>
                  <a:pt x="1116676" y="3518538"/>
                  <a:pt x="1459824" y="3398524"/>
                </a:cubicBezTo>
                <a:cubicBezTo>
                  <a:pt x="1466020" y="3396619"/>
                  <a:pt x="1472454" y="3396023"/>
                  <a:pt x="1478769" y="3396589"/>
                </a:cubicBezTo>
                <a:close/>
                <a:moveTo>
                  <a:pt x="4288621" y="3390094"/>
                </a:moveTo>
                <a:cubicBezTo>
                  <a:pt x="4309086" y="3392150"/>
                  <a:pt x="4326601" y="3406815"/>
                  <a:pt x="4332319" y="3426845"/>
                </a:cubicBezTo>
                <a:cubicBezTo>
                  <a:pt x="4341852" y="3455461"/>
                  <a:pt x="4324695" y="3484078"/>
                  <a:pt x="4298005" y="3491709"/>
                </a:cubicBezTo>
                <a:cubicBezTo>
                  <a:pt x="4298005" y="3491709"/>
                  <a:pt x="4298005" y="3491709"/>
                  <a:pt x="3954880" y="3592822"/>
                </a:cubicBezTo>
                <a:cubicBezTo>
                  <a:pt x="3926284" y="3600453"/>
                  <a:pt x="3897689" y="3585191"/>
                  <a:pt x="3888158" y="3556574"/>
                </a:cubicBezTo>
                <a:cubicBezTo>
                  <a:pt x="3888158" y="3552758"/>
                  <a:pt x="3886250" y="3547035"/>
                  <a:pt x="3886250" y="3541311"/>
                </a:cubicBezTo>
                <a:cubicBezTo>
                  <a:pt x="3886250" y="3518418"/>
                  <a:pt x="3901502" y="3497432"/>
                  <a:pt x="3924377" y="3491709"/>
                </a:cubicBezTo>
                <a:cubicBezTo>
                  <a:pt x="3924377" y="3491709"/>
                  <a:pt x="3924377" y="3491709"/>
                  <a:pt x="4267501" y="3392508"/>
                </a:cubicBezTo>
                <a:cubicBezTo>
                  <a:pt x="4274651" y="3390124"/>
                  <a:pt x="4281800" y="3389407"/>
                  <a:pt x="4288621" y="3390094"/>
                </a:cubicBezTo>
                <a:close/>
                <a:moveTo>
                  <a:pt x="2035412" y="3390091"/>
                </a:moveTo>
                <a:cubicBezTo>
                  <a:pt x="2055626" y="3392148"/>
                  <a:pt x="2074226" y="3406813"/>
                  <a:pt x="2079949" y="3426845"/>
                </a:cubicBezTo>
                <a:cubicBezTo>
                  <a:pt x="2087581" y="3455461"/>
                  <a:pt x="2072317" y="3484078"/>
                  <a:pt x="2043698" y="3491709"/>
                </a:cubicBezTo>
                <a:cubicBezTo>
                  <a:pt x="2043698" y="3491709"/>
                  <a:pt x="2043698" y="3491709"/>
                  <a:pt x="1700314" y="3592822"/>
                </a:cubicBezTo>
                <a:cubicBezTo>
                  <a:pt x="1671698" y="3600453"/>
                  <a:pt x="1643083" y="3585191"/>
                  <a:pt x="1635452" y="3556574"/>
                </a:cubicBezTo>
                <a:cubicBezTo>
                  <a:pt x="1633545" y="3552758"/>
                  <a:pt x="1633545" y="3547035"/>
                  <a:pt x="1633545" y="3541311"/>
                </a:cubicBezTo>
                <a:cubicBezTo>
                  <a:pt x="1633545" y="3518418"/>
                  <a:pt x="1648806" y="3497432"/>
                  <a:pt x="1671698" y="3491709"/>
                </a:cubicBezTo>
                <a:cubicBezTo>
                  <a:pt x="1671698" y="3491709"/>
                  <a:pt x="1671698" y="3491709"/>
                  <a:pt x="2015083" y="3392506"/>
                </a:cubicBezTo>
                <a:cubicBezTo>
                  <a:pt x="2021760" y="3390122"/>
                  <a:pt x="2028675" y="3389405"/>
                  <a:pt x="2035412" y="3390091"/>
                </a:cubicBezTo>
                <a:close/>
                <a:moveTo>
                  <a:pt x="3729541" y="3384855"/>
                </a:moveTo>
                <a:cubicBezTo>
                  <a:pt x="3751289" y="3388416"/>
                  <a:pt x="3769540" y="3404794"/>
                  <a:pt x="3773836" y="3427580"/>
                </a:cubicBezTo>
                <a:cubicBezTo>
                  <a:pt x="3781474" y="3456065"/>
                  <a:pt x="3762384" y="3486450"/>
                  <a:pt x="3733748" y="3494046"/>
                </a:cubicBezTo>
                <a:cubicBezTo>
                  <a:pt x="3733748" y="3494046"/>
                  <a:pt x="3733748" y="3494046"/>
                  <a:pt x="3388242" y="3575706"/>
                </a:cubicBezTo>
                <a:cubicBezTo>
                  <a:pt x="3357694" y="3581403"/>
                  <a:pt x="3327150" y="3564311"/>
                  <a:pt x="3321424" y="3533926"/>
                </a:cubicBezTo>
                <a:cubicBezTo>
                  <a:pt x="3319515" y="3528229"/>
                  <a:pt x="3319515" y="3524431"/>
                  <a:pt x="3319515" y="3520633"/>
                </a:cubicBezTo>
                <a:cubicBezTo>
                  <a:pt x="3319515" y="3495945"/>
                  <a:pt x="3336696" y="3473156"/>
                  <a:pt x="3361512" y="3465560"/>
                </a:cubicBezTo>
                <a:cubicBezTo>
                  <a:pt x="3361512" y="3465560"/>
                  <a:pt x="3361512" y="3465560"/>
                  <a:pt x="3707021" y="3385804"/>
                </a:cubicBezTo>
                <a:cubicBezTo>
                  <a:pt x="3714657" y="3383908"/>
                  <a:pt x="3722292" y="3383666"/>
                  <a:pt x="3729541" y="3384855"/>
                </a:cubicBezTo>
                <a:close/>
                <a:moveTo>
                  <a:pt x="2596040" y="3384850"/>
                </a:moveTo>
                <a:cubicBezTo>
                  <a:pt x="2617785" y="3388411"/>
                  <a:pt x="2636040" y="3404792"/>
                  <a:pt x="2640334" y="3427579"/>
                </a:cubicBezTo>
                <a:cubicBezTo>
                  <a:pt x="2647970" y="3456065"/>
                  <a:pt x="2628881" y="3486450"/>
                  <a:pt x="2598338" y="3494046"/>
                </a:cubicBezTo>
                <a:cubicBezTo>
                  <a:pt x="2598338" y="3494046"/>
                  <a:pt x="2598338" y="3494046"/>
                  <a:pt x="2254725" y="3575706"/>
                </a:cubicBezTo>
                <a:cubicBezTo>
                  <a:pt x="2224181" y="3581403"/>
                  <a:pt x="2193638" y="3564311"/>
                  <a:pt x="2187911" y="3533926"/>
                </a:cubicBezTo>
                <a:cubicBezTo>
                  <a:pt x="2186002" y="3528229"/>
                  <a:pt x="2186002" y="3524431"/>
                  <a:pt x="2186002" y="3520633"/>
                </a:cubicBezTo>
                <a:cubicBezTo>
                  <a:pt x="2186002" y="3495945"/>
                  <a:pt x="2203183" y="3473156"/>
                  <a:pt x="2227999" y="3465560"/>
                </a:cubicBezTo>
                <a:cubicBezTo>
                  <a:pt x="2227999" y="3465560"/>
                  <a:pt x="2227999" y="3465560"/>
                  <a:pt x="2573520" y="3385799"/>
                </a:cubicBezTo>
                <a:cubicBezTo>
                  <a:pt x="2581156" y="3383901"/>
                  <a:pt x="2588792" y="3383664"/>
                  <a:pt x="2596040" y="3384850"/>
                </a:cubicBezTo>
                <a:close/>
                <a:moveTo>
                  <a:pt x="3137316" y="3377575"/>
                </a:moveTo>
                <a:cubicBezTo>
                  <a:pt x="3169680" y="3371862"/>
                  <a:pt x="3200139" y="3392811"/>
                  <a:pt x="3205849" y="3425194"/>
                </a:cubicBezTo>
                <a:cubicBezTo>
                  <a:pt x="3211557" y="3457578"/>
                  <a:pt x="3190620" y="3488058"/>
                  <a:pt x="3158257" y="3493773"/>
                </a:cubicBezTo>
                <a:cubicBezTo>
                  <a:pt x="3158257" y="3493773"/>
                  <a:pt x="3158257" y="3493773"/>
                  <a:pt x="2813680" y="3556638"/>
                </a:cubicBezTo>
                <a:cubicBezTo>
                  <a:pt x="2781314" y="3562353"/>
                  <a:pt x="2750856" y="3541398"/>
                  <a:pt x="2745145" y="3509013"/>
                </a:cubicBezTo>
                <a:cubicBezTo>
                  <a:pt x="2743240" y="3505203"/>
                  <a:pt x="2743240" y="3501393"/>
                  <a:pt x="2743240" y="3497583"/>
                </a:cubicBezTo>
                <a:cubicBezTo>
                  <a:pt x="2743240" y="3470913"/>
                  <a:pt x="2764181" y="3446148"/>
                  <a:pt x="2792741" y="3440433"/>
                </a:cubicBezTo>
                <a:cubicBezTo>
                  <a:pt x="2792741" y="3440433"/>
                  <a:pt x="2792741" y="3440433"/>
                  <a:pt x="3137316" y="3377575"/>
                </a:cubicBezTo>
                <a:close/>
                <a:moveTo>
                  <a:pt x="9858814" y="3131368"/>
                </a:moveTo>
                <a:cubicBezTo>
                  <a:pt x="9863096" y="3131843"/>
                  <a:pt x="9867379" y="3133750"/>
                  <a:pt x="9870234" y="3136605"/>
                </a:cubicBezTo>
                <a:cubicBezTo>
                  <a:pt x="9875944" y="3144217"/>
                  <a:pt x="9875944" y="3153731"/>
                  <a:pt x="9868331" y="3159443"/>
                </a:cubicBezTo>
                <a:cubicBezTo>
                  <a:pt x="9868331" y="3159443"/>
                  <a:pt x="9868331" y="3159443"/>
                  <a:pt x="9539049" y="3458218"/>
                </a:cubicBezTo>
                <a:cubicBezTo>
                  <a:pt x="9531436" y="3463928"/>
                  <a:pt x="9521919" y="3463928"/>
                  <a:pt x="9516209" y="3456315"/>
                </a:cubicBezTo>
                <a:cubicBezTo>
                  <a:pt x="9512402" y="3452509"/>
                  <a:pt x="9512402" y="3448702"/>
                  <a:pt x="9512402" y="3444896"/>
                </a:cubicBezTo>
                <a:cubicBezTo>
                  <a:pt x="9512402" y="3441089"/>
                  <a:pt x="9514305" y="3437283"/>
                  <a:pt x="9516209" y="3433477"/>
                </a:cubicBezTo>
                <a:cubicBezTo>
                  <a:pt x="9516209" y="3433477"/>
                  <a:pt x="9516209" y="3433477"/>
                  <a:pt x="9847394" y="3134702"/>
                </a:cubicBezTo>
                <a:cubicBezTo>
                  <a:pt x="9850249" y="3131843"/>
                  <a:pt x="9854531" y="3130893"/>
                  <a:pt x="9858814" y="3131368"/>
                </a:cubicBezTo>
                <a:close/>
                <a:moveTo>
                  <a:pt x="9282539" y="3124787"/>
                </a:moveTo>
                <a:cubicBezTo>
                  <a:pt x="9287557" y="3125026"/>
                  <a:pt x="9292336" y="3127409"/>
                  <a:pt x="9295203" y="3132178"/>
                </a:cubicBezTo>
                <a:cubicBezTo>
                  <a:pt x="9302849" y="3139803"/>
                  <a:pt x="9302849" y="3153152"/>
                  <a:pt x="9293291" y="3160778"/>
                </a:cubicBezTo>
                <a:cubicBezTo>
                  <a:pt x="9293291" y="3160778"/>
                  <a:pt x="9293291" y="3160778"/>
                  <a:pt x="8960690" y="3437250"/>
                </a:cubicBezTo>
                <a:cubicBezTo>
                  <a:pt x="8953044" y="3444878"/>
                  <a:pt x="8939663" y="3444878"/>
                  <a:pt x="8932017" y="3435343"/>
                </a:cubicBezTo>
                <a:cubicBezTo>
                  <a:pt x="8930106" y="3431530"/>
                  <a:pt x="8928194" y="3427717"/>
                  <a:pt x="8928194" y="3421997"/>
                </a:cubicBezTo>
                <a:cubicBezTo>
                  <a:pt x="8928194" y="3416276"/>
                  <a:pt x="8930106" y="3410556"/>
                  <a:pt x="8935840" y="3406743"/>
                </a:cubicBezTo>
                <a:cubicBezTo>
                  <a:pt x="8935840" y="3406743"/>
                  <a:pt x="8935840" y="3406743"/>
                  <a:pt x="9268442" y="3130267"/>
                </a:cubicBezTo>
                <a:cubicBezTo>
                  <a:pt x="9272265" y="3126457"/>
                  <a:pt x="9277521" y="3124549"/>
                  <a:pt x="9282539" y="3124787"/>
                </a:cubicBezTo>
                <a:close/>
                <a:moveTo>
                  <a:pt x="10443256" y="3124763"/>
                </a:moveTo>
                <a:cubicBezTo>
                  <a:pt x="10448513" y="3125001"/>
                  <a:pt x="10453769" y="3127385"/>
                  <a:pt x="10457592" y="3132152"/>
                </a:cubicBezTo>
                <a:cubicBezTo>
                  <a:pt x="10463327" y="3139780"/>
                  <a:pt x="10463327" y="3153129"/>
                  <a:pt x="10453769" y="3160755"/>
                </a:cubicBezTo>
                <a:cubicBezTo>
                  <a:pt x="10453769" y="3160755"/>
                  <a:pt x="10453769" y="3160755"/>
                  <a:pt x="10121168" y="3437250"/>
                </a:cubicBezTo>
                <a:cubicBezTo>
                  <a:pt x="10113522" y="3444878"/>
                  <a:pt x="10100141" y="3444878"/>
                  <a:pt x="10094407" y="3435343"/>
                </a:cubicBezTo>
                <a:cubicBezTo>
                  <a:pt x="10090584" y="3431530"/>
                  <a:pt x="10088672" y="3427716"/>
                  <a:pt x="10088672" y="3421995"/>
                </a:cubicBezTo>
                <a:cubicBezTo>
                  <a:pt x="10088672" y="3416275"/>
                  <a:pt x="10090584" y="3410554"/>
                  <a:pt x="10096318" y="3406741"/>
                </a:cubicBezTo>
                <a:cubicBezTo>
                  <a:pt x="10096318" y="3406741"/>
                  <a:pt x="10096318" y="3406741"/>
                  <a:pt x="10428920" y="3130246"/>
                </a:cubicBezTo>
                <a:cubicBezTo>
                  <a:pt x="10432743" y="3126432"/>
                  <a:pt x="10438000" y="3124526"/>
                  <a:pt x="10443256" y="3124763"/>
                </a:cubicBezTo>
                <a:close/>
                <a:moveTo>
                  <a:pt x="8711378" y="3118284"/>
                </a:moveTo>
                <a:cubicBezTo>
                  <a:pt x="8717559" y="3118999"/>
                  <a:pt x="8723740" y="3122341"/>
                  <a:pt x="8728495" y="3128067"/>
                </a:cubicBezTo>
                <a:cubicBezTo>
                  <a:pt x="8736103" y="3137612"/>
                  <a:pt x="8734201" y="3152882"/>
                  <a:pt x="8722790" y="3160517"/>
                </a:cubicBezTo>
                <a:cubicBezTo>
                  <a:pt x="8722790" y="3160517"/>
                  <a:pt x="8722790" y="3160517"/>
                  <a:pt x="8391863" y="3418193"/>
                </a:cubicBezTo>
                <a:cubicBezTo>
                  <a:pt x="8380451" y="3425828"/>
                  <a:pt x="8365236" y="3423921"/>
                  <a:pt x="8357629" y="3414376"/>
                </a:cubicBezTo>
                <a:cubicBezTo>
                  <a:pt x="8353825" y="3410558"/>
                  <a:pt x="8351923" y="3404833"/>
                  <a:pt x="8351923" y="3399106"/>
                </a:cubicBezTo>
                <a:cubicBezTo>
                  <a:pt x="8351923" y="3393381"/>
                  <a:pt x="8355727" y="3385745"/>
                  <a:pt x="8361432" y="3380018"/>
                </a:cubicBezTo>
                <a:cubicBezTo>
                  <a:pt x="8361432" y="3380018"/>
                  <a:pt x="8361432" y="3380018"/>
                  <a:pt x="8694262" y="3124249"/>
                </a:cubicBezTo>
                <a:cubicBezTo>
                  <a:pt x="8699016" y="3119478"/>
                  <a:pt x="8705197" y="3117568"/>
                  <a:pt x="8711378" y="3118284"/>
                </a:cubicBezTo>
                <a:close/>
                <a:moveTo>
                  <a:pt x="11020985" y="3118259"/>
                </a:moveTo>
                <a:cubicBezTo>
                  <a:pt x="11026928" y="3118974"/>
                  <a:pt x="11032634" y="3122314"/>
                  <a:pt x="11036438" y="3128041"/>
                </a:cubicBezTo>
                <a:cubicBezTo>
                  <a:pt x="11045947" y="3137586"/>
                  <a:pt x="11044045" y="3152857"/>
                  <a:pt x="11032634" y="3160492"/>
                </a:cubicBezTo>
                <a:cubicBezTo>
                  <a:pt x="11032634" y="3160492"/>
                  <a:pt x="11032634" y="3160492"/>
                  <a:pt x="10699805" y="3418193"/>
                </a:cubicBezTo>
                <a:cubicBezTo>
                  <a:pt x="10690295" y="3425828"/>
                  <a:pt x="10675080" y="3423919"/>
                  <a:pt x="10667473" y="3414376"/>
                </a:cubicBezTo>
                <a:cubicBezTo>
                  <a:pt x="10663669" y="3410558"/>
                  <a:pt x="10661767" y="3404831"/>
                  <a:pt x="10661767" y="3399103"/>
                </a:cubicBezTo>
                <a:cubicBezTo>
                  <a:pt x="10661767" y="3393378"/>
                  <a:pt x="10665571" y="3385741"/>
                  <a:pt x="10671276" y="3380016"/>
                </a:cubicBezTo>
                <a:cubicBezTo>
                  <a:pt x="10671276" y="3380016"/>
                  <a:pt x="10671276" y="3380016"/>
                  <a:pt x="11004106" y="3124224"/>
                </a:cubicBezTo>
                <a:cubicBezTo>
                  <a:pt x="11008861" y="3119452"/>
                  <a:pt x="11015042" y="3117542"/>
                  <a:pt x="11020985" y="3118259"/>
                </a:cubicBezTo>
                <a:close/>
                <a:moveTo>
                  <a:pt x="8147892" y="3113506"/>
                </a:moveTo>
                <a:cubicBezTo>
                  <a:pt x="8154786" y="3114695"/>
                  <a:pt x="8161443" y="3118496"/>
                  <a:pt x="8166198" y="3125150"/>
                </a:cubicBezTo>
                <a:cubicBezTo>
                  <a:pt x="8175708" y="3136556"/>
                  <a:pt x="8171904" y="3153664"/>
                  <a:pt x="8160492" y="3163167"/>
                </a:cubicBezTo>
                <a:cubicBezTo>
                  <a:pt x="8160492" y="3163167"/>
                  <a:pt x="8160492" y="3163167"/>
                  <a:pt x="7825748" y="3398864"/>
                </a:cubicBezTo>
                <a:cubicBezTo>
                  <a:pt x="7814336" y="3408367"/>
                  <a:pt x="7797218" y="3404566"/>
                  <a:pt x="7787709" y="3393162"/>
                </a:cubicBezTo>
                <a:cubicBezTo>
                  <a:pt x="7783905" y="3387458"/>
                  <a:pt x="7782003" y="3381761"/>
                  <a:pt x="7782003" y="3376054"/>
                </a:cubicBezTo>
                <a:cubicBezTo>
                  <a:pt x="7782003" y="3368454"/>
                  <a:pt x="7787709" y="3358953"/>
                  <a:pt x="7795316" y="3353251"/>
                </a:cubicBezTo>
                <a:cubicBezTo>
                  <a:pt x="7795316" y="3353251"/>
                  <a:pt x="7795316" y="3353251"/>
                  <a:pt x="8128159" y="3117545"/>
                </a:cubicBezTo>
                <a:cubicBezTo>
                  <a:pt x="8133865" y="3113743"/>
                  <a:pt x="8140997" y="3112319"/>
                  <a:pt x="8147892" y="3113506"/>
                </a:cubicBezTo>
                <a:close/>
                <a:moveTo>
                  <a:pt x="11592870" y="3113497"/>
                </a:moveTo>
                <a:cubicBezTo>
                  <a:pt x="11600008" y="3114686"/>
                  <a:pt x="11606670" y="3118487"/>
                  <a:pt x="11611429" y="3125143"/>
                </a:cubicBezTo>
                <a:cubicBezTo>
                  <a:pt x="11619043" y="3136547"/>
                  <a:pt x="11617140" y="3153655"/>
                  <a:pt x="11603815" y="3163160"/>
                </a:cubicBezTo>
                <a:cubicBezTo>
                  <a:pt x="11603815" y="3163160"/>
                  <a:pt x="11603815" y="3163160"/>
                  <a:pt x="11270705" y="3398861"/>
                </a:cubicBezTo>
                <a:cubicBezTo>
                  <a:pt x="11257381" y="3408367"/>
                  <a:pt x="11240249" y="3404564"/>
                  <a:pt x="11232635" y="3393157"/>
                </a:cubicBezTo>
                <a:cubicBezTo>
                  <a:pt x="11228828" y="3387458"/>
                  <a:pt x="11226925" y="3381753"/>
                  <a:pt x="11226925" y="3376052"/>
                </a:cubicBezTo>
                <a:cubicBezTo>
                  <a:pt x="11226925" y="3368451"/>
                  <a:pt x="11230732" y="3358948"/>
                  <a:pt x="11238346" y="3353249"/>
                </a:cubicBezTo>
                <a:cubicBezTo>
                  <a:pt x="11238346" y="3353249"/>
                  <a:pt x="11238346" y="3353249"/>
                  <a:pt x="11571456" y="3117537"/>
                </a:cubicBezTo>
                <a:cubicBezTo>
                  <a:pt x="11578118" y="3113734"/>
                  <a:pt x="11585732" y="3112310"/>
                  <a:pt x="11592870" y="3113497"/>
                </a:cubicBezTo>
                <a:close/>
                <a:moveTo>
                  <a:pt x="12139750" y="3109931"/>
                </a:moveTo>
                <a:cubicBezTo>
                  <a:pt x="12139750" y="3109931"/>
                  <a:pt x="12139750" y="3109931"/>
                  <a:pt x="12139750" y="3184058"/>
                </a:cubicBezTo>
                <a:cubicBezTo>
                  <a:pt x="12139750" y="3184058"/>
                  <a:pt x="12139750" y="3184058"/>
                  <a:pt x="11835219" y="3379813"/>
                </a:cubicBezTo>
                <a:cubicBezTo>
                  <a:pt x="11819993" y="3389317"/>
                  <a:pt x="11800960" y="3385515"/>
                  <a:pt x="11791443" y="3370310"/>
                </a:cubicBezTo>
                <a:cubicBezTo>
                  <a:pt x="11787636" y="3364613"/>
                  <a:pt x="11785733" y="3358911"/>
                  <a:pt x="11785733" y="3353211"/>
                </a:cubicBezTo>
                <a:cubicBezTo>
                  <a:pt x="11785733" y="3343708"/>
                  <a:pt x="11791443" y="3334207"/>
                  <a:pt x="11800960" y="3326605"/>
                </a:cubicBezTo>
                <a:lnTo>
                  <a:pt x="12135943" y="3111832"/>
                </a:lnTo>
                <a:cubicBezTo>
                  <a:pt x="12137847" y="3111832"/>
                  <a:pt x="12137847" y="3109931"/>
                  <a:pt x="12139750" y="3109931"/>
                </a:cubicBezTo>
                <a:close/>
                <a:moveTo>
                  <a:pt x="7592396" y="3107000"/>
                </a:moveTo>
                <a:cubicBezTo>
                  <a:pt x="7600248" y="3108665"/>
                  <a:pt x="7607387" y="3113422"/>
                  <a:pt x="7612145" y="3121034"/>
                </a:cubicBezTo>
                <a:cubicBezTo>
                  <a:pt x="7621663" y="3136258"/>
                  <a:pt x="7617856" y="3155285"/>
                  <a:pt x="7602628" y="3164800"/>
                </a:cubicBezTo>
                <a:cubicBezTo>
                  <a:pt x="7602628" y="3164800"/>
                  <a:pt x="7602628" y="3164800"/>
                  <a:pt x="7267608" y="3379811"/>
                </a:cubicBezTo>
                <a:cubicBezTo>
                  <a:pt x="7252380" y="3389319"/>
                  <a:pt x="7233344" y="3385513"/>
                  <a:pt x="7223827" y="3370294"/>
                </a:cubicBezTo>
                <a:cubicBezTo>
                  <a:pt x="7221923" y="3364590"/>
                  <a:pt x="7220020" y="3358885"/>
                  <a:pt x="7220020" y="3353176"/>
                </a:cubicBezTo>
                <a:cubicBezTo>
                  <a:pt x="7220020" y="3343664"/>
                  <a:pt x="7223827" y="3334150"/>
                  <a:pt x="7233344" y="3326538"/>
                </a:cubicBezTo>
                <a:cubicBezTo>
                  <a:pt x="7233344" y="3326538"/>
                  <a:pt x="7233344" y="3326538"/>
                  <a:pt x="7568364" y="3111519"/>
                </a:cubicBezTo>
                <a:cubicBezTo>
                  <a:pt x="7575978" y="3106762"/>
                  <a:pt x="7584544" y="3105336"/>
                  <a:pt x="7592396" y="3107000"/>
                </a:cubicBezTo>
                <a:close/>
                <a:moveTo>
                  <a:pt x="7041870" y="3101853"/>
                </a:moveTo>
                <a:cubicBezTo>
                  <a:pt x="7050667" y="3104238"/>
                  <a:pt x="7058751" y="3109959"/>
                  <a:pt x="7064457" y="3118540"/>
                </a:cubicBezTo>
                <a:cubicBezTo>
                  <a:pt x="7073968" y="3133799"/>
                  <a:pt x="7068261" y="3156686"/>
                  <a:pt x="7051143" y="3166221"/>
                </a:cubicBezTo>
                <a:cubicBezTo>
                  <a:pt x="7051143" y="3166221"/>
                  <a:pt x="7051143" y="3166221"/>
                  <a:pt x="6714471" y="3360742"/>
                </a:cubicBezTo>
                <a:cubicBezTo>
                  <a:pt x="6697352" y="3370275"/>
                  <a:pt x="6676429" y="3364552"/>
                  <a:pt x="6666918" y="3347395"/>
                </a:cubicBezTo>
                <a:cubicBezTo>
                  <a:pt x="6663114" y="3343582"/>
                  <a:pt x="6661212" y="3335952"/>
                  <a:pt x="6661212" y="3330234"/>
                </a:cubicBezTo>
                <a:cubicBezTo>
                  <a:pt x="6661212" y="3318789"/>
                  <a:pt x="6668820" y="3307347"/>
                  <a:pt x="6680233" y="3299719"/>
                </a:cubicBezTo>
                <a:cubicBezTo>
                  <a:pt x="6680233" y="3299719"/>
                  <a:pt x="6680233" y="3299719"/>
                  <a:pt x="7015003" y="3105192"/>
                </a:cubicBezTo>
                <a:cubicBezTo>
                  <a:pt x="7023562" y="3100423"/>
                  <a:pt x="7033073" y="3099471"/>
                  <a:pt x="7041870" y="3101853"/>
                </a:cubicBezTo>
                <a:close/>
                <a:moveTo>
                  <a:pt x="6499097" y="3095115"/>
                </a:moveTo>
                <a:cubicBezTo>
                  <a:pt x="6508370" y="3098221"/>
                  <a:pt x="6516454" y="3104903"/>
                  <a:pt x="6521210" y="3114451"/>
                </a:cubicBezTo>
                <a:cubicBezTo>
                  <a:pt x="6532623" y="3133548"/>
                  <a:pt x="6525014" y="3158370"/>
                  <a:pt x="6505992" y="3167917"/>
                </a:cubicBezTo>
                <a:cubicBezTo>
                  <a:pt x="6505992" y="3167917"/>
                  <a:pt x="6505992" y="3167917"/>
                  <a:pt x="6167407" y="3341686"/>
                </a:cubicBezTo>
                <a:cubicBezTo>
                  <a:pt x="6148385" y="3351232"/>
                  <a:pt x="6125559" y="3345501"/>
                  <a:pt x="6116048" y="3326407"/>
                </a:cubicBezTo>
                <a:cubicBezTo>
                  <a:pt x="6112244" y="3320680"/>
                  <a:pt x="6110342" y="3313042"/>
                  <a:pt x="6110342" y="3307313"/>
                </a:cubicBezTo>
                <a:cubicBezTo>
                  <a:pt x="6110342" y="3293947"/>
                  <a:pt x="6117950" y="3280583"/>
                  <a:pt x="6131266" y="3272944"/>
                </a:cubicBezTo>
                <a:cubicBezTo>
                  <a:pt x="6131266" y="3272944"/>
                  <a:pt x="6131266" y="3272944"/>
                  <a:pt x="6469851" y="3097266"/>
                </a:cubicBezTo>
                <a:cubicBezTo>
                  <a:pt x="6479362" y="3092490"/>
                  <a:pt x="6489824" y="3092013"/>
                  <a:pt x="6499097" y="3095115"/>
                </a:cubicBezTo>
                <a:close/>
                <a:moveTo>
                  <a:pt x="5958954" y="3091506"/>
                </a:moveTo>
                <a:cubicBezTo>
                  <a:pt x="5969462" y="3095305"/>
                  <a:pt x="5978538" y="3102907"/>
                  <a:pt x="5983314" y="3113357"/>
                </a:cubicBezTo>
                <a:cubicBezTo>
                  <a:pt x="5992867" y="3134260"/>
                  <a:pt x="5983314" y="3160862"/>
                  <a:pt x="5962297" y="3170362"/>
                </a:cubicBezTo>
                <a:cubicBezTo>
                  <a:pt x="5962297" y="3170362"/>
                  <a:pt x="5962297" y="3170362"/>
                  <a:pt x="5620299" y="3324270"/>
                </a:cubicBezTo>
                <a:cubicBezTo>
                  <a:pt x="5599283" y="3333770"/>
                  <a:pt x="5574446" y="3324270"/>
                  <a:pt x="5564892" y="3301471"/>
                </a:cubicBezTo>
                <a:cubicBezTo>
                  <a:pt x="5562981" y="3295771"/>
                  <a:pt x="5561071" y="3290071"/>
                  <a:pt x="5561071" y="3284371"/>
                </a:cubicBezTo>
                <a:cubicBezTo>
                  <a:pt x="5561071" y="3269170"/>
                  <a:pt x="5570624" y="3252068"/>
                  <a:pt x="5585909" y="3246366"/>
                </a:cubicBezTo>
                <a:cubicBezTo>
                  <a:pt x="5585909" y="3246366"/>
                  <a:pt x="5585909" y="3246366"/>
                  <a:pt x="5925996" y="3092457"/>
                </a:cubicBezTo>
                <a:cubicBezTo>
                  <a:pt x="5936505" y="3087707"/>
                  <a:pt x="5948446" y="3087707"/>
                  <a:pt x="5958954" y="3091506"/>
                </a:cubicBezTo>
                <a:close/>
                <a:moveTo>
                  <a:pt x="399603" y="3091494"/>
                </a:moveTo>
                <a:cubicBezTo>
                  <a:pt x="410073" y="3095293"/>
                  <a:pt x="419115" y="3102895"/>
                  <a:pt x="423874" y="3113346"/>
                </a:cubicBezTo>
                <a:cubicBezTo>
                  <a:pt x="433392" y="3134248"/>
                  <a:pt x="423874" y="3160850"/>
                  <a:pt x="401031" y="3170351"/>
                </a:cubicBezTo>
                <a:cubicBezTo>
                  <a:pt x="401031" y="3170351"/>
                  <a:pt x="401031" y="3170351"/>
                  <a:pt x="62187" y="3324262"/>
                </a:cubicBezTo>
                <a:cubicBezTo>
                  <a:pt x="41247" y="3333763"/>
                  <a:pt x="16500" y="3324262"/>
                  <a:pt x="6982" y="3301463"/>
                </a:cubicBezTo>
                <a:cubicBezTo>
                  <a:pt x="3175" y="3295761"/>
                  <a:pt x="3175" y="3290060"/>
                  <a:pt x="3175" y="3284360"/>
                </a:cubicBezTo>
                <a:cubicBezTo>
                  <a:pt x="3175" y="3269158"/>
                  <a:pt x="12693" y="3252058"/>
                  <a:pt x="27922" y="3246356"/>
                </a:cubicBezTo>
                <a:cubicBezTo>
                  <a:pt x="27922" y="3246356"/>
                  <a:pt x="27922" y="3246356"/>
                  <a:pt x="366766" y="3092445"/>
                </a:cubicBezTo>
                <a:cubicBezTo>
                  <a:pt x="377235" y="3087693"/>
                  <a:pt x="389133" y="3087693"/>
                  <a:pt x="399603" y="3091494"/>
                </a:cubicBezTo>
                <a:close/>
                <a:moveTo>
                  <a:pt x="5376340" y="3084226"/>
                </a:moveTo>
                <a:cubicBezTo>
                  <a:pt x="5401086" y="3076607"/>
                  <a:pt x="5427737" y="3088035"/>
                  <a:pt x="5437255" y="3110894"/>
                </a:cubicBezTo>
                <a:cubicBezTo>
                  <a:pt x="5446773" y="3135660"/>
                  <a:pt x="5435351" y="3162329"/>
                  <a:pt x="5410604" y="3171854"/>
                </a:cubicBezTo>
                <a:cubicBezTo>
                  <a:pt x="5410604" y="3171854"/>
                  <a:pt x="5410604" y="3171854"/>
                  <a:pt x="5069849" y="3305199"/>
                </a:cubicBezTo>
                <a:cubicBezTo>
                  <a:pt x="5047007" y="3314722"/>
                  <a:pt x="5020359" y="3301389"/>
                  <a:pt x="5010842" y="3278532"/>
                </a:cubicBezTo>
                <a:cubicBezTo>
                  <a:pt x="5008938" y="3272817"/>
                  <a:pt x="5007035" y="3267100"/>
                  <a:pt x="5007035" y="3261388"/>
                </a:cubicBezTo>
                <a:cubicBezTo>
                  <a:pt x="5007035" y="3242335"/>
                  <a:pt x="5018456" y="3225192"/>
                  <a:pt x="5037491" y="3217574"/>
                </a:cubicBezTo>
                <a:cubicBezTo>
                  <a:pt x="5037491" y="3217574"/>
                  <a:pt x="5037491" y="3217574"/>
                  <a:pt x="5376340" y="3084226"/>
                </a:cubicBezTo>
                <a:close/>
                <a:moveTo>
                  <a:pt x="910964" y="3084210"/>
                </a:moveTo>
                <a:cubicBezTo>
                  <a:pt x="933807" y="3076591"/>
                  <a:pt x="960458" y="3088021"/>
                  <a:pt x="969977" y="3110879"/>
                </a:cubicBezTo>
                <a:cubicBezTo>
                  <a:pt x="979495" y="3135646"/>
                  <a:pt x="968073" y="3162315"/>
                  <a:pt x="945229" y="3171840"/>
                </a:cubicBezTo>
                <a:cubicBezTo>
                  <a:pt x="945229" y="3171840"/>
                  <a:pt x="945229" y="3171840"/>
                  <a:pt x="604476" y="3305187"/>
                </a:cubicBezTo>
                <a:cubicBezTo>
                  <a:pt x="579728" y="3314712"/>
                  <a:pt x="553077" y="3301377"/>
                  <a:pt x="543559" y="3278518"/>
                </a:cubicBezTo>
                <a:cubicBezTo>
                  <a:pt x="541655" y="3272803"/>
                  <a:pt x="539752" y="3267088"/>
                  <a:pt x="539752" y="3261374"/>
                </a:cubicBezTo>
                <a:cubicBezTo>
                  <a:pt x="539752" y="3242322"/>
                  <a:pt x="551174" y="3225178"/>
                  <a:pt x="570210" y="3217559"/>
                </a:cubicBezTo>
                <a:cubicBezTo>
                  <a:pt x="570210" y="3217559"/>
                  <a:pt x="570210" y="3217559"/>
                  <a:pt x="910964" y="3084210"/>
                </a:cubicBezTo>
                <a:close/>
                <a:moveTo>
                  <a:pt x="4845142" y="3075495"/>
                </a:moveTo>
                <a:cubicBezTo>
                  <a:pt x="4864343" y="3077015"/>
                  <a:pt x="4881136" y="3090605"/>
                  <a:pt x="4888280" y="3110635"/>
                </a:cubicBezTo>
                <a:cubicBezTo>
                  <a:pt x="4895899" y="3137344"/>
                  <a:pt x="4882564" y="3165956"/>
                  <a:pt x="4855887" y="3173587"/>
                </a:cubicBezTo>
                <a:cubicBezTo>
                  <a:pt x="4855887" y="3173587"/>
                  <a:pt x="4855887" y="3173587"/>
                  <a:pt x="4514895" y="3286137"/>
                </a:cubicBezTo>
                <a:cubicBezTo>
                  <a:pt x="4488224" y="3295674"/>
                  <a:pt x="4459649" y="3280415"/>
                  <a:pt x="4450123" y="3253707"/>
                </a:cubicBezTo>
                <a:cubicBezTo>
                  <a:pt x="4448218" y="3249892"/>
                  <a:pt x="4448218" y="3244167"/>
                  <a:pt x="4448218" y="3238443"/>
                </a:cubicBezTo>
                <a:cubicBezTo>
                  <a:pt x="4448218" y="3217462"/>
                  <a:pt x="4461553" y="3198385"/>
                  <a:pt x="4482509" y="3190757"/>
                </a:cubicBezTo>
                <a:cubicBezTo>
                  <a:pt x="4482509" y="3190757"/>
                  <a:pt x="4482509" y="3190757"/>
                  <a:pt x="4825402" y="3078206"/>
                </a:cubicBezTo>
                <a:cubicBezTo>
                  <a:pt x="4832070" y="3075822"/>
                  <a:pt x="4838739" y="3074988"/>
                  <a:pt x="4845142" y="3075495"/>
                </a:cubicBezTo>
                <a:close/>
                <a:moveTo>
                  <a:pt x="1479596" y="3075477"/>
                </a:moveTo>
                <a:cubicBezTo>
                  <a:pt x="1499228" y="3076996"/>
                  <a:pt x="1516718" y="3090589"/>
                  <a:pt x="1522429" y="3110619"/>
                </a:cubicBezTo>
                <a:cubicBezTo>
                  <a:pt x="1531947" y="3137326"/>
                  <a:pt x="1516718" y="3165940"/>
                  <a:pt x="1491970" y="3173573"/>
                </a:cubicBezTo>
                <a:cubicBezTo>
                  <a:pt x="1491970" y="3173573"/>
                  <a:pt x="1491970" y="3173573"/>
                  <a:pt x="1149308" y="3286122"/>
                </a:cubicBezTo>
                <a:cubicBezTo>
                  <a:pt x="1122656" y="3295661"/>
                  <a:pt x="1094101" y="3280401"/>
                  <a:pt x="1086486" y="3253693"/>
                </a:cubicBezTo>
                <a:cubicBezTo>
                  <a:pt x="1084582" y="3249877"/>
                  <a:pt x="1082679" y="3244153"/>
                  <a:pt x="1082679" y="3238431"/>
                </a:cubicBezTo>
                <a:cubicBezTo>
                  <a:pt x="1082679" y="3217446"/>
                  <a:pt x="1097908" y="3198371"/>
                  <a:pt x="1118849" y="3190741"/>
                </a:cubicBezTo>
                <a:cubicBezTo>
                  <a:pt x="1118849" y="3190741"/>
                  <a:pt x="1118849" y="3190741"/>
                  <a:pt x="1459607" y="3078189"/>
                </a:cubicBezTo>
                <a:cubicBezTo>
                  <a:pt x="1466270" y="3075805"/>
                  <a:pt x="1473052" y="3074970"/>
                  <a:pt x="1479596" y="3075477"/>
                </a:cubicBezTo>
                <a:close/>
                <a:moveTo>
                  <a:pt x="4290284" y="3070235"/>
                </a:moveTo>
                <a:cubicBezTo>
                  <a:pt x="4310719" y="3073178"/>
                  <a:pt x="4328210" y="3088158"/>
                  <a:pt x="4333922" y="3109556"/>
                </a:cubicBezTo>
                <a:cubicBezTo>
                  <a:pt x="4343439" y="3139992"/>
                  <a:pt x="4326306" y="3168522"/>
                  <a:pt x="4295845" y="3176127"/>
                </a:cubicBezTo>
                <a:cubicBezTo>
                  <a:pt x="4295845" y="3176127"/>
                  <a:pt x="4295845" y="3176127"/>
                  <a:pt x="3953197" y="3267431"/>
                </a:cubicBezTo>
                <a:cubicBezTo>
                  <a:pt x="3924642" y="3275041"/>
                  <a:pt x="3894183" y="3257921"/>
                  <a:pt x="3886567" y="3229387"/>
                </a:cubicBezTo>
                <a:cubicBezTo>
                  <a:pt x="3886567" y="3225583"/>
                  <a:pt x="3884664" y="3219877"/>
                  <a:pt x="3884664" y="3216076"/>
                </a:cubicBezTo>
                <a:cubicBezTo>
                  <a:pt x="3884664" y="3191346"/>
                  <a:pt x="3901798" y="3170425"/>
                  <a:pt x="3924642" y="3164719"/>
                </a:cubicBezTo>
                <a:cubicBezTo>
                  <a:pt x="3924642" y="3164719"/>
                  <a:pt x="3924642" y="3164719"/>
                  <a:pt x="4269194" y="3071515"/>
                </a:cubicBezTo>
                <a:cubicBezTo>
                  <a:pt x="4276332" y="3069612"/>
                  <a:pt x="4283472" y="3069256"/>
                  <a:pt x="4290284" y="3070235"/>
                </a:cubicBezTo>
                <a:close/>
                <a:moveTo>
                  <a:pt x="2036269" y="3070217"/>
                </a:moveTo>
                <a:cubicBezTo>
                  <a:pt x="2057258" y="3073159"/>
                  <a:pt x="2075832" y="3088139"/>
                  <a:pt x="2081548" y="3109537"/>
                </a:cubicBezTo>
                <a:cubicBezTo>
                  <a:pt x="2089168" y="3139971"/>
                  <a:pt x="2072023" y="3168504"/>
                  <a:pt x="2043443" y="3176111"/>
                </a:cubicBezTo>
                <a:cubicBezTo>
                  <a:pt x="2043443" y="3176111"/>
                  <a:pt x="2043443" y="3176111"/>
                  <a:pt x="1700538" y="3267414"/>
                </a:cubicBezTo>
                <a:cubicBezTo>
                  <a:pt x="1670058" y="3275023"/>
                  <a:pt x="1641482" y="3257903"/>
                  <a:pt x="1633862" y="3229371"/>
                </a:cubicBezTo>
                <a:cubicBezTo>
                  <a:pt x="1631957" y="3225567"/>
                  <a:pt x="1631957" y="3219860"/>
                  <a:pt x="1631957" y="3216056"/>
                </a:cubicBezTo>
                <a:cubicBezTo>
                  <a:pt x="1631957" y="3191330"/>
                  <a:pt x="1647198" y="3170406"/>
                  <a:pt x="1671963" y="3164700"/>
                </a:cubicBezTo>
                <a:cubicBezTo>
                  <a:pt x="1671963" y="3164700"/>
                  <a:pt x="1671963" y="3164700"/>
                  <a:pt x="2014867" y="3071495"/>
                </a:cubicBezTo>
                <a:cubicBezTo>
                  <a:pt x="2022011" y="3069593"/>
                  <a:pt x="2029274" y="3069235"/>
                  <a:pt x="2036269" y="3070217"/>
                </a:cubicBezTo>
                <a:close/>
                <a:moveTo>
                  <a:pt x="3731231" y="3064531"/>
                </a:moveTo>
                <a:cubicBezTo>
                  <a:pt x="3753036" y="3068647"/>
                  <a:pt x="3771624" y="3086176"/>
                  <a:pt x="3777343" y="3109072"/>
                </a:cubicBezTo>
                <a:cubicBezTo>
                  <a:pt x="3783062" y="3141509"/>
                  <a:pt x="3762092" y="3172037"/>
                  <a:pt x="3731589" y="3177762"/>
                </a:cubicBezTo>
                <a:cubicBezTo>
                  <a:pt x="3731589" y="3177762"/>
                  <a:pt x="3731589" y="3177762"/>
                  <a:pt x="3386557" y="3250263"/>
                </a:cubicBezTo>
                <a:cubicBezTo>
                  <a:pt x="3356055" y="3255990"/>
                  <a:pt x="3325554" y="3234997"/>
                  <a:pt x="3317928" y="3204472"/>
                </a:cubicBezTo>
                <a:cubicBezTo>
                  <a:pt x="3317928" y="3200656"/>
                  <a:pt x="3317928" y="3196839"/>
                  <a:pt x="3317928" y="3193023"/>
                </a:cubicBezTo>
                <a:cubicBezTo>
                  <a:pt x="3317928" y="3166312"/>
                  <a:pt x="3335085" y="3141509"/>
                  <a:pt x="3363681" y="3135786"/>
                </a:cubicBezTo>
                <a:cubicBezTo>
                  <a:pt x="3363681" y="3135786"/>
                  <a:pt x="3363681" y="3135786"/>
                  <a:pt x="3708711" y="3065187"/>
                </a:cubicBezTo>
                <a:cubicBezTo>
                  <a:pt x="3716336" y="3063280"/>
                  <a:pt x="3723963" y="3063162"/>
                  <a:pt x="3731231" y="3064531"/>
                </a:cubicBezTo>
                <a:close/>
                <a:moveTo>
                  <a:pt x="2597728" y="3064510"/>
                </a:moveTo>
                <a:cubicBezTo>
                  <a:pt x="2619532" y="3068625"/>
                  <a:pt x="2638119" y="3086155"/>
                  <a:pt x="2643838" y="3109051"/>
                </a:cubicBezTo>
                <a:cubicBezTo>
                  <a:pt x="2649557" y="3141488"/>
                  <a:pt x="2628587" y="3172016"/>
                  <a:pt x="2598086" y="3177742"/>
                </a:cubicBezTo>
                <a:cubicBezTo>
                  <a:pt x="2598086" y="3177742"/>
                  <a:pt x="2598086" y="3177742"/>
                  <a:pt x="2253042" y="3250246"/>
                </a:cubicBezTo>
                <a:cubicBezTo>
                  <a:pt x="2222541" y="3255971"/>
                  <a:pt x="2192040" y="3234980"/>
                  <a:pt x="2184414" y="3204454"/>
                </a:cubicBezTo>
                <a:cubicBezTo>
                  <a:pt x="2184414" y="3200638"/>
                  <a:pt x="2184414" y="3196822"/>
                  <a:pt x="2184414" y="3193005"/>
                </a:cubicBezTo>
                <a:cubicBezTo>
                  <a:pt x="2184414" y="3166294"/>
                  <a:pt x="2201571" y="3141488"/>
                  <a:pt x="2230166" y="3135765"/>
                </a:cubicBezTo>
                <a:cubicBezTo>
                  <a:pt x="2230166" y="3135765"/>
                  <a:pt x="2230166" y="3135765"/>
                  <a:pt x="2575210" y="3065166"/>
                </a:cubicBezTo>
                <a:cubicBezTo>
                  <a:pt x="2582837" y="3063257"/>
                  <a:pt x="2590461" y="3063137"/>
                  <a:pt x="2597728" y="3064510"/>
                </a:cubicBezTo>
                <a:close/>
                <a:moveTo>
                  <a:pt x="3139002" y="3058190"/>
                </a:moveTo>
                <a:cubicBezTo>
                  <a:pt x="3173224" y="3054380"/>
                  <a:pt x="3203641" y="3077240"/>
                  <a:pt x="3209344" y="3111529"/>
                </a:cubicBezTo>
                <a:cubicBezTo>
                  <a:pt x="3213145" y="3143914"/>
                  <a:pt x="3190332" y="3176299"/>
                  <a:pt x="3156112" y="3180110"/>
                </a:cubicBezTo>
                <a:cubicBezTo>
                  <a:pt x="3156112" y="3180110"/>
                  <a:pt x="3156112" y="3180110"/>
                  <a:pt x="2811996" y="3231537"/>
                </a:cubicBezTo>
                <a:cubicBezTo>
                  <a:pt x="2777776" y="3235349"/>
                  <a:pt x="2747356" y="3212495"/>
                  <a:pt x="2741653" y="3180110"/>
                </a:cubicBezTo>
                <a:cubicBezTo>
                  <a:pt x="2741653" y="3176299"/>
                  <a:pt x="2741653" y="3172487"/>
                  <a:pt x="2741653" y="3170583"/>
                </a:cubicBezTo>
                <a:cubicBezTo>
                  <a:pt x="2741653" y="3140106"/>
                  <a:pt x="2762567" y="3113436"/>
                  <a:pt x="2792985" y="3109626"/>
                </a:cubicBezTo>
                <a:cubicBezTo>
                  <a:pt x="2792985" y="3109626"/>
                  <a:pt x="2792985" y="3109626"/>
                  <a:pt x="3139002" y="3058190"/>
                </a:cubicBezTo>
                <a:close/>
                <a:moveTo>
                  <a:pt x="9858217" y="2803158"/>
                </a:moveTo>
                <a:cubicBezTo>
                  <a:pt x="9861796" y="2803398"/>
                  <a:pt x="9865135" y="2804823"/>
                  <a:pt x="9867044" y="2807683"/>
                </a:cubicBezTo>
                <a:cubicBezTo>
                  <a:pt x="9872769" y="2811493"/>
                  <a:pt x="9872769" y="2821017"/>
                  <a:pt x="9867044" y="2826731"/>
                </a:cubicBezTo>
                <a:cubicBezTo>
                  <a:pt x="9867044" y="2826731"/>
                  <a:pt x="9867044" y="2826731"/>
                  <a:pt x="9536890" y="3139152"/>
                </a:cubicBezTo>
                <a:cubicBezTo>
                  <a:pt x="9533073" y="3144866"/>
                  <a:pt x="9523531" y="3144866"/>
                  <a:pt x="9517806" y="3139152"/>
                </a:cubicBezTo>
                <a:cubicBezTo>
                  <a:pt x="9515897" y="3137247"/>
                  <a:pt x="9513989" y="3133436"/>
                  <a:pt x="9513989" y="3129628"/>
                </a:cubicBezTo>
                <a:cubicBezTo>
                  <a:pt x="9513989" y="3125817"/>
                  <a:pt x="9515897" y="3122007"/>
                  <a:pt x="9519714" y="3120101"/>
                </a:cubicBezTo>
                <a:cubicBezTo>
                  <a:pt x="9519714" y="3120101"/>
                  <a:pt x="9519714" y="3120101"/>
                  <a:pt x="9847960" y="2805777"/>
                </a:cubicBezTo>
                <a:cubicBezTo>
                  <a:pt x="9850823" y="2803873"/>
                  <a:pt x="9854639" y="2802920"/>
                  <a:pt x="9858217" y="2803158"/>
                </a:cubicBezTo>
                <a:close/>
                <a:moveTo>
                  <a:pt x="9280452" y="2798866"/>
                </a:moveTo>
                <a:cubicBezTo>
                  <a:pt x="9284961" y="2799103"/>
                  <a:pt x="9289232" y="2801005"/>
                  <a:pt x="9292080" y="2804804"/>
                </a:cubicBezTo>
                <a:cubicBezTo>
                  <a:pt x="9299674" y="2812401"/>
                  <a:pt x="9297776" y="2823797"/>
                  <a:pt x="9290182" y="2829495"/>
                </a:cubicBezTo>
                <a:cubicBezTo>
                  <a:pt x="9290182" y="2829495"/>
                  <a:pt x="9290182" y="2829495"/>
                  <a:pt x="8961745" y="3118217"/>
                </a:cubicBezTo>
                <a:cubicBezTo>
                  <a:pt x="8954151" y="3125817"/>
                  <a:pt x="8942760" y="3123917"/>
                  <a:pt x="8937064" y="3116319"/>
                </a:cubicBezTo>
                <a:cubicBezTo>
                  <a:pt x="8933267" y="3114420"/>
                  <a:pt x="8931369" y="3110621"/>
                  <a:pt x="8931369" y="3104922"/>
                </a:cubicBezTo>
                <a:cubicBezTo>
                  <a:pt x="8931369" y="3101123"/>
                  <a:pt x="8933267" y="3095423"/>
                  <a:pt x="8937064" y="3091625"/>
                </a:cubicBezTo>
                <a:cubicBezTo>
                  <a:pt x="8937064" y="3091625"/>
                  <a:pt x="8937064" y="3091625"/>
                  <a:pt x="9267400" y="2802904"/>
                </a:cubicBezTo>
                <a:cubicBezTo>
                  <a:pt x="9271197" y="2800052"/>
                  <a:pt x="9275943" y="2798628"/>
                  <a:pt x="9280452" y="2798866"/>
                </a:cubicBezTo>
                <a:close/>
                <a:moveTo>
                  <a:pt x="10442418" y="2798842"/>
                </a:moveTo>
                <a:cubicBezTo>
                  <a:pt x="10446950" y="2799079"/>
                  <a:pt x="10451243" y="2800979"/>
                  <a:pt x="10454106" y="2804777"/>
                </a:cubicBezTo>
                <a:cubicBezTo>
                  <a:pt x="10461739" y="2812377"/>
                  <a:pt x="10459831" y="2823773"/>
                  <a:pt x="10454106" y="2829471"/>
                </a:cubicBezTo>
                <a:cubicBezTo>
                  <a:pt x="10454106" y="2829471"/>
                  <a:pt x="10454106" y="2829471"/>
                  <a:pt x="10122059" y="3118194"/>
                </a:cubicBezTo>
                <a:cubicBezTo>
                  <a:pt x="10114425" y="3125793"/>
                  <a:pt x="10102976" y="3123893"/>
                  <a:pt x="10097251" y="3116295"/>
                </a:cubicBezTo>
                <a:cubicBezTo>
                  <a:pt x="10093434" y="3114396"/>
                  <a:pt x="10093434" y="3110597"/>
                  <a:pt x="10093434" y="3104898"/>
                </a:cubicBezTo>
                <a:cubicBezTo>
                  <a:pt x="10093434" y="3101099"/>
                  <a:pt x="10095342" y="3095400"/>
                  <a:pt x="10099159" y="3091603"/>
                </a:cubicBezTo>
                <a:cubicBezTo>
                  <a:pt x="10099159" y="3091603"/>
                  <a:pt x="10099159" y="3091603"/>
                  <a:pt x="10429298" y="2802878"/>
                </a:cubicBezTo>
                <a:cubicBezTo>
                  <a:pt x="10433114" y="2800029"/>
                  <a:pt x="10437885" y="2798605"/>
                  <a:pt x="10442418" y="2798842"/>
                </a:cubicBezTo>
                <a:close/>
                <a:moveTo>
                  <a:pt x="8710745" y="2792356"/>
                </a:moveTo>
                <a:cubicBezTo>
                  <a:pt x="8716231" y="2793069"/>
                  <a:pt x="8721479" y="2795921"/>
                  <a:pt x="8725295" y="2800675"/>
                </a:cubicBezTo>
                <a:cubicBezTo>
                  <a:pt x="8732928" y="2810181"/>
                  <a:pt x="8732928" y="2823488"/>
                  <a:pt x="8723387" y="2831093"/>
                </a:cubicBezTo>
                <a:cubicBezTo>
                  <a:pt x="8723387" y="2831093"/>
                  <a:pt x="8723387" y="2831093"/>
                  <a:pt x="8389446" y="3099164"/>
                </a:cubicBezTo>
                <a:cubicBezTo>
                  <a:pt x="8379905" y="3106766"/>
                  <a:pt x="8366547" y="3104865"/>
                  <a:pt x="8358914" y="3095358"/>
                </a:cubicBezTo>
                <a:cubicBezTo>
                  <a:pt x="8355098" y="3091559"/>
                  <a:pt x="8355098" y="3085855"/>
                  <a:pt x="8355098" y="3082053"/>
                </a:cubicBezTo>
                <a:cubicBezTo>
                  <a:pt x="8355098" y="3074447"/>
                  <a:pt x="8357006" y="3068744"/>
                  <a:pt x="8362731" y="3064941"/>
                </a:cubicBezTo>
                <a:cubicBezTo>
                  <a:pt x="8362731" y="3064941"/>
                  <a:pt x="8362731" y="3064941"/>
                  <a:pt x="8694763" y="2796872"/>
                </a:cubicBezTo>
                <a:cubicBezTo>
                  <a:pt x="8699534" y="2793069"/>
                  <a:pt x="8705258" y="2791642"/>
                  <a:pt x="8710745" y="2792356"/>
                </a:cubicBezTo>
                <a:close/>
                <a:moveTo>
                  <a:pt x="11020609" y="2792330"/>
                </a:moveTo>
                <a:cubicBezTo>
                  <a:pt x="11026090" y="2793043"/>
                  <a:pt x="11031333" y="2795895"/>
                  <a:pt x="11035146" y="2800648"/>
                </a:cubicBezTo>
                <a:cubicBezTo>
                  <a:pt x="11042773" y="2810154"/>
                  <a:pt x="11040866" y="2823462"/>
                  <a:pt x="11031333" y="2831067"/>
                </a:cubicBezTo>
                <a:cubicBezTo>
                  <a:pt x="11031333" y="2831067"/>
                  <a:pt x="11031333" y="2831067"/>
                  <a:pt x="10699581" y="3099136"/>
                </a:cubicBezTo>
                <a:cubicBezTo>
                  <a:pt x="10690048" y="3106741"/>
                  <a:pt x="10676701" y="3104840"/>
                  <a:pt x="10669075" y="3095334"/>
                </a:cubicBezTo>
                <a:cubicBezTo>
                  <a:pt x="10665262" y="3091531"/>
                  <a:pt x="10663355" y="3085827"/>
                  <a:pt x="10663355" y="3082025"/>
                </a:cubicBezTo>
                <a:cubicBezTo>
                  <a:pt x="10663355" y="3074421"/>
                  <a:pt x="10667168" y="3068717"/>
                  <a:pt x="10672888" y="3064914"/>
                </a:cubicBezTo>
                <a:cubicBezTo>
                  <a:pt x="10672888" y="3064914"/>
                  <a:pt x="10672888" y="3064914"/>
                  <a:pt x="11004641" y="2796846"/>
                </a:cubicBezTo>
                <a:cubicBezTo>
                  <a:pt x="11009408" y="2793043"/>
                  <a:pt x="11015127" y="2791618"/>
                  <a:pt x="11020609" y="2792330"/>
                </a:cubicBezTo>
                <a:close/>
                <a:moveTo>
                  <a:pt x="8147926" y="2787441"/>
                </a:moveTo>
                <a:cubicBezTo>
                  <a:pt x="8154593" y="2788630"/>
                  <a:pt x="8160785" y="2792440"/>
                  <a:pt x="8164595" y="2798157"/>
                </a:cubicBezTo>
                <a:cubicBezTo>
                  <a:pt x="8174120" y="2809588"/>
                  <a:pt x="8170310" y="2824828"/>
                  <a:pt x="8158880" y="2834352"/>
                </a:cubicBezTo>
                <a:cubicBezTo>
                  <a:pt x="8158880" y="2834352"/>
                  <a:pt x="8158880" y="2834352"/>
                  <a:pt x="7825500" y="3078192"/>
                </a:cubicBezTo>
                <a:cubicBezTo>
                  <a:pt x="7814070" y="3087718"/>
                  <a:pt x="7796925" y="3083908"/>
                  <a:pt x="7789305" y="3072478"/>
                </a:cubicBezTo>
                <a:cubicBezTo>
                  <a:pt x="7785495" y="3068667"/>
                  <a:pt x="7783590" y="3062951"/>
                  <a:pt x="7783590" y="3057236"/>
                </a:cubicBezTo>
                <a:cubicBezTo>
                  <a:pt x="7783590" y="3049615"/>
                  <a:pt x="7787400" y="3042001"/>
                  <a:pt x="7795020" y="3036282"/>
                </a:cubicBezTo>
                <a:cubicBezTo>
                  <a:pt x="7795020" y="3036282"/>
                  <a:pt x="7795020" y="3036282"/>
                  <a:pt x="8128399" y="2792440"/>
                </a:cubicBezTo>
                <a:cubicBezTo>
                  <a:pt x="8134114" y="2787678"/>
                  <a:pt x="8141258" y="2786250"/>
                  <a:pt x="8147926" y="2787441"/>
                </a:cubicBezTo>
                <a:close/>
                <a:moveTo>
                  <a:pt x="11592432" y="2787434"/>
                </a:moveTo>
                <a:cubicBezTo>
                  <a:pt x="11598867" y="2788622"/>
                  <a:pt x="11605063" y="2792433"/>
                  <a:pt x="11609830" y="2798149"/>
                </a:cubicBezTo>
                <a:cubicBezTo>
                  <a:pt x="11617456" y="2809579"/>
                  <a:pt x="11615549" y="2824818"/>
                  <a:pt x="11604110" y="2834343"/>
                </a:cubicBezTo>
                <a:cubicBezTo>
                  <a:pt x="11604110" y="2834343"/>
                  <a:pt x="11604110" y="2834343"/>
                  <a:pt x="11270458" y="3078185"/>
                </a:cubicBezTo>
                <a:cubicBezTo>
                  <a:pt x="11259018" y="3087709"/>
                  <a:pt x="11241859" y="3083900"/>
                  <a:pt x="11234233" y="3072469"/>
                </a:cubicBezTo>
                <a:cubicBezTo>
                  <a:pt x="11230420" y="3068661"/>
                  <a:pt x="11228513" y="3062943"/>
                  <a:pt x="11228513" y="3057229"/>
                </a:cubicBezTo>
                <a:cubicBezTo>
                  <a:pt x="11228513" y="3049607"/>
                  <a:pt x="11232326" y="3041990"/>
                  <a:pt x="11238046" y="3036275"/>
                </a:cubicBezTo>
                <a:cubicBezTo>
                  <a:pt x="11238046" y="3036275"/>
                  <a:pt x="11238046" y="3036275"/>
                  <a:pt x="11573605" y="2792433"/>
                </a:cubicBezTo>
                <a:cubicBezTo>
                  <a:pt x="11579325" y="2787671"/>
                  <a:pt x="11585998" y="2786243"/>
                  <a:pt x="11592432" y="2787434"/>
                </a:cubicBezTo>
                <a:close/>
                <a:moveTo>
                  <a:pt x="12139750" y="2786083"/>
                </a:moveTo>
                <a:cubicBezTo>
                  <a:pt x="12139750" y="2786083"/>
                  <a:pt x="12139750" y="2786083"/>
                  <a:pt x="12139750" y="2858148"/>
                </a:cubicBezTo>
                <a:cubicBezTo>
                  <a:pt x="12139750" y="2858148"/>
                  <a:pt x="12139750" y="2858148"/>
                  <a:pt x="11834946" y="3059175"/>
                </a:cubicBezTo>
                <a:cubicBezTo>
                  <a:pt x="11819705" y="3068658"/>
                  <a:pt x="11800655" y="3064864"/>
                  <a:pt x="11793035" y="3049691"/>
                </a:cubicBezTo>
                <a:cubicBezTo>
                  <a:pt x="11789225" y="3044001"/>
                  <a:pt x="11787320" y="3038313"/>
                  <a:pt x="11787320" y="3032623"/>
                </a:cubicBezTo>
                <a:cubicBezTo>
                  <a:pt x="11787320" y="3023143"/>
                  <a:pt x="11791130" y="3013660"/>
                  <a:pt x="11800655" y="3007970"/>
                </a:cubicBezTo>
                <a:lnTo>
                  <a:pt x="12135940" y="2787978"/>
                </a:lnTo>
                <a:cubicBezTo>
                  <a:pt x="12137845" y="2786083"/>
                  <a:pt x="12137845" y="2786083"/>
                  <a:pt x="12139750" y="2786083"/>
                </a:cubicBezTo>
                <a:close/>
                <a:moveTo>
                  <a:pt x="7592452" y="2782900"/>
                </a:moveTo>
                <a:cubicBezTo>
                  <a:pt x="7600072" y="2784326"/>
                  <a:pt x="7606740" y="2788595"/>
                  <a:pt x="7610550" y="2795241"/>
                </a:cubicBezTo>
                <a:cubicBezTo>
                  <a:pt x="7620075" y="2810434"/>
                  <a:pt x="7616265" y="2829420"/>
                  <a:pt x="7602930" y="2837016"/>
                </a:cubicBezTo>
                <a:cubicBezTo>
                  <a:pt x="7602930" y="2837016"/>
                  <a:pt x="7602930" y="2837016"/>
                  <a:pt x="7267645" y="3059173"/>
                </a:cubicBezTo>
                <a:cubicBezTo>
                  <a:pt x="7254310" y="3068667"/>
                  <a:pt x="7235260" y="3064869"/>
                  <a:pt x="7225735" y="3049680"/>
                </a:cubicBezTo>
                <a:cubicBezTo>
                  <a:pt x="7221925" y="3043982"/>
                  <a:pt x="7220020" y="3038288"/>
                  <a:pt x="7220020" y="3032591"/>
                </a:cubicBezTo>
                <a:cubicBezTo>
                  <a:pt x="7220020" y="3023099"/>
                  <a:pt x="7225735" y="3013604"/>
                  <a:pt x="7233355" y="3007907"/>
                </a:cubicBezTo>
                <a:cubicBezTo>
                  <a:pt x="7233355" y="3007907"/>
                  <a:pt x="7233355" y="3007907"/>
                  <a:pt x="7568639" y="2787648"/>
                </a:cubicBezTo>
                <a:cubicBezTo>
                  <a:pt x="7576259" y="2782900"/>
                  <a:pt x="7584832" y="2781476"/>
                  <a:pt x="7592452" y="2782900"/>
                </a:cubicBezTo>
                <a:close/>
                <a:moveTo>
                  <a:pt x="7041900" y="2777758"/>
                </a:moveTo>
                <a:cubicBezTo>
                  <a:pt x="7050473" y="2779901"/>
                  <a:pt x="7058093" y="2785138"/>
                  <a:pt x="7062856" y="2792757"/>
                </a:cubicBezTo>
                <a:cubicBezTo>
                  <a:pt x="7072381" y="2809907"/>
                  <a:pt x="7066666" y="2830858"/>
                  <a:pt x="7051425" y="2840384"/>
                </a:cubicBezTo>
                <a:cubicBezTo>
                  <a:pt x="7051425" y="2840384"/>
                  <a:pt x="7051425" y="2840384"/>
                  <a:pt x="6714236" y="3038503"/>
                </a:cubicBezTo>
                <a:cubicBezTo>
                  <a:pt x="6697090" y="3048026"/>
                  <a:pt x="6676135" y="3044222"/>
                  <a:pt x="6666610" y="3027077"/>
                </a:cubicBezTo>
                <a:cubicBezTo>
                  <a:pt x="6664705" y="3021361"/>
                  <a:pt x="6662800" y="3015647"/>
                  <a:pt x="6662800" y="3009931"/>
                </a:cubicBezTo>
                <a:cubicBezTo>
                  <a:pt x="6662800" y="2998500"/>
                  <a:pt x="6668515" y="2987069"/>
                  <a:pt x="6679945" y="2979450"/>
                </a:cubicBezTo>
                <a:cubicBezTo>
                  <a:pt x="6679945" y="2979450"/>
                  <a:pt x="6679945" y="2979450"/>
                  <a:pt x="7015230" y="2781330"/>
                </a:cubicBezTo>
                <a:cubicBezTo>
                  <a:pt x="7023803" y="2776567"/>
                  <a:pt x="7033328" y="2775616"/>
                  <a:pt x="7041900" y="2777758"/>
                </a:cubicBezTo>
                <a:close/>
                <a:moveTo>
                  <a:pt x="6499388" y="2774400"/>
                </a:moveTo>
                <a:cubicBezTo>
                  <a:pt x="6508668" y="2777482"/>
                  <a:pt x="6516758" y="2784126"/>
                  <a:pt x="6521517" y="2793615"/>
                </a:cubicBezTo>
                <a:cubicBezTo>
                  <a:pt x="6531035" y="2812596"/>
                  <a:pt x="6525324" y="2835373"/>
                  <a:pt x="6506288" y="2844865"/>
                </a:cubicBezTo>
                <a:cubicBezTo>
                  <a:pt x="6506288" y="2844865"/>
                  <a:pt x="6506288" y="2844865"/>
                  <a:pt x="6167449" y="3019490"/>
                </a:cubicBezTo>
                <a:cubicBezTo>
                  <a:pt x="6148414" y="3028982"/>
                  <a:pt x="6125570" y="3021389"/>
                  <a:pt x="6116053" y="3002408"/>
                </a:cubicBezTo>
                <a:cubicBezTo>
                  <a:pt x="6112245" y="2996712"/>
                  <a:pt x="6110342" y="2991020"/>
                  <a:pt x="6110342" y="2985324"/>
                </a:cubicBezTo>
                <a:cubicBezTo>
                  <a:pt x="6110342" y="2972039"/>
                  <a:pt x="6117956" y="2958751"/>
                  <a:pt x="6131281" y="2951160"/>
                </a:cubicBezTo>
                <a:cubicBezTo>
                  <a:pt x="6131281" y="2951160"/>
                  <a:pt x="6131281" y="2951160"/>
                  <a:pt x="6470120" y="2776533"/>
                </a:cubicBezTo>
                <a:cubicBezTo>
                  <a:pt x="6479638" y="2771788"/>
                  <a:pt x="6490107" y="2771312"/>
                  <a:pt x="6499388" y="2774400"/>
                </a:cubicBezTo>
                <a:close/>
                <a:moveTo>
                  <a:pt x="5959672" y="2769256"/>
                </a:moveTo>
                <a:cubicBezTo>
                  <a:pt x="5969941" y="2773062"/>
                  <a:pt x="5978538" y="2780669"/>
                  <a:pt x="5983314" y="2791133"/>
                </a:cubicBezTo>
                <a:cubicBezTo>
                  <a:pt x="5992867" y="2812061"/>
                  <a:pt x="5983314" y="2838698"/>
                  <a:pt x="5962297" y="2848210"/>
                </a:cubicBezTo>
                <a:cubicBezTo>
                  <a:pt x="5962297" y="2848210"/>
                  <a:pt x="5962297" y="2848210"/>
                  <a:pt x="5620299" y="3000418"/>
                </a:cubicBezTo>
                <a:cubicBezTo>
                  <a:pt x="5599283" y="3009931"/>
                  <a:pt x="5574446" y="3000418"/>
                  <a:pt x="5564892" y="2979489"/>
                </a:cubicBezTo>
                <a:cubicBezTo>
                  <a:pt x="5561071" y="2973783"/>
                  <a:pt x="5561071" y="2968075"/>
                  <a:pt x="5561071" y="2960466"/>
                </a:cubicBezTo>
                <a:cubicBezTo>
                  <a:pt x="5561071" y="2945244"/>
                  <a:pt x="5570624" y="2930022"/>
                  <a:pt x="5585909" y="2922412"/>
                </a:cubicBezTo>
                <a:cubicBezTo>
                  <a:pt x="5585909" y="2922412"/>
                  <a:pt x="5585909" y="2922412"/>
                  <a:pt x="5925996" y="2770208"/>
                </a:cubicBezTo>
                <a:cubicBezTo>
                  <a:pt x="5937461" y="2765450"/>
                  <a:pt x="5949401" y="2765450"/>
                  <a:pt x="5959672" y="2769256"/>
                </a:cubicBezTo>
                <a:close/>
                <a:moveTo>
                  <a:pt x="399603" y="2769241"/>
                </a:moveTo>
                <a:cubicBezTo>
                  <a:pt x="410073" y="2773046"/>
                  <a:pt x="419115" y="2780657"/>
                  <a:pt x="423874" y="2791121"/>
                </a:cubicBezTo>
                <a:cubicBezTo>
                  <a:pt x="433392" y="2812049"/>
                  <a:pt x="423874" y="2838685"/>
                  <a:pt x="401030" y="2848199"/>
                </a:cubicBezTo>
                <a:cubicBezTo>
                  <a:pt x="401030" y="2848199"/>
                  <a:pt x="401030" y="2848199"/>
                  <a:pt x="62187" y="3000404"/>
                </a:cubicBezTo>
                <a:cubicBezTo>
                  <a:pt x="41247" y="3009919"/>
                  <a:pt x="16500" y="3000404"/>
                  <a:pt x="6982" y="2979476"/>
                </a:cubicBezTo>
                <a:cubicBezTo>
                  <a:pt x="3175" y="2973768"/>
                  <a:pt x="3175" y="2968061"/>
                  <a:pt x="3175" y="2960451"/>
                </a:cubicBezTo>
                <a:cubicBezTo>
                  <a:pt x="3175" y="2945230"/>
                  <a:pt x="10789" y="2930010"/>
                  <a:pt x="27922" y="2922399"/>
                </a:cubicBezTo>
                <a:cubicBezTo>
                  <a:pt x="27922" y="2922399"/>
                  <a:pt x="27922" y="2922399"/>
                  <a:pt x="366765" y="2770194"/>
                </a:cubicBezTo>
                <a:cubicBezTo>
                  <a:pt x="377235" y="2765436"/>
                  <a:pt x="389133" y="2765436"/>
                  <a:pt x="399603" y="2769241"/>
                </a:cubicBezTo>
                <a:close/>
                <a:moveTo>
                  <a:pt x="5396029" y="2760546"/>
                </a:moveTo>
                <a:cubicBezTo>
                  <a:pt x="5414054" y="2760902"/>
                  <a:pt x="5431544" y="2771987"/>
                  <a:pt x="5437255" y="2790586"/>
                </a:cubicBezTo>
                <a:cubicBezTo>
                  <a:pt x="5446773" y="2815383"/>
                  <a:pt x="5435351" y="2842090"/>
                  <a:pt x="5410604" y="2851628"/>
                </a:cubicBezTo>
                <a:cubicBezTo>
                  <a:pt x="5410604" y="2851628"/>
                  <a:pt x="5410604" y="2851628"/>
                  <a:pt x="5069849" y="2981344"/>
                </a:cubicBezTo>
                <a:cubicBezTo>
                  <a:pt x="5045104" y="2990880"/>
                  <a:pt x="5018456" y="2977527"/>
                  <a:pt x="5008938" y="2954638"/>
                </a:cubicBezTo>
                <a:cubicBezTo>
                  <a:pt x="5007035" y="2948915"/>
                  <a:pt x="5007035" y="2943193"/>
                  <a:pt x="5007035" y="2937469"/>
                </a:cubicBezTo>
                <a:cubicBezTo>
                  <a:pt x="5007035" y="2918395"/>
                  <a:pt x="5018456" y="2899319"/>
                  <a:pt x="5037491" y="2893596"/>
                </a:cubicBezTo>
                <a:cubicBezTo>
                  <a:pt x="5037491" y="2893596"/>
                  <a:pt x="5037491" y="2893596"/>
                  <a:pt x="5378242" y="2763882"/>
                </a:cubicBezTo>
                <a:cubicBezTo>
                  <a:pt x="5383954" y="2761500"/>
                  <a:pt x="5390021" y="2760425"/>
                  <a:pt x="5396029" y="2760546"/>
                </a:cubicBezTo>
                <a:close/>
                <a:moveTo>
                  <a:pt x="930705" y="2760528"/>
                </a:moveTo>
                <a:cubicBezTo>
                  <a:pt x="949140" y="2760885"/>
                  <a:pt x="965965" y="2771973"/>
                  <a:pt x="973124" y="2790570"/>
                </a:cubicBezTo>
                <a:cubicBezTo>
                  <a:pt x="982670" y="2815369"/>
                  <a:pt x="969306" y="2842076"/>
                  <a:pt x="946396" y="2851614"/>
                </a:cubicBezTo>
                <a:cubicBezTo>
                  <a:pt x="946396" y="2851614"/>
                  <a:pt x="946396" y="2851614"/>
                  <a:pt x="604662" y="2981328"/>
                </a:cubicBezTo>
                <a:cubicBezTo>
                  <a:pt x="579843" y="2990867"/>
                  <a:pt x="551206" y="2977513"/>
                  <a:pt x="543570" y="2954621"/>
                </a:cubicBezTo>
                <a:cubicBezTo>
                  <a:pt x="541661" y="2948899"/>
                  <a:pt x="539752" y="2943177"/>
                  <a:pt x="539752" y="2937453"/>
                </a:cubicBezTo>
                <a:cubicBezTo>
                  <a:pt x="539752" y="2918379"/>
                  <a:pt x="551206" y="2899302"/>
                  <a:pt x="570298" y="2893580"/>
                </a:cubicBezTo>
                <a:cubicBezTo>
                  <a:pt x="570298" y="2893580"/>
                  <a:pt x="570298" y="2893580"/>
                  <a:pt x="912032" y="2763867"/>
                </a:cubicBezTo>
                <a:cubicBezTo>
                  <a:pt x="918237" y="2761484"/>
                  <a:pt x="924561" y="2760408"/>
                  <a:pt x="930705" y="2760528"/>
                </a:cubicBezTo>
                <a:close/>
                <a:moveTo>
                  <a:pt x="4845195" y="2755586"/>
                </a:moveTo>
                <a:cubicBezTo>
                  <a:pt x="4864905" y="2757905"/>
                  <a:pt x="4882742" y="2771456"/>
                  <a:pt x="4889878" y="2791428"/>
                </a:cubicBezTo>
                <a:cubicBezTo>
                  <a:pt x="4897489" y="2818061"/>
                  <a:pt x="4882267" y="2846596"/>
                  <a:pt x="4855629" y="2856106"/>
                </a:cubicBezTo>
                <a:cubicBezTo>
                  <a:pt x="4855629" y="2856106"/>
                  <a:pt x="4855629" y="2856106"/>
                  <a:pt x="4513213" y="2962635"/>
                </a:cubicBezTo>
                <a:cubicBezTo>
                  <a:pt x="4486582" y="2970243"/>
                  <a:pt x="4458045" y="2955024"/>
                  <a:pt x="4448534" y="2928394"/>
                </a:cubicBezTo>
                <a:cubicBezTo>
                  <a:pt x="4448534" y="2924590"/>
                  <a:pt x="4446631" y="2918884"/>
                  <a:pt x="4446631" y="2913176"/>
                </a:cubicBezTo>
                <a:cubicBezTo>
                  <a:pt x="4446631" y="2892251"/>
                  <a:pt x="4461851" y="2871325"/>
                  <a:pt x="4482778" y="2863715"/>
                </a:cubicBezTo>
                <a:cubicBezTo>
                  <a:pt x="4482778" y="2863715"/>
                  <a:pt x="4482778" y="2863715"/>
                  <a:pt x="4825187" y="2757192"/>
                </a:cubicBezTo>
                <a:cubicBezTo>
                  <a:pt x="4831848" y="2755287"/>
                  <a:pt x="4838625" y="2754812"/>
                  <a:pt x="4845195" y="2755586"/>
                </a:cubicBezTo>
                <a:close/>
                <a:moveTo>
                  <a:pt x="1482623" y="2755567"/>
                </a:moveTo>
                <a:cubicBezTo>
                  <a:pt x="1502310" y="2757887"/>
                  <a:pt x="1519850" y="2771439"/>
                  <a:pt x="1525577" y="2791412"/>
                </a:cubicBezTo>
                <a:cubicBezTo>
                  <a:pt x="1535122" y="2818044"/>
                  <a:pt x="1519850" y="2846577"/>
                  <a:pt x="1493123" y="2856090"/>
                </a:cubicBezTo>
                <a:cubicBezTo>
                  <a:pt x="1493123" y="2856090"/>
                  <a:pt x="1493123" y="2856090"/>
                  <a:pt x="1149495" y="2962617"/>
                </a:cubicBezTo>
                <a:cubicBezTo>
                  <a:pt x="1122769" y="2970225"/>
                  <a:pt x="1092224" y="2955007"/>
                  <a:pt x="1084588" y="2928375"/>
                </a:cubicBezTo>
                <a:cubicBezTo>
                  <a:pt x="1082679" y="2924571"/>
                  <a:pt x="1082679" y="2918864"/>
                  <a:pt x="1082679" y="2913158"/>
                </a:cubicBezTo>
                <a:cubicBezTo>
                  <a:pt x="1082679" y="2892232"/>
                  <a:pt x="1096042" y="2871308"/>
                  <a:pt x="1118950" y="2863698"/>
                </a:cubicBezTo>
                <a:cubicBezTo>
                  <a:pt x="1118950" y="2863698"/>
                  <a:pt x="1118950" y="2863698"/>
                  <a:pt x="1462578" y="2757173"/>
                </a:cubicBezTo>
                <a:cubicBezTo>
                  <a:pt x="1469260" y="2755270"/>
                  <a:pt x="1476061" y="2754795"/>
                  <a:pt x="1482623" y="2755567"/>
                </a:cubicBezTo>
                <a:close/>
                <a:moveTo>
                  <a:pt x="4291652" y="2750401"/>
                </a:moveTo>
                <a:cubicBezTo>
                  <a:pt x="4313336" y="2754252"/>
                  <a:pt x="4331542" y="2769659"/>
                  <a:pt x="4335825" y="2792587"/>
                </a:cubicBezTo>
                <a:cubicBezTo>
                  <a:pt x="4343439" y="2821252"/>
                  <a:pt x="4326306" y="2851825"/>
                  <a:pt x="4295845" y="2859470"/>
                </a:cubicBezTo>
                <a:cubicBezTo>
                  <a:pt x="4295845" y="2859470"/>
                  <a:pt x="4295845" y="2859470"/>
                  <a:pt x="3953197" y="2943550"/>
                </a:cubicBezTo>
                <a:cubicBezTo>
                  <a:pt x="3922737" y="2951195"/>
                  <a:pt x="3892278" y="2932085"/>
                  <a:pt x="3884664" y="2901512"/>
                </a:cubicBezTo>
                <a:cubicBezTo>
                  <a:pt x="3884664" y="2897690"/>
                  <a:pt x="3884664" y="2893868"/>
                  <a:pt x="3884664" y="2888136"/>
                </a:cubicBezTo>
                <a:cubicBezTo>
                  <a:pt x="3884664" y="2863292"/>
                  <a:pt x="3899893" y="2840361"/>
                  <a:pt x="3926546" y="2834629"/>
                </a:cubicBezTo>
                <a:cubicBezTo>
                  <a:pt x="3926546" y="2834629"/>
                  <a:pt x="3926546" y="2834629"/>
                  <a:pt x="4269194" y="2750551"/>
                </a:cubicBezTo>
                <a:cubicBezTo>
                  <a:pt x="4276809" y="2749117"/>
                  <a:pt x="4284423" y="2749117"/>
                  <a:pt x="4291652" y="2750401"/>
                </a:cubicBezTo>
                <a:close/>
                <a:moveTo>
                  <a:pt x="2037929" y="2750381"/>
                </a:moveTo>
                <a:cubicBezTo>
                  <a:pt x="2058890" y="2754232"/>
                  <a:pt x="2077438" y="2769638"/>
                  <a:pt x="2083145" y="2792570"/>
                </a:cubicBezTo>
                <a:cubicBezTo>
                  <a:pt x="2090755" y="2821233"/>
                  <a:pt x="2071730" y="2851807"/>
                  <a:pt x="2043190" y="2859451"/>
                </a:cubicBezTo>
                <a:cubicBezTo>
                  <a:pt x="2043190" y="2859451"/>
                  <a:pt x="2043190" y="2859451"/>
                  <a:pt x="1698856" y="2943529"/>
                </a:cubicBezTo>
                <a:cubicBezTo>
                  <a:pt x="1668417" y="2951173"/>
                  <a:pt x="1639881" y="2932065"/>
                  <a:pt x="1632272" y="2901491"/>
                </a:cubicBezTo>
                <a:cubicBezTo>
                  <a:pt x="1630369" y="2897669"/>
                  <a:pt x="1630369" y="2893847"/>
                  <a:pt x="1630369" y="2888114"/>
                </a:cubicBezTo>
                <a:cubicBezTo>
                  <a:pt x="1630369" y="2863273"/>
                  <a:pt x="1647491" y="2840342"/>
                  <a:pt x="1672222" y="2834609"/>
                </a:cubicBezTo>
                <a:cubicBezTo>
                  <a:pt x="1672222" y="2834609"/>
                  <a:pt x="1672222" y="2834609"/>
                  <a:pt x="2016556" y="2750531"/>
                </a:cubicBezTo>
                <a:cubicBezTo>
                  <a:pt x="2023690" y="2749098"/>
                  <a:pt x="2030943" y="2749098"/>
                  <a:pt x="2037929" y="2750381"/>
                </a:cubicBezTo>
                <a:close/>
                <a:moveTo>
                  <a:pt x="3710449" y="2745770"/>
                </a:moveTo>
                <a:cubicBezTo>
                  <a:pt x="3742792" y="2740056"/>
                  <a:pt x="3773233" y="2762916"/>
                  <a:pt x="3778943" y="2795297"/>
                </a:cubicBezTo>
                <a:cubicBezTo>
                  <a:pt x="3784650" y="2827683"/>
                  <a:pt x="3763720" y="2858165"/>
                  <a:pt x="3731376" y="2863880"/>
                </a:cubicBezTo>
                <a:cubicBezTo>
                  <a:pt x="3731376" y="2863880"/>
                  <a:pt x="3731376" y="2863880"/>
                  <a:pt x="3385145" y="2924842"/>
                </a:cubicBezTo>
                <a:cubicBezTo>
                  <a:pt x="3352800" y="2930556"/>
                  <a:pt x="3322363" y="2907696"/>
                  <a:pt x="3316655" y="2875310"/>
                </a:cubicBezTo>
                <a:cubicBezTo>
                  <a:pt x="3316655" y="2871500"/>
                  <a:pt x="3314753" y="2869595"/>
                  <a:pt x="3314753" y="2865784"/>
                </a:cubicBezTo>
                <a:cubicBezTo>
                  <a:pt x="3314753" y="2837207"/>
                  <a:pt x="3335679" y="2812444"/>
                  <a:pt x="3364218" y="2806729"/>
                </a:cubicBezTo>
                <a:cubicBezTo>
                  <a:pt x="3364218" y="2806729"/>
                  <a:pt x="3364218" y="2806729"/>
                  <a:pt x="3710449" y="2745770"/>
                </a:cubicBezTo>
                <a:close/>
                <a:moveTo>
                  <a:pt x="2576948" y="2745748"/>
                </a:moveTo>
                <a:cubicBezTo>
                  <a:pt x="2609290" y="2740033"/>
                  <a:pt x="2639729" y="2762892"/>
                  <a:pt x="2645436" y="2795278"/>
                </a:cubicBezTo>
                <a:cubicBezTo>
                  <a:pt x="2651144" y="2827662"/>
                  <a:pt x="2630217" y="2858143"/>
                  <a:pt x="2595973" y="2863857"/>
                </a:cubicBezTo>
                <a:cubicBezTo>
                  <a:pt x="2595973" y="2863857"/>
                  <a:pt x="2595973" y="2863857"/>
                  <a:pt x="2251629" y="2924818"/>
                </a:cubicBezTo>
                <a:cubicBezTo>
                  <a:pt x="2219287" y="2930533"/>
                  <a:pt x="2188848" y="2907673"/>
                  <a:pt x="2183141" y="2875287"/>
                </a:cubicBezTo>
                <a:cubicBezTo>
                  <a:pt x="2183141" y="2871478"/>
                  <a:pt x="2181238" y="2869573"/>
                  <a:pt x="2181238" y="2865763"/>
                </a:cubicBezTo>
                <a:cubicBezTo>
                  <a:pt x="2181238" y="2837188"/>
                  <a:pt x="2202166" y="2812423"/>
                  <a:pt x="2230702" y="2806708"/>
                </a:cubicBezTo>
                <a:cubicBezTo>
                  <a:pt x="2230702" y="2806708"/>
                  <a:pt x="2230702" y="2806708"/>
                  <a:pt x="2576948" y="2745748"/>
                </a:cubicBezTo>
                <a:close/>
                <a:moveTo>
                  <a:pt x="3140488" y="2739132"/>
                </a:moveTo>
                <a:cubicBezTo>
                  <a:pt x="3176662" y="2735294"/>
                  <a:pt x="3207121" y="2760241"/>
                  <a:pt x="3210926" y="2796698"/>
                </a:cubicBezTo>
                <a:cubicBezTo>
                  <a:pt x="3214735" y="2831239"/>
                  <a:pt x="3189988" y="2863862"/>
                  <a:pt x="3153818" y="2867700"/>
                </a:cubicBezTo>
                <a:cubicBezTo>
                  <a:pt x="3153818" y="2867700"/>
                  <a:pt x="3153818" y="2867700"/>
                  <a:pt x="2807329" y="2906081"/>
                </a:cubicBezTo>
                <a:cubicBezTo>
                  <a:pt x="2773061" y="2909920"/>
                  <a:pt x="2740696" y="2883053"/>
                  <a:pt x="2736893" y="2848510"/>
                </a:cubicBezTo>
                <a:cubicBezTo>
                  <a:pt x="2736893" y="2846591"/>
                  <a:pt x="2736893" y="2842753"/>
                  <a:pt x="2736893" y="2840833"/>
                </a:cubicBezTo>
                <a:cubicBezTo>
                  <a:pt x="2736893" y="2808213"/>
                  <a:pt x="2761639" y="2781347"/>
                  <a:pt x="2794003" y="2777510"/>
                </a:cubicBezTo>
                <a:cubicBezTo>
                  <a:pt x="2794003" y="2777510"/>
                  <a:pt x="2794003" y="2777510"/>
                  <a:pt x="3140488" y="2739132"/>
                </a:cubicBezTo>
                <a:close/>
                <a:moveTo>
                  <a:pt x="9848938" y="2478758"/>
                </a:moveTo>
                <a:cubicBezTo>
                  <a:pt x="9852752" y="2474949"/>
                  <a:pt x="9860379" y="2474949"/>
                  <a:pt x="9864192" y="2478758"/>
                </a:cubicBezTo>
                <a:cubicBezTo>
                  <a:pt x="9868006" y="2484475"/>
                  <a:pt x="9868006" y="2490192"/>
                  <a:pt x="9864192" y="2494003"/>
                </a:cubicBezTo>
                <a:cubicBezTo>
                  <a:pt x="9864192" y="2494003"/>
                  <a:pt x="9864192" y="2494003"/>
                  <a:pt x="9536232" y="2823558"/>
                </a:cubicBezTo>
                <a:cubicBezTo>
                  <a:pt x="9532418" y="2827364"/>
                  <a:pt x="9524791" y="2827364"/>
                  <a:pt x="9520978" y="2823558"/>
                </a:cubicBezTo>
                <a:cubicBezTo>
                  <a:pt x="9519071" y="2819745"/>
                  <a:pt x="9517164" y="2817842"/>
                  <a:pt x="9517164" y="2815937"/>
                </a:cubicBezTo>
                <a:cubicBezTo>
                  <a:pt x="9517164" y="2812126"/>
                  <a:pt x="9519071" y="2810223"/>
                  <a:pt x="9520978" y="2808317"/>
                </a:cubicBezTo>
                <a:cubicBezTo>
                  <a:pt x="9520978" y="2808317"/>
                  <a:pt x="9520978" y="2808317"/>
                  <a:pt x="9848938" y="2478758"/>
                </a:cubicBezTo>
                <a:close/>
                <a:moveTo>
                  <a:pt x="9280068" y="2470987"/>
                </a:moveTo>
                <a:cubicBezTo>
                  <a:pt x="9284116" y="2471465"/>
                  <a:pt x="9287926" y="2473375"/>
                  <a:pt x="9290784" y="2476239"/>
                </a:cubicBezTo>
                <a:cubicBezTo>
                  <a:pt x="9296499" y="2481973"/>
                  <a:pt x="9296499" y="2491525"/>
                  <a:pt x="9288879" y="2497260"/>
                </a:cubicBezTo>
                <a:cubicBezTo>
                  <a:pt x="9288879" y="2497260"/>
                  <a:pt x="9288879" y="2497260"/>
                  <a:pt x="8959309" y="2800997"/>
                </a:cubicBezTo>
                <a:cubicBezTo>
                  <a:pt x="8953594" y="2806729"/>
                  <a:pt x="8944069" y="2806729"/>
                  <a:pt x="8938354" y="2800997"/>
                </a:cubicBezTo>
                <a:cubicBezTo>
                  <a:pt x="8934544" y="2797177"/>
                  <a:pt x="8934544" y="2793354"/>
                  <a:pt x="8934544" y="2789535"/>
                </a:cubicBezTo>
                <a:cubicBezTo>
                  <a:pt x="8934544" y="2785714"/>
                  <a:pt x="8936449" y="2781895"/>
                  <a:pt x="8938354" y="2778073"/>
                </a:cubicBezTo>
                <a:cubicBezTo>
                  <a:pt x="8938354" y="2778073"/>
                  <a:pt x="8938354" y="2778073"/>
                  <a:pt x="9267924" y="2474329"/>
                </a:cubicBezTo>
                <a:cubicBezTo>
                  <a:pt x="9271734" y="2471465"/>
                  <a:pt x="9276020" y="2470511"/>
                  <a:pt x="9280068" y="2470987"/>
                </a:cubicBezTo>
                <a:close/>
                <a:moveTo>
                  <a:pt x="10440785" y="2470956"/>
                </a:moveTo>
                <a:cubicBezTo>
                  <a:pt x="10444594" y="2471432"/>
                  <a:pt x="10448404" y="2473343"/>
                  <a:pt x="10451262" y="2476209"/>
                </a:cubicBezTo>
                <a:cubicBezTo>
                  <a:pt x="10456977" y="2481941"/>
                  <a:pt x="10456977" y="2491493"/>
                  <a:pt x="10451262" y="2497223"/>
                </a:cubicBezTo>
                <a:cubicBezTo>
                  <a:pt x="10451262" y="2497223"/>
                  <a:pt x="10451262" y="2497223"/>
                  <a:pt x="10121692" y="2800974"/>
                </a:cubicBezTo>
                <a:cubicBezTo>
                  <a:pt x="10114072" y="2806705"/>
                  <a:pt x="10104547" y="2806705"/>
                  <a:pt x="10098832" y="2800974"/>
                </a:cubicBezTo>
                <a:cubicBezTo>
                  <a:pt x="10096927" y="2797153"/>
                  <a:pt x="10095022" y="2793332"/>
                  <a:pt x="10095022" y="2789511"/>
                </a:cubicBezTo>
                <a:cubicBezTo>
                  <a:pt x="10095022" y="2785690"/>
                  <a:pt x="10096927" y="2781870"/>
                  <a:pt x="10100737" y="2778049"/>
                </a:cubicBezTo>
                <a:cubicBezTo>
                  <a:pt x="10100737" y="2778049"/>
                  <a:pt x="10100737" y="2778049"/>
                  <a:pt x="10430307" y="2474298"/>
                </a:cubicBezTo>
                <a:cubicBezTo>
                  <a:pt x="10433164" y="2471432"/>
                  <a:pt x="10436974" y="2470479"/>
                  <a:pt x="10440785" y="2470956"/>
                </a:cubicBezTo>
                <a:close/>
                <a:moveTo>
                  <a:pt x="8710792" y="2467329"/>
                </a:moveTo>
                <a:cubicBezTo>
                  <a:pt x="8716049" y="2467808"/>
                  <a:pt x="8720828" y="2470190"/>
                  <a:pt x="8723695" y="2474959"/>
                </a:cubicBezTo>
                <a:cubicBezTo>
                  <a:pt x="8731341" y="2482590"/>
                  <a:pt x="8729430" y="2495938"/>
                  <a:pt x="8721783" y="2501658"/>
                </a:cubicBezTo>
                <a:cubicBezTo>
                  <a:pt x="8721783" y="2501658"/>
                  <a:pt x="8721783" y="2501658"/>
                  <a:pt x="8389182" y="2780051"/>
                </a:cubicBezTo>
                <a:cubicBezTo>
                  <a:pt x="8381536" y="2787678"/>
                  <a:pt x="8368155" y="2785771"/>
                  <a:pt x="8360509" y="2778145"/>
                </a:cubicBezTo>
                <a:cubicBezTo>
                  <a:pt x="8358598" y="2774333"/>
                  <a:pt x="8356686" y="2768612"/>
                  <a:pt x="8356686" y="2764800"/>
                </a:cubicBezTo>
                <a:cubicBezTo>
                  <a:pt x="8356686" y="2759078"/>
                  <a:pt x="8358598" y="2753357"/>
                  <a:pt x="8364332" y="2749541"/>
                </a:cubicBezTo>
                <a:cubicBezTo>
                  <a:pt x="8364332" y="2749541"/>
                  <a:pt x="8364332" y="2749541"/>
                  <a:pt x="8695022" y="2471144"/>
                </a:cubicBezTo>
                <a:cubicBezTo>
                  <a:pt x="8699801" y="2468282"/>
                  <a:pt x="8705536" y="2466854"/>
                  <a:pt x="8710792" y="2467329"/>
                </a:cubicBezTo>
                <a:close/>
                <a:moveTo>
                  <a:pt x="11018422" y="2467296"/>
                </a:moveTo>
                <a:cubicBezTo>
                  <a:pt x="11023419" y="2467773"/>
                  <a:pt x="11028178" y="2470157"/>
                  <a:pt x="11031984" y="2474925"/>
                </a:cubicBezTo>
                <a:cubicBezTo>
                  <a:pt x="11039598" y="2482552"/>
                  <a:pt x="11037695" y="2495900"/>
                  <a:pt x="11030081" y="2501621"/>
                </a:cubicBezTo>
                <a:cubicBezTo>
                  <a:pt x="11030081" y="2501621"/>
                  <a:pt x="11030081" y="2501621"/>
                  <a:pt x="10698888" y="2780026"/>
                </a:cubicBezTo>
                <a:cubicBezTo>
                  <a:pt x="10689371" y="2787653"/>
                  <a:pt x="10677950" y="2785745"/>
                  <a:pt x="10670337" y="2778118"/>
                </a:cubicBezTo>
                <a:cubicBezTo>
                  <a:pt x="10666530" y="2774304"/>
                  <a:pt x="10666530" y="2768584"/>
                  <a:pt x="10666530" y="2764770"/>
                </a:cubicBezTo>
                <a:cubicBezTo>
                  <a:pt x="10666530" y="2759049"/>
                  <a:pt x="10668433" y="2753329"/>
                  <a:pt x="10672240" y="2749515"/>
                </a:cubicBezTo>
                <a:cubicBezTo>
                  <a:pt x="10672240" y="2749515"/>
                  <a:pt x="10672240" y="2749515"/>
                  <a:pt x="11003433" y="2471111"/>
                </a:cubicBezTo>
                <a:cubicBezTo>
                  <a:pt x="11008191" y="2468250"/>
                  <a:pt x="11013426" y="2466820"/>
                  <a:pt x="11018422" y="2467296"/>
                </a:cubicBezTo>
                <a:close/>
                <a:moveTo>
                  <a:pt x="8147250" y="2462181"/>
                </a:moveTo>
                <a:cubicBezTo>
                  <a:pt x="8153451" y="2462897"/>
                  <a:pt x="8159176" y="2465768"/>
                  <a:pt x="8162992" y="2470551"/>
                </a:cubicBezTo>
                <a:cubicBezTo>
                  <a:pt x="8172533" y="2482029"/>
                  <a:pt x="8170625" y="2497337"/>
                  <a:pt x="8159176" y="2506900"/>
                </a:cubicBezTo>
                <a:cubicBezTo>
                  <a:pt x="8159176" y="2506900"/>
                  <a:pt x="8159176" y="2506900"/>
                  <a:pt x="7825249" y="2759395"/>
                </a:cubicBezTo>
                <a:cubicBezTo>
                  <a:pt x="7813800" y="2767042"/>
                  <a:pt x="7798535" y="2765130"/>
                  <a:pt x="7790902" y="2755567"/>
                </a:cubicBezTo>
                <a:cubicBezTo>
                  <a:pt x="7787086" y="2749827"/>
                  <a:pt x="7785178" y="2746001"/>
                  <a:pt x="7785178" y="2740262"/>
                </a:cubicBezTo>
                <a:cubicBezTo>
                  <a:pt x="7785178" y="2732609"/>
                  <a:pt x="7788994" y="2724958"/>
                  <a:pt x="7794719" y="2719221"/>
                </a:cubicBezTo>
                <a:cubicBezTo>
                  <a:pt x="7794719" y="2719221"/>
                  <a:pt x="7794719" y="2719221"/>
                  <a:pt x="8128645" y="2466726"/>
                </a:cubicBezTo>
                <a:cubicBezTo>
                  <a:pt x="8134370" y="2462897"/>
                  <a:pt x="8141048" y="2461462"/>
                  <a:pt x="8147250" y="2462181"/>
                </a:cubicBezTo>
                <a:close/>
                <a:moveTo>
                  <a:pt x="11591857" y="2462171"/>
                </a:moveTo>
                <a:cubicBezTo>
                  <a:pt x="11598275" y="2462887"/>
                  <a:pt x="11604456" y="2465756"/>
                  <a:pt x="11608260" y="2470542"/>
                </a:cubicBezTo>
                <a:cubicBezTo>
                  <a:pt x="11615868" y="2482017"/>
                  <a:pt x="11613966" y="2497323"/>
                  <a:pt x="11602555" y="2506889"/>
                </a:cubicBezTo>
                <a:cubicBezTo>
                  <a:pt x="11602555" y="2506889"/>
                  <a:pt x="11602555" y="2506889"/>
                  <a:pt x="11271628" y="2759383"/>
                </a:cubicBezTo>
                <a:cubicBezTo>
                  <a:pt x="11260216" y="2767032"/>
                  <a:pt x="11245001" y="2765122"/>
                  <a:pt x="11235492" y="2755558"/>
                </a:cubicBezTo>
                <a:cubicBezTo>
                  <a:pt x="11233590" y="2749817"/>
                  <a:pt x="11231688" y="2745991"/>
                  <a:pt x="11231688" y="2740254"/>
                </a:cubicBezTo>
                <a:cubicBezTo>
                  <a:pt x="11231688" y="2732602"/>
                  <a:pt x="11235492" y="2724949"/>
                  <a:pt x="11241197" y="2719210"/>
                </a:cubicBezTo>
                <a:cubicBezTo>
                  <a:pt x="11241197" y="2719210"/>
                  <a:pt x="11241197" y="2719210"/>
                  <a:pt x="11574027" y="2466717"/>
                </a:cubicBezTo>
                <a:cubicBezTo>
                  <a:pt x="11578781" y="2462887"/>
                  <a:pt x="11585438" y="2461453"/>
                  <a:pt x="11591857" y="2462171"/>
                </a:cubicBezTo>
                <a:close/>
                <a:moveTo>
                  <a:pt x="7591001" y="2459079"/>
                </a:moveTo>
                <a:cubicBezTo>
                  <a:pt x="7598627" y="2460506"/>
                  <a:pt x="7605777" y="2464798"/>
                  <a:pt x="7610543" y="2471476"/>
                </a:cubicBezTo>
                <a:cubicBezTo>
                  <a:pt x="7620076" y="2484828"/>
                  <a:pt x="7616263" y="2501993"/>
                  <a:pt x="7602917" y="2511529"/>
                </a:cubicBezTo>
                <a:cubicBezTo>
                  <a:pt x="7602917" y="2511529"/>
                  <a:pt x="7602917" y="2511529"/>
                  <a:pt x="7267365" y="2738458"/>
                </a:cubicBezTo>
                <a:cubicBezTo>
                  <a:pt x="7254019" y="2747994"/>
                  <a:pt x="7234954" y="2744181"/>
                  <a:pt x="7227327" y="2730832"/>
                </a:cubicBezTo>
                <a:cubicBezTo>
                  <a:pt x="7223514" y="2727017"/>
                  <a:pt x="7221608" y="2721294"/>
                  <a:pt x="7221608" y="2715570"/>
                </a:cubicBezTo>
                <a:cubicBezTo>
                  <a:pt x="7221608" y="2706035"/>
                  <a:pt x="7225421" y="2696499"/>
                  <a:pt x="7234954" y="2690775"/>
                </a:cubicBezTo>
                <a:cubicBezTo>
                  <a:pt x="7234954" y="2690775"/>
                  <a:pt x="7234954" y="2690775"/>
                  <a:pt x="7568599" y="2463845"/>
                </a:cubicBezTo>
                <a:cubicBezTo>
                  <a:pt x="7575272" y="2459079"/>
                  <a:pt x="7583375" y="2457648"/>
                  <a:pt x="7591001" y="2459079"/>
                </a:cubicBezTo>
                <a:close/>
                <a:moveTo>
                  <a:pt x="12139750" y="2459059"/>
                </a:moveTo>
                <a:cubicBezTo>
                  <a:pt x="12139750" y="2459059"/>
                  <a:pt x="12139750" y="2459059"/>
                  <a:pt x="12139750" y="2529860"/>
                </a:cubicBezTo>
                <a:cubicBezTo>
                  <a:pt x="12139750" y="2529860"/>
                  <a:pt x="12139750" y="2529860"/>
                  <a:pt x="11834670" y="2738414"/>
                </a:cubicBezTo>
                <a:cubicBezTo>
                  <a:pt x="11821323" y="2747982"/>
                  <a:pt x="11802255" y="2744155"/>
                  <a:pt x="11792722" y="2730760"/>
                </a:cubicBezTo>
                <a:cubicBezTo>
                  <a:pt x="11788908" y="2726934"/>
                  <a:pt x="11788908" y="2721194"/>
                  <a:pt x="11788908" y="2715453"/>
                </a:cubicBezTo>
                <a:cubicBezTo>
                  <a:pt x="11788908" y="2705886"/>
                  <a:pt x="11792722" y="2696317"/>
                  <a:pt x="11800348" y="2690576"/>
                </a:cubicBezTo>
                <a:lnTo>
                  <a:pt x="12135936" y="2462887"/>
                </a:lnTo>
                <a:cubicBezTo>
                  <a:pt x="12137843" y="2460973"/>
                  <a:pt x="12137843" y="2460973"/>
                  <a:pt x="12139750" y="2459059"/>
                </a:cubicBezTo>
                <a:close/>
                <a:moveTo>
                  <a:pt x="7041900" y="2453933"/>
                </a:moveTo>
                <a:cubicBezTo>
                  <a:pt x="7050473" y="2456082"/>
                  <a:pt x="7058093" y="2461341"/>
                  <a:pt x="7062856" y="2468988"/>
                </a:cubicBezTo>
                <a:cubicBezTo>
                  <a:pt x="7072381" y="2486193"/>
                  <a:pt x="7066666" y="2507224"/>
                  <a:pt x="7051425" y="2516781"/>
                </a:cubicBezTo>
                <a:cubicBezTo>
                  <a:pt x="7051425" y="2516781"/>
                  <a:pt x="7051425" y="2516781"/>
                  <a:pt x="6714236" y="2719384"/>
                </a:cubicBezTo>
                <a:cubicBezTo>
                  <a:pt x="6698995" y="2728943"/>
                  <a:pt x="6678040" y="2723208"/>
                  <a:pt x="6668515" y="2706003"/>
                </a:cubicBezTo>
                <a:cubicBezTo>
                  <a:pt x="6664705" y="2702180"/>
                  <a:pt x="6662800" y="2694533"/>
                  <a:pt x="6662800" y="2688796"/>
                </a:cubicBezTo>
                <a:cubicBezTo>
                  <a:pt x="6662800" y="2677328"/>
                  <a:pt x="6668515" y="2665857"/>
                  <a:pt x="6679945" y="2660125"/>
                </a:cubicBezTo>
                <a:cubicBezTo>
                  <a:pt x="6679945" y="2660125"/>
                  <a:pt x="6679945" y="2660125"/>
                  <a:pt x="7015230" y="2457516"/>
                </a:cubicBezTo>
                <a:cubicBezTo>
                  <a:pt x="7023803" y="2452738"/>
                  <a:pt x="7033328" y="2451782"/>
                  <a:pt x="7041900" y="2453933"/>
                </a:cubicBezTo>
                <a:close/>
                <a:moveTo>
                  <a:pt x="6499365" y="2450542"/>
                </a:moveTo>
                <a:cubicBezTo>
                  <a:pt x="6508652" y="2453622"/>
                  <a:pt x="6516748" y="2460259"/>
                  <a:pt x="6521511" y="2469741"/>
                </a:cubicBezTo>
                <a:cubicBezTo>
                  <a:pt x="6531036" y="2488701"/>
                  <a:pt x="6523416" y="2511455"/>
                  <a:pt x="6506270" y="2520932"/>
                </a:cubicBezTo>
                <a:cubicBezTo>
                  <a:pt x="6506270" y="2520932"/>
                  <a:pt x="6506270" y="2520932"/>
                  <a:pt x="6167176" y="2697234"/>
                </a:cubicBezTo>
                <a:cubicBezTo>
                  <a:pt x="6148125" y="2706713"/>
                  <a:pt x="6125265" y="2699130"/>
                  <a:pt x="6115740" y="2680171"/>
                </a:cubicBezTo>
                <a:cubicBezTo>
                  <a:pt x="6111930" y="2674481"/>
                  <a:pt x="6111930" y="2668794"/>
                  <a:pt x="6111930" y="2663105"/>
                </a:cubicBezTo>
                <a:cubicBezTo>
                  <a:pt x="6111930" y="2649838"/>
                  <a:pt x="6119550" y="2636568"/>
                  <a:pt x="6130980" y="2628984"/>
                </a:cubicBezTo>
                <a:cubicBezTo>
                  <a:pt x="6130980" y="2628984"/>
                  <a:pt x="6130980" y="2628984"/>
                  <a:pt x="6470075" y="2452675"/>
                </a:cubicBezTo>
                <a:cubicBezTo>
                  <a:pt x="6479600" y="2447935"/>
                  <a:pt x="6490078" y="2447460"/>
                  <a:pt x="6499365" y="2450542"/>
                </a:cubicBezTo>
                <a:close/>
                <a:moveTo>
                  <a:pt x="5959672" y="2446994"/>
                </a:moveTo>
                <a:cubicBezTo>
                  <a:pt x="5969941" y="2450800"/>
                  <a:pt x="5978538" y="2458411"/>
                  <a:pt x="5983314" y="2468881"/>
                </a:cubicBezTo>
                <a:cubicBezTo>
                  <a:pt x="5992867" y="2491713"/>
                  <a:pt x="5983314" y="2516446"/>
                  <a:pt x="5962297" y="2525960"/>
                </a:cubicBezTo>
                <a:cubicBezTo>
                  <a:pt x="5962297" y="2525960"/>
                  <a:pt x="5962297" y="2525960"/>
                  <a:pt x="5620299" y="2676247"/>
                </a:cubicBezTo>
                <a:cubicBezTo>
                  <a:pt x="5599283" y="2687664"/>
                  <a:pt x="5574446" y="2676247"/>
                  <a:pt x="5564892" y="2655321"/>
                </a:cubicBezTo>
                <a:cubicBezTo>
                  <a:pt x="5561071" y="2649614"/>
                  <a:pt x="5561071" y="2643905"/>
                  <a:pt x="5561071" y="2638199"/>
                </a:cubicBezTo>
                <a:cubicBezTo>
                  <a:pt x="5561071" y="2621077"/>
                  <a:pt x="5570624" y="2605858"/>
                  <a:pt x="5585909" y="2598249"/>
                </a:cubicBezTo>
                <a:cubicBezTo>
                  <a:pt x="5585909" y="2598249"/>
                  <a:pt x="5585909" y="2598249"/>
                  <a:pt x="5925996" y="2447945"/>
                </a:cubicBezTo>
                <a:cubicBezTo>
                  <a:pt x="5937461" y="2443189"/>
                  <a:pt x="5949401" y="2443189"/>
                  <a:pt x="5959672" y="2446994"/>
                </a:cubicBezTo>
                <a:close/>
                <a:moveTo>
                  <a:pt x="399503" y="2446979"/>
                </a:moveTo>
                <a:cubicBezTo>
                  <a:pt x="410004" y="2450785"/>
                  <a:pt x="419073" y="2458395"/>
                  <a:pt x="423846" y="2468864"/>
                </a:cubicBezTo>
                <a:cubicBezTo>
                  <a:pt x="433392" y="2491693"/>
                  <a:pt x="423846" y="2516427"/>
                  <a:pt x="400935" y="2525942"/>
                </a:cubicBezTo>
                <a:cubicBezTo>
                  <a:pt x="400935" y="2525942"/>
                  <a:pt x="400935" y="2525942"/>
                  <a:pt x="61095" y="2676238"/>
                </a:cubicBezTo>
                <a:cubicBezTo>
                  <a:pt x="40093" y="2687652"/>
                  <a:pt x="13364" y="2676238"/>
                  <a:pt x="3818" y="2655311"/>
                </a:cubicBezTo>
                <a:cubicBezTo>
                  <a:pt x="1909" y="2649602"/>
                  <a:pt x="0" y="2643892"/>
                  <a:pt x="0" y="2638187"/>
                </a:cubicBezTo>
                <a:cubicBezTo>
                  <a:pt x="0" y="2621063"/>
                  <a:pt x="9546" y="2605844"/>
                  <a:pt x="26729" y="2598233"/>
                </a:cubicBezTo>
                <a:cubicBezTo>
                  <a:pt x="26729" y="2598233"/>
                  <a:pt x="26729" y="2598233"/>
                  <a:pt x="366569" y="2447930"/>
                </a:cubicBezTo>
                <a:cubicBezTo>
                  <a:pt x="377070" y="2443174"/>
                  <a:pt x="389002" y="2443174"/>
                  <a:pt x="399503" y="2446979"/>
                </a:cubicBezTo>
                <a:close/>
                <a:moveTo>
                  <a:pt x="5396620" y="2440131"/>
                </a:moveTo>
                <a:cubicBezTo>
                  <a:pt x="5414975" y="2441021"/>
                  <a:pt x="5431728" y="2453117"/>
                  <a:pt x="5438856" y="2471621"/>
                </a:cubicBezTo>
                <a:cubicBezTo>
                  <a:pt x="5448360" y="2496287"/>
                  <a:pt x="5435054" y="2522847"/>
                  <a:pt x="5410341" y="2532340"/>
                </a:cubicBezTo>
                <a:cubicBezTo>
                  <a:pt x="5410341" y="2532340"/>
                  <a:pt x="5410341" y="2532340"/>
                  <a:pt x="5070072" y="2657538"/>
                </a:cubicBezTo>
                <a:cubicBezTo>
                  <a:pt x="5045363" y="2667023"/>
                  <a:pt x="5018753" y="2653744"/>
                  <a:pt x="5009250" y="2629084"/>
                </a:cubicBezTo>
                <a:cubicBezTo>
                  <a:pt x="5007348" y="2623393"/>
                  <a:pt x="5005447" y="2617701"/>
                  <a:pt x="5005447" y="2613907"/>
                </a:cubicBezTo>
                <a:cubicBezTo>
                  <a:pt x="5005447" y="2593040"/>
                  <a:pt x="5018753" y="2575971"/>
                  <a:pt x="5037760" y="2568382"/>
                </a:cubicBezTo>
                <a:cubicBezTo>
                  <a:pt x="5037760" y="2568382"/>
                  <a:pt x="5037760" y="2568382"/>
                  <a:pt x="5378027" y="2443156"/>
                </a:cubicBezTo>
                <a:cubicBezTo>
                  <a:pt x="5384204" y="2440783"/>
                  <a:pt x="5390501" y="2439835"/>
                  <a:pt x="5396620" y="2440131"/>
                </a:cubicBezTo>
                <a:close/>
                <a:moveTo>
                  <a:pt x="930705" y="2440114"/>
                </a:moveTo>
                <a:cubicBezTo>
                  <a:pt x="949140" y="2441005"/>
                  <a:pt x="965965" y="2453100"/>
                  <a:pt x="973124" y="2471600"/>
                </a:cubicBezTo>
                <a:cubicBezTo>
                  <a:pt x="982669" y="2496265"/>
                  <a:pt x="969306" y="2522827"/>
                  <a:pt x="944487" y="2532315"/>
                </a:cubicBezTo>
                <a:cubicBezTo>
                  <a:pt x="944487" y="2532315"/>
                  <a:pt x="944487" y="2532315"/>
                  <a:pt x="602753" y="2657525"/>
                </a:cubicBezTo>
                <a:cubicBezTo>
                  <a:pt x="577934" y="2667012"/>
                  <a:pt x="551206" y="2653730"/>
                  <a:pt x="541661" y="2629070"/>
                </a:cubicBezTo>
                <a:cubicBezTo>
                  <a:pt x="539751" y="2623378"/>
                  <a:pt x="539751" y="2617686"/>
                  <a:pt x="539751" y="2613892"/>
                </a:cubicBezTo>
                <a:cubicBezTo>
                  <a:pt x="539751" y="2593022"/>
                  <a:pt x="551206" y="2575950"/>
                  <a:pt x="570297" y="2568362"/>
                </a:cubicBezTo>
                <a:cubicBezTo>
                  <a:pt x="570297" y="2568362"/>
                  <a:pt x="570297" y="2568362"/>
                  <a:pt x="912032" y="2443139"/>
                </a:cubicBezTo>
                <a:cubicBezTo>
                  <a:pt x="918236" y="2440766"/>
                  <a:pt x="924560" y="2439818"/>
                  <a:pt x="930705" y="2440114"/>
                </a:cubicBezTo>
                <a:close/>
                <a:moveTo>
                  <a:pt x="4847390" y="2434959"/>
                </a:moveTo>
                <a:cubicBezTo>
                  <a:pt x="4867870" y="2437373"/>
                  <a:pt x="4885401" y="2451323"/>
                  <a:pt x="4891123" y="2472791"/>
                </a:cubicBezTo>
                <a:cubicBezTo>
                  <a:pt x="4900665" y="2499505"/>
                  <a:pt x="4883492" y="2528123"/>
                  <a:pt x="4856779" y="2537664"/>
                </a:cubicBezTo>
                <a:cubicBezTo>
                  <a:pt x="4856779" y="2537664"/>
                  <a:pt x="4856779" y="2537664"/>
                  <a:pt x="4513402" y="2638759"/>
                </a:cubicBezTo>
                <a:cubicBezTo>
                  <a:pt x="4484786" y="2646389"/>
                  <a:pt x="4456170" y="2631129"/>
                  <a:pt x="4448539" y="2602516"/>
                </a:cubicBezTo>
                <a:cubicBezTo>
                  <a:pt x="4446631" y="2596792"/>
                  <a:pt x="4446631" y="2592978"/>
                  <a:pt x="4446631" y="2587256"/>
                </a:cubicBezTo>
                <a:cubicBezTo>
                  <a:pt x="4446631" y="2564370"/>
                  <a:pt x="4459986" y="2545294"/>
                  <a:pt x="4482878" y="2537664"/>
                </a:cubicBezTo>
                <a:cubicBezTo>
                  <a:pt x="4482878" y="2537664"/>
                  <a:pt x="4482878" y="2537664"/>
                  <a:pt x="4826251" y="2436537"/>
                </a:cubicBezTo>
                <a:cubicBezTo>
                  <a:pt x="4833407" y="2434630"/>
                  <a:pt x="4840562" y="2434152"/>
                  <a:pt x="4847390" y="2434959"/>
                </a:cubicBezTo>
                <a:close/>
                <a:moveTo>
                  <a:pt x="1482958" y="2434939"/>
                </a:moveTo>
                <a:cubicBezTo>
                  <a:pt x="1503168" y="2437354"/>
                  <a:pt x="1521768" y="2451305"/>
                  <a:pt x="1527491" y="2472769"/>
                </a:cubicBezTo>
                <a:cubicBezTo>
                  <a:pt x="1535122" y="2499479"/>
                  <a:pt x="1519860" y="2528097"/>
                  <a:pt x="1491245" y="2537636"/>
                </a:cubicBezTo>
                <a:cubicBezTo>
                  <a:pt x="1491245" y="2537636"/>
                  <a:pt x="1491245" y="2537636"/>
                  <a:pt x="1147861" y="2638743"/>
                </a:cubicBezTo>
                <a:cubicBezTo>
                  <a:pt x="1121153" y="2646373"/>
                  <a:pt x="1092538" y="2631113"/>
                  <a:pt x="1082999" y="2602496"/>
                </a:cubicBezTo>
                <a:cubicBezTo>
                  <a:pt x="1081092" y="2596773"/>
                  <a:pt x="1081092" y="2592957"/>
                  <a:pt x="1081092" y="2587234"/>
                </a:cubicBezTo>
                <a:cubicBezTo>
                  <a:pt x="1081092" y="2564343"/>
                  <a:pt x="1096353" y="2545267"/>
                  <a:pt x="1119245" y="2537636"/>
                </a:cubicBezTo>
                <a:cubicBezTo>
                  <a:pt x="1119245" y="2537636"/>
                  <a:pt x="1119245" y="2537636"/>
                  <a:pt x="1462630" y="2436519"/>
                </a:cubicBezTo>
                <a:cubicBezTo>
                  <a:pt x="1469306" y="2434611"/>
                  <a:pt x="1476222" y="2434134"/>
                  <a:pt x="1482958" y="2434939"/>
                </a:cubicBezTo>
                <a:close/>
                <a:moveTo>
                  <a:pt x="4270882" y="2431445"/>
                </a:moveTo>
                <a:cubicBezTo>
                  <a:pt x="4301301" y="2425730"/>
                  <a:pt x="4331718" y="2444781"/>
                  <a:pt x="4339323" y="2475264"/>
                </a:cubicBezTo>
                <a:cubicBezTo>
                  <a:pt x="4345026" y="2505752"/>
                  <a:pt x="4326015" y="2536235"/>
                  <a:pt x="4295596" y="2543855"/>
                </a:cubicBezTo>
                <a:cubicBezTo>
                  <a:pt x="4295596" y="2543855"/>
                  <a:pt x="4295596" y="2543855"/>
                  <a:pt x="3951517" y="2618134"/>
                </a:cubicBezTo>
                <a:cubicBezTo>
                  <a:pt x="3921098" y="2625754"/>
                  <a:pt x="3890680" y="2606707"/>
                  <a:pt x="3883076" y="2574330"/>
                </a:cubicBezTo>
                <a:cubicBezTo>
                  <a:pt x="3883076" y="2570518"/>
                  <a:pt x="3883076" y="2566710"/>
                  <a:pt x="3883076" y="2562902"/>
                </a:cubicBezTo>
                <a:cubicBezTo>
                  <a:pt x="3883076" y="2536235"/>
                  <a:pt x="3900186" y="2513371"/>
                  <a:pt x="3926804" y="2507657"/>
                </a:cubicBezTo>
                <a:cubicBezTo>
                  <a:pt x="3926804" y="2507657"/>
                  <a:pt x="3926804" y="2507657"/>
                  <a:pt x="4270882" y="2431445"/>
                </a:cubicBezTo>
                <a:close/>
                <a:moveTo>
                  <a:pt x="2016607" y="2431425"/>
                </a:moveTo>
                <a:cubicBezTo>
                  <a:pt x="2047025" y="2425710"/>
                  <a:pt x="2077447" y="2444760"/>
                  <a:pt x="2085053" y="2475241"/>
                </a:cubicBezTo>
                <a:cubicBezTo>
                  <a:pt x="2090756" y="2505723"/>
                  <a:pt x="2071744" y="2536204"/>
                  <a:pt x="2041322" y="2543824"/>
                </a:cubicBezTo>
                <a:cubicBezTo>
                  <a:pt x="2041322" y="2543824"/>
                  <a:pt x="2041322" y="2543824"/>
                  <a:pt x="1697222" y="2618115"/>
                </a:cubicBezTo>
                <a:cubicBezTo>
                  <a:pt x="1666804" y="2625735"/>
                  <a:pt x="1636386" y="2606686"/>
                  <a:pt x="1630683" y="2574302"/>
                </a:cubicBezTo>
                <a:cubicBezTo>
                  <a:pt x="1628782" y="2570493"/>
                  <a:pt x="1628782" y="2566683"/>
                  <a:pt x="1628782" y="2562874"/>
                </a:cubicBezTo>
                <a:cubicBezTo>
                  <a:pt x="1628782" y="2536204"/>
                  <a:pt x="1647793" y="2513343"/>
                  <a:pt x="1674409" y="2507628"/>
                </a:cubicBezTo>
                <a:cubicBezTo>
                  <a:pt x="1674409" y="2507628"/>
                  <a:pt x="1674409" y="2507628"/>
                  <a:pt x="2016607" y="2431425"/>
                </a:cubicBezTo>
                <a:close/>
                <a:moveTo>
                  <a:pt x="2799530" y="2428905"/>
                </a:moveTo>
                <a:cubicBezTo>
                  <a:pt x="2799530" y="2428905"/>
                  <a:pt x="2799530" y="2428905"/>
                  <a:pt x="3148601" y="2428905"/>
                </a:cubicBezTo>
                <a:cubicBezTo>
                  <a:pt x="3188659" y="2428905"/>
                  <a:pt x="3221085" y="2459456"/>
                  <a:pt x="3221085" y="2499561"/>
                </a:cubicBezTo>
                <a:cubicBezTo>
                  <a:pt x="3221085" y="2537751"/>
                  <a:pt x="3188659" y="2570203"/>
                  <a:pt x="3148601" y="2570203"/>
                </a:cubicBezTo>
                <a:cubicBezTo>
                  <a:pt x="3148601" y="2570203"/>
                  <a:pt x="3148601" y="2570203"/>
                  <a:pt x="2799530" y="2570203"/>
                </a:cubicBezTo>
                <a:cubicBezTo>
                  <a:pt x="2761379" y="2570203"/>
                  <a:pt x="2728953" y="2537751"/>
                  <a:pt x="2728953" y="2499561"/>
                </a:cubicBezTo>
                <a:cubicBezTo>
                  <a:pt x="2728953" y="2459456"/>
                  <a:pt x="2761379" y="2428905"/>
                  <a:pt x="2799530" y="2428905"/>
                </a:cubicBezTo>
                <a:close/>
                <a:moveTo>
                  <a:pt x="3713474" y="2424778"/>
                </a:moveTo>
                <a:cubicBezTo>
                  <a:pt x="3745884" y="2420965"/>
                  <a:pt x="3778294" y="2443829"/>
                  <a:pt x="3782105" y="2478123"/>
                </a:cubicBezTo>
                <a:cubicBezTo>
                  <a:pt x="3787825" y="2510515"/>
                  <a:pt x="3764947" y="2542901"/>
                  <a:pt x="3730631" y="2546711"/>
                </a:cubicBezTo>
                <a:cubicBezTo>
                  <a:pt x="3730631" y="2546711"/>
                  <a:pt x="3730631" y="2546711"/>
                  <a:pt x="3383699" y="2598132"/>
                </a:cubicBezTo>
                <a:cubicBezTo>
                  <a:pt x="3351292" y="2601943"/>
                  <a:pt x="3318883" y="2579088"/>
                  <a:pt x="3315071" y="2546711"/>
                </a:cubicBezTo>
                <a:cubicBezTo>
                  <a:pt x="3313164" y="2542901"/>
                  <a:pt x="3313164" y="2539091"/>
                  <a:pt x="3313164" y="2537188"/>
                </a:cubicBezTo>
                <a:cubicBezTo>
                  <a:pt x="3313164" y="2506705"/>
                  <a:pt x="3336040" y="2480031"/>
                  <a:pt x="3366541" y="2476218"/>
                </a:cubicBezTo>
                <a:cubicBezTo>
                  <a:pt x="3366541" y="2476218"/>
                  <a:pt x="3366541" y="2476218"/>
                  <a:pt x="3713474" y="2424778"/>
                </a:cubicBezTo>
                <a:close/>
                <a:moveTo>
                  <a:pt x="2578386" y="2424755"/>
                </a:moveTo>
                <a:cubicBezTo>
                  <a:pt x="2610793" y="2420945"/>
                  <a:pt x="2643200" y="2443806"/>
                  <a:pt x="2647013" y="2478098"/>
                </a:cubicBezTo>
                <a:cubicBezTo>
                  <a:pt x="2652731" y="2510483"/>
                  <a:pt x="2629856" y="2542867"/>
                  <a:pt x="2595543" y="2546678"/>
                </a:cubicBezTo>
                <a:cubicBezTo>
                  <a:pt x="2595543" y="2546678"/>
                  <a:pt x="2595543" y="2546678"/>
                  <a:pt x="2248597" y="2598110"/>
                </a:cubicBezTo>
                <a:cubicBezTo>
                  <a:pt x="2216190" y="2601920"/>
                  <a:pt x="2183783" y="2579061"/>
                  <a:pt x="2179970" y="2546678"/>
                </a:cubicBezTo>
                <a:cubicBezTo>
                  <a:pt x="2178064" y="2542867"/>
                  <a:pt x="2178064" y="2539057"/>
                  <a:pt x="2178064" y="2537153"/>
                </a:cubicBezTo>
                <a:cubicBezTo>
                  <a:pt x="2178064" y="2506672"/>
                  <a:pt x="2200939" y="2480001"/>
                  <a:pt x="2231440" y="2476192"/>
                </a:cubicBezTo>
                <a:cubicBezTo>
                  <a:pt x="2231440" y="2476192"/>
                  <a:pt x="2231440" y="2476192"/>
                  <a:pt x="2578386" y="2424755"/>
                </a:cubicBezTo>
                <a:close/>
                <a:moveTo>
                  <a:pt x="9856995" y="2158848"/>
                </a:moveTo>
                <a:cubicBezTo>
                  <a:pt x="9860561" y="2158848"/>
                  <a:pt x="9863889" y="2160276"/>
                  <a:pt x="9865791" y="2163134"/>
                </a:cubicBezTo>
                <a:cubicBezTo>
                  <a:pt x="9869594" y="2165038"/>
                  <a:pt x="9869594" y="2168849"/>
                  <a:pt x="9869594" y="2172659"/>
                </a:cubicBezTo>
                <a:cubicBezTo>
                  <a:pt x="9869594" y="2176469"/>
                  <a:pt x="9869594" y="2180278"/>
                  <a:pt x="9865791" y="2182184"/>
                </a:cubicBezTo>
                <a:cubicBezTo>
                  <a:pt x="9865791" y="2182184"/>
                  <a:pt x="9865791" y="2182184"/>
                  <a:pt x="9536809" y="2494604"/>
                </a:cubicBezTo>
                <a:cubicBezTo>
                  <a:pt x="9533005" y="2500320"/>
                  <a:pt x="9523497" y="2500320"/>
                  <a:pt x="9517792" y="2494604"/>
                </a:cubicBezTo>
                <a:cubicBezTo>
                  <a:pt x="9513989" y="2488889"/>
                  <a:pt x="9513989" y="2481268"/>
                  <a:pt x="9519694" y="2475555"/>
                </a:cubicBezTo>
                <a:cubicBezTo>
                  <a:pt x="9519694" y="2475555"/>
                  <a:pt x="9519694" y="2475555"/>
                  <a:pt x="9846774" y="2163134"/>
                </a:cubicBezTo>
                <a:cubicBezTo>
                  <a:pt x="9849627" y="2160276"/>
                  <a:pt x="9853430" y="2158848"/>
                  <a:pt x="9856995" y="2158848"/>
                </a:cubicBezTo>
                <a:close/>
                <a:moveTo>
                  <a:pt x="9280994" y="2152757"/>
                </a:moveTo>
                <a:cubicBezTo>
                  <a:pt x="9285526" y="2152995"/>
                  <a:pt x="9289819" y="2154905"/>
                  <a:pt x="9292682" y="2158723"/>
                </a:cubicBezTo>
                <a:cubicBezTo>
                  <a:pt x="9296499" y="2162540"/>
                  <a:pt x="9296499" y="2166358"/>
                  <a:pt x="9296499" y="2170175"/>
                </a:cubicBezTo>
                <a:cubicBezTo>
                  <a:pt x="9296499" y="2175900"/>
                  <a:pt x="9294591" y="2181628"/>
                  <a:pt x="9290774" y="2183535"/>
                </a:cubicBezTo>
                <a:cubicBezTo>
                  <a:pt x="9290774" y="2183535"/>
                  <a:pt x="9290774" y="2183535"/>
                  <a:pt x="8960635" y="2475567"/>
                </a:cubicBezTo>
                <a:cubicBezTo>
                  <a:pt x="8953002" y="2481289"/>
                  <a:pt x="8941552" y="2481289"/>
                  <a:pt x="8935827" y="2473653"/>
                </a:cubicBezTo>
                <a:cubicBezTo>
                  <a:pt x="8928194" y="2466019"/>
                  <a:pt x="8930102" y="2454566"/>
                  <a:pt x="8935827" y="2448839"/>
                </a:cubicBezTo>
                <a:cubicBezTo>
                  <a:pt x="8935827" y="2448839"/>
                  <a:pt x="8935827" y="2448839"/>
                  <a:pt x="9267874" y="2156814"/>
                </a:cubicBezTo>
                <a:cubicBezTo>
                  <a:pt x="9271691" y="2153949"/>
                  <a:pt x="9276462" y="2152518"/>
                  <a:pt x="9280994" y="2152757"/>
                </a:cubicBezTo>
                <a:close/>
                <a:moveTo>
                  <a:pt x="10441167" y="2152737"/>
                </a:moveTo>
                <a:cubicBezTo>
                  <a:pt x="10445695" y="2152975"/>
                  <a:pt x="10449985" y="2154884"/>
                  <a:pt x="10452845" y="2158701"/>
                </a:cubicBezTo>
                <a:cubicBezTo>
                  <a:pt x="10456658" y="2162518"/>
                  <a:pt x="10458565" y="2166335"/>
                  <a:pt x="10458565" y="2170154"/>
                </a:cubicBezTo>
                <a:cubicBezTo>
                  <a:pt x="10458565" y="2175879"/>
                  <a:pt x="10456658" y="2181605"/>
                  <a:pt x="10452845" y="2183515"/>
                </a:cubicBezTo>
                <a:cubicBezTo>
                  <a:pt x="10452845" y="2183515"/>
                  <a:pt x="10452845" y="2183515"/>
                  <a:pt x="10121085" y="2475541"/>
                </a:cubicBezTo>
                <a:cubicBezTo>
                  <a:pt x="10113459" y="2481266"/>
                  <a:pt x="10102019" y="2481266"/>
                  <a:pt x="10096299" y="2473632"/>
                </a:cubicBezTo>
                <a:cubicBezTo>
                  <a:pt x="10088672" y="2465997"/>
                  <a:pt x="10090579" y="2454545"/>
                  <a:pt x="10098205" y="2448819"/>
                </a:cubicBezTo>
                <a:cubicBezTo>
                  <a:pt x="10098205" y="2448819"/>
                  <a:pt x="10098205" y="2448819"/>
                  <a:pt x="10428058" y="2156792"/>
                </a:cubicBezTo>
                <a:cubicBezTo>
                  <a:pt x="10431871" y="2153930"/>
                  <a:pt x="10436638" y="2152497"/>
                  <a:pt x="10441167" y="2152737"/>
                </a:cubicBezTo>
                <a:close/>
                <a:moveTo>
                  <a:pt x="8711083" y="2147846"/>
                </a:moveTo>
                <a:cubicBezTo>
                  <a:pt x="8716565" y="2148561"/>
                  <a:pt x="8721808" y="2151431"/>
                  <a:pt x="8725621" y="2156214"/>
                </a:cubicBezTo>
                <a:cubicBezTo>
                  <a:pt x="8729434" y="2160039"/>
                  <a:pt x="8731341" y="2163866"/>
                  <a:pt x="8731341" y="2169603"/>
                </a:cubicBezTo>
                <a:cubicBezTo>
                  <a:pt x="8731341" y="2175340"/>
                  <a:pt x="8727528" y="2181077"/>
                  <a:pt x="8723714" y="2186815"/>
                </a:cubicBezTo>
                <a:cubicBezTo>
                  <a:pt x="8723714" y="2186815"/>
                  <a:pt x="8723714" y="2186815"/>
                  <a:pt x="8390055" y="2454587"/>
                </a:cubicBezTo>
                <a:cubicBezTo>
                  <a:pt x="8380522" y="2462239"/>
                  <a:pt x="8367176" y="2460324"/>
                  <a:pt x="8359549" y="2450760"/>
                </a:cubicBezTo>
                <a:cubicBezTo>
                  <a:pt x="8351923" y="2441196"/>
                  <a:pt x="8353830" y="2427807"/>
                  <a:pt x="8363363" y="2420157"/>
                </a:cubicBezTo>
                <a:cubicBezTo>
                  <a:pt x="8363363" y="2420157"/>
                  <a:pt x="8363363" y="2420157"/>
                  <a:pt x="8695115" y="2152388"/>
                </a:cubicBezTo>
                <a:cubicBezTo>
                  <a:pt x="8699882" y="2148561"/>
                  <a:pt x="8705602" y="2147128"/>
                  <a:pt x="8711083" y="2147846"/>
                </a:cubicBezTo>
                <a:close/>
                <a:moveTo>
                  <a:pt x="11019424" y="2147822"/>
                </a:moveTo>
                <a:cubicBezTo>
                  <a:pt x="11024882" y="2148539"/>
                  <a:pt x="11030103" y="2151408"/>
                  <a:pt x="11033901" y="2156190"/>
                </a:cubicBezTo>
                <a:cubicBezTo>
                  <a:pt x="11037698" y="2160015"/>
                  <a:pt x="11039597" y="2163840"/>
                  <a:pt x="11039597" y="2169578"/>
                </a:cubicBezTo>
                <a:cubicBezTo>
                  <a:pt x="11039597" y="2175316"/>
                  <a:pt x="11035800" y="2181054"/>
                  <a:pt x="11030104" y="2186792"/>
                </a:cubicBezTo>
                <a:cubicBezTo>
                  <a:pt x="11030104" y="2186792"/>
                  <a:pt x="11030104" y="2186792"/>
                  <a:pt x="10699740" y="2454563"/>
                </a:cubicBezTo>
                <a:cubicBezTo>
                  <a:pt x="10690247" y="2462214"/>
                  <a:pt x="10676956" y="2460301"/>
                  <a:pt x="10669362" y="2450738"/>
                </a:cubicBezTo>
                <a:cubicBezTo>
                  <a:pt x="10661767" y="2441175"/>
                  <a:pt x="10663666" y="2427786"/>
                  <a:pt x="10673159" y="2420136"/>
                </a:cubicBezTo>
                <a:cubicBezTo>
                  <a:pt x="10673159" y="2420136"/>
                  <a:pt x="10673159" y="2420136"/>
                  <a:pt x="11003523" y="2152364"/>
                </a:cubicBezTo>
                <a:cubicBezTo>
                  <a:pt x="11008269" y="2148539"/>
                  <a:pt x="11013965" y="2147105"/>
                  <a:pt x="11019424" y="2147822"/>
                </a:cubicBezTo>
                <a:close/>
                <a:moveTo>
                  <a:pt x="8148561" y="2143310"/>
                </a:moveTo>
                <a:cubicBezTo>
                  <a:pt x="8155228" y="2144265"/>
                  <a:pt x="8161420" y="2147601"/>
                  <a:pt x="8165230" y="2153323"/>
                </a:cubicBezTo>
                <a:cubicBezTo>
                  <a:pt x="8169040" y="2157139"/>
                  <a:pt x="8170945" y="2162858"/>
                  <a:pt x="8170945" y="2168580"/>
                </a:cubicBezTo>
                <a:cubicBezTo>
                  <a:pt x="8170945" y="2176207"/>
                  <a:pt x="8167135" y="2185745"/>
                  <a:pt x="8159515" y="2189556"/>
                </a:cubicBezTo>
                <a:cubicBezTo>
                  <a:pt x="8159515" y="2189556"/>
                  <a:pt x="8159515" y="2189556"/>
                  <a:pt x="7826135" y="2433651"/>
                </a:cubicBezTo>
                <a:cubicBezTo>
                  <a:pt x="7814705" y="2443186"/>
                  <a:pt x="7797560" y="2441279"/>
                  <a:pt x="7789940" y="2427930"/>
                </a:cubicBezTo>
                <a:cubicBezTo>
                  <a:pt x="7780415" y="2416487"/>
                  <a:pt x="7784225" y="2401228"/>
                  <a:pt x="7795655" y="2391692"/>
                </a:cubicBezTo>
                <a:cubicBezTo>
                  <a:pt x="7795655" y="2391692"/>
                  <a:pt x="7795655" y="2391692"/>
                  <a:pt x="8129034" y="2147602"/>
                </a:cubicBezTo>
                <a:cubicBezTo>
                  <a:pt x="8134749" y="2143784"/>
                  <a:pt x="8141893" y="2142354"/>
                  <a:pt x="8148561" y="2143310"/>
                </a:cubicBezTo>
                <a:close/>
                <a:moveTo>
                  <a:pt x="11593070" y="2143308"/>
                </a:moveTo>
                <a:cubicBezTo>
                  <a:pt x="11599505" y="2144262"/>
                  <a:pt x="11605702" y="2147600"/>
                  <a:pt x="11610468" y="2153320"/>
                </a:cubicBezTo>
                <a:cubicBezTo>
                  <a:pt x="11614281" y="2157135"/>
                  <a:pt x="11614281" y="2162856"/>
                  <a:pt x="11614281" y="2168577"/>
                </a:cubicBezTo>
                <a:cubicBezTo>
                  <a:pt x="11614281" y="2176205"/>
                  <a:pt x="11610468" y="2185741"/>
                  <a:pt x="11604748" y="2189556"/>
                </a:cubicBezTo>
                <a:cubicBezTo>
                  <a:pt x="11604748" y="2189556"/>
                  <a:pt x="11604748" y="2189556"/>
                  <a:pt x="11271096" y="2433649"/>
                </a:cubicBezTo>
                <a:cubicBezTo>
                  <a:pt x="11259656" y="2443183"/>
                  <a:pt x="11242497" y="2441278"/>
                  <a:pt x="11232964" y="2427928"/>
                </a:cubicBezTo>
                <a:cubicBezTo>
                  <a:pt x="11225338" y="2416484"/>
                  <a:pt x="11227245" y="2401226"/>
                  <a:pt x="11238684" y="2391689"/>
                </a:cubicBezTo>
                <a:cubicBezTo>
                  <a:pt x="11238684" y="2391689"/>
                  <a:pt x="11238684" y="2391689"/>
                  <a:pt x="11574243" y="2147600"/>
                </a:cubicBezTo>
                <a:cubicBezTo>
                  <a:pt x="11579963" y="2143784"/>
                  <a:pt x="11586636" y="2142354"/>
                  <a:pt x="11593070" y="2143308"/>
                </a:cubicBezTo>
                <a:close/>
                <a:moveTo>
                  <a:pt x="12139750" y="2139967"/>
                </a:moveTo>
                <a:cubicBezTo>
                  <a:pt x="12139750" y="2139967"/>
                  <a:pt x="12139750" y="2139967"/>
                  <a:pt x="12139750" y="2212438"/>
                </a:cubicBezTo>
                <a:cubicBezTo>
                  <a:pt x="12139750" y="2212438"/>
                  <a:pt x="12139750" y="2212438"/>
                  <a:pt x="11835489" y="2414592"/>
                </a:cubicBezTo>
                <a:cubicBezTo>
                  <a:pt x="11820276" y="2424130"/>
                  <a:pt x="11801260" y="2420316"/>
                  <a:pt x="11793653" y="2406965"/>
                </a:cubicBezTo>
                <a:cubicBezTo>
                  <a:pt x="11784145" y="2391705"/>
                  <a:pt x="11787948" y="2372634"/>
                  <a:pt x="11801260" y="2363100"/>
                </a:cubicBezTo>
                <a:lnTo>
                  <a:pt x="12135947" y="2141874"/>
                </a:lnTo>
                <a:cubicBezTo>
                  <a:pt x="12137848" y="2141874"/>
                  <a:pt x="12137848" y="2139967"/>
                  <a:pt x="12139750" y="2139967"/>
                </a:cubicBezTo>
                <a:close/>
                <a:moveTo>
                  <a:pt x="7591500" y="2137042"/>
                </a:moveTo>
                <a:cubicBezTo>
                  <a:pt x="7599120" y="2138712"/>
                  <a:pt x="7605788" y="2143488"/>
                  <a:pt x="7609598" y="2151126"/>
                </a:cubicBezTo>
                <a:cubicBezTo>
                  <a:pt x="7613408" y="2154944"/>
                  <a:pt x="7615313" y="2162582"/>
                  <a:pt x="7615313" y="2168310"/>
                </a:cubicBezTo>
                <a:cubicBezTo>
                  <a:pt x="7615313" y="2177854"/>
                  <a:pt x="7611503" y="2187402"/>
                  <a:pt x="7601978" y="2193129"/>
                </a:cubicBezTo>
                <a:cubicBezTo>
                  <a:pt x="7601978" y="2193129"/>
                  <a:pt x="7601978" y="2193129"/>
                  <a:pt x="7266693" y="2414586"/>
                </a:cubicBezTo>
                <a:cubicBezTo>
                  <a:pt x="7253358" y="2424132"/>
                  <a:pt x="7234308" y="2420313"/>
                  <a:pt x="7224783" y="2406948"/>
                </a:cubicBezTo>
                <a:cubicBezTo>
                  <a:pt x="7215258" y="2391672"/>
                  <a:pt x="7219068" y="2372581"/>
                  <a:pt x="7232403" y="2363036"/>
                </a:cubicBezTo>
                <a:cubicBezTo>
                  <a:pt x="7232403" y="2363036"/>
                  <a:pt x="7232403" y="2363036"/>
                  <a:pt x="7567687" y="2141577"/>
                </a:cubicBezTo>
                <a:cubicBezTo>
                  <a:pt x="7575307" y="2136802"/>
                  <a:pt x="7583880" y="2135369"/>
                  <a:pt x="7591500" y="2137042"/>
                </a:cubicBezTo>
                <a:close/>
                <a:moveTo>
                  <a:pt x="7042453" y="2131898"/>
                </a:moveTo>
                <a:cubicBezTo>
                  <a:pt x="7051052" y="2134287"/>
                  <a:pt x="7058696" y="2140032"/>
                  <a:pt x="7063473" y="2148647"/>
                </a:cubicBezTo>
                <a:cubicBezTo>
                  <a:pt x="7067295" y="2154388"/>
                  <a:pt x="7069206" y="2160130"/>
                  <a:pt x="7069206" y="2165871"/>
                </a:cubicBezTo>
                <a:cubicBezTo>
                  <a:pt x="7069206" y="2177352"/>
                  <a:pt x="7061562" y="2188835"/>
                  <a:pt x="7052008" y="2196489"/>
                </a:cubicBezTo>
                <a:cubicBezTo>
                  <a:pt x="7052008" y="2196489"/>
                  <a:pt x="7052008" y="2196489"/>
                  <a:pt x="6713777" y="2395511"/>
                </a:cubicBezTo>
                <a:cubicBezTo>
                  <a:pt x="6696579" y="2405078"/>
                  <a:pt x="6675559" y="2399339"/>
                  <a:pt x="6666004" y="2382111"/>
                </a:cubicBezTo>
                <a:cubicBezTo>
                  <a:pt x="6656450" y="2366802"/>
                  <a:pt x="6662182" y="2345751"/>
                  <a:pt x="6679381" y="2334271"/>
                </a:cubicBezTo>
                <a:cubicBezTo>
                  <a:pt x="6679381" y="2334271"/>
                  <a:pt x="6679381" y="2334271"/>
                  <a:pt x="7015700" y="2135246"/>
                </a:cubicBezTo>
                <a:cubicBezTo>
                  <a:pt x="7024300" y="2130463"/>
                  <a:pt x="7033854" y="2129506"/>
                  <a:pt x="7042453" y="2131898"/>
                </a:cubicBezTo>
                <a:close/>
                <a:moveTo>
                  <a:pt x="6500021" y="2128305"/>
                </a:moveTo>
                <a:cubicBezTo>
                  <a:pt x="6509301" y="2131404"/>
                  <a:pt x="6517391" y="2138081"/>
                  <a:pt x="6522150" y="2147621"/>
                </a:cubicBezTo>
                <a:cubicBezTo>
                  <a:pt x="6525957" y="2153344"/>
                  <a:pt x="6527861" y="2159065"/>
                  <a:pt x="6527861" y="2164788"/>
                </a:cubicBezTo>
                <a:cubicBezTo>
                  <a:pt x="6527861" y="2180046"/>
                  <a:pt x="6520246" y="2193396"/>
                  <a:pt x="6506921" y="2199117"/>
                </a:cubicBezTo>
                <a:cubicBezTo>
                  <a:pt x="6506921" y="2199117"/>
                  <a:pt x="6506921" y="2199117"/>
                  <a:pt x="6168083" y="2374582"/>
                </a:cubicBezTo>
                <a:cubicBezTo>
                  <a:pt x="6149047" y="2386027"/>
                  <a:pt x="6126204" y="2378398"/>
                  <a:pt x="6116686" y="2359325"/>
                </a:cubicBezTo>
                <a:cubicBezTo>
                  <a:pt x="6107168" y="2340253"/>
                  <a:pt x="6114782" y="2317365"/>
                  <a:pt x="6131914" y="2305910"/>
                </a:cubicBezTo>
                <a:cubicBezTo>
                  <a:pt x="6131914" y="2305910"/>
                  <a:pt x="6131914" y="2305910"/>
                  <a:pt x="6470753" y="2130452"/>
                </a:cubicBezTo>
                <a:cubicBezTo>
                  <a:pt x="6480271" y="2125684"/>
                  <a:pt x="6490741" y="2125207"/>
                  <a:pt x="6500021" y="2128305"/>
                </a:cubicBezTo>
                <a:close/>
                <a:moveTo>
                  <a:pt x="5959154" y="2123129"/>
                </a:moveTo>
                <a:cubicBezTo>
                  <a:pt x="5969386" y="2126931"/>
                  <a:pt x="5977952" y="2134540"/>
                  <a:pt x="5982710" y="2145011"/>
                </a:cubicBezTo>
                <a:cubicBezTo>
                  <a:pt x="5984614" y="2150717"/>
                  <a:pt x="5986517" y="2158328"/>
                  <a:pt x="5986517" y="2164036"/>
                </a:cubicBezTo>
                <a:cubicBezTo>
                  <a:pt x="5986517" y="2179257"/>
                  <a:pt x="5977000" y="2196381"/>
                  <a:pt x="5961771" y="2202088"/>
                </a:cubicBezTo>
                <a:cubicBezTo>
                  <a:pt x="5961771" y="2202088"/>
                  <a:pt x="5961771" y="2202088"/>
                  <a:pt x="5621030" y="2354289"/>
                </a:cubicBezTo>
                <a:cubicBezTo>
                  <a:pt x="5600091" y="2363801"/>
                  <a:pt x="5575344" y="2354289"/>
                  <a:pt x="5565827" y="2333361"/>
                </a:cubicBezTo>
                <a:cubicBezTo>
                  <a:pt x="5556309" y="2312431"/>
                  <a:pt x="5565827" y="2285786"/>
                  <a:pt x="5586766" y="2276282"/>
                </a:cubicBezTo>
                <a:cubicBezTo>
                  <a:pt x="5586766" y="2276282"/>
                  <a:pt x="5586766" y="2276282"/>
                  <a:pt x="5925602" y="2124078"/>
                </a:cubicBezTo>
                <a:cubicBezTo>
                  <a:pt x="5937024" y="2119323"/>
                  <a:pt x="5948922" y="2119323"/>
                  <a:pt x="5959154" y="2123129"/>
                </a:cubicBezTo>
                <a:close/>
                <a:moveTo>
                  <a:pt x="398983" y="2123125"/>
                </a:moveTo>
                <a:cubicBezTo>
                  <a:pt x="409445" y="2126931"/>
                  <a:pt x="418480" y="2134539"/>
                  <a:pt x="423236" y="2145008"/>
                </a:cubicBezTo>
                <a:cubicBezTo>
                  <a:pt x="425138" y="2150715"/>
                  <a:pt x="427040" y="2158327"/>
                  <a:pt x="427040" y="2164035"/>
                </a:cubicBezTo>
                <a:cubicBezTo>
                  <a:pt x="427040" y="2179255"/>
                  <a:pt x="417529" y="2196379"/>
                  <a:pt x="402312" y="2202084"/>
                </a:cubicBezTo>
                <a:cubicBezTo>
                  <a:pt x="402312" y="2202084"/>
                  <a:pt x="402312" y="2202084"/>
                  <a:pt x="61813" y="2354287"/>
                </a:cubicBezTo>
                <a:cubicBezTo>
                  <a:pt x="40889" y="2363801"/>
                  <a:pt x="16160" y="2354287"/>
                  <a:pt x="6649" y="2333359"/>
                </a:cubicBezTo>
                <a:cubicBezTo>
                  <a:pt x="-4765" y="2312430"/>
                  <a:pt x="4746" y="2285786"/>
                  <a:pt x="27573" y="2276282"/>
                </a:cubicBezTo>
                <a:cubicBezTo>
                  <a:pt x="27573" y="2276282"/>
                  <a:pt x="27573" y="2276282"/>
                  <a:pt x="366169" y="2124076"/>
                </a:cubicBezTo>
                <a:cubicBezTo>
                  <a:pt x="376631" y="2119322"/>
                  <a:pt x="388520" y="2119322"/>
                  <a:pt x="398983" y="2123125"/>
                </a:cubicBezTo>
                <a:close/>
                <a:moveTo>
                  <a:pt x="5396847" y="2116229"/>
                </a:moveTo>
                <a:cubicBezTo>
                  <a:pt x="5414923" y="2117027"/>
                  <a:pt x="5432463" y="2128747"/>
                  <a:pt x="5438191" y="2145804"/>
                </a:cubicBezTo>
                <a:cubicBezTo>
                  <a:pt x="5442009" y="2151490"/>
                  <a:pt x="5442009" y="2157173"/>
                  <a:pt x="5442009" y="2162858"/>
                </a:cubicBezTo>
                <a:cubicBezTo>
                  <a:pt x="5442009" y="2181807"/>
                  <a:pt x="5430554" y="2198859"/>
                  <a:pt x="5411464" y="2206436"/>
                </a:cubicBezTo>
                <a:cubicBezTo>
                  <a:pt x="5411464" y="2206436"/>
                  <a:pt x="5411464" y="2206436"/>
                  <a:pt x="5069727" y="2335278"/>
                </a:cubicBezTo>
                <a:cubicBezTo>
                  <a:pt x="5044912" y="2344747"/>
                  <a:pt x="5018188" y="2333383"/>
                  <a:pt x="5008643" y="2308745"/>
                </a:cubicBezTo>
                <a:cubicBezTo>
                  <a:pt x="4999096" y="2284110"/>
                  <a:pt x="5012459" y="2257593"/>
                  <a:pt x="5037276" y="2248119"/>
                </a:cubicBezTo>
                <a:cubicBezTo>
                  <a:pt x="5037276" y="2248119"/>
                  <a:pt x="5037276" y="2248119"/>
                  <a:pt x="5379009" y="2119278"/>
                </a:cubicBezTo>
                <a:cubicBezTo>
                  <a:pt x="5384736" y="2116909"/>
                  <a:pt x="5390821" y="2115962"/>
                  <a:pt x="5396847" y="2116229"/>
                </a:cubicBezTo>
                <a:close/>
                <a:moveTo>
                  <a:pt x="930370" y="2116224"/>
                </a:moveTo>
                <a:cubicBezTo>
                  <a:pt x="948819" y="2117027"/>
                  <a:pt x="965655" y="2128747"/>
                  <a:pt x="972820" y="2145802"/>
                </a:cubicBezTo>
                <a:cubicBezTo>
                  <a:pt x="974730" y="2151487"/>
                  <a:pt x="974730" y="2157173"/>
                  <a:pt x="974730" y="2162856"/>
                </a:cubicBezTo>
                <a:cubicBezTo>
                  <a:pt x="974730" y="2181804"/>
                  <a:pt x="963267" y="2198857"/>
                  <a:pt x="944162" y="2206434"/>
                </a:cubicBezTo>
                <a:cubicBezTo>
                  <a:pt x="944162" y="2206434"/>
                  <a:pt x="944162" y="2206434"/>
                  <a:pt x="602179" y="2335276"/>
                </a:cubicBezTo>
                <a:cubicBezTo>
                  <a:pt x="579252" y="2344745"/>
                  <a:pt x="550595" y="2333380"/>
                  <a:pt x="542953" y="2308745"/>
                </a:cubicBezTo>
                <a:cubicBezTo>
                  <a:pt x="533400" y="2284110"/>
                  <a:pt x="544863" y="2257591"/>
                  <a:pt x="569700" y="2248116"/>
                </a:cubicBezTo>
                <a:cubicBezTo>
                  <a:pt x="569700" y="2248116"/>
                  <a:pt x="569700" y="2248116"/>
                  <a:pt x="911683" y="2119276"/>
                </a:cubicBezTo>
                <a:cubicBezTo>
                  <a:pt x="917892" y="2116906"/>
                  <a:pt x="924221" y="2115959"/>
                  <a:pt x="930370" y="2116224"/>
                </a:cubicBezTo>
                <a:close/>
                <a:moveTo>
                  <a:pt x="4845975" y="2110281"/>
                </a:moveTo>
                <a:cubicBezTo>
                  <a:pt x="4865755" y="2111881"/>
                  <a:pt x="4883653" y="2125767"/>
                  <a:pt x="4890814" y="2147142"/>
                </a:cubicBezTo>
                <a:cubicBezTo>
                  <a:pt x="4892723" y="2150943"/>
                  <a:pt x="4892723" y="2156641"/>
                  <a:pt x="4892723" y="2162340"/>
                </a:cubicBezTo>
                <a:cubicBezTo>
                  <a:pt x="4892723" y="2183235"/>
                  <a:pt x="4879357" y="2204129"/>
                  <a:pt x="4856446" y="2209828"/>
                </a:cubicBezTo>
                <a:cubicBezTo>
                  <a:pt x="4856446" y="2209828"/>
                  <a:pt x="4856446" y="2209828"/>
                  <a:pt x="4512822" y="2316199"/>
                </a:cubicBezTo>
                <a:cubicBezTo>
                  <a:pt x="4486096" y="2325699"/>
                  <a:pt x="4457461" y="2310497"/>
                  <a:pt x="4449824" y="2283899"/>
                </a:cubicBezTo>
                <a:cubicBezTo>
                  <a:pt x="4440279" y="2255416"/>
                  <a:pt x="4455552" y="2226923"/>
                  <a:pt x="4482278" y="2219324"/>
                </a:cubicBezTo>
                <a:cubicBezTo>
                  <a:pt x="4482278" y="2219324"/>
                  <a:pt x="4482278" y="2219324"/>
                  <a:pt x="4825899" y="2112951"/>
                </a:cubicBezTo>
                <a:cubicBezTo>
                  <a:pt x="4832582" y="2110576"/>
                  <a:pt x="4839381" y="2109746"/>
                  <a:pt x="4845975" y="2110281"/>
                </a:cubicBezTo>
                <a:close/>
                <a:moveTo>
                  <a:pt x="1482447" y="2110278"/>
                </a:moveTo>
                <a:cubicBezTo>
                  <a:pt x="1502079" y="2111879"/>
                  <a:pt x="1519569" y="2125767"/>
                  <a:pt x="1525280" y="2147139"/>
                </a:cubicBezTo>
                <a:cubicBezTo>
                  <a:pt x="1527184" y="2150938"/>
                  <a:pt x="1527184" y="2156638"/>
                  <a:pt x="1527184" y="2162337"/>
                </a:cubicBezTo>
                <a:cubicBezTo>
                  <a:pt x="1527184" y="2183231"/>
                  <a:pt x="1513858" y="2204128"/>
                  <a:pt x="1492917" y="2209825"/>
                </a:cubicBezTo>
                <a:cubicBezTo>
                  <a:pt x="1492917" y="2209825"/>
                  <a:pt x="1492917" y="2209825"/>
                  <a:pt x="1150255" y="2316198"/>
                </a:cubicBezTo>
                <a:cubicBezTo>
                  <a:pt x="1123603" y="2325698"/>
                  <a:pt x="1093145" y="2310497"/>
                  <a:pt x="1085530" y="2283899"/>
                </a:cubicBezTo>
                <a:cubicBezTo>
                  <a:pt x="1077915" y="2255414"/>
                  <a:pt x="1093145" y="2226922"/>
                  <a:pt x="1119796" y="2219322"/>
                </a:cubicBezTo>
                <a:cubicBezTo>
                  <a:pt x="1119796" y="2219322"/>
                  <a:pt x="1119796" y="2219322"/>
                  <a:pt x="1462458" y="2112949"/>
                </a:cubicBezTo>
                <a:cubicBezTo>
                  <a:pt x="1469121" y="2110574"/>
                  <a:pt x="1475903" y="2109743"/>
                  <a:pt x="1482447" y="2110278"/>
                </a:cubicBezTo>
                <a:close/>
                <a:moveTo>
                  <a:pt x="4292468" y="2106615"/>
                </a:moveTo>
                <a:cubicBezTo>
                  <a:pt x="4314317" y="2109639"/>
                  <a:pt x="4332942" y="2124921"/>
                  <a:pt x="4338674" y="2147679"/>
                </a:cubicBezTo>
                <a:cubicBezTo>
                  <a:pt x="4338674" y="2151471"/>
                  <a:pt x="4338674" y="2157159"/>
                  <a:pt x="4338674" y="2160953"/>
                </a:cubicBezTo>
                <a:cubicBezTo>
                  <a:pt x="4338674" y="2185604"/>
                  <a:pt x="4321481" y="2208355"/>
                  <a:pt x="4296646" y="2214045"/>
                </a:cubicBezTo>
                <a:cubicBezTo>
                  <a:pt x="4296646" y="2214045"/>
                  <a:pt x="4296646" y="2214045"/>
                  <a:pt x="3952805" y="2297470"/>
                </a:cubicBezTo>
                <a:cubicBezTo>
                  <a:pt x="3922240" y="2305056"/>
                  <a:pt x="3891674" y="2286090"/>
                  <a:pt x="3884033" y="2257656"/>
                </a:cubicBezTo>
                <a:cubicBezTo>
                  <a:pt x="3878302" y="2227319"/>
                  <a:pt x="3895495" y="2196980"/>
                  <a:pt x="3926060" y="2191291"/>
                </a:cubicBezTo>
                <a:cubicBezTo>
                  <a:pt x="3926060" y="2191291"/>
                  <a:pt x="3926060" y="2191291"/>
                  <a:pt x="4269902" y="2107861"/>
                </a:cubicBezTo>
                <a:cubicBezTo>
                  <a:pt x="4277543" y="2105963"/>
                  <a:pt x="4285184" y="2105609"/>
                  <a:pt x="4292468" y="2106615"/>
                </a:cubicBezTo>
                <a:close/>
                <a:moveTo>
                  <a:pt x="2038710" y="2106612"/>
                </a:moveTo>
                <a:cubicBezTo>
                  <a:pt x="2059742" y="2109634"/>
                  <a:pt x="2078355" y="2124921"/>
                  <a:pt x="2084082" y="2147677"/>
                </a:cubicBezTo>
                <a:cubicBezTo>
                  <a:pt x="2084082" y="2151470"/>
                  <a:pt x="2085991" y="2157159"/>
                  <a:pt x="2085991" y="2160951"/>
                </a:cubicBezTo>
                <a:cubicBezTo>
                  <a:pt x="2085991" y="2185601"/>
                  <a:pt x="2068810" y="2208353"/>
                  <a:pt x="2043989" y="2214042"/>
                </a:cubicBezTo>
                <a:cubicBezTo>
                  <a:pt x="2043989" y="2214042"/>
                  <a:pt x="2043989" y="2214042"/>
                  <a:pt x="1698467" y="2297470"/>
                </a:cubicBezTo>
                <a:cubicBezTo>
                  <a:pt x="1667924" y="2305056"/>
                  <a:pt x="1639290" y="2286090"/>
                  <a:pt x="1631654" y="2257654"/>
                </a:cubicBezTo>
                <a:cubicBezTo>
                  <a:pt x="1624018" y="2227317"/>
                  <a:pt x="1643107" y="2196977"/>
                  <a:pt x="1671742" y="2191289"/>
                </a:cubicBezTo>
                <a:cubicBezTo>
                  <a:pt x="1671742" y="2191289"/>
                  <a:pt x="1671742" y="2191289"/>
                  <a:pt x="2017264" y="2107857"/>
                </a:cubicBezTo>
                <a:cubicBezTo>
                  <a:pt x="2024423" y="2105960"/>
                  <a:pt x="2031700" y="2105605"/>
                  <a:pt x="2038710" y="2106612"/>
                </a:cubicBezTo>
                <a:close/>
                <a:moveTo>
                  <a:pt x="3734742" y="2101215"/>
                </a:moveTo>
                <a:cubicBezTo>
                  <a:pt x="3757307" y="2105947"/>
                  <a:pt x="3775573" y="2124878"/>
                  <a:pt x="3779871" y="2149168"/>
                </a:cubicBezTo>
                <a:cubicBezTo>
                  <a:pt x="3779871" y="2152977"/>
                  <a:pt x="3779871" y="2156787"/>
                  <a:pt x="3779871" y="2158693"/>
                </a:cubicBezTo>
                <a:cubicBezTo>
                  <a:pt x="3779871" y="2187267"/>
                  <a:pt x="3760769" y="2212031"/>
                  <a:pt x="3732116" y="2217746"/>
                </a:cubicBezTo>
                <a:cubicBezTo>
                  <a:pt x="3732116" y="2217746"/>
                  <a:pt x="3732116" y="2217746"/>
                  <a:pt x="3384469" y="2278704"/>
                </a:cubicBezTo>
                <a:cubicBezTo>
                  <a:pt x="3351995" y="2284415"/>
                  <a:pt x="3321431" y="2263466"/>
                  <a:pt x="3315701" y="2231081"/>
                </a:cubicBezTo>
                <a:cubicBezTo>
                  <a:pt x="3309970" y="2198696"/>
                  <a:pt x="3330982" y="2166313"/>
                  <a:pt x="3363456" y="2160598"/>
                </a:cubicBezTo>
                <a:cubicBezTo>
                  <a:pt x="3363456" y="2160598"/>
                  <a:pt x="3363456" y="2160598"/>
                  <a:pt x="3711103" y="2101543"/>
                </a:cubicBezTo>
                <a:cubicBezTo>
                  <a:pt x="3719222" y="2099638"/>
                  <a:pt x="3727220" y="2099638"/>
                  <a:pt x="3734742" y="2101215"/>
                </a:cubicBezTo>
                <a:close/>
                <a:moveTo>
                  <a:pt x="2601252" y="2101212"/>
                </a:moveTo>
                <a:cubicBezTo>
                  <a:pt x="2623816" y="2105945"/>
                  <a:pt x="2642082" y="2124875"/>
                  <a:pt x="2646380" y="2149163"/>
                </a:cubicBezTo>
                <a:cubicBezTo>
                  <a:pt x="2646380" y="2152974"/>
                  <a:pt x="2646380" y="2156785"/>
                  <a:pt x="2646380" y="2158690"/>
                </a:cubicBezTo>
                <a:cubicBezTo>
                  <a:pt x="2646380" y="2187265"/>
                  <a:pt x="2627278" y="2212029"/>
                  <a:pt x="2596715" y="2217744"/>
                </a:cubicBezTo>
                <a:cubicBezTo>
                  <a:pt x="2596715" y="2217744"/>
                  <a:pt x="2596715" y="2217744"/>
                  <a:pt x="2250972" y="2278703"/>
                </a:cubicBezTo>
                <a:cubicBezTo>
                  <a:pt x="2218499" y="2284415"/>
                  <a:pt x="2187936" y="2263464"/>
                  <a:pt x="2182205" y="2231079"/>
                </a:cubicBezTo>
                <a:cubicBezTo>
                  <a:pt x="2176475" y="2198694"/>
                  <a:pt x="2197487" y="2166309"/>
                  <a:pt x="2229960" y="2160595"/>
                </a:cubicBezTo>
                <a:cubicBezTo>
                  <a:pt x="2229960" y="2160595"/>
                  <a:pt x="2229960" y="2160595"/>
                  <a:pt x="2577613" y="2101540"/>
                </a:cubicBezTo>
                <a:cubicBezTo>
                  <a:pt x="2585732" y="2099635"/>
                  <a:pt x="2593730" y="2099635"/>
                  <a:pt x="2601252" y="2101212"/>
                </a:cubicBezTo>
                <a:close/>
                <a:moveTo>
                  <a:pt x="3141099" y="2094548"/>
                </a:moveTo>
                <a:cubicBezTo>
                  <a:pt x="3177271" y="2090745"/>
                  <a:pt x="3207731" y="2117365"/>
                  <a:pt x="3211539" y="2151594"/>
                </a:cubicBezTo>
                <a:cubicBezTo>
                  <a:pt x="3211539" y="2153495"/>
                  <a:pt x="3211539" y="2157296"/>
                  <a:pt x="3211539" y="2159200"/>
                </a:cubicBezTo>
                <a:cubicBezTo>
                  <a:pt x="3211539" y="2191527"/>
                  <a:pt x="3188693" y="2218146"/>
                  <a:pt x="3156330" y="2221949"/>
                </a:cubicBezTo>
                <a:cubicBezTo>
                  <a:pt x="3156330" y="2221949"/>
                  <a:pt x="3156330" y="2221949"/>
                  <a:pt x="2807941" y="2259980"/>
                </a:cubicBezTo>
                <a:cubicBezTo>
                  <a:pt x="2773673" y="2263780"/>
                  <a:pt x="2741309" y="2239063"/>
                  <a:pt x="2737501" y="2202934"/>
                </a:cubicBezTo>
                <a:cubicBezTo>
                  <a:pt x="2733694" y="2168708"/>
                  <a:pt x="2760347" y="2136380"/>
                  <a:pt x="2794615" y="2132575"/>
                </a:cubicBezTo>
                <a:cubicBezTo>
                  <a:pt x="2794615" y="2132575"/>
                  <a:pt x="2794615" y="2132575"/>
                  <a:pt x="3141099" y="2094548"/>
                </a:cubicBezTo>
                <a:close/>
                <a:moveTo>
                  <a:pt x="9859129" y="1839997"/>
                </a:moveTo>
                <a:cubicBezTo>
                  <a:pt x="9863412" y="1840234"/>
                  <a:pt x="9867694" y="1842138"/>
                  <a:pt x="9870549" y="1845944"/>
                </a:cubicBezTo>
                <a:cubicBezTo>
                  <a:pt x="9872453" y="1847847"/>
                  <a:pt x="9874356" y="1851654"/>
                  <a:pt x="9874356" y="1857363"/>
                </a:cubicBezTo>
                <a:cubicBezTo>
                  <a:pt x="9874356" y="1861170"/>
                  <a:pt x="9872453" y="1864976"/>
                  <a:pt x="9868646" y="1868782"/>
                </a:cubicBezTo>
                <a:cubicBezTo>
                  <a:pt x="9868646" y="1868782"/>
                  <a:pt x="9868646" y="1868782"/>
                  <a:pt x="9539364" y="2165681"/>
                </a:cubicBezTo>
                <a:cubicBezTo>
                  <a:pt x="9531751" y="2173295"/>
                  <a:pt x="9522234" y="2171391"/>
                  <a:pt x="9516524" y="2165681"/>
                </a:cubicBezTo>
                <a:cubicBezTo>
                  <a:pt x="9510814" y="2158069"/>
                  <a:pt x="9510814" y="2148551"/>
                  <a:pt x="9516524" y="2142843"/>
                </a:cubicBezTo>
                <a:cubicBezTo>
                  <a:pt x="9516524" y="2142843"/>
                  <a:pt x="9516524" y="2142843"/>
                  <a:pt x="9847709" y="1844041"/>
                </a:cubicBezTo>
                <a:cubicBezTo>
                  <a:pt x="9850564" y="1841186"/>
                  <a:pt x="9854847" y="1839759"/>
                  <a:pt x="9859129" y="1839997"/>
                </a:cubicBezTo>
                <a:close/>
                <a:moveTo>
                  <a:pt x="9281354" y="1833512"/>
                </a:moveTo>
                <a:cubicBezTo>
                  <a:pt x="9286351" y="1834227"/>
                  <a:pt x="9291109" y="1837084"/>
                  <a:pt x="9293964" y="1841846"/>
                </a:cubicBezTo>
                <a:cubicBezTo>
                  <a:pt x="9297771" y="1843751"/>
                  <a:pt x="9299674" y="1849467"/>
                  <a:pt x="9299674" y="1853277"/>
                </a:cubicBezTo>
                <a:cubicBezTo>
                  <a:pt x="9299674" y="1858992"/>
                  <a:pt x="9297771" y="1864707"/>
                  <a:pt x="9292060" y="1868517"/>
                </a:cubicBezTo>
                <a:cubicBezTo>
                  <a:pt x="9292060" y="1868517"/>
                  <a:pt x="9292060" y="1868517"/>
                  <a:pt x="8960867" y="2146642"/>
                </a:cubicBezTo>
                <a:cubicBezTo>
                  <a:pt x="8953254" y="2154263"/>
                  <a:pt x="8939930" y="2152359"/>
                  <a:pt x="8932316" y="2144739"/>
                </a:cubicBezTo>
                <a:cubicBezTo>
                  <a:pt x="8926606" y="2135209"/>
                  <a:pt x="8926606" y="2123779"/>
                  <a:pt x="8936123" y="2116162"/>
                </a:cubicBezTo>
                <a:cubicBezTo>
                  <a:pt x="8936123" y="2116162"/>
                  <a:pt x="8936123" y="2116162"/>
                  <a:pt x="9267316" y="1838036"/>
                </a:cubicBezTo>
                <a:cubicBezTo>
                  <a:pt x="9271123" y="1834227"/>
                  <a:pt x="9276357" y="1832798"/>
                  <a:pt x="9281354" y="1833512"/>
                </a:cubicBezTo>
                <a:close/>
                <a:moveTo>
                  <a:pt x="10443580" y="1833487"/>
                </a:moveTo>
                <a:cubicBezTo>
                  <a:pt x="10448836" y="1834202"/>
                  <a:pt x="10454093" y="1837059"/>
                  <a:pt x="10457916" y="1841822"/>
                </a:cubicBezTo>
                <a:cubicBezTo>
                  <a:pt x="10459828" y="1843727"/>
                  <a:pt x="10461739" y="1849442"/>
                  <a:pt x="10461739" y="1853252"/>
                </a:cubicBezTo>
                <a:cubicBezTo>
                  <a:pt x="10461739" y="1858967"/>
                  <a:pt x="10459828" y="1864682"/>
                  <a:pt x="10454093" y="1868492"/>
                </a:cubicBezTo>
                <a:cubicBezTo>
                  <a:pt x="10454093" y="1868492"/>
                  <a:pt x="10454093" y="1868492"/>
                  <a:pt x="10121491" y="2146621"/>
                </a:cubicBezTo>
                <a:cubicBezTo>
                  <a:pt x="10113845" y="2154242"/>
                  <a:pt x="10100465" y="2152337"/>
                  <a:pt x="10094730" y="2144715"/>
                </a:cubicBezTo>
                <a:cubicBezTo>
                  <a:pt x="10087084" y="2135191"/>
                  <a:pt x="10087084" y="2123761"/>
                  <a:pt x="10096642" y="2116141"/>
                </a:cubicBezTo>
                <a:cubicBezTo>
                  <a:pt x="10096642" y="2116141"/>
                  <a:pt x="10096642" y="2116141"/>
                  <a:pt x="10429243" y="1838012"/>
                </a:cubicBezTo>
                <a:cubicBezTo>
                  <a:pt x="10433066" y="1834202"/>
                  <a:pt x="10438323" y="1832773"/>
                  <a:pt x="10443580" y="1833487"/>
                </a:cubicBezTo>
                <a:close/>
                <a:moveTo>
                  <a:pt x="8711664" y="1828739"/>
                </a:moveTo>
                <a:cubicBezTo>
                  <a:pt x="8717637" y="1829451"/>
                  <a:pt x="8723371" y="1832300"/>
                  <a:pt x="8727194" y="1837048"/>
                </a:cubicBezTo>
                <a:cubicBezTo>
                  <a:pt x="8731017" y="1842746"/>
                  <a:pt x="8732928" y="1846544"/>
                  <a:pt x="8732928" y="1852242"/>
                </a:cubicBezTo>
                <a:cubicBezTo>
                  <a:pt x="8732928" y="1859838"/>
                  <a:pt x="8729105" y="1867435"/>
                  <a:pt x="8723371" y="1871234"/>
                </a:cubicBezTo>
                <a:cubicBezTo>
                  <a:pt x="8723371" y="1871234"/>
                  <a:pt x="8723371" y="1871234"/>
                  <a:pt x="8390798" y="2127610"/>
                </a:cubicBezTo>
                <a:cubicBezTo>
                  <a:pt x="8379329" y="2135209"/>
                  <a:pt x="8364039" y="2133307"/>
                  <a:pt x="8356393" y="2123813"/>
                </a:cubicBezTo>
                <a:cubicBezTo>
                  <a:pt x="8348748" y="2112426"/>
                  <a:pt x="8350659" y="2097231"/>
                  <a:pt x="8360216" y="2089634"/>
                </a:cubicBezTo>
                <a:cubicBezTo>
                  <a:pt x="8360216" y="2089634"/>
                  <a:pt x="8360216" y="2089634"/>
                  <a:pt x="8694701" y="1833250"/>
                </a:cubicBezTo>
                <a:cubicBezTo>
                  <a:pt x="8699479" y="1829451"/>
                  <a:pt x="8705691" y="1828027"/>
                  <a:pt x="8711664" y="1828739"/>
                </a:cubicBezTo>
                <a:close/>
                <a:moveTo>
                  <a:pt x="11021508" y="1828712"/>
                </a:moveTo>
                <a:cubicBezTo>
                  <a:pt x="11027482" y="1829424"/>
                  <a:pt x="11033216" y="1832273"/>
                  <a:pt x="11037038" y="1837021"/>
                </a:cubicBezTo>
                <a:cubicBezTo>
                  <a:pt x="11040861" y="1842718"/>
                  <a:pt x="11042772" y="1846517"/>
                  <a:pt x="11042772" y="1852214"/>
                </a:cubicBezTo>
                <a:cubicBezTo>
                  <a:pt x="11042772" y="1859811"/>
                  <a:pt x="11038949" y="1867408"/>
                  <a:pt x="11033215" y="1871206"/>
                </a:cubicBezTo>
                <a:cubicBezTo>
                  <a:pt x="11033215" y="1871206"/>
                  <a:pt x="11033215" y="1871206"/>
                  <a:pt x="10698730" y="2127592"/>
                </a:cubicBezTo>
                <a:cubicBezTo>
                  <a:pt x="10689173" y="2135189"/>
                  <a:pt x="10673883" y="2133290"/>
                  <a:pt x="10666237" y="2123794"/>
                </a:cubicBezTo>
                <a:cubicBezTo>
                  <a:pt x="10658592" y="2112399"/>
                  <a:pt x="10660503" y="2097206"/>
                  <a:pt x="10670060" y="2089609"/>
                </a:cubicBezTo>
                <a:cubicBezTo>
                  <a:pt x="10670060" y="2089609"/>
                  <a:pt x="10670060" y="2089609"/>
                  <a:pt x="11004545" y="1833223"/>
                </a:cubicBezTo>
                <a:cubicBezTo>
                  <a:pt x="11009324" y="1829424"/>
                  <a:pt x="11015536" y="1828000"/>
                  <a:pt x="11021508" y="1828712"/>
                </a:cubicBezTo>
                <a:close/>
                <a:moveTo>
                  <a:pt x="8148424" y="1822231"/>
                </a:moveTo>
                <a:cubicBezTo>
                  <a:pt x="8155346" y="1823419"/>
                  <a:pt x="8162030" y="1827221"/>
                  <a:pt x="8166804" y="1832924"/>
                </a:cubicBezTo>
                <a:cubicBezTo>
                  <a:pt x="8170623" y="1838626"/>
                  <a:pt x="8172533" y="1844330"/>
                  <a:pt x="8172533" y="1850033"/>
                </a:cubicBezTo>
                <a:cubicBezTo>
                  <a:pt x="8172533" y="1857637"/>
                  <a:pt x="8168714" y="1867142"/>
                  <a:pt x="8161075" y="1872844"/>
                </a:cubicBezTo>
                <a:cubicBezTo>
                  <a:pt x="8161075" y="1872844"/>
                  <a:pt x="8161075" y="1872844"/>
                  <a:pt x="7824980" y="2108561"/>
                </a:cubicBezTo>
                <a:cubicBezTo>
                  <a:pt x="7813523" y="2116162"/>
                  <a:pt x="7796336" y="2114263"/>
                  <a:pt x="7786788" y="2100956"/>
                </a:cubicBezTo>
                <a:cubicBezTo>
                  <a:pt x="7777240" y="2089551"/>
                  <a:pt x="7781059" y="2072443"/>
                  <a:pt x="7792517" y="2062938"/>
                </a:cubicBezTo>
                <a:cubicBezTo>
                  <a:pt x="7792517" y="2062938"/>
                  <a:pt x="7792517" y="2062938"/>
                  <a:pt x="8128611" y="1827221"/>
                </a:cubicBezTo>
                <a:cubicBezTo>
                  <a:pt x="8134340" y="1822469"/>
                  <a:pt x="8141501" y="1821043"/>
                  <a:pt x="8148424" y="1822231"/>
                </a:cubicBezTo>
                <a:close/>
                <a:moveTo>
                  <a:pt x="11593502" y="1822227"/>
                </a:moveTo>
                <a:cubicBezTo>
                  <a:pt x="11600640" y="1823415"/>
                  <a:pt x="11607302" y="1827217"/>
                  <a:pt x="11612061" y="1832920"/>
                </a:cubicBezTo>
                <a:cubicBezTo>
                  <a:pt x="11613964" y="1838623"/>
                  <a:pt x="11615868" y="1844326"/>
                  <a:pt x="11615868" y="1850029"/>
                </a:cubicBezTo>
                <a:cubicBezTo>
                  <a:pt x="11615868" y="1857632"/>
                  <a:pt x="11612061" y="1867138"/>
                  <a:pt x="11604447" y="1872840"/>
                </a:cubicBezTo>
                <a:cubicBezTo>
                  <a:pt x="11604447" y="1872840"/>
                  <a:pt x="11604447" y="1872840"/>
                  <a:pt x="11271337" y="2108557"/>
                </a:cubicBezTo>
                <a:cubicBezTo>
                  <a:pt x="11258013" y="2116159"/>
                  <a:pt x="11240881" y="2114261"/>
                  <a:pt x="11233267" y="2100952"/>
                </a:cubicBezTo>
                <a:cubicBezTo>
                  <a:pt x="11223750" y="2089547"/>
                  <a:pt x="11225653" y="2072439"/>
                  <a:pt x="11238978" y="2062934"/>
                </a:cubicBezTo>
                <a:cubicBezTo>
                  <a:pt x="11238978" y="2062934"/>
                  <a:pt x="11238978" y="2062934"/>
                  <a:pt x="11572088" y="1827217"/>
                </a:cubicBezTo>
                <a:cubicBezTo>
                  <a:pt x="11578750" y="1822464"/>
                  <a:pt x="11586364" y="1821038"/>
                  <a:pt x="11593502" y="1822227"/>
                </a:cubicBezTo>
                <a:close/>
                <a:moveTo>
                  <a:pt x="12139750" y="1819296"/>
                </a:moveTo>
                <a:cubicBezTo>
                  <a:pt x="12139750" y="1819296"/>
                  <a:pt x="12139750" y="1819296"/>
                  <a:pt x="12139750" y="1893845"/>
                </a:cubicBezTo>
                <a:cubicBezTo>
                  <a:pt x="12139750" y="1893845"/>
                  <a:pt x="12139750" y="1893845"/>
                  <a:pt x="11834405" y="2090726"/>
                </a:cubicBezTo>
                <a:cubicBezTo>
                  <a:pt x="11819138" y="2100283"/>
                  <a:pt x="11800054" y="2094549"/>
                  <a:pt x="11790512" y="2081169"/>
                </a:cubicBezTo>
                <a:cubicBezTo>
                  <a:pt x="11780970" y="2065877"/>
                  <a:pt x="11784787" y="2046762"/>
                  <a:pt x="11800054" y="2037205"/>
                </a:cubicBezTo>
                <a:lnTo>
                  <a:pt x="12135933" y="1821208"/>
                </a:lnTo>
                <a:cubicBezTo>
                  <a:pt x="12137842" y="1819296"/>
                  <a:pt x="12137842" y="1819296"/>
                  <a:pt x="12139750" y="1819296"/>
                </a:cubicBezTo>
                <a:close/>
                <a:moveTo>
                  <a:pt x="7591461" y="1816389"/>
                </a:moveTo>
                <a:cubicBezTo>
                  <a:pt x="7599307" y="1818063"/>
                  <a:pt x="7606440" y="1822846"/>
                  <a:pt x="7611195" y="1830500"/>
                </a:cubicBezTo>
                <a:cubicBezTo>
                  <a:pt x="7614999" y="1836240"/>
                  <a:pt x="7616901" y="1841981"/>
                  <a:pt x="7616901" y="1847721"/>
                </a:cubicBezTo>
                <a:cubicBezTo>
                  <a:pt x="7616901" y="1857288"/>
                  <a:pt x="7611195" y="1866856"/>
                  <a:pt x="7601685" y="1874509"/>
                </a:cubicBezTo>
                <a:cubicBezTo>
                  <a:pt x="7601685" y="1874509"/>
                  <a:pt x="7601685" y="1874509"/>
                  <a:pt x="7266927" y="2090722"/>
                </a:cubicBezTo>
                <a:cubicBezTo>
                  <a:pt x="7251710" y="2100289"/>
                  <a:pt x="7232690" y="2094549"/>
                  <a:pt x="7223180" y="2081155"/>
                </a:cubicBezTo>
                <a:cubicBezTo>
                  <a:pt x="7213670" y="2065848"/>
                  <a:pt x="7219376" y="2046715"/>
                  <a:pt x="7232690" y="2037147"/>
                </a:cubicBezTo>
                <a:cubicBezTo>
                  <a:pt x="7232690" y="2037147"/>
                  <a:pt x="7232690" y="2037147"/>
                  <a:pt x="7567448" y="1820933"/>
                </a:cubicBezTo>
                <a:cubicBezTo>
                  <a:pt x="7575056" y="1816149"/>
                  <a:pt x="7583615" y="1814714"/>
                  <a:pt x="7591461" y="1816389"/>
                </a:cubicBezTo>
                <a:close/>
                <a:moveTo>
                  <a:pt x="7042453" y="1811445"/>
                </a:moveTo>
                <a:cubicBezTo>
                  <a:pt x="7051052" y="1813588"/>
                  <a:pt x="7058696" y="1819303"/>
                  <a:pt x="7063473" y="1827876"/>
                </a:cubicBezTo>
                <a:cubicBezTo>
                  <a:pt x="7067295" y="1833591"/>
                  <a:pt x="7069206" y="1839306"/>
                  <a:pt x="7069206" y="1845021"/>
                </a:cubicBezTo>
                <a:cubicBezTo>
                  <a:pt x="7069206" y="1858356"/>
                  <a:pt x="7063473" y="1869786"/>
                  <a:pt x="7052008" y="1875501"/>
                </a:cubicBezTo>
                <a:cubicBezTo>
                  <a:pt x="7052008" y="1875501"/>
                  <a:pt x="7052008" y="1875501"/>
                  <a:pt x="6713777" y="2071714"/>
                </a:cubicBezTo>
                <a:cubicBezTo>
                  <a:pt x="6696579" y="2081239"/>
                  <a:pt x="6675559" y="2075525"/>
                  <a:pt x="6666004" y="2058379"/>
                </a:cubicBezTo>
                <a:cubicBezTo>
                  <a:pt x="6656450" y="2041235"/>
                  <a:pt x="6662182" y="2020280"/>
                  <a:pt x="6679381" y="2010756"/>
                </a:cubicBezTo>
                <a:cubicBezTo>
                  <a:pt x="6679381" y="2010756"/>
                  <a:pt x="6679381" y="2010756"/>
                  <a:pt x="7015700" y="1816445"/>
                </a:cubicBezTo>
                <a:cubicBezTo>
                  <a:pt x="7024300" y="1810730"/>
                  <a:pt x="7033854" y="1809302"/>
                  <a:pt x="7042453" y="1811445"/>
                </a:cubicBezTo>
                <a:close/>
                <a:moveTo>
                  <a:pt x="6499936" y="1806065"/>
                </a:moveTo>
                <a:cubicBezTo>
                  <a:pt x="6509244" y="1809168"/>
                  <a:pt x="6517358" y="1815852"/>
                  <a:pt x="6522132" y="1825400"/>
                </a:cubicBezTo>
                <a:cubicBezTo>
                  <a:pt x="6525950" y="1831129"/>
                  <a:pt x="6527860" y="1836858"/>
                  <a:pt x="6527860" y="1842587"/>
                </a:cubicBezTo>
                <a:cubicBezTo>
                  <a:pt x="6527860" y="1857864"/>
                  <a:pt x="6520223" y="1871231"/>
                  <a:pt x="6506857" y="1876960"/>
                </a:cubicBezTo>
                <a:cubicBezTo>
                  <a:pt x="6506857" y="1876960"/>
                  <a:pt x="6506857" y="1876960"/>
                  <a:pt x="6166999" y="2052641"/>
                </a:cubicBezTo>
                <a:cubicBezTo>
                  <a:pt x="6147906" y="2062190"/>
                  <a:pt x="6124994" y="2054551"/>
                  <a:pt x="6115448" y="2035456"/>
                </a:cubicBezTo>
                <a:cubicBezTo>
                  <a:pt x="6103992" y="2016360"/>
                  <a:pt x="6111629" y="1993445"/>
                  <a:pt x="6130722" y="1983897"/>
                </a:cubicBezTo>
                <a:cubicBezTo>
                  <a:pt x="6130722" y="1983897"/>
                  <a:pt x="6130722" y="1983897"/>
                  <a:pt x="6470580" y="1808213"/>
                </a:cubicBezTo>
                <a:cubicBezTo>
                  <a:pt x="6480127" y="1803439"/>
                  <a:pt x="6490628" y="1802962"/>
                  <a:pt x="6499936" y="1806065"/>
                </a:cubicBezTo>
                <a:close/>
                <a:moveTo>
                  <a:pt x="5958440" y="1800931"/>
                </a:moveTo>
                <a:cubicBezTo>
                  <a:pt x="5968909" y="1804761"/>
                  <a:pt x="5977952" y="1812420"/>
                  <a:pt x="5982710" y="1822950"/>
                </a:cubicBezTo>
                <a:cubicBezTo>
                  <a:pt x="5984614" y="1828695"/>
                  <a:pt x="5986517" y="1834438"/>
                  <a:pt x="5986517" y="1840183"/>
                </a:cubicBezTo>
                <a:cubicBezTo>
                  <a:pt x="5986517" y="1857416"/>
                  <a:pt x="5977000" y="1872733"/>
                  <a:pt x="5961771" y="1878478"/>
                </a:cubicBezTo>
                <a:cubicBezTo>
                  <a:pt x="5961771" y="1878478"/>
                  <a:pt x="5961771" y="1878478"/>
                  <a:pt x="5622934" y="2033566"/>
                </a:cubicBezTo>
                <a:cubicBezTo>
                  <a:pt x="5600091" y="2043140"/>
                  <a:pt x="5575344" y="2033566"/>
                  <a:pt x="5565827" y="2012506"/>
                </a:cubicBezTo>
                <a:cubicBezTo>
                  <a:pt x="5556309" y="1991444"/>
                  <a:pt x="5565827" y="1964639"/>
                  <a:pt x="5586766" y="1955065"/>
                </a:cubicBezTo>
                <a:cubicBezTo>
                  <a:pt x="5586766" y="1955065"/>
                  <a:pt x="5586766" y="1955065"/>
                  <a:pt x="5925602" y="1801889"/>
                </a:cubicBezTo>
                <a:cubicBezTo>
                  <a:pt x="5936072" y="1797102"/>
                  <a:pt x="5947970" y="1797102"/>
                  <a:pt x="5958440" y="1800931"/>
                </a:cubicBezTo>
                <a:close/>
                <a:moveTo>
                  <a:pt x="398962" y="1800922"/>
                </a:moveTo>
                <a:cubicBezTo>
                  <a:pt x="409432" y="1804752"/>
                  <a:pt x="418474" y="1812411"/>
                  <a:pt x="423233" y="1822941"/>
                </a:cubicBezTo>
                <a:cubicBezTo>
                  <a:pt x="425137" y="1828686"/>
                  <a:pt x="427041" y="1834430"/>
                  <a:pt x="427041" y="1840174"/>
                </a:cubicBezTo>
                <a:cubicBezTo>
                  <a:pt x="427041" y="1857407"/>
                  <a:pt x="417522" y="1872724"/>
                  <a:pt x="400390" y="1878468"/>
                </a:cubicBezTo>
                <a:cubicBezTo>
                  <a:pt x="400390" y="1878468"/>
                  <a:pt x="400390" y="1878468"/>
                  <a:pt x="61546" y="2033558"/>
                </a:cubicBezTo>
                <a:cubicBezTo>
                  <a:pt x="40607" y="2043131"/>
                  <a:pt x="15860" y="2033558"/>
                  <a:pt x="6342" y="2012496"/>
                </a:cubicBezTo>
                <a:cubicBezTo>
                  <a:pt x="-3177" y="1991435"/>
                  <a:pt x="6342" y="1964629"/>
                  <a:pt x="27281" y="1955055"/>
                </a:cubicBezTo>
                <a:cubicBezTo>
                  <a:pt x="27281" y="1955055"/>
                  <a:pt x="27281" y="1955055"/>
                  <a:pt x="366125" y="1801879"/>
                </a:cubicBezTo>
                <a:cubicBezTo>
                  <a:pt x="376595" y="1797093"/>
                  <a:pt x="388492" y="1797093"/>
                  <a:pt x="398962" y="1800922"/>
                </a:cubicBezTo>
                <a:close/>
                <a:moveTo>
                  <a:pt x="5395741" y="1792156"/>
                </a:moveTo>
                <a:cubicBezTo>
                  <a:pt x="5414189" y="1792513"/>
                  <a:pt x="5431025" y="1803586"/>
                  <a:pt x="5438189" y="1822160"/>
                </a:cubicBezTo>
                <a:cubicBezTo>
                  <a:pt x="5440099" y="1827876"/>
                  <a:pt x="5442010" y="1833591"/>
                  <a:pt x="5442010" y="1839306"/>
                </a:cubicBezTo>
                <a:cubicBezTo>
                  <a:pt x="5442010" y="1858356"/>
                  <a:pt x="5430547" y="1875501"/>
                  <a:pt x="5411443" y="1883121"/>
                </a:cubicBezTo>
                <a:cubicBezTo>
                  <a:pt x="5411443" y="1883121"/>
                  <a:pt x="5411443" y="1883121"/>
                  <a:pt x="5069457" y="2014565"/>
                </a:cubicBezTo>
                <a:cubicBezTo>
                  <a:pt x="5046533" y="2024090"/>
                  <a:pt x="5019789" y="2012660"/>
                  <a:pt x="5010238" y="1989801"/>
                </a:cubicBezTo>
                <a:cubicBezTo>
                  <a:pt x="5000687" y="1965036"/>
                  <a:pt x="5012147" y="1938366"/>
                  <a:pt x="5036983" y="1928841"/>
                </a:cubicBezTo>
                <a:cubicBezTo>
                  <a:pt x="5036983" y="1928841"/>
                  <a:pt x="5036983" y="1928841"/>
                  <a:pt x="5377054" y="1795490"/>
                </a:cubicBezTo>
                <a:cubicBezTo>
                  <a:pt x="5383263" y="1793109"/>
                  <a:pt x="5389591" y="1792037"/>
                  <a:pt x="5395741" y="1792156"/>
                </a:cubicBezTo>
                <a:close/>
                <a:moveTo>
                  <a:pt x="929266" y="1792145"/>
                </a:moveTo>
                <a:cubicBezTo>
                  <a:pt x="946908" y="1792502"/>
                  <a:pt x="963745" y="1803575"/>
                  <a:pt x="970909" y="1822149"/>
                </a:cubicBezTo>
                <a:cubicBezTo>
                  <a:pt x="974730" y="1827864"/>
                  <a:pt x="974730" y="1833579"/>
                  <a:pt x="974730" y="1839294"/>
                </a:cubicBezTo>
                <a:cubicBezTo>
                  <a:pt x="974730" y="1858344"/>
                  <a:pt x="963267" y="1875489"/>
                  <a:pt x="946072" y="1883109"/>
                </a:cubicBezTo>
                <a:cubicBezTo>
                  <a:pt x="946072" y="1883109"/>
                  <a:pt x="946072" y="1883109"/>
                  <a:pt x="604089" y="2014554"/>
                </a:cubicBezTo>
                <a:cubicBezTo>
                  <a:pt x="579253" y="2024078"/>
                  <a:pt x="552505" y="2012649"/>
                  <a:pt x="542953" y="1989789"/>
                </a:cubicBezTo>
                <a:cubicBezTo>
                  <a:pt x="533400" y="1965024"/>
                  <a:pt x="544863" y="1938354"/>
                  <a:pt x="569700" y="1928829"/>
                </a:cubicBezTo>
                <a:cubicBezTo>
                  <a:pt x="569700" y="1928829"/>
                  <a:pt x="569700" y="1928829"/>
                  <a:pt x="911683" y="1795478"/>
                </a:cubicBezTo>
                <a:cubicBezTo>
                  <a:pt x="917415" y="1793097"/>
                  <a:pt x="923385" y="1792026"/>
                  <a:pt x="929266" y="1792145"/>
                </a:cubicBezTo>
                <a:close/>
                <a:moveTo>
                  <a:pt x="4845289" y="1786421"/>
                </a:moveTo>
                <a:cubicBezTo>
                  <a:pt x="4864224" y="1787854"/>
                  <a:pt x="4882086" y="1801107"/>
                  <a:pt x="4889233" y="1819733"/>
                </a:cubicBezTo>
                <a:cubicBezTo>
                  <a:pt x="4891136" y="1825464"/>
                  <a:pt x="4891136" y="1831195"/>
                  <a:pt x="4891136" y="1836927"/>
                </a:cubicBezTo>
                <a:cubicBezTo>
                  <a:pt x="4891136" y="1857942"/>
                  <a:pt x="4877801" y="1877046"/>
                  <a:pt x="4856841" y="1884687"/>
                </a:cubicBezTo>
                <a:cubicBezTo>
                  <a:pt x="4856841" y="1884687"/>
                  <a:pt x="4856841" y="1884687"/>
                  <a:pt x="4515848" y="1997399"/>
                </a:cubicBezTo>
                <a:cubicBezTo>
                  <a:pt x="4489179" y="2005041"/>
                  <a:pt x="4460601" y="1991668"/>
                  <a:pt x="4451076" y="1964923"/>
                </a:cubicBezTo>
                <a:cubicBezTo>
                  <a:pt x="4443456" y="1938178"/>
                  <a:pt x="4456792" y="1909522"/>
                  <a:pt x="4483463" y="1901881"/>
                </a:cubicBezTo>
                <a:cubicBezTo>
                  <a:pt x="4483463" y="1901881"/>
                  <a:pt x="4483463" y="1901881"/>
                  <a:pt x="4826355" y="1789167"/>
                </a:cubicBezTo>
                <a:cubicBezTo>
                  <a:pt x="4832548" y="1786779"/>
                  <a:pt x="4838978" y="1785943"/>
                  <a:pt x="4845289" y="1786421"/>
                </a:cubicBezTo>
                <a:close/>
                <a:moveTo>
                  <a:pt x="1480544" y="1786407"/>
                </a:moveTo>
                <a:cubicBezTo>
                  <a:pt x="1500175" y="1787839"/>
                  <a:pt x="1517665" y="1801092"/>
                  <a:pt x="1523376" y="1819719"/>
                </a:cubicBezTo>
                <a:cubicBezTo>
                  <a:pt x="1525280" y="1825450"/>
                  <a:pt x="1527184" y="1831181"/>
                  <a:pt x="1527184" y="1836913"/>
                </a:cubicBezTo>
                <a:cubicBezTo>
                  <a:pt x="1527184" y="1857927"/>
                  <a:pt x="1513858" y="1877031"/>
                  <a:pt x="1492918" y="1884672"/>
                </a:cubicBezTo>
                <a:cubicBezTo>
                  <a:pt x="1492918" y="1884672"/>
                  <a:pt x="1492918" y="1884672"/>
                  <a:pt x="1150255" y="1997385"/>
                </a:cubicBezTo>
                <a:cubicBezTo>
                  <a:pt x="1123604" y="2005025"/>
                  <a:pt x="1095048" y="1991653"/>
                  <a:pt x="1087434" y="1964908"/>
                </a:cubicBezTo>
                <a:cubicBezTo>
                  <a:pt x="1077915" y="1938163"/>
                  <a:pt x="1093145" y="1909507"/>
                  <a:pt x="1119796" y="1901866"/>
                </a:cubicBezTo>
                <a:cubicBezTo>
                  <a:pt x="1119796" y="1901866"/>
                  <a:pt x="1119796" y="1901866"/>
                  <a:pt x="1460555" y="1789153"/>
                </a:cubicBezTo>
                <a:cubicBezTo>
                  <a:pt x="1467218" y="1786765"/>
                  <a:pt x="1474000" y="1785929"/>
                  <a:pt x="1480544" y="1786407"/>
                </a:cubicBezTo>
                <a:close/>
                <a:moveTo>
                  <a:pt x="4289929" y="1779643"/>
                </a:moveTo>
                <a:cubicBezTo>
                  <a:pt x="4310378" y="1782608"/>
                  <a:pt x="4327881" y="1797700"/>
                  <a:pt x="4333596" y="1819260"/>
                </a:cubicBezTo>
                <a:cubicBezTo>
                  <a:pt x="4335501" y="1825009"/>
                  <a:pt x="4335501" y="1828842"/>
                  <a:pt x="4335501" y="1834591"/>
                </a:cubicBezTo>
                <a:cubicBezTo>
                  <a:pt x="4335501" y="1857589"/>
                  <a:pt x="4320261" y="1878670"/>
                  <a:pt x="4295495" y="1886336"/>
                </a:cubicBezTo>
                <a:cubicBezTo>
                  <a:pt x="4295495" y="1886336"/>
                  <a:pt x="4295495" y="1886336"/>
                  <a:pt x="3952611" y="1978325"/>
                </a:cubicBezTo>
                <a:cubicBezTo>
                  <a:pt x="3924033" y="1985990"/>
                  <a:pt x="3893553" y="1968743"/>
                  <a:pt x="3885933" y="1939996"/>
                </a:cubicBezTo>
                <a:cubicBezTo>
                  <a:pt x="3878314" y="1911250"/>
                  <a:pt x="3895458" y="1880586"/>
                  <a:pt x="3924033" y="1872921"/>
                </a:cubicBezTo>
                <a:cubicBezTo>
                  <a:pt x="3924033" y="1872921"/>
                  <a:pt x="3924033" y="1872921"/>
                  <a:pt x="4268824" y="1780930"/>
                </a:cubicBezTo>
                <a:cubicBezTo>
                  <a:pt x="4275968" y="1779014"/>
                  <a:pt x="4283112" y="1778655"/>
                  <a:pt x="4289929" y="1779643"/>
                </a:cubicBezTo>
                <a:close/>
                <a:moveTo>
                  <a:pt x="2035632" y="1779626"/>
                </a:moveTo>
                <a:cubicBezTo>
                  <a:pt x="2056622" y="1782591"/>
                  <a:pt x="2075195" y="1797683"/>
                  <a:pt x="2080910" y="1819243"/>
                </a:cubicBezTo>
                <a:cubicBezTo>
                  <a:pt x="2082815" y="1824992"/>
                  <a:pt x="2082815" y="1828825"/>
                  <a:pt x="2082815" y="1834574"/>
                </a:cubicBezTo>
                <a:cubicBezTo>
                  <a:pt x="2082815" y="1857572"/>
                  <a:pt x="2065670" y="1878653"/>
                  <a:pt x="2042805" y="1886319"/>
                </a:cubicBezTo>
                <a:cubicBezTo>
                  <a:pt x="2042805" y="1886319"/>
                  <a:pt x="2042805" y="1886319"/>
                  <a:pt x="1699901" y="1978307"/>
                </a:cubicBezTo>
                <a:cubicBezTo>
                  <a:pt x="1669421" y="1985973"/>
                  <a:pt x="1640845" y="1968725"/>
                  <a:pt x="1633225" y="1939979"/>
                </a:cubicBezTo>
                <a:cubicBezTo>
                  <a:pt x="1625605" y="1911232"/>
                  <a:pt x="1642750" y="1880569"/>
                  <a:pt x="1671326" y="1872903"/>
                </a:cubicBezTo>
                <a:cubicBezTo>
                  <a:pt x="1671326" y="1872903"/>
                  <a:pt x="1671326" y="1872903"/>
                  <a:pt x="2014230" y="1780914"/>
                </a:cubicBezTo>
                <a:cubicBezTo>
                  <a:pt x="2021374" y="1778997"/>
                  <a:pt x="2028637" y="1778638"/>
                  <a:pt x="2035632" y="1779626"/>
                </a:cubicBezTo>
                <a:close/>
                <a:moveTo>
                  <a:pt x="3732186" y="1775478"/>
                </a:moveTo>
                <a:cubicBezTo>
                  <a:pt x="3753993" y="1779592"/>
                  <a:pt x="3772581" y="1797123"/>
                  <a:pt x="3778299" y="1820020"/>
                </a:cubicBezTo>
                <a:cubicBezTo>
                  <a:pt x="3778299" y="1823835"/>
                  <a:pt x="3778299" y="1827652"/>
                  <a:pt x="3778299" y="1831468"/>
                </a:cubicBezTo>
                <a:cubicBezTo>
                  <a:pt x="3778299" y="1858181"/>
                  <a:pt x="3759235" y="1882986"/>
                  <a:pt x="3732545" y="1888710"/>
                </a:cubicBezTo>
                <a:cubicBezTo>
                  <a:pt x="3732545" y="1888710"/>
                  <a:pt x="3732545" y="1888710"/>
                  <a:pt x="3387514" y="1959308"/>
                </a:cubicBezTo>
                <a:cubicBezTo>
                  <a:pt x="3357010" y="1966941"/>
                  <a:pt x="3326509" y="1945952"/>
                  <a:pt x="3318883" y="1915423"/>
                </a:cubicBezTo>
                <a:cubicBezTo>
                  <a:pt x="3313164" y="1882986"/>
                  <a:pt x="3332228" y="1852457"/>
                  <a:pt x="3364636" y="1846733"/>
                </a:cubicBezTo>
                <a:cubicBezTo>
                  <a:pt x="3364636" y="1846733"/>
                  <a:pt x="3364636" y="1846733"/>
                  <a:pt x="3709668" y="1776134"/>
                </a:cubicBezTo>
                <a:cubicBezTo>
                  <a:pt x="3717292" y="1774226"/>
                  <a:pt x="3724918" y="1774107"/>
                  <a:pt x="3732186" y="1775478"/>
                </a:cubicBezTo>
                <a:close/>
                <a:moveTo>
                  <a:pt x="2597096" y="1775459"/>
                </a:moveTo>
                <a:cubicBezTo>
                  <a:pt x="2618900" y="1779573"/>
                  <a:pt x="2637486" y="1797103"/>
                  <a:pt x="2643205" y="1820000"/>
                </a:cubicBezTo>
                <a:cubicBezTo>
                  <a:pt x="2643205" y="1823816"/>
                  <a:pt x="2643205" y="1827632"/>
                  <a:pt x="2643205" y="1831449"/>
                </a:cubicBezTo>
                <a:cubicBezTo>
                  <a:pt x="2643205" y="1858161"/>
                  <a:pt x="2624142" y="1882966"/>
                  <a:pt x="2597453" y="1888690"/>
                </a:cubicBezTo>
                <a:cubicBezTo>
                  <a:pt x="2597453" y="1888690"/>
                  <a:pt x="2597453" y="1888690"/>
                  <a:pt x="2252409" y="1959288"/>
                </a:cubicBezTo>
                <a:cubicBezTo>
                  <a:pt x="2221908" y="1966921"/>
                  <a:pt x="2191406" y="1945932"/>
                  <a:pt x="2183781" y="1915403"/>
                </a:cubicBezTo>
                <a:cubicBezTo>
                  <a:pt x="2178062" y="1882966"/>
                  <a:pt x="2197125" y="1852437"/>
                  <a:pt x="2229533" y="1846713"/>
                </a:cubicBezTo>
                <a:cubicBezTo>
                  <a:pt x="2229533" y="1846713"/>
                  <a:pt x="2229533" y="1846713"/>
                  <a:pt x="2574577" y="1776115"/>
                </a:cubicBezTo>
                <a:cubicBezTo>
                  <a:pt x="2582203" y="1774206"/>
                  <a:pt x="2589828" y="1774087"/>
                  <a:pt x="2597096" y="1775459"/>
                </a:cubicBezTo>
                <a:close/>
                <a:moveTo>
                  <a:pt x="3139439" y="1767857"/>
                </a:moveTo>
                <a:cubicBezTo>
                  <a:pt x="3173753" y="1762151"/>
                  <a:pt x="3204252" y="1786874"/>
                  <a:pt x="3209972" y="1819203"/>
                </a:cubicBezTo>
                <a:cubicBezTo>
                  <a:pt x="3209972" y="1823006"/>
                  <a:pt x="3209972" y="1826810"/>
                  <a:pt x="3209972" y="1828711"/>
                </a:cubicBezTo>
                <a:cubicBezTo>
                  <a:pt x="3209972" y="1859139"/>
                  <a:pt x="3187098" y="1885763"/>
                  <a:pt x="3156596" y="1889566"/>
                </a:cubicBezTo>
                <a:cubicBezTo>
                  <a:pt x="3156596" y="1889566"/>
                  <a:pt x="3156596" y="1889566"/>
                  <a:pt x="2811555" y="1939010"/>
                </a:cubicBezTo>
                <a:cubicBezTo>
                  <a:pt x="2777239" y="1944716"/>
                  <a:pt x="2746740" y="1921895"/>
                  <a:pt x="2741022" y="1887665"/>
                </a:cubicBezTo>
                <a:cubicBezTo>
                  <a:pt x="2735303" y="1853434"/>
                  <a:pt x="2760084" y="1823006"/>
                  <a:pt x="2792492" y="1819203"/>
                </a:cubicBezTo>
                <a:cubicBezTo>
                  <a:pt x="2792492" y="1819203"/>
                  <a:pt x="2792492" y="1819203"/>
                  <a:pt x="3139439" y="1767857"/>
                </a:cubicBezTo>
                <a:close/>
                <a:moveTo>
                  <a:pt x="9859195" y="1522734"/>
                </a:moveTo>
                <a:cubicBezTo>
                  <a:pt x="9864196" y="1523210"/>
                  <a:pt x="9868958" y="1525589"/>
                  <a:pt x="9871816" y="1530346"/>
                </a:cubicBezTo>
                <a:cubicBezTo>
                  <a:pt x="9875626" y="1532249"/>
                  <a:pt x="9877531" y="1537959"/>
                  <a:pt x="9877531" y="1541765"/>
                </a:cubicBezTo>
                <a:cubicBezTo>
                  <a:pt x="9877531" y="1547475"/>
                  <a:pt x="9875626" y="1553184"/>
                  <a:pt x="9869911" y="1556990"/>
                </a:cubicBezTo>
                <a:cubicBezTo>
                  <a:pt x="9869911" y="1556990"/>
                  <a:pt x="9869911" y="1556990"/>
                  <a:pt x="9538436" y="1838657"/>
                </a:cubicBezTo>
                <a:cubicBezTo>
                  <a:pt x="9530816" y="1846270"/>
                  <a:pt x="9519386" y="1846270"/>
                  <a:pt x="9511766" y="1836754"/>
                </a:cubicBezTo>
                <a:cubicBezTo>
                  <a:pt x="9506051" y="1829141"/>
                  <a:pt x="9506051" y="1817722"/>
                  <a:pt x="9513671" y="1810110"/>
                </a:cubicBezTo>
                <a:cubicBezTo>
                  <a:pt x="9513671" y="1810110"/>
                  <a:pt x="9513671" y="1810110"/>
                  <a:pt x="9845146" y="1526540"/>
                </a:cubicBezTo>
                <a:cubicBezTo>
                  <a:pt x="9848956" y="1523685"/>
                  <a:pt x="9854195" y="1522258"/>
                  <a:pt x="9859195" y="1522734"/>
                </a:cubicBezTo>
                <a:close/>
                <a:moveTo>
                  <a:pt x="9283544" y="1516005"/>
                </a:moveTo>
                <a:cubicBezTo>
                  <a:pt x="9289502" y="1516718"/>
                  <a:pt x="9295222" y="1519573"/>
                  <a:pt x="9299036" y="1524331"/>
                </a:cubicBezTo>
                <a:cubicBezTo>
                  <a:pt x="9300942" y="1528137"/>
                  <a:pt x="9302849" y="1533846"/>
                  <a:pt x="9302849" y="1537653"/>
                </a:cubicBezTo>
                <a:cubicBezTo>
                  <a:pt x="9302849" y="1545265"/>
                  <a:pt x="9300942" y="1550974"/>
                  <a:pt x="9295222" y="1554780"/>
                </a:cubicBezTo>
                <a:cubicBezTo>
                  <a:pt x="9295222" y="1554780"/>
                  <a:pt x="9295222" y="1554780"/>
                  <a:pt x="8961563" y="1821217"/>
                </a:cubicBezTo>
                <a:cubicBezTo>
                  <a:pt x="8952030" y="1828830"/>
                  <a:pt x="8938684" y="1826927"/>
                  <a:pt x="8931057" y="1817411"/>
                </a:cubicBezTo>
                <a:cubicBezTo>
                  <a:pt x="8923431" y="1807895"/>
                  <a:pt x="8925338" y="1792671"/>
                  <a:pt x="8934871" y="1785058"/>
                </a:cubicBezTo>
                <a:cubicBezTo>
                  <a:pt x="8934871" y="1785058"/>
                  <a:pt x="8934871" y="1785058"/>
                  <a:pt x="9266623" y="1520524"/>
                </a:cubicBezTo>
                <a:cubicBezTo>
                  <a:pt x="9271389" y="1516718"/>
                  <a:pt x="9277586" y="1515291"/>
                  <a:pt x="9283544" y="1516005"/>
                </a:cubicBezTo>
                <a:close/>
                <a:moveTo>
                  <a:pt x="10444673" y="1515983"/>
                </a:moveTo>
                <a:cubicBezTo>
                  <a:pt x="10450150" y="1516697"/>
                  <a:pt x="10455389" y="1519551"/>
                  <a:pt x="10459199" y="1524309"/>
                </a:cubicBezTo>
                <a:cubicBezTo>
                  <a:pt x="10463009" y="1528115"/>
                  <a:pt x="10464914" y="1533824"/>
                  <a:pt x="10464914" y="1537630"/>
                </a:cubicBezTo>
                <a:cubicBezTo>
                  <a:pt x="10464914" y="1545243"/>
                  <a:pt x="10461104" y="1550952"/>
                  <a:pt x="10455389" y="1554759"/>
                </a:cubicBezTo>
                <a:cubicBezTo>
                  <a:pt x="10455389" y="1554759"/>
                  <a:pt x="10455389" y="1554759"/>
                  <a:pt x="10123915" y="1821192"/>
                </a:cubicBezTo>
                <a:cubicBezTo>
                  <a:pt x="10114389" y="1828804"/>
                  <a:pt x="10099149" y="1826901"/>
                  <a:pt x="10091529" y="1817385"/>
                </a:cubicBezTo>
                <a:cubicBezTo>
                  <a:pt x="10083909" y="1807870"/>
                  <a:pt x="10085814" y="1792645"/>
                  <a:pt x="10095339" y="1785033"/>
                </a:cubicBezTo>
                <a:cubicBezTo>
                  <a:pt x="10095339" y="1785033"/>
                  <a:pt x="10095339" y="1785033"/>
                  <a:pt x="10428719" y="1520503"/>
                </a:cubicBezTo>
                <a:cubicBezTo>
                  <a:pt x="10433481" y="1516697"/>
                  <a:pt x="10439197" y="1515269"/>
                  <a:pt x="10444673" y="1515983"/>
                </a:cubicBezTo>
                <a:close/>
                <a:moveTo>
                  <a:pt x="8713305" y="1508547"/>
                </a:moveTo>
                <a:cubicBezTo>
                  <a:pt x="8719740" y="1509261"/>
                  <a:pt x="8725937" y="1512595"/>
                  <a:pt x="8730703" y="1518310"/>
                </a:cubicBezTo>
                <a:cubicBezTo>
                  <a:pt x="8732609" y="1524026"/>
                  <a:pt x="8734516" y="1529740"/>
                  <a:pt x="8734516" y="1533551"/>
                </a:cubicBezTo>
                <a:cubicBezTo>
                  <a:pt x="8734516" y="1543076"/>
                  <a:pt x="8730703" y="1550696"/>
                  <a:pt x="8724983" y="1554506"/>
                </a:cubicBezTo>
                <a:cubicBezTo>
                  <a:pt x="8724983" y="1554506"/>
                  <a:pt x="8724983" y="1554506"/>
                  <a:pt x="8391331" y="1802160"/>
                </a:cubicBezTo>
                <a:cubicBezTo>
                  <a:pt x="8379892" y="1809779"/>
                  <a:pt x="8362732" y="1807874"/>
                  <a:pt x="8355106" y="1796444"/>
                </a:cubicBezTo>
                <a:cubicBezTo>
                  <a:pt x="8345573" y="1785014"/>
                  <a:pt x="8349386" y="1769774"/>
                  <a:pt x="8360826" y="1760249"/>
                </a:cubicBezTo>
                <a:cubicBezTo>
                  <a:pt x="8360826" y="1760249"/>
                  <a:pt x="8360826" y="1760249"/>
                  <a:pt x="8694478" y="1514500"/>
                </a:cubicBezTo>
                <a:cubicBezTo>
                  <a:pt x="8700197" y="1509738"/>
                  <a:pt x="8706870" y="1507833"/>
                  <a:pt x="8713305" y="1508547"/>
                </a:cubicBezTo>
                <a:close/>
                <a:moveTo>
                  <a:pt x="11022911" y="1508523"/>
                </a:moveTo>
                <a:cubicBezTo>
                  <a:pt x="11029107" y="1509237"/>
                  <a:pt x="11034827" y="1512571"/>
                  <a:pt x="11038640" y="1518286"/>
                </a:cubicBezTo>
                <a:cubicBezTo>
                  <a:pt x="11042453" y="1524001"/>
                  <a:pt x="11044360" y="1529716"/>
                  <a:pt x="11044360" y="1533526"/>
                </a:cubicBezTo>
                <a:cubicBezTo>
                  <a:pt x="11044360" y="1543051"/>
                  <a:pt x="11040547" y="1550671"/>
                  <a:pt x="11034827" y="1554481"/>
                </a:cubicBezTo>
                <a:cubicBezTo>
                  <a:pt x="11034827" y="1554481"/>
                  <a:pt x="11034827" y="1554481"/>
                  <a:pt x="10701175" y="1802131"/>
                </a:cubicBezTo>
                <a:cubicBezTo>
                  <a:pt x="10689736" y="1809751"/>
                  <a:pt x="10672576" y="1807846"/>
                  <a:pt x="10664950" y="1796416"/>
                </a:cubicBezTo>
                <a:cubicBezTo>
                  <a:pt x="10655417" y="1784986"/>
                  <a:pt x="10659230" y="1769746"/>
                  <a:pt x="10670670" y="1760221"/>
                </a:cubicBezTo>
                <a:cubicBezTo>
                  <a:pt x="10670670" y="1760221"/>
                  <a:pt x="10670670" y="1760221"/>
                  <a:pt x="11004322" y="1514476"/>
                </a:cubicBezTo>
                <a:cubicBezTo>
                  <a:pt x="11010042" y="1509714"/>
                  <a:pt x="11016715" y="1507809"/>
                  <a:pt x="11022911" y="1508523"/>
                </a:cubicBezTo>
                <a:close/>
                <a:moveTo>
                  <a:pt x="8149812" y="1501800"/>
                </a:moveTo>
                <a:cubicBezTo>
                  <a:pt x="8156962" y="1503228"/>
                  <a:pt x="8163635" y="1507515"/>
                  <a:pt x="8168401" y="1514182"/>
                </a:cubicBezTo>
                <a:cubicBezTo>
                  <a:pt x="8172214" y="1519897"/>
                  <a:pt x="8174121" y="1525612"/>
                  <a:pt x="8174121" y="1531327"/>
                </a:cubicBezTo>
                <a:cubicBezTo>
                  <a:pt x="8174121" y="1540853"/>
                  <a:pt x="8168401" y="1548473"/>
                  <a:pt x="8160775" y="1554187"/>
                </a:cubicBezTo>
                <a:cubicBezTo>
                  <a:pt x="8160775" y="1554187"/>
                  <a:pt x="8160775" y="1554187"/>
                  <a:pt x="7825223" y="1782791"/>
                </a:cubicBezTo>
                <a:cubicBezTo>
                  <a:pt x="7811877" y="1792316"/>
                  <a:pt x="7794718" y="1788506"/>
                  <a:pt x="7785185" y="1775171"/>
                </a:cubicBezTo>
                <a:cubicBezTo>
                  <a:pt x="7775653" y="1761836"/>
                  <a:pt x="7779466" y="1744691"/>
                  <a:pt x="7792812" y="1735166"/>
                </a:cubicBezTo>
                <a:cubicBezTo>
                  <a:pt x="7792812" y="1735166"/>
                  <a:pt x="7792812" y="1735166"/>
                  <a:pt x="8128364" y="1506563"/>
                </a:cubicBezTo>
                <a:cubicBezTo>
                  <a:pt x="8135036" y="1501800"/>
                  <a:pt x="8142663" y="1500371"/>
                  <a:pt x="8149812" y="1501800"/>
                </a:cubicBezTo>
                <a:close/>
                <a:moveTo>
                  <a:pt x="11594174" y="1501795"/>
                </a:moveTo>
                <a:cubicBezTo>
                  <a:pt x="11601776" y="1503224"/>
                  <a:pt x="11608903" y="1507510"/>
                  <a:pt x="11613654" y="1514178"/>
                </a:cubicBezTo>
                <a:cubicBezTo>
                  <a:pt x="11615555" y="1519893"/>
                  <a:pt x="11617455" y="1525608"/>
                  <a:pt x="11617455" y="1531323"/>
                </a:cubicBezTo>
                <a:cubicBezTo>
                  <a:pt x="11617455" y="1540848"/>
                  <a:pt x="11613654" y="1548468"/>
                  <a:pt x="11606052" y="1554183"/>
                </a:cubicBezTo>
                <a:cubicBezTo>
                  <a:pt x="11606052" y="1554183"/>
                  <a:pt x="11606052" y="1554183"/>
                  <a:pt x="11271574" y="1782786"/>
                </a:cubicBezTo>
                <a:cubicBezTo>
                  <a:pt x="11258270" y="1792311"/>
                  <a:pt x="11239266" y="1788501"/>
                  <a:pt x="11231664" y="1775166"/>
                </a:cubicBezTo>
                <a:cubicBezTo>
                  <a:pt x="11222162" y="1761831"/>
                  <a:pt x="11225963" y="1744685"/>
                  <a:pt x="11239266" y="1735161"/>
                </a:cubicBezTo>
                <a:cubicBezTo>
                  <a:pt x="11239266" y="1735161"/>
                  <a:pt x="11239266" y="1735161"/>
                  <a:pt x="11571844" y="1506558"/>
                </a:cubicBezTo>
                <a:cubicBezTo>
                  <a:pt x="11578496" y="1501795"/>
                  <a:pt x="11586573" y="1500367"/>
                  <a:pt x="11594174" y="1501795"/>
                </a:cubicBezTo>
                <a:close/>
                <a:moveTo>
                  <a:pt x="12139750" y="1497031"/>
                </a:moveTo>
                <a:cubicBezTo>
                  <a:pt x="12139750" y="1497031"/>
                  <a:pt x="12139750" y="1497031"/>
                  <a:pt x="12139750" y="1573231"/>
                </a:cubicBezTo>
                <a:cubicBezTo>
                  <a:pt x="12139750" y="1573231"/>
                  <a:pt x="12139750" y="1573231"/>
                  <a:pt x="11834677" y="1763733"/>
                </a:cubicBezTo>
                <a:cubicBezTo>
                  <a:pt x="11819424" y="1773258"/>
                  <a:pt x="11798450" y="1769448"/>
                  <a:pt x="11788917" y="1754208"/>
                </a:cubicBezTo>
                <a:cubicBezTo>
                  <a:pt x="11779383" y="1738968"/>
                  <a:pt x="11785103" y="1719918"/>
                  <a:pt x="11800357" y="1710392"/>
                </a:cubicBezTo>
                <a:lnTo>
                  <a:pt x="12135937" y="1498936"/>
                </a:lnTo>
                <a:cubicBezTo>
                  <a:pt x="12137843" y="1498936"/>
                  <a:pt x="12137843" y="1498936"/>
                  <a:pt x="12139750" y="1497031"/>
                </a:cubicBezTo>
                <a:close/>
                <a:moveTo>
                  <a:pt x="7592412" y="1496614"/>
                </a:moveTo>
                <a:cubicBezTo>
                  <a:pt x="7600734" y="1498748"/>
                  <a:pt x="7608342" y="1503963"/>
                  <a:pt x="7613097" y="1511548"/>
                </a:cubicBezTo>
                <a:cubicBezTo>
                  <a:pt x="7616901" y="1517237"/>
                  <a:pt x="7616901" y="1522928"/>
                  <a:pt x="7616901" y="1528616"/>
                </a:cubicBezTo>
                <a:cubicBezTo>
                  <a:pt x="7616901" y="1539996"/>
                  <a:pt x="7611195" y="1549478"/>
                  <a:pt x="7601685" y="1555168"/>
                </a:cubicBezTo>
                <a:cubicBezTo>
                  <a:pt x="7601685" y="1555168"/>
                  <a:pt x="7601685" y="1555168"/>
                  <a:pt x="7266927" y="1763784"/>
                </a:cubicBezTo>
                <a:cubicBezTo>
                  <a:pt x="7251710" y="1773266"/>
                  <a:pt x="7232690" y="1769473"/>
                  <a:pt x="7223180" y="1754301"/>
                </a:cubicBezTo>
                <a:cubicBezTo>
                  <a:pt x="7213670" y="1739129"/>
                  <a:pt x="7217474" y="1720164"/>
                  <a:pt x="7232690" y="1710681"/>
                </a:cubicBezTo>
                <a:cubicBezTo>
                  <a:pt x="7232690" y="1710681"/>
                  <a:pt x="7232690" y="1710681"/>
                  <a:pt x="7567448" y="1500170"/>
                </a:cubicBezTo>
                <a:cubicBezTo>
                  <a:pt x="7575056" y="1495428"/>
                  <a:pt x="7584091" y="1494480"/>
                  <a:pt x="7592412" y="1496614"/>
                </a:cubicBezTo>
                <a:close/>
                <a:moveTo>
                  <a:pt x="7043429" y="1490543"/>
                </a:moveTo>
                <a:cubicBezTo>
                  <a:pt x="7052498" y="1492930"/>
                  <a:pt x="7060613" y="1498657"/>
                  <a:pt x="7065387" y="1507250"/>
                </a:cubicBezTo>
                <a:cubicBezTo>
                  <a:pt x="7069206" y="1512978"/>
                  <a:pt x="7069206" y="1518707"/>
                  <a:pt x="7069206" y="1524435"/>
                </a:cubicBezTo>
                <a:cubicBezTo>
                  <a:pt x="7069206" y="1537802"/>
                  <a:pt x="7063478" y="1549259"/>
                  <a:pt x="7052021" y="1554987"/>
                </a:cubicBezTo>
                <a:cubicBezTo>
                  <a:pt x="7052021" y="1554987"/>
                  <a:pt x="7052021" y="1554987"/>
                  <a:pt x="6714055" y="1747844"/>
                </a:cubicBezTo>
                <a:cubicBezTo>
                  <a:pt x="6696870" y="1757391"/>
                  <a:pt x="6675866" y="1751662"/>
                  <a:pt x="6664410" y="1734477"/>
                </a:cubicBezTo>
                <a:cubicBezTo>
                  <a:pt x="6654863" y="1717292"/>
                  <a:pt x="6660591" y="1694378"/>
                  <a:pt x="6677776" y="1684830"/>
                </a:cubicBezTo>
                <a:cubicBezTo>
                  <a:pt x="6677776" y="1684830"/>
                  <a:pt x="6677776" y="1684830"/>
                  <a:pt x="7015742" y="1493885"/>
                </a:cubicBezTo>
                <a:cubicBezTo>
                  <a:pt x="7024334" y="1489112"/>
                  <a:pt x="7034359" y="1488157"/>
                  <a:pt x="7043429" y="1490543"/>
                </a:cubicBezTo>
                <a:close/>
                <a:moveTo>
                  <a:pt x="6500175" y="1483801"/>
                </a:moveTo>
                <a:cubicBezTo>
                  <a:pt x="6509721" y="1486903"/>
                  <a:pt x="6518313" y="1493586"/>
                  <a:pt x="6524041" y="1503135"/>
                </a:cubicBezTo>
                <a:cubicBezTo>
                  <a:pt x="6525950" y="1508863"/>
                  <a:pt x="6527860" y="1514592"/>
                  <a:pt x="6527860" y="1520321"/>
                </a:cubicBezTo>
                <a:cubicBezTo>
                  <a:pt x="6527860" y="1535598"/>
                  <a:pt x="6520223" y="1548964"/>
                  <a:pt x="6506857" y="1554694"/>
                </a:cubicBezTo>
                <a:cubicBezTo>
                  <a:pt x="6506857" y="1554694"/>
                  <a:pt x="6506857" y="1554694"/>
                  <a:pt x="6166999" y="1728470"/>
                </a:cubicBezTo>
                <a:cubicBezTo>
                  <a:pt x="6147906" y="1739928"/>
                  <a:pt x="6124994" y="1732290"/>
                  <a:pt x="6113538" y="1711284"/>
                </a:cubicBezTo>
                <a:cubicBezTo>
                  <a:pt x="6103992" y="1692188"/>
                  <a:pt x="6111629" y="1669272"/>
                  <a:pt x="6130722" y="1659723"/>
                </a:cubicBezTo>
                <a:cubicBezTo>
                  <a:pt x="6130722" y="1659723"/>
                  <a:pt x="6130722" y="1659723"/>
                  <a:pt x="6470580" y="1485949"/>
                </a:cubicBezTo>
                <a:cubicBezTo>
                  <a:pt x="6480127" y="1481174"/>
                  <a:pt x="6490628" y="1480697"/>
                  <a:pt x="6500175" y="1483801"/>
                </a:cubicBezTo>
                <a:close/>
                <a:moveTo>
                  <a:pt x="5958440" y="1477068"/>
                </a:moveTo>
                <a:cubicBezTo>
                  <a:pt x="5968909" y="1480892"/>
                  <a:pt x="5977952" y="1488540"/>
                  <a:pt x="5982710" y="1499058"/>
                </a:cubicBezTo>
                <a:cubicBezTo>
                  <a:pt x="5984614" y="1504795"/>
                  <a:pt x="5986517" y="1510530"/>
                  <a:pt x="5986517" y="1516267"/>
                </a:cubicBezTo>
                <a:cubicBezTo>
                  <a:pt x="5986517" y="1533477"/>
                  <a:pt x="5977000" y="1548776"/>
                  <a:pt x="5961771" y="1556424"/>
                </a:cubicBezTo>
                <a:cubicBezTo>
                  <a:pt x="5961771" y="1556424"/>
                  <a:pt x="5961771" y="1556424"/>
                  <a:pt x="5622934" y="1711317"/>
                </a:cubicBezTo>
                <a:cubicBezTo>
                  <a:pt x="5600091" y="1720877"/>
                  <a:pt x="5575344" y="1711317"/>
                  <a:pt x="5565827" y="1690282"/>
                </a:cubicBezTo>
                <a:cubicBezTo>
                  <a:pt x="5556309" y="1669247"/>
                  <a:pt x="5565827" y="1644387"/>
                  <a:pt x="5586766" y="1632914"/>
                </a:cubicBezTo>
                <a:cubicBezTo>
                  <a:pt x="5586766" y="1632914"/>
                  <a:pt x="5586766" y="1632914"/>
                  <a:pt x="5925602" y="1478023"/>
                </a:cubicBezTo>
                <a:cubicBezTo>
                  <a:pt x="5936072" y="1473242"/>
                  <a:pt x="5947970" y="1473242"/>
                  <a:pt x="5958440" y="1477068"/>
                </a:cubicBezTo>
                <a:close/>
                <a:moveTo>
                  <a:pt x="398249" y="1477059"/>
                </a:moveTo>
                <a:cubicBezTo>
                  <a:pt x="408480" y="1480882"/>
                  <a:pt x="417523" y="1488532"/>
                  <a:pt x="423234" y="1499048"/>
                </a:cubicBezTo>
                <a:cubicBezTo>
                  <a:pt x="425137" y="1504785"/>
                  <a:pt x="427041" y="1510522"/>
                  <a:pt x="427041" y="1516259"/>
                </a:cubicBezTo>
                <a:cubicBezTo>
                  <a:pt x="427041" y="1533468"/>
                  <a:pt x="417523" y="1548766"/>
                  <a:pt x="402294" y="1556416"/>
                </a:cubicBezTo>
                <a:cubicBezTo>
                  <a:pt x="402294" y="1556416"/>
                  <a:pt x="402294" y="1556416"/>
                  <a:pt x="61547" y="1711307"/>
                </a:cubicBezTo>
                <a:cubicBezTo>
                  <a:pt x="40607" y="1720868"/>
                  <a:pt x="15860" y="1711307"/>
                  <a:pt x="6342" y="1690272"/>
                </a:cubicBezTo>
                <a:cubicBezTo>
                  <a:pt x="-3176" y="1669237"/>
                  <a:pt x="6342" y="1644378"/>
                  <a:pt x="27282" y="1632905"/>
                </a:cubicBezTo>
                <a:cubicBezTo>
                  <a:pt x="27282" y="1632905"/>
                  <a:pt x="27282" y="1632905"/>
                  <a:pt x="366125" y="1478015"/>
                </a:cubicBezTo>
                <a:cubicBezTo>
                  <a:pt x="376595" y="1473234"/>
                  <a:pt x="388017" y="1473234"/>
                  <a:pt x="398249" y="1477059"/>
                </a:cubicBezTo>
                <a:close/>
                <a:moveTo>
                  <a:pt x="5394603" y="1468287"/>
                </a:moveTo>
                <a:cubicBezTo>
                  <a:pt x="5412999" y="1468643"/>
                  <a:pt x="5429786" y="1479687"/>
                  <a:pt x="5436931" y="1498212"/>
                </a:cubicBezTo>
                <a:cubicBezTo>
                  <a:pt x="5438835" y="1503912"/>
                  <a:pt x="5438835" y="1509612"/>
                  <a:pt x="5438835" y="1515311"/>
                </a:cubicBezTo>
                <a:cubicBezTo>
                  <a:pt x="5438835" y="1532412"/>
                  <a:pt x="5429310" y="1549512"/>
                  <a:pt x="5410261" y="1557113"/>
                </a:cubicBezTo>
                <a:cubicBezTo>
                  <a:pt x="5410261" y="1557113"/>
                  <a:pt x="5410261" y="1557113"/>
                  <a:pt x="5069259" y="1693914"/>
                </a:cubicBezTo>
                <a:cubicBezTo>
                  <a:pt x="5046401" y="1703415"/>
                  <a:pt x="5019734" y="1692015"/>
                  <a:pt x="5010210" y="1667314"/>
                </a:cubicBezTo>
                <a:cubicBezTo>
                  <a:pt x="5000687" y="1644513"/>
                  <a:pt x="5012114" y="1617913"/>
                  <a:pt x="5036878" y="1608413"/>
                </a:cubicBezTo>
                <a:cubicBezTo>
                  <a:pt x="5036878" y="1608413"/>
                  <a:pt x="5036878" y="1608413"/>
                  <a:pt x="5375971" y="1471613"/>
                </a:cubicBezTo>
                <a:cubicBezTo>
                  <a:pt x="5382162" y="1469237"/>
                  <a:pt x="5388472" y="1468168"/>
                  <a:pt x="5394603" y="1468287"/>
                </a:cubicBezTo>
                <a:close/>
                <a:moveTo>
                  <a:pt x="929397" y="1468276"/>
                </a:moveTo>
                <a:cubicBezTo>
                  <a:pt x="946989" y="1468632"/>
                  <a:pt x="963777" y="1479676"/>
                  <a:pt x="970920" y="1498200"/>
                </a:cubicBezTo>
                <a:cubicBezTo>
                  <a:pt x="972826" y="1503900"/>
                  <a:pt x="974730" y="1509601"/>
                  <a:pt x="974730" y="1515301"/>
                </a:cubicBezTo>
                <a:cubicBezTo>
                  <a:pt x="974730" y="1532401"/>
                  <a:pt x="963300" y="1549501"/>
                  <a:pt x="946155" y="1557101"/>
                </a:cubicBezTo>
                <a:cubicBezTo>
                  <a:pt x="946155" y="1557101"/>
                  <a:pt x="946155" y="1557101"/>
                  <a:pt x="605156" y="1693902"/>
                </a:cubicBezTo>
                <a:cubicBezTo>
                  <a:pt x="580391" y="1703402"/>
                  <a:pt x="553721" y="1692002"/>
                  <a:pt x="546100" y="1667301"/>
                </a:cubicBezTo>
                <a:cubicBezTo>
                  <a:pt x="536576" y="1644501"/>
                  <a:pt x="548005" y="1617901"/>
                  <a:pt x="570866" y="1608401"/>
                </a:cubicBezTo>
                <a:cubicBezTo>
                  <a:pt x="570866" y="1608401"/>
                  <a:pt x="570866" y="1608401"/>
                  <a:pt x="911865" y="1471601"/>
                </a:cubicBezTo>
                <a:cubicBezTo>
                  <a:pt x="917580" y="1469226"/>
                  <a:pt x="923533" y="1468157"/>
                  <a:pt x="929397" y="1468276"/>
                </a:cubicBezTo>
                <a:close/>
                <a:moveTo>
                  <a:pt x="4844455" y="1461448"/>
                </a:moveTo>
                <a:cubicBezTo>
                  <a:pt x="4864104" y="1463144"/>
                  <a:pt x="4881611" y="1475289"/>
                  <a:pt x="4887327" y="1493862"/>
                </a:cubicBezTo>
                <a:cubicBezTo>
                  <a:pt x="4889233" y="1499576"/>
                  <a:pt x="4891136" y="1505292"/>
                  <a:pt x="4891136" y="1511006"/>
                </a:cubicBezTo>
                <a:cubicBezTo>
                  <a:pt x="4891136" y="1531962"/>
                  <a:pt x="4877801" y="1551012"/>
                  <a:pt x="4856841" y="1556728"/>
                </a:cubicBezTo>
                <a:cubicBezTo>
                  <a:pt x="4856841" y="1556728"/>
                  <a:pt x="4856841" y="1556728"/>
                  <a:pt x="4515848" y="1674839"/>
                </a:cubicBezTo>
                <a:cubicBezTo>
                  <a:pt x="4489179" y="1684364"/>
                  <a:pt x="4462507" y="1671029"/>
                  <a:pt x="4452982" y="1644358"/>
                </a:cubicBezTo>
                <a:cubicBezTo>
                  <a:pt x="4443456" y="1619593"/>
                  <a:pt x="4456792" y="1591017"/>
                  <a:pt x="4483463" y="1583397"/>
                </a:cubicBezTo>
                <a:cubicBezTo>
                  <a:pt x="4483463" y="1583397"/>
                  <a:pt x="4483463" y="1583397"/>
                  <a:pt x="4824451" y="1463382"/>
                </a:cubicBezTo>
                <a:cubicBezTo>
                  <a:pt x="4831120" y="1461477"/>
                  <a:pt x="4837906" y="1460882"/>
                  <a:pt x="4844455" y="1461448"/>
                </a:cubicBezTo>
                <a:close/>
                <a:moveTo>
                  <a:pt x="1479724" y="1461434"/>
                </a:moveTo>
                <a:cubicBezTo>
                  <a:pt x="1498668" y="1463130"/>
                  <a:pt x="1516541" y="1475275"/>
                  <a:pt x="1523689" y="1493848"/>
                </a:cubicBezTo>
                <a:cubicBezTo>
                  <a:pt x="1525596" y="1499564"/>
                  <a:pt x="1525596" y="1505278"/>
                  <a:pt x="1525596" y="1510993"/>
                </a:cubicBezTo>
                <a:cubicBezTo>
                  <a:pt x="1525596" y="1531948"/>
                  <a:pt x="1512251" y="1550999"/>
                  <a:pt x="1493187" y="1556713"/>
                </a:cubicBezTo>
                <a:cubicBezTo>
                  <a:pt x="1493187" y="1556713"/>
                  <a:pt x="1493187" y="1556713"/>
                  <a:pt x="1150039" y="1674825"/>
                </a:cubicBezTo>
                <a:cubicBezTo>
                  <a:pt x="1125256" y="1684349"/>
                  <a:pt x="1096660" y="1671014"/>
                  <a:pt x="1089034" y="1644344"/>
                </a:cubicBezTo>
                <a:cubicBezTo>
                  <a:pt x="1079503" y="1619579"/>
                  <a:pt x="1092847" y="1591004"/>
                  <a:pt x="1117630" y="1583384"/>
                </a:cubicBezTo>
                <a:cubicBezTo>
                  <a:pt x="1117630" y="1583384"/>
                  <a:pt x="1117630" y="1583384"/>
                  <a:pt x="1460779" y="1463368"/>
                </a:cubicBezTo>
                <a:cubicBezTo>
                  <a:pt x="1466975" y="1461464"/>
                  <a:pt x="1473409" y="1460868"/>
                  <a:pt x="1479724" y="1461434"/>
                </a:cubicBezTo>
                <a:close/>
                <a:moveTo>
                  <a:pt x="4287991" y="1454950"/>
                </a:moveTo>
                <a:cubicBezTo>
                  <a:pt x="4308456" y="1457007"/>
                  <a:pt x="4325971" y="1471672"/>
                  <a:pt x="4331689" y="1491704"/>
                </a:cubicBezTo>
                <a:cubicBezTo>
                  <a:pt x="4333596" y="1497427"/>
                  <a:pt x="4335503" y="1501243"/>
                  <a:pt x="4335503" y="1506966"/>
                </a:cubicBezTo>
                <a:cubicBezTo>
                  <a:pt x="4335503" y="1529859"/>
                  <a:pt x="4320252" y="1550846"/>
                  <a:pt x="4297375" y="1558477"/>
                </a:cubicBezTo>
                <a:cubicBezTo>
                  <a:pt x="4297375" y="1558477"/>
                  <a:pt x="4297375" y="1558477"/>
                  <a:pt x="3954251" y="1657683"/>
                </a:cubicBezTo>
                <a:cubicBezTo>
                  <a:pt x="3925655" y="1665315"/>
                  <a:pt x="3897057" y="1650053"/>
                  <a:pt x="3887528" y="1621435"/>
                </a:cubicBezTo>
                <a:cubicBezTo>
                  <a:pt x="3879902" y="1594725"/>
                  <a:pt x="3897057" y="1564200"/>
                  <a:pt x="3923748" y="1556569"/>
                </a:cubicBezTo>
                <a:cubicBezTo>
                  <a:pt x="3923748" y="1556569"/>
                  <a:pt x="3923748" y="1556569"/>
                  <a:pt x="4266872" y="1457365"/>
                </a:cubicBezTo>
                <a:cubicBezTo>
                  <a:pt x="4274021" y="1454981"/>
                  <a:pt x="4281170" y="1454264"/>
                  <a:pt x="4287991" y="1454950"/>
                </a:cubicBezTo>
                <a:close/>
                <a:moveTo>
                  <a:pt x="2034947" y="1454934"/>
                </a:moveTo>
                <a:cubicBezTo>
                  <a:pt x="2055091" y="1456991"/>
                  <a:pt x="2073625" y="1471657"/>
                  <a:pt x="2079328" y="1491688"/>
                </a:cubicBezTo>
                <a:cubicBezTo>
                  <a:pt x="2081229" y="1497412"/>
                  <a:pt x="2081229" y="1501227"/>
                  <a:pt x="2081229" y="1506950"/>
                </a:cubicBezTo>
                <a:cubicBezTo>
                  <a:pt x="2081229" y="1529844"/>
                  <a:pt x="2066021" y="1550830"/>
                  <a:pt x="2043204" y="1558461"/>
                </a:cubicBezTo>
                <a:cubicBezTo>
                  <a:pt x="2043204" y="1558461"/>
                  <a:pt x="2043204" y="1558461"/>
                  <a:pt x="1701020" y="1657667"/>
                </a:cubicBezTo>
                <a:cubicBezTo>
                  <a:pt x="1672505" y="1665298"/>
                  <a:pt x="1643989" y="1650035"/>
                  <a:pt x="1636385" y="1621418"/>
                </a:cubicBezTo>
                <a:cubicBezTo>
                  <a:pt x="1628781" y="1594709"/>
                  <a:pt x="1643989" y="1564184"/>
                  <a:pt x="1672505" y="1556553"/>
                </a:cubicBezTo>
                <a:cubicBezTo>
                  <a:pt x="1672505" y="1556553"/>
                  <a:pt x="1672505" y="1556553"/>
                  <a:pt x="2014689" y="1457348"/>
                </a:cubicBezTo>
                <a:cubicBezTo>
                  <a:pt x="2021343" y="1454963"/>
                  <a:pt x="2028234" y="1454248"/>
                  <a:pt x="2034947" y="1454934"/>
                </a:cubicBezTo>
                <a:close/>
                <a:moveTo>
                  <a:pt x="3729077" y="1449679"/>
                </a:moveTo>
                <a:cubicBezTo>
                  <a:pt x="3750748" y="1453151"/>
                  <a:pt x="3768942" y="1469174"/>
                  <a:pt x="3773220" y="1490538"/>
                </a:cubicBezTo>
                <a:cubicBezTo>
                  <a:pt x="3775123" y="1496235"/>
                  <a:pt x="3775123" y="1500034"/>
                  <a:pt x="3775123" y="1503831"/>
                </a:cubicBezTo>
                <a:cubicBezTo>
                  <a:pt x="3775123" y="1528519"/>
                  <a:pt x="3758002" y="1553208"/>
                  <a:pt x="3733267" y="1558905"/>
                </a:cubicBezTo>
                <a:cubicBezTo>
                  <a:pt x="3733267" y="1558905"/>
                  <a:pt x="3733267" y="1558905"/>
                  <a:pt x="3388949" y="1638666"/>
                </a:cubicBezTo>
                <a:cubicBezTo>
                  <a:pt x="3358507" y="1646263"/>
                  <a:pt x="3328069" y="1627272"/>
                  <a:pt x="3322361" y="1598786"/>
                </a:cubicBezTo>
                <a:cubicBezTo>
                  <a:pt x="3314753" y="1568400"/>
                  <a:pt x="3333778" y="1538015"/>
                  <a:pt x="3362311" y="1530418"/>
                </a:cubicBezTo>
                <a:cubicBezTo>
                  <a:pt x="3362311" y="1530418"/>
                  <a:pt x="3362311" y="1530418"/>
                  <a:pt x="3706634" y="1450658"/>
                </a:cubicBezTo>
                <a:cubicBezTo>
                  <a:pt x="3714243" y="1448760"/>
                  <a:pt x="3721853" y="1448522"/>
                  <a:pt x="3729077" y="1449679"/>
                </a:cubicBezTo>
                <a:close/>
                <a:moveTo>
                  <a:pt x="2595306" y="1449661"/>
                </a:moveTo>
                <a:cubicBezTo>
                  <a:pt x="2616530" y="1453133"/>
                  <a:pt x="2634008" y="1469156"/>
                  <a:pt x="2639715" y="1490520"/>
                </a:cubicBezTo>
                <a:cubicBezTo>
                  <a:pt x="2641617" y="1496217"/>
                  <a:pt x="2641617" y="1500015"/>
                  <a:pt x="2641617" y="1503814"/>
                </a:cubicBezTo>
                <a:cubicBezTo>
                  <a:pt x="2641617" y="1528502"/>
                  <a:pt x="2624496" y="1553189"/>
                  <a:pt x="2597862" y="1558887"/>
                </a:cubicBezTo>
                <a:cubicBezTo>
                  <a:pt x="2597862" y="1558887"/>
                  <a:pt x="2597862" y="1558887"/>
                  <a:pt x="2255431" y="1638648"/>
                </a:cubicBezTo>
                <a:cubicBezTo>
                  <a:pt x="2224992" y="1646244"/>
                  <a:pt x="2194554" y="1627253"/>
                  <a:pt x="2188847" y="1598767"/>
                </a:cubicBezTo>
                <a:cubicBezTo>
                  <a:pt x="2181237" y="1568382"/>
                  <a:pt x="2200261" y="1537997"/>
                  <a:pt x="2228797" y="1530401"/>
                </a:cubicBezTo>
                <a:cubicBezTo>
                  <a:pt x="2228797" y="1530401"/>
                  <a:pt x="2228797" y="1530401"/>
                  <a:pt x="2573131" y="1450640"/>
                </a:cubicBezTo>
                <a:cubicBezTo>
                  <a:pt x="2580740" y="1448741"/>
                  <a:pt x="2588232" y="1448503"/>
                  <a:pt x="2595306" y="1449661"/>
                </a:cubicBezTo>
                <a:close/>
                <a:moveTo>
                  <a:pt x="3137758" y="1442427"/>
                </a:moveTo>
                <a:cubicBezTo>
                  <a:pt x="3170208" y="1436712"/>
                  <a:pt x="3200750" y="1457667"/>
                  <a:pt x="3206474" y="1490052"/>
                </a:cubicBezTo>
                <a:cubicBezTo>
                  <a:pt x="3206474" y="1493862"/>
                  <a:pt x="3208386" y="1497671"/>
                  <a:pt x="3208386" y="1499576"/>
                </a:cubicBezTo>
                <a:cubicBezTo>
                  <a:pt x="3208386" y="1528151"/>
                  <a:pt x="3187387" y="1552917"/>
                  <a:pt x="3158756" y="1558632"/>
                </a:cubicBezTo>
                <a:cubicBezTo>
                  <a:pt x="3158756" y="1558632"/>
                  <a:pt x="3158756" y="1558632"/>
                  <a:pt x="2813246" y="1621498"/>
                </a:cubicBezTo>
                <a:cubicBezTo>
                  <a:pt x="2780793" y="1627213"/>
                  <a:pt x="2750254" y="1606257"/>
                  <a:pt x="2744526" y="1573872"/>
                </a:cubicBezTo>
                <a:cubicBezTo>
                  <a:pt x="2736890" y="1541486"/>
                  <a:pt x="2759798" y="1511006"/>
                  <a:pt x="2792249" y="1505291"/>
                </a:cubicBezTo>
                <a:cubicBezTo>
                  <a:pt x="2792249" y="1505291"/>
                  <a:pt x="2792249" y="1505291"/>
                  <a:pt x="3137758" y="1442427"/>
                </a:cubicBezTo>
                <a:close/>
                <a:moveTo>
                  <a:pt x="9860829" y="1204612"/>
                </a:moveTo>
                <a:cubicBezTo>
                  <a:pt x="9866293" y="1205090"/>
                  <a:pt x="9871519" y="1207481"/>
                  <a:pt x="9875319" y="1211306"/>
                </a:cubicBezTo>
                <a:cubicBezTo>
                  <a:pt x="9879119" y="1217044"/>
                  <a:pt x="9879119" y="1220870"/>
                  <a:pt x="9879119" y="1226607"/>
                </a:cubicBezTo>
                <a:cubicBezTo>
                  <a:pt x="9879119" y="1232345"/>
                  <a:pt x="9877219" y="1238083"/>
                  <a:pt x="9871518" y="1243820"/>
                </a:cubicBezTo>
                <a:cubicBezTo>
                  <a:pt x="9871518" y="1243820"/>
                  <a:pt x="9871518" y="1243820"/>
                  <a:pt x="9540880" y="1511592"/>
                </a:cubicBezTo>
                <a:cubicBezTo>
                  <a:pt x="9531379" y="1519243"/>
                  <a:pt x="9518078" y="1519243"/>
                  <a:pt x="9510477" y="1509680"/>
                </a:cubicBezTo>
                <a:cubicBezTo>
                  <a:pt x="9502876" y="1500116"/>
                  <a:pt x="9504776" y="1486728"/>
                  <a:pt x="9514277" y="1479077"/>
                </a:cubicBezTo>
                <a:cubicBezTo>
                  <a:pt x="9514277" y="1479077"/>
                  <a:pt x="9514277" y="1479077"/>
                  <a:pt x="9844915" y="1209393"/>
                </a:cubicBezTo>
                <a:cubicBezTo>
                  <a:pt x="9849665" y="1205568"/>
                  <a:pt x="9855366" y="1204134"/>
                  <a:pt x="9860829" y="1204612"/>
                </a:cubicBezTo>
                <a:close/>
                <a:moveTo>
                  <a:pt x="9284557" y="1198509"/>
                </a:moveTo>
                <a:cubicBezTo>
                  <a:pt x="9290758" y="1199223"/>
                  <a:pt x="9296482" y="1202078"/>
                  <a:pt x="9300299" y="1206835"/>
                </a:cubicBezTo>
                <a:cubicBezTo>
                  <a:pt x="9304115" y="1212544"/>
                  <a:pt x="9306023" y="1216350"/>
                  <a:pt x="9306023" y="1222058"/>
                </a:cubicBezTo>
                <a:cubicBezTo>
                  <a:pt x="9306023" y="1229668"/>
                  <a:pt x="9302207" y="1237280"/>
                  <a:pt x="9296482" y="1242988"/>
                </a:cubicBezTo>
                <a:cubicBezTo>
                  <a:pt x="9296482" y="1242988"/>
                  <a:pt x="9296482" y="1242988"/>
                  <a:pt x="8962556" y="1494190"/>
                </a:cubicBezTo>
                <a:cubicBezTo>
                  <a:pt x="8951107" y="1501802"/>
                  <a:pt x="8935841" y="1499899"/>
                  <a:pt x="8928209" y="1490384"/>
                </a:cubicBezTo>
                <a:cubicBezTo>
                  <a:pt x="8918668" y="1478966"/>
                  <a:pt x="8920576" y="1463742"/>
                  <a:pt x="8932025" y="1454228"/>
                </a:cubicBezTo>
                <a:cubicBezTo>
                  <a:pt x="8932025" y="1454228"/>
                  <a:pt x="8932025" y="1454228"/>
                  <a:pt x="9265952" y="1203029"/>
                </a:cubicBezTo>
                <a:cubicBezTo>
                  <a:pt x="9271676" y="1199223"/>
                  <a:pt x="9278355" y="1197796"/>
                  <a:pt x="9284557" y="1198509"/>
                </a:cubicBezTo>
                <a:close/>
                <a:moveTo>
                  <a:pt x="10445106" y="1198483"/>
                </a:moveTo>
                <a:cubicBezTo>
                  <a:pt x="10451287" y="1199197"/>
                  <a:pt x="10456992" y="1202051"/>
                  <a:pt x="10460796" y="1206809"/>
                </a:cubicBezTo>
                <a:cubicBezTo>
                  <a:pt x="10464600" y="1212518"/>
                  <a:pt x="10466502" y="1216324"/>
                  <a:pt x="10466502" y="1222033"/>
                </a:cubicBezTo>
                <a:cubicBezTo>
                  <a:pt x="10466502" y="1229645"/>
                  <a:pt x="10462698" y="1237258"/>
                  <a:pt x="10456993" y="1242967"/>
                </a:cubicBezTo>
                <a:cubicBezTo>
                  <a:pt x="10456993" y="1242967"/>
                  <a:pt x="10456993" y="1242967"/>
                  <a:pt x="10124163" y="1494166"/>
                </a:cubicBezTo>
                <a:cubicBezTo>
                  <a:pt x="10112752" y="1501779"/>
                  <a:pt x="10097537" y="1499876"/>
                  <a:pt x="10089930" y="1490360"/>
                </a:cubicBezTo>
                <a:cubicBezTo>
                  <a:pt x="10082322" y="1478942"/>
                  <a:pt x="10084224" y="1463718"/>
                  <a:pt x="10093733" y="1454203"/>
                </a:cubicBezTo>
                <a:cubicBezTo>
                  <a:pt x="10093733" y="1454203"/>
                  <a:pt x="10093733" y="1454203"/>
                  <a:pt x="10426562" y="1203003"/>
                </a:cubicBezTo>
                <a:cubicBezTo>
                  <a:pt x="10432268" y="1199197"/>
                  <a:pt x="10438925" y="1197769"/>
                  <a:pt x="10445106" y="1198483"/>
                </a:cubicBezTo>
                <a:close/>
                <a:moveTo>
                  <a:pt x="8713976" y="1190406"/>
                </a:moveTo>
                <a:cubicBezTo>
                  <a:pt x="8720876" y="1191594"/>
                  <a:pt x="8727538" y="1195396"/>
                  <a:pt x="8732297" y="1201099"/>
                </a:cubicBezTo>
                <a:cubicBezTo>
                  <a:pt x="8736104" y="1206803"/>
                  <a:pt x="8736104" y="1212505"/>
                  <a:pt x="8736104" y="1218208"/>
                </a:cubicBezTo>
                <a:cubicBezTo>
                  <a:pt x="8736104" y="1225809"/>
                  <a:pt x="8732297" y="1235312"/>
                  <a:pt x="8724683" y="1241015"/>
                </a:cubicBezTo>
                <a:cubicBezTo>
                  <a:pt x="8724683" y="1241015"/>
                  <a:pt x="8724683" y="1241015"/>
                  <a:pt x="8391573" y="1476736"/>
                </a:cubicBezTo>
                <a:cubicBezTo>
                  <a:pt x="8378249" y="1484339"/>
                  <a:pt x="8361117" y="1482438"/>
                  <a:pt x="8353503" y="1469132"/>
                </a:cubicBezTo>
                <a:cubicBezTo>
                  <a:pt x="8343986" y="1457727"/>
                  <a:pt x="8347793" y="1440617"/>
                  <a:pt x="8359214" y="1431112"/>
                </a:cubicBezTo>
                <a:cubicBezTo>
                  <a:pt x="8359214" y="1431112"/>
                  <a:pt x="8359214" y="1431112"/>
                  <a:pt x="8694227" y="1195396"/>
                </a:cubicBezTo>
                <a:cubicBezTo>
                  <a:pt x="8699937" y="1190644"/>
                  <a:pt x="8707076" y="1189218"/>
                  <a:pt x="8713976" y="1190406"/>
                </a:cubicBezTo>
                <a:close/>
                <a:moveTo>
                  <a:pt x="11023582" y="1190378"/>
                </a:moveTo>
                <a:cubicBezTo>
                  <a:pt x="11030720" y="1191566"/>
                  <a:pt x="11037382" y="1195368"/>
                  <a:pt x="11042141" y="1201071"/>
                </a:cubicBezTo>
                <a:cubicBezTo>
                  <a:pt x="11044044" y="1206774"/>
                  <a:pt x="11045948" y="1212477"/>
                  <a:pt x="11045948" y="1218180"/>
                </a:cubicBezTo>
                <a:cubicBezTo>
                  <a:pt x="11045948" y="1225783"/>
                  <a:pt x="11042141" y="1235288"/>
                  <a:pt x="11034527" y="1240991"/>
                </a:cubicBezTo>
                <a:cubicBezTo>
                  <a:pt x="11034527" y="1240991"/>
                  <a:pt x="11034527" y="1240991"/>
                  <a:pt x="10701417" y="1476710"/>
                </a:cubicBezTo>
                <a:cubicBezTo>
                  <a:pt x="10688093" y="1484313"/>
                  <a:pt x="10670961" y="1482412"/>
                  <a:pt x="10663347" y="1469106"/>
                </a:cubicBezTo>
                <a:cubicBezTo>
                  <a:pt x="10653830" y="1457700"/>
                  <a:pt x="10655733" y="1440591"/>
                  <a:pt x="10669058" y="1431087"/>
                </a:cubicBezTo>
                <a:cubicBezTo>
                  <a:pt x="10669058" y="1431087"/>
                  <a:pt x="10669058" y="1431087"/>
                  <a:pt x="11002168" y="1195368"/>
                </a:cubicBezTo>
                <a:cubicBezTo>
                  <a:pt x="11008830" y="1190616"/>
                  <a:pt x="11016444" y="1189190"/>
                  <a:pt x="11023582" y="1190378"/>
                </a:cubicBezTo>
                <a:close/>
                <a:moveTo>
                  <a:pt x="8150486" y="1182942"/>
                </a:moveTo>
                <a:cubicBezTo>
                  <a:pt x="8158100" y="1184606"/>
                  <a:pt x="8165238" y="1189358"/>
                  <a:pt x="8169997" y="1196960"/>
                </a:cubicBezTo>
                <a:cubicBezTo>
                  <a:pt x="8173804" y="1200763"/>
                  <a:pt x="8175708" y="1206467"/>
                  <a:pt x="8175708" y="1212168"/>
                </a:cubicBezTo>
                <a:cubicBezTo>
                  <a:pt x="8175708" y="1223571"/>
                  <a:pt x="8169997" y="1233074"/>
                  <a:pt x="8160480" y="1238776"/>
                </a:cubicBezTo>
                <a:cubicBezTo>
                  <a:pt x="8160480" y="1238776"/>
                  <a:pt x="8160480" y="1238776"/>
                  <a:pt x="7825460" y="1457373"/>
                </a:cubicBezTo>
                <a:cubicBezTo>
                  <a:pt x="7812135" y="1466876"/>
                  <a:pt x="7793100" y="1463074"/>
                  <a:pt x="7783582" y="1449769"/>
                </a:cubicBezTo>
                <a:cubicBezTo>
                  <a:pt x="7774065" y="1434562"/>
                  <a:pt x="7777872" y="1415556"/>
                  <a:pt x="7793100" y="1407952"/>
                </a:cubicBezTo>
                <a:cubicBezTo>
                  <a:pt x="7793100" y="1407952"/>
                  <a:pt x="7793100" y="1407952"/>
                  <a:pt x="8128120" y="1187458"/>
                </a:cubicBezTo>
                <a:cubicBezTo>
                  <a:pt x="8134782" y="1182705"/>
                  <a:pt x="8142872" y="1181279"/>
                  <a:pt x="8150486" y="1182942"/>
                </a:cubicBezTo>
                <a:close/>
                <a:moveTo>
                  <a:pt x="11595229" y="1182937"/>
                </a:moveTo>
                <a:cubicBezTo>
                  <a:pt x="11602849" y="1184600"/>
                  <a:pt x="11609517" y="1189352"/>
                  <a:pt x="11613327" y="1196955"/>
                </a:cubicBezTo>
                <a:cubicBezTo>
                  <a:pt x="11617137" y="1200757"/>
                  <a:pt x="11619042" y="1206459"/>
                  <a:pt x="11619042" y="1212161"/>
                </a:cubicBezTo>
                <a:cubicBezTo>
                  <a:pt x="11619042" y="1223565"/>
                  <a:pt x="11615232" y="1233069"/>
                  <a:pt x="11605707" y="1238770"/>
                </a:cubicBezTo>
                <a:cubicBezTo>
                  <a:pt x="11605707" y="1238770"/>
                  <a:pt x="11605707" y="1238770"/>
                  <a:pt x="11270423" y="1457367"/>
                </a:cubicBezTo>
                <a:cubicBezTo>
                  <a:pt x="11257087" y="1466870"/>
                  <a:pt x="11238037" y="1463069"/>
                  <a:pt x="11228512" y="1449763"/>
                </a:cubicBezTo>
                <a:cubicBezTo>
                  <a:pt x="11218987" y="1434556"/>
                  <a:pt x="11222797" y="1415549"/>
                  <a:pt x="11236132" y="1407946"/>
                </a:cubicBezTo>
                <a:cubicBezTo>
                  <a:pt x="11236132" y="1407946"/>
                  <a:pt x="11236132" y="1407946"/>
                  <a:pt x="11571416" y="1187451"/>
                </a:cubicBezTo>
                <a:cubicBezTo>
                  <a:pt x="11579036" y="1182699"/>
                  <a:pt x="11587609" y="1181273"/>
                  <a:pt x="11595229" y="1182937"/>
                </a:cubicBezTo>
                <a:close/>
                <a:moveTo>
                  <a:pt x="12139750" y="1177944"/>
                </a:moveTo>
                <a:cubicBezTo>
                  <a:pt x="12139750" y="1177944"/>
                  <a:pt x="12139750" y="1177944"/>
                  <a:pt x="12139750" y="1255774"/>
                </a:cubicBezTo>
                <a:cubicBezTo>
                  <a:pt x="12139750" y="1255774"/>
                  <a:pt x="12139750" y="1255774"/>
                  <a:pt x="11834677" y="1439913"/>
                </a:cubicBezTo>
                <a:cubicBezTo>
                  <a:pt x="11817517" y="1449407"/>
                  <a:pt x="11798450" y="1445609"/>
                  <a:pt x="11788917" y="1428524"/>
                </a:cubicBezTo>
                <a:cubicBezTo>
                  <a:pt x="11779383" y="1413338"/>
                  <a:pt x="11783196" y="1392456"/>
                  <a:pt x="11798450" y="1382965"/>
                </a:cubicBezTo>
                <a:lnTo>
                  <a:pt x="12135937" y="1179842"/>
                </a:lnTo>
                <a:cubicBezTo>
                  <a:pt x="12137843" y="1179842"/>
                  <a:pt x="12137843" y="1177944"/>
                  <a:pt x="12139750" y="1177944"/>
                </a:cubicBezTo>
                <a:close/>
                <a:moveTo>
                  <a:pt x="7594338" y="1175955"/>
                </a:moveTo>
                <a:cubicBezTo>
                  <a:pt x="7602441" y="1178093"/>
                  <a:pt x="7609590" y="1183320"/>
                  <a:pt x="7614356" y="1190924"/>
                </a:cubicBezTo>
                <a:cubicBezTo>
                  <a:pt x="7618169" y="1196625"/>
                  <a:pt x="7620076" y="1202328"/>
                  <a:pt x="7620076" y="1208030"/>
                </a:cubicBezTo>
                <a:cubicBezTo>
                  <a:pt x="7620076" y="1219433"/>
                  <a:pt x="7614356" y="1230835"/>
                  <a:pt x="7604824" y="1236536"/>
                </a:cubicBezTo>
                <a:cubicBezTo>
                  <a:pt x="7604824" y="1236536"/>
                  <a:pt x="7604824" y="1236536"/>
                  <a:pt x="7267372" y="1439910"/>
                </a:cubicBezTo>
                <a:cubicBezTo>
                  <a:pt x="7252119" y="1449414"/>
                  <a:pt x="7231148" y="1445612"/>
                  <a:pt x="7221615" y="1428505"/>
                </a:cubicBezTo>
                <a:cubicBezTo>
                  <a:pt x="7212083" y="1413303"/>
                  <a:pt x="7217802" y="1392394"/>
                  <a:pt x="7233054" y="1382889"/>
                </a:cubicBezTo>
                <a:cubicBezTo>
                  <a:pt x="7233054" y="1382889"/>
                  <a:pt x="7233054" y="1382889"/>
                  <a:pt x="7568600" y="1179519"/>
                </a:cubicBezTo>
                <a:cubicBezTo>
                  <a:pt x="7577179" y="1174767"/>
                  <a:pt x="7586235" y="1173817"/>
                  <a:pt x="7594338" y="1175955"/>
                </a:cubicBezTo>
                <a:close/>
                <a:moveTo>
                  <a:pt x="7043844" y="1168289"/>
                </a:moveTo>
                <a:cubicBezTo>
                  <a:pt x="7052668" y="1170680"/>
                  <a:pt x="7060300" y="1176415"/>
                  <a:pt x="7065070" y="1185018"/>
                </a:cubicBezTo>
                <a:cubicBezTo>
                  <a:pt x="7068886" y="1190754"/>
                  <a:pt x="7070794" y="1196488"/>
                  <a:pt x="7070794" y="1204137"/>
                </a:cubicBezTo>
                <a:cubicBezTo>
                  <a:pt x="7070794" y="1215606"/>
                  <a:pt x="7063162" y="1228986"/>
                  <a:pt x="7051714" y="1234720"/>
                </a:cubicBezTo>
                <a:cubicBezTo>
                  <a:pt x="7051714" y="1234720"/>
                  <a:pt x="7051714" y="1234720"/>
                  <a:pt x="6714009" y="1423981"/>
                </a:cubicBezTo>
                <a:cubicBezTo>
                  <a:pt x="6696837" y="1433539"/>
                  <a:pt x="6673942" y="1427803"/>
                  <a:pt x="6664402" y="1410601"/>
                </a:cubicBezTo>
                <a:cubicBezTo>
                  <a:pt x="6654863" y="1391481"/>
                  <a:pt x="6660587" y="1370454"/>
                  <a:pt x="6677758" y="1360894"/>
                </a:cubicBezTo>
                <a:cubicBezTo>
                  <a:pt x="6677758" y="1360894"/>
                  <a:pt x="6677758" y="1360894"/>
                  <a:pt x="7015463" y="1171635"/>
                </a:cubicBezTo>
                <a:cubicBezTo>
                  <a:pt x="7025003" y="1166856"/>
                  <a:pt x="7035020" y="1165900"/>
                  <a:pt x="7043844" y="1168289"/>
                </a:cubicBezTo>
                <a:close/>
                <a:moveTo>
                  <a:pt x="6500891" y="1161548"/>
                </a:moveTo>
                <a:cubicBezTo>
                  <a:pt x="6510676" y="1164656"/>
                  <a:pt x="6519268" y="1171347"/>
                  <a:pt x="6524041" y="1180908"/>
                </a:cubicBezTo>
                <a:cubicBezTo>
                  <a:pt x="6525950" y="1186644"/>
                  <a:pt x="6527860" y="1192379"/>
                  <a:pt x="6527860" y="1198115"/>
                </a:cubicBezTo>
                <a:cubicBezTo>
                  <a:pt x="6527860" y="1213412"/>
                  <a:pt x="6520223" y="1226794"/>
                  <a:pt x="6506857" y="1234440"/>
                </a:cubicBezTo>
                <a:cubicBezTo>
                  <a:pt x="6506857" y="1234440"/>
                  <a:pt x="6506857" y="1234440"/>
                  <a:pt x="6166999" y="1406519"/>
                </a:cubicBezTo>
                <a:cubicBezTo>
                  <a:pt x="6147906" y="1416079"/>
                  <a:pt x="6123085" y="1408432"/>
                  <a:pt x="6113538" y="1389310"/>
                </a:cubicBezTo>
                <a:cubicBezTo>
                  <a:pt x="6103992" y="1370191"/>
                  <a:pt x="6111629" y="1345334"/>
                  <a:pt x="6130722" y="1335774"/>
                </a:cubicBezTo>
                <a:cubicBezTo>
                  <a:pt x="6130722" y="1335774"/>
                  <a:pt x="6130722" y="1335774"/>
                  <a:pt x="6470580" y="1163700"/>
                </a:cubicBezTo>
                <a:cubicBezTo>
                  <a:pt x="6480127" y="1158919"/>
                  <a:pt x="6491105" y="1158442"/>
                  <a:pt x="6500891" y="1161548"/>
                </a:cubicBezTo>
                <a:close/>
                <a:moveTo>
                  <a:pt x="5957726" y="1155628"/>
                </a:moveTo>
                <a:cubicBezTo>
                  <a:pt x="5967957" y="1159191"/>
                  <a:pt x="5977000" y="1166792"/>
                  <a:pt x="5982710" y="1178193"/>
                </a:cubicBezTo>
                <a:cubicBezTo>
                  <a:pt x="5984614" y="1183894"/>
                  <a:pt x="5986517" y="1189596"/>
                  <a:pt x="5986517" y="1195296"/>
                </a:cubicBezTo>
                <a:cubicBezTo>
                  <a:pt x="5986517" y="1210498"/>
                  <a:pt x="5977000" y="1225697"/>
                  <a:pt x="5961771" y="1233296"/>
                </a:cubicBezTo>
                <a:cubicBezTo>
                  <a:pt x="5961771" y="1233296"/>
                  <a:pt x="5961771" y="1233296"/>
                  <a:pt x="5622934" y="1389114"/>
                </a:cubicBezTo>
                <a:cubicBezTo>
                  <a:pt x="5600091" y="1398614"/>
                  <a:pt x="5575344" y="1389114"/>
                  <a:pt x="5565827" y="1368212"/>
                </a:cubicBezTo>
                <a:cubicBezTo>
                  <a:pt x="5556309" y="1347309"/>
                  <a:pt x="5565827" y="1322605"/>
                  <a:pt x="5586766" y="1313104"/>
                </a:cubicBezTo>
                <a:cubicBezTo>
                  <a:pt x="5586766" y="1313104"/>
                  <a:pt x="5586766" y="1313104"/>
                  <a:pt x="5925602" y="1157291"/>
                </a:cubicBezTo>
                <a:cubicBezTo>
                  <a:pt x="5936072" y="1152540"/>
                  <a:pt x="5947494" y="1152065"/>
                  <a:pt x="5957726" y="1155628"/>
                </a:cubicBezTo>
                <a:close/>
                <a:moveTo>
                  <a:pt x="398307" y="1155617"/>
                </a:moveTo>
                <a:cubicBezTo>
                  <a:pt x="408309" y="1159180"/>
                  <a:pt x="416881" y="1166781"/>
                  <a:pt x="421644" y="1178183"/>
                </a:cubicBezTo>
                <a:cubicBezTo>
                  <a:pt x="425454" y="1183883"/>
                  <a:pt x="425454" y="1189583"/>
                  <a:pt x="425454" y="1195284"/>
                </a:cubicBezTo>
                <a:cubicBezTo>
                  <a:pt x="425454" y="1210486"/>
                  <a:pt x="417834" y="1225685"/>
                  <a:pt x="402594" y="1233286"/>
                </a:cubicBezTo>
                <a:cubicBezTo>
                  <a:pt x="402594" y="1233286"/>
                  <a:pt x="402594" y="1233286"/>
                  <a:pt x="61595" y="1389103"/>
                </a:cubicBezTo>
                <a:cubicBezTo>
                  <a:pt x="40639" y="1398604"/>
                  <a:pt x="15874" y="1389103"/>
                  <a:pt x="6349" y="1368201"/>
                </a:cubicBezTo>
                <a:cubicBezTo>
                  <a:pt x="-3176" y="1347297"/>
                  <a:pt x="6349" y="1322596"/>
                  <a:pt x="27304" y="1313094"/>
                </a:cubicBezTo>
                <a:cubicBezTo>
                  <a:pt x="27304" y="1313094"/>
                  <a:pt x="27304" y="1313094"/>
                  <a:pt x="366398" y="1157280"/>
                </a:cubicBezTo>
                <a:cubicBezTo>
                  <a:pt x="376876" y="1152529"/>
                  <a:pt x="388306" y="1152054"/>
                  <a:pt x="398307" y="1155617"/>
                </a:cubicBezTo>
                <a:close/>
                <a:moveTo>
                  <a:pt x="5393468" y="1144402"/>
                </a:moveTo>
                <a:cubicBezTo>
                  <a:pt x="5411072" y="1144669"/>
                  <a:pt x="5427873" y="1155342"/>
                  <a:pt x="5435021" y="1172421"/>
                </a:cubicBezTo>
                <a:cubicBezTo>
                  <a:pt x="5436928" y="1178114"/>
                  <a:pt x="5438834" y="1183808"/>
                  <a:pt x="5438834" y="1189500"/>
                </a:cubicBezTo>
                <a:cubicBezTo>
                  <a:pt x="5438834" y="1208476"/>
                  <a:pt x="5427395" y="1225552"/>
                  <a:pt x="5410239" y="1231244"/>
                </a:cubicBezTo>
                <a:cubicBezTo>
                  <a:pt x="5410239" y="1231244"/>
                  <a:pt x="5410239" y="1231244"/>
                  <a:pt x="5070896" y="1371665"/>
                </a:cubicBezTo>
                <a:cubicBezTo>
                  <a:pt x="5046115" y="1381152"/>
                  <a:pt x="5021334" y="1369767"/>
                  <a:pt x="5011805" y="1346995"/>
                </a:cubicBezTo>
                <a:cubicBezTo>
                  <a:pt x="5002274" y="1324224"/>
                  <a:pt x="5011805" y="1297657"/>
                  <a:pt x="5036585" y="1288169"/>
                </a:cubicBezTo>
                <a:cubicBezTo>
                  <a:pt x="5036585" y="1288169"/>
                  <a:pt x="5036585" y="1288169"/>
                  <a:pt x="5375924" y="1147752"/>
                </a:cubicBezTo>
                <a:cubicBezTo>
                  <a:pt x="5381644" y="1145381"/>
                  <a:pt x="5387601" y="1144313"/>
                  <a:pt x="5393468" y="1144402"/>
                </a:cubicBezTo>
                <a:close/>
                <a:moveTo>
                  <a:pt x="929385" y="1144389"/>
                </a:moveTo>
                <a:cubicBezTo>
                  <a:pt x="946453" y="1144656"/>
                  <a:pt x="962181" y="1155330"/>
                  <a:pt x="969330" y="1172407"/>
                </a:cubicBezTo>
                <a:cubicBezTo>
                  <a:pt x="973143" y="1178101"/>
                  <a:pt x="973143" y="1183794"/>
                  <a:pt x="973143" y="1189486"/>
                </a:cubicBezTo>
                <a:cubicBezTo>
                  <a:pt x="973143" y="1208461"/>
                  <a:pt x="963611" y="1225538"/>
                  <a:pt x="946453" y="1231231"/>
                </a:cubicBezTo>
                <a:cubicBezTo>
                  <a:pt x="946453" y="1231231"/>
                  <a:pt x="946453" y="1231231"/>
                  <a:pt x="605206" y="1371652"/>
                </a:cubicBezTo>
                <a:cubicBezTo>
                  <a:pt x="582329" y="1381140"/>
                  <a:pt x="555640" y="1369755"/>
                  <a:pt x="546107" y="1346983"/>
                </a:cubicBezTo>
                <a:cubicBezTo>
                  <a:pt x="536576" y="1324212"/>
                  <a:pt x="548014" y="1297646"/>
                  <a:pt x="570891" y="1288158"/>
                </a:cubicBezTo>
                <a:cubicBezTo>
                  <a:pt x="570891" y="1288158"/>
                  <a:pt x="570891" y="1288158"/>
                  <a:pt x="912138" y="1147739"/>
                </a:cubicBezTo>
                <a:cubicBezTo>
                  <a:pt x="917857" y="1145367"/>
                  <a:pt x="923695" y="1144300"/>
                  <a:pt x="929385" y="1144389"/>
                </a:cubicBezTo>
                <a:close/>
                <a:moveTo>
                  <a:pt x="4842182" y="1136797"/>
                </a:moveTo>
                <a:cubicBezTo>
                  <a:pt x="4860986" y="1137688"/>
                  <a:pt x="4878457" y="1149800"/>
                  <a:pt x="4884159" y="1168322"/>
                </a:cubicBezTo>
                <a:cubicBezTo>
                  <a:pt x="4886060" y="1174022"/>
                  <a:pt x="4887960" y="1179722"/>
                  <a:pt x="4887960" y="1185422"/>
                </a:cubicBezTo>
                <a:cubicBezTo>
                  <a:pt x="4887960" y="1204420"/>
                  <a:pt x="4876553" y="1223416"/>
                  <a:pt x="4855640" y="1231014"/>
                </a:cubicBezTo>
                <a:cubicBezTo>
                  <a:pt x="4855640" y="1231014"/>
                  <a:pt x="4855640" y="1231014"/>
                  <a:pt x="4515378" y="1354501"/>
                </a:cubicBezTo>
                <a:cubicBezTo>
                  <a:pt x="4490667" y="1362102"/>
                  <a:pt x="4462152" y="1350702"/>
                  <a:pt x="4454548" y="1326004"/>
                </a:cubicBezTo>
                <a:cubicBezTo>
                  <a:pt x="4445043" y="1301305"/>
                  <a:pt x="4458350" y="1272808"/>
                  <a:pt x="4483064" y="1263308"/>
                </a:cubicBezTo>
                <a:cubicBezTo>
                  <a:pt x="4483064" y="1263308"/>
                  <a:pt x="4483064" y="1263308"/>
                  <a:pt x="4823320" y="1139825"/>
                </a:cubicBezTo>
                <a:cubicBezTo>
                  <a:pt x="4829497" y="1137451"/>
                  <a:pt x="4835916" y="1136501"/>
                  <a:pt x="4842182" y="1136797"/>
                </a:cubicBezTo>
                <a:close/>
                <a:moveTo>
                  <a:pt x="1478252" y="1136782"/>
                </a:moveTo>
                <a:cubicBezTo>
                  <a:pt x="1496621" y="1137673"/>
                  <a:pt x="1513385" y="1149784"/>
                  <a:pt x="1520519" y="1168307"/>
                </a:cubicBezTo>
                <a:cubicBezTo>
                  <a:pt x="1522421" y="1174007"/>
                  <a:pt x="1522421" y="1179706"/>
                  <a:pt x="1522421" y="1185406"/>
                </a:cubicBezTo>
                <a:cubicBezTo>
                  <a:pt x="1522421" y="1204404"/>
                  <a:pt x="1511007" y="1223401"/>
                  <a:pt x="1491984" y="1231000"/>
                </a:cubicBezTo>
                <a:cubicBezTo>
                  <a:pt x="1491984" y="1231000"/>
                  <a:pt x="1491984" y="1231000"/>
                  <a:pt x="1151475" y="1354486"/>
                </a:cubicBezTo>
                <a:cubicBezTo>
                  <a:pt x="1124843" y="1362086"/>
                  <a:pt x="1098211" y="1350686"/>
                  <a:pt x="1088700" y="1325989"/>
                </a:cubicBezTo>
                <a:cubicBezTo>
                  <a:pt x="1081091" y="1301291"/>
                  <a:pt x="1092504" y="1272795"/>
                  <a:pt x="1117234" y="1263296"/>
                </a:cubicBezTo>
                <a:cubicBezTo>
                  <a:pt x="1117234" y="1263296"/>
                  <a:pt x="1117234" y="1263296"/>
                  <a:pt x="1459646" y="1139810"/>
                </a:cubicBezTo>
                <a:cubicBezTo>
                  <a:pt x="1465828" y="1137436"/>
                  <a:pt x="1472129" y="1136485"/>
                  <a:pt x="1478252" y="1136782"/>
                </a:cubicBezTo>
                <a:close/>
                <a:moveTo>
                  <a:pt x="4287306" y="1129713"/>
                </a:moveTo>
                <a:cubicBezTo>
                  <a:pt x="4306925" y="1131585"/>
                  <a:pt x="4324402" y="1144425"/>
                  <a:pt x="4330110" y="1165826"/>
                </a:cubicBezTo>
                <a:cubicBezTo>
                  <a:pt x="4332013" y="1169631"/>
                  <a:pt x="4333916" y="1175338"/>
                  <a:pt x="4333916" y="1181045"/>
                </a:cubicBezTo>
                <a:cubicBezTo>
                  <a:pt x="4333916" y="1201970"/>
                  <a:pt x="4318695" y="1222894"/>
                  <a:pt x="4297769" y="1228599"/>
                </a:cubicBezTo>
                <a:cubicBezTo>
                  <a:pt x="4297769" y="1228599"/>
                  <a:pt x="4297769" y="1228599"/>
                  <a:pt x="3955366" y="1337029"/>
                </a:cubicBezTo>
                <a:cubicBezTo>
                  <a:pt x="3928733" y="1344638"/>
                  <a:pt x="3900198" y="1329419"/>
                  <a:pt x="3890685" y="1302787"/>
                </a:cubicBezTo>
                <a:cubicBezTo>
                  <a:pt x="3883076" y="1276155"/>
                  <a:pt x="3898296" y="1247620"/>
                  <a:pt x="3924928" y="1240012"/>
                </a:cubicBezTo>
                <a:cubicBezTo>
                  <a:pt x="3924928" y="1240012"/>
                  <a:pt x="3924928" y="1240012"/>
                  <a:pt x="4267331" y="1131585"/>
                </a:cubicBezTo>
                <a:cubicBezTo>
                  <a:pt x="4273989" y="1129683"/>
                  <a:pt x="4280766" y="1129089"/>
                  <a:pt x="4287306" y="1129713"/>
                </a:cubicBezTo>
                <a:close/>
                <a:moveTo>
                  <a:pt x="2033027" y="1129695"/>
                </a:moveTo>
                <a:cubicBezTo>
                  <a:pt x="2052752" y="1131568"/>
                  <a:pt x="2070599" y="1144408"/>
                  <a:pt x="2077738" y="1165808"/>
                </a:cubicBezTo>
                <a:cubicBezTo>
                  <a:pt x="2079641" y="1169613"/>
                  <a:pt x="2079641" y="1175320"/>
                  <a:pt x="2079641" y="1181027"/>
                </a:cubicBezTo>
                <a:cubicBezTo>
                  <a:pt x="2079641" y="1201952"/>
                  <a:pt x="2066315" y="1222876"/>
                  <a:pt x="2043467" y="1228582"/>
                </a:cubicBezTo>
                <a:cubicBezTo>
                  <a:pt x="2043467" y="1228582"/>
                  <a:pt x="2043467" y="1228582"/>
                  <a:pt x="1702708" y="1337012"/>
                </a:cubicBezTo>
                <a:cubicBezTo>
                  <a:pt x="1674153" y="1344621"/>
                  <a:pt x="1645598" y="1329403"/>
                  <a:pt x="1637983" y="1302771"/>
                </a:cubicBezTo>
                <a:cubicBezTo>
                  <a:pt x="1630368" y="1276139"/>
                  <a:pt x="1643694" y="1247605"/>
                  <a:pt x="1670346" y="1239996"/>
                </a:cubicBezTo>
                <a:cubicBezTo>
                  <a:pt x="1670346" y="1239996"/>
                  <a:pt x="1670346" y="1239996"/>
                  <a:pt x="2013008" y="1131568"/>
                </a:cubicBezTo>
                <a:cubicBezTo>
                  <a:pt x="2019671" y="1129665"/>
                  <a:pt x="2026453" y="1129071"/>
                  <a:pt x="2033027" y="1129695"/>
                </a:cubicBezTo>
                <a:close/>
                <a:moveTo>
                  <a:pt x="3726353" y="1122417"/>
                </a:moveTo>
                <a:cubicBezTo>
                  <a:pt x="3747339" y="1125382"/>
                  <a:pt x="3765914" y="1140474"/>
                  <a:pt x="3771630" y="1162034"/>
                </a:cubicBezTo>
                <a:cubicBezTo>
                  <a:pt x="3773534" y="1165867"/>
                  <a:pt x="3773534" y="1171616"/>
                  <a:pt x="3773534" y="1175449"/>
                </a:cubicBezTo>
                <a:cubicBezTo>
                  <a:pt x="3773534" y="1200364"/>
                  <a:pt x="3758295" y="1221442"/>
                  <a:pt x="3733528" y="1229108"/>
                </a:cubicBezTo>
                <a:cubicBezTo>
                  <a:pt x="3733528" y="1229108"/>
                  <a:pt x="3733528" y="1229108"/>
                  <a:pt x="3390637" y="1321097"/>
                </a:cubicBezTo>
                <a:cubicBezTo>
                  <a:pt x="3362061" y="1328763"/>
                  <a:pt x="3331580" y="1311513"/>
                  <a:pt x="3323960" y="1282766"/>
                </a:cubicBezTo>
                <a:cubicBezTo>
                  <a:pt x="3316339" y="1254020"/>
                  <a:pt x="3333484" y="1223360"/>
                  <a:pt x="3362061" y="1215695"/>
                </a:cubicBezTo>
                <a:cubicBezTo>
                  <a:pt x="3362061" y="1215695"/>
                  <a:pt x="3362061" y="1215695"/>
                  <a:pt x="3704951" y="1123705"/>
                </a:cubicBezTo>
                <a:cubicBezTo>
                  <a:pt x="3712096" y="1121789"/>
                  <a:pt x="3719358" y="1121429"/>
                  <a:pt x="3726353" y="1122417"/>
                </a:cubicBezTo>
                <a:close/>
                <a:moveTo>
                  <a:pt x="2592851" y="1122397"/>
                </a:moveTo>
                <a:cubicBezTo>
                  <a:pt x="2613837" y="1125361"/>
                  <a:pt x="2632410" y="1140454"/>
                  <a:pt x="2638126" y="1162013"/>
                </a:cubicBezTo>
                <a:cubicBezTo>
                  <a:pt x="2640030" y="1165846"/>
                  <a:pt x="2640030" y="1171596"/>
                  <a:pt x="2640030" y="1175429"/>
                </a:cubicBezTo>
                <a:cubicBezTo>
                  <a:pt x="2640030" y="1200343"/>
                  <a:pt x="2622885" y="1221423"/>
                  <a:pt x="2600026" y="1229089"/>
                </a:cubicBezTo>
                <a:cubicBezTo>
                  <a:pt x="2600026" y="1229089"/>
                  <a:pt x="2600026" y="1229089"/>
                  <a:pt x="2257121" y="1321078"/>
                </a:cubicBezTo>
                <a:cubicBezTo>
                  <a:pt x="2226641" y="1328744"/>
                  <a:pt x="2198066" y="1311496"/>
                  <a:pt x="2190445" y="1282749"/>
                </a:cubicBezTo>
                <a:cubicBezTo>
                  <a:pt x="2182826" y="1254002"/>
                  <a:pt x="2199971" y="1223340"/>
                  <a:pt x="2228546" y="1215674"/>
                </a:cubicBezTo>
                <a:cubicBezTo>
                  <a:pt x="2228546" y="1215674"/>
                  <a:pt x="2228546" y="1215674"/>
                  <a:pt x="2571449" y="1123685"/>
                </a:cubicBezTo>
                <a:cubicBezTo>
                  <a:pt x="2578593" y="1121768"/>
                  <a:pt x="2585856" y="1121409"/>
                  <a:pt x="2592851" y="1122397"/>
                </a:cubicBezTo>
                <a:close/>
                <a:moveTo>
                  <a:pt x="3157611" y="1116357"/>
                </a:moveTo>
                <a:cubicBezTo>
                  <a:pt x="3179267" y="1119929"/>
                  <a:pt x="3197446" y="1136359"/>
                  <a:pt x="3201722" y="1159220"/>
                </a:cubicBezTo>
                <a:cubicBezTo>
                  <a:pt x="3203624" y="1163029"/>
                  <a:pt x="3203624" y="1168744"/>
                  <a:pt x="3203624" y="1172555"/>
                </a:cubicBezTo>
                <a:cubicBezTo>
                  <a:pt x="3203624" y="1197321"/>
                  <a:pt x="3186515" y="1222083"/>
                  <a:pt x="3159900" y="1227799"/>
                </a:cubicBezTo>
                <a:cubicBezTo>
                  <a:pt x="3159900" y="1227799"/>
                  <a:pt x="3159900" y="1227799"/>
                  <a:pt x="2815797" y="1303997"/>
                </a:cubicBezTo>
                <a:cubicBezTo>
                  <a:pt x="2785375" y="1309712"/>
                  <a:pt x="2754960" y="1290662"/>
                  <a:pt x="2747356" y="1260182"/>
                </a:cubicBezTo>
                <a:cubicBezTo>
                  <a:pt x="2741654" y="1229703"/>
                  <a:pt x="2760664" y="1199225"/>
                  <a:pt x="2791085" y="1191605"/>
                </a:cubicBezTo>
                <a:cubicBezTo>
                  <a:pt x="2791085" y="1191605"/>
                  <a:pt x="2791085" y="1191605"/>
                  <a:pt x="3135184" y="1117309"/>
                </a:cubicBezTo>
                <a:cubicBezTo>
                  <a:pt x="3142789" y="1115404"/>
                  <a:pt x="3150393" y="1115166"/>
                  <a:pt x="3157611" y="1116357"/>
                </a:cubicBezTo>
                <a:close/>
                <a:moveTo>
                  <a:pt x="9862398" y="887331"/>
                </a:moveTo>
                <a:cubicBezTo>
                  <a:pt x="9868604" y="888044"/>
                  <a:pt x="9874333" y="890896"/>
                  <a:pt x="9878153" y="895649"/>
                </a:cubicBezTo>
                <a:cubicBezTo>
                  <a:pt x="9881972" y="901352"/>
                  <a:pt x="9883882" y="905154"/>
                  <a:pt x="9883882" y="910857"/>
                </a:cubicBezTo>
                <a:cubicBezTo>
                  <a:pt x="9883882" y="918462"/>
                  <a:pt x="9880062" y="926066"/>
                  <a:pt x="9874333" y="929868"/>
                </a:cubicBezTo>
                <a:cubicBezTo>
                  <a:pt x="9874333" y="929868"/>
                  <a:pt x="9874333" y="929868"/>
                  <a:pt x="9540128" y="1184614"/>
                </a:cubicBezTo>
                <a:cubicBezTo>
                  <a:pt x="9530580" y="1192218"/>
                  <a:pt x="9515302" y="1190317"/>
                  <a:pt x="9505753" y="1178911"/>
                </a:cubicBezTo>
                <a:cubicBezTo>
                  <a:pt x="9498114" y="1167504"/>
                  <a:pt x="9500024" y="1152295"/>
                  <a:pt x="9511482" y="1144691"/>
                </a:cubicBezTo>
                <a:cubicBezTo>
                  <a:pt x="9511482" y="1144691"/>
                  <a:pt x="9511482" y="1144691"/>
                  <a:pt x="9843777" y="891846"/>
                </a:cubicBezTo>
                <a:cubicBezTo>
                  <a:pt x="9849507" y="888044"/>
                  <a:pt x="9856191" y="886618"/>
                  <a:pt x="9862398" y="887331"/>
                </a:cubicBezTo>
                <a:close/>
                <a:moveTo>
                  <a:pt x="9285227" y="879270"/>
                </a:moveTo>
                <a:cubicBezTo>
                  <a:pt x="9291895" y="880464"/>
                  <a:pt x="9298086" y="884282"/>
                  <a:pt x="9301896" y="890009"/>
                </a:cubicBezTo>
                <a:cubicBezTo>
                  <a:pt x="9305706" y="893827"/>
                  <a:pt x="9307611" y="899554"/>
                  <a:pt x="9307611" y="905281"/>
                </a:cubicBezTo>
                <a:cubicBezTo>
                  <a:pt x="9307611" y="914826"/>
                  <a:pt x="9303801" y="922462"/>
                  <a:pt x="9296181" y="928189"/>
                </a:cubicBezTo>
                <a:cubicBezTo>
                  <a:pt x="9296181" y="928189"/>
                  <a:pt x="9296181" y="928189"/>
                  <a:pt x="8962802" y="1168731"/>
                </a:cubicBezTo>
                <a:cubicBezTo>
                  <a:pt x="8951371" y="1176367"/>
                  <a:pt x="8934226" y="1174459"/>
                  <a:pt x="8924701" y="1161095"/>
                </a:cubicBezTo>
                <a:cubicBezTo>
                  <a:pt x="8917081" y="1149641"/>
                  <a:pt x="8918986" y="1132459"/>
                  <a:pt x="8930416" y="1124823"/>
                </a:cubicBezTo>
                <a:cubicBezTo>
                  <a:pt x="8930416" y="1124823"/>
                  <a:pt x="8930416" y="1124823"/>
                  <a:pt x="9265700" y="884282"/>
                </a:cubicBezTo>
                <a:cubicBezTo>
                  <a:pt x="9271415" y="879509"/>
                  <a:pt x="9278560" y="878077"/>
                  <a:pt x="9285227" y="879270"/>
                </a:cubicBezTo>
                <a:close/>
                <a:moveTo>
                  <a:pt x="10445943" y="879249"/>
                </a:moveTo>
                <a:cubicBezTo>
                  <a:pt x="10452849" y="880442"/>
                  <a:pt x="10459517" y="884260"/>
                  <a:pt x="10464279" y="889987"/>
                </a:cubicBezTo>
                <a:cubicBezTo>
                  <a:pt x="10468089" y="893805"/>
                  <a:pt x="10468089" y="899532"/>
                  <a:pt x="10468089" y="905259"/>
                </a:cubicBezTo>
                <a:cubicBezTo>
                  <a:pt x="10468089" y="914805"/>
                  <a:pt x="10464279" y="922441"/>
                  <a:pt x="10458564" y="928168"/>
                </a:cubicBezTo>
                <a:cubicBezTo>
                  <a:pt x="10458564" y="928168"/>
                  <a:pt x="10458564" y="928168"/>
                  <a:pt x="10123280" y="1168705"/>
                </a:cubicBezTo>
                <a:cubicBezTo>
                  <a:pt x="10111849" y="1176341"/>
                  <a:pt x="10094704" y="1174432"/>
                  <a:pt x="10087084" y="1161069"/>
                </a:cubicBezTo>
                <a:cubicBezTo>
                  <a:pt x="10077559" y="1149615"/>
                  <a:pt x="10079464" y="1132433"/>
                  <a:pt x="10092799" y="1124797"/>
                </a:cubicBezTo>
                <a:cubicBezTo>
                  <a:pt x="10092799" y="1124797"/>
                  <a:pt x="10092799" y="1124797"/>
                  <a:pt x="10426178" y="884260"/>
                </a:cubicBezTo>
                <a:cubicBezTo>
                  <a:pt x="10431894" y="879488"/>
                  <a:pt x="10439038" y="878056"/>
                  <a:pt x="10445943" y="879249"/>
                </a:cubicBezTo>
                <a:close/>
                <a:moveTo>
                  <a:pt x="8716319" y="870617"/>
                </a:moveTo>
                <a:cubicBezTo>
                  <a:pt x="8723707" y="872049"/>
                  <a:pt x="8730380" y="876344"/>
                  <a:pt x="8735146" y="883981"/>
                </a:cubicBezTo>
                <a:cubicBezTo>
                  <a:pt x="8738959" y="887799"/>
                  <a:pt x="8740866" y="893527"/>
                  <a:pt x="8740866" y="899254"/>
                </a:cubicBezTo>
                <a:cubicBezTo>
                  <a:pt x="8740866" y="908800"/>
                  <a:pt x="8735146" y="918345"/>
                  <a:pt x="8727520" y="924073"/>
                </a:cubicBezTo>
                <a:cubicBezTo>
                  <a:pt x="8727520" y="924073"/>
                  <a:pt x="8727520" y="924073"/>
                  <a:pt x="8391968" y="1151267"/>
                </a:cubicBezTo>
                <a:cubicBezTo>
                  <a:pt x="8378622" y="1158904"/>
                  <a:pt x="8359557" y="1156995"/>
                  <a:pt x="8351931" y="1141721"/>
                </a:cubicBezTo>
                <a:cubicBezTo>
                  <a:pt x="8342398" y="1128357"/>
                  <a:pt x="8346211" y="1111175"/>
                  <a:pt x="8359557" y="1101629"/>
                </a:cubicBezTo>
                <a:cubicBezTo>
                  <a:pt x="8359557" y="1101629"/>
                  <a:pt x="8359557" y="1101629"/>
                  <a:pt x="8693202" y="874435"/>
                </a:cubicBezTo>
                <a:cubicBezTo>
                  <a:pt x="8700828" y="870617"/>
                  <a:pt x="8708931" y="869185"/>
                  <a:pt x="8716319" y="870617"/>
                </a:cubicBezTo>
                <a:close/>
                <a:moveTo>
                  <a:pt x="11024254" y="870594"/>
                </a:moveTo>
                <a:cubicBezTo>
                  <a:pt x="11031856" y="872025"/>
                  <a:pt x="11038983" y="876321"/>
                  <a:pt x="11043734" y="883958"/>
                </a:cubicBezTo>
                <a:cubicBezTo>
                  <a:pt x="11047535" y="887776"/>
                  <a:pt x="11047535" y="893503"/>
                  <a:pt x="11047535" y="899231"/>
                </a:cubicBezTo>
                <a:cubicBezTo>
                  <a:pt x="11047535" y="908777"/>
                  <a:pt x="11043734" y="918322"/>
                  <a:pt x="11036132" y="924050"/>
                </a:cubicBezTo>
                <a:cubicBezTo>
                  <a:pt x="11036132" y="924050"/>
                  <a:pt x="11036132" y="924050"/>
                  <a:pt x="10701654" y="1151239"/>
                </a:cubicBezTo>
                <a:cubicBezTo>
                  <a:pt x="10688350" y="1158875"/>
                  <a:pt x="10669346" y="1156966"/>
                  <a:pt x="10659844" y="1141693"/>
                </a:cubicBezTo>
                <a:cubicBezTo>
                  <a:pt x="10652242" y="1128329"/>
                  <a:pt x="10654142" y="1111146"/>
                  <a:pt x="10669346" y="1101601"/>
                </a:cubicBezTo>
                <a:cubicBezTo>
                  <a:pt x="10669346" y="1101601"/>
                  <a:pt x="10669346" y="1101601"/>
                  <a:pt x="11001924" y="874412"/>
                </a:cubicBezTo>
                <a:cubicBezTo>
                  <a:pt x="11008575" y="870594"/>
                  <a:pt x="11016652" y="869162"/>
                  <a:pt x="11024254" y="870594"/>
                </a:cubicBezTo>
                <a:close/>
                <a:moveTo>
                  <a:pt x="8152171" y="862274"/>
                </a:moveTo>
                <a:cubicBezTo>
                  <a:pt x="8160017" y="863941"/>
                  <a:pt x="8167150" y="868703"/>
                  <a:pt x="8171905" y="876324"/>
                </a:cubicBezTo>
                <a:cubicBezTo>
                  <a:pt x="8175709" y="882038"/>
                  <a:pt x="8175709" y="887753"/>
                  <a:pt x="8175709" y="893468"/>
                </a:cubicBezTo>
                <a:cubicBezTo>
                  <a:pt x="8175709" y="904898"/>
                  <a:pt x="8171905" y="914423"/>
                  <a:pt x="8162395" y="920138"/>
                </a:cubicBezTo>
                <a:cubicBezTo>
                  <a:pt x="8162395" y="920138"/>
                  <a:pt x="8162395" y="920138"/>
                  <a:pt x="7825735" y="1133503"/>
                </a:cubicBezTo>
                <a:cubicBezTo>
                  <a:pt x="7812420" y="1143028"/>
                  <a:pt x="7791498" y="1137314"/>
                  <a:pt x="7781988" y="1123978"/>
                </a:cubicBezTo>
                <a:cubicBezTo>
                  <a:pt x="7772478" y="1108738"/>
                  <a:pt x="7778184" y="1087784"/>
                  <a:pt x="7791498" y="1078258"/>
                </a:cubicBezTo>
                <a:cubicBezTo>
                  <a:pt x="7791498" y="1078258"/>
                  <a:pt x="7791498" y="1078258"/>
                  <a:pt x="8128158" y="866799"/>
                </a:cubicBezTo>
                <a:cubicBezTo>
                  <a:pt x="8135766" y="862036"/>
                  <a:pt x="8144325" y="860607"/>
                  <a:pt x="8152171" y="862274"/>
                </a:cubicBezTo>
                <a:close/>
                <a:moveTo>
                  <a:pt x="11596678" y="862268"/>
                </a:moveTo>
                <a:cubicBezTo>
                  <a:pt x="11604555" y="863935"/>
                  <a:pt x="11611715" y="868698"/>
                  <a:pt x="11616489" y="876317"/>
                </a:cubicBezTo>
                <a:cubicBezTo>
                  <a:pt x="11620308" y="882033"/>
                  <a:pt x="11622218" y="887747"/>
                  <a:pt x="11622218" y="893462"/>
                </a:cubicBezTo>
                <a:cubicBezTo>
                  <a:pt x="11622218" y="904892"/>
                  <a:pt x="11616489" y="914417"/>
                  <a:pt x="11606942" y="920132"/>
                </a:cubicBezTo>
                <a:cubicBezTo>
                  <a:pt x="11606942" y="920132"/>
                  <a:pt x="11606942" y="920132"/>
                  <a:pt x="11270867" y="1133497"/>
                </a:cubicBezTo>
                <a:cubicBezTo>
                  <a:pt x="11255590" y="1143022"/>
                  <a:pt x="11236495" y="1137306"/>
                  <a:pt x="11226948" y="1123971"/>
                </a:cubicBezTo>
                <a:cubicBezTo>
                  <a:pt x="11217400" y="1108732"/>
                  <a:pt x="11221219" y="1087776"/>
                  <a:pt x="11236495" y="1078251"/>
                </a:cubicBezTo>
                <a:cubicBezTo>
                  <a:pt x="11236495" y="1078251"/>
                  <a:pt x="11236495" y="1078251"/>
                  <a:pt x="11572570" y="866793"/>
                </a:cubicBezTo>
                <a:cubicBezTo>
                  <a:pt x="11580209" y="862030"/>
                  <a:pt x="11588801" y="860601"/>
                  <a:pt x="11596678" y="862268"/>
                </a:cubicBezTo>
                <a:close/>
                <a:moveTo>
                  <a:pt x="12139750" y="857266"/>
                </a:moveTo>
                <a:cubicBezTo>
                  <a:pt x="12139750" y="857266"/>
                  <a:pt x="12139750" y="857266"/>
                  <a:pt x="12139750" y="935278"/>
                </a:cubicBezTo>
                <a:cubicBezTo>
                  <a:pt x="12139750" y="935278"/>
                  <a:pt x="12139750" y="935278"/>
                  <a:pt x="11834946" y="1116043"/>
                </a:cubicBezTo>
                <a:cubicBezTo>
                  <a:pt x="11817801" y="1125556"/>
                  <a:pt x="11796845" y="1119848"/>
                  <a:pt x="11787320" y="1104626"/>
                </a:cubicBezTo>
                <a:cubicBezTo>
                  <a:pt x="11777795" y="1087502"/>
                  <a:pt x="11783510" y="1066571"/>
                  <a:pt x="11798750" y="1057058"/>
                </a:cubicBezTo>
                <a:lnTo>
                  <a:pt x="12135940" y="859168"/>
                </a:lnTo>
                <a:cubicBezTo>
                  <a:pt x="12137845" y="857266"/>
                  <a:pt x="12137845" y="857266"/>
                  <a:pt x="12139750" y="857266"/>
                </a:cubicBezTo>
                <a:close/>
                <a:moveTo>
                  <a:pt x="7595013" y="854170"/>
                </a:moveTo>
                <a:cubicBezTo>
                  <a:pt x="7603579" y="856311"/>
                  <a:pt x="7611193" y="862020"/>
                  <a:pt x="7615952" y="870582"/>
                </a:cubicBezTo>
                <a:cubicBezTo>
                  <a:pt x="7619759" y="876291"/>
                  <a:pt x="7621663" y="881999"/>
                  <a:pt x="7621663" y="887708"/>
                </a:cubicBezTo>
                <a:cubicBezTo>
                  <a:pt x="7621663" y="899125"/>
                  <a:pt x="7614049" y="910542"/>
                  <a:pt x="7604531" y="918153"/>
                </a:cubicBezTo>
                <a:cubicBezTo>
                  <a:pt x="7604531" y="918153"/>
                  <a:pt x="7604531" y="918153"/>
                  <a:pt x="7267601" y="1116053"/>
                </a:cubicBezTo>
                <a:cubicBezTo>
                  <a:pt x="7250469" y="1125566"/>
                  <a:pt x="7229530" y="1119858"/>
                  <a:pt x="7220013" y="1104635"/>
                </a:cubicBezTo>
                <a:cubicBezTo>
                  <a:pt x="7210495" y="1087509"/>
                  <a:pt x="7216205" y="1066577"/>
                  <a:pt x="7233337" y="1057064"/>
                </a:cubicBezTo>
                <a:cubicBezTo>
                  <a:pt x="7233337" y="1057064"/>
                  <a:pt x="7233337" y="1057064"/>
                  <a:pt x="7568363" y="859165"/>
                </a:cubicBezTo>
                <a:cubicBezTo>
                  <a:pt x="7576929" y="853457"/>
                  <a:pt x="7586447" y="852030"/>
                  <a:pt x="7595013" y="854170"/>
                </a:cubicBezTo>
                <a:close/>
                <a:moveTo>
                  <a:pt x="7044817" y="846270"/>
                </a:moveTo>
                <a:cubicBezTo>
                  <a:pt x="7054111" y="848902"/>
                  <a:pt x="7062213" y="855122"/>
                  <a:pt x="7066980" y="864693"/>
                </a:cubicBezTo>
                <a:cubicBezTo>
                  <a:pt x="7068886" y="870434"/>
                  <a:pt x="7070793" y="876176"/>
                  <a:pt x="7070793" y="881918"/>
                </a:cubicBezTo>
                <a:cubicBezTo>
                  <a:pt x="7070793" y="895316"/>
                  <a:pt x="7063167" y="908714"/>
                  <a:pt x="7051728" y="914456"/>
                </a:cubicBezTo>
                <a:cubicBezTo>
                  <a:pt x="7051728" y="914456"/>
                  <a:pt x="7051728" y="914456"/>
                  <a:pt x="6714282" y="1100119"/>
                </a:cubicBezTo>
                <a:cubicBezTo>
                  <a:pt x="6697124" y="1109690"/>
                  <a:pt x="6674246" y="1103949"/>
                  <a:pt x="6664714" y="1084808"/>
                </a:cubicBezTo>
                <a:cubicBezTo>
                  <a:pt x="6653275" y="1067582"/>
                  <a:pt x="6660901" y="1044608"/>
                  <a:pt x="6678059" y="1035038"/>
                </a:cubicBezTo>
                <a:cubicBezTo>
                  <a:pt x="6678059" y="1035038"/>
                  <a:pt x="6678059" y="1035038"/>
                  <a:pt x="7015505" y="849380"/>
                </a:cubicBezTo>
                <a:cubicBezTo>
                  <a:pt x="7025037" y="844595"/>
                  <a:pt x="7035523" y="843638"/>
                  <a:pt x="7044817" y="846270"/>
                </a:cubicBezTo>
                <a:close/>
                <a:moveTo>
                  <a:pt x="6485646" y="836909"/>
                </a:moveTo>
                <a:cubicBezTo>
                  <a:pt x="6501129" y="835656"/>
                  <a:pt x="6516881" y="844607"/>
                  <a:pt x="6524041" y="858929"/>
                </a:cubicBezTo>
                <a:cubicBezTo>
                  <a:pt x="6525950" y="864658"/>
                  <a:pt x="6527860" y="870387"/>
                  <a:pt x="6527860" y="876115"/>
                </a:cubicBezTo>
                <a:cubicBezTo>
                  <a:pt x="6527860" y="891392"/>
                  <a:pt x="6520223" y="904759"/>
                  <a:pt x="6506857" y="912398"/>
                </a:cubicBezTo>
                <a:cubicBezTo>
                  <a:pt x="6506857" y="912398"/>
                  <a:pt x="6506857" y="912398"/>
                  <a:pt x="6166999" y="1082357"/>
                </a:cubicBezTo>
                <a:cubicBezTo>
                  <a:pt x="6147906" y="1093815"/>
                  <a:pt x="6123085" y="1084266"/>
                  <a:pt x="6113538" y="1065171"/>
                </a:cubicBezTo>
                <a:cubicBezTo>
                  <a:pt x="6103992" y="1046070"/>
                  <a:pt x="6111629" y="1023154"/>
                  <a:pt x="6130722" y="1011697"/>
                </a:cubicBezTo>
                <a:cubicBezTo>
                  <a:pt x="6130722" y="1011697"/>
                  <a:pt x="6130722" y="1011697"/>
                  <a:pt x="6470580" y="841743"/>
                </a:cubicBezTo>
                <a:cubicBezTo>
                  <a:pt x="6475353" y="838878"/>
                  <a:pt x="6480485" y="837327"/>
                  <a:pt x="6485646" y="836909"/>
                </a:cubicBezTo>
                <a:close/>
                <a:moveTo>
                  <a:pt x="5957785" y="832476"/>
                </a:moveTo>
                <a:cubicBezTo>
                  <a:pt x="5967786" y="836271"/>
                  <a:pt x="5976358" y="843863"/>
                  <a:pt x="5981121" y="854301"/>
                </a:cubicBezTo>
                <a:cubicBezTo>
                  <a:pt x="5984930" y="859994"/>
                  <a:pt x="5984930" y="865688"/>
                  <a:pt x="5984930" y="871381"/>
                </a:cubicBezTo>
                <a:cubicBezTo>
                  <a:pt x="5984930" y="886564"/>
                  <a:pt x="5977311" y="901746"/>
                  <a:pt x="5962070" y="909338"/>
                </a:cubicBezTo>
                <a:cubicBezTo>
                  <a:pt x="5962070" y="909338"/>
                  <a:pt x="5962070" y="909338"/>
                  <a:pt x="5622984" y="1066863"/>
                </a:cubicBezTo>
                <a:cubicBezTo>
                  <a:pt x="5602029" y="1076353"/>
                  <a:pt x="5575359" y="1066863"/>
                  <a:pt x="5565834" y="1045982"/>
                </a:cubicBezTo>
                <a:cubicBezTo>
                  <a:pt x="5556309" y="1025106"/>
                  <a:pt x="5565834" y="1000434"/>
                  <a:pt x="5586789" y="990945"/>
                </a:cubicBezTo>
                <a:cubicBezTo>
                  <a:pt x="5586789" y="990945"/>
                  <a:pt x="5586789" y="990945"/>
                  <a:pt x="5925876" y="833424"/>
                </a:cubicBezTo>
                <a:cubicBezTo>
                  <a:pt x="5936354" y="828680"/>
                  <a:pt x="5947784" y="828680"/>
                  <a:pt x="5957785" y="832476"/>
                </a:cubicBezTo>
                <a:close/>
                <a:moveTo>
                  <a:pt x="398307" y="832466"/>
                </a:moveTo>
                <a:cubicBezTo>
                  <a:pt x="408309" y="836261"/>
                  <a:pt x="416881" y="843853"/>
                  <a:pt x="421644" y="854291"/>
                </a:cubicBezTo>
                <a:cubicBezTo>
                  <a:pt x="425454" y="859984"/>
                  <a:pt x="425454" y="865678"/>
                  <a:pt x="425454" y="871371"/>
                </a:cubicBezTo>
                <a:cubicBezTo>
                  <a:pt x="425454" y="886554"/>
                  <a:pt x="417834" y="901737"/>
                  <a:pt x="400689" y="909328"/>
                </a:cubicBezTo>
                <a:cubicBezTo>
                  <a:pt x="400689" y="909328"/>
                  <a:pt x="400689" y="909328"/>
                  <a:pt x="61595" y="1066852"/>
                </a:cubicBezTo>
                <a:cubicBezTo>
                  <a:pt x="40639" y="1076341"/>
                  <a:pt x="15874" y="1066852"/>
                  <a:pt x="6349" y="1045972"/>
                </a:cubicBezTo>
                <a:cubicBezTo>
                  <a:pt x="-3176" y="1025096"/>
                  <a:pt x="6349" y="1000424"/>
                  <a:pt x="27304" y="990935"/>
                </a:cubicBezTo>
                <a:cubicBezTo>
                  <a:pt x="27304" y="990935"/>
                  <a:pt x="27304" y="990935"/>
                  <a:pt x="366398" y="833414"/>
                </a:cubicBezTo>
                <a:cubicBezTo>
                  <a:pt x="376876" y="828670"/>
                  <a:pt x="388306" y="828670"/>
                  <a:pt x="398307" y="832466"/>
                </a:cubicBezTo>
                <a:close/>
                <a:moveTo>
                  <a:pt x="5410477" y="824774"/>
                </a:moveTo>
                <a:cubicBezTo>
                  <a:pt x="5421200" y="828807"/>
                  <a:pt x="5430255" y="836871"/>
                  <a:pt x="5435021" y="848257"/>
                </a:cubicBezTo>
                <a:cubicBezTo>
                  <a:pt x="5436928" y="853949"/>
                  <a:pt x="5438834" y="859642"/>
                  <a:pt x="5438834" y="865335"/>
                </a:cubicBezTo>
                <a:cubicBezTo>
                  <a:pt x="5438834" y="882413"/>
                  <a:pt x="5427395" y="899491"/>
                  <a:pt x="5410239" y="907081"/>
                </a:cubicBezTo>
                <a:cubicBezTo>
                  <a:pt x="5410239" y="907081"/>
                  <a:pt x="5410239" y="907081"/>
                  <a:pt x="5070896" y="1049397"/>
                </a:cubicBezTo>
                <a:cubicBezTo>
                  <a:pt x="5048022" y="1058891"/>
                  <a:pt x="5021334" y="1047500"/>
                  <a:pt x="5011805" y="1024730"/>
                </a:cubicBezTo>
                <a:cubicBezTo>
                  <a:pt x="5002274" y="1003856"/>
                  <a:pt x="5013710" y="977291"/>
                  <a:pt x="5034679" y="967803"/>
                </a:cubicBezTo>
                <a:cubicBezTo>
                  <a:pt x="5034679" y="967803"/>
                  <a:pt x="5034679" y="967803"/>
                  <a:pt x="5375924" y="825486"/>
                </a:cubicBezTo>
                <a:cubicBezTo>
                  <a:pt x="5387362" y="820742"/>
                  <a:pt x="5399754" y="820742"/>
                  <a:pt x="5410477" y="824774"/>
                </a:cubicBezTo>
                <a:close/>
                <a:moveTo>
                  <a:pt x="944785" y="824762"/>
                </a:moveTo>
                <a:cubicBezTo>
                  <a:pt x="955509" y="828795"/>
                  <a:pt x="964564" y="836859"/>
                  <a:pt x="969330" y="848245"/>
                </a:cubicBezTo>
                <a:cubicBezTo>
                  <a:pt x="971236" y="853937"/>
                  <a:pt x="973143" y="859630"/>
                  <a:pt x="973143" y="865323"/>
                </a:cubicBezTo>
                <a:cubicBezTo>
                  <a:pt x="973143" y="882401"/>
                  <a:pt x="963611" y="899479"/>
                  <a:pt x="946453" y="907069"/>
                </a:cubicBezTo>
                <a:cubicBezTo>
                  <a:pt x="946453" y="907069"/>
                  <a:pt x="946453" y="907069"/>
                  <a:pt x="605206" y="1049386"/>
                </a:cubicBezTo>
                <a:cubicBezTo>
                  <a:pt x="582329" y="1058877"/>
                  <a:pt x="555640" y="1047489"/>
                  <a:pt x="546108" y="1024718"/>
                </a:cubicBezTo>
                <a:cubicBezTo>
                  <a:pt x="536576" y="1003845"/>
                  <a:pt x="548014" y="977279"/>
                  <a:pt x="570891" y="967791"/>
                </a:cubicBezTo>
                <a:cubicBezTo>
                  <a:pt x="570891" y="967791"/>
                  <a:pt x="570891" y="967791"/>
                  <a:pt x="910231" y="825474"/>
                </a:cubicBezTo>
                <a:cubicBezTo>
                  <a:pt x="921670" y="820730"/>
                  <a:pt x="934061" y="820730"/>
                  <a:pt x="944785" y="824762"/>
                </a:cubicBezTo>
                <a:close/>
                <a:moveTo>
                  <a:pt x="4842166" y="812941"/>
                </a:moveTo>
                <a:cubicBezTo>
                  <a:pt x="4860553" y="813746"/>
                  <a:pt x="4877331" y="825549"/>
                  <a:pt x="4884470" y="842717"/>
                </a:cubicBezTo>
                <a:cubicBezTo>
                  <a:pt x="4886374" y="848440"/>
                  <a:pt x="4886374" y="854162"/>
                  <a:pt x="4886374" y="859885"/>
                </a:cubicBezTo>
                <a:cubicBezTo>
                  <a:pt x="4886374" y="878960"/>
                  <a:pt x="4874950" y="898036"/>
                  <a:pt x="4855910" y="903759"/>
                </a:cubicBezTo>
                <a:cubicBezTo>
                  <a:pt x="4855910" y="903759"/>
                  <a:pt x="4855910" y="903759"/>
                  <a:pt x="4515164" y="1033473"/>
                </a:cubicBezTo>
                <a:cubicBezTo>
                  <a:pt x="4492320" y="1043010"/>
                  <a:pt x="4463765" y="1031565"/>
                  <a:pt x="4454246" y="1006767"/>
                </a:cubicBezTo>
                <a:cubicBezTo>
                  <a:pt x="4446631" y="981968"/>
                  <a:pt x="4458054" y="955263"/>
                  <a:pt x="4482801" y="945725"/>
                </a:cubicBezTo>
                <a:cubicBezTo>
                  <a:pt x="4482801" y="945725"/>
                  <a:pt x="4482801" y="945725"/>
                  <a:pt x="4823545" y="816011"/>
                </a:cubicBezTo>
                <a:cubicBezTo>
                  <a:pt x="4829731" y="813626"/>
                  <a:pt x="4836038" y="812673"/>
                  <a:pt x="4842166" y="812941"/>
                </a:cubicBezTo>
                <a:close/>
                <a:moveTo>
                  <a:pt x="1476350" y="812927"/>
                </a:moveTo>
                <a:cubicBezTo>
                  <a:pt x="1494719" y="813732"/>
                  <a:pt x="1511483" y="825535"/>
                  <a:pt x="1518617" y="842703"/>
                </a:cubicBezTo>
                <a:cubicBezTo>
                  <a:pt x="1520519" y="848426"/>
                  <a:pt x="1522421" y="854148"/>
                  <a:pt x="1522421" y="859871"/>
                </a:cubicBezTo>
                <a:cubicBezTo>
                  <a:pt x="1522421" y="878946"/>
                  <a:pt x="1511008" y="898022"/>
                  <a:pt x="1491985" y="903745"/>
                </a:cubicBezTo>
                <a:cubicBezTo>
                  <a:pt x="1491985" y="903745"/>
                  <a:pt x="1491985" y="903745"/>
                  <a:pt x="1151476" y="1033459"/>
                </a:cubicBezTo>
                <a:cubicBezTo>
                  <a:pt x="1126746" y="1042997"/>
                  <a:pt x="1100114" y="1031552"/>
                  <a:pt x="1090602" y="1006753"/>
                </a:cubicBezTo>
                <a:cubicBezTo>
                  <a:pt x="1081091" y="981955"/>
                  <a:pt x="1094407" y="955249"/>
                  <a:pt x="1117234" y="945711"/>
                </a:cubicBezTo>
                <a:cubicBezTo>
                  <a:pt x="1117234" y="945711"/>
                  <a:pt x="1117234" y="945711"/>
                  <a:pt x="1457743" y="815997"/>
                </a:cubicBezTo>
                <a:cubicBezTo>
                  <a:pt x="1463926" y="813613"/>
                  <a:pt x="1470227" y="812659"/>
                  <a:pt x="1476350" y="812927"/>
                </a:cubicBezTo>
                <a:close/>
                <a:moveTo>
                  <a:pt x="4285652" y="804258"/>
                </a:moveTo>
                <a:cubicBezTo>
                  <a:pt x="4305298" y="806047"/>
                  <a:pt x="4322801" y="818566"/>
                  <a:pt x="4328516" y="838596"/>
                </a:cubicBezTo>
                <a:cubicBezTo>
                  <a:pt x="4330421" y="844319"/>
                  <a:pt x="4332327" y="848134"/>
                  <a:pt x="4332327" y="853857"/>
                </a:cubicBezTo>
                <a:cubicBezTo>
                  <a:pt x="4332327" y="874842"/>
                  <a:pt x="4318991" y="893918"/>
                  <a:pt x="4298035" y="901549"/>
                </a:cubicBezTo>
                <a:cubicBezTo>
                  <a:pt x="4298035" y="901549"/>
                  <a:pt x="4298035" y="901549"/>
                  <a:pt x="3957057" y="1017917"/>
                </a:cubicBezTo>
                <a:cubicBezTo>
                  <a:pt x="3930386" y="1025548"/>
                  <a:pt x="3901809" y="1012194"/>
                  <a:pt x="3894189" y="985486"/>
                </a:cubicBezTo>
                <a:cubicBezTo>
                  <a:pt x="3884664" y="960687"/>
                  <a:pt x="3897999" y="932072"/>
                  <a:pt x="3924669" y="922533"/>
                </a:cubicBezTo>
                <a:cubicBezTo>
                  <a:pt x="3924669" y="922533"/>
                  <a:pt x="3924669" y="922533"/>
                  <a:pt x="4265650" y="806166"/>
                </a:cubicBezTo>
                <a:cubicBezTo>
                  <a:pt x="4272317" y="804258"/>
                  <a:pt x="4279103" y="803662"/>
                  <a:pt x="4285652" y="804258"/>
                </a:cubicBezTo>
                <a:close/>
                <a:moveTo>
                  <a:pt x="2032209" y="804242"/>
                </a:moveTo>
                <a:cubicBezTo>
                  <a:pt x="2051146" y="806031"/>
                  <a:pt x="2069005" y="818550"/>
                  <a:pt x="2076148" y="838580"/>
                </a:cubicBezTo>
                <a:cubicBezTo>
                  <a:pt x="2078054" y="844303"/>
                  <a:pt x="2078054" y="848119"/>
                  <a:pt x="2078054" y="853842"/>
                </a:cubicBezTo>
                <a:cubicBezTo>
                  <a:pt x="2078054" y="874826"/>
                  <a:pt x="2064718" y="893903"/>
                  <a:pt x="2043759" y="901533"/>
                </a:cubicBezTo>
                <a:cubicBezTo>
                  <a:pt x="2043759" y="901533"/>
                  <a:pt x="2043759" y="901533"/>
                  <a:pt x="1702759" y="1017901"/>
                </a:cubicBezTo>
                <a:cubicBezTo>
                  <a:pt x="1676089" y="1025532"/>
                  <a:pt x="1649419" y="1012178"/>
                  <a:pt x="1639894" y="985471"/>
                </a:cubicBezTo>
                <a:cubicBezTo>
                  <a:pt x="1630368" y="960671"/>
                  <a:pt x="1645609" y="932056"/>
                  <a:pt x="1670374" y="922518"/>
                </a:cubicBezTo>
                <a:cubicBezTo>
                  <a:pt x="1670374" y="922518"/>
                  <a:pt x="1670374" y="922518"/>
                  <a:pt x="2013278" y="806150"/>
                </a:cubicBezTo>
                <a:cubicBezTo>
                  <a:pt x="2019470" y="804242"/>
                  <a:pt x="2025899" y="803646"/>
                  <a:pt x="2032209" y="804242"/>
                </a:cubicBezTo>
                <a:close/>
                <a:moveTo>
                  <a:pt x="3725236" y="796620"/>
                </a:moveTo>
                <a:cubicBezTo>
                  <a:pt x="3745002" y="798945"/>
                  <a:pt x="3762885" y="812538"/>
                  <a:pt x="3770039" y="832569"/>
                </a:cubicBezTo>
                <a:cubicBezTo>
                  <a:pt x="3770039" y="838293"/>
                  <a:pt x="3771948" y="844016"/>
                  <a:pt x="3771948" y="847831"/>
                </a:cubicBezTo>
                <a:cubicBezTo>
                  <a:pt x="3771948" y="870725"/>
                  <a:pt x="3756687" y="891710"/>
                  <a:pt x="3733791" y="897434"/>
                </a:cubicBezTo>
                <a:cubicBezTo>
                  <a:pt x="3733791" y="897434"/>
                  <a:pt x="3733791" y="897434"/>
                  <a:pt x="3390423" y="1000454"/>
                </a:cubicBezTo>
                <a:cubicBezTo>
                  <a:pt x="3363713" y="1008085"/>
                  <a:pt x="3335097" y="992823"/>
                  <a:pt x="3325558" y="964206"/>
                </a:cubicBezTo>
                <a:cubicBezTo>
                  <a:pt x="3317928" y="937497"/>
                  <a:pt x="3333189" y="908881"/>
                  <a:pt x="3361806" y="899342"/>
                </a:cubicBezTo>
                <a:cubicBezTo>
                  <a:pt x="3361806" y="899342"/>
                  <a:pt x="3361806" y="899342"/>
                  <a:pt x="3705177" y="798229"/>
                </a:cubicBezTo>
                <a:cubicBezTo>
                  <a:pt x="3711854" y="796321"/>
                  <a:pt x="3718648" y="795845"/>
                  <a:pt x="3725236" y="796620"/>
                </a:cubicBezTo>
                <a:close/>
                <a:moveTo>
                  <a:pt x="2591734" y="796602"/>
                </a:moveTo>
                <a:cubicBezTo>
                  <a:pt x="2611497" y="798927"/>
                  <a:pt x="2629381" y="812520"/>
                  <a:pt x="2636535" y="832551"/>
                </a:cubicBezTo>
                <a:cubicBezTo>
                  <a:pt x="2636535" y="838275"/>
                  <a:pt x="2638443" y="843998"/>
                  <a:pt x="2638443" y="847814"/>
                </a:cubicBezTo>
                <a:cubicBezTo>
                  <a:pt x="2638443" y="870707"/>
                  <a:pt x="2623182" y="891693"/>
                  <a:pt x="2600289" y="897416"/>
                </a:cubicBezTo>
                <a:cubicBezTo>
                  <a:pt x="2600289" y="897416"/>
                  <a:pt x="2600289" y="897416"/>
                  <a:pt x="2256905" y="1000437"/>
                </a:cubicBezTo>
                <a:cubicBezTo>
                  <a:pt x="2230197" y="1008068"/>
                  <a:pt x="2201582" y="992806"/>
                  <a:pt x="2192044" y="964189"/>
                </a:cubicBezTo>
                <a:cubicBezTo>
                  <a:pt x="2184413" y="937480"/>
                  <a:pt x="2199674" y="908863"/>
                  <a:pt x="2228290" y="899324"/>
                </a:cubicBezTo>
                <a:cubicBezTo>
                  <a:pt x="2228290" y="899324"/>
                  <a:pt x="2228290" y="899324"/>
                  <a:pt x="2571674" y="798211"/>
                </a:cubicBezTo>
                <a:cubicBezTo>
                  <a:pt x="2578350" y="796304"/>
                  <a:pt x="2585147" y="795827"/>
                  <a:pt x="2591734" y="796602"/>
                </a:cubicBezTo>
                <a:close/>
                <a:moveTo>
                  <a:pt x="3154890" y="787711"/>
                </a:moveTo>
                <a:cubicBezTo>
                  <a:pt x="3175860" y="791193"/>
                  <a:pt x="3194420" y="807266"/>
                  <a:pt x="3200131" y="828698"/>
                </a:cubicBezTo>
                <a:cubicBezTo>
                  <a:pt x="3200131" y="832508"/>
                  <a:pt x="3202035" y="838223"/>
                  <a:pt x="3202035" y="842033"/>
                </a:cubicBezTo>
                <a:cubicBezTo>
                  <a:pt x="3202035" y="866798"/>
                  <a:pt x="3184903" y="887752"/>
                  <a:pt x="3160155" y="895372"/>
                </a:cubicBezTo>
                <a:cubicBezTo>
                  <a:pt x="3160155" y="895372"/>
                  <a:pt x="3160155" y="895372"/>
                  <a:pt x="2817485" y="983002"/>
                </a:cubicBezTo>
                <a:cubicBezTo>
                  <a:pt x="2787025" y="990622"/>
                  <a:pt x="2758469" y="973477"/>
                  <a:pt x="2750856" y="944903"/>
                </a:cubicBezTo>
                <a:cubicBezTo>
                  <a:pt x="2743240" y="914422"/>
                  <a:pt x="2760373" y="885848"/>
                  <a:pt x="2788932" y="878228"/>
                </a:cubicBezTo>
                <a:cubicBezTo>
                  <a:pt x="2788932" y="878228"/>
                  <a:pt x="2788932" y="878228"/>
                  <a:pt x="3133502" y="788693"/>
                </a:cubicBezTo>
                <a:cubicBezTo>
                  <a:pt x="3140640" y="786788"/>
                  <a:pt x="3147899" y="786550"/>
                  <a:pt x="3154890" y="787711"/>
                </a:cubicBezTo>
                <a:close/>
                <a:moveTo>
                  <a:pt x="9863739" y="570068"/>
                </a:moveTo>
                <a:cubicBezTo>
                  <a:pt x="9870401" y="571019"/>
                  <a:pt x="9876588" y="574345"/>
                  <a:pt x="9881347" y="580048"/>
                </a:cubicBezTo>
                <a:cubicBezTo>
                  <a:pt x="9885154" y="585751"/>
                  <a:pt x="9887057" y="591454"/>
                  <a:pt x="9887057" y="597157"/>
                </a:cubicBezTo>
                <a:cubicBezTo>
                  <a:pt x="9887057" y="604761"/>
                  <a:pt x="9883250" y="614265"/>
                  <a:pt x="9875636" y="618067"/>
                </a:cubicBezTo>
                <a:cubicBezTo>
                  <a:pt x="9875636" y="618067"/>
                  <a:pt x="9875636" y="618067"/>
                  <a:pt x="9540623" y="857587"/>
                </a:cubicBezTo>
                <a:cubicBezTo>
                  <a:pt x="9529202" y="865191"/>
                  <a:pt x="9512070" y="863290"/>
                  <a:pt x="9504456" y="849984"/>
                </a:cubicBezTo>
                <a:cubicBezTo>
                  <a:pt x="9494939" y="838578"/>
                  <a:pt x="9496842" y="821469"/>
                  <a:pt x="9510167" y="811965"/>
                </a:cubicBezTo>
                <a:cubicBezTo>
                  <a:pt x="9510167" y="811965"/>
                  <a:pt x="9510167" y="811965"/>
                  <a:pt x="9843277" y="574345"/>
                </a:cubicBezTo>
                <a:cubicBezTo>
                  <a:pt x="9849939" y="570543"/>
                  <a:pt x="9857077" y="569118"/>
                  <a:pt x="9863739" y="570068"/>
                </a:cubicBezTo>
                <a:close/>
                <a:moveTo>
                  <a:pt x="9288066" y="561743"/>
                </a:moveTo>
                <a:cubicBezTo>
                  <a:pt x="9295215" y="563402"/>
                  <a:pt x="9301888" y="567670"/>
                  <a:pt x="9306654" y="574308"/>
                </a:cubicBezTo>
                <a:cubicBezTo>
                  <a:pt x="9310467" y="578102"/>
                  <a:pt x="9312374" y="583792"/>
                  <a:pt x="9312374" y="589483"/>
                </a:cubicBezTo>
                <a:cubicBezTo>
                  <a:pt x="9312374" y="598966"/>
                  <a:pt x="9306654" y="608450"/>
                  <a:pt x="9299028" y="614140"/>
                </a:cubicBezTo>
                <a:cubicBezTo>
                  <a:pt x="9299028" y="614140"/>
                  <a:pt x="9299028" y="614140"/>
                  <a:pt x="8963476" y="839853"/>
                </a:cubicBezTo>
                <a:cubicBezTo>
                  <a:pt x="8950130" y="849337"/>
                  <a:pt x="8932971" y="845543"/>
                  <a:pt x="8923439" y="832266"/>
                </a:cubicBezTo>
                <a:cubicBezTo>
                  <a:pt x="8913906" y="818989"/>
                  <a:pt x="8917719" y="800021"/>
                  <a:pt x="8931065" y="792434"/>
                </a:cubicBezTo>
                <a:cubicBezTo>
                  <a:pt x="8931065" y="792434"/>
                  <a:pt x="8931065" y="792434"/>
                  <a:pt x="9266617" y="564825"/>
                </a:cubicBezTo>
                <a:cubicBezTo>
                  <a:pt x="9273290" y="561032"/>
                  <a:pt x="9280916" y="560083"/>
                  <a:pt x="9288066" y="561743"/>
                </a:cubicBezTo>
                <a:close/>
                <a:moveTo>
                  <a:pt x="10448544" y="561719"/>
                </a:moveTo>
                <a:cubicBezTo>
                  <a:pt x="10455693" y="563379"/>
                  <a:pt x="10462366" y="567647"/>
                  <a:pt x="10467132" y="574285"/>
                </a:cubicBezTo>
                <a:cubicBezTo>
                  <a:pt x="10470945" y="578079"/>
                  <a:pt x="10472852" y="583769"/>
                  <a:pt x="10472852" y="589459"/>
                </a:cubicBezTo>
                <a:cubicBezTo>
                  <a:pt x="10472852" y="598943"/>
                  <a:pt x="10467132" y="608427"/>
                  <a:pt x="10459506" y="614117"/>
                </a:cubicBezTo>
                <a:cubicBezTo>
                  <a:pt x="10459506" y="614117"/>
                  <a:pt x="10459506" y="614117"/>
                  <a:pt x="10123954" y="839831"/>
                </a:cubicBezTo>
                <a:cubicBezTo>
                  <a:pt x="10110608" y="849314"/>
                  <a:pt x="10093449" y="845521"/>
                  <a:pt x="10083917" y="832244"/>
                </a:cubicBezTo>
                <a:cubicBezTo>
                  <a:pt x="10074384" y="818966"/>
                  <a:pt x="10078197" y="799999"/>
                  <a:pt x="10091543" y="792412"/>
                </a:cubicBezTo>
                <a:cubicBezTo>
                  <a:pt x="10091543" y="792412"/>
                  <a:pt x="10091543" y="792412"/>
                  <a:pt x="10427095" y="564801"/>
                </a:cubicBezTo>
                <a:cubicBezTo>
                  <a:pt x="10433768" y="561008"/>
                  <a:pt x="10441394" y="560060"/>
                  <a:pt x="10448544" y="561719"/>
                </a:cubicBezTo>
                <a:close/>
                <a:moveTo>
                  <a:pt x="8716914" y="552708"/>
                </a:moveTo>
                <a:cubicBezTo>
                  <a:pt x="8724791" y="554373"/>
                  <a:pt x="8731951" y="559130"/>
                  <a:pt x="8736725" y="566742"/>
                </a:cubicBezTo>
                <a:cubicBezTo>
                  <a:pt x="8740544" y="570547"/>
                  <a:pt x="8742454" y="576256"/>
                  <a:pt x="8742454" y="583868"/>
                </a:cubicBezTo>
                <a:cubicBezTo>
                  <a:pt x="8742454" y="593382"/>
                  <a:pt x="8736725" y="602897"/>
                  <a:pt x="8727178" y="608605"/>
                </a:cubicBezTo>
                <a:cubicBezTo>
                  <a:pt x="8727178" y="608605"/>
                  <a:pt x="8727178" y="608605"/>
                  <a:pt x="8391103" y="825535"/>
                </a:cubicBezTo>
                <a:cubicBezTo>
                  <a:pt x="8377736" y="835050"/>
                  <a:pt x="8356731" y="829341"/>
                  <a:pt x="8347184" y="816021"/>
                </a:cubicBezTo>
                <a:cubicBezTo>
                  <a:pt x="8337636" y="800798"/>
                  <a:pt x="8343365" y="781769"/>
                  <a:pt x="8356731" y="772254"/>
                </a:cubicBezTo>
                <a:cubicBezTo>
                  <a:pt x="8356731" y="772254"/>
                  <a:pt x="8356731" y="772254"/>
                  <a:pt x="8692806" y="557227"/>
                </a:cubicBezTo>
                <a:cubicBezTo>
                  <a:pt x="8700445" y="552470"/>
                  <a:pt x="8709038" y="551043"/>
                  <a:pt x="8716914" y="552708"/>
                </a:cubicBezTo>
                <a:close/>
                <a:moveTo>
                  <a:pt x="11026758" y="552682"/>
                </a:moveTo>
                <a:cubicBezTo>
                  <a:pt x="11034635" y="554347"/>
                  <a:pt x="11041796" y="559105"/>
                  <a:pt x="11046569" y="566716"/>
                </a:cubicBezTo>
                <a:cubicBezTo>
                  <a:pt x="11050388" y="570522"/>
                  <a:pt x="11052298" y="576231"/>
                  <a:pt x="11052298" y="583843"/>
                </a:cubicBezTo>
                <a:cubicBezTo>
                  <a:pt x="11052298" y="593357"/>
                  <a:pt x="11046569" y="602871"/>
                  <a:pt x="11037022" y="608580"/>
                </a:cubicBezTo>
                <a:cubicBezTo>
                  <a:pt x="11037022" y="608580"/>
                  <a:pt x="11037022" y="608580"/>
                  <a:pt x="10700947" y="825511"/>
                </a:cubicBezTo>
                <a:cubicBezTo>
                  <a:pt x="10685670" y="835025"/>
                  <a:pt x="10666575" y="829317"/>
                  <a:pt x="10657028" y="815996"/>
                </a:cubicBezTo>
                <a:cubicBezTo>
                  <a:pt x="10647480" y="800773"/>
                  <a:pt x="10651299" y="781744"/>
                  <a:pt x="10666575" y="772230"/>
                </a:cubicBezTo>
                <a:cubicBezTo>
                  <a:pt x="10666575" y="772230"/>
                  <a:pt x="10666575" y="772230"/>
                  <a:pt x="11002650" y="557202"/>
                </a:cubicBezTo>
                <a:cubicBezTo>
                  <a:pt x="11010288" y="552445"/>
                  <a:pt x="11018882" y="551017"/>
                  <a:pt x="11026758" y="552682"/>
                </a:cubicBezTo>
                <a:close/>
                <a:moveTo>
                  <a:pt x="8152845" y="544127"/>
                </a:moveTo>
                <a:cubicBezTo>
                  <a:pt x="8161154" y="546266"/>
                  <a:pt x="8168750" y="551493"/>
                  <a:pt x="8173498" y="559095"/>
                </a:cubicBezTo>
                <a:cubicBezTo>
                  <a:pt x="8177296" y="564797"/>
                  <a:pt x="8177296" y="570499"/>
                  <a:pt x="8177296" y="576201"/>
                </a:cubicBezTo>
                <a:cubicBezTo>
                  <a:pt x="8177296" y="587605"/>
                  <a:pt x="8171598" y="599009"/>
                  <a:pt x="8162103" y="604711"/>
                </a:cubicBezTo>
                <a:cubicBezTo>
                  <a:pt x="8162103" y="604711"/>
                  <a:pt x="8162103" y="604711"/>
                  <a:pt x="7825963" y="808083"/>
                </a:cubicBezTo>
                <a:cubicBezTo>
                  <a:pt x="7810771" y="817587"/>
                  <a:pt x="7789881" y="813785"/>
                  <a:pt x="7780385" y="796679"/>
                </a:cubicBezTo>
                <a:cubicBezTo>
                  <a:pt x="7770890" y="781474"/>
                  <a:pt x="7776587" y="760567"/>
                  <a:pt x="7791780" y="751063"/>
                </a:cubicBezTo>
                <a:cubicBezTo>
                  <a:pt x="7791780" y="751063"/>
                  <a:pt x="7791780" y="751063"/>
                  <a:pt x="8127919" y="547691"/>
                </a:cubicBezTo>
                <a:cubicBezTo>
                  <a:pt x="8135516" y="542939"/>
                  <a:pt x="8144537" y="541989"/>
                  <a:pt x="8152845" y="544127"/>
                </a:cubicBezTo>
                <a:close/>
                <a:moveTo>
                  <a:pt x="11598067" y="544120"/>
                </a:moveTo>
                <a:cubicBezTo>
                  <a:pt x="11606170" y="546258"/>
                  <a:pt x="11613319" y="551485"/>
                  <a:pt x="11618085" y="559088"/>
                </a:cubicBezTo>
                <a:cubicBezTo>
                  <a:pt x="11621898" y="564790"/>
                  <a:pt x="11623805" y="570492"/>
                  <a:pt x="11623805" y="576194"/>
                </a:cubicBezTo>
                <a:cubicBezTo>
                  <a:pt x="11623805" y="587598"/>
                  <a:pt x="11618085" y="599002"/>
                  <a:pt x="11606646" y="604704"/>
                </a:cubicBezTo>
                <a:cubicBezTo>
                  <a:pt x="11606646" y="604704"/>
                  <a:pt x="11606646" y="604704"/>
                  <a:pt x="11271101" y="808077"/>
                </a:cubicBezTo>
                <a:cubicBezTo>
                  <a:pt x="11255849" y="817580"/>
                  <a:pt x="11234877" y="813778"/>
                  <a:pt x="11225345" y="796673"/>
                </a:cubicBezTo>
                <a:cubicBezTo>
                  <a:pt x="11215812" y="781467"/>
                  <a:pt x="11219625" y="760560"/>
                  <a:pt x="11236784" y="751056"/>
                </a:cubicBezTo>
                <a:cubicBezTo>
                  <a:pt x="11236784" y="751056"/>
                  <a:pt x="11236784" y="751056"/>
                  <a:pt x="11572329" y="547684"/>
                </a:cubicBezTo>
                <a:cubicBezTo>
                  <a:pt x="11580908" y="542932"/>
                  <a:pt x="11589964" y="541982"/>
                  <a:pt x="11598067" y="544120"/>
                </a:cubicBezTo>
                <a:close/>
                <a:moveTo>
                  <a:pt x="12139750" y="535003"/>
                </a:moveTo>
                <a:cubicBezTo>
                  <a:pt x="12139750" y="535003"/>
                  <a:pt x="12139750" y="535003"/>
                  <a:pt x="12139750" y="616918"/>
                </a:cubicBezTo>
                <a:cubicBezTo>
                  <a:pt x="12139750" y="616918"/>
                  <a:pt x="12139750" y="616918"/>
                  <a:pt x="11835212" y="792178"/>
                </a:cubicBezTo>
                <a:cubicBezTo>
                  <a:pt x="11818082" y="801703"/>
                  <a:pt x="11795242" y="795988"/>
                  <a:pt x="11785725" y="778843"/>
                </a:cubicBezTo>
                <a:cubicBezTo>
                  <a:pt x="11776208" y="761698"/>
                  <a:pt x="11781918" y="738838"/>
                  <a:pt x="11799048" y="729313"/>
                </a:cubicBezTo>
                <a:lnTo>
                  <a:pt x="12135943" y="536908"/>
                </a:lnTo>
                <a:cubicBezTo>
                  <a:pt x="12137847" y="536908"/>
                  <a:pt x="12137847" y="535003"/>
                  <a:pt x="12139750" y="535003"/>
                </a:cubicBezTo>
                <a:close/>
                <a:moveTo>
                  <a:pt x="7595886" y="534825"/>
                </a:moveTo>
                <a:cubicBezTo>
                  <a:pt x="7604955" y="537196"/>
                  <a:pt x="7613070" y="542884"/>
                  <a:pt x="7617844" y="551417"/>
                </a:cubicBezTo>
                <a:cubicBezTo>
                  <a:pt x="7621663" y="557105"/>
                  <a:pt x="7621663" y="562794"/>
                  <a:pt x="7621663" y="568482"/>
                </a:cubicBezTo>
                <a:cubicBezTo>
                  <a:pt x="7621663" y="581756"/>
                  <a:pt x="7615935" y="593133"/>
                  <a:pt x="7604478" y="600717"/>
                </a:cubicBezTo>
                <a:cubicBezTo>
                  <a:pt x="7604478" y="600717"/>
                  <a:pt x="7604478" y="600717"/>
                  <a:pt x="7266512" y="792231"/>
                </a:cubicBezTo>
                <a:cubicBezTo>
                  <a:pt x="7249327" y="801712"/>
                  <a:pt x="7228323" y="796023"/>
                  <a:pt x="7218776" y="778957"/>
                </a:cubicBezTo>
                <a:cubicBezTo>
                  <a:pt x="7207320" y="761892"/>
                  <a:pt x="7214957" y="739138"/>
                  <a:pt x="7230233" y="729657"/>
                </a:cubicBezTo>
                <a:cubicBezTo>
                  <a:pt x="7230233" y="729657"/>
                  <a:pt x="7230233" y="729657"/>
                  <a:pt x="7568199" y="538144"/>
                </a:cubicBezTo>
                <a:cubicBezTo>
                  <a:pt x="7576792" y="533403"/>
                  <a:pt x="7586816" y="532455"/>
                  <a:pt x="7595886" y="534825"/>
                </a:cubicBezTo>
                <a:close/>
                <a:moveTo>
                  <a:pt x="7044520" y="526281"/>
                </a:moveTo>
                <a:cubicBezTo>
                  <a:pt x="7053807" y="529139"/>
                  <a:pt x="7061903" y="535330"/>
                  <a:pt x="7066666" y="543903"/>
                </a:cubicBezTo>
                <a:cubicBezTo>
                  <a:pt x="7070476" y="549618"/>
                  <a:pt x="7072381" y="557237"/>
                  <a:pt x="7072381" y="562953"/>
                </a:cubicBezTo>
                <a:cubicBezTo>
                  <a:pt x="7072381" y="576287"/>
                  <a:pt x="7064761" y="589623"/>
                  <a:pt x="7051425" y="595337"/>
                </a:cubicBezTo>
                <a:cubicBezTo>
                  <a:pt x="7051425" y="595337"/>
                  <a:pt x="7051425" y="595337"/>
                  <a:pt x="6714236" y="776312"/>
                </a:cubicBezTo>
                <a:cubicBezTo>
                  <a:pt x="6695185" y="785837"/>
                  <a:pt x="6672325" y="780122"/>
                  <a:pt x="6662800" y="761072"/>
                </a:cubicBezTo>
                <a:cubicBezTo>
                  <a:pt x="6653275" y="743927"/>
                  <a:pt x="6660895" y="721067"/>
                  <a:pt x="6678040" y="709637"/>
                </a:cubicBezTo>
                <a:cubicBezTo>
                  <a:pt x="6678040" y="709637"/>
                  <a:pt x="6678040" y="709637"/>
                  <a:pt x="7015230" y="528663"/>
                </a:cubicBezTo>
                <a:cubicBezTo>
                  <a:pt x="7024755" y="523900"/>
                  <a:pt x="7035233" y="523424"/>
                  <a:pt x="7044520" y="526281"/>
                </a:cubicBezTo>
                <a:close/>
                <a:moveTo>
                  <a:pt x="6500891" y="517214"/>
                </a:moveTo>
                <a:cubicBezTo>
                  <a:pt x="6510676" y="520539"/>
                  <a:pt x="6519268" y="527666"/>
                  <a:pt x="6524041" y="538118"/>
                </a:cubicBezTo>
                <a:cubicBezTo>
                  <a:pt x="6525950" y="543819"/>
                  <a:pt x="6527860" y="549520"/>
                  <a:pt x="6527860" y="555221"/>
                </a:cubicBezTo>
                <a:cubicBezTo>
                  <a:pt x="6527860" y="570424"/>
                  <a:pt x="6520223" y="583727"/>
                  <a:pt x="6506857" y="591328"/>
                </a:cubicBezTo>
                <a:cubicBezTo>
                  <a:pt x="6506857" y="591328"/>
                  <a:pt x="6506857" y="591328"/>
                  <a:pt x="6166999" y="760460"/>
                </a:cubicBezTo>
                <a:cubicBezTo>
                  <a:pt x="6147906" y="769962"/>
                  <a:pt x="6123085" y="762360"/>
                  <a:pt x="6113538" y="743357"/>
                </a:cubicBezTo>
                <a:cubicBezTo>
                  <a:pt x="6103992" y="722453"/>
                  <a:pt x="6111629" y="699649"/>
                  <a:pt x="6130722" y="690147"/>
                </a:cubicBezTo>
                <a:cubicBezTo>
                  <a:pt x="6130722" y="690147"/>
                  <a:pt x="6130722" y="690147"/>
                  <a:pt x="6470580" y="519114"/>
                </a:cubicBezTo>
                <a:cubicBezTo>
                  <a:pt x="6480127" y="514363"/>
                  <a:pt x="6491105" y="513888"/>
                  <a:pt x="6500891" y="517214"/>
                </a:cubicBezTo>
                <a:close/>
                <a:moveTo>
                  <a:pt x="5942009" y="506693"/>
                </a:moveTo>
                <a:cubicBezTo>
                  <a:pt x="5958261" y="505537"/>
                  <a:pt x="5973977" y="514778"/>
                  <a:pt x="5981121" y="530416"/>
                </a:cubicBezTo>
                <a:cubicBezTo>
                  <a:pt x="5984930" y="536102"/>
                  <a:pt x="5984930" y="541789"/>
                  <a:pt x="5984930" y="547475"/>
                </a:cubicBezTo>
                <a:cubicBezTo>
                  <a:pt x="5984930" y="564535"/>
                  <a:pt x="5977311" y="579699"/>
                  <a:pt x="5962070" y="585386"/>
                </a:cubicBezTo>
                <a:cubicBezTo>
                  <a:pt x="5962070" y="585386"/>
                  <a:pt x="5962070" y="585386"/>
                  <a:pt x="5622984" y="744609"/>
                </a:cubicBezTo>
                <a:cubicBezTo>
                  <a:pt x="5602029" y="754087"/>
                  <a:pt x="5577264" y="744609"/>
                  <a:pt x="5565834" y="723759"/>
                </a:cubicBezTo>
                <a:cubicBezTo>
                  <a:pt x="5556309" y="702908"/>
                  <a:pt x="5565834" y="678266"/>
                  <a:pt x="5586789" y="668789"/>
                </a:cubicBezTo>
                <a:cubicBezTo>
                  <a:pt x="5586789" y="668789"/>
                  <a:pt x="5586789" y="668789"/>
                  <a:pt x="5925876" y="511460"/>
                </a:cubicBezTo>
                <a:cubicBezTo>
                  <a:pt x="5931114" y="508617"/>
                  <a:pt x="5936592" y="507077"/>
                  <a:pt x="5942009" y="506693"/>
                </a:cubicBezTo>
                <a:close/>
                <a:moveTo>
                  <a:pt x="382532" y="506681"/>
                </a:moveTo>
                <a:cubicBezTo>
                  <a:pt x="398784" y="505526"/>
                  <a:pt x="414500" y="514766"/>
                  <a:pt x="421644" y="530405"/>
                </a:cubicBezTo>
                <a:cubicBezTo>
                  <a:pt x="423549" y="536091"/>
                  <a:pt x="425454" y="541778"/>
                  <a:pt x="425454" y="547464"/>
                </a:cubicBezTo>
                <a:cubicBezTo>
                  <a:pt x="425454" y="564524"/>
                  <a:pt x="415929" y="579688"/>
                  <a:pt x="400689" y="585374"/>
                </a:cubicBezTo>
                <a:cubicBezTo>
                  <a:pt x="400689" y="585374"/>
                  <a:pt x="400689" y="585374"/>
                  <a:pt x="61595" y="744598"/>
                </a:cubicBezTo>
                <a:cubicBezTo>
                  <a:pt x="40640" y="754076"/>
                  <a:pt x="15874" y="744598"/>
                  <a:pt x="6349" y="723747"/>
                </a:cubicBezTo>
                <a:cubicBezTo>
                  <a:pt x="-3176" y="702897"/>
                  <a:pt x="6349" y="678255"/>
                  <a:pt x="27304" y="668777"/>
                </a:cubicBezTo>
                <a:cubicBezTo>
                  <a:pt x="27304" y="668777"/>
                  <a:pt x="27304" y="668777"/>
                  <a:pt x="366399" y="511449"/>
                </a:cubicBezTo>
                <a:cubicBezTo>
                  <a:pt x="371637" y="508606"/>
                  <a:pt x="377114" y="507066"/>
                  <a:pt x="382532" y="506681"/>
                </a:cubicBezTo>
                <a:close/>
                <a:moveTo>
                  <a:pt x="5409823" y="500973"/>
                </a:moveTo>
                <a:cubicBezTo>
                  <a:pt x="5420077" y="505026"/>
                  <a:pt x="5428662" y="513132"/>
                  <a:pt x="5433432" y="524577"/>
                </a:cubicBezTo>
                <a:cubicBezTo>
                  <a:pt x="5437247" y="530300"/>
                  <a:pt x="5437247" y="536022"/>
                  <a:pt x="5437247" y="541744"/>
                </a:cubicBezTo>
                <a:cubicBezTo>
                  <a:pt x="5437247" y="558911"/>
                  <a:pt x="5427708" y="574171"/>
                  <a:pt x="5410538" y="581801"/>
                </a:cubicBezTo>
                <a:cubicBezTo>
                  <a:pt x="5410538" y="581801"/>
                  <a:pt x="5410538" y="581801"/>
                  <a:pt x="5070947" y="728676"/>
                </a:cubicBezTo>
                <a:cubicBezTo>
                  <a:pt x="5048056" y="738212"/>
                  <a:pt x="5023257" y="728676"/>
                  <a:pt x="5011811" y="705786"/>
                </a:cubicBezTo>
                <a:cubicBezTo>
                  <a:pt x="5002274" y="682896"/>
                  <a:pt x="5013719" y="658100"/>
                  <a:pt x="5034702" y="648562"/>
                </a:cubicBezTo>
                <a:cubicBezTo>
                  <a:pt x="5034702" y="648562"/>
                  <a:pt x="5034702" y="648562"/>
                  <a:pt x="5376198" y="501688"/>
                </a:cubicBezTo>
                <a:cubicBezTo>
                  <a:pt x="5387645" y="496919"/>
                  <a:pt x="5399569" y="496919"/>
                  <a:pt x="5409823" y="500973"/>
                </a:cubicBezTo>
                <a:close/>
                <a:moveTo>
                  <a:pt x="943575" y="500959"/>
                </a:moveTo>
                <a:cubicBezTo>
                  <a:pt x="954275" y="505012"/>
                  <a:pt x="963310" y="513119"/>
                  <a:pt x="968066" y="524564"/>
                </a:cubicBezTo>
                <a:cubicBezTo>
                  <a:pt x="969968" y="530286"/>
                  <a:pt x="969968" y="536009"/>
                  <a:pt x="969968" y="541731"/>
                </a:cubicBezTo>
                <a:cubicBezTo>
                  <a:pt x="969968" y="558898"/>
                  <a:pt x="960457" y="574158"/>
                  <a:pt x="945239" y="581788"/>
                </a:cubicBezTo>
                <a:cubicBezTo>
                  <a:pt x="945239" y="581788"/>
                  <a:pt x="945239" y="581788"/>
                  <a:pt x="604741" y="728662"/>
                </a:cubicBezTo>
                <a:cubicBezTo>
                  <a:pt x="581914" y="738200"/>
                  <a:pt x="557185" y="728662"/>
                  <a:pt x="547674" y="705773"/>
                </a:cubicBezTo>
                <a:cubicBezTo>
                  <a:pt x="538163" y="682883"/>
                  <a:pt x="547674" y="658086"/>
                  <a:pt x="570501" y="648549"/>
                </a:cubicBezTo>
                <a:cubicBezTo>
                  <a:pt x="570501" y="648549"/>
                  <a:pt x="570501" y="648549"/>
                  <a:pt x="909097" y="501674"/>
                </a:cubicBezTo>
                <a:cubicBezTo>
                  <a:pt x="920510" y="496906"/>
                  <a:pt x="932875" y="496906"/>
                  <a:pt x="943575" y="500959"/>
                </a:cubicBezTo>
                <a:close/>
                <a:moveTo>
                  <a:pt x="4841065" y="488779"/>
                </a:moveTo>
                <a:cubicBezTo>
                  <a:pt x="4858649" y="489046"/>
                  <a:pt x="4875428" y="499748"/>
                  <a:pt x="4882567" y="516870"/>
                </a:cubicBezTo>
                <a:cubicBezTo>
                  <a:pt x="4884470" y="522577"/>
                  <a:pt x="4886374" y="528285"/>
                  <a:pt x="4886374" y="533993"/>
                </a:cubicBezTo>
                <a:cubicBezTo>
                  <a:pt x="4886374" y="553017"/>
                  <a:pt x="4874950" y="570139"/>
                  <a:pt x="4855910" y="577749"/>
                </a:cubicBezTo>
                <a:cubicBezTo>
                  <a:pt x="4855910" y="577749"/>
                  <a:pt x="4855910" y="577749"/>
                  <a:pt x="4517066" y="712825"/>
                </a:cubicBezTo>
                <a:cubicBezTo>
                  <a:pt x="4492320" y="722338"/>
                  <a:pt x="4465668" y="710923"/>
                  <a:pt x="4456150" y="686191"/>
                </a:cubicBezTo>
                <a:cubicBezTo>
                  <a:pt x="4446631" y="663361"/>
                  <a:pt x="4458054" y="636726"/>
                  <a:pt x="4482801" y="627214"/>
                </a:cubicBezTo>
                <a:cubicBezTo>
                  <a:pt x="4482801" y="627214"/>
                  <a:pt x="4482801" y="627214"/>
                  <a:pt x="4823545" y="492138"/>
                </a:cubicBezTo>
                <a:cubicBezTo>
                  <a:pt x="4829255" y="489760"/>
                  <a:pt x="4835205" y="488690"/>
                  <a:pt x="4841065" y="488779"/>
                </a:cubicBezTo>
                <a:close/>
                <a:moveTo>
                  <a:pt x="1475768" y="488763"/>
                </a:moveTo>
                <a:cubicBezTo>
                  <a:pt x="1493806" y="489031"/>
                  <a:pt x="1511308" y="499732"/>
                  <a:pt x="1517023" y="516854"/>
                </a:cubicBezTo>
                <a:cubicBezTo>
                  <a:pt x="1520833" y="522562"/>
                  <a:pt x="1520833" y="528269"/>
                  <a:pt x="1520833" y="533977"/>
                </a:cubicBezTo>
                <a:cubicBezTo>
                  <a:pt x="1520833" y="553002"/>
                  <a:pt x="1509403" y="570124"/>
                  <a:pt x="1492258" y="577734"/>
                </a:cubicBezTo>
                <a:cubicBezTo>
                  <a:pt x="1492258" y="577734"/>
                  <a:pt x="1492258" y="577734"/>
                  <a:pt x="1151259" y="712810"/>
                </a:cubicBezTo>
                <a:cubicBezTo>
                  <a:pt x="1128399" y="722323"/>
                  <a:pt x="1101728" y="710908"/>
                  <a:pt x="1092203" y="686175"/>
                </a:cubicBezTo>
                <a:cubicBezTo>
                  <a:pt x="1082678" y="663346"/>
                  <a:pt x="1094108" y="636711"/>
                  <a:pt x="1116969" y="627198"/>
                </a:cubicBezTo>
                <a:cubicBezTo>
                  <a:pt x="1116969" y="627198"/>
                  <a:pt x="1116969" y="627198"/>
                  <a:pt x="1457968" y="492122"/>
                </a:cubicBezTo>
                <a:cubicBezTo>
                  <a:pt x="1463683" y="489744"/>
                  <a:pt x="1469755" y="488674"/>
                  <a:pt x="1475768" y="488763"/>
                </a:cubicBezTo>
                <a:close/>
                <a:moveTo>
                  <a:pt x="4284536" y="479572"/>
                </a:moveTo>
                <a:cubicBezTo>
                  <a:pt x="4302958" y="480462"/>
                  <a:pt x="4319769" y="492573"/>
                  <a:pt x="4326924" y="511096"/>
                </a:cubicBezTo>
                <a:cubicBezTo>
                  <a:pt x="4328831" y="516795"/>
                  <a:pt x="4330740" y="522495"/>
                  <a:pt x="4330740" y="528194"/>
                </a:cubicBezTo>
                <a:cubicBezTo>
                  <a:pt x="4330740" y="547192"/>
                  <a:pt x="4317385" y="566190"/>
                  <a:pt x="4298306" y="571889"/>
                </a:cubicBezTo>
                <a:cubicBezTo>
                  <a:pt x="4298306" y="571889"/>
                  <a:pt x="4298306" y="571889"/>
                  <a:pt x="3956840" y="695376"/>
                </a:cubicBezTo>
                <a:cubicBezTo>
                  <a:pt x="3932037" y="704875"/>
                  <a:pt x="3903421" y="691576"/>
                  <a:pt x="3895789" y="666879"/>
                </a:cubicBezTo>
                <a:cubicBezTo>
                  <a:pt x="3886250" y="642182"/>
                  <a:pt x="3899605" y="615584"/>
                  <a:pt x="3924406" y="606085"/>
                </a:cubicBezTo>
                <a:cubicBezTo>
                  <a:pt x="3924406" y="606085"/>
                  <a:pt x="3924406" y="606085"/>
                  <a:pt x="4265875" y="482599"/>
                </a:cubicBezTo>
                <a:cubicBezTo>
                  <a:pt x="4272075" y="480225"/>
                  <a:pt x="4278394" y="479275"/>
                  <a:pt x="4284536" y="479572"/>
                </a:cubicBezTo>
                <a:close/>
                <a:moveTo>
                  <a:pt x="2030557" y="479554"/>
                </a:moveTo>
                <a:cubicBezTo>
                  <a:pt x="2049519" y="480444"/>
                  <a:pt x="2067405" y="492555"/>
                  <a:pt x="2074559" y="511078"/>
                </a:cubicBezTo>
                <a:cubicBezTo>
                  <a:pt x="2076467" y="516778"/>
                  <a:pt x="2076467" y="522477"/>
                  <a:pt x="2076467" y="528177"/>
                </a:cubicBezTo>
                <a:cubicBezTo>
                  <a:pt x="2076467" y="547175"/>
                  <a:pt x="2065020" y="566172"/>
                  <a:pt x="2045938" y="571872"/>
                </a:cubicBezTo>
                <a:cubicBezTo>
                  <a:pt x="2045938" y="571872"/>
                  <a:pt x="2045938" y="571872"/>
                  <a:pt x="1702543" y="695358"/>
                </a:cubicBezTo>
                <a:cubicBezTo>
                  <a:pt x="1677743" y="704857"/>
                  <a:pt x="1651034" y="691559"/>
                  <a:pt x="1641495" y="666862"/>
                </a:cubicBezTo>
                <a:cubicBezTo>
                  <a:pt x="1631957" y="642164"/>
                  <a:pt x="1645311" y="615567"/>
                  <a:pt x="1670112" y="606068"/>
                </a:cubicBezTo>
                <a:cubicBezTo>
                  <a:pt x="1670112" y="606068"/>
                  <a:pt x="1670112" y="606068"/>
                  <a:pt x="2011599" y="482582"/>
                </a:cubicBezTo>
                <a:cubicBezTo>
                  <a:pt x="2017799" y="480207"/>
                  <a:pt x="2024238" y="479257"/>
                  <a:pt x="2030557" y="479554"/>
                </a:cubicBezTo>
                <a:close/>
                <a:moveTo>
                  <a:pt x="3723552" y="470402"/>
                </a:moveTo>
                <a:cubicBezTo>
                  <a:pt x="3743255" y="471922"/>
                  <a:pt x="3760807" y="485514"/>
                  <a:pt x="3766538" y="505544"/>
                </a:cubicBezTo>
                <a:cubicBezTo>
                  <a:pt x="3768448" y="511267"/>
                  <a:pt x="3770360" y="515082"/>
                  <a:pt x="3770360" y="520805"/>
                </a:cubicBezTo>
                <a:cubicBezTo>
                  <a:pt x="3770360" y="541790"/>
                  <a:pt x="3756987" y="560866"/>
                  <a:pt x="3734060" y="568497"/>
                </a:cubicBezTo>
                <a:cubicBezTo>
                  <a:pt x="3734060" y="568497"/>
                  <a:pt x="3734060" y="568497"/>
                  <a:pt x="3392112" y="681049"/>
                </a:cubicBezTo>
                <a:cubicBezTo>
                  <a:pt x="3365365" y="690588"/>
                  <a:pt x="3336709" y="675326"/>
                  <a:pt x="3329066" y="648619"/>
                </a:cubicBezTo>
                <a:cubicBezTo>
                  <a:pt x="3319515" y="621912"/>
                  <a:pt x="3334799" y="595204"/>
                  <a:pt x="3359633" y="585666"/>
                </a:cubicBezTo>
                <a:cubicBezTo>
                  <a:pt x="3359633" y="585666"/>
                  <a:pt x="3359633" y="585666"/>
                  <a:pt x="3703492" y="473114"/>
                </a:cubicBezTo>
                <a:cubicBezTo>
                  <a:pt x="3710178" y="470729"/>
                  <a:pt x="3716984" y="469895"/>
                  <a:pt x="3723552" y="470402"/>
                </a:cubicBezTo>
                <a:close/>
                <a:moveTo>
                  <a:pt x="2590051" y="470381"/>
                </a:moveTo>
                <a:cubicBezTo>
                  <a:pt x="2609752" y="471901"/>
                  <a:pt x="2627304" y="485494"/>
                  <a:pt x="2633035" y="505524"/>
                </a:cubicBezTo>
                <a:cubicBezTo>
                  <a:pt x="2634946" y="511247"/>
                  <a:pt x="2636856" y="515063"/>
                  <a:pt x="2636856" y="520785"/>
                </a:cubicBezTo>
                <a:cubicBezTo>
                  <a:pt x="2636856" y="541770"/>
                  <a:pt x="2623484" y="560847"/>
                  <a:pt x="2600558" y="568477"/>
                </a:cubicBezTo>
                <a:cubicBezTo>
                  <a:pt x="2600558" y="568477"/>
                  <a:pt x="2600558" y="568477"/>
                  <a:pt x="2258596" y="681030"/>
                </a:cubicBezTo>
                <a:cubicBezTo>
                  <a:pt x="2231850" y="690568"/>
                  <a:pt x="2203194" y="675307"/>
                  <a:pt x="2195553" y="648599"/>
                </a:cubicBezTo>
                <a:cubicBezTo>
                  <a:pt x="2186001" y="621892"/>
                  <a:pt x="2201284" y="595185"/>
                  <a:pt x="2226119" y="585646"/>
                </a:cubicBezTo>
                <a:cubicBezTo>
                  <a:pt x="2226119" y="585646"/>
                  <a:pt x="2226119" y="585646"/>
                  <a:pt x="2569992" y="473094"/>
                </a:cubicBezTo>
                <a:cubicBezTo>
                  <a:pt x="2576678" y="470709"/>
                  <a:pt x="2583484" y="469875"/>
                  <a:pt x="2590051" y="470381"/>
                </a:cubicBezTo>
                <a:close/>
                <a:moveTo>
                  <a:pt x="3153226" y="461689"/>
                </a:moveTo>
                <a:cubicBezTo>
                  <a:pt x="3173703" y="464103"/>
                  <a:pt x="3191231" y="478054"/>
                  <a:pt x="3196954" y="499516"/>
                </a:cubicBezTo>
                <a:cubicBezTo>
                  <a:pt x="3198860" y="503332"/>
                  <a:pt x="3198860" y="509055"/>
                  <a:pt x="3198860" y="512871"/>
                </a:cubicBezTo>
                <a:cubicBezTo>
                  <a:pt x="3198860" y="535764"/>
                  <a:pt x="3185507" y="556750"/>
                  <a:pt x="3162616" y="564381"/>
                </a:cubicBezTo>
                <a:cubicBezTo>
                  <a:pt x="3162616" y="564381"/>
                  <a:pt x="3162616" y="564381"/>
                  <a:pt x="2819228" y="665493"/>
                </a:cubicBezTo>
                <a:cubicBezTo>
                  <a:pt x="2790614" y="673125"/>
                  <a:pt x="2761996" y="657862"/>
                  <a:pt x="2754367" y="629246"/>
                </a:cubicBezTo>
                <a:cubicBezTo>
                  <a:pt x="2744828" y="602536"/>
                  <a:pt x="2761996" y="572012"/>
                  <a:pt x="2788705" y="564381"/>
                </a:cubicBezTo>
                <a:cubicBezTo>
                  <a:pt x="2788705" y="564381"/>
                  <a:pt x="2788705" y="564381"/>
                  <a:pt x="3132091" y="463269"/>
                </a:cubicBezTo>
                <a:cubicBezTo>
                  <a:pt x="3139247" y="461361"/>
                  <a:pt x="3146400" y="460884"/>
                  <a:pt x="3153226" y="461689"/>
                </a:cubicBezTo>
                <a:close/>
                <a:moveTo>
                  <a:pt x="9865382" y="251073"/>
                </a:moveTo>
                <a:cubicBezTo>
                  <a:pt x="9872978" y="252741"/>
                  <a:pt x="9880099" y="257509"/>
                  <a:pt x="9884846" y="265137"/>
                </a:cubicBezTo>
                <a:cubicBezTo>
                  <a:pt x="9888644" y="268951"/>
                  <a:pt x="9888644" y="274673"/>
                  <a:pt x="9888644" y="280394"/>
                </a:cubicBezTo>
                <a:cubicBezTo>
                  <a:pt x="9888644" y="289929"/>
                  <a:pt x="9884846" y="299465"/>
                  <a:pt x="9875351" y="305186"/>
                </a:cubicBezTo>
                <a:cubicBezTo>
                  <a:pt x="9875351" y="305186"/>
                  <a:pt x="9875351" y="305186"/>
                  <a:pt x="9543036" y="530219"/>
                </a:cubicBezTo>
                <a:cubicBezTo>
                  <a:pt x="9527844" y="539755"/>
                  <a:pt x="9510753" y="535941"/>
                  <a:pt x="9501259" y="520684"/>
                </a:cubicBezTo>
                <a:cubicBezTo>
                  <a:pt x="9491764" y="507335"/>
                  <a:pt x="9495562" y="490171"/>
                  <a:pt x="9508855" y="480636"/>
                </a:cubicBezTo>
                <a:cubicBezTo>
                  <a:pt x="9508855" y="480636"/>
                  <a:pt x="9508855" y="480636"/>
                  <a:pt x="9843069" y="255602"/>
                </a:cubicBezTo>
                <a:cubicBezTo>
                  <a:pt x="9849716" y="250834"/>
                  <a:pt x="9857786" y="249404"/>
                  <a:pt x="9865382" y="251073"/>
                </a:cubicBezTo>
                <a:close/>
                <a:moveTo>
                  <a:pt x="9288660" y="242274"/>
                </a:moveTo>
                <a:cubicBezTo>
                  <a:pt x="9296298" y="244177"/>
                  <a:pt x="9303459" y="248934"/>
                  <a:pt x="9308232" y="255594"/>
                </a:cubicBezTo>
                <a:cubicBezTo>
                  <a:pt x="9312051" y="261303"/>
                  <a:pt x="9313961" y="267012"/>
                  <a:pt x="9313961" y="272720"/>
                </a:cubicBezTo>
                <a:cubicBezTo>
                  <a:pt x="9313961" y="284138"/>
                  <a:pt x="9308232" y="293652"/>
                  <a:pt x="9298685" y="299361"/>
                </a:cubicBezTo>
                <a:cubicBezTo>
                  <a:pt x="9298685" y="299361"/>
                  <a:pt x="9298685" y="299361"/>
                  <a:pt x="8962610" y="514388"/>
                </a:cubicBezTo>
                <a:cubicBezTo>
                  <a:pt x="8949243" y="523902"/>
                  <a:pt x="8928238" y="518193"/>
                  <a:pt x="8918691" y="504873"/>
                </a:cubicBezTo>
                <a:cubicBezTo>
                  <a:pt x="8909143" y="489650"/>
                  <a:pt x="8914872" y="470622"/>
                  <a:pt x="8928238" y="461107"/>
                </a:cubicBezTo>
                <a:lnTo>
                  <a:pt x="9266223" y="246080"/>
                </a:lnTo>
                <a:cubicBezTo>
                  <a:pt x="9272906" y="241322"/>
                  <a:pt x="9281022" y="240371"/>
                  <a:pt x="9288660" y="242274"/>
                </a:cubicBezTo>
                <a:close/>
                <a:moveTo>
                  <a:pt x="10450170" y="242248"/>
                </a:moveTo>
                <a:cubicBezTo>
                  <a:pt x="10458260" y="244151"/>
                  <a:pt x="10465874" y="248908"/>
                  <a:pt x="10470633" y="255569"/>
                </a:cubicBezTo>
                <a:cubicBezTo>
                  <a:pt x="10472536" y="261277"/>
                  <a:pt x="10474440" y="266986"/>
                  <a:pt x="10474440" y="272695"/>
                </a:cubicBezTo>
                <a:cubicBezTo>
                  <a:pt x="10474440" y="284112"/>
                  <a:pt x="10470633" y="293627"/>
                  <a:pt x="10461115" y="299335"/>
                </a:cubicBezTo>
                <a:cubicBezTo>
                  <a:pt x="10461115" y="299335"/>
                  <a:pt x="10461115" y="299335"/>
                  <a:pt x="10124192" y="514363"/>
                </a:cubicBezTo>
                <a:cubicBezTo>
                  <a:pt x="10110867" y="523878"/>
                  <a:pt x="10091832" y="518169"/>
                  <a:pt x="10082315" y="504848"/>
                </a:cubicBezTo>
                <a:cubicBezTo>
                  <a:pt x="10072797" y="489625"/>
                  <a:pt x="10076604" y="470596"/>
                  <a:pt x="10091832" y="461082"/>
                </a:cubicBezTo>
                <a:lnTo>
                  <a:pt x="10426852" y="246054"/>
                </a:lnTo>
                <a:cubicBezTo>
                  <a:pt x="10433514" y="241297"/>
                  <a:pt x="10442080" y="240345"/>
                  <a:pt x="10450170" y="242248"/>
                </a:cubicBezTo>
                <a:close/>
                <a:moveTo>
                  <a:pt x="8718303" y="233007"/>
                </a:moveTo>
                <a:cubicBezTo>
                  <a:pt x="8726406" y="235155"/>
                  <a:pt x="8733555" y="240405"/>
                  <a:pt x="8738321" y="248042"/>
                </a:cubicBezTo>
                <a:cubicBezTo>
                  <a:pt x="8742134" y="253770"/>
                  <a:pt x="8744041" y="259498"/>
                  <a:pt x="8744041" y="265226"/>
                </a:cubicBezTo>
                <a:cubicBezTo>
                  <a:pt x="8744041" y="276682"/>
                  <a:pt x="8738321" y="288137"/>
                  <a:pt x="8728789" y="293865"/>
                </a:cubicBezTo>
                <a:cubicBezTo>
                  <a:pt x="8728789" y="293865"/>
                  <a:pt x="8728789" y="293865"/>
                  <a:pt x="8391337" y="500068"/>
                </a:cubicBezTo>
                <a:cubicBezTo>
                  <a:pt x="8376085" y="509614"/>
                  <a:pt x="8355113" y="503887"/>
                  <a:pt x="8345581" y="488612"/>
                </a:cubicBezTo>
                <a:cubicBezTo>
                  <a:pt x="8336048" y="473338"/>
                  <a:pt x="8341768" y="452336"/>
                  <a:pt x="8357020" y="442790"/>
                </a:cubicBezTo>
                <a:cubicBezTo>
                  <a:pt x="8357020" y="442790"/>
                  <a:pt x="8357020" y="442790"/>
                  <a:pt x="8692565" y="236587"/>
                </a:cubicBezTo>
                <a:cubicBezTo>
                  <a:pt x="8701144" y="231813"/>
                  <a:pt x="8710200" y="230859"/>
                  <a:pt x="8718303" y="233007"/>
                </a:cubicBezTo>
                <a:close/>
                <a:moveTo>
                  <a:pt x="11027432" y="232979"/>
                </a:moveTo>
                <a:cubicBezTo>
                  <a:pt x="11035773" y="235127"/>
                  <a:pt x="11043399" y="240377"/>
                  <a:pt x="11048165" y="248015"/>
                </a:cubicBezTo>
                <a:cubicBezTo>
                  <a:pt x="11051978" y="253743"/>
                  <a:pt x="11053885" y="259470"/>
                  <a:pt x="11053885" y="265198"/>
                </a:cubicBezTo>
                <a:cubicBezTo>
                  <a:pt x="11053885" y="276654"/>
                  <a:pt x="11048165" y="288110"/>
                  <a:pt x="11036726" y="293838"/>
                </a:cubicBezTo>
                <a:cubicBezTo>
                  <a:pt x="11036726" y="293838"/>
                  <a:pt x="11036726" y="293838"/>
                  <a:pt x="10701181" y="500041"/>
                </a:cubicBezTo>
                <a:cubicBezTo>
                  <a:pt x="10685929" y="509587"/>
                  <a:pt x="10664957" y="503860"/>
                  <a:pt x="10655425" y="488585"/>
                </a:cubicBezTo>
                <a:cubicBezTo>
                  <a:pt x="10645892" y="473311"/>
                  <a:pt x="10651612" y="452309"/>
                  <a:pt x="10666864" y="442762"/>
                </a:cubicBezTo>
                <a:cubicBezTo>
                  <a:pt x="10666864" y="442762"/>
                  <a:pt x="10666864" y="442762"/>
                  <a:pt x="11002409" y="236559"/>
                </a:cubicBezTo>
                <a:cubicBezTo>
                  <a:pt x="11010035" y="231786"/>
                  <a:pt x="11019091" y="230831"/>
                  <a:pt x="11027432" y="232979"/>
                </a:cubicBezTo>
                <a:close/>
                <a:moveTo>
                  <a:pt x="8154912" y="223468"/>
                </a:moveTo>
                <a:cubicBezTo>
                  <a:pt x="8163750" y="225611"/>
                  <a:pt x="8171872" y="230850"/>
                  <a:pt x="8176649" y="238470"/>
                </a:cubicBezTo>
                <a:cubicBezTo>
                  <a:pt x="8178560" y="244185"/>
                  <a:pt x="8180471" y="251805"/>
                  <a:pt x="8180471" y="257520"/>
                </a:cubicBezTo>
                <a:cubicBezTo>
                  <a:pt x="8180471" y="268950"/>
                  <a:pt x="8174738" y="280380"/>
                  <a:pt x="8163273" y="288000"/>
                </a:cubicBezTo>
                <a:cubicBezTo>
                  <a:pt x="8163273" y="288000"/>
                  <a:pt x="8163273" y="288000"/>
                  <a:pt x="7825042" y="484214"/>
                </a:cubicBezTo>
                <a:cubicBezTo>
                  <a:pt x="7809755" y="493739"/>
                  <a:pt x="7786824" y="488024"/>
                  <a:pt x="7777269" y="470879"/>
                </a:cubicBezTo>
                <a:cubicBezTo>
                  <a:pt x="7767715" y="453735"/>
                  <a:pt x="7773447" y="432780"/>
                  <a:pt x="7790646" y="423255"/>
                </a:cubicBezTo>
                <a:cubicBezTo>
                  <a:pt x="7790646" y="423255"/>
                  <a:pt x="7790646" y="423255"/>
                  <a:pt x="8128876" y="227040"/>
                </a:cubicBezTo>
                <a:cubicBezTo>
                  <a:pt x="8136520" y="222278"/>
                  <a:pt x="8146075" y="221325"/>
                  <a:pt x="8154912" y="223468"/>
                </a:cubicBezTo>
                <a:close/>
                <a:moveTo>
                  <a:pt x="11598743" y="223460"/>
                </a:moveTo>
                <a:cubicBezTo>
                  <a:pt x="11607309" y="225603"/>
                  <a:pt x="11614923" y="230841"/>
                  <a:pt x="11619682" y="238461"/>
                </a:cubicBezTo>
                <a:cubicBezTo>
                  <a:pt x="11623489" y="244176"/>
                  <a:pt x="11625393" y="251796"/>
                  <a:pt x="11625393" y="257511"/>
                </a:cubicBezTo>
                <a:cubicBezTo>
                  <a:pt x="11625393" y="268941"/>
                  <a:pt x="11619682" y="280371"/>
                  <a:pt x="11608261" y="287991"/>
                </a:cubicBezTo>
                <a:cubicBezTo>
                  <a:pt x="11608261" y="287991"/>
                  <a:pt x="11608261" y="287991"/>
                  <a:pt x="11271332" y="484206"/>
                </a:cubicBezTo>
                <a:cubicBezTo>
                  <a:pt x="11254200" y="493731"/>
                  <a:pt x="11233261" y="488016"/>
                  <a:pt x="11223743" y="470871"/>
                </a:cubicBezTo>
                <a:cubicBezTo>
                  <a:pt x="11214225" y="453726"/>
                  <a:pt x="11219936" y="432771"/>
                  <a:pt x="11237068" y="423246"/>
                </a:cubicBezTo>
                <a:cubicBezTo>
                  <a:pt x="11237068" y="423246"/>
                  <a:pt x="11237068" y="423246"/>
                  <a:pt x="11572093" y="227031"/>
                </a:cubicBezTo>
                <a:cubicBezTo>
                  <a:pt x="11580659" y="222269"/>
                  <a:pt x="11590177" y="221316"/>
                  <a:pt x="11598743" y="223460"/>
                </a:cubicBezTo>
                <a:close/>
                <a:moveTo>
                  <a:pt x="12139750" y="215916"/>
                </a:moveTo>
                <a:cubicBezTo>
                  <a:pt x="12139750" y="215916"/>
                  <a:pt x="12139750" y="215916"/>
                  <a:pt x="12139750" y="297535"/>
                </a:cubicBezTo>
                <a:cubicBezTo>
                  <a:pt x="12139750" y="297535"/>
                  <a:pt x="12139750" y="297535"/>
                  <a:pt x="11835475" y="466465"/>
                </a:cubicBezTo>
                <a:cubicBezTo>
                  <a:pt x="11816458" y="477854"/>
                  <a:pt x="11795539" y="470261"/>
                  <a:pt x="11784129" y="453179"/>
                </a:cubicBezTo>
                <a:cubicBezTo>
                  <a:pt x="11774620" y="436096"/>
                  <a:pt x="11782227" y="413319"/>
                  <a:pt x="11799342" y="403828"/>
                </a:cubicBezTo>
                <a:cubicBezTo>
                  <a:pt x="11799342" y="403828"/>
                  <a:pt x="11799342" y="403828"/>
                  <a:pt x="12135947" y="217814"/>
                </a:cubicBezTo>
                <a:cubicBezTo>
                  <a:pt x="12137848" y="215916"/>
                  <a:pt x="12137848" y="215916"/>
                  <a:pt x="12139750" y="215916"/>
                </a:cubicBezTo>
                <a:close/>
                <a:moveTo>
                  <a:pt x="7596540" y="214167"/>
                </a:moveTo>
                <a:cubicBezTo>
                  <a:pt x="7605602" y="216542"/>
                  <a:pt x="7613711" y="222244"/>
                  <a:pt x="7619435" y="230796"/>
                </a:cubicBezTo>
                <a:cubicBezTo>
                  <a:pt x="7621343" y="236498"/>
                  <a:pt x="7623251" y="242199"/>
                  <a:pt x="7623251" y="247901"/>
                </a:cubicBezTo>
                <a:cubicBezTo>
                  <a:pt x="7623251" y="261205"/>
                  <a:pt x="7615619" y="274508"/>
                  <a:pt x="7604171" y="280210"/>
                </a:cubicBezTo>
                <a:cubicBezTo>
                  <a:pt x="7604171" y="280210"/>
                  <a:pt x="7604171" y="280210"/>
                  <a:pt x="7266466" y="466461"/>
                </a:cubicBezTo>
                <a:cubicBezTo>
                  <a:pt x="7249294" y="477864"/>
                  <a:pt x="7226399" y="470262"/>
                  <a:pt x="7216859" y="453158"/>
                </a:cubicBezTo>
                <a:cubicBezTo>
                  <a:pt x="7207320" y="436053"/>
                  <a:pt x="7213044" y="413247"/>
                  <a:pt x="7230215" y="403744"/>
                </a:cubicBezTo>
                <a:cubicBezTo>
                  <a:pt x="7230215" y="403744"/>
                  <a:pt x="7230215" y="403744"/>
                  <a:pt x="7567920" y="217493"/>
                </a:cubicBezTo>
                <a:cubicBezTo>
                  <a:pt x="7577460" y="212741"/>
                  <a:pt x="7587477" y="211791"/>
                  <a:pt x="7596540" y="214167"/>
                </a:cubicBezTo>
                <a:close/>
                <a:moveTo>
                  <a:pt x="7044758" y="204259"/>
                </a:moveTo>
                <a:cubicBezTo>
                  <a:pt x="7054283" y="207354"/>
                  <a:pt x="7062856" y="214022"/>
                  <a:pt x="7068571" y="223547"/>
                </a:cubicBezTo>
                <a:cubicBezTo>
                  <a:pt x="7070476" y="229262"/>
                  <a:pt x="7072381" y="234977"/>
                  <a:pt x="7072381" y="240692"/>
                </a:cubicBezTo>
                <a:cubicBezTo>
                  <a:pt x="7072381" y="254027"/>
                  <a:pt x="7064761" y="267362"/>
                  <a:pt x="7051425" y="274982"/>
                </a:cubicBezTo>
                <a:cubicBezTo>
                  <a:pt x="7051425" y="274982"/>
                  <a:pt x="7051425" y="274982"/>
                  <a:pt x="6714236" y="452146"/>
                </a:cubicBezTo>
                <a:cubicBezTo>
                  <a:pt x="6695185" y="463576"/>
                  <a:pt x="6672325" y="455956"/>
                  <a:pt x="6662800" y="436906"/>
                </a:cubicBezTo>
                <a:cubicBezTo>
                  <a:pt x="6653275" y="417857"/>
                  <a:pt x="6658990" y="394997"/>
                  <a:pt x="6678040" y="385472"/>
                </a:cubicBezTo>
                <a:cubicBezTo>
                  <a:pt x="6678040" y="385472"/>
                  <a:pt x="6678040" y="385472"/>
                  <a:pt x="7015230" y="206402"/>
                </a:cubicBezTo>
                <a:cubicBezTo>
                  <a:pt x="7024755" y="201639"/>
                  <a:pt x="7035233" y="201163"/>
                  <a:pt x="7044758" y="204259"/>
                </a:cubicBezTo>
                <a:close/>
                <a:moveTo>
                  <a:pt x="6500891" y="194963"/>
                </a:moveTo>
                <a:cubicBezTo>
                  <a:pt x="6510676" y="198292"/>
                  <a:pt x="6519268" y="205427"/>
                  <a:pt x="6524041" y="215892"/>
                </a:cubicBezTo>
                <a:cubicBezTo>
                  <a:pt x="6527860" y="221600"/>
                  <a:pt x="6527860" y="227308"/>
                  <a:pt x="6527860" y="233016"/>
                </a:cubicBezTo>
                <a:cubicBezTo>
                  <a:pt x="6527860" y="248237"/>
                  <a:pt x="6520223" y="261556"/>
                  <a:pt x="6506857" y="269166"/>
                </a:cubicBezTo>
                <a:cubicBezTo>
                  <a:pt x="6506857" y="269166"/>
                  <a:pt x="6506857" y="269166"/>
                  <a:pt x="6166999" y="436601"/>
                </a:cubicBezTo>
                <a:cubicBezTo>
                  <a:pt x="6147906" y="446114"/>
                  <a:pt x="6123085" y="438504"/>
                  <a:pt x="6113538" y="419477"/>
                </a:cubicBezTo>
                <a:cubicBezTo>
                  <a:pt x="6103992" y="400450"/>
                  <a:pt x="6111629" y="375716"/>
                  <a:pt x="6130722" y="366202"/>
                </a:cubicBezTo>
                <a:cubicBezTo>
                  <a:pt x="6130722" y="366202"/>
                  <a:pt x="6130722" y="366202"/>
                  <a:pt x="6470580" y="196865"/>
                </a:cubicBezTo>
                <a:cubicBezTo>
                  <a:pt x="6480127" y="192109"/>
                  <a:pt x="6491105" y="191633"/>
                  <a:pt x="6500891" y="194963"/>
                </a:cubicBezTo>
                <a:close/>
                <a:moveTo>
                  <a:pt x="5957785" y="186367"/>
                </a:moveTo>
                <a:cubicBezTo>
                  <a:pt x="5967786" y="190163"/>
                  <a:pt x="5976358" y="197754"/>
                  <a:pt x="5981121" y="208192"/>
                </a:cubicBezTo>
                <a:cubicBezTo>
                  <a:pt x="5984930" y="213886"/>
                  <a:pt x="5984930" y="219579"/>
                  <a:pt x="5984930" y="225273"/>
                </a:cubicBezTo>
                <a:cubicBezTo>
                  <a:pt x="5984930" y="240455"/>
                  <a:pt x="5977311" y="255638"/>
                  <a:pt x="5962070" y="263230"/>
                </a:cubicBezTo>
                <a:cubicBezTo>
                  <a:pt x="5962070" y="263230"/>
                  <a:pt x="5962070" y="263230"/>
                  <a:pt x="5622984" y="420750"/>
                </a:cubicBezTo>
                <a:cubicBezTo>
                  <a:pt x="5602029" y="430239"/>
                  <a:pt x="5577264" y="422648"/>
                  <a:pt x="5567739" y="401772"/>
                </a:cubicBezTo>
                <a:cubicBezTo>
                  <a:pt x="5556309" y="380896"/>
                  <a:pt x="5565834" y="356224"/>
                  <a:pt x="5586789" y="346734"/>
                </a:cubicBezTo>
                <a:cubicBezTo>
                  <a:pt x="5586789" y="346734"/>
                  <a:pt x="5586789" y="346734"/>
                  <a:pt x="5925876" y="187316"/>
                </a:cubicBezTo>
                <a:cubicBezTo>
                  <a:pt x="5936354" y="182571"/>
                  <a:pt x="5947784" y="182571"/>
                  <a:pt x="5957785" y="186367"/>
                </a:cubicBezTo>
                <a:close/>
                <a:moveTo>
                  <a:pt x="398308" y="186354"/>
                </a:moveTo>
                <a:cubicBezTo>
                  <a:pt x="408309" y="190150"/>
                  <a:pt x="416882" y="197741"/>
                  <a:pt x="421644" y="208179"/>
                </a:cubicBezTo>
                <a:cubicBezTo>
                  <a:pt x="423549" y="213873"/>
                  <a:pt x="425454" y="219566"/>
                  <a:pt x="425454" y="225260"/>
                </a:cubicBezTo>
                <a:cubicBezTo>
                  <a:pt x="425454" y="240442"/>
                  <a:pt x="415929" y="255625"/>
                  <a:pt x="400689" y="263217"/>
                </a:cubicBezTo>
                <a:cubicBezTo>
                  <a:pt x="400689" y="263217"/>
                  <a:pt x="400689" y="263217"/>
                  <a:pt x="61595" y="420738"/>
                </a:cubicBezTo>
                <a:cubicBezTo>
                  <a:pt x="42545" y="430227"/>
                  <a:pt x="17780" y="422635"/>
                  <a:pt x="6349" y="401759"/>
                </a:cubicBezTo>
                <a:cubicBezTo>
                  <a:pt x="-3176" y="380883"/>
                  <a:pt x="6349" y="356211"/>
                  <a:pt x="27305" y="346722"/>
                </a:cubicBezTo>
                <a:cubicBezTo>
                  <a:pt x="27305" y="346722"/>
                  <a:pt x="27305" y="346722"/>
                  <a:pt x="366399" y="187303"/>
                </a:cubicBezTo>
                <a:cubicBezTo>
                  <a:pt x="376876" y="182559"/>
                  <a:pt x="388306" y="182559"/>
                  <a:pt x="398308" y="186354"/>
                </a:cubicBezTo>
                <a:close/>
                <a:moveTo>
                  <a:pt x="5409190" y="176874"/>
                </a:moveTo>
                <a:cubicBezTo>
                  <a:pt x="5419652" y="180684"/>
                  <a:pt x="5428687" y="188304"/>
                  <a:pt x="5433443" y="198782"/>
                </a:cubicBezTo>
                <a:cubicBezTo>
                  <a:pt x="5435345" y="204497"/>
                  <a:pt x="5437247" y="212117"/>
                  <a:pt x="5437247" y="217832"/>
                </a:cubicBezTo>
                <a:cubicBezTo>
                  <a:pt x="5437247" y="233072"/>
                  <a:pt x="5427736" y="250217"/>
                  <a:pt x="5410617" y="255932"/>
                </a:cubicBezTo>
                <a:cubicBezTo>
                  <a:pt x="5410617" y="255932"/>
                  <a:pt x="5410617" y="255932"/>
                  <a:pt x="5072018" y="406426"/>
                </a:cubicBezTo>
                <a:cubicBezTo>
                  <a:pt x="5049194" y="415951"/>
                  <a:pt x="5024468" y="406426"/>
                  <a:pt x="5014959" y="385471"/>
                </a:cubicBezTo>
                <a:cubicBezTo>
                  <a:pt x="5005447" y="362611"/>
                  <a:pt x="5014959" y="337846"/>
                  <a:pt x="5035880" y="328321"/>
                </a:cubicBezTo>
                <a:cubicBezTo>
                  <a:pt x="5035880" y="328321"/>
                  <a:pt x="5035880" y="328321"/>
                  <a:pt x="5376377" y="177827"/>
                </a:cubicBezTo>
                <a:cubicBezTo>
                  <a:pt x="5386839" y="173064"/>
                  <a:pt x="5398728" y="173064"/>
                  <a:pt x="5409190" y="176874"/>
                </a:cubicBezTo>
                <a:close/>
                <a:moveTo>
                  <a:pt x="942624" y="176859"/>
                </a:moveTo>
                <a:cubicBezTo>
                  <a:pt x="952848" y="180669"/>
                  <a:pt x="961408" y="188289"/>
                  <a:pt x="966164" y="198766"/>
                </a:cubicBezTo>
                <a:cubicBezTo>
                  <a:pt x="968066" y="204481"/>
                  <a:pt x="969968" y="212101"/>
                  <a:pt x="969968" y="217816"/>
                </a:cubicBezTo>
                <a:cubicBezTo>
                  <a:pt x="969968" y="233056"/>
                  <a:pt x="960457" y="250201"/>
                  <a:pt x="945239" y="255916"/>
                </a:cubicBezTo>
                <a:cubicBezTo>
                  <a:pt x="945239" y="255916"/>
                  <a:pt x="945239" y="255916"/>
                  <a:pt x="604741" y="406411"/>
                </a:cubicBezTo>
                <a:cubicBezTo>
                  <a:pt x="583816" y="415936"/>
                  <a:pt x="557185" y="406411"/>
                  <a:pt x="547674" y="385456"/>
                </a:cubicBezTo>
                <a:cubicBezTo>
                  <a:pt x="538163" y="362596"/>
                  <a:pt x="547674" y="337831"/>
                  <a:pt x="570501" y="328306"/>
                </a:cubicBezTo>
                <a:cubicBezTo>
                  <a:pt x="570501" y="328306"/>
                  <a:pt x="570501" y="328306"/>
                  <a:pt x="909097" y="177812"/>
                </a:cubicBezTo>
                <a:cubicBezTo>
                  <a:pt x="920510" y="173049"/>
                  <a:pt x="932399" y="173049"/>
                  <a:pt x="942624" y="176859"/>
                </a:cubicBezTo>
                <a:close/>
                <a:moveTo>
                  <a:pt x="4856424" y="167564"/>
                </a:moveTo>
                <a:cubicBezTo>
                  <a:pt x="4867147" y="171602"/>
                  <a:pt x="4876206" y="179677"/>
                  <a:pt x="4880972" y="191077"/>
                </a:cubicBezTo>
                <a:cubicBezTo>
                  <a:pt x="4882878" y="196777"/>
                  <a:pt x="4884784" y="202476"/>
                  <a:pt x="4884784" y="208176"/>
                </a:cubicBezTo>
                <a:cubicBezTo>
                  <a:pt x="4884784" y="227176"/>
                  <a:pt x="4875253" y="242376"/>
                  <a:pt x="4856185" y="249976"/>
                </a:cubicBezTo>
                <a:cubicBezTo>
                  <a:pt x="4856185" y="249976"/>
                  <a:pt x="4856185" y="249976"/>
                  <a:pt x="4516850" y="390576"/>
                </a:cubicBezTo>
                <a:cubicBezTo>
                  <a:pt x="4493973" y="400076"/>
                  <a:pt x="4467283" y="390576"/>
                  <a:pt x="4457750" y="367776"/>
                </a:cubicBezTo>
                <a:cubicBezTo>
                  <a:pt x="4448218" y="343076"/>
                  <a:pt x="4459658" y="318376"/>
                  <a:pt x="4482534" y="308876"/>
                </a:cubicBezTo>
                <a:cubicBezTo>
                  <a:pt x="4482534" y="308876"/>
                  <a:pt x="4482534" y="308876"/>
                  <a:pt x="4821864" y="168277"/>
                </a:cubicBezTo>
                <a:cubicBezTo>
                  <a:pt x="4833304" y="163527"/>
                  <a:pt x="4845697" y="163527"/>
                  <a:pt x="4856424" y="167564"/>
                </a:cubicBezTo>
                <a:close/>
                <a:moveTo>
                  <a:pt x="1492476" y="167547"/>
                </a:moveTo>
                <a:cubicBezTo>
                  <a:pt x="1503199" y="171584"/>
                  <a:pt x="1512255" y="179659"/>
                  <a:pt x="1517021" y="191059"/>
                </a:cubicBezTo>
                <a:cubicBezTo>
                  <a:pt x="1518927" y="196759"/>
                  <a:pt x="1520833" y="202459"/>
                  <a:pt x="1520833" y="208159"/>
                </a:cubicBezTo>
                <a:cubicBezTo>
                  <a:pt x="1520833" y="227159"/>
                  <a:pt x="1509395" y="242359"/>
                  <a:pt x="1492238" y="249959"/>
                </a:cubicBezTo>
                <a:cubicBezTo>
                  <a:pt x="1492238" y="249959"/>
                  <a:pt x="1492238" y="249959"/>
                  <a:pt x="1150990" y="390559"/>
                </a:cubicBezTo>
                <a:cubicBezTo>
                  <a:pt x="1128114" y="400059"/>
                  <a:pt x="1103330" y="390559"/>
                  <a:pt x="1093798" y="367759"/>
                </a:cubicBezTo>
                <a:cubicBezTo>
                  <a:pt x="1084266" y="343059"/>
                  <a:pt x="1093798" y="318359"/>
                  <a:pt x="1116675" y="308859"/>
                </a:cubicBezTo>
                <a:cubicBezTo>
                  <a:pt x="1116675" y="308859"/>
                  <a:pt x="1116675" y="308859"/>
                  <a:pt x="1457922" y="168259"/>
                </a:cubicBezTo>
                <a:cubicBezTo>
                  <a:pt x="1469361" y="163509"/>
                  <a:pt x="1481752" y="163509"/>
                  <a:pt x="1492476" y="167547"/>
                </a:cubicBezTo>
                <a:close/>
                <a:moveTo>
                  <a:pt x="4266102" y="156882"/>
                </a:moveTo>
                <a:cubicBezTo>
                  <a:pt x="4289029" y="149252"/>
                  <a:pt x="4315777" y="160697"/>
                  <a:pt x="4325330" y="183588"/>
                </a:cubicBezTo>
                <a:cubicBezTo>
                  <a:pt x="4327241" y="189310"/>
                  <a:pt x="4329151" y="195033"/>
                  <a:pt x="4329151" y="200756"/>
                </a:cubicBezTo>
                <a:cubicBezTo>
                  <a:pt x="4329151" y="219831"/>
                  <a:pt x="4317689" y="236999"/>
                  <a:pt x="4298582" y="244630"/>
                </a:cubicBezTo>
                <a:cubicBezTo>
                  <a:pt x="4298582" y="244630"/>
                  <a:pt x="4298582" y="244630"/>
                  <a:pt x="3956617" y="376251"/>
                </a:cubicBezTo>
                <a:cubicBezTo>
                  <a:pt x="3933693" y="385789"/>
                  <a:pt x="3906944" y="374344"/>
                  <a:pt x="3897391" y="349546"/>
                </a:cubicBezTo>
                <a:cubicBezTo>
                  <a:pt x="3887837" y="326655"/>
                  <a:pt x="3899301" y="299949"/>
                  <a:pt x="3924139" y="290411"/>
                </a:cubicBezTo>
                <a:cubicBezTo>
                  <a:pt x="3924139" y="290411"/>
                  <a:pt x="3924139" y="290411"/>
                  <a:pt x="4266102" y="156882"/>
                </a:cubicBezTo>
                <a:close/>
                <a:moveTo>
                  <a:pt x="2010467" y="156862"/>
                </a:moveTo>
                <a:cubicBezTo>
                  <a:pt x="2035214" y="149232"/>
                  <a:pt x="2061870" y="160677"/>
                  <a:pt x="2071388" y="183568"/>
                </a:cubicBezTo>
                <a:cubicBezTo>
                  <a:pt x="2073292" y="189291"/>
                  <a:pt x="2073292" y="195013"/>
                  <a:pt x="2073292" y="200736"/>
                </a:cubicBezTo>
                <a:cubicBezTo>
                  <a:pt x="2073292" y="219812"/>
                  <a:pt x="2061870" y="236980"/>
                  <a:pt x="2044733" y="244610"/>
                </a:cubicBezTo>
                <a:cubicBezTo>
                  <a:pt x="2044733" y="244610"/>
                  <a:pt x="2044733" y="244610"/>
                  <a:pt x="1703979" y="376232"/>
                </a:cubicBezTo>
                <a:cubicBezTo>
                  <a:pt x="1679231" y="385770"/>
                  <a:pt x="1652580" y="374325"/>
                  <a:pt x="1643062" y="349526"/>
                </a:cubicBezTo>
                <a:cubicBezTo>
                  <a:pt x="1633544" y="326635"/>
                  <a:pt x="1644966" y="299930"/>
                  <a:pt x="1669713" y="290392"/>
                </a:cubicBezTo>
                <a:cubicBezTo>
                  <a:pt x="1669713" y="290392"/>
                  <a:pt x="1669713" y="290392"/>
                  <a:pt x="2010467" y="156862"/>
                </a:cubicBezTo>
                <a:close/>
                <a:moveTo>
                  <a:pt x="3720656" y="144611"/>
                </a:moveTo>
                <a:cubicBezTo>
                  <a:pt x="3739813" y="145502"/>
                  <a:pt x="3756568" y="157613"/>
                  <a:pt x="3763698" y="176135"/>
                </a:cubicBezTo>
                <a:cubicBezTo>
                  <a:pt x="3765599" y="181835"/>
                  <a:pt x="3765599" y="187534"/>
                  <a:pt x="3765599" y="193233"/>
                </a:cubicBezTo>
                <a:cubicBezTo>
                  <a:pt x="3765599" y="212231"/>
                  <a:pt x="3754192" y="231229"/>
                  <a:pt x="3735180" y="238828"/>
                </a:cubicBezTo>
                <a:cubicBezTo>
                  <a:pt x="3735180" y="238828"/>
                  <a:pt x="3735180" y="238828"/>
                  <a:pt x="3393028" y="360415"/>
                </a:cubicBezTo>
                <a:cubicBezTo>
                  <a:pt x="3368312" y="369914"/>
                  <a:pt x="3341701" y="356616"/>
                  <a:pt x="3332195" y="331918"/>
                </a:cubicBezTo>
                <a:cubicBezTo>
                  <a:pt x="3322691" y="307221"/>
                  <a:pt x="3335998" y="278724"/>
                  <a:pt x="3360708" y="271125"/>
                </a:cubicBezTo>
                <a:cubicBezTo>
                  <a:pt x="3360708" y="271125"/>
                  <a:pt x="3360708" y="271125"/>
                  <a:pt x="3700964" y="147639"/>
                </a:cubicBezTo>
                <a:cubicBezTo>
                  <a:pt x="3707615" y="145264"/>
                  <a:pt x="3714268" y="144314"/>
                  <a:pt x="3720656" y="144611"/>
                </a:cubicBezTo>
                <a:close/>
                <a:moveTo>
                  <a:pt x="2586993" y="144589"/>
                </a:moveTo>
                <a:cubicBezTo>
                  <a:pt x="2606219" y="145480"/>
                  <a:pt x="2623032" y="157591"/>
                  <a:pt x="2630185" y="176114"/>
                </a:cubicBezTo>
                <a:cubicBezTo>
                  <a:pt x="2632093" y="181813"/>
                  <a:pt x="2632093" y="187512"/>
                  <a:pt x="2632093" y="193212"/>
                </a:cubicBezTo>
                <a:cubicBezTo>
                  <a:pt x="2632093" y="212210"/>
                  <a:pt x="2620647" y="231208"/>
                  <a:pt x="2601569" y="238807"/>
                </a:cubicBezTo>
                <a:cubicBezTo>
                  <a:pt x="2601569" y="238807"/>
                  <a:pt x="2601569" y="238807"/>
                  <a:pt x="2258175" y="360394"/>
                </a:cubicBezTo>
                <a:cubicBezTo>
                  <a:pt x="2233374" y="369893"/>
                  <a:pt x="2206666" y="356594"/>
                  <a:pt x="2197127" y="331897"/>
                </a:cubicBezTo>
                <a:cubicBezTo>
                  <a:pt x="2187588" y="307199"/>
                  <a:pt x="2200942" y="278702"/>
                  <a:pt x="2225743" y="271103"/>
                </a:cubicBezTo>
                <a:cubicBezTo>
                  <a:pt x="2225743" y="271103"/>
                  <a:pt x="2225743" y="271103"/>
                  <a:pt x="2567230" y="147617"/>
                </a:cubicBezTo>
                <a:cubicBezTo>
                  <a:pt x="2573907" y="145242"/>
                  <a:pt x="2580584" y="144292"/>
                  <a:pt x="2586993" y="144589"/>
                </a:cubicBezTo>
                <a:close/>
                <a:moveTo>
                  <a:pt x="3149047" y="135364"/>
                </a:moveTo>
                <a:cubicBezTo>
                  <a:pt x="3168678" y="136784"/>
                  <a:pt x="3186167" y="149926"/>
                  <a:pt x="3191878" y="168396"/>
                </a:cubicBezTo>
                <a:cubicBezTo>
                  <a:pt x="3193782" y="174078"/>
                  <a:pt x="3195685" y="179761"/>
                  <a:pt x="3195685" y="185444"/>
                </a:cubicBezTo>
                <a:cubicBezTo>
                  <a:pt x="3195685" y="206282"/>
                  <a:pt x="3182361" y="225225"/>
                  <a:pt x="3161420" y="232802"/>
                </a:cubicBezTo>
                <a:cubicBezTo>
                  <a:pt x="3161420" y="232802"/>
                  <a:pt x="3161420" y="232802"/>
                  <a:pt x="2818756" y="344567"/>
                </a:cubicBezTo>
                <a:cubicBezTo>
                  <a:pt x="2794009" y="354039"/>
                  <a:pt x="2765451" y="338884"/>
                  <a:pt x="2755934" y="314258"/>
                </a:cubicBezTo>
                <a:cubicBezTo>
                  <a:pt x="2746414" y="287738"/>
                  <a:pt x="2761644" y="259323"/>
                  <a:pt x="2788299" y="249851"/>
                </a:cubicBezTo>
                <a:cubicBezTo>
                  <a:pt x="2788299" y="249851"/>
                  <a:pt x="2788299" y="249851"/>
                  <a:pt x="3129056" y="138087"/>
                </a:cubicBezTo>
                <a:cubicBezTo>
                  <a:pt x="3135720" y="135719"/>
                  <a:pt x="3142503" y="134890"/>
                  <a:pt x="3149047" y="135364"/>
                </a:cubicBezTo>
                <a:close/>
                <a:moveTo>
                  <a:pt x="9144187" y="30"/>
                </a:moveTo>
                <a:cubicBezTo>
                  <a:pt x="9144187" y="30"/>
                  <a:pt x="9144187" y="30"/>
                  <a:pt x="9275861" y="30"/>
                </a:cubicBezTo>
                <a:cubicBezTo>
                  <a:pt x="9275861" y="30"/>
                  <a:pt x="9275861" y="30"/>
                  <a:pt x="8962897" y="187323"/>
                </a:cubicBezTo>
                <a:cubicBezTo>
                  <a:pt x="8947631" y="196878"/>
                  <a:pt x="8926639" y="193056"/>
                  <a:pt x="8917098" y="175856"/>
                </a:cubicBezTo>
                <a:cubicBezTo>
                  <a:pt x="8907556" y="160567"/>
                  <a:pt x="8913281" y="139544"/>
                  <a:pt x="8928547" y="129989"/>
                </a:cubicBezTo>
                <a:cubicBezTo>
                  <a:pt x="8928547" y="129989"/>
                  <a:pt x="8928547" y="129989"/>
                  <a:pt x="9144187" y="30"/>
                </a:cubicBezTo>
                <a:close/>
                <a:moveTo>
                  <a:pt x="8549535" y="29"/>
                </a:moveTo>
                <a:cubicBezTo>
                  <a:pt x="8549535" y="29"/>
                  <a:pt x="8549535" y="29"/>
                  <a:pt x="8688477" y="29"/>
                </a:cubicBezTo>
                <a:cubicBezTo>
                  <a:pt x="8688477" y="29"/>
                  <a:pt x="8688477" y="29"/>
                  <a:pt x="8391560" y="173083"/>
                </a:cubicBezTo>
                <a:cubicBezTo>
                  <a:pt x="8374430" y="182592"/>
                  <a:pt x="8353493" y="176886"/>
                  <a:pt x="8343977" y="159771"/>
                </a:cubicBezTo>
                <a:cubicBezTo>
                  <a:pt x="8334460" y="142656"/>
                  <a:pt x="8340170" y="121738"/>
                  <a:pt x="8357300" y="112230"/>
                </a:cubicBezTo>
                <a:cubicBezTo>
                  <a:pt x="8357300" y="112230"/>
                  <a:pt x="8357300" y="112230"/>
                  <a:pt x="8549535" y="29"/>
                </a:cubicBezTo>
                <a:close/>
                <a:moveTo>
                  <a:pt x="7958714" y="29"/>
                </a:moveTo>
                <a:cubicBezTo>
                  <a:pt x="7958714" y="29"/>
                  <a:pt x="7958714" y="29"/>
                  <a:pt x="8107445" y="29"/>
                </a:cubicBezTo>
                <a:cubicBezTo>
                  <a:pt x="8107445" y="29"/>
                  <a:pt x="8107445" y="29"/>
                  <a:pt x="7825239" y="158743"/>
                </a:cubicBezTo>
                <a:cubicBezTo>
                  <a:pt x="7808077" y="168304"/>
                  <a:pt x="7785196" y="162567"/>
                  <a:pt x="7775662" y="145357"/>
                </a:cubicBezTo>
                <a:cubicBezTo>
                  <a:pt x="7766128" y="126235"/>
                  <a:pt x="7773755" y="105201"/>
                  <a:pt x="7790916" y="95640"/>
                </a:cubicBezTo>
                <a:cubicBezTo>
                  <a:pt x="7790916" y="95640"/>
                  <a:pt x="7790916" y="95640"/>
                  <a:pt x="7958714" y="29"/>
                </a:cubicBezTo>
                <a:close/>
                <a:moveTo>
                  <a:pt x="7373861" y="29"/>
                </a:moveTo>
                <a:cubicBezTo>
                  <a:pt x="7373861" y="29"/>
                  <a:pt x="7373861" y="29"/>
                  <a:pt x="7534349" y="29"/>
                </a:cubicBezTo>
                <a:cubicBezTo>
                  <a:pt x="7534349" y="29"/>
                  <a:pt x="7534349" y="29"/>
                  <a:pt x="7266870" y="142904"/>
                </a:cubicBezTo>
                <a:cubicBezTo>
                  <a:pt x="7247764" y="152429"/>
                  <a:pt x="7224837" y="146714"/>
                  <a:pt x="7215285" y="127664"/>
                </a:cubicBezTo>
                <a:cubicBezTo>
                  <a:pt x="7205732" y="110519"/>
                  <a:pt x="7213374" y="87659"/>
                  <a:pt x="7230569" y="76229"/>
                </a:cubicBezTo>
                <a:cubicBezTo>
                  <a:pt x="7230569" y="76229"/>
                  <a:pt x="7230569" y="76229"/>
                  <a:pt x="7373861" y="29"/>
                </a:cubicBezTo>
                <a:close/>
                <a:moveTo>
                  <a:pt x="6792947" y="29"/>
                </a:moveTo>
                <a:cubicBezTo>
                  <a:pt x="6792947" y="29"/>
                  <a:pt x="6792947" y="29"/>
                  <a:pt x="6962841" y="29"/>
                </a:cubicBezTo>
                <a:cubicBezTo>
                  <a:pt x="6962841" y="29"/>
                  <a:pt x="6962841" y="29"/>
                  <a:pt x="6714681" y="130160"/>
                </a:cubicBezTo>
                <a:cubicBezTo>
                  <a:pt x="6695592" y="139729"/>
                  <a:pt x="6670776" y="132074"/>
                  <a:pt x="6661231" y="112937"/>
                </a:cubicBezTo>
                <a:cubicBezTo>
                  <a:pt x="6651687" y="93800"/>
                  <a:pt x="6659322" y="68922"/>
                  <a:pt x="6678412" y="59354"/>
                </a:cubicBezTo>
                <a:cubicBezTo>
                  <a:pt x="6678412" y="59354"/>
                  <a:pt x="6678412" y="59354"/>
                  <a:pt x="6792947" y="29"/>
                </a:cubicBezTo>
                <a:close/>
                <a:moveTo>
                  <a:pt x="6214724" y="29"/>
                </a:moveTo>
                <a:cubicBezTo>
                  <a:pt x="6214724" y="29"/>
                  <a:pt x="6214724" y="29"/>
                  <a:pt x="6396096" y="29"/>
                </a:cubicBezTo>
                <a:cubicBezTo>
                  <a:pt x="6396096" y="29"/>
                  <a:pt x="6396096" y="29"/>
                  <a:pt x="6166995" y="114329"/>
                </a:cubicBezTo>
                <a:cubicBezTo>
                  <a:pt x="6147903" y="123854"/>
                  <a:pt x="6123084" y="116234"/>
                  <a:pt x="6113538" y="95279"/>
                </a:cubicBezTo>
                <a:cubicBezTo>
                  <a:pt x="6103992" y="76229"/>
                  <a:pt x="6111628" y="51464"/>
                  <a:pt x="6130720" y="41939"/>
                </a:cubicBezTo>
                <a:cubicBezTo>
                  <a:pt x="6130720" y="41939"/>
                  <a:pt x="6130720" y="41939"/>
                  <a:pt x="6214724" y="29"/>
                </a:cubicBezTo>
                <a:close/>
                <a:moveTo>
                  <a:pt x="5637626" y="29"/>
                </a:moveTo>
                <a:cubicBezTo>
                  <a:pt x="5637626" y="29"/>
                  <a:pt x="5637626" y="29"/>
                  <a:pt x="5829356" y="29"/>
                </a:cubicBezTo>
                <a:cubicBezTo>
                  <a:pt x="5829356" y="29"/>
                  <a:pt x="5829356" y="29"/>
                  <a:pt x="5622440" y="99958"/>
                </a:cubicBezTo>
                <a:cubicBezTo>
                  <a:pt x="5601558" y="109567"/>
                  <a:pt x="5576879" y="101880"/>
                  <a:pt x="5567388" y="80741"/>
                </a:cubicBezTo>
                <a:cubicBezTo>
                  <a:pt x="5557896" y="59602"/>
                  <a:pt x="5565491" y="34620"/>
                  <a:pt x="5586371" y="25011"/>
                </a:cubicBezTo>
                <a:cubicBezTo>
                  <a:pt x="5586371" y="25011"/>
                  <a:pt x="5586371" y="25011"/>
                  <a:pt x="5637626" y="29"/>
                </a:cubicBezTo>
                <a:close/>
                <a:moveTo>
                  <a:pt x="5050992" y="29"/>
                </a:moveTo>
                <a:cubicBezTo>
                  <a:pt x="5050992" y="29"/>
                  <a:pt x="5050992" y="29"/>
                  <a:pt x="5257856" y="29"/>
                </a:cubicBezTo>
                <a:cubicBezTo>
                  <a:pt x="5257856" y="29"/>
                  <a:pt x="5257856" y="29"/>
                  <a:pt x="5071866" y="83849"/>
                </a:cubicBezTo>
                <a:cubicBezTo>
                  <a:pt x="5050992" y="95279"/>
                  <a:pt x="5024424" y="85754"/>
                  <a:pt x="5014937" y="62894"/>
                </a:cubicBezTo>
                <a:cubicBezTo>
                  <a:pt x="5005447" y="41939"/>
                  <a:pt x="5014937" y="17174"/>
                  <a:pt x="5037708" y="7649"/>
                </a:cubicBezTo>
                <a:cubicBezTo>
                  <a:pt x="5037708" y="7649"/>
                  <a:pt x="5037708" y="7649"/>
                  <a:pt x="5050992" y="29"/>
                </a:cubicBezTo>
                <a:close/>
                <a:moveTo>
                  <a:pt x="4468136" y="29"/>
                </a:moveTo>
                <a:cubicBezTo>
                  <a:pt x="4468136" y="29"/>
                  <a:pt x="4468136" y="29"/>
                  <a:pt x="4678410" y="29"/>
                </a:cubicBezTo>
                <a:cubicBezTo>
                  <a:pt x="4678410" y="29"/>
                  <a:pt x="4678410" y="29"/>
                  <a:pt x="4517392" y="71353"/>
                </a:cubicBezTo>
                <a:cubicBezTo>
                  <a:pt x="4494658" y="80992"/>
                  <a:pt x="4470031" y="69426"/>
                  <a:pt x="4460559" y="48221"/>
                </a:cubicBezTo>
                <a:cubicBezTo>
                  <a:pt x="4452982" y="30872"/>
                  <a:pt x="4456771" y="13523"/>
                  <a:pt x="4468136" y="29"/>
                </a:cubicBezTo>
                <a:close/>
                <a:moveTo>
                  <a:pt x="3898002" y="29"/>
                </a:moveTo>
                <a:cubicBezTo>
                  <a:pt x="3898002" y="29"/>
                  <a:pt x="3898002" y="29"/>
                  <a:pt x="4092634" y="29"/>
                </a:cubicBezTo>
                <a:cubicBezTo>
                  <a:pt x="4092634" y="29"/>
                  <a:pt x="4092634" y="29"/>
                  <a:pt x="3959065" y="55545"/>
                </a:cubicBezTo>
                <a:cubicBezTo>
                  <a:pt x="3936167" y="65117"/>
                  <a:pt x="3909452" y="53630"/>
                  <a:pt x="3899912" y="30658"/>
                </a:cubicBezTo>
                <a:cubicBezTo>
                  <a:pt x="3896097" y="21087"/>
                  <a:pt x="3894189" y="9600"/>
                  <a:pt x="3898002" y="29"/>
                </a:cubicBezTo>
                <a:close/>
                <a:moveTo>
                  <a:pt x="3332212" y="29"/>
                </a:moveTo>
                <a:cubicBezTo>
                  <a:pt x="3332212" y="29"/>
                  <a:pt x="3332212" y="29"/>
                  <a:pt x="3497315" y="29"/>
                </a:cubicBezTo>
                <a:cubicBezTo>
                  <a:pt x="3497315" y="29"/>
                  <a:pt x="3497315" y="29"/>
                  <a:pt x="3394843" y="41670"/>
                </a:cubicBezTo>
                <a:cubicBezTo>
                  <a:pt x="3370170" y="49241"/>
                  <a:pt x="3343601" y="37885"/>
                  <a:pt x="3334111" y="15171"/>
                </a:cubicBezTo>
                <a:cubicBezTo>
                  <a:pt x="3332212" y="9493"/>
                  <a:pt x="3332212" y="5707"/>
                  <a:pt x="3332212" y="29"/>
                </a:cubicBezTo>
                <a:close/>
                <a:moveTo>
                  <a:pt x="2760703" y="28"/>
                </a:moveTo>
                <a:cubicBezTo>
                  <a:pt x="2760703" y="28"/>
                  <a:pt x="2760703" y="28"/>
                  <a:pt x="2890880" y="28"/>
                </a:cubicBezTo>
                <a:cubicBezTo>
                  <a:pt x="2890880" y="28"/>
                  <a:pt x="2890880" y="28"/>
                  <a:pt x="2821076" y="27192"/>
                </a:cubicBezTo>
                <a:cubicBezTo>
                  <a:pt x="2796551" y="34954"/>
                  <a:pt x="2772024" y="23312"/>
                  <a:pt x="2760703" y="28"/>
                </a:cubicBezTo>
                <a:close/>
                <a:moveTo>
                  <a:pt x="11404328" y="19"/>
                </a:moveTo>
                <a:cubicBezTo>
                  <a:pt x="11404328" y="19"/>
                  <a:pt x="11404328" y="19"/>
                  <a:pt x="11552367" y="19"/>
                </a:cubicBezTo>
                <a:cubicBezTo>
                  <a:pt x="11552367" y="19"/>
                  <a:pt x="11552367" y="19"/>
                  <a:pt x="11271473" y="158733"/>
                </a:cubicBezTo>
                <a:cubicBezTo>
                  <a:pt x="11254392" y="168294"/>
                  <a:pt x="11231616" y="162557"/>
                  <a:pt x="11222127" y="145347"/>
                </a:cubicBezTo>
                <a:cubicBezTo>
                  <a:pt x="11212637" y="126225"/>
                  <a:pt x="11218331" y="105191"/>
                  <a:pt x="11235412" y="95630"/>
                </a:cubicBezTo>
                <a:cubicBezTo>
                  <a:pt x="11235412" y="95630"/>
                  <a:pt x="11235412" y="95630"/>
                  <a:pt x="11404328" y="19"/>
                </a:cubicBezTo>
                <a:close/>
                <a:moveTo>
                  <a:pt x="11942099" y="17"/>
                </a:moveTo>
                <a:cubicBezTo>
                  <a:pt x="11942099" y="17"/>
                  <a:pt x="11942099" y="17"/>
                  <a:pt x="12100062" y="17"/>
                </a:cubicBezTo>
                <a:cubicBezTo>
                  <a:pt x="12100062" y="17"/>
                  <a:pt x="12100062" y="17"/>
                  <a:pt x="11835521" y="142892"/>
                </a:cubicBezTo>
                <a:cubicBezTo>
                  <a:pt x="11816490" y="152417"/>
                  <a:pt x="11793652" y="146702"/>
                  <a:pt x="11784136" y="127652"/>
                </a:cubicBezTo>
                <a:cubicBezTo>
                  <a:pt x="11774620" y="110507"/>
                  <a:pt x="11780330" y="87647"/>
                  <a:pt x="11799361" y="76217"/>
                </a:cubicBezTo>
                <a:cubicBezTo>
                  <a:pt x="11799361" y="76217"/>
                  <a:pt x="11799361" y="76217"/>
                  <a:pt x="11942099" y="17"/>
                </a:cubicBezTo>
                <a:close/>
                <a:moveTo>
                  <a:pt x="76928" y="14"/>
                </a:moveTo>
                <a:cubicBezTo>
                  <a:pt x="76928" y="14"/>
                  <a:pt x="76928" y="14"/>
                  <a:pt x="271465" y="14"/>
                </a:cubicBezTo>
                <a:cubicBezTo>
                  <a:pt x="271465" y="14"/>
                  <a:pt x="271465" y="14"/>
                  <a:pt x="63577" y="99944"/>
                </a:cubicBezTo>
                <a:cubicBezTo>
                  <a:pt x="42598" y="109552"/>
                  <a:pt x="17804" y="101866"/>
                  <a:pt x="8268" y="80727"/>
                </a:cubicBezTo>
                <a:cubicBezTo>
                  <a:pt x="-3175" y="59588"/>
                  <a:pt x="6361" y="34605"/>
                  <a:pt x="27340" y="24997"/>
                </a:cubicBezTo>
                <a:cubicBezTo>
                  <a:pt x="27340" y="24997"/>
                  <a:pt x="27340" y="24997"/>
                  <a:pt x="76928" y="14"/>
                </a:cubicBezTo>
                <a:close/>
                <a:moveTo>
                  <a:pt x="583733" y="12"/>
                </a:moveTo>
                <a:cubicBezTo>
                  <a:pt x="583733" y="12"/>
                  <a:pt x="583733" y="12"/>
                  <a:pt x="792167" y="12"/>
                </a:cubicBezTo>
                <a:cubicBezTo>
                  <a:pt x="792167" y="12"/>
                  <a:pt x="792167" y="12"/>
                  <a:pt x="604767" y="83832"/>
                </a:cubicBezTo>
                <a:cubicBezTo>
                  <a:pt x="583733" y="95262"/>
                  <a:pt x="558874" y="85737"/>
                  <a:pt x="549312" y="62877"/>
                </a:cubicBezTo>
                <a:cubicBezTo>
                  <a:pt x="539751" y="41922"/>
                  <a:pt x="549312" y="17157"/>
                  <a:pt x="570347" y="7632"/>
                </a:cubicBezTo>
                <a:cubicBezTo>
                  <a:pt x="570347" y="7632"/>
                  <a:pt x="570347" y="7632"/>
                  <a:pt x="583733" y="12"/>
                </a:cubicBezTo>
                <a:close/>
                <a:moveTo>
                  <a:pt x="1102307" y="10"/>
                </a:moveTo>
                <a:cubicBezTo>
                  <a:pt x="1102307" y="10"/>
                  <a:pt x="1102307" y="10"/>
                  <a:pt x="1312869" y="10"/>
                </a:cubicBezTo>
                <a:cubicBezTo>
                  <a:pt x="1312869" y="10"/>
                  <a:pt x="1312869" y="10"/>
                  <a:pt x="1153525" y="71334"/>
                </a:cubicBezTo>
                <a:cubicBezTo>
                  <a:pt x="1130761" y="80973"/>
                  <a:pt x="1104204" y="69406"/>
                  <a:pt x="1094719" y="48202"/>
                </a:cubicBezTo>
                <a:cubicBezTo>
                  <a:pt x="1089028" y="30853"/>
                  <a:pt x="1090925" y="13503"/>
                  <a:pt x="1102307" y="10"/>
                </a:cubicBezTo>
                <a:close/>
                <a:moveTo>
                  <a:pt x="1643393" y="7"/>
                </a:moveTo>
                <a:cubicBezTo>
                  <a:pt x="1643393" y="7"/>
                  <a:pt x="1643393" y="7"/>
                  <a:pt x="1838335" y="7"/>
                </a:cubicBezTo>
                <a:cubicBezTo>
                  <a:pt x="1838335" y="7"/>
                  <a:pt x="1838335" y="7"/>
                  <a:pt x="1704551" y="55524"/>
                </a:cubicBezTo>
                <a:cubicBezTo>
                  <a:pt x="1681617" y="65095"/>
                  <a:pt x="1654860" y="53609"/>
                  <a:pt x="1645304" y="30637"/>
                </a:cubicBezTo>
                <a:cubicBezTo>
                  <a:pt x="1641482" y="21065"/>
                  <a:pt x="1641482" y="9579"/>
                  <a:pt x="1643393" y="7"/>
                </a:cubicBezTo>
                <a:close/>
                <a:moveTo>
                  <a:pt x="2197113" y="5"/>
                </a:moveTo>
                <a:cubicBezTo>
                  <a:pt x="2197113" y="5"/>
                  <a:pt x="2197113" y="5"/>
                  <a:pt x="2363803" y="5"/>
                </a:cubicBezTo>
                <a:cubicBezTo>
                  <a:pt x="2363803" y="5"/>
                  <a:pt x="2363803" y="5"/>
                  <a:pt x="2260341" y="41647"/>
                </a:cubicBezTo>
                <a:cubicBezTo>
                  <a:pt x="2235433" y="49218"/>
                  <a:pt x="2208609" y="37861"/>
                  <a:pt x="2199030" y="15147"/>
                </a:cubicBezTo>
                <a:cubicBezTo>
                  <a:pt x="2197113" y="9469"/>
                  <a:pt x="2197113" y="5683"/>
                  <a:pt x="2197113" y="5"/>
                </a:cubicBezTo>
                <a:close/>
                <a:moveTo>
                  <a:pt x="9742488" y="4"/>
                </a:moveTo>
                <a:cubicBezTo>
                  <a:pt x="9742488" y="4"/>
                  <a:pt x="9742488" y="4"/>
                  <a:pt x="9866419" y="4"/>
                </a:cubicBezTo>
                <a:cubicBezTo>
                  <a:pt x="9866419" y="4"/>
                  <a:pt x="9866419" y="4"/>
                  <a:pt x="9542293" y="201631"/>
                </a:cubicBezTo>
                <a:cubicBezTo>
                  <a:pt x="9527040" y="211142"/>
                  <a:pt x="9506067" y="207338"/>
                  <a:pt x="9496534" y="192120"/>
                </a:cubicBezTo>
                <a:cubicBezTo>
                  <a:pt x="9487001" y="176903"/>
                  <a:pt x="9492721" y="155980"/>
                  <a:pt x="9507974" y="146469"/>
                </a:cubicBezTo>
                <a:cubicBezTo>
                  <a:pt x="9507974" y="146469"/>
                  <a:pt x="9507974" y="146469"/>
                  <a:pt x="9742488" y="4"/>
                </a:cubicBezTo>
                <a:close/>
                <a:moveTo>
                  <a:pt x="10304665" y="2"/>
                </a:moveTo>
                <a:cubicBezTo>
                  <a:pt x="10304665" y="2"/>
                  <a:pt x="10304665" y="2"/>
                  <a:pt x="10436339" y="2"/>
                </a:cubicBezTo>
                <a:cubicBezTo>
                  <a:pt x="10436339" y="2"/>
                  <a:pt x="10436339" y="2"/>
                  <a:pt x="10125283" y="187296"/>
                </a:cubicBezTo>
                <a:cubicBezTo>
                  <a:pt x="10108109" y="196852"/>
                  <a:pt x="10087117" y="193029"/>
                  <a:pt x="10077576" y="175829"/>
                </a:cubicBezTo>
                <a:cubicBezTo>
                  <a:pt x="10068034" y="160540"/>
                  <a:pt x="10073759" y="139517"/>
                  <a:pt x="10089025" y="129961"/>
                </a:cubicBezTo>
                <a:cubicBezTo>
                  <a:pt x="10089025" y="129961"/>
                  <a:pt x="10089025" y="129961"/>
                  <a:pt x="10304665" y="2"/>
                </a:cubicBezTo>
                <a:close/>
                <a:moveTo>
                  <a:pt x="10857477" y="0"/>
                </a:moveTo>
                <a:cubicBezTo>
                  <a:pt x="10857477" y="0"/>
                  <a:pt x="10857477" y="0"/>
                  <a:pt x="10998322" y="0"/>
                </a:cubicBezTo>
                <a:cubicBezTo>
                  <a:pt x="10998322" y="0"/>
                  <a:pt x="10998322" y="0"/>
                  <a:pt x="10701405" y="173054"/>
                </a:cubicBezTo>
                <a:cubicBezTo>
                  <a:pt x="10684275" y="182563"/>
                  <a:pt x="10663338" y="176857"/>
                  <a:pt x="10653822" y="159742"/>
                </a:cubicBezTo>
                <a:cubicBezTo>
                  <a:pt x="10644305" y="142627"/>
                  <a:pt x="10650015" y="121708"/>
                  <a:pt x="10665241" y="112200"/>
                </a:cubicBezTo>
                <a:cubicBezTo>
                  <a:pt x="10665241" y="112200"/>
                  <a:pt x="10665241" y="112200"/>
                  <a:pt x="10857477" y="0"/>
                </a:cubicBezTo>
                <a:close/>
              </a:path>
            </a:pathLst>
          </a:custGeom>
          <a:solidFill>
            <a:srgbClr val="3E82C4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3" y="1437139"/>
            <a:ext cx="9960236" cy="3026868"/>
          </a:xfrm>
          <a:prstGeom prst="rect">
            <a:avLst/>
          </a:prstGeom>
        </p:spPr>
        <p:txBody>
          <a:bodyPr lIns="0" tIns="45710" rIns="91420" bIns="45710" anchor="b" anchorCtr="0"/>
          <a:lstStyle>
            <a:lvl1pPr marL="0" algn="l" defTabSz="1218642" rtl="0" eaLnBrk="1" latinLnBrk="0" hangingPunct="1">
              <a:lnSpc>
                <a:spcPts val="7000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6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2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171479" y="2445929"/>
            <a:ext cx="3026145" cy="100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345604"/>
      </p:ext>
    </p:extLst>
  </p:cSld>
  <p:clrMapOvr>
    <a:masterClrMapping/>
  </p:clrMapOvr>
  <p:transition spd="med"/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Global-1">
    <p:bg>
      <p:bgPr>
        <a:solidFill>
          <a:schemeClr val="bg2">
            <a:lumMod val="50000"/>
            <a:lumOff val="5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893"/>
            <a:ext cx="12190410" cy="6857107"/>
          </a:xfrm>
          <a:prstGeom prst="rect">
            <a:avLst/>
          </a:prstGeom>
        </p:spPr>
      </p:pic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46" y="1849075"/>
            <a:ext cx="9957815" cy="194767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642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lang="en-US" sz="5999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548646" y="3999755"/>
            <a:ext cx="9957815" cy="737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9"/>
              </a:lnSpc>
              <a:spcBef>
                <a:spcPts val="0"/>
              </a:spcBef>
              <a:buNone/>
              <a:defRPr sz="2399" spc="0" baseline="0">
                <a:solidFill>
                  <a:schemeClr val="bg1"/>
                </a:solidFill>
              </a:defRPr>
            </a:lvl1pPr>
            <a:lvl2pPr marL="4570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712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4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5305" y="5505444"/>
            <a:ext cx="1330103" cy="443301"/>
          </a:xfrm>
          <a:prstGeom prst="rect">
            <a:avLst/>
          </a:prstGeom>
        </p:spPr>
      </p:pic>
      <p:sp>
        <p:nvSpPr>
          <p:cNvPr id="15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669915"/>
      </p:ext>
    </p:extLst>
  </p:cSld>
  <p:clrMapOvr>
    <a:masterClrMapping/>
  </p:clrMapOvr>
  <p:transition spd="med"/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F557A8-2D10-4719-AB60-55F07282BE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5F557A8-2D10-4719-AB60-55F07282BE4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 cap="none"/>
            </a:lvl1pPr>
          </a:lstStyle>
          <a:p>
            <a:endParaRPr lang="en-US">
              <a:cs typeface="Arial" pitchFamily="34" charset="0"/>
            </a:endParaRPr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1748699" y="6395722"/>
            <a:ext cx="443301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65647"/>
      </p:ext>
    </p:extLst>
  </p:cSld>
  <p:clrMapOvr>
    <a:masterClrMapping/>
  </p:clrMapOvr>
  <p:transition spd="med"/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9CEF869-4FD9-4755-AD4A-E74028A680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9CEF869-4FD9-4755-AD4A-E74028A680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11073384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0381150"/>
      </p:ext>
    </p:extLst>
  </p:cSld>
  <p:clrMapOvr>
    <a:masterClrMapping/>
  </p:clrMapOvr>
  <p:transition spd="med"/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Conten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591057"/>
            <a:ext cx="11073384" cy="4798203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0">
              <a:buNone/>
              <a:defRPr sz="2666" b="1"/>
            </a:lvl2pPr>
            <a:lvl3pPr marL="1218642" indent="0">
              <a:buNone/>
              <a:defRPr sz="2399" b="1"/>
            </a:lvl3pPr>
            <a:lvl4pPr marL="1827963" indent="0">
              <a:buNone/>
              <a:defRPr sz="2133" b="1"/>
            </a:lvl4pPr>
            <a:lvl5pPr marL="2437284" indent="0">
              <a:buNone/>
              <a:defRPr sz="2133" b="1"/>
            </a:lvl5pPr>
            <a:lvl6pPr marL="3046601" indent="0">
              <a:buNone/>
              <a:defRPr sz="2133" b="1"/>
            </a:lvl6pPr>
            <a:lvl7pPr marL="3655926" indent="0">
              <a:buNone/>
              <a:defRPr sz="2133" b="1"/>
            </a:lvl7pPr>
            <a:lvl8pPr marL="4265243" indent="0">
              <a:buNone/>
              <a:defRPr sz="2133" b="1"/>
            </a:lvl8pPr>
            <a:lvl9pPr marL="4874564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109971013"/>
      </p:ext>
    </p:extLst>
  </p:cSld>
  <p:clrMapOvr>
    <a:masterClrMapping/>
  </p:clrMapOvr>
  <p:transition spd="med"/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25"/>
          <p:cNvSpPr>
            <a:spLocks noGrp="1"/>
          </p:cNvSpPr>
          <p:nvPr>
            <p:ph type="ftr" sz="quarter" idx="13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4" y="1179576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3066" y="1188765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5853816"/>
      </p:ext>
    </p:extLst>
  </p:cSld>
  <p:clrMapOvr>
    <a:masterClrMapping/>
  </p:clrMapOvr>
  <p:transition spd="med"/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603671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603671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5286" y="0"/>
            <a:ext cx="5353539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385036"/>
      </p:ext>
    </p:extLst>
  </p:cSld>
  <p:clrMapOvr>
    <a:masterClrMapping/>
  </p:clrMapOvr>
  <p:transition spd="med"/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2" y="0"/>
            <a:ext cx="4061793" cy="6858000"/>
          </a:xfrm>
          <a:prstGeom prst="rect">
            <a:avLst/>
          </a:prstGeom>
          <a:solidFill>
            <a:srgbClr val="6EBE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49951" y="-3177"/>
            <a:ext cx="4011840" cy="6858285"/>
          </a:xfrm>
          <a:custGeom>
            <a:avLst/>
            <a:gdLst>
              <a:gd name="connsiteX0" fmla="*/ 4011840 w 4011840"/>
              <a:gd name="connsiteY0" fmla="*/ 6728839 h 6858285"/>
              <a:gd name="connsiteX1" fmla="*/ 4011840 w 4011840"/>
              <a:gd name="connsiteY1" fmla="*/ 6814737 h 6858285"/>
              <a:gd name="connsiteX2" fmla="*/ 3960866 w 4011840"/>
              <a:gd name="connsiteY2" fmla="*/ 6841809 h 6858285"/>
              <a:gd name="connsiteX3" fmla="*/ 3909430 w 4011840"/>
              <a:gd name="connsiteY3" fmla="*/ 6826569 h 6858285"/>
              <a:gd name="connsiteX4" fmla="*/ 3903712 w 4011840"/>
              <a:gd name="connsiteY4" fmla="*/ 6809424 h 6858285"/>
              <a:gd name="connsiteX5" fmla="*/ 3924672 w 4011840"/>
              <a:gd name="connsiteY5" fmla="*/ 6775134 h 6858285"/>
              <a:gd name="connsiteX6" fmla="*/ 4006988 w 4011840"/>
              <a:gd name="connsiteY6" fmla="*/ 6731416 h 6858285"/>
              <a:gd name="connsiteX7" fmla="*/ 396081 w 4011840"/>
              <a:gd name="connsiteY7" fmla="*/ 6635423 h 6858285"/>
              <a:gd name="connsiteX8" fmla="*/ 419128 w 4011840"/>
              <a:gd name="connsiteY8" fmla="*/ 6656349 h 6858285"/>
              <a:gd name="connsiteX9" fmla="*/ 400120 w 4011840"/>
              <a:gd name="connsiteY9" fmla="*/ 6709616 h 6858285"/>
              <a:gd name="connsiteX10" fmla="*/ 97901 w 4011840"/>
              <a:gd name="connsiteY10" fmla="*/ 6858002 h 6858285"/>
              <a:gd name="connsiteX11" fmla="*/ 10466 w 4011840"/>
              <a:gd name="connsiteY11" fmla="*/ 6858002 h 6858285"/>
              <a:gd name="connsiteX12" fmla="*/ 8566 w 4011840"/>
              <a:gd name="connsiteY12" fmla="*/ 6858002 h 6858285"/>
              <a:gd name="connsiteX13" fmla="*/ 4764 w 4011840"/>
              <a:gd name="connsiteY13" fmla="*/ 6838978 h 6858285"/>
              <a:gd name="connsiteX14" fmla="*/ 27573 w 4011840"/>
              <a:gd name="connsiteY14" fmla="*/ 6802833 h 6858285"/>
              <a:gd name="connsiteX15" fmla="*/ 365906 w 4011840"/>
              <a:gd name="connsiteY15" fmla="*/ 6637326 h 6858285"/>
              <a:gd name="connsiteX16" fmla="*/ 396081 w 4011840"/>
              <a:gd name="connsiteY16" fmla="*/ 6635423 h 6858285"/>
              <a:gd name="connsiteX17" fmla="*/ 939733 w 4011840"/>
              <a:gd name="connsiteY17" fmla="*/ 6619807 h 6858285"/>
              <a:gd name="connsiteX18" fmla="*/ 963599 w 4011840"/>
              <a:gd name="connsiteY18" fmla="*/ 6640551 h 6858285"/>
              <a:gd name="connsiteX19" fmla="*/ 944506 w 4011840"/>
              <a:gd name="connsiteY19" fmla="*/ 6693960 h 6858285"/>
              <a:gd name="connsiteX20" fmla="*/ 618014 w 4011840"/>
              <a:gd name="connsiteY20" fmla="*/ 6858002 h 6858285"/>
              <a:gd name="connsiteX21" fmla="*/ 562644 w 4011840"/>
              <a:gd name="connsiteY21" fmla="*/ 6858002 h 6858285"/>
              <a:gd name="connsiteX22" fmla="*/ 553097 w 4011840"/>
              <a:gd name="connsiteY22" fmla="*/ 6846557 h 6858285"/>
              <a:gd name="connsiteX23" fmla="*/ 549279 w 4011840"/>
              <a:gd name="connsiteY23" fmla="*/ 6829390 h 6858285"/>
              <a:gd name="connsiteX24" fmla="*/ 570281 w 4011840"/>
              <a:gd name="connsiteY24" fmla="*/ 6793148 h 6858285"/>
              <a:gd name="connsiteX25" fmla="*/ 910138 w 4011840"/>
              <a:gd name="connsiteY25" fmla="*/ 6623384 h 6858285"/>
              <a:gd name="connsiteX26" fmla="*/ 939733 w 4011840"/>
              <a:gd name="connsiteY26" fmla="*/ 6619807 h 6858285"/>
              <a:gd name="connsiteX27" fmla="*/ 1485698 w 4011840"/>
              <a:gd name="connsiteY27" fmla="*/ 6606629 h 6858285"/>
              <a:gd name="connsiteX28" fmla="*/ 1507827 w 4011840"/>
              <a:gd name="connsiteY28" fmla="*/ 6625941 h 6858285"/>
              <a:gd name="connsiteX29" fmla="*/ 1492599 w 4011840"/>
              <a:gd name="connsiteY29" fmla="*/ 6677438 h 6858285"/>
              <a:gd name="connsiteX30" fmla="*/ 1153761 w 4011840"/>
              <a:gd name="connsiteY30" fmla="*/ 6852909 h 6858285"/>
              <a:gd name="connsiteX31" fmla="*/ 1102364 w 4011840"/>
              <a:gd name="connsiteY31" fmla="*/ 6837650 h 6858285"/>
              <a:gd name="connsiteX32" fmla="*/ 1098557 w 4011840"/>
              <a:gd name="connsiteY32" fmla="*/ 6818577 h 6858285"/>
              <a:gd name="connsiteX33" fmla="*/ 1119496 w 4011840"/>
              <a:gd name="connsiteY33" fmla="*/ 6784246 h 6858285"/>
              <a:gd name="connsiteX34" fmla="*/ 1456431 w 4011840"/>
              <a:gd name="connsiteY34" fmla="*/ 6608775 h 6858285"/>
              <a:gd name="connsiteX35" fmla="*/ 1485698 w 4011840"/>
              <a:gd name="connsiteY35" fmla="*/ 6606629 h 6858285"/>
              <a:gd name="connsiteX36" fmla="*/ 2037015 w 4011840"/>
              <a:gd name="connsiteY36" fmla="*/ 6592968 h 6858285"/>
              <a:gd name="connsiteX37" fmla="*/ 2060595 w 4011840"/>
              <a:gd name="connsiteY37" fmla="*/ 6611304 h 6858285"/>
              <a:gd name="connsiteX38" fmla="*/ 2043444 w 4011840"/>
              <a:gd name="connsiteY38" fmla="*/ 6662739 h 6858285"/>
              <a:gd name="connsiteX39" fmla="*/ 1706255 w 4011840"/>
              <a:gd name="connsiteY39" fmla="*/ 6841809 h 6858285"/>
              <a:gd name="connsiteX40" fmla="*/ 1654819 w 4011840"/>
              <a:gd name="connsiteY40" fmla="*/ 6826569 h 6858285"/>
              <a:gd name="connsiteX41" fmla="*/ 1651009 w 4011840"/>
              <a:gd name="connsiteY41" fmla="*/ 6809424 h 6858285"/>
              <a:gd name="connsiteX42" fmla="*/ 1670059 w 4011840"/>
              <a:gd name="connsiteY42" fmla="*/ 6775134 h 6858285"/>
              <a:gd name="connsiteX43" fmla="*/ 2009154 w 4011840"/>
              <a:gd name="connsiteY43" fmla="*/ 6596064 h 6858285"/>
              <a:gd name="connsiteX44" fmla="*/ 2037015 w 4011840"/>
              <a:gd name="connsiteY44" fmla="*/ 6592968 h 6858285"/>
              <a:gd name="connsiteX45" fmla="*/ 3727788 w 4011840"/>
              <a:gd name="connsiteY45" fmla="*/ 6578028 h 6858285"/>
              <a:gd name="connsiteX46" fmla="*/ 3749716 w 4011840"/>
              <a:gd name="connsiteY46" fmla="*/ 6595371 h 6858285"/>
              <a:gd name="connsiteX47" fmla="*/ 3734462 w 4011840"/>
              <a:gd name="connsiteY47" fmla="*/ 6646685 h 6858285"/>
              <a:gd name="connsiteX48" fmla="*/ 3397032 w 4011840"/>
              <a:gd name="connsiteY48" fmla="*/ 6831037 h 6858285"/>
              <a:gd name="connsiteX49" fmla="*/ 3347462 w 4011840"/>
              <a:gd name="connsiteY49" fmla="*/ 6815832 h 6858285"/>
              <a:gd name="connsiteX50" fmla="*/ 3341741 w 4011840"/>
              <a:gd name="connsiteY50" fmla="*/ 6798728 h 6858285"/>
              <a:gd name="connsiteX51" fmla="*/ 3362712 w 4011840"/>
              <a:gd name="connsiteY51" fmla="*/ 6764518 h 6858285"/>
              <a:gd name="connsiteX52" fmla="*/ 3700144 w 4011840"/>
              <a:gd name="connsiteY52" fmla="*/ 6582067 h 6858285"/>
              <a:gd name="connsiteX53" fmla="*/ 3727788 w 4011840"/>
              <a:gd name="connsiteY53" fmla="*/ 6578028 h 6858285"/>
              <a:gd name="connsiteX54" fmla="*/ 2592701 w 4011840"/>
              <a:gd name="connsiteY54" fmla="*/ 6578028 h 6858285"/>
              <a:gd name="connsiteX55" fmla="*/ 2614625 w 4011840"/>
              <a:gd name="connsiteY55" fmla="*/ 6595371 h 6858285"/>
              <a:gd name="connsiteX56" fmla="*/ 2599374 w 4011840"/>
              <a:gd name="connsiteY56" fmla="*/ 6646685 h 6858285"/>
              <a:gd name="connsiteX57" fmla="*/ 2261929 w 4011840"/>
              <a:gd name="connsiteY57" fmla="*/ 6831037 h 6858285"/>
              <a:gd name="connsiteX58" fmla="*/ 2212361 w 4011840"/>
              <a:gd name="connsiteY58" fmla="*/ 6815832 h 6858285"/>
              <a:gd name="connsiteX59" fmla="*/ 2206641 w 4011840"/>
              <a:gd name="connsiteY59" fmla="*/ 6798728 h 6858285"/>
              <a:gd name="connsiteX60" fmla="*/ 2225706 w 4011840"/>
              <a:gd name="connsiteY60" fmla="*/ 6764518 h 6858285"/>
              <a:gd name="connsiteX61" fmla="*/ 2565057 w 4011840"/>
              <a:gd name="connsiteY61" fmla="*/ 6582067 h 6858285"/>
              <a:gd name="connsiteX62" fmla="*/ 2592701 w 4011840"/>
              <a:gd name="connsiteY62" fmla="*/ 6578028 h 6858285"/>
              <a:gd name="connsiteX63" fmla="*/ 3153211 w 4011840"/>
              <a:gd name="connsiteY63" fmla="*/ 6564133 h 6858285"/>
              <a:gd name="connsiteX64" fmla="*/ 3175070 w 4011840"/>
              <a:gd name="connsiteY64" fmla="*/ 6580744 h 6858285"/>
              <a:gd name="connsiteX65" fmla="*/ 3161766 w 4011840"/>
              <a:gd name="connsiteY65" fmla="*/ 6630101 h 6858285"/>
              <a:gd name="connsiteX66" fmla="*/ 2825350 w 4011840"/>
              <a:gd name="connsiteY66" fmla="*/ 6819936 h 6858285"/>
              <a:gd name="connsiteX67" fmla="*/ 2775931 w 4011840"/>
              <a:gd name="connsiteY67" fmla="*/ 6804749 h 6858285"/>
              <a:gd name="connsiteX68" fmla="*/ 2770229 w 4011840"/>
              <a:gd name="connsiteY68" fmla="*/ 6787664 h 6858285"/>
              <a:gd name="connsiteX69" fmla="*/ 2789236 w 4011840"/>
              <a:gd name="connsiteY69" fmla="*/ 6757290 h 6858285"/>
              <a:gd name="connsiteX70" fmla="*/ 3125653 w 4011840"/>
              <a:gd name="connsiteY70" fmla="*/ 6567455 h 6858285"/>
              <a:gd name="connsiteX71" fmla="*/ 3153211 w 4011840"/>
              <a:gd name="connsiteY71" fmla="*/ 6564133 h 6858285"/>
              <a:gd name="connsiteX72" fmla="*/ 4011840 w 4011840"/>
              <a:gd name="connsiteY72" fmla="*/ 6402257 h 6858285"/>
              <a:gd name="connsiteX73" fmla="*/ 4011840 w 4011840"/>
              <a:gd name="connsiteY73" fmla="*/ 6490934 h 6858285"/>
              <a:gd name="connsiteX74" fmla="*/ 3961098 w 4011840"/>
              <a:gd name="connsiteY74" fmla="*/ 6516712 h 6858285"/>
              <a:gd name="connsiteX75" fmla="*/ 3907832 w 4011840"/>
              <a:gd name="connsiteY75" fmla="*/ 6499609 h 6858285"/>
              <a:gd name="connsiteX76" fmla="*/ 3902128 w 4011840"/>
              <a:gd name="connsiteY76" fmla="*/ 6482505 h 6858285"/>
              <a:gd name="connsiteX77" fmla="*/ 3924952 w 4011840"/>
              <a:gd name="connsiteY77" fmla="*/ 6446398 h 6858285"/>
              <a:gd name="connsiteX78" fmla="*/ 4007146 w 4011840"/>
              <a:gd name="connsiteY78" fmla="*/ 6404642 h 6858285"/>
              <a:gd name="connsiteX79" fmla="*/ 396081 w 4011840"/>
              <a:gd name="connsiteY79" fmla="*/ 6313171 h 6858285"/>
              <a:gd name="connsiteX80" fmla="*/ 419127 w 4011840"/>
              <a:gd name="connsiteY80" fmla="*/ 6334126 h 6858285"/>
              <a:gd name="connsiteX81" fmla="*/ 400120 w 4011840"/>
              <a:gd name="connsiteY81" fmla="*/ 6387466 h 6858285"/>
              <a:gd name="connsiteX82" fmla="*/ 63687 w 4011840"/>
              <a:gd name="connsiteY82" fmla="*/ 6553201 h 6858285"/>
              <a:gd name="connsiteX83" fmla="*/ 8565 w 4011840"/>
              <a:gd name="connsiteY83" fmla="*/ 6534151 h 6858285"/>
              <a:gd name="connsiteX84" fmla="*/ 4764 w 4011840"/>
              <a:gd name="connsiteY84" fmla="*/ 6517006 h 6858285"/>
              <a:gd name="connsiteX85" fmla="*/ 27573 w 4011840"/>
              <a:gd name="connsiteY85" fmla="*/ 6478906 h 6858285"/>
              <a:gd name="connsiteX86" fmla="*/ 365906 w 4011840"/>
              <a:gd name="connsiteY86" fmla="*/ 6315076 h 6858285"/>
              <a:gd name="connsiteX87" fmla="*/ 396081 w 4011840"/>
              <a:gd name="connsiteY87" fmla="*/ 6313171 h 6858285"/>
              <a:gd name="connsiteX88" fmla="*/ 940474 w 4011840"/>
              <a:gd name="connsiteY88" fmla="*/ 6300224 h 6858285"/>
              <a:gd name="connsiteX89" fmla="*/ 963607 w 4011840"/>
              <a:gd name="connsiteY89" fmla="*/ 6319488 h 6858285"/>
              <a:gd name="connsiteX90" fmla="*/ 944529 w 4011840"/>
              <a:gd name="connsiteY90" fmla="*/ 6372763 h 6858285"/>
              <a:gd name="connsiteX91" fmla="*/ 606835 w 4011840"/>
              <a:gd name="connsiteY91" fmla="*/ 6540198 h 6858285"/>
              <a:gd name="connsiteX92" fmla="*/ 551507 w 4011840"/>
              <a:gd name="connsiteY92" fmla="*/ 6523074 h 6858285"/>
              <a:gd name="connsiteX93" fmla="*/ 547691 w 4011840"/>
              <a:gd name="connsiteY93" fmla="*/ 6505950 h 6858285"/>
              <a:gd name="connsiteX94" fmla="*/ 570586 w 4011840"/>
              <a:gd name="connsiteY94" fmla="*/ 6469799 h 6858285"/>
              <a:gd name="connsiteX95" fmla="*/ 910187 w 4011840"/>
              <a:gd name="connsiteY95" fmla="*/ 6302364 h 6858285"/>
              <a:gd name="connsiteX96" fmla="*/ 940474 w 4011840"/>
              <a:gd name="connsiteY96" fmla="*/ 6300224 h 6858285"/>
              <a:gd name="connsiteX97" fmla="*/ 1486674 w 4011840"/>
              <a:gd name="connsiteY97" fmla="*/ 6285982 h 6858285"/>
              <a:gd name="connsiteX98" fmla="*/ 1509738 w 4011840"/>
              <a:gd name="connsiteY98" fmla="*/ 6305364 h 6858285"/>
              <a:gd name="connsiteX99" fmla="*/ 1492618 w 4011840"/>
              <a:gd name="connsiteY99" fmla="*/ 6358966 h 6858285"/>
              <a:gd name="connsiteX100" fmla="*/ 1154033 w 4011840"/>
              <a:gd name="connsiteY100" fmla="*/ 6529342 h 6858285"/>
              <a:gd name="connsiteX101" fmla="*/ 1100773 w 4011840"/>
              <a:gd name="connsiteY101" fmla="*/ 6512113 h 6858285"/>
              <a:gd name="connsiteX102" fmla="*/ 1096968 w 4011840"/>
              <a:gd name="connsiteY102" fmla="*/ 6494884 h 6858285"/>
              <a:gd name="connsiteX103" fmla="*/ 1117892 w 4011840"/>
              <a:gd name="connsiteY103" fmla="*/ 6458512 h 6858285"/>
              <a:gd name="connsiteX104" fmla="*/ 1456477 w 4011840"/>
              <a:gd name="connsiteY104" fmla="*/ 6288135 h 6858285"/>
              <a:gd name="connsiteX105" fmla="*/ 1486674 w 4011840"/>
              <a:gd name="connsiteY105" fmla="*/ 6285982 h 6858285"/>
              <a:gd name="connsiteX106" fmla="*/ 2038415 w 4011840"/>
              <a:gd name="connsiteY106" fmla="*/ 6273228 h 6858285"/>
              <a:gd name="connsiteX107" fmla="*/ 2062198 w 4011840"/>
              <a:gd name="connsiteY107" fmla="*/ 6292469 h 6858285"/>
              <a:gd name="connsiteX108" fmla="*/ 2045072 w 4011840"/>
              <a:gd name="connsiteY108" fmla="*/ 6345679 h 6858285"/>
              <a:gd name="connsiteX109" fmla="*/ 1706487 w 4011840"/>
              <a:gd name="connsiteY109" fmla="*/ 6516712 h 6858285"/>
              <a:gd name="connsiteX110" fmla="*/ 1653226 w 4011840"/>
              <a:gd name="connsiteY110" fmla="*/ 6499609 h 6858285"/>
              <a:gd name="connsiteX111" fmla="*/ 1649422 w 4011840"/>
              <a:gd name="connsiteY111" fmla="*/ 6482505 h 6858285"/>
              <a:gd name="connsiteX112" fmla="*/ 1670346 w 4011840"/>
              <a:gd name="connsiteY112" fmla="*/ 6446398 h 6858285"/>
              <a:gd name="connsiteX113" fmla="*/ 2008931 w 4011840"/>
              <a:gd name="connsiteY113" fmla="*/ 6275366 h 6858285"/>
              <a:gd name="connsiteX114" fmla="*/ 2038415 w 4011840"/>
              <a:gd name="connsiteY114" fmla="*/ 6273228 h 6858285"/>
              <a:gd name="connsiteX115" fmla="*/ 3729186 w 4011840"/>
              <a:gd name="connsiteY115" fmla="*/ 6260519 h 6858285"/>
              <a:gd name="connsiteX116" fmla="*/ 3751316 w 4011840"/>
              <a:gd name="connsiteY116" fmla="*/ 6279737 h 6858285"/>
              <a:gd name="connsiteX117" fmla="*/ 3736088 w 4011840"/>
              <a:gd name="connsiteY117" fmla="*/ 6330986 h 6858285"/>
              <a:gd name="connsiteX118" fmla="*/ 3397264 w 4011840"/>
              <a:gd name="connsiteY118" fmla="*/ 6505611 h 6858285"/>
              <a:gd name="connsiteX119" fmla="*/ 3345866 w 4011840"/>
              <a:gd name="connsiteY119" fmla="*/ 6488528 h 6858285"/>
              <a:gd name="connsiteX120" fmla="*/ 3340155 w 4011840"/>
              <a:gd name="connsiteY120" fmla="*/ 6469547 h 6858285"/>
              <a:gd name="connsiteX121" fmla="*/ 3361094 w 4011840"/>
              <a:gd name="connsiteY121" fmla="*/ 6435381 h 6858285"/>
              <a:gd name="connsiteX122" fmla="*/ 3699920 w 4011840"/>
              <a:gd name="connsiteY122" fmla="*/ 6262654 h 6858285"/>
              <a:gd name="connsiteX123" fmla="*/ 3729186 w 4011840"/>
              <a:gd name="connsiteY123" fmla="*/ 6260519 h 6858285"/>
              <a:gd name="connsiteX124" fmla="*/ 2595567 w 4011840"/>
              <a:gd name="connsiteY124" fmla="*/ 6260519 h 6858285"/>
              <a:gd name="connsiteX125" fmla="*/ 2617780 w 4011840"/>
              <a:gd name="connsiteY125" fmla="*/ 6279737 h 6858285"/>
              <a:gd name="connsiteX126" fmla="*/ 2600583 w 4011840"/>
              <a:gd name="connsiteY126" fmla="*/ 6330986 h 6858285"/>
              <a:gd name="connsiteX127" fmla="*/ 2262377 w 4011840"/>
              <a:gd name="connsiteY127" fmla="*/ 6505611 h 6858285"/>
              <a:gd name="connsiteX128" fmla="*/ 2210786 w 4011840"/>
              <a:gd name="connsiteY128" fmla="*/ 6488528 h 6858285"/>
              <a:gd name="connsiteX129" fmla="*/ 2205054 w 4011840"/>
              <a:gd name="connsiteY129" fmla="*/ 6469547 h 6858285"/>
              <a:gd name="connsiteX130" fmla="*/ 2226073 w 4011840"/>
              <a:gd name="connsiteY130" fmla="*/ 6435381 h 6858285"/>
              <a:gd name="connsiteX131" fmla="*/ 2566189 w 4011840"/>
              <a:gd name="connsiteY131" fmla="*/ 6262654 h 6858285"/>
              <a:gd name="connsiteX132" fmla="*/ 2595567 w 4011840"/>
              <a:gd name="connsiteY132" fmla="*/ 6260519 h 6858285"/>
              <a:gd name="connsiteX133" fmla="*/ 3155659 w 4011840"/>
              <a:gd name="connsiteY133" fmla="*/ 6245321 h 6858285"/>
              <a:gd name="connsiteX134" fmla="*/ 3177874 w 4011840"/>
              <a:gd name="connsiteY134" fmla="*/ 6263701 h 6858285"/>
              <a:gd name="connsiteX135" fmla="*/ 3162585 w 4011840"/>
              <a:gd name="connsiteY135" fmla="*/ 6317169 h 6858285"/>
              <a:gd name="connsiteX136" fmla="*/ 2822468 w 4011840"/>
              <a:gd name="connsiteY136" fmla="*/ 6492853 h 6858285"/>
              <a:gd name="connsiteX137" fmla="*/ 2770875 w 4011840"/>
              <a:gd name="connsiteY137" fmla="*/ 6477576 h 6858285"/>
              <a:gd name="connsiteX138" fmla="*/ 2767055 w 4011840"/>
              <a:gd name="connsiteY138" fmla="*/ 6458480 h 6858285"/>
              <a:gd name="connsiteX139" fmla="*/ 2788072 w 4011840"/>
              <a:gd name="connsiteY139" fmla="*/ 6426017 h 6858285"/>
              <a:gd name="connsiteX140" fmla="*/ 3126282 w 4011840"/>
              <a:gd name="connsiteY140" fmla="*/ 6248424 h 6858285"/>
              <a:gd name="connsiteX141" fmla="*/ 3155659 w 4011840"/>
              <a:gd name="connsiteY141" fmla="*/ 6245321 h 6858285"/>
              <a:gd name="connsiteX142" fmla="*/ 4011840 w 4011840"/>
              <a:gd name="connsiteY142" fmla="*/ 6076623 h 6858285"/>
              <a:gd name="connsiteX143" fmla="*/ 4011840 w 4011840"/>
              <a:gd name="connsiteY143" fmla="*/ 6165693 h 6858285"/>
              <a:gd name="connsiteX144" fmla="*/ 3959152 w 4011840"/>
              <a:gd name="connsiteY144" fmla="*/ 6191239 h 6858285"/>
              <a:gd name="connsiteX145" fmla="*/ 3905930 w 4011840"/>
              <a:gd name="connsiteY145" fmla="*/ 6172165 h 6858285"/>
              <a:gd name="connsiteX146" fmla="*/ 3902128 w 4011840"/>
              <a:gd name="connsiteY146" fmla="*/ 6154999 h 6858285"/>
              <a:gd name="connsiteX147" fmla="*/ 3924936 w 4011840"/>
              <a:gd name="connsiteY147" fmla="*/ 6118759 h 6858285"/>
              <a:gd name="connsiteX148" fmla="*/ 4007532 w 4011840"/>
              <a:gd name="connsiteY148" fmla="*/ 6078712 h 6858285"/>
              <a:gd name="connsiteX149" fmla="*/ 380904 w 4011840"/>
              <a:gd name="connsiteY149" fmla="*/ 5988309 h 6858285"/>
              <a:gd name="connsiteX150" fmla="*/ 419127 w 4011840"/>
              <a:gd name="connsiteY150" fmla="*/ 6010276 h 6858285"/>
              <a:gd name="connsiteX151" fmla="*/ 400120 w 4011840"/>
              <a:gd name="connsiteY151" fmla="*/ 6065521 h 6858285"/>
              <a:gd name="connsiteX152" fmla="*/ 63687 w 4011840"/>
              <a:gd name="connsiteY152" fmla="*/ 6229351 h 6858285"/>
              <a:gd name="connsiteX153" fmla="*/ 8565 w 4011840"/>
              <a:gd name="connsiteY153" fmla="*/ 6210301 h 6858285"/>
              <a:gd name="connsiteX154" fmla="*/ 4764 w 4011840"/>
              <a:gd name="connsiteY154" fmla="*/ 6193156 h 6858285"/>
              <a:gd name="connsiteX155" fmla="*/ 27573 w 4011840"/>
              <a:gd name="connsiteY155" fmla="*/ 6156961 h 6858285"/>
              <a:gd name="connsiteX156" fmla="*/ 365906 w 4011840"/>
              <a:gd name="connsiteY156" fmla="*/ 5993131 h 6858285"/>
              <a:gd name="connsiteX157" fmla="*/ 380904 w 4011840"/>
              <a:gd name="connsiteY157" fmla="*/ 5988309 h 6858285"/>
              <a:gd name="connsiteX158" fmla="*/ 940179 w 4011840"/>
              <a:gd name="connsiteY158" fmla="*/ 5978208 h 6858285"/>
              <a:gd name="connsiteX159" fmla="*/ 963295 w 4011840"/>
              <a:gd name="connsiteY159" fmla="*/ 5999163 h 6858285"/>
              <a:gd name="connsiteX160" fmla="*/ 944230 w 4011840"/>
              <a:gd name="connsiteY160" fmla="*/ 6052503 h 6858285"/>
              <a:gd name="connsiteX161" fmla="*/ 606791 w 4011840"/>
              <a:gd name="connsiteY161" fmla="*/ 6218238 h 6858285"/>
              <a:gd name="connsiteX162" fmla="*/ 551504 w 4011840"/>
              <a:gd name="connsiteY162" fmla="*/ 6199188 h 6858285"/>
              <a:gd name="connsiteX163" fmla="*/ 547691 w 4011840"/>
              <a:gd name="connsiteY163" fmla="*/ 6180138 h 6858285"/>
              <a:gd name="connsiteX164" fmla="*/ 570568 w 4011840"/>
              <a:gd name="connsiteY164" fmla="*/ 6143943 h 6858285"/>
              <a:gd name="connsiteX165" fmla="*/ 909915 w 4011840"/>
              <a:gd name="connsiteY165" fmla="*/ 5980113 h 6858285"/>
              <a:gd name="connsiteX166" fmla="*/ 940179 w 4011840"/>
              <a:gd name="connsiteY166" fmla="*/ 5978208 h 6858285"/>
              <a:gd name="connsiteX167" fmla="*/ 1487950 w 4011840"/>
              <a:gd name="connsiteY167" fmla="*/ 5966222 h 6858285"/>
              <a:gd name="connsiteX168" fmla="*/ 1511303 w 4011840"/>
              <a:gd name="connsiteY168" fmla="*/ 5986463 h 6858285"/>
              <a:gd name="connsiteX169" fmla="*/ 1492239 w 4011840"/>
              <a:gd name="connsiteY169" fmla="*/ 6041708 h 6858285"/>
              <a:gd name="connsiteX170" fmla="*/ 1152893 w 4011840"/>
              <a:gd name="connsiteY170" fmla="*/ 6205538 h 6858285"/>
              <a:gd name="connsiteX171" fmla="*/ 1097606 w 4011840"/>
              <a:gd name="connsiteY171" fmla="*/ 6186488 h 6858285"/>
              <a:gd name="connsiteX172" fmla="*/ 1093793 w 4011840"/>
              <a:gd name="connsiteY172" fmla="*/ 6169343 h 6858285"/>
              <a:gd name="connsiteX173" fmla="*/ 1116671 w 4011840"/>
              <a:gd name="connsiteY173" fmla="*/ 6131243 h 6858285"/>
              <a:gd name="connsiteX174" fmla="*/ 1456017 w 4011840"/>
              <a:gd name="connsiteY174" fmla="*/ 5967413 h 6858285"/>
              <a:gd name="connsiteX175" fmla="*/ 1487950 w 4011840"/>
              <a:gd name="connsiteY175" fmla="*/ 5966222 h 6858285"/>
              <a:gd name="connsiteX176" fmla="*/ 2039813 w 4011840"/>
              <a:gd name="connsiteY176" fmla="*/ 5952817 h 6858285"/>
              <a:gd name="connsiteX177" fmla="*/ 2063798 w 4011840"/>
              <a:gd name="connsiteY177" fmla="*/ 5973798 h 6858285"/>
              <a:gd name="connsiteX178" fmla="*/ 2044799 w 4011840"/>
              <a:gd name="connsiteY178" fmla="*/ 6027205 h 6858285"/>
              <a:gd name="connsiteX179" fmla="*/ 1706714 w 4011840"/>
              <a:gd name="connsiteY179" fmla="*/ 6191239 h 6858285"/>
              <a:gd name="connsiteX180" fmla="*/ 1651633 w 4011840"/>
              <a:gd name="connsiteY180" fmla="*/ 6172165 h 6858285"/>
              <a:gd name="connsiteX181" fmla="*/ 1647834 w 4011840"/>
              <a:gd name="connsiteY181" fmla="*/ 6154999 h 6858285"/>
              <a:gd name="connsiteX182" fmla="*/ 1670626 w 4011840"/>
              <a:gd name="connsiteY182" fmla="*/ 6118759 h 6858285"/>
              <a:gd name="connsiteX183" fmla="*/ 2008712 w 4011840"/>
              <a:gd name="connsiteY183" fmla="*/ 5954725 h 6858285"/>
              <a:gd name="connsiteX184" fmla="*/ 2039813 w 4011840"/>
              <a:gd name="connsiteY184" fmla="*/ 5952817 h 6858285"/>
              <a:gd name="connsiteX185" fmla="*/ 3730408 w 4011840"/>
              <a:gd name="connsiteY185" fmla="*/ 5940108 h 6858285"/>
              <a:gd name="connsiteX186" fmla="*/ 3754476 w 4011840"/>
              <a:gd name="connsiteY186" fmla="*/ 5961063 h 6858285"/>
              <a:gd name="connsiteX187" fmla="*/ 3735412 w 4011840"/>
              <a:gd name="connsiteY187" fmla="*/ 6016308 h 6858285"/>
              <a:gd name="connsiteX188" fmla="*/ 3396080 w 4011840"/>
              <a:gd name="connsiteY188" fmla="*/ 6180138 h 6858285"/>
              <a:gd name="connsiteX189" fmla="*/ 3340791 w 4011840"/>
              <a:gd name="connsiteY189" fmla="*/ 6161088 h 6858285"/>
              <a:gd name="connsiteX190" fmla="*/ 3336980 w 4011840"/>
              <a:gd name="connsiteY190" fmla="*/ 6142038 h 6858285"/>
              <a:gd name="connsiteX191" fmla="*/ 3359854 w 4011840"/>
              <a:gd name="connsiteY191" fmla="*/ 6105843 h 6858285"/>
              <a:gd name="connsiteX192" fmla="*/ 3699190 w 4011840"/>
              <a:gd name="connsiteY192" fmla="*/ 5942013 h 6858285"/>
              <a:gd name="connsiteX193" fmla="*/ 3730408 w 4011840"/>
              <a:gd name="connsiteY193" fmla="*/ 5940108 h 6858285"/>
              <a:gd name="connsiteX194" fmla="*/ 2596907 w 4011840"/>
              <a:gd name="connsiteY194" fmla="*/ 5940108 h 6858285"/>
              <a:gd name="connsiteX195" fmla="*/ 2620976 w 4011840"/>
              <a:gd name="connsiteY195" fmla="*/ 5961063 h 6858285"/>
              <a:gd name="connsiteX196" fmla="*/ 2601911 w 4011840"/>
              <a:gd name="connsiteY196" fmla="*/ 6016308 h 6858285"/>
              <a:gd name="connsiteX197" fmla="*/ 2262565 w 4011840"/>
              <a:gd name="connsiteY197" fmla="*/ 6180138 h 6858285"/>
              <a:gd name="connsiteX198" fmla="*/ 2207278 w 4011840"/>
              <a:gd name="connsiteY198" fmla="*/ 6161088 h 6858285"/>
              <a:gd name="connsiteX199" fmla="*/ 2203466 w 4011840"/>
              <a:gd name="connsiteY199" fmla="*/ 6142038 h 6858285"/>
              <a:gd name="connsiteX200" fmla="*/ 2226343 w 4011840"/>
              <a:gd name="connsiteY200" fmla="*/ 6105843 h 6858285"/>
              <a:gd name="connsiteX201" fmla="*/ 2565688 w 4011840"/>
              <a:gd name="connsiteY201" fmla="*/ 5942013 h 6858285"/>
              <a:gd name="connsiteX202" fmla="*/ 2596907 w 4011840"/>
              <a:gd name="connsiteY202" fmla="*/ 5940108 h 6858285"/>
              <a:gd name="connsiteX203" fmla="*/ 3158038 w 4011840"/>
              <a:gd name="connsiteY203" fmla="*/ 5928122 h 6858285"/>
              <a:gd name="connsiteX204" fmla="*/ 3181392 w 4011840"/>
              <a:gd name="connsiteY204" fmla="*/ 5948363 h 6858285"/>
              <a:gd name="connsiteX205" fmla="*/ 3162325 w 4011840"/>
              <a:gd name="connsiteY205" fmla="*/ 6003608 h 6858285"/>
              <a:gd name="connsiteX206" fmla="*/ 2822979 w 4011840"/>
              <a:gd name="connsiteY206" fmla="*/ 6167438 h 6858285"/>
              <a:gd name="connsiteX207" fmla="*/ 2769598 w 4011840"/>
              <a:gd name="connsiteY207" fmla="*/ 6148388 h 6858285"/>
              <a:gd name="connsiteX208" fmla="*/ 2763878 w 4011840"/>
              <a:gd name="connsiteY208" fmla="*/ 6131243 h 6858285"/>
              <a:gd name="connsiteX209" fmla="*/ 2788667 w 4011840"/>
              <a:gd name="connsiteY209" fmla="*/ 6093143 h 6858285"/>
              <a:gd name="connsiteX210" fmla="*/ 3126105 w 4011840"/>
              <a:gd name="connsiteY210" fmla="*/ 5929313 h 6858285"/>
              <a:gd name="connsiteX211" fmla="*/ 3158038 w 4011840"/>
              <a:gd name="connsiteY211" fmla="*/ 5928122 h 6858285"/>
              <a:gd name="connsiteX212" fmla="*/ 4011840 w 4011840"/>
              <a:gd name="connsiteY212" fmla="*/ 5749863 h 6858285"/>
              <a:gd name="connsiteX213" fmla="*/ 4011840 w 4011840"/>
              <a:gd name="connsiteY213" fmla="*/ 5842922 h 6858285"/>
              <a:gd name="connsiteX214" fmla="*/ 3958228 w 4011840"/>
              <a:gd name="connsiteY214" fmla="*/ 5867437 h 6858285"/>
              <a:gd name="connsiteX215" fmla="*/ 3902776 w 4011840"/>
              <a:gd name="connsiteY215" fmla="*/ 5846560 h 6858285"/>
              <a:gd name="connsiteX216" fmla="*/ 3898954 w 4011840"/>
              <a:gd name="connsiteY216" fmla="*/ 5829480 h 6858285"/>
              <a:gd name="connsiteX217" fmla="*/ 3923810 w 4011840"/>
              <a:gd name="connsiteY217" fmla="*/ 5789625 h 6858285"/>
              <a:gd name="connsiteX218" fmla="*/ 4006898 w 4011840"/>
              <a:gd name="connsiteY218" fmla="*/ 5752095 h 6858285"/>
              <a:gd name="connsiteX219" fmla="*/ 397251 w 4011840"/>
              <a:gd name="connsiteY219" fmla="*/ 5667772 h 6858285"/>
              <a:gd name="connsiteX220" fmla="*/ 420367 w 4011840"/>
              <a:gd name="connsiteY220" fmla="*/ 5688013 h 6858285"/>
              <a:gd name="connsiteX221" fmla="*/ 401303 w 4011840"/>
              <a:gd name="connsiteY221" fmla="*/ 5743258 h 6858285"/>
              <a:gd name="connsiteX222" fmla="*/ 63863 w 4011840"/>
              <a:gd name="connsiteY222" fmla="*/ 5907088 h 6858285"/>
              <a:gd name="connsiteX223" fmla="*/ 8576 w 4011840"/>
              <a:gd name="connsiteY223" fmla="*/ 5888038 h 6858285"/>
              <a:gd name="connsiteX224" fmla="*/ 4764 w 4011840"/>
              <a:gd name="connsiteY224" fmla="*/ 5868988 h 6858285"/>
              <a:gd name="connsiteX225" fmla="*/ 27641 w 4011840"/>
              <a:gd name="connsiteY225" fmla="*/ 5832793 h 6858285"/>
              <a:gd name="connsiteX226" fmla="*/ 366987 w 4011840"/>
              <a:gd name="connsiteY226" fmla="*/ 5668963 h 6858285"/>
              <a:gd name="connsiteX227" fmla="*/ 397251 w 4011840"/>
              <a:gd name="connsiteY227" fmla="*/ 5667772 h 6858285"/>
              <a:gd name="connsiteX228" fmla="*/ 941847 w 4011840"/>
              <a:gd name="connsiteY228" fmla="*/ 5656671 h 6858285"/>
              <a:gd name="connsiteX229" fmla="*/ 965201 w 4011840"/>
              <a:gd name="connsiteY229" fmla="*/ 5676936 h 6858285"/>
              <a:gd name="connsiteX230" fmla="*/ 946137 w 4011840"/>
              <a:gd name="connsiteY230" fmla="*/ 5732250 h 6858285"/>
              <a:gd name="connsiteX231" fmla="*/ 606791 w 4011840"/>
              <a:gd name="connsiteY231" fmla="*/ 5894377 h 6858285"/>
              <a:gd name="connsiteX232" fmla="*/ 551504 w 4011840"/>
              <a:gd name="connsiteY232" fmla="*/ 5873396 h 6858285"/>
              <a:gd name="connsiteX233" fmla="*/ 547691 w 4011840"/>
              <a:gd name="connsiteY233" fmla="*/ 5856229 h 6858285"/>
              <a:gd name="connsiteX234" fmla="*/ 570568 w 4011840"/>
              <a:gd name="connsiteY234" fmla="*/ 5818082 h 6858285"/>
              <a:gd name="connsiteX235" fmla="*/ 909914 w 4011840"/>
              <a:gd name="connsiteY235" fmla="*/ 5657863 h 6858285"/>
              <a:gd name="connsiteX236" fmla="*/ 941847 w 4011840"/>
              <a:gd name="connsiteY236" fmla="*/ 5656671 h 6858285"/>
              <a:gd name="connsiteX237" fmla="*/ 1487895 w 4011840"/>
              <a:gd name="connsiteY237" fmla="*/ 5644852 h 6858285"/>
              <a:gd name="connsiteX238" fmla="*/ 1512898 w 4011840"/>
              <a:gd name="connsiteY238" fmla="*/ 5665859 h 6858285"/>
              <a:gd name="connsiteX239" fmla="*/ 1491943 w 4011840"/>
              <a:gd name="connsiteY239" fmla="*/ 5723153 h 6858285"/>
              <a:gd name="connsiteX240" fmla="*/ 1152849 w 4011840"/>
              <a:gd name="connsiteY240" fmla="*/ 5881664 h 6858285"/>
              <a:gd name="connsiteX241" fmla="*/ 1097603 w 4011840"/>
              <a:gd name="connsiteY241" fmla="*/ 5860656 h 6858285"/>
              <a:gd name="connsiteX242" fmla="*/ 1093793 w 4011840"/>
              <a:gd name="connsiteY242" fmla="*/ 5843468 h 6858285"/>
              <a:gd name="connsiteX243" fmla="*/ 1116653 w 4011840"/>
              <a:gd name="connsiteY243" fmla="*/ 5805273 h 6858285"/>
              <a:gd name="connsiteX244" fmla="*/ 1455747 w 4011840"/>
              <a:gd name="connsiteY244" fmla="*/ 5646762 h 6858285"/>
              <a:gd name="connsiteX245" fmla="*/ 1487895 w 4011840"/>
              <a:gd name="connsiteY245" fmla="*/ 5644852 h 6858285"/>
              <a:gd name="connsiteX246" fmla="*/ 2025802 w 4011840"/>
              <a:gd name="connsiteY246" fmla="*/ 5631125 h 6858285"/>
              <a:gd name="connsiteX247" fmla="*/ 2066916 w 4011840"/>
              <a:gd name="connsiteY247" fmla="*/ 5654878 h 6858285"/>
              <a:gd name="connsiteX248" fmla="*/ 2045894 w 4011840"/>
              <a:gd name="connsiteY248" fmla="*/ 5711813 h 6858285"/>
              <a:gd name="connsiteX249" fmla="*/ 1705799 w 4011840"/>
              <a:gd name="connsiteY249" fmla="*/ 5867437 h 6858285"/>
              <a:gd name="connsiteX250" fmla="*/ 1648480 w 4011840"/>
              <a:gd name="connsiteY250" fmla="*/ 5846560 h 6858285"/>
              <a:gd name="connsiteX251" fmla="*/ 1644659 w 4011840"/>
              <a:gd name="connsiteY251" fmla="*/ 5829480 h 6858285"/>
              <a:gd name="connsiteX252" fmla="*/ 1669497 w 4011840"/>
              <a:gd name="connsiteY252" fmla="*/ 5789625 h 6858285"/>
              <a:gd name="connsiteX253" fmla="*/ 2009592 w 4011840"/>
              <a:gd name="connsiteY253" fmla="*/ 5635900 h 6858285"/>
              <a:gd name="connsiteX254" fmla="*/ 2025802 w 4011840"/>
              <a:gd name="connsiteY254" fmla="*/ 5631125 h 6858285"/>
              <a:gd name="connsiteX255" fmla="*/ 3732520 w 4011840"/>
              <a:gd name="connsiteY255" fmla="*/ 5620418 h 6858285"/>
              <a:gd name="connsiteX256" fmla="*/ 3756078 w 4011840"/>
              <a:gd name="connsiteY256" fmla="*/ 5642408 h 6858285"/>
              <a:gd name="connsiteX257" fmla="*/ 3735138 w 4011840"/>
              <a:gd name="connsiteY257" fmla="*/ 5699775 h 6858285"/>
              <a:gd name="connsiteX258" fmla="*/ 3396308 w 4011840"/>
              <a:gd name="connsiteY258" fmla="*/ 5854665 h 6858285"/>
              <a:gd name="connsiteX259" fmla="*/ 3339199 w 4011840"/>
              <a:gd name="connsiteY259" fmla="*/ 5833630 h 6858285"/>
              <a:gd name="connsiteX260" fmla="*/ 3335390 w 4011840"/>
              <a:gd name="connsiteY260" fmla="*/ 5814508 h 6858285"/>
              <a:gd name="connsiteX261" fmla="*/ 3360135 w 4011840"/>
              <a:gd name="connsiteY261" fmla="*/ 5776264 h 6858285"/>
              <a:gd name="connsiteX262" fmla="*/ 3698968 w 4011840"/>
              <a:gd name="connsiteY262" fmla="*/ 5621374 h 6858285"/>
              <a:gd name="connsiteX263" fmla="*/ 3732520 w 4011840"/>
              <a:gd name="connsiteY263" fmla="*/ 5620418 h 6858285"/>
              <a:gd name="connsiteX264" fmla="*/ 2598306 w 4011840"/>
              <a:gd name="connsiteY264" fmla="*/ 5620418 h 6858285"/>
              <a:gd name="connsiteX265" fmla="*/ 2622577 w 4011840"/>
              <a:gd name="connsiteY265" fmla="*/ 5642408 h 6858285"/>
              <a:gd name="connsiteX266" fmla="*/ 2601638 w 4011840"/>
              <a:gd name="connsiteY266" fmla="*/ 5699775 h 6858285"/>
              <a:gd name="connsiteX267" fmla="*/ 2262794 w 4011840"/>
              <a:gd name="connsiteY267" fmla="*/ 5854665 h 6858285"/>
              <a:gd name="connsiteX268" fmla="*/ 2205686 w 4011840"/>
              <a:gd name="connsiteY268" fmla="*/ 5833630 h 6858285"/>
              <a:gd name="connsiteX269" fmla="*/ 2201879 w 4011840"/>
              <a:gd name="connsiteY269" fmla="*/ 5814508 h 6858285"/>
              <a:gd name="connsiteX270" fmla="*/ 2226626 w 4011840"/>
              <a:gd name="connsiteY270" fmla="*/ 5776264 h 6858285"/>
              <a:gd name="connsiteX271" fmla="*/ 2565468 w 4011840"/>
              <a:gd name="connsiteY271" fmla="*/ 5621374 h 6858285"/>
              <a:gd name="connsiteX272" fmla="*/ 2598306 w 4011840"/>
              <a:gd name="connsiteY272" fmla="*/ 5620418 h 6858285"/>
              <a:gd name="connsiteX273" fmla="*/ 3160334 w 4011840"/>
              <a:gd name="connsiteY273" fmla="*/ 5609262 h 6858285"/>
              <a:gd name="connsiteX274" fmla="*/ 3184589 w 4011840"/>
              <a:gd name="connsiteY274" fmla="*/ 5631142 h 6858285"/>
              <a:gd name="connsiteX275" fmla="*/ 3161758 w 4011840"/>
              <a:gd name="connsiteY275" fmla="*/ 5688219 h 6858285"/>
              <a:gd name="connsiteX276" fmla="*/ 2823162 w 4011840"/>
              <a:gd name="connsiteY276" fmla="*/ 5840426 h 6858285"/>
              <a:gd name="connsiteX277" fmla="*/ 2766094 w 4011840"/>
              <a:gd name="connsiteY277" fmla="*/ 5817595 h 6858285"/>
              <a:gd name="connsiteX278" fmla="*/ 2762292 w 4011840"/>
              <a:gd name="connsiteY278" fmla="*/ 5800472 h 6858285"/>
              <a:gd name="connsiteX279" fmla="*/ 2787018 w 4011840"/>
              <a:gd name="connsiteY279" fmla="*/ 5760517 h 6858285"/>
              <a:gd name="connsiteX280" fmla="*/ 3127521 w 4011840"/>
              <a:gd name="connsiteY280" fmla="*/ 5610214 h 6858285"/>
              <a:gd name="connsiteX281" fmla="*/ 3160334 w 4011840"/>
              <a:gd name="connsiteY281" fmla="*/ 5609262 h 6858285"/>
              <a:gd name="connsiteX282" fmla="*/ 4011840 w 4011840"/>
              <a:gd name="connsiteY282" fmla="*/ 5423585 h 6858285"/>
              <a:gd name="connsiteX283" fmla="*/ 4011840 w 4011840"/>
              <a:gd name="connsiteY283" fmla="*/ 5518922 h 6858285"/>
              <a:gd name="connsiteX284" fmla="*/ 3958460 w 4011840"/>
              <a:gd name="connsiteY284" fmla="*/ 5541963 h 6858285"/>
              <a:gd name="connsiteX285" fmla="*/ 3901184 w 4011840"/>
              <a:gd name="connsiteY285" fmla="*/ 5519103 h 6858285"/>
              <a:gd name="connsiteX286" fmla="*/ 3897364 w 4011840"/>
              <a:gd name="connsiteY286" fmla="*/ 5501958 h 6858285"/>
              <a:gd name="connsiteX287" fmla="*/ 3924092 w 4011840"/>
              <a:gd name="connsiteY287" fmla="*/ 5461953 h 6858285"/>
              <a:gd name="connsiteX288" fmla="*/ 4007056 w 4011840"/>
              <a:gd name="connsiteY288" fmla="*/ 5425676 h 6858285"/>
              <a:gd name="connsiteX289" fmla="*/ 398204 w 4011840"/>
              <a:gd name="connsiteY289" fmla="*/ 5347056 h 6858285"/>
              <a:gd name="connsiteX290" fmla="*/ 422273 w 4011840"/>
              <a:gd name="connsiteY290" fmla="*/ 5367196 h 6858285"/>
              <a:gd name="connsiteX291" fmla="*/ 401302 w 4011840"/>
              <a:gd name="connsiteY291" fmla="*/ 5422166 h 6858285"/>
              <a:gd name="connsiteX292" fmla="*/ 63863 w 4011840"/>
              <a:gd name="connsiteY292" fmla="*/ 5583285 h 6858285"/>
              <a:gd name="connsiteX293" fmla="*/ 8576 w 4011840"/>
              <a:gd name="connsiteY293" fmla="*/ 5564330 h 6858285"/>
              <a:gd name="connsiteX294" fmla="*/ 4763 w 4011840"/>
              <a:gd name="connsiteY294" fmla="*/ 5547270 h 6858285"/>
              <a:gd name="connsiteX295" fmla="*/ 27641 w 4011840"/>
              <a:gd name="connsiteY295" fmla="*/ 5509360 h 6858285"/>
              <a:gd name="connsiteX296" fmla="*/ 366986 w 4011840"/>
              <a:gd name="connsiteY296" fmla="*/ 5348240 h 6858285"/>
              <a:gd name="connsiteX297" fmla="*/ 398204 w 4011840"/>
              <a:gd name="connsiteY297" fmla="*/ 5347056 h 6858285"/>
              <a:gd name="connsiteX298" fmla="*/ 941871 w 4011840"/>
              <a:gd name="connsiteY298" fmla="*/ 5334657 h 6858285"/>
              <a:gd name="connsiteX299" fmla="*/ 965208 w 4011840"/>
              <a:gd name="connsiteY299" fmla="*/ 5356619 h 6858285"/>
              <a:gd name="connsiteX300" fmla="*/ 946158 w 4011840"/>
              <a:gd name="connsiteY300" fmla="*/ 5412003 h 6858285"/>
              <a:gd name="connsiteX301" fmla="*/ 605159 w 4011840"/>
              <a:gd name="connsiteY301" fmla="*/ 5570514 h 6858285"/>
              <a:gd name="connsiteX302" fmla="*/ 549913 w 4011840"/>
              <a:gd name="connsiteY302" fmla="*/ 5549506 h 6858285"/>
              <a:gd name="connsiteX303" fmla="*/ 546103 w 4011840"/>
              <a:gd name="connsiteY303" fmla="*/ 5532318 h 6858285"/>
              <a:gd name="connsiteX304" fmla="*/ 570868 w 4011840"/>
              <a:gd name="connsiteY304" fmla="*/ 5494123 h 6858285"/>
              <a:gd name="connsiteX305" fmla="*/ 909962 w 4011840"/>
              <a:gd name="connsiteY305" fmla="*/ 5335612 h 6858285"/>
              <a:gd name="connsiteX306" fmla="*/ 941871 w 4011840"/>
              <a:gd name="connsiteY306" fmla="*/ 5334657 h 6858285"/>
              <a:gd name="connsiteX307" fmla="*/ 1489585 w 4011840"/>
              <a:gd name="connsiteY307" fmla="*/ 5323794 h 6858285"/>
              <a:gd name="connsiteX308" fmla="*/ 1512904 w 4011840"/>
              <a:gd name="connsiteY308" fmla="*/ 5347457 h 6858285"/>
              <a:gd name="connsiteX309" fmla="*/ 1491964 w 4011840"/>
              <a:gd name="connsiteY309" fmla="*/ 5402912 h 6858285"/>
              <a:gd name="connsiteX310" fmla="*/ 1153121 w 4011840"/>
              <a:gd name="connsiteY310" fmla="*/ 5555889 h 6858285"/>
              <a:gd name="connsiteX311" fmla="*/ 1096012 w 4011840"/>
              <a:gd name="connsiteY311" fmla="*/ 5534855 h 6858285"/>
              <a:gd name="connsiteX312" fmla="*/ 1092205 w 4011840"/>
              <a:gd name="connsiteY312" fmla="*/ 5517645 h 6858285"/>
              <a:gd name="connsiteX313" fmla="*/ 1116952 w 4011840"/>
              <a:gd name="connsiteY313" fmla="*/ 5477488 h 6858285"/>
              <a:gd name="connsiteX314" fmla="*/ 1457699 w 4011840"/>
              <a:gd name="connsiteY314" fmla="*/ 5324511 h 6858285"/>
              <a:gd name="connsiteX315" fmla="*/ 1489585 w 4011840"/>
              <a:gd name="connsiteY315" fmla="*/ 5323794 h 6858285"/>
              <a:gd name="connsiteX316" fmla="*/ 2026929 w 4011840"/>
              <a:gd name="connsiteY316" fmla="*/ 5309969 h 6858285"/>
              <a:gd name="connsiteX317" fmla="*/ 2068518 w 4011840"/>
              <a:gd name="connsiteY317" fmla="*/ 5336223 h 6858285"/>
              <a:gd name="connsiteX318" fmla="*/ 2045619 w 4011840"/>
              <a:gd name="connsiteY318" fmla="*/ 5395278 h 6858285"/>
              <a:gd name="connsiteX319" fmla="*/ 1704121 w 4011840"/>
              <a:gd name="connsiteY319" fmla="*/ 5541963 h 6858285"/>
              <a:gd name="connsiteX320" fmla="*/ 1646887 w 4011840"/>
              <a:gd name="connsiteY320" fmla="*/ 5519103 h 6858285"/>
              <a:gd name="connsiteX321" fmla="*/ 1643071 w 4011840"/>
              <a:gd name="connsiteY321" fmla="*/ 5501958 h 6858285"/>
              <a:gd name="connsiteX322" fmla="*/ 1669781 w 4011840"/>
              <a:gd name="connsiteY322" fmla="*/ 5461953 h 6858285"/>
              <a:gd name="connsiteX323" fmla="*/ 2009371 w 4011840"/>
              <a:gd name="connsiteY323" fmla="*/ 5313363 h 6858285"/>
              <a:gd name="connsiteX324" fmla="*/ 2026929 w 4011840"/>
              <a:gd name="connsiteY324" fmla="*/ 5309969 h 6858285"/>
              <a:gd name="connsiteX325" fmla="*/ 3719258 w 4011840"/>
              <a:gd name="connsiteY325" fmla="*/ 5298894 h 6858285"/>
              <a:gd name="connsiteX326" fmla="*/ 3759236 w 4011840"/>
              <a:gd name="connsiteY326" fmla="*/ 5327059 h 6858285"/>
              <a:gd name="connsiteX327" fmla="*/ 3736336 w 4011840"/>
              <a:gd name="connsiteY327" fmla="*/ 5386191 h 6858285"/>
              <a:gd name="connsiteX328" fmla="*/ 3394855 w 4011840"/>
              <a:gd name="connsiteY328" fmla="*/ 5529250 h 6858285"/>
              <a:gd name="connsiteX329" fmla="*/ 3337618 w 4011840"/>
              <a:gd name="connsiteY329" fmla="*/ 5504453 h 6858285"/>
              <a:gd name="connsiteX330" fmla="*/ 3333804 w 4011840"/>
              <a:gd name="connsiteY330" fmla="*/ 5487286 h 6858285"/>
              <a:gd name="connsiteX331" fmla="*/ 3360513 w 4011840"/>
              <a:gd name="connsiteY331" fmla="*/ 5447229 h 6858285"/>
              <a:gd name="connsiteX332" fmla="*/ 3701998 w 4011840"/>
              <a:gd name="connsiteY332" fmla="*/ 5302262 h 6858285"/>
              <a:gd name="connsiteX333" fmla="*/ 3719258 w 4011840"/>
              <a:gd name="connsiteY333" fmla="*/ 5298894 h 6858285"/>
              <a:gd name="connsiteX334" fmla="*/ 2583547 w 4011840"/>
              <a:gd name="connsiteY334" fmla="*/ 5298894 h 6858285"/>
              <a:gd name="connsiteX335" fmla="*/ 2624178 w 4011840"/>
              <a:gd name="connsiteY335" fmla="*/ 5327059 h 6858285"/>
              <a:gd name="connsiteX336" fmla="*/ 2601368 w 4011840"/>
              <a:gd name="connsiteY336" fmla="*/ 5386191 h 6858285"/>
              <a:gd name="connsiteX337" fmla="*/ 2261117 w 4011840"/>
              <a:gd name="connsiteY337" fmla="*/ 5529250 h 6858285"/>
              <a:gd name="connsiteX338" fmla="*/ 2204092 w 4011840"/>
              <a:gd name="connsiteY338" fmla="*/ 5504453 h 6858285"/>
              <a:gd name="connsiteX339" fmla="*/ 2200290 w 4011840"/>
              <a:gd name="connsiteY339" fmla="*/ 5487286 h 6858285"/>
              <a:gd name="connsiteX340" fmla="*/ 2226902 w 4011840"/>
              <a:gd name="connsiteY340" fmla="*/ 5447229 h 6858285"/>
              <a:gd name="connsiteX341" fmla="*/ 2567153 w 4011840"/>
              <a:gd name="connsiteY341" fmla="*/ 5302262 h 6858285"/>
              <a:gd name="connsiteX342" fmla="*/ 2583547 w 4011840"/>
              <a:gd name="connsiteY342" fmla="*/ 5298894 h 6858285"/>
              <a:gd name="connsiteX343" fmla="*/ 3161733 w 4011840"/>
              <a:gd name="connsiteY343" fmla="*/ 5292225 h 6858285"/>
              <a:gd name="connsiteX344" fmla="*/ 3186188 w 4011840"/>
              <a:gd name="connsiteY344" fmla="*/ 5317400 h 6858285"/>
              <a:gd name="connsiteX345" fmla="*/ 3161495 w 4011840"/>
              <a:gd name="connsiteY345" fmla="*/ 5376300 h 6858285"/>
              <a:gd name="connsiteX346" fmla="*/ 2821486 w 4011840"/>
              <a:gd name="connsiteY346" fmla="*/ 5515000 h 6858285"/>
              <a:gd name="connsiteX347" fmla="*/ 2762604 w 4011840"/>
              <a:gd name="connsiteY347" fmla="*/ 5488400 h 6858285"/>
              <a:gd name="connsiteX348" fmla="*/ 2760705 w 4011840"/>
              <a:gd name="connsiteY348" fmla="*/ 5471300 h 6858285"/>
              <a:gd name="connsiteX349" fmla="*/ 2787298 w 4011840"/>
              <a:gd name="connsiteY349" fmla="*/ 5429500 h 6858285"/>
              <a:gd name="connsiteX350" fmla="*/ 3127305 w 4011840"/>
              <a:gd name="connsiteY350" fmla="*/ 5292700 h 6858285"/>
              <a:gd name="connsiteX351" fmla="*/ 3161733 w 4011840"/>
              <a:gd name="connsiteY351" fmla="*/ 5292225 h 6858285"/>
              <a:gd name="connsiteX352" fmla="*/ 4011840 w 4011840"/>
              <a:gd name="connsiteY352" fmla="*/ 5097617 h 6858285"/>
              <a:gd name="connsiteX353" fmla="*/ 4011840 w 4011840"/>
              <a:gd name="connsiteY353" fmla="*/ 5195949 h 6858285"/>
              <a:gd name="connsiteX354" fmla="*/ 3958692 w 4011840"/>
              <a:gd name="connsiteY354" fmla="*/ 5218087 h 6858285"/>
              <a:gd name="connsiteX355" fmla="*/ 3899590 w 4011840"/>
              <a:gd name="connsiteY355" fmla="*/ 5193257 h 6858285"/>
              <a:gd name="connsiteX356" fmla="*/ 3895780 w 4011840"/>
              <a:gd name="connsiteY356" fmla="*/ 5176068 h 6858285"/>
              <a:gd name="connsiteX357" fmla="*/ 3924374 w 4011840"/>
              <a:gd name="connsiteY357" fmla="*/ 5134049 h 6858285"/>
              <a:gd name="connsiteX358" fmla="*/ 4007216 w 4011840"/>
              <a:gd name="connsiteY358" fmla="*/ 5099543 h 6858285"/>
              <a:gd name="connsiteX359" fmla="*/ 398945 w 4011840"/>
              <a:gd name="connsiteY359" fmla="*/ 5024845 h 6858285"/>
              <a:gd name="connsiteX360" fmla="*/ 422281 w 4011840"/>
              <a:gd name="connsiteY360" fmla="*/ 5045110 h 6858285"/>
              <a:gd name="connsiteX361" fmla="*/ 401326 w 4011840"/>
              <a:gd name="connsiteY361" fmla="*/ 5100424 h 6858285"/>
              <a:gd name="connsiteX362" fmla="*/ 62232 w 4011840"/>
              <a:gd name="connsiteY362" fmla="*/ 5262551 h 6858285"/>
              <a:gd name="connsiteX363" fmla="*/ 8891 w 4011840"/>
              <a:gd name="connsiteY363" fmla="*/ 5241570 h 6858285"/>
              <a:gd name="connsiteX364" fmla="*/ 3176 w 4011840"/>
              <a:gd name="connsiteY364" fmla="*/ 5224403 h 6858285"/>
              <a:gd name="connsiteX365" fmla="*/ 27941 w 4011840"/>
              <a:gd name="connsiteY365" fmla="*/ 5186256 h 6858285"/>
              <a:gd name="connsiteX366" fmla="*/ 367036 w 4011840"/>
              <a:gd name="connsiteY366" fmla="*/ 5026037 h 6858285"/>
              <a:gd name="connsiteX367" fmla="*/ 398945 w 4011840"/>
              <a:gd name="connsiteY367" fmla="*/ 5024845 h 6858285"/>
              <a:gd name="connsiteX368" fmla="*/ 942531 w 4011840"/>
              <a:gd name="connsiteY368" fmla="*/ 5014175 h 6858285"/>
              <a:gd name="connsiteX369" fmla="*/ 966802 w 4011840"/>
              <a:gd name="connsiteY369" fmla="*/ 5037690 h 6858285"/>
              <a:gd name="connsiteX370" fmla="*/ 945862 w 4011840"/>
              <a:gd name="connsiteY370" fmla="*/ 5092795 h 6858285"/>
              <a:gd name="connsiteX371" fmla="*/ 605115 w 4011840"/>
              <a:gd name="connsiteY371" fmla="*/ 5246711 h 6858285"/>
              <a:gd name="connsiteX372" fmla="*/ 549910 w 4011840"/>
              <a:gd name="connsiteY372" fmla="*/ 5225809 h 6858285"/>
              <a:gd name="connsiteX373" fmla="*/ 546103 w 4011840"/>
              <a:gd name="connsiteY373" fmla="*/ 5208707 h 6858285"/>
              <a:gd name="connsiteX374" fmla="*/ 570850 w 4011840"/>
              <a:gd name="connsiteY374" fmla="*/ 5168803 h 6858285"/>
              <a:gd name="connsiteX375" fmla="*/ 909693 w 4011840"/>
              <a:gd name="connsiteY375" fmla="*/ 5014888 h 6858285"/>
              <a:gd name="connsiteX376" fmla="*/ 942531 w 4011840"/>
              <a:gd name="connsiteY376" fmla="*/ 5014175 h 6858285"/>
              <a:gd name="connsiteX377" fmla="*/ 1491734 w 4011840"/>
              <a:gd name="connsiteY377" fmla="*/ 5004627 h 6858285"/>
              <a:gd name="connsiteX378" fmla="*/ 1516059 w 4011840"/>
              <a:gd name="connsiteY378" fmla="*/ 5028079 h 6858285"/>
              <a:gd name="connsiteX379" fmla="*/ 1493165 w 4011840"/>
              <a:gd name="connsiteY379" fmla="*/ 5084934 h 6858285"/>
              <a:gd name="connsiteX380" fmla="*/ 1153575 w 4011840"/>
              <a:gd name="connsiteY380" fmla="*/ 5230861 h 6858285"/>
              <a:gd name="connsiteX381" fmla="*/ 1094433 w 4011840"/>
              <a:gd name="connsiteY381" fmla="*/ 5208119 h 6858285"/>
              <a:gd name="connsiteX382" fmla="*/ 1090618 w 4011840"/>
              <a:gd name="connsiteY382" fmla="*/ 5191063 h 6858285"/>
              <a:gd name="connsiteX383" fmla="*/ 1117327 w 4011840"/>
              <a:gd name="connsiteY383" fmla="*/ 5151264 h 6858285"/>
              <a:gd name="connsiteX384" fmla="*/ 1458825 w 4011840"/>
              <a:gd name="connsiteY384" fmla="*/ 5005338 h 6858285"/>
              <a:gd name="connsiteX385" fmla="*/ 1491734 w 4011840"/>
              <a:gd name="connsiteY385" fmla="*/ 5004627 h 6858285"/>
              <a:gd name="connsiteX386" fmla="*/ 2028590 w 4011840"/>
              <a:gd name="connsiteY386" fmla="*/ 4989339 h 6858285"/>
              <a:gd name="connsiteX387" fmla="*/ 2070119 w 4011840"/>
              <a:gd name="connsiteY387" fmla="*/ 5017541 h 6858285"/>
              <a:gd name="connsiteX388" fmla="*/ 2045349 w 4011840"/>
              <a:gd name="connsiteY388" fmla="*/ 5076750 h 6858285"/>
              <a:gd name="connsiteX389" fmla="*/ 1704349 w 4011840"/>
              <a:gd name="connsiteY389" fmla="*/ 5218087 h 6858285"/>
              <a:gd name="connsiteX390" fmla="*/ 1645293 w 4011840"/>
              <a:gd name="connsiteY390" fmla="*/ 5193257 h 6858285"/>
              <a:gd name="connsiteX391" fmla="*/ 1641483 w 4011840"/>
              <a:gd name="connsiteY391" fmla="*/ 5176068 h 6858285"/>
              <a:gd name="connsiteX392" fmla="*/ 1670059 w 4011840"/>
              <a:gd name="connsiteY392" fmla="*/ 5134049 h 6858285"/>
              <a:gd name="connsiteX393" fmla="*/ 2011058 w 4011840"/>
              <a:gd name="connsiteY393" fmla="*/ 4992712 h 6858285"/>
              <a:gd name="connsiteX394" fmla="*/ 2028590 w 4011840"/>
              <a:gd name="connsiteY394" fmla="*/ 4989339 h 6858285"/>
              <a:gd name="connsiteX395" fmla="*/ 3720408 w 4011840"/>
              <a:gd name="connsiteY395" fmla="*/ 4979828 h 6858285"/>
              <a:gd name="connsiteX396" fmla="*/ 3762740 w 4011840"/>
              <a:gd name="connsiteY396" fmla="*/ 5009832 h 6858285"/>
              <a:gd name="connsiteX397" fmla="*/ 3736068 w 4011840"/>
              <a:gd name="connsiteY397" fmla="*/ 5068887 h 6858285"/>
              <a:gd name="connsiteX398" fmla="*/ 3395084 w 4011840"/>
              <a:gd name="connsiteY398" fmla="*/ 5202237 h 6858285"/>
              <a:gd name="connsiteX399" fmla="*/ 3334121 w 4011840"/>
              <a:gd name="connsiteY399" fmla="*/ 5175567 h 6858285"/>
              <a:gd name="connsiteX400" fmla="*/ 3332215 w 4011840"/>
              <a:gd name="connsiteY400" fmla="*/ 5158422 h 6858285"/>
              <a:gd name="connsiteX401" fmla="*/ 3360792 w 4011840"/>
              <a:gd name="connsiteY401" fmla="*/ 5116512 h 6858285"/>
              <a:gd name="connsiteX402" fmla="*/ 3701776 w 4011840"/>
              <a:gd name="connsiteY402" fmla="*/ 4983162 h 6858285"/>
              <a:gd name="connsiteX403" fmla="*/ 3720408 w 4011840"/>
              <a:gd name="connsiteY403" fmla="*/ 4979828 h 6858285"/>
              <a:gd name="connsiteX404" fmla="*/ 2585923 w 4011840"/>
              <a:gd name="connsiteY404" fmla="*/ 4979828 h 6858285"/>
              <a:gd name="connsiteX405" fmla="*/ 2629210 w 4011840"/>
              <a:gd name="connsiteY405" fmla="*/ 5009832 h 6858285"/>
              <a:gd name="connsiteX406" fmla="*/ 2602444 w 4011840"/>
              <a:gd name="connsiteY406" fmla="*/ 5068887 h 6858285"/>
              <a:gd name="connsiteX407" fmla="*/ 2260209 w 4011840"/>
              <a:gd name="connsiteY407" fmla="*/ 5202237 h 6858285"/>
              <a:gd name="connsiteX408" fmla="*/ 2199027 w 4011840"/>
              <a:gd name="connsiteY408" fmla="*/ 5175567 h 6858285"/>
              <a:gd name="connsiteX409" fmla="*/ 2197115 w 4011840"/>
              <a:gd name="connsiteY409" fmla="*/ 5158422 h 6858285"/>
              <a:gd name="connsiteX410" fmla="*/ 2225794 w 4011840"/>
              <a:gd name="connsiteY410" fmla="*/ 5116512 h 6858285"/>
              <a:gd name="connsiteX411" fmla="*/ 2568028 w 4011840"/>
              <a:gd name="connsiteY411" fmla="*/ 4983162 h 6858285"/>
              <a:gd name="connsiteX412" fmla="*/ 2585923 w 4011840"/>
              <a:gd name="connsiteY412" fmla="*/ 4979828 h 6858285"/>
              <a:gd name="connsiteX413" fmla="*/ 3148522 w 4011840"/>
              <a:gd name="connsiteY413" fmla="*/ 4969031 h 6858285"/>
              <a:gd name="connsiteX414" fmla="*/ 3190913 w 4011840"/>
              <a:gd name="connsiteY414" fmla="*/ 5000728 h 6858285"/>
              <a:gd name="connsiteX415" fmla="*/ 3162293 w 4011840"/>
              <a:gd name="connsiteY415" fmla="*/ 5061853 h 6858285"/>
              <a:gd name="connsiteX416" fmla="*/ 2820804 w 4011840"/>
              <a:gd name="connsiteY416" fmla="*/ 5187924 h 6858285"/>
              <a:gd name="connsiteX417" fmla="*/ 2759756 w 4011840"/>
              <a:gd name="connsiteY417" fmla="*/ 5161182 h 6858285"/>
              <a:gd name="connsiteX418" fmla="*/ 2755940 w 4011840"/>
              <a:gd name="connsiteY418" fmla="*/ 5143990 h 6858285"/>
              <a:gd name="connsiteX419" fmla="*/ 2788374 w 4011840"/>
              <a:gd name="connsiteY419" fmla="*/ 5098146 h 6858285"/>
              <a:gd name="connsiteX420" fmla="*/ 3129862 w 4011840"/>
              <a:gd name="connsiteY420" fmla="*/ 4972076 h 6858285"/>
              <a:gd name="connsiteX421" fmla="*/ 3148522 w 4011840"/>
              <a:gd name="connsiteY421" fmla="*/ 4969031 h 6858285"/>
              <a:gd name="connsiteX422" fmla="*/ 4011840 w 4011840"/>
              <a:gd name="connsiteY422" fmla="*/ 4771408 h 6858285"/>
              <a:gd name="connsiteX423" fmla="*/ 4011840 w 4011840"/>
              <a:gd name="connsiteY423" fmla="*/ 4871523 h 6858285"/>
              <a:gd name="connsiteX424" fmla="*/ 3957012 w 4011840"/>
              <a:gd name="connsiteY424" fmla="*/ 4892674 h 6858285"/>
              <a:gd name="connsiteX425" fmla="*/ 3897996 w 4011840"/>
              <a:gd name="connsiteY425" fmla="*/ 4866004 h 6858285"/>
              <a:gd name="connsiteX426" fmla="*/ 3894188 w 4011840"/>
              <a:gd name="connsiteY426" fmla="*/ 4848859 h 6858285"/>
              <a:gd name="connsiteX427" fmla="*/ 3924648 w 4011840"/>
              <a:gd name="connsiteY427" fmla="*/ 4805044 h 6858285"/>
              <a:gd name="connsiteX428" fmla="*/ 4007834 w 4011840"/>
              <a:gd name="connsiteY428" fmla="*/ 4772953 h 6858285"/>
              <a:gd name="connsiteX429" fmla="*/ 398944 w 4011840"/>
              <a:gd name="connsiteY429" fmla="*/ 4701876 h 6858285"/>
              <a:gd name="connsiteX430" fmla="*/ 422281 w 4011840"/>
              <a:gd name="connsiteY430" fmla="*/ 4722883 h 6858285"/>
              <a:gd name="connsiteX431" fmla="*/ 401326 w 4011840"/>
              <a:gd name="connsiteY431" fmla="*/ 4778267 h 6858285"/>
              <a:gd name="connsiteX432" fmla="*/ 62232 w 4011840"/>
              <a:gd name="connsiteY432" fmla="*/ 4938688 h 6858285"/>
              <a:gd name="connsiteX433" fmla="*/ 6986 w 4011840"/>
              <a:gd name="connsiteY433" fmla="*/ 4919590 h 6858285"/>
              <a:gd name="connsiteX434" fmla="*/ 3176 w 4011840"/>
              <a:gd name="connsiteY434" fmla="*/ 4900492 h 6858285"/>
              <a:gd name="connsiteX435" fmla="*/ 27941 w 4011840"/>
              <a:gd name="connsiteY435" fmla="*/ 4864207 h 6858285"/>
              <a:gd name="connsiteX436" fmla="*/ 367035 w 4011840"/>
              <a:gd name="connsiteY436" fmla="*/ 4703786 h 6858285"/>
              <a:gd name="connsiteX437" fmla="*/ 398944 w 4011840"/>
              <a:gd name="connsiteY437" fmla="*/ 4701876 h 6858285"/>
              <a:gd name="connsiteX438" fmla="*/ 943147 w 4011840"/>
              <a:gd name="connsiteY438" fmla="*/ 4693284 h 6858285"/>
              <a:gd name="connsiteX439" fmla="*/ 966774 w 4011840"/>
              <a:gd name="connsiteY439" fmla="*/ 4715192 h 6858285"/>
              <a:gd name="connsiteX440" fmla="*/ 945772 w 4011840"/>
              <a:gd name="connsiteY440" fmla="*/ 4772342 h 6858285"/>
              <a:gd name="connsiteX441" fmla="*/ 604023 w 4011840"/>
              <a:gd name="connsiteY441" fmla="*/ 4922837 h 6858285"/>
              <a:gd name="connsiteX442" fmla="*/ 546746 w 4011840"/>
              <a:gd name="connsiteY442" fmla="*/ 4901882 h 6858285"/>
              <a:gd name="connsiteX443" fmla="*/ 542928 w 4011840"/>
              <a:gd name="connsiteY443" fmla="*/ 4882832 h 6858285"/>
              <a:gd name="connsiteX444" fmla="*/ 569657 w 4011840"/>
              <a:gd name="connsiteY444" fmla="*/ 4842827 h 6858285"/>
              <a:gd name="connsiteX445" fmla="*/ 909497 w 4011840"/>
              <a:gd name="connsiteY445" fmla="*/ 4694237 h 6858285"/>
              <a:gd name="connsiteX446" fmla="*/ 943147 w 4011840"/>
              <a:gd name="connsiteY446" fmla="*/ 4693284 h 6858285"/>
              <a:gd name="connsiteX447" fmla="*/ 1476099 w 4011840"/>
              <a:gd name="connsiteY447" fmla="*/ 4679736 h 6858285"/>
              <a:gd name="connsiteX448" fmla="*/ 1517653 w 4011840"/>
              <a:gd name="connsiteY448" fmla="*/ 4707755 h 6858285"/>
              <a:gd name="connsiteX449" fmla="*/ 1492870 w 4011840"/>
              <a:gd name="connsiteY449" fmla="*/ 4766579 h 6858285"/>
              <a:gd name="connsiteX450" fmla="*/ 1151623 w 4011840"/>
              <a:gd name="connsiteY450" fmla="*/ 4906999 h 6858285"/>
              <a:gd name="connsiteX451" fmla="*/ 1094430 w 4011840"/>
              <a:gd name="connsiteY451" fmla="*/ 4882331 h 6858285"/>
              <a:gd name="connsiteX452" fmla="*/ 1090618 w 4011840"/>
              <a:gd name="connsiteY452" fmla="*/ 4865253 h 6858285"/>
              <a:gd name="connsiteX453" fmla="*/ 1117307 w 4011840"/>
              <a:gd name="connsiteY453" fmla="*/ 4823506 h 6858285"/>
              <a:gd name="connsiteX454" fmla="*/ 1458554 w 4011840"/>
              <a:gd name="connsiteY454" fmla="*/ 4683087 h 6858285"/>
              <a:gd name="connsiteX455" fmla="*/ 1476099 w 4011840"/>
              <a:gd name="connsiteY455" fmla="*/ 4679736 h 6858285"/>
              <a:gd name="connsiteX456" fmla="*/ 2029448 w 4011840"/>
              <a:gd name="connsiteY456" fmla="*/ 4670533 h 6858285"/>
              <a:gd name="connsiteX457" fmla="*/ 2071719 w 4011840"/>
              <a:gd name="connsiteY457" fmla="*/ 4700269 h 6858285"/>
              <a:gd name="connsiteX458" fmla="*/ 2045082 w 4011840"/>
              <a:gd name="connsiteY458" fmla="*/ 4761229 h 6858285"/>
              <a:gd name="connsiteX459" fmla="*/ 1704573 w 4011840"/>
              <a:gd name="connsiteY459" fmla="*/ 4892674 h 6858285"/>
              <a:gd name="connsiteX460" fmla="*/ 1643700 w 4011840"/>
              <a:gd name="connsiteY460" fmla="*/ 4866004 h 6858285"/>
              <a:gd name="connsiteX461" fmla="*/ 1639895 w 4011840"/>
              <a:gd name="connsiteY461" fmla="*/ 4848859 h 6858285"/>
              <a:gd name="connsiteX462" fmla="*/ 1670332 w 4011840"/>
              <a:gd name="connsiteY462" fmla="*/ 4805044 h 6858285"/>
              <a:gd name="connsiteX463" fmla="*/ 2010841 w 4011840"/>
              <a:gd name="connsiteY463" fmla="*/ 4673599 h 6858285"/>
              <a:gd name="connsiteX464" fmla="*/ 2029448 w 4011840"/>
              <a:gd name="connsiteY464" fmla="*/ 4670533 h 6858285"/>
              <a:gd name="connsiteX465" fmla="*/ 3720840 w 4011840"/>
              <a:gd name="connsiteY465" fmla="*/ 4661020 h 6858285"/>
              <a:gd name="connsiteX466" fmla="*/ 3764004 w 4011840"/>
              <a:gd name="connsiteY466" fmla="*/ 4692545 h 6858285"/>
              <a:gd name="connsiteX467" fmla="*/ 3735408 w 4011840"/>
              <a:gd name="connsiteY467" fmla="*/ 4755238 h 6858285"/>
              <a:gd name="connsiteX468" fmla="*/ 3392273 w 4011840"/>
              <a:gd name="connsiteY468" fmla="*/ 4876825 h 6858285"/>
              <a:gd name="connsiteX469" fmla="*/ 3331265 w 4011840"/>
              <a:gd name="connsiteY469" fmla="*/ 4848328 h 6858285"/>
              <a:gd name="connsiteX470" fmla="*/ 3327453 w 4011840"/>
              <a:gd name="connsiteY470" fmla="*/ 4831230 h 6858285"/>
              <a:gd name="connsiteX471" fmla="*/ 3359861 w 4011840"/>
              <a:gd name="connsiteY471" fmla="*/ 4785635 h 6858285"/>
              <a:gd name="connsiteX472" fmla="*/ 3701092 w 4011840"/>
              <a:gd name="connsiteY472" fmla="*/ 4664048 h 6858285"/>
              <a:gd name="connsiteX473" fmla="*/ 3720840 w 4011840"/>
              <a:gd name="connsiteY473" fmla="*/ 4661020 h 6858285"/>
              <a:gd name="connsiteX474" fmla="*/ 2587339 w 4011840"/>
              <a:gd name="connsiteY474" fmla="*/ 4661020 h 6858285"/>
              <a:gd name="connsiteX475" fmla="*/ 2630501 w 4011840"/>
              <a:gd name="connsiteY475" fmla="*/ 4692545 h 6858285"/>
              <a:gd name="connsiteX476" fmla="*/ 2601905 w 4011840"/>
              <a:gd name="connsiteY476" fmla="*/ 4755238 h 6858285"/>
              <a:gd name="connsiteX477" fmla="*/ 2258757 w 4011840"/>
              <a:gd name="connsiteY477" fmla="*/ 4876825 h 6858285"/>
              <a:gd name="connsiteX478" fmla="*/ 2197753 w 4011840"/>
              <a:gd name="connsiteY478" fmla="*/ 4848328 h 6858285"/>
              <a:gd name="connsiteX479" fmla="*/ 2193940 w 4011840"/>
              <a:gd name="connsiteY479" fmla="*/ 4831230 h 6858285"/>
              <a:gd name="connsiteX480" fmla="*/ 2226348 w 4011840"/>
              <a:gd name="connsiteY480" fmla="*/ 4785635 h 6858285"/>
              <a:gd name="connsiteX481" fmla="*/ 2567590 w 4011840"/>
              <a:gd name="connsiteY481" fmla="*/ 4664048 h 6858285"/>
              <a:gd name="connsiteX482" fmla="*/ 2587339 w 4011840"/>
              <a:gd name="connsiteY482" fmla="*/ 4661020 h 6858285"/>
              <a:gd name="connsiteX483" fmla="*/ 3149675 w 4011840"/>
              <a:gd name="connsiteY483" fmla="*/ 4651820 h 6858285"/>
              <a:gd name="connsiteX484" fmla="*/ 3194414 w 4011840"/>
              <a:gd name="connsiteY484" fmla="*/ 4685085 h 6858285"/>
              <a:gd name="connsiteX485" fmla="*/ 3162027 w 4011840"/>
              <a:gd name="connsiteY485" fmla="*/ 4748038 h 6858285"/>
              <a:gd name="connsiteX486" fmla="*/ 2819126 w 4011840"/>
              <a:gd name="connsiteY486" fmla="*/ 4862498 h 6858285"/>
              <a:gd name="connsiteX487" fmla="*/ 2756258 w 4011840"/>
              <a:gd name="connsiteY487" fmla="*/ 4830068 h 6858285"/>
              <a:gd name="connsiteX488" fmla="*/ 2754353 w 4011840"/>
              <a:gd name="connsiteY488" fmla="*/ 4814807 h 6858285"/>
              <a:gd name="connsiteX489" fmla="*/ 2788646 w 4011840"/>
              <a:gd name="connsiteY489" fmla="*/ 4767115 h 6858285"/>
              <a:gd name="connsiteX490" fmla="*/ 3129644 w 4011840"/>
              <a:gd name="connsiteY490" fmla="*/ 4654562 h 6858285"/>
              <a:gd name="connsiteX491" fmla="*/ 3149675 w 4011840"/>
              <a:gd name="connsiteY491" fmla="*/ 4651820 h 6858285"/>
              <a:gd name="connsiteX492" fmla="*/ 4011840 w 4011840"/>
              <a:gd name="connsiteY492" fmla="*/ 4445533 h 6858285"/>
              <a:gd name="connsiteX493" fmla="*/ 4011840 w 4011840"/>
              <a:gd name="connsiteY493" fmla="*/ 4548851 h 6858285"/>
              <a:gd name="connsiteX494" fmla="*/ 3957236 w 4011840"/>
              <a:gd name="connsiteY494" fmla="*/ 4569111 h 6858285"/>
              <a:gd name="connsiteX495" fmla="*/ 3896404 w 4011840"/>
              <a:gd name="connsiteY495" fmla="*/ 4538506 h 6858285"/>
              <a:gd name="connsiteX496" fmla="*/ 3892602 w 4011840"/>
              <a:gd name="connsiteY496" fmla="*/ 4523203 h 6858285"/>
              <a:gd name="connsiteX497" fmla="*/ 3924918 w 4011840"/>
              <a:gd name="connsiteY497" fmla="*/ 4477296 h 6858285"/>
              <a:gd name="connsiteX498" fmla="*/ 4007986 w 4011840"/>
              <a:gd name="connsiteY498" fmla="*/ 4446942 h 6858285"/>
              <a:gd name="connsiteX499" fmla="*/ 398944 w 4011840"/>
              <a:gd name="connsiteY499" fmla="*/ 4379613 h 6858285"/>
              <a:gd name="connsiteX500" fmla="*/ 422281 w 4011840"/>
              <a:gd name="connsiteY500" fmla="*/ 4400620 h 6858285"/>
              <a:gd name="connsiteX501" fmla="*/ 401326 w 4011840"/>
              <a:gd name="connsiteY501" fmla="*/ 4456004 h 6858285"/>
              <a:gd name="connsiteX502" fmla="*/ 62232 w 4011840"/>
              <a:gd name="connsiteY502" fmla="*/ 4616425 h 6858285"/>
              <a:gd name="connsiteX503" fmla="*/ 6986 w 4011840"/>
              <a:gd name="connsiteY503" fmla="*/ 4595417 h 6858285"/>
              <a:gd name="connsiteX504" fmla="*/ 3176 w 4011840"/>
              <a:gd name="connsiteY504" fmla="*/ 4578229 h 6858285"/>
              <a:gd name="connsiteX505" fmla="*/ 27941 w 4011840"/>
              <a:gd name="connsiteY505" fmla="*/ 4540034 h 6858285"/>
              <a:gd name="connsiteX506" fmla="*/ 367035 w 4011840"/>
              <a:gd name="connsiteY506" fmla="*/ 4381523 h 6858285"/>
              <a:gd name="connsiteX507" fmla="*/ 398944 w 4011840"/>
              <a:gd name="connsiteY507" fmla="*/ 4379613 h 6858285"/>
              <a:gd name="connsiteX508" fmla="*/ 943805 w 4011840"/>
              <a:gd name="connsiteY508" fmla="*/ 4371271 h 6858285"/>
              <a:gd name="connsiteX509" fmla="*/ 968368 w 4011840"/>
              <a:gd name="connsiteY509" fmla="*/ 4394876 h 6858285"/>
              <a:gd name="connsiteX510" fmla="*/ 945475 w 4011840"/>
              <a:gd name="connsiteY510" fmla="*/ 4452100 h 6858285"/>
              <a:gd name="connsiteX511" fmla="*/ 603977 w 4011840"/>
              <a:gd name="connsiteY511" fmla="*/ 4598974 h 6858285"/>
              <a:gd name="connsiteX512" fmla="*/ 546743 w 4011840"/>
              <a:gd name="connsiteY512" fmla="*/ 4576085 h 6858285"/>
              <a:gd name="connsiteX513" fmla="*/ 542927 w 4011840"/>
              <a:gd name="connsiteY513" fmla="*/ 4558918 h 6858285"/>
              <a:gd name="connsiteX514" fmla="*/ 569637 w 4011840"/>
              <a:gd name="connsiteY514" fmla="*/ 4518861 h 6858285"/>
              <a:gd name="connsiteX515" fmla="*/ 909226 w 4011840"/>
              <a:gd name="connsiteY515" fmla="*/ 4371986 h 6858285"/>
              <a:gd name="connsiteX516" fmla="*/ 943805 w 4011840"/>
              <a:gd name="connsiteY516" fmla="*/ 4371271 h 6858285"/>
              <a:gd name="connsiteX517" fmla="*/ 1477208 w 4011840"/>
              <a:gd name="connsiteY517" fmla="*/ 4359077 h 6858285"/>
              <a:gd name="connsiteX518" fmla="*/ 1517660 w 4011840"/>
              <a:gd name="connsiteY518" fmla="*/ 4387168 h 6858285"/>
              <a:gd name="connsiteX519" fmla="*/ 1492894 w 4011840"/>
              <a:gd name="connsiteY519" fmla="*/ 4448048 h 6858285"/>
              <a:gd name="connsiteX520" fmla="*/ 1151895 w 4011840"/>
              <a:gd name="connsiteY520" fmla="*/ 4583124 h 6858285"/>
              <a:gd name="connsiteX521" fmla="*/ 1092840 w 4011840"/>
              <a:gd name="connsiteY521" fmla="*/ 4556490 h 6858285"/>
              <a:gd name="connsiteX522" fmla="*/ 1089029 w 4011840"/>
              <a:gd name="connsiteY522" fmla="*/ 4539367 h 6858285"/>
              <a:gd name="connsiteX523" fmla="*/ 1117605 w 4011840"/>
              <a:gd name="connsiteY523" fmla="*/ 4497513 h 6858285"/>
              <a:gd name="connsiteX524" fmla="*/ 1458604 w 4011840"/>
              <a:gd name="connsiteY524" fmla="*/ 4362436 h 6858285"/>
              <a:gd name="connsiteX525" fmla="*/ 1477208 w 4011840"/>
              <a:gd name="connsiteY525" fmla="*/ 4359077 h 6858285"/>
              <a:gd name="connsiteX526" fmla="*/ 2029782 w 4011840"/>
              <a:gd name="connsiteY526" fmla="*/ 4349914 h 6858285"/>
              <a:gd name="connsiteX527" fmla="*/ 2073629 w 4011840"/>
              <a:gd name="connsiteY527" fmla="*/ 4381655 h 6858285"/>
              <a:gd name="connsiteX528" fmla="*/ 2045109 w 4011840"/>
              <a:gd name="connsiteY528" fmla="*/ 4442865 h 6858285"/>
              <a:gd name="connsiteX529" fmla="*/ 1702940 w 4011840"/>
              <a:gd name="connsiteY529" fmla="*/ 4569111 h 6858285"/>
              <a:gd name="connsiteX530" fmla="*/ 1642110 w 4011840"/>
              <a:gd name="connsiteY530" fmla="*/ 4538506 h 6858285"/>
              <a:gd name="connsiteX531" fmla="*/ 1638308 w 4011840"/>
              <a:gd name="connsiteY531" fmla="*/ 4523203 h 6858285"/>
              <a:gd name="connsiteX532" fmla="*/ 1670624 w 4011840"/>
              <a:gd name="connsiteY532" fmla="*/ 4477296 h 6858285"/>
              <a:gd name="connsiteX533" fmla="*/ 2010892 w 4011840"/>
              <a:gd name="connsiteY533" fmla="*/ 4352963 h 6858285"/>
              <a:gd name="connsiteX534" fmla="*/ 2029782 w 4011840"/>
              <a:gd name="connsiteY534" fmla="*/ 4349914 h 6858285"/>
              <a:gd name="connsiteX535" fmla="*/ 3722768 w 4011840"/>
              <a:gd name="connsiteY535" fmla="*/ 4341193 h 6858285"/>
              <a:gd name="connsiteX536" fmla="*/ 3765602 w 4011840"/>
              <a:gd name="connsiteY536" fmla="*/ 4375580 h 6858285"/>
              <a:gd name="connsiteX537" fmla="*/ 3733240 w 4011840"/>
              <a:gd name="connsiteY537" fmla="*/ 4438622 h 6858285"/>
              <a:gd name="connsiteX538" fmla="*/ 3392498 w 4011840"/>
              <a:gd name="connsiteY538" fmla="*/ 4551335 h 6858285"/>
              <a:gd name="connsiteX539" fmla="*/ 3329674 w 4011840"/>
              <a:gd name="connsiteY539" fmla="*/ 4518858 h 6858285"/>
              <a:gd name="connsiteX540" fmla="*/ 3325864 w 4011840"/>
              <a:gd name="connsiteY540" fmla="*/ 4503575 h 6858285"/>
              <a:gd name="connsiteX541" fmla="*/ 3360130 w 4011840"/>
              <a:gd name="connsiteY541" fmla="*/ 4455816 h 6858285"/>
              <a:gd name="connsiteX542" fmla="*/ 3702782 w 4011840"/>
              <a:gd name="connsiteY542" fmla="*/ 4343103 h 6858285"/>
              <a:gd name="connsiteX543" fmla="*/ 3722768 w 4011840"/>
              <a:gd name="connsiteY543" fmla="*/ 4341193 h 6858285"/>
              <a:gd name="connsiteX544" fmla="*/ 2589270 w 4011840"/>
              <a:gd name="connsiteY544" fmla="*/ 4341193 h 6858285"/>
              <a:gd name="connsiteX545" fmla="*/ 2632103 w 4011840"/>
              <a:gd name="connsiteY545" fmla="*/ 4375580 h 6858285"/>
              <a:gd name="connsiteX546" fmla="*/ 2599739 w 4011840"/>
              <a:gd name="connsiteY546" fmla="*/ 4438622 h 6858285"/>
              <a:gd name="connsiteX547" fmla="*/ 2258981 w 4011840"/>
              <a:gd name="connsiteY547" fmla="*/ 4551335 h 6858285"/>
              <a:gd name="connsiteX548" fmla="*/ 2196160 w 4011840"/>
              <a:gd name="connsiteY548" fmla="*/ 4518858 h 6858285"/>
              <a:gd name="connsiteX549" fmla="*/ 2192353 w 4011840"/>
              <a:gd name="connsiteY549" fmla="*/ 4503575 h 6858285"/>
              <a:gd name="connsiteX550" fmla="*/ 2226618 w 4011840"/>
              <a:gd name="connsiteY550" fmla="*/ 4455816 h 6858285"/>
              <a:gd name="connsiteX551" fmla="*/ 2569281 w 4011840"/>
              <a:gd name="connsiteY551" fmla="*/ 4343103 h 6858285"/>
              <a:gd name="connsiteX552" fmla="*/ 2589270 w 4011840"/>
              <a:gd name="connsiteY552" fmla="*/ 4341193 h 6858285"/>
              <a:gd name="connsiteX553" fmla="*/ 3152169 w 4011840"/>
              <a:gd name="connsiteY553" fmla="*/ 4331988 h 6858285"/>
              <a:gd name="connsiteX554" fmla="*/ 3195709 w 4011840"/>
              <a:gd name="connsiteY554" fmla="*/ 4369816 h 6858285"/>
              <a:gd name="connsiteX555" fmla="*/ 3161515 w 4011840"/>
              <a:gd name="connsiteY555" fmla="*/ 4434681 h 6858285"/>
              <a:gd name="connsiteX556" fmla="*/ 2819566 w 4011840"/>
              <a:gd name="connsiteY556" fmla="*/ 4535794 h 6858285"/>
              <a:gd name="connsiteX557" fmla="*/ 2753078 w 4011840"/>
              <a:gd name="connsiteY557" fmla="*/ 4499546 h 6858285"/>
              <a:gd name="connsiteX558" fmla="*/ 2751179 w 4011840"/>
              <a:gd name="connsiteY558" fmla="*/ 4486191 h 6858285"/>
              <a:gd name="connsiteX559" fmla="*/ 2789170 w 4011840"/>
              <a:gd name="connsiteY559" fmla="*/ 4434681 h 6858285"/>
              <a:gd name="connsiteX560" fmla="*/ 3131122 w 4011840"/>
              <a:gd name="connsiteY560" fmla="*/ 4333568 h 6858285"/>
              <a:gd name="connsiteX561" fmla="*/ 3152169 w 4011840"/>
              <a:gd name="connsiteY561" fmla="*/ 4331988 h 6858285"/>
              <a:gd name="connsiteX562" fmla="*/ 4011840 w 4011840"/>
              <a:gd name="connsiteY562" fmla="*/ 4120157 h 6858285"/>
              <a:gd name="connsiteX563" fmla="*/ 4011840 w 4011840"/>
              <a:gd name="connsiteY563" fmla="*/ 4224539 h 6858285"/>
              <a:gd name="connsiteX564" fmla="*/ 3956340 w 4011840"/>
              <a:gd name="connsiteY564" fmla="*/ 4243386 h 6858285"/>
              <a:gd name="connsiteX565" fmla="*/ 3893252 w 4011840"/>
              <a:gd name="connsiteY565" fmla="*/ 4212906 h 6858285"/>
              <a:gd name="connsiteX566" fmla="*/ 3889424 w 4011840"/>
              <a:gd name="connsiteY566" fmla="*/ 4195761 h 6858285"/>
              <a:gd name="connsiteX567" fmla="*/ 3923840 w 4011840"/>
              <a:gd name="connsiteY567" fmla="*/ 4150041 h 6858285"/>
              <a:gd name="connsiteX568" fmla="*/ 4007382 w 4011840"/>
              <a:gd name="connsiteY568" fmla="*/ 4121671 h 6858285"/>
              <a:gd name="connsiteX569" fmla="*/ 383168 w 4011840"/>
              <a:gd name="connsiteY569" fmla="*/ 4054778 h 6858285"/>
              <a:gd name="connsiteX570" fmla="*/ 422281 w 4011840"/>
              <a:gd name="connsiteY570" fmla="*/ 4078680 h 6858285"/>
              <a:gd name="connsiteX571" fmla="*/ 401325 w 4011840"/>
              <a:gd name="connsiteY571" fmla="*/ 4135973 h 6858285"/>
              <a:gd name="connsiteX572" fmla="*/ 62231 w 4011840"/>
              <a:gd name="connsiteY572" fmla="*/ 4292575 h 6858285"/>
              <a:gd name="connsiteX573" fmla="*/ 6986 w 4011840"/>
              <a:gd name="connsiteY573" fmla="*/ 4271567 h 6858285"/>
              <a:gd name="connsiteX574" fmla="*/ 3176 w 4011840"/>
              <a:gd name="connsiteY574" fmla="*/ 4254379 h 6858285"/>
              <a:gd name="connsiteX575" fmla="*/ 27941 w 4011840"/>
              <a:gd name="connsiteY575" fmla="*/ 4216184 h 6858285"/>
              <a:gd name="connsiteX576" fmla="*/ 367035 w 4011840"/>
              <a:gd name="connsiteY576" fmla="*/ 4059583 h 6858285"/>
              <a:gd name="connsiteX577" fmla="*/ 383168 w 4011840"/>
              <a:gd name="connsiteY577" fmla="*/ 4054778 h 6858285"/>
              <a:gd name="connsiteX578" fmla="*/ 926784 w 4011840"/>
              <a:gd name="connsiteY578" fmla="*/ 4046333 h 6858285"/>
              <a:gd name="connsiteX579" fmla="*/ 968368 w 4011840"/>
              <a:gd name="connsiteY579" fmla="*/ 4072655 h 6858285"/>
              <a:gd name="connsiteX580" fmla="*/ 945475 w 4011840"/>
              <a:gd name="connsiteY580" fmla="*/ 4131864 h 6858285"/>
              <a:gd name="connsiteX581" fmla="*/ 603977 w 4011840"/>
              <a:gd name="connsiteY581" fmla="*/ 4275111 h 6858285"/>
              <a:gd name="connsiteX582" fmla="*/ 544835 w 4011840"/>
              <a:gd name="connsiteY582" fmla="*/ 4252191 h 6858285"/>
              <a:gd name="connsiteX583" fmla="*/ 542927 w 4011840"/>
              <a:gd name="connsiteY583" fmla="*/ 4235002 h 6858285"/>
              <a:gd name="connsiteX584" fmla="*/ 569637 w 4011840"/>
              <a:gd name="connsiteY584" fmla="*/ 4192983 h 6858285"/>
              <a:gd name="connsiteX585" fmla="*/ 909226 w 4011840"/>
              <a:gd name="connsiteY585" fmla="*/ 4049736 h 6858285"/>
              <a:gd name="connsiteX586" fmla="*/ 926784 w 4011840"/>
              <a:gd name="connsiteY586" fmla="*/ 4046333 h 6858285"/>
              <a:gd name="connsiteX587" fmla="*/ 1458388 w 4011840"/>
              <a:gd name="connsiteY587" fmla="*/ 4041415 h 6858285"/>
              <a:gd name="connsiteX588" fmla="*/ 1519261 w 4011840"/>
              <a:gd name="connsiteY588" fmla="*/ 4069836 h 6858285"/>
              <a:gd name="connsiteX589" fmla="*/ 1492629 w 4011840"/>
              <a:gd name="connsiteY589" fmla="*/ 4130469 h 6858285"/>
              <a:gd name="connsiteX590" fmla="*/ 1152120 w 4011840"/>
              <a:gd name="connsiteY590" fmla="*/ 4259312 h 6858285"/>
              <a:gd name="connsiteX591" fmla="*/ 1091247 w 4011840"/>
              <a:gd name="connsiteY591" fmla="*/ 4230891 h 6858285"/>
              <a:gd name="connsiteX592" fmla="*/ 1087442 w 4011840"/>
              <a:gd name="connsiteY592" fmla="*/ 4215733 h 6858285"/>
              <a:gd name="connsiteX593" fmla="*/ 1117879 w 4011840"/>
              <a:gd name="connsiteY593" fmla="*/ 4170258 h 6858285"/>
              <a:gd name="connsiteX594" fmla="*/ 1458388 w 4011840"/>
              <a:gd name="connsiteY594" fmla="*/ 4041415 h 6858285"/>
              <a:gd name="connsiteX595" fmla="*/ 2031406 w 4011840"/>
              <a:gd name="connsiteY595" fmla="*/ 4031097 h 6858285"/>
              <a:gd name="connsiteX596" fmla="*/ 2075219 w 4011840"/>
              <a:gd name="connsiteY596" fmla="*/ 4064316 h 6858285"/>
              <a:gd name="connsiteX597" fmla="*/ 2042922 w 4011840"/>
              <a:gd name="connsiteY597" fmla="*/ 4127181 h 6858285"/>
              <a:gd name="connsiteX598" fmla="*/ 1702894 w 4011840"/>
              <a:gd name="connsiteY598" fmla="*/ 4243386 h 6858285"/>
              <a:gd name="connsiteX599" fmla="*/ 1640208 w 4011840"/>
              <a:gd name="connsiteY599" fmla="*/ 4212906 h 6858285"/>
              <a:gd name="connsiteX600" fmla="*/ 1638308 w 4011840"/>
              <a:gd name="connsiteY600" fmla="*/ 4195761 h 6858285"/>
              <a:gd name="connsiteX601" fmla="*/ 1670601 w 4011840"/>
              <a:gd name="connsiteY601" fmla="*/ 4150041 h 6858285"/>
              <a:gd name="connsiteX602" fmla="*/ 2012528 w 4011840"/>
              <a:gd name="connsiteY602" fmla="*/ 4033836 h 6858285"/>
              <a:gd name="connsiteX603" fmla="*/ 2031406 w 4011840"/>
              <a:gd name="connsiteY603" fmla="*/ 4031097 h 6858285"/>
              <a:gd name="connsiteX604" fmla="*/ 3725864 w 4011840"/>
              <a:gd name="connsiteY604" fmla="*/ 4022416 h 6858285"/>
              <a:gd name="connsiteX605" fmla="*/ 3770668 w 4011840"/>
              <a:gd name="connsiteY605" fmla="*/ 4060189 h 6858285"/>
              <a:gd name="connsiteX606" fmla="*/ 3734420 w 4011840"/>
              <a:gd name="connsiteY606" fmla="*/ 4124959 h 6858285"/>
              <a:gd name="connsiteX607" fmla="*/ 3391048 w 4011840"/>
              <a:gd name="connsiteY607" fmla="*/ 4225924 h 6858285"/>
              <a:gd name="connsiteX608" fmla="*/ 3326184 w 4011840"/>
              <a:gd name="connsiteY608" fmla="*/ 4191634 h 6858285"/>
              <a:gd name="connsiteX609" fmla="*/ 3324277 w 4011840"/>
              <a:gd name="connsiteY609" fmla="*/ 4176394 h 6858285"/>
              <a:gd name="connsiteX610" fmla="*/ 3362432 w 4011840"/>
              <a:gd name="connsiteY610" fmla="*/ 4126864 h 6858285"/>
              <a:gd name="connsiteX611" fmla="*/ 3705804 w 4011840"/>
              <a:gd name="connsiteY611" fmla="*/ 4023994 h 6858285"/>
              <a:gd name="connsiteX612" fmla="*/ 3725864 w 4011840"/>
              <a:gd name="connsiteY612" fmla="*/ 4022416 h 6858285"/>
              <a:gd name="connsiteX613" fmla="*/ 2590959 w 4011840"/>
              <a:gd name="connsiteY613" fmla="*/ 4022416 h 6858285"/>
              <a:gd name="connsiteX614" fmla="*/ 2635603 w 4011840"/>
              <a:gd name="connsiteY614" fmla="*/ 4060189 h 6858285"/>
              <a:gd name="connsiteX615" fmla="*/ 2599484 w 4011840"/>
              <a:gd name="connsiteY615" fmla="*/ 4124959 h 6858285"/>
              <a:gd name="connsiteX616" fmla="*/ 2257300 w 4011840"/>
              <a:gd name="connsiteY616" fmla="*/ 4225924 h 6858285"/>
              <a:gd name="connsiteX617" fmla="*/ 2192666 w 4011840"/>
              <a:gd name="connsiteY617" fmla="*/ 4191634 h 6858285"/>
              <a:gd name="connsiteX618" fmla="*/ 2190765 w 4011840"/>
              <a:gd name="connsiteY618" fmla="*/ 4176394 h 6858285"/>
              <a:gd name="connsiteX619" fmla="*/ 2228785 w 4011840"/>
              <a:gd name="connsiteY619" fmla="*/ 4126864 h 6858285"/>
              <a:gd name="connsiteX620" fmla="*/ 2570968 w 4011840"/>
              <a:gd name="connsiteY620" fmla="*/ 4023994 h 6858285"/>
              <a:gd name="connsiteX621" fmla="*/ 2590959 w 4011840"/>
              <a:gd name="connsiteY621" fmla="*/ 4022416 h 6858285"/>
              <a:gd name="connsiteX622" fmla="*/ 3155344 w 4011840"/>
              <a:gd name="connsiteY622" fmla="*/ 4014776 h 6858285"/>
              <a:gd name="connsiteX623" fmla="*/ 3200742 w 4011840"/>
              <a:gd name="connsiteY623" fmla="*/ 4054156 h 6858285"/>
              <a:gd name="connsiteX624" fmla="*/ 3160626 w 4011840"/>
              <a:gd name="connsiteY624" fmla="*/ 4120831 h 6858285"/>
              <a:gd name="connsiteX625" fmla="*/ 2816772 w 4011840"/>
              <a:gd name="connsiteY625" fmla="*/ 4210366 h 6858285"/>
              <a:gd name="connsiteX626" fmla="*/ 2749914 w 4011840"/>
              <a:gd name="connsiteY626" fmla="*/ 4170361 h 6858285"/>
              <a:gd name="connsiteX627" fmla="*/ 2748002 w 4011840"/>
              <a:gd name="connsiteY627" fmla="*/ 4157026 h 6858285"/>
              <a:gd name="connsiteX628" fmla="*/ 2788116 w 4011840"/>
              <a:gd name="connsiteY628" fmla="*/ 4103686 h 6858285"/>
              <a:gd name="connsiteX629" fmla="*/ 3133885 w 4011840"/>
              <a:gd name="connsiteY629" fmla="*/ 4016056 h 6858285"/>
              <a:gd name="connsiteX630" fmla="*/ 3155344 w 4011840"/>
              <a:gd name="connsiteY630" fmla="*/ 4014776 h 6858285"/>
              <a:gd name="connsiteX631" fmla="*/ 4011840 w 4011840"/>
              <a:gd name="connsiteY631" fmla="*/ 3792351 h 6858285"/>
              <a:gd name="connsiteX632" fmla="*/ 4011840 w 4011840"/>
              <a:gd name="connsiteY632" fmla="*/ 3898685 h 6858285"/>
              <a:gd name="connsiteX633" fmla="*/ 3954656 w 4011840"/>
              <a:gd name="connsiteY633" fmla="*/ 3916388 h 6858285"/>
              <a:gd name="connsiteX634" fmla="*/ 3891656 w 4011840"/>
              <a:gd name="connsiteY634" fmla="*/ 3884095 h 6858285"/>
              <a:gd name="connsiteX635" fmla="*/ 3887840 w 4011840"/>
              <a:gd name="connsiteY635" fmla="*/ 3868899 h 6858285"/>
              <a:gd name="connsiteX636" fmla="*/ 3924112 w 4011840"/>
              <a:gd name="connsiteY636" fmla="*/ 3819510 h 6858285"/>
              <a:gd name="connsiteX637" fmla="*/ 4008000 w 4011840"/>
              <a:gd name="connsiteY637" fmla="*/ 3793539 h 6858285"/>
              <a:gd name="connsiteX638" fmla="*/ 398944 w 4011840"/>
              <a:gd name="connsiteY638" fmla="*/ 3734455 h 6858285"/>
              <a:gd name="connsiteX639" fmla="*/ 422280 w 4011840"/>
              <a:gd name="connsiteY639" fmla="*/ 3756417 h 6858285"/>
              <a:gd name="connsiteX640" fmla="*/ 401325 w 4011840"/>
              <a:gd name="connsiteY640" fmla="*/ 3813710 h 6858285"/>
              <a:gd name="connsiteX641" fmla="*/ 62231 w 4011840"/>
              <a:gd name="connsiteY641" fmla="*/ 3970312 h 6858285"/>
              <a:gd name="connsiteX642" fmla="*/ 6985 w 4011840"/>
              <a:gd name="connsiteY642" fmla="*/ 3949304 h 6858285"/>
              <a:gd name="connsiteX643" fmla="*/ 3175 w 4011840"/>
              <a:gd name="connsiteY643" fmla="*/ 3930207 h 6858285"/>
              <a:gd name="connsiteX644" fmla="*/ 27941 w 4011840"/>
              <a:gd name="connsiteY644" fmla="*/ 3892011 h 6858285"/>
              <a:gd name="connsiteX645" fmla="*/ 367035 w 4011840"/>
              <a:gd name="connsiteY645" fmla="*/ 3735410 h 6858285"/>
              <a:gd name="connsiteX646" fmla="*/ 398944 w 4011840"/>
              <a:gd name="connsiteY646" fmla="*/ 3734455 h 6858285"/>
              <a:gd name="connsiteX647" fmla="*/ 927625 w 4011840"/>
              <a:gd name="connsiteY647" fmla="*/ 3725656 h 6858285"/>
              <a:gd name="connsiteX648" fmla="*/ 968374 w 4011840"/>
              <a:gd name="connsiteY648" fmla="*/ 3753711 h 6858285"/>
              <a:gd name="connsiteX649" fmla="*/ 945497 w 4011840"/>
              <a:gd name="connsiteY649" fmla="*/ 3812611 h 6858285"/>
              <a:gd name="connsiteX650" fmla="*/ 604250 w 4011840"/>
              <a:gd name="connsiteY650" fmla="*/ 3951311 h 6858285"/>
              <a:gd name="connsiteX651" fmla="*/ 545152 w 4011840"/>
              <a:gd name="connsiteY651" fmla="*/ 3928511 h 6858285"/>
              <a:gd name="connsiteX652" fmla="*/ 541339 w 4011840"/>
              <a:gd name="connsiteY652" fmla="*/ 3911411 h 6858285"/>
              <a:gd name="connsiteX653" fmla="*/ 569935 w 4011840"/>
              <a:gd name="connsiteY653" fmla="*/ 3869611 h 6858285"/>
              <a:gd name="connsiteX654" fmla="*/ 909276 w 4011840"/>
              <a:gd name="connsiteY654" fmla="*/ 3729011 h 6858285"/>
              <a:gd name="connsiteX655" fmla="*/ 927625 w 4011840"/>
              <a:gd name="connsiteY655" fmla="*/ 3725656 h 6858285"/>
              <a:gd name="connsiteX656" fmla="*/ 1478619 w 4011840"/>
              <a:gd name="connsiteY656" fmla="*/ 3718044 h 6858285"/>
              <a:gd name="connsiteX657" fmla="*/ 1520856 w 4011840"/>
              <a:gd name="connsiteY657" fmla="*/ 3749569 h 6858285"/>
              <a:gd name="connsiteX658" fmla="*/ 1492342 w 4011840"/>
              <a:gd name="connsiteY658" fmla="*/ 3810362 h 6858285"/>
              <a:gd name="connsiteX659" fmla="*/ 1152074 w 4011840"/>
              <a:gd name="connsiteY659" fmla="*/ 3933849 h 6858285"/>
              <a:gd name="connsiteX660" fmla="*/ 1089343 w 4011840"/>
              <a:gd name="connsiteY660" fmla="*/ 3905352 h 6858285"/>
              <a:gd name="connsiteX661" fmla="*/ 1087442 w 4011840"/>
              <a:gd name="connsiteY661" fmla="*/ 3890154 h 6858285"/>
              <a:gd name="connsiteX662" fmla="*/ 1117857 w 4011840"/>
              <a:gd name="connsiteY662" fmla="*/ 3844559 h 6858285"/>
              <a:gd name="connsiteX663" fmla="*/ 1460026 w 4011840"/>
              <a:gd name="connsiteY663" fmla="*/ 3721072 h 6858285"/>
              <a:gd name="connsiteX664" fmla="*/ 1478619 w 4011840"/>
              <a:gd name="connsiteY664" fmla="*/ 3718044 h 6858285"/>
              <a:gd name="connsiteX665" fmla="*/ 2033482 w 4011840"/>
              <a:gd name="connsiteY665" fmla="*/ 3710433 h 6858285"/>
              <a:gd name="connsiteX666" fmla="*/ 2078351 w 4011840"/>
              <a:gd name="connsiteY666" fmla="*/ 3745426 h 6858285"/>
              <a:gd name="connsiteX667" fmla="*/ 2043960 w 4011840"/>
              <a:gd name="connsiteY667" fmla="*/ 3810012 h 6858285"/>
              <a:gd name="connsiteX668" fmla="*/ 1701997 w 4011840"/>
              <a:gd name="connsiteY668" fmla="*/ 3916388 h 6858285"/>
              <a:gd name="connsiteX669" fmla="*/ 1637043 w 4011840"/>
              <a:gd name="connsiteY669" fmla="*/ 3884095 h 6858285"/>
              <a:gd name="connsiteX670" fmla="*/ 1635133 w 4011840"/>
              <a:gd name="connsiteY670" fmla="*/ 3868899 h 6858285"/>
              <a:gd name="connsiteX671" fmla="*/ 1669520 w 4011840"/>
              <a:gd name="connsiteY671" fmla="*/ 3819510 h 6858285"/>
              <a:gd name="connsiteX672" fmla="*/ 2013393 w 4011840"/>
              <a:gd name="connsiteY672" fmla="*/ 3713134 h 6858285"/>
              <a:gd name="connsiteX673" fmla="*/ 2033482 w 4011840"/>
              <a:gd name="connsiteY673" fmla="*/ 3710433 h 6858285"/>
              <a:gd name="connsiteX674" fmla="*/ 3726988 w 4011840"/>
              <a:gd name="connsiteY674" fmla="*/ 3702861 h 6858285"/>
              <a:gd name="connsiteX675" fmla="*/ 3772266 w 4011840"/>
              <a:gd name="connsiteY675" fmla="*/ 3743251 h 6858285"/>
              <a:gd name="connsiteX676" fmla="*/ 3734164 w 4011840"/>
              <a:gd name="connsiteY676" fmla="*/ 3807924 h 6858285"/>
              <a:gd name="connsiteX677" fmla="*/ 3391274 w 4011840"/>
              <a:gd name="connsiteY677" fmla="*/ 3899227 h 6858285"/>
              <a:gd name="connsiteX678" fmla="*/ 3324595 w 4011840"/>
              <a:gd name="connsiteY678" fmla="*/ 3861184 h 6858285"/>
              <a:gd name="connsiteX679" fmla="*/ 3322691 w 4011840"/>
              <a:gd name="connsiteY679" fmla="*/ 3847869 h 6858285"/>
              <a:gd name="connsiteX680" fmla="*/ 3362695 w 4011840"/>
              <a:gd name="connsiteY680" fmla="*/ 3796512 h 6858285"/>
              <a:gd name="connsiteX681" fmla="*/ 3705588 w 4011840"/>
              <a:gd name="connsiteY681" fmla="*/ 3705209 h 6858285"/>
              <a:gd name="connsiteX682" fmla="*/ 3726988 w 4011840"/>
              <a:gd name="connsiteY682" fmla="*/ 3702861 h 6858285"/>
              <a:gd name="connsiteX683" fmla="*/ 2593304 w 4011840"/>
              <a:gd name="connsiteY683" fmla="*/ 3702861 h 6858285"/>
              <a:gd name="connsiteX684" fmla="*/ 2638736 w 4011840"/>
              <a:gd name="connsiteY684" fmla="*/ 3743251 h 6858285"/>
              <a:gd name="connsiteX685" fmla="*/ 2600503 w 4011840"/>
              <a:gd name="connsiteY685" fmla="*/ 3807924 h 6858285"/>
              <a:gd name="connsiteX686" fmla="*/ 2256408 w 4011840"/>
              <a:gd name="connsiteY686" fmla="*/ 3899227 h 6858285"/>
              <a:gd name="connsiteX687" fmla="*/ 2189501 w 4011840"/>
              <a:gd name="connsiteY687" fmla="*/ 3861184 h 6858285"/>
              <a:gd name="connsiteX688" fmla="*/ 2187590 w 4011840"/>
              <a:gd name="connsiteY688" fmla="*/ 3847869 h 6858285"/>
              <a:gd name="connsiteX689" fmla="*/ 2227734 w 4011840"/>
              <a:gd name="connsiteY689" fmla="*/ 3796512 h 6858285"/>
              <a:gd name="connsiteX690" fmla="*/ 2571828 w 4011840"/>
              <a:gd name="connsiteY690" fmla="*/ 3705209 h 6858285"/>
              <a:gd name="connsiteX691" fmla="*/ 2593304 w 4011840"/>
              <a:gd name="connsiteY691" fmla="*/ 3702861 h 6858285"/>
              <a:gd name="connsiteX692" fmla="*/ 3135575 w 4011840"/>
              <a:gd name="connsiteY692" fmla="*/ 3696651 h 6858285"/>
              <a:gd name="connsiteX693" fmla="*/ 3202342 w 4011840"/>
              <a:gd name="connsiteY693" fmla="*/ 3740466 h 6858285"/>
              <a:gd name="connsiteX694" fmla="*/ 3160373 w 4011840"/>
              <a:gd name="connsiteY694" fmla="*/ 3809046 h 6858285"/>
              <a:gd name="connsiteX695" fmla="*/ 2815092 w 4011840"/>
              <a:gd name="connsiteY695" fmla="*/ 3883341 h 6858285"/>
              <a:gd name="connsiteX696" fmla="*/ 2746418 w 4011840"/>
              <a:gd name="connsiteY696" fmla="*/ 3841431 h 6858285"/>
              <a:gd name="connsiteX697" fmla="*/ 2746418 w 4011840"/>
              <a:gd name="connsiteY697" fmla="*/ 3828096 h 6858285"/>
              <a:gd name="connsiteX698" fmla="*/ 2790295 w 4011840"/>
              <a:gd name="connsiteY698" fmla="*/ 3772851 h 6858285"/>
              <a:gd name="connsiteX699" fmla="*/ 3135575 w 4011840"/>
              <a:gd name="connsiteY699" fmla="*/ 3696651 h 6858285"/>
              <a:gd name="connsiteX700" fmla="*/ 4011840 w 4011840"/>
              <a:gd name="connsiteY700" fmla="*/ 3466417 h 6858285"/>
              <a:gd name="connsiteX701" fmla="*/ 4011840 w 4011840"/>
              <a:gd name="connsiteY701" fmla="*/ 3576032 h 6858285"/>
              <a:gd name="connsiteX702" fmla="*/ 3954880 w 4011840"/>
              <a:gd name="connsiteY702" fmla="*/ 3592817 h 6858285"/>
              <a:gd name="connsiteX703" fmla="*/ 3888158 w 4011840"/>
              <a:gd name="connsiteY703" fmla="*/ 3556569 h 6858285"/>
              <a:gd name="connsiteX704" fmla="*/ 3886250 w 4011840"/>
              <a:gd name="connsiteY704" fmla="*/ 3541306 h 6858285"/>
              <a:gd name="connsiteX705" fmla="*/ 3924376 w 4011840"/>
              <a:gd name="connsiteY705" fmla="*/ 3491704 h 6858285"/>
              <a:gd name="connsiteX706" fmla="*/ 4008146 w 4011840"/>
              <a:gd name="connsiteY706" fmla="*/ 3467485 h 6858285"/>
              <a:gd name="connsiteX707" fmla="*/ 398651 w 4011840"/>
              <a:gd name="connsiteY707" fmla="*/ 3413736 h 6858285"/>
              <a:gd name="connsiteX708" fmla="*/ 421971 w 4011840"/>
              <a:gd name="connsiteY708" fmla="*/ 3435588 h 6858285"/>
              <a:gd name="connsiteX709" fmla="*/ 401031 w 4011840"/>
              <a:gd name="connsiteY709" fmla="*/ 3492594 h 6858285"/>
              <a:gd name="connsiteX710" fmla="*/ 62187 w 4011840"/>
              <a:gd name="connsiteY710" fmla="*/ 3646509 h 6858285"/>
              <a:gd name="connsiteX711" fmla="*/ 6983 w 4011840"/>
              <a:gd name="connsiteY711" fmla="*/ 3625607 h 6858285"/>
              <a:gd name="connsiteX712" fmla="*/ 3175 w 4011840"/>
              <a:gd name="connsiteY712" fmla="*/ 3608505 h 6858285"/>
              <a:gd name="connsiteX713" fmla="*/ 27922 w 4011840"/>
              <a:gd name="connsiteY713" fmla="*/ 3568601 h 6858285"/>
              <a:gd name="connsiteX714" fmla="*/ 366766 w 4011840"/>
              <a:gd name="connsiteY714" fmla="*/ 3414687 h 6858285"/>
              <a:gd name="connsiteX715" fmla="*/ 398651 w 4011840"/>
              <a:gd name="connsiteY715" fmla="*/ 3413736 h 6858285"/>
              <a:gd name="connsiteX716" fmla="*/ 928445 w 4011840"/>
              <a:gd name="connsiteY716" fmla="*/ 3403423 h 6858285"/>
              <a:gd name="connsiteX717" fmla="*/ 969969 w 4011840"/>
              <a:gd name="connsiteY717" fmla="*/ 3433348 h 6858285"/>
              <a:gd name="connsiteX718" fmla="*/ 945204 w 4011840"/>
              <a:gd name="connsiteY718" fmla="*/ 3492248 h 6858285"/>
              <a:gd name="connsiteX719" fmla="*/ 604205 w 4011840"/>
              <a:gd name="connsiteY719" fmla="*/ 3629048 h 6858285"/>
              <a:gd name="connsiteX720" fmla="*/ 543244 w 4011840"/>
              <a:gd name="connsiteY720" fmla="*/ 3602448 h 6858285"/>
              <a:gd name="connsiteX721" fmla="*/ 541339 w 4011840"/>
              <a:gd name="connsiteY721" fmla="*/ 3585348 h 6858285"/>
              <a:gd name="connsiteX722" fmla="*/ 569914 w 4011840"/>
              <a:gd name="connsiteY722" fmla="*/ 3543548 h 6858285"/>
              <a:gd name="connsiteX723" fmla="*/ 910913 w 4011840"/>
              <a:gd name="connsiteY723" fmla="*/ 3406748 h 6858285"/>
              <a:gd name="connsiteX724" fmla="*/ 928445 w 4011840"/>
              <a:gd name="connsiteY724" fmla="*/ 3403423 h 6858285"/>
              <a:gd name="connsiteX725" fmla="*/ 1478769 w 4011840"/>
              <a:gd name="connsiteY725" fmla="*/ 3396584 h 6858285"/>
              <a:gd name="connsiteX726" fmla="*/ 1522735 w 4011840"/>
              <a:gd name="connsiteY726" fmla="*/ 3428999 h 6858285"/>
              <a:gd name="connsiteX727" fmla="*/ 1492233 w 4011840"/>
              <a:gd name="connsiteY727" fmla="*/ 3491863 h 6858285"/>
              <a:gd name="connsiteX728" fmla="*/ 1149084 w 4011840"/>
              <a:gd name="connsiteY728" fmla="*/ 3609973 h 6858285"/>
              <a:gd name="connsiteX729" fmla="*/ 1088080 w 4011840"/>
              <a:gd name="connsiteY729" fmla="*/ 3579493 h 6858285"/>
              <a:gd name="connsiteX730" fmla="*/ 1084267 w 4011840"/>
              <a:gd name="connsiteY730" fmla="*/ 3564253 h 6858285"/>
              <a:gd name="connsiteX731" fmla="*/ 1116676 w 4011840"/>
              <a:gd name="connsiteY731" fmla="*/ 3518533 h 6858285"/>
              <a:gd name="connsiteX732" fmla="*/ 1459824 w 4011840"/>
              <a:gd name="connsiteY732" fmla="*/ 3398519 h 6858285"/>
              <a:gd name="connsiteX733" fmla="*/ 1478769 w 4011840"/>
              <a:gd name="connsiteY733" fmla="*/ 3396584 h 6858285"/>
              <a:gd name="connsiteX734" fmla="*/ 2035412 w 4011840"/>
              <a:gd name="connsiteY734" fmla="*/ 3390086 h 6858285"/>
              <a:gd name="connsiteX735" fmla="*/ 2079949 w 4011840"/>
              <a:gd name="connsiteY735" fmla="*/ 3426840 h 6858285"/>
              <a:gd name="connsiteX736" fmla="*/ 2043698 w 4011840"/>
              <a:gd name="connsiteY736" fmla="*/ 3491704 h 6858285"/>
              <a:gd name="connsiteX737" fmla="*/ 1700314 w 4011840"/>
              <a:gd name="connsiteY737" fmla="*/ 3592817 h 6858285"/>
              <a:gd name="connsiteX738" fmla="*/ 1635452 w 4011840"/>
              <a:gd name="connsiteY738" fmla="*/ 3556569 h 6858285"/>
              <a:gd name="connsiteX739" fmla="*/ 1633545 w 4011840"/>
              <a:gd name="connsiteY739" fmla="*/ 3541306 h 6858285"/>
              <a:gd name="connsiteX740" fmla="*/ 1671698 w 4011840"/>
              <a:gd name="connsiteY740" fmla="*/ 3491704 h 6858285"/>
              <a:gd name="connsiteX741" fmla="*/ 2015083 w 4011840"/>
              <a:gd name="connsiteY741" fmla="*/ 3392501 h 6858285"/>
              <a:gd name="connsiteX742" fmla="*/ 2035412 w 4011840"/>
              <a:gd name="connsiteY742" fmla="*/ 3390086 h 6858285"/>
              <a:gd name="connsiteX743" fmla="*/ 3729540 w 4011840"/>
              <a:gd name="connsiteY743" fmla="*/ 3384850 h 6858285"/>
              <a:gd name="connsiteX744" fmla="*/ 3773836 w 4011840"/>
              <a:gd name="connsiteY744" fmla="*/ 3427575 h 6858285"/>
              <a:gd name="connsiteX745" fmla="*/ 3733748 w 4011840"/>
              <a:gd name="connsiteY745" fmla="*/ 3494041 h 6858285"/>
              <a:gd name="connsiteX746" fmla="*/ 3388242 w 4011840"/>
              <a:gd name="connsiteY746" fmla="*/ 3575701 h 6858285"/>
              <a:gd name="connsiteX747" fmla="*/ 3321424 w 4011840"/>
              <a:gd name="connsiteY747" fmla="*/ 3533921 h 6858285"/>
              <a:gd name="connsiteX748" fmla="*/ 3319515 w 4011840"/>
              <a:gd name="connsiteY748" fmla="*/ 3520628 h 6858285"/>
              <a:gd name="connsiteX749" fmla="*/ 3361512 w 4011840"/>
              <a:gd name="connsiteY749" fmla="*/ 3465555 h 6858285"/>
              <a:gd name="connsiteX750" fmla="*/ 3707020 w 4011840"/>
              <a:gd name="connsiteY750" fmla="*/ 3385799 h 6858285"/>
              <a:gd name="connsiteX751" fmla="*/ 3729540 w 4011840"/>
              <a:gd name="connsiteY751" fmla="*/ 3384850 h 6858285"/>
              <a:gd name="connsiteX752" fmla="*/ 2596040 w 4011840"/>
              <a:gd name="connsiteY752" fmla="*/ 3384845 h 6858285"/>
              <a:gd name="connsiteX753" fmla="*/ 2640334 w 4011840"/>
              <a:gd name="connsiteY753" fmla="*/ 3427574 h 6858285"/>
              <a:gd name="connsiteX754" fmla="*/ 2598338 w 4011840"/>
              <a:gd name="connsiteY754" fmla="*/ 3494041 h 6858285"/>
              <a:gd name="connsiteX755" fmla="*/ 2254725 w 4011840"/>
              <a:gd name="connsiteY755" fmla="*/ 3575701 h 6858285"/>
              <a:gd name="connsiteX756" fmla="*/ 2187911 w 4011840"/>
              <a:gd name="connsiteY756" fmla="*/ 3533921 h 6858285"/>
              <a:gd name="connsiteX757" fmla="*/ 2186002 w 4011840"/>
              <a:gd name="connsiteY757" fmla="*/ 3520628 h 6858285"/>
              <a:gd name="connsiteX758" fmla="*/ 2227999 w 4011840"/>
              <a:gd name="connsiteY758" fmla="*/ 3465555 h 6858285"/>
              <a:gd name="connsiteX759" fmla="*/ 2573520 w 4011840"/>
              <a:gd name="connsiteY759" fmla="*/ 3385794 h 6858285"/>
              <a:gd name="connsiteX760" fmla="*/ 2596040 w 4011840"/>
              <a:gd name="connsiteY760" fmla="*/ 3384845 h 6858285"/>
              <a:gd name="connsiteX761" fmla="*/ 3137316 w 4011840"/>
              <a:gd name="connsiteY761" fmla="*/ 3377570 h 6858285"/>
              <a:gd name="connsiteX762" fmla="*/ 3205849 w 4011840"/>
              <a:gd name="connsiteY762" fmla="*/ 3425189 h 6858285"/>
              <a:gd name="connsiteX763" fmla="*/ 3158257 w 4011840"/>
              <a:gd name="connsiteY763" fmla="*/ 3493768 h 6858285"/>
              <a:gd name="connsiteX764" fmla="*/ 2813680 w 4011840"/>
              <a:gd name="connsiteY764" fmla="*/ 3556633 h 6858285"/>
              <a:gd name="connsiteX765" fmla="*/ 2745145 w 4011840"/>
              <a:gd name="connsiteY765" fmla="*/ 3509008 h 6858285"/>
              <a:gd name="connsiteX766" fmla="*/ 2743240 w 4011840"/>
              <a:gd name="connsiteY766" fmla="*/ 3497578 h 6858285"/>
              <a:gd name="connsiteX767" fmla="*/ 2792741 w 4011840"/>
              <a:gd name="connsiteY767" fmla="*/ 3440428 h 6858285"/>
              <a:gd name="connsiteX768" fmla="*/ 3137316 w 4011840"/>
              <a:gd name="connsiteY768" fmla="*/ 3377570 h 6858285"/>
              <a:gd name="connsiteX769" fmla="*/ 4011840 w 4011840"/>
              <a:gd name="connsiteY769" fmla="*/ 3141126 h 6858285"/>
              <a:gd name="connsiteX770" fmla="*/ 4011840 w 4011840"/>
              <a:gd name="connsiteY770" fmla="*/ 3251800 h 6858285"/>
              <a:gd name="connsiteX771" fmla="*/ 3953196 w 4011840"/>
              <a:gd name="connsiteY771" fmla="*/ 3267426 h 6858285"/>
              <a:gd name="connsiteX772" fmla="*/ 3886568 w 4011840"/>
              <a:gd name="connsiteY772" fmla="*/ 3229382 h 6858285"/>
              <a:gd name="connsiteX773" fmla="*/ 3884664 w 4011840"/>
              <a:gd name="connsiteY773" fmla="*/ 3216071 h 6858285"/>
              <a:gd name="connsiteX774" fmla="*/ 3924642 w 4011840"/>
              <a:gd name="connsiteY774" fmla="*/ 3164714 h 6858285"/>
              <a:gd name="connsiteX775" fmla="*/ 4008762 w 4011840"/>
              <a:gd name="connsiteY775" fmla="*/ 3141959 h 6858285"/>
              <a:gd name="connsiteX776" fmla="*/ 399603 w 4011840"/>
              <a:gd name="connsiteY776" fmla="*/ 3091489 h 6858285"/>
              <a:gd name="connsiteX777" fmla="*/ 423874 w 4011840"/>
              <a:gd name="connsiteY777" fmla="*/ 3113341 h 6858285"/>
              <a:gd name="connsiteX778" fmla="*/ 401031 w 4011840"/>
              <a:gd name="connsiteY778" fmla="*/ 3170346 h 6858285"/>
              <a:gd name="connsiteX779" fmla="*/ 62187 w 4011840"/>
              <a:gd name="connsiteY779" fmla="*/ 3324257 h 6858285"/>
              <a:gd name="connsiteX780" fmla="*/ 6982 w 4011840"/>
              <a:gd name="connsiteY780" fmla="*/ 3301458 h 6858285"/>
              <a:gd name="connsiteX781" fmla="*/ 3175 w 4011840"/>
              <a:gd name="connsiteY781" fmla="*/ 3284355 h 6858285"/>
              <a:gd name="connsiteX782" fmla="*/ 27922 w 4011840"/>
              <a:gd name="connsiteY782" fmla="*/ 3246351 h 6858285"/>
              <a:gd name="connsiteX783" fmla="*/ 366766 w 4011840"/>
              <a:gd name="connsiteY783" fmla="*/ 3092440 h 6858285"/>
              <a:gd name="connsiteX784" fmla="*/ 399603 w 4011840"/>
              <a:gd name="connsiteY784" fmla="*/ 3091489 h 6858285"/>
              <a:gd name="connsiteX785" fmla="*/ 910964 w 4011840"/>
              <a:gd name="connsiteY785" fmla="*/ 3084205 h 6858285"/>
              <a:gd name="connsiteX786" fmla="*/ 969977 w 4011840"/>
              <a:gd name="connsiteY786" fmla="*/ 3110874 h 6858285"/>
              <a:gd name="connsiteX787" fmla="*/ 945229 w 4011840"/>
              <a:gd name="connsiteY787" fmla="*/ 3171835 h 6858285"/>
              <a:gd name="connsiteX788" fmla="*/ 604476 w 4011840"/>
              <a:gd name="connsiteY788" fmla="*/ 3305182 h 6858285"/>
              <a:gd name="connsiteX789" fmla="*/ 543559 w 4011840"/>
              <a:gd name="connsiteY789" fmla="*/ 3278513 h 6858285"/>
              <a:gd name="connsiteX790" fmla="*/ 539752 w 4011840"/>
              <a:gd name="connsiteY790" fmla="*/ 3261369 h 6858285"/>
              <a:gd name="connsiteX791" fmla="*/ 570210 w 4011840"/>
              <a:gd name="connsiteY791" fmla="*/ 3217554 h 6858285"/>
              <a:gd name="connsiteX792" fmla="*/ 910964 w 4011840"/>
              <a:gd name="connsiteY792" fmla="*/ 3084205 h 6858285"/>
              <a:gd name="connsiteX793" fmla="*/ 1479596 w 4011840"/>
              <a:gd name="connsiteY793" fmla="*/ 3075472 h 6858285"/>
              <a:gd name="connsiteX794" fmla="*/ 1522429 w 4011840"/>
              <a:gd name="connsiteY794" fmla="*/ 3110614 h 6858285"/>
              <a:gd name="connsiteX795" fmla="*/ 1491970 w 4011840"/>
              <a:gd name="connsiteY795" fmla="*/ 3173568 h 6858285"/>
              <a:gd name="connsiteX796" fmla="*/ 1149308 w 4011840"/>
              <a:gd name="connsiteY796" fmla="*/ 3286117 h 6858285"/>
              <a:gd name="connsiteX797" fmla="*/ 1086486 w 4011840"/>
              <a:gd name="connsiteY797" fmla="*/ 3253688 h 6858285"/>
              <a:gd name="connsiteX798" fmla="*/ 1082679 w 4011840"/>
              <a:gd name="connsiteY798" fmla="*/ 3238426 h 6858285"/>
              <a:gd name="connsiteX799" fmla="*/ 1118849 w 4011840"/>
              <a:gd name="connsiteY799" fmla="*/ 3190736 h 6858285"/>
              <a:gd name="connsiteX800" fmla="*/ 1459607 w 4011840"/>
              <a:gd name="connsiteY800" fmla="*/ 3078184 h 6858285"/>
              <a:gd name="connsiteX801" fmla="*/ 1479596 w 4011840"/>
              <a:gd name="connsiteY801" fmla="*/ 3075472 h 6858285"/>
              <a:gd name="connsiteX802" fmla="*/ 2036269 w 4011840"/>
              <a:gd name="connsiteY802" fmla="*/ 3070212 h 6858285"/>
              <a:gd name="connsiteX803" fmla="*/ 2081548 w 4011840"/>
              <a:gd name="connsiteY803" fmla="*/ 3109532 h 6858285"/>
              <a:gd name="connsiteX804" fmla="*/ 2043443 w 4011840"/>
              <a:gd name="connsiteY804" fmla="*/ 3176106 h 6858285"/>
              <a:gd name="connsiteX805" fmla="*/ 1700538 w 4011840"/>
              <a:gd name="connsiteY805" fmla="*/ 3267409 h 6858285"/>
              <a:gd name="connsiteX806" fmla="*/ 1633862 w 4011840"/>
              <a:gd name="connsiteY806" fmla="*/ 3229366 h 6858285"/>
              <a:gd name="connsiteX807" fmla="*/ 1631957 w 4011840"/>
              <a:gd name="connsiteY807" fmla="*/ 3216051 h 6858285"/>
              <a:gd name="connsiteX808" fmla="*/ 1671963 w 4011840"/>
              <a:gd name="connsiteY808" fmla="*/ 3164695 h 6858285"/>
              <a:gd name="connsiteX809" fmla="*/ 2014867 w 4011840"/>
              <a:gd name="connsiteY809" fmla="*/ 3071490 h 6858285"/>
              <a:gd name="connsiteX810" fmla="*/ 2036269 w 4011840"/>
              <a:gd name="connsiteY810" fmla="*/ 3070212 h 6858285"/>
              <a:gd name="connsiteX811" fmla="*/ 3731232 w 4011840"/>
              <a:gd name="connsiteY811" fmla="*/ 3064526 h 6858285"/>
              <a:gd name="connsiteX812" fmla="*/ 3777344 w 4011840"/>
              <a:gd name="connsiteY812" fmla="*/ 3109067 h 6858285"/>
              <a:gd name="connsiteX813" fmla="*/ 3731588 w 4011840"/>
              <a:gd name="connsiteY813" fmla="*/ 3177757 h 6858285"/>
              <a:gd name="connsiteX814" fmla="*/ 3386557 w 4011840"/>
              <a:gd name="connsiteY814" fmla="*/ 3250258 h 6858285"/>
              <a:gd name="connsiteX815" fmla="*/ 3317928 w 4011840"/>
              <a:gd name="connsiteY815" fmla="*/ 3204467 h 6858285"/>
              <a:gd name="connsiteX816" fmla="*/ 3317928 w 4011840"/>
              <a:gd name="connsiteY816" fmla="*/ 3193018 h 6858285"/>
              <a:gd name="connsiteX817" fmla="*/ 3363681 w 4011840"/>
              <a:gd name="connsiteY817" fmla="*/ 3135781 h 6858285"/>
              <a:gd name="connsiteX818" fmla="*/ 3708712 w 4011840"/>
              <a:gd name="connsiteY818" fmla="*/ 3065182 h 6858285"/>
              <a:gd name="connsiteX819" fmla="*/ 3731232 w 4011840"/>
              <a:gd name="connsiteY819" fmla="*/ 3064526 h 6858285"/>
              <a:gd name="connsiteX820" fmla="*/ 2597728 w 4011840"/>
              <a:gd name="connsiteY820" fmla="*/ 3064505 h 6858285"/>
              <a:gd name="connsiteX821" fmla="*/ 2643838 w 4011840"/>
              <a:gd name="connsiteY821" fmla="*/ 3109046 h 6858285"/>
              <a:gd name="connsiteX822" fmla="*/ 2598086 w 4011840"/>
              <a:gd name="connsiteY822" fmla="*/ 3177737 h 6858285"/>
              <a:gd name="connsiteX823" fmla="*/ 2253042 w 4011840"/>
              <a:gd name="connsiteY823" fmla="*/ 3250241 h 6858285"/>
              <a:gd name="connsiteX824" fmla="*/ 2184414 w 4011840"/>
              <a:gd name="connsiteY824" fmla="*/ 3204449 h 6858285"/>
              <a:gd name="connsiteX825" fmla="*/ 2184414 w 4011840"/>
              <a:gd name="connsiteY825" fmla="*/ 3193000 h 6858285"/>
              <a:gd name="connsiteX826" fmla="*/ 2230166 w 4011840"/>
              <a:gd name="connsiteY826" fmla="*/ 3135760 h 6858285"/>
              <a:gd name="connsiteX827" fmla="*/ 2575210 w 4011840"/>
              <a:gd name="connsiteY827" fmla="*/ 3065161 h 6858285"/>
              <a:gd name="connsiteX828" fmla="*/ 2597728 w 4011840"/>
              <a:gd name="connsiteY828" fmla="*/ 3064505 h 6858285"/>
              <a:gd name="connsiteX829" fmla="*/ 3139002 w 4011840"/>
              <a:gd name="connsiteY829" fmla="*/ 3058185 h 6858285"/>
              <a:gd name="connsiteX830" fmla="*/ 3209344 w 4011840"/>
              <a:gd name="connsiteY830" fmla="*/ 3111524 h 6858285"/>
              <a:gd name="connsiteX831" fmla="*/ 3156112 w 4011840"/>
              <a:gd name="connsiteY831" fmla="*/ 3180105 h 6858285"/>
              <a:gd name="connsiteX832" fmla="*/ 2811996 w 4011840"/>
              <a:gd name="connsiteY832" fmla="*/ 3231532 h 6858285"/>
              <a:gd name="connsiteX833" fmla="*/ 2741653 w 4011840"/>
              <a:gd name="connsiteY833" fmla="*/ 3180105 h 6858285"/>
              <a:gd name="connsiteX834" fmla="*/ 2741653 w 4011840"/>
              <a:gd name="connsiteY834" fmla="*/ 3170578 h 6858285"/>
              <a:gd name="connsiteX835" fmla="*/ 2792985 w 4011840"/>
              <a:gd name="connsiteY835" fmla="*/ 3109621 h 6858285"/>
              <a:gd name="connsiteX836" fmla="*/ 3139002 w 4011840"/>
              <a:gd name="connsiteY836" fmla="*/ 3058185 h 6858285"/>
              <a:gd name="connsiteX837" fmla="*/ 4011840 w 4011840"/>
              <a:gd name="connsiteY837" fmla="*/ 2813695 h 6858285"/>
              <a:gd name="connsiteX838" fmla="*/ 4011840 w 4011840"/>
              <a:gd name="connsiteY838" fmla="*/ 2929155 h 6858285"/>
              <a:gd name="connsiteX839" fmla="*/ 3953196 w 4011840"/>
              <a:gd name="connsiteY839" fmla="*/ 2943545 h 6858285"/>
              <a:gd name="connsiteX840" fmla="*/ 3884664 w 4011840"/>
              <a:gd name="connsiteY840" fmla="*/ 2901507 h 6858285"/>
              <a:gd name="connsiteX841" fmla="*/ 3884664 w 4011840"/>
              <a:gd name="connsiteY841" fmla="*/ 2888131 h 6858285"/>
              <a:gd name="connsiteX842" fmla="*/ 3926546 w 4011840"/>
              <a:gd name="connsiteY842" fmla="*/ 2834624 h 6858285"/>
              <a:gd name="connsiteX843" fmla="*/ 4010200 w 4011840"/>
              <a:gd name="connsiteY843" fmla="*/ 2814097 h 6858285"/>
              <a:gd name="connsiteX844" fmla="*/ 399603 w 4011840"/>
              <a:gd name="connsiteY844" fmla="*/ 2769236 h 6858285"/>
              <a:gd name="connsiteX845" fmla="*/ 423874 w 4011840"/>
              <a:gd name="connsiteY845" fmla="*/ 2791116 h 6858285"/>
              <a:gd name="connsiteX846" fmla="*/ 401030 w 4011840"/>
              <a:gd name="connsiteY846" fmla="*/ 2848194 h 6858285"/>
              <a:gd name="connsiteX847" fmla="*/ 62187 w 4011840"/>
              <a:gd name="connsiteY847" fmla="*/ 3000399 h 6858285"/>
              <a:gd name="connsiteX848" fmla="*/ 6982 w 4011840"/>
              <a:gd name="connsiteY848" fmla="*/ 2979471 h 6858285"/>
              <a:gd name="connsiteX849" fmla="*/ 3175 w 4011840"/>
              <a:gd name="connsiteY849" fmla="*/ 2960446 h 6858285"/>
              <a:gd name="connsiteX850" fmla="*/ 27922 w 4011840"/>
              <a:gd name="connsiteY850" fmla="*/ 2922394 h 6858285"/>
              <a:gd name="connsiteX851" fmla="*/ 366765 w 4011840"/>
              <a:gd name="connsiteY851" fmla="*/ 2770189 h 6858285"/>
              <a:gd name="connsiteX852" fmla="*/ 399603 w 4011840"/>
              <a:gd name="connsiteY852" fmla="*/ 2769236 h 6858285"/>
              <a:gd name="connsiteX853" fmla="*/ 930705 w 4011840"/>
              <a:gd name="connsiteY853" fmla="*/ 2760523 h 6858285"/>
              <a:gd name="connsiteX854" fmla="*/ 973124 w 4011840"/>
              <a:gd name="connsiteY854" fmla="*/ 2790565 h 6858285"/>
              <a:gd name="connsiteX855" fmla="*/ 946396 w 4011840"/>
              <a:gd name="connsiteY855" fmla="*/ 2851609 h 6858285"/>
              <a:gd name="connsiteX856" fmla="*/ 604662 w 4011840"/>
              <a:gd name="connsiteY856" fmla="*/ 2981323 h 6858285"/>
              <a:gd name="connsiteX857" fmla="*/ 543570 w 4011840"/>
              <a:gd name="connsiteY857" fmla="*/ 2954616 h 6858285"/>
              <a:gd name="connsiteX858" fmla="*/ 539752 w 4011840"/>
              <a:gd name="connsiteY858" fmla="*/ 2937448 h 6858285"/>
              <a:gd name="connsiteX859" fmla="*/ 570298 w 4011840"/>
              <a:gd name="connsiteY859" fmla="*/ 2893575 h 6858285"/>
              <a:gd name="connsiteX860" fmla="*/ 912032 w 4011840"/>
              <a:gd name="connsiteY860" fmla="*/ 2763862 h 6858285"/>
              <a:gd name="connsiteX861" fmla="*/ 930705 w 4011840"/>
              <a:gd name="connsiteY861" fmla="*/ 2760523 h 6858285"/>
              <a:gd name="connsiteX862" fmla="*/ 1482623 w 4011840"/>
              <a:gd name="connsiteY862" fmla="*/ 2755562 h 6858285"/>
              <a:gd name="connsiteX863" fmla="*/ 1525577 w 4011840"/>
              <a:gd name="connsiteY863" fmla="*/ 2791407 h 6858285"/>
              <a:gd name="connsiteX864" fmla="*/ 1493123 w 4011840"/>
              <a:gd name="connsiteY864" fmla="*/ 2856085 h 6858285"/>
              <a:gd name="connsiteX865" fmla="*/ 1149495 w 4011840"/>
              <a:gd name="connsiteY865" fmla="*/ 2962612 h 6858285"/>
              <a:gd name="connsiteX866" fmla="*/ 1084588 w 4011840"/>
              <a:gd name="connsiteY866" fmla="*/ 2928370 h 6858285"/>
              <a:gd name="connsiteX867" fmla="*/ 1082679 w 4011840"/>
              <a:gd name="connsiteY867" fmla="*/ 2913153 h 6858285"/>
              <a:gd name="connsiteX868" fmla="*/ 1118950 w 4011840"/>
              <a:gd name="connsiteY868" fmla="*/ 2863693 h 6858285"/>
              <a:gd name="connsiteX869" fmla="*/ 1462578 w 4011840"/>
              <a:gd name="connsiteY869" fmla="*/ 2757168 h 6858285"/>
              <a:gd name="connsiteX870" fmla="*/ 1482623 w 4011840"/>
              <a:gd name="connsiteY870" fmla="*/ 2755562 h 6858285"/>
              <a:gd name="connsiteX871" fmla="*/ 2037929 w 4011840"/>
              <a:gd name="connsiteY871" fmla="*/ 2750376 h 6858285"/>
              <a:gd name="connsiteX872" fmla="*/ 2083145 w 4011840"/>
              <a:gd name="connsiteY872" fmla="*/ 2792565 h 6858285"/>
              <a:gd name="connsiteX873" fmla="*/ 2043190 w 4011840"/>
              <a:gd name="connsiteY873" fmla="*/ 2859446 h 6858285"/>
              <a:gd name="connsiteX874" fmla="*/ 1698856 w 4011840"/>
              <a:gd name="connsiteY874" fmla="*/ 2943524 h 6858285"/>
              <a:gd name="connsiteX875" fmla="*/ 1632272 w 4011840"/>
              <a:gd name="connsiteY875" fmla="*/ 2901486 h 6858285"/>
              <a:gd name="connsiteX876" fmla="*/ 1630369 w 4011840"/>
              <a:gd name="connsiteY876" fmla="*/ 2888109 h 6858285"/>
              <a:gd name="connsiteX877" fmla="*/ 1672222 w 4011840"/>
              <a:gd name="connsiteY877" fmla="*/ 2834604 h 6858285"/>
              <a:gd name="connsiteX878" fmla="*/ 2016556 w 4011840"/>
              <a:gd name="connsiteY878" fmla="*/ 2750526 h 6858285"/>
              <a:gd name="connsiteX879" fmla="*/ 2037929 w 4011840"/>
              <a:gd name="connsiteY879" fmla="*/ 2750376 h 6858285"/>
              <a:gd name="connsiteX880" fmla="*/ 3710448 w 4011840"/>
              <a:gd name="connsiteY880" fmla="*/ 2745765 h 6858285"/>
              <a:gd name="connsiteX881" fmla="*/ 3778944 w 4011840"/>
              <a:gd name="connsiteY881" fmla="*/ 2795292 h 6858285"/>
              <a:gd name="connsiteX882" fmla="*/ 3731376 w 4011840"/>
              <a:gd name="connsiteY882" fmla="*/ 2863875 h 6858285"/>
              <a:gd name="connsiteX883" fmla="*/ 3385145 w 4011840"/>
              <a:gd name="connsiteY883" fmla="*/ 2924837 h 6858285"/>
              <a:gd name="connsiteX884" fmla="*/ 3316655 w 4011840"/>
              <a:gd name="connsiteY884" fmla="*/ 2875305 h 6858285"/>
              <a:gd name="connsiteX885" fmla="*/ 3314753 w 4011840"/>
              <a:gd name="connsiteY885" fmla="*/ 2865779 h 6858285"/>
              <a:gd name="connsiteX886" fmla="*/ 3364218 w 4011840"/>
              <a:gd name="connsiteY886" fmla="*/ 2806724 h 6858285"/>
              <a:gd name="connsiteX887" fmla="*/ 3710448 w 4011840"/>
              <a:gd name="connsiteY887" fmla="*/ 2745765 h 6858285"/>
              <a:gd name="connsiteX888" fmla="*/ 2576948 w 4011840"/>
              <a:gd name="connsiteY888" fmla="*/ 2745743 h 6858285"/>
              <a:gd name="connsiteX889" fmla="*/ 2645436 w 4011840"/>
              <a:gd name="connsiteY889" fmla="*/ 2795273 h 6858285"/>
              <a:gd name="connsiteX890" fmla="*/ 2595973 w 4011840"/>
              <a:gd name="connsiteY890" fmla="*/ 2863852 h 6858285"/>
              <a:gd name="connsiteX891" fmla="*/ 2251629 w 4011840"/>
              <a:gd name="connsiteY891" fmla="*/ 2924813 h 6858285"/>
              <a:gd name="connsiteX892" fmla="*/ 2183141 w 4011840"/>
              <a:gd name="connsiteY892" fmla="*/ 2875282 h 6858285"/>
              <a:gd name="connsiteX893" fmla="*/ 2181238 w 4011840"/>
              <a:gd name="connsiteY893" fmla="*/ 2865758 h 6858285"/>
              <a:gd name="connsiteX894" fmla="*/ 2230702 w 4011840"/>
              <a:gd name="connsiteY894" fmla="*/ 2806703 h 6858285"/>
              <a:gd name="connsiteX895" fmla="*/ 2576948 w 4011840"/>
              <a:gd name="connsiteY895" fmla="*/ 2745743 h 6858285"/>
              <a:gd name="connsiteX896" fmla="*/ 3140488 w 4011840"/>
              <a:gd name="connsiteY896" fmla="*/ 2739127 h 6858285"/>
              <a:gd name="connsiteX897" fmla="*/ 3210926 w 4011840"/>
              <a:gd name="connsiteY897" fmla="*/ 2796693 h 6858285"/>
              <a:gd name="connsiteX898" fmla="*/ 3153818 w 4011840"/>
              <a:gd name="connsiteY898" fmla="*/ 2867695 h 6858285"/>
              <a:gd name="connsiteX899" fmla="*/ 2807329 w 4011840"/>
              <a:gd name="connsiteY899" fmla="*/ 2906076 h 6858285"/>
              <a:gd name="connsiteX900" fmla="*/ 2736893 w 4011840"/>
              <a:gd name="connsiteY900" fmla="*/ 2848505 h 6858285"/>
              <a:gd name="connsiteX901" fmla="*/ 2736893 w 4011840"/>
              <a:gd name="connsiteY901" fmla="*/ 2840828 h 6858285"/>
              <a:gd name="connsiteX902" fmla="*/ 2794003 w 4011840"/>
              <a:gd name="connsiteY902" fmla="*/ 2777505 h 6858285"/>
              <a:gd name="connsiteX903" fmla="*/ 3140488 w 4011840"/>
              <a:gd name="connsiteY903" fmla="*/ 2739127 h 6858285"/>
              <a:gd name="connsiteX904" fmla="*/ 4011840 w 4011840"/>
              <a:gd name="connsiteY904" fmla="*/ 2488817 h 6858285"/>
              <a:gd name="connsiteX905" fmla="*/ 4011840 w 4011840"/>
              <a:gd name="connsiteY905" fmla="*/ 2605107 h 6858285"/>
              <a:gd name="connsiteX906" fmla="*/ 3951516 w 4011840"/>
              <a:gd name="connsiteY906" fmla="*/ 2618129 h 6858285"/>
              <a:gd name="connsiteX907" fmla="*/ 3883076 w 4011840"/>
              <a:gd name="connsiteY907" fmla="*/ 2574325 h 6858285"/>
              <a:gd name="connsiteX908" fmla="*/ 3883076 w 4011840"/>
              <a:gd name="connsiteY908" fmla="*/ 2562897 h 6858285"/>
              <a:gd name="connsiteX909" fmla="*/ 3926804 w 4011840"/>
              <a:gd name="connsiteY909" fmla="*/ 2507652 h 6858285"/>
              <a:gd name="connsiteX910" fmla="*/ 4010808 w 4011840"/>
              <a:gd name="connsiteY910" fmla="*/ 2489046 h 6858285"/>
              <a:gd name="connsiteX911" fmla="*/ 399503 w 4011840"/>
              <a:gd name="connsiteY911" fmla="*/ 2446974 h 6858285"/>
              <a:gd name="connsiteX912" fmla="*/ 423846 w 4011840"/>
              <a:gd name="connsiteY912" fmla="*/ 2468859 h 6858285"/>
              <a:gd name="connsiteX913" fmla="*/ 400935 w 4011840"/>
              <a:gd name="connsiteY913" fmla="*/ 2525937 h 6858285"/>
              <a:gd name="connsiteX914" fmla="*/ 61095 w 4011840"/>
              <a:gd name="connsiteY914" fmla="*/ 2676233 h 6858285"/>
              <a:gd name="connsiteX915" fmla="*/ 3818 w 4011840"/>
              <a:gd name="connsiteY915" fmla="*/ 2655306 h 6858285"/>
              <a:gd name="connsiteX916" fmla="*/ 0 w 4011840"/>
              <a:gd name="connsiteY916" fmla="*/ 2638182 h 6858285"/>
              <a:gd name="connsiteX917" fmla="*/ 26729 w 4011840"/>
              <a:gd name="connsiteY917" fmla="*/ 2598228 h 6858285"/>
              <a:gd name="connsiteX918" fmla="*/ 366569 w 4011840"/>
              <a:gd name="connsiteY918" fmla="*/ 2447925 h 6858285"/>
              <a:gd name="connsiteX919" fmla="*/ 399503 w 4011840"/>
              <a:gd name="connsiteY919" fmla="*/ 2446974 h 6858285"/>
              <a:gd name="connsiteX920" fmla="*/ 930705 w 4011840"/>
              <a:gd name="connsiteY920" fmla="*/ 2440109 h 6858285"/>
              <a:gd name="connsiteX921" fmla="*/ 973124 w 4011840"/>
              <a:gd name="connsiteY921" fmla="*/ 2471595 h 6858285"/>
              <a:gd name="connsiteX922" fmla="*/ 944487 w 4011840"/>
              <a:gd name="connsiteY922" fmla="*/ 2532310 h 6858285"/>
              <a:gd name="connsiteX923" fmla="*/ 602753 w 4011840"/>
              <a:gd name="connsiteY923" fmla="*/ 2657520 h 6858285"/>
              <a:gd name="connsiteX924" fmla="*/ 541661 w 4011840"/>
              <a:gd name="connsiteY924" fmla="*/ 2629065 h 6858285"/>
              <a:gd name="connsiteX925" fmla="*/ 539751 w 4011840"/>
              <a:gd name="connsiteY925" fmla="*/ 2613887 h 6858285"/>
              <a:gd name="connsiteX926" fmla="*/ 570297 w 4011840"/>
              <a:gd name="connsiteY926" fmla="*/ 2568357 h 6858285"/>
              <a:gd name="connsiteX927" fmla="*/ 912032 w 4011840"/>
              <a:gd name="connsiteY927" fmla="*/ 2443134 h 6858285"/>
              <a:gd name="connsiteX928" fmla="*/ 930705 w 4011840"/>
              <a:gd name="connsiteY928" fmla="*/ 2440109 h 6858285"/>
              <a:gd name="connsiteX929" fmla="*/ 1482958 w 4011840"/>
              <a:gd name="connsiteY929" fmla="*/ 2434934 h 6858285"/>
              <a:gd name="connsiteX930" fmla="*/ 1527491 w 4011840"/>
              <a:gd name="connsiteY930" fmla="*/ 2472764 h 6858285"/>
              <a:gd name="connsiteX931" fmla="*/ 1491245 w 4011840"/>
              <a:gd name="connsiteY931" fmla="*/ 2537631 h 6858285"/>
              <a:gd name="connsiteX932" fmla="*/ 1147861 w 4011840"/>
              <a:gd name="connsiteY932" fmla="*/ 2638738 h 6858285"/>
              <a:gd name="connsiteX933" fmla="*/ 1082999 w 4011840"/>
              <a:gd name="connsiteY933" fmla="*/ 2602491 h 6858285"/>
              <a:gd name="connsiteX934" fmla="*/ 1081092 w 4011840"/>
              <a:gd name="connsiteY934" fmla="*/ 2587229 h 6858285"/>
              <a:gd name="connsiteX935" fmla="*/ 1119245 w 4011840"/>
              <a:gd name="connsiteY935" fmla="*/ 2537631 h 6858285"/>
              <a:gd name="connsiteX936" fmla="*/ 1462630 w 4011840"/>
              <a:gd name="connsiteY936" fmla="*/ 2436514 h 6858285"/>
              <a:gd name="connsiteX937" fmla="*/ 1482958 w 4011840"/>
              <a:gd name="connsiteY937" fmla="*/ 2434934 h 6858285"/>
              <a:gd name="connsiteX938" fmla="*/ 2016607 w 4011840"/>
              <a:gd name="connsiteY938" fmla="*/ 2431420 h 6858285"/>
              <a:gd name="connsiteX939" fmla="*/ 2085053 w 4011840"/>
              <a:gd name="connsiteY939" fmla="*/ 2475236 h 6858285"/>
              <a:gd name="connsiteX940" fmla="*/ 2041322 w 4011840"/>
              <a:gd name="connsiteY940" fmla="*/ 2543819 h 6858285"/>
              <a:gd name="connsiteX941" fmla="*/ 1697222 w 4011840"/>
              <a:gd name="connsiteY941" fmla="*/ 2618110 h 6858285"/>
              <a:gd name="connsiteX942" fmla="*/ 1630683 w 4011840"/>
              <a:gd name="connsiteY942" fmla="*/ 2574297 h 6858285"/>
              <a:gd name="connsiteX943" fmla="*/ 1628782 w 4011840"/>
              <a:gd name="connsiteY943" fmla="*/ 2562869 h 6858285"/>
              <a:gd name="connsiteX944" fmla="*/ 1674409 w 4011840"/>
              <a:gd name="connsiteY944" fmla="*/ 2507623 h 6858285"/>
              <a:gd name="connsiteX945" fmla="*/ 2016607 w 4011840"/>
              <a:gd name="connsiteY945" fmla="*/ 2431420 h 6858285"/>
              <a:gd name="connsiteX946" fmla="*/ 2799530 w 4011840"/>
              <a:gd name="connsiteY946" fmla="*/ 2428900 h 6858285"/>
              <a:gd name="connsiteX947" fmla="*/ 3148601 w 4011840"/>
              <a:gd name="connsiteY947" fmla="*/ 2428900 h 6858285"/>
              <a:gd name="connsiteX948" fmla="*/ 3221085 w 4011840"/>
              <a:gd name="connsiteY948" fmla="*/ 2499556 h 6858285"/>
              <a:gd name="connsiteX949" fmla="*/ 3148601 w 4011840"/>
              <a:gd name="connsiteY949" fmla="*/ 2570198 h 6858285"/>
              <a:gd name="connsiteX950" fmla="*/ 2799530 w 4011840"/>
              <a:gd name="connsiteY950" fmla="*/ 2570198 h 6858285"/>
              <a:gd name="connsiteX951" fmla="*/ 2728953 w 4011840"/>
              <a:gd name="connsiteY951" fmla="*/ 2499556 h 6858285"/>
              <a:gd name="connsiteX952" fmla="*/ 2799530 w 4011840"/>
              <a:gd name="connsiteY952" fmla="*/ 2428900 h 6858285"/>
              <a:gd name="connsiteX953" fmla="*/ 3713474 w 4011840"/>
              <a:gd name="connsiteY953" fmla="*/ 2424773 h 6858285"/>
              <a:gd name="connsiteX954" fmla="*/ 3782104 w 4011840"/>
              <a:gd name="connsiteY954" fmla="*/ 2478118 h 6858285"/>
              <a:gd name="connsiteX955" fmla="*/ 3730632 w 4011840"/>
              <a:gd name="connsiteY955" fmla="*/ 2546706 h 6858285"/>
              <a:gd name="connsiteX956" fmla="*/ 3383699 w 4011840"/>
              <a:gd name="connsiteY956" fmla="*/ 2598127 h 6858285"/>
              <a:gd name="connsiteX957" fmla="*/ 3315071 w 4011840"/>
              <a:gd name="connsiteY957" fmla="*/ 2546706 h 6858285"/>
              <a:gd name="connsiteX958" fmla="*/ 3313164 w 4011840"/>
              <a:gd name="connsiteY958" fmla="*/ 2537183 h 6858285"/>
              <a:gd name="connsiteX959" fmla="*/ 3366541 w 4011840"/>
              <a:gd name="connsiteY959" fmla="*/ 2476213 h 6858285"/>
              <a:gd name="connsiteX960" fmla="*/ 3713474 w 4011840"/>
              <a:gd name="connsiteY960" fmla="*/ 2424773 h 6858285"/>
              <a:gd name="connsiteX961" fmla="*/ 2578386 w 4011840"/>
              <a:gd name="connsiteY961" fmla="*/ 2424750 h 6858285"/>
              <a:gd name="connsiteX962" fmla="*/ 2647013 w 4011840"/>
              <a:gd name="connsiteY962" fmla="*/ 2478093 h 6858285"/>
              <a:gd name="connsiteX963" fmla="*/ 2595543 w 4011840"/>
              <a:gd name="connsiteY963" fmla="*/ 2546673 h 6858285"/>
              <a:gd name="connsiteX964" fmla="*/ 2248597 w 4011840"/>
              <a:gd name="connsiteY964" fmla="*/ 2598105 h 6858285"/>
              <a:gd name="connsiteX965" fmla="*/ 2179970 w 4011840"/>
              <a:gd name="connsiteY965" fmla="*/ 2546673 h 6858285"/>
              <a:gd name="connsiteX966" fmla="*/ 2178064 w 4011840"/>
              <a:gd name="connsiteY966" fmla="*/ 2537148 h 6858285"/>
              <a:gd name="connsiteX967" fmla="*/ 2231440 w 4011840"/>
              <a:gd name="connsiteY967" fmla="*/ 2476187 h 6858285"/>
              <a:gd name="connsiteX968" fmla="*/ 2578386 w 4011840"/>
              <a:gd name="connsiteY968" fmla="*/ 2424750 h 6858285"/>
              <a:gd name="connsiteX969" fmla="*/ 4011840 w 4011840"/>
              <a:gd name="connsiteY969" fmla="*/ 2170473 h 6858285"/>
              <a:gd name="connsiteX970" fmla="*/ 4011840 w 4011840"/>
              <a:gd name="connsiteY970" fmla="*/ 2283142 h 6858285"/>
              <a:gd name="connsiteX971" fmla="*/ 3952804 w 4011840"/>
              <a:gd name="connsiteY971" fmla="*/ 2297465 h 6858285"/>
              <a:gd name="connsiteX972" fmla="*/ 3884032 w 4011840"/>
              <a:gd name="connsiteY972" fmla="*/ 2257651 h 6858285"/>
              <a:gd name="connsiteX973" fmla="*/ 3926060 w 4011840"/>
              <a:gd name="connsiteY973" fmla="*/ 2191286 h 6858285"/>
              <a:gd name="connsiteX974" fmla="*/ 4010006 w 4011840"/>
              <a:gd name="connsiteY974" fmla="*/ 2170918 h 6858285"/>
              <a:gd name="connsiteX975" fmla="*/ 398983 w 4011840"/>
              <a:gd name="connsiteY975" fmla="*/ 2123120 h 6858285"/>
              <a:gd name="connsiteX976" fmla="*/ 423236 w 4011840"/>
              <a:gd name="connsiteY976" fmla="*/ 2145003 h 6858285"/>
              <a:gd name="connsiteX977" fmla="*/ 427040 w 4011840"/>
              <a:gd name="connsiteY977" fmla="*/ 2164030 h 6858285"/>
              <a:gd name="connsiteX978" fmla="*/ 402312 w 4011840"/>
              <a:gd name="connsiteY978" fmla="*/ 2202079 h 6858285"/>
              <a:gd name="connsiteX979" fmla="*/ 61813 w 4011840"/>
              <a:gd name="connsiteY979" fmla="*/ 2354282 h 6858285"/>
              <a:gd name="connsiteX980" fmla="*/ 6649 w 4011840"/>
              <a:gd name="connsiteY980" fmla="*/ 2333354 h 6858285"/>
              <a:gd name="connsiteX981" fmla="*/ 27573 w 4011840"/>
              <a:gd name="connsiteY981" fmla="*/ 2276277 h 6858285"/>
              <a:gd name="connsiteX982" fmla="*/ 366169 w 4011840"/>
              <a:gd name="connsiteY982" fmla="*/ 2124071 h 6858285"/>
              <a:gd name="connsiteX983" fmla="*/ 398983 w 4011840"/>
              <a:gd name="connsiteY983" fmla="*/ 2123120 h 6858285"/>
              <a:gd name="connsiteX984" fmla="*/ 930370 w 4011840"/>
              <a:gd name="connsiteY984" fmla="*/ 2116219 h 6858285"/>
              <a:gd name="connsiteX985" fmla="*/ 972820 w 4011840"/>
              <a:gd name="connsiteY985" fmla="*/ 2145797 h 6858285"/>
              <a:gd name="connsiteX986" fmla="*/ 974730 w 4011840"/>
              <a:gd name="connsiteY986" fmla="*/ 2162851 h 6858285"/>
              <a:gd name="connsiteX987" fmla="*/ 944162 w 4011840"/>
              <a:gd name="connsiteY987" fmla="*/ 2206429 h 6858285"/>
              <a:gd name="connsiteX988" fmla="*/ 602179 w 4011840"/>
              <a:gd name="connsiteY988" fmla="*/ 2335271 h 6858285"/>
              <a:gd name="connsiteX989" fmla="*/ 542953 w 4011840"/>
              <a:gd name="connsiteY989" fmla="*/ 2308740 h 6858285"/>
              <a:gd name="connsiteX990" fmla="*/ 569700 w 4011840"/>
              <a:gd name="connsiteY990" fmla="*/ 2248111 h 6858285"/>
              <a:gd name="connsiteX991" fmla="*/ 911683 w 4011840"/>
              <a:gd name="connsiteY991" fmla="*/ 2119271 h 6858285"/>
              <a:gd name="connsiteX992" fmla="*/ 930370 w 4011840"/>
              <a:gd name="connsiteY992" fmla="*/ 2116219 h 6858285"/>
              <a:gd name="connsiteX993" fmla="*/ 1482447 w 4011840"/>
              <a:gd name="connsiteY993" fmla="*/ 2110273 h 6858285"/>
              <a:gd name="connsiteX994" fmla="*/ 1525280 w 4011840"/>
              <a:gd name="connsiteY994" fmla="*/ 2147134 h 6858285"/>
              <a:gd name="connsiteX995" fmla="*/ 1527184 w 4011840"/>
              <a:gd name="connsiteY995" fmla="*/ 2162332 h 6858285"/>
              <a:gd name="connsiteX996" fmla="*/ 1492917 w 4011840"/>
              <a:gd name="connsiteY996" fmla="*/ 2209820 h 6858285"/>
              <a:gd name="connsiteX997" fmla="*/ 1150255 w 4011840"/>
              <a:gd name="connsiteY997" fmla="*/ 2316193 h 6858285"/>
              <a:gd name="connsiteX998" fmla="*/ 1085530 w 4011840"/>
              <a:gd name="connsiteY998" fmla="*/ 2283894 h 6858285"/>
              <a:gd name="connsiteX999" fmla="*/ 1119796 w 4011840"/>
              <a:gd name="connsiteY999" fmla="*/ 2219317 h 6858285"/>
              <a:gd name="connsiteX1000" fmla="*/ 1462458 w 4011840"/>
              <a:gd name="connsiteY1000" fmla="*/ 2112944 h 6858285"/>
              <a:gd name="connsiteX1001" fmla="*/ 1482447 w 4011840"/>
              <a:gd name="connsiteY1001" fmla="*/ 2110273 h 6858285"/>
              <a:gd name="connsiteX1002" fmla="*/ 2038710 w 4011840"/>
              <a:gd name="connsiteY1002" fmla="*/ 2106607 h 6858285"/>
              <a:gd name="connsiteX1003" fmla="*/ 2084082 w 4011840"/>
              <a:gd name="connsiteY1003" fmla="*/ 2147672 h 6858285"/>
              <a:gd name="connsiteX1004" fmla="*/ 2085991 w 4011840"/>
              <a:gd name="connsiteY1004" fmla="*/ 2160946 h 6858285"/>
              <a:gd name="connsiteX1005" fmla="*/ 2043989 w 4011840"/>
              <a:gd name="connsiteY1005" fmla="*/ 2214037 h 6858285"/>
              <a:gd name="connsiteX1006" fmla="*/ 1698467 w 4011840"/>
              <a:gd name="connsiteY1006" fmla="*/ 2297465 h 6858285"/>
              <a:gd name="connsiteX1007" fmla="*/ 1631654 w 4011840"/>
              <a:gd name="connsiteY1007" fmla="*/ 2257649 h 6858285"/>
              <a:gd name="connsiteX1008" fmla="*/ 1671742 w 4011840"/>
              <a:gd name="connsiteY1008" fmla="*/ 2191284 h 6858285"/>
              <a:gd name="connsiteX1009" fmla="*/ 2017264 w 4011840"/>
              <a:gd name="connsiteY1009" fmla="*/ 2107852 h 6858285"/>
              <a:gd name="connsiteX1010" fmla="*/ 2038710 w 4011840"/>
              <a:gd name="connsiteY1010" fmla="*/ 2106607 h 6858285"/>
              <a:gd name="connsiteX1011" fmla="*/ 3734742 w 4011840"/>
              <a:gd name="connsiteY1011" fmla="*/ 2101210 h 6858285"/>
              <a:gd name="connsiteX1012" fmla="*/ 3779872 w 4011840"/>
              <a:gd name="connsiteY1012" fmla="*/ 2149163 h 6858285"/>
              <a:gd name="connsiteX1013" fmla="*/ 3779872 w 4011840"/>
              <a:gd name="connsiteY1013" fmla="*/ 2158688 h 6858285"/>
              <a:gd name="connsiteX1014" fmla="*/ 3732116 w 4011840"/>
              <a:gd name="connsiteY1014" fmla="*/ 2217741 h 6858285"/>
              <a:gd name="connsiteX1015" fmla="*/ 3384469 w 4011840"/>
              <a:gd name="connsiteY1015" fmla="*/ 2278699 h 6858285"/>
              <a:gd name="connsiteX1016" fmla="*/ 3315701 w 4011840"/>
              <a:gd name="connsiteY1016" fmla="*/ 2231076 h 6858285"/>
              <a:gd name="connsiteX1017" fmla="*/ 3363456 w 4011840"/>
              <a:gd name="connsiteY1017" fmla="*/ 2160593 h 6858285"/>
              <a:gd name="connsiteX1018" fmla="*/ 3711104 w 4011840"/>
              <a:gd name="connsiteY1018" fmla="*/ 2101538 h 6858285"/>
              <a:gd name="connsiteX1019" fmla="*/ 3734742 w 4011840"/>
              <a:gd name="connsiteY1019" fmla="*/ 2101210 h 6858285"/>
              <a:gd name="connsiteX1020" fmla="*/ 2601252 w 4011840"/>
              <a:gd name="connsiteY1020" fmla="*/ 2101207 h 6858285"/>
              <a:gd name="connsiteX1021" fmla="*/ 2646380 w 4011840"/>
              <a:gd name="connsiteY1021" fmla="*/ 2149158 h 6858285"/>
              <a:gd name="connsiteX1022" fmla="*/ 2646380 w 4011840"/>
              <a:gd name="connsiteY1022" fmla="*/ 2158685 h 6858285"/>
              <a:gd name="connsiteX1023" fmla="*/ 2596715 w 4011840"/>
              <a:gd name="connsiteY1023" fmla="*/ 2217739 h 6858285"/>
              <a:gd name="connsiteX1024" fmla="*/ 2250972 w 4011840"/>
              <a:gd name="connsiteY1024" fmla="*/ 2278698 h 6858285"/>
              <a:gd name="connsiteX1025" fmla="*/ 2182205 w 4011840"/>
              <a:gd name="connsiteY1025" fmla="*/ 2231074 h 6858285"/>
              <a:gd name="connsiteX1026" fmla="*/ 2229960 w 4011840"/>
              <a:gd name="connsiteY1026" fmla="*/ 2160590 h 6858285"/>
              <a:gd name="connsiteX1027" fmla="*/ 2577613 w 4011840"/>
              <a:gd name="connsiteY1027" fmla="*/ 2101535 h 6858285"/>
              <a:gd name="connsiteX1028" fmla="*/ 2601252 w 4011840"/>
              <a:gd name="connsiteY1028" fmla="*/ 2101207 h 6858285"/>
              <a:gd name="connsiteX1029" fmla="*/ 3141099 w 4011840"/>
              <a:gd name="connsiteY1029" fmla="*/ 2094543 h 6858285"/>
              <a:gd name="connsiteX1030" fmla="*/ 3211539 w 4011840"/>
              <a:gd name="connsiteY1030" fmla="*/ 2151589 h 6858285"/>
              <a:gd name="connsiteX1031" fmla="*/ 3211539 w 4011840"/>
              <a:gd name="connsiteY1031" fmla="*/ 2159195 h 6858285"/>
              <a:gd name="connsiteX1032" fmla="*/ 3156330 w 4011840"/>
              <a:gd name="connsiteY1032" fmla="*/ 2221944 h 6858285"/>
              <a:gd name="connsiteX1033" fmla="*/ 2807941 w 4011840"/>
              <a:gd name="connsiteY1033" fmla="*/ 2259975 h 6858285"/>
              <a:gd name="connsiteX1034" fmla="*/ 2737501 w 4011840"/>
              <a:gd name="connsiteY1034" fmla="*/ 2202929 h 6858285"/>
              <a:gd name="connsiteX1035" fmla="*/ 2794615 w 4011840"/>
              <a:gd name="connsiteY1035" fmla="*/ 2132570 h 6858285"/>
              <a:gd name="connsiteX1036" fmla="*/ 3141099 w 4011840"/>
              <a:gd name="connsiteY1036" fmla="*/ 2094543 h 6858285"/>
              <a:gd name="connsiteX1037" fmla="*/ 4011840 w 4011840"/>
              <a:gd name="connsiteY1037" fmla="*/ 1849489 h 6858285"/>
              <a:gd name="connsiteX1038" fmla="*/ 4011840 w 4011840"/>
              <a:gd name="connsiteY1038" fmla="*/ 1962430 h 6858285"/>
              <a:gd name="connsiteX1039" fmla="*/ 3952612 w 4011840"/>
              <a:gd name="connsiteY1039" fmla="*/ 1978320 h 6858285"/>
              <a:gd name="connsiteX1040" fmla="*/ 3885932 w 4011840"/>
              <a:gd name="connsiteY1040" fmla="*/ 1939991 h 6858285"/>
              <a:gd name="connsiteX1041" fmla="*/ 3924032 w 4011840"/>
              <a:gd name="connsiteY1041" fmla="*/ 1872916 h 6858285"/>
              <a:gd name="connsiteX1042" fmla="*/ 4008210 w 4011840"/>
              <a:gd name="connsiteY1042" fmla="*/ 1850457 h 6858285"/>
              <a:gd name="connsiteX1043" fmla="*/ 398962 w 4011840"/>
              <a:gd name="connsiteY1043" fmla="*/ 1800917 h 6858285"/>
              <a:gd name="connsiteX1044" fmla="*/ 423233 w 4011840"/>
              <a:gd name="connsiteY1044" fmla="*/ 1822936 h 6858285"/>
              <a:gd name="connsiteX1045" fmla="*/ 427041 w 4011840"/>
              <a:gd name="connsiteY1045" fmla="*/ 1840169 h 6858285"/>
              <a:gd name="connsiteX1046" fmla="*/ 400390 w 4011840"/>
              <a:gd name="connsiteY1046" fmla="*/ 1878463 h 6858285"/>
              <a:gd name="connsiteX1047" fmla="*/ 61546 w 4011840"/>
              <a:gd name="connsiteY1047" fmla="*/ 2033553 h 6858285"/>
              <a:gd name="connsiteX1048" fmla="*/ 6342 w 4011840"/>
              <a:gd name="connsiteY1048" fmla="*/ 2012491 h 6858285"/>
              <a:gd name="connsiteX1049" fmla="*/ 27281 w 4011840"/>
              <a:gd name="connsiteY1049" fmla="*/ 1955050 h 6858285"/>
              <a:gd name="connsiteX1050" fmla="*/ 366125 w 4011840"/>
              <a:gd name="connsiteY1050" fmla="*/ 1801874 h 6858285"/>
              <a:gd name="connsiteX1051" fmla="*/ 398962 w 4011840"/>
              <a:gd name="connsiteY1051" fmla="*/ 1800917 h 6858285"/>
              <a:gd name="connsiteX1052" fmla="*/ 929266 w 4011840"/>
              <a:gd name="connsiteY1052" fmla="*/ 1792140 h 6858285"/>
              <a:gd name="connsiteX1053" fmla="*/ 970909 w 4011840"/>
              <a:gd name="connsiteY1053" fmla="*/ 1822144 h 6858285"/>
              <a:gd name="connsiteX1054" fmla="*/ 974730 w 4011840"/>
              <a:gd name="connsiteY1054" fmla="*/ 1839289 h 6858285"/>
              <a:gd name="connsiteX1055" fmla="*/ 946072 w 4011840"/>
              <a:gd name="connsiteY1055" fmla="*/ 1883104 h 6858285"/>
              <a:gd name="connsiteX1056" fmla="*/ 604089 w 4011840"/>
              <a:gd name="connsiteY1056" fmla="*/ 2014549 h 6858285"/>
              <a:gd name="connsiteX1057" fmla="*/ 542953 w 4011840"/>
              <a:gd name="connsiteY1057" fmla="*/ 1989784 h 6858285"/>
              <a:gd name="connsiteX1058" fmla="*/ 569700 w 4011840"/>
              <a:gd name="connsiteY1058" fmla="*/ 1928824 h 6858285"/>
              <a:gd name="connsiteX1059" fmla="*/ 911683 w 4011840"/>
              <a:gd name="connsiteY1059" fmla="*/ 1795473 h 6858285"/>
              <a:gd name="connsiteX1060" fmla="*/ 929266 w 4011840"/>
              <a:gd name="connsiteY1060" fmla="*/ 1792140 h 6858285"/>
              <a:gd name="connsiteX1061" fmla="*/ 1480544 w 4011840"/>
              <a:gd name="connsiteY1061" fmla="*/ 1786402 h 6858285"/>
              <a:gd name="connsiteX1062" fmla="*/ 1523376 w 4011840"/>
              <a:gd name="connsiteY1062" fmla="*/ 1819714 h 6858285"/>
              <a:gd name="connsiteX1063" fmla="*/ 1527184 w 4011840"/>
              <a:gd name="connsiteY1063" fmla="*/ 1836908 h 6858285"/>
              <a:gd name="connsiteX1064" fmla="*/ 1492918 w 4011840"/>
              <a:gd name="connsiteY1064" fmla="*/ 1884667 h 6858285"/>
              <a:gd name="connsiteX1065" fmla="*/ 1150255 w 4011840"/>
              <a:gd name="connsiteY1065" fmla="*/ 1997380 h 6858285"/>
              <a:gd name="connsiteX1066" fmla="*/ 1087434 w 4011840"/>
              <a:gd name="connsiteY1066" fmla="*/ 1964903 h 6858285"/>
              <a:gd name="connsiteX1067" fmla="*/ 1119796 w 4011840"/>
              <a:gd name="connsiteY1067" fmla="*/ 1901861 h 6858285"/>
              <a:gd name="connsiteX1068" fmla="*/ 1460555 w 4011840"/>
              <a:gd name="connsiteY1068" fmla="*/ 1789148 h 6858285"/>
              <a:gd name="connsiteX1069" fmla="*/ 1480544 w 4011840"/>
              <a:gd name="connsiteY1069" fmla="*/ 1786402 h 6858285"/>
              <a:gd name="connsiteX1070" fmla="*/ 2035632 w 4011840"/>
              <a:gd name="connsiteY1070" fmla="*/ 1779621 h 6858285"/>
              <a:gd name="connsiteX1071" fmla="*/ 2080910 w 4011840"/>
              <a:gd name="connsiteY1071" fmla="*/ 1819238 h 6858285"/>
              <a:gd name="connsiteX1072" fmla="*/ 2082815 w 4011840"/>
              <a:gd name="connsiteY1072" fmla="*/ 1834569 h 6858285"/>
              <a:gd name="connsiteX1073" fmla="*/ 2042805 w 4011840"/>
              <a:gd name="connsiteY1073" fmla="*/ 1886314 h 6858285"/>
              <a:gd name="connsiteX1074" fmla="*/ 1699901 w 4011840"/>
              <a:gd name="connsiteY1074" fmla="*/ 1978302 h 6858285"/>
              <a:gd name="connsiteX1075" fmla="*/ 1633225 w 4011840"/>
              <a:gd name="connsiteY1075" fmla="*/ 1939974 h 6858285"/>
              <a:gd name="connsiteX1076" fmla="*/ 1671326 w 4011840"/>
              <a:gd name="connsiteY1076" fmla="*/ 1872898 h 6858285"/>
              <a:gd name="connsiteX1077" fmla="*/ 2014230 w 4011840"/>
              <a:gd name="connsiteY1077" fmla="*/ 1780909 h 6858285"/>
              <a:gd name="connsiteX1078" fmla="*/ 2035632 w 4011840"/>
              <a:gd name="connsiteY1078" fmla="*/ 1779621 h 6858285"/>
              <a:gd name="connsiteX1079" fmla="*/ 3732186 w 4011840"/>
              <a:gd name="connsiteY1079" fmla="*/ 1775473 h 6858285"/>
              <a:gd name="connsiteX1080" fmla="*/ 3778300 w 4011840"/>
              <a:gd name="connsiteY1080" fmla="*/ 1820015 h 6858285"/>
              <a:gd name="connsiteX1081" fmla="*/ 3778300 w 4011840"/>
              <a:gd name="connsiteY1081" fmla="*/ 1831463 h 6858285"/>
              <a:gd name="connsiteX1082" fmla="*/ 3732544 w 4011840"/>
              <a:gd name="connsiteY1082" fmla="*/ 1888705 h 6858285"/>
              <a:gd name="connsiteX1083" fmla="*/ 3387514 w 4011840"/>
              <a:gd name="connsiteY1083" fmla="*/ 1959303 h 6858285"/>
              <a:gd name="connsiteX1084" fmla="*/ 3318883 w 4011840"/>
              <a:gd name="connsiteY1084" fmla="*/ 1915418 h 6858285"/>
              <a:gd name="connsiteX1085" fmla="*/ 3364636 w 4011840"/>
              <a:gd name="connsiteY1085" fmla="*/ 1846728 h 6858285"/>
              <a:gd name="connsiteX1086" fmla="*/ 3709668 w 4011840"/>
              <a:gd name="connsiteY1086" fmla="*/ 1776129 h 6858285"/>
              <a:gd name="connsiteX1087" fmla="*/ 3732186 w 4011840"/>
              <a:gd name="connsiteY1087" fmla="*/ 1775473 h 6858285"/>
              <a:gd name="connsiteX1088" fmla="*/ 2597096 w 4011840"/>
              <a:gd name="connsiteY1088" fmla="*/ 1775454 h 6858285"/>
              <a:gd name="connsiteX1089" fmla="*/ 2643205 w 4011840"/>
              <a:gd name="connsiteY1089" fmla="*/ 1819995 h 6858285"/>
              <a:gd name="connsiteX1090" fmla="*/ 2643205 w 4011840"/>
              <a:gd name="connsiteY1090" fmla="*/ 1831444 h 6858285"/>
              <a:gd name="connsiteX1091" fmla="*/ 2597453 w 4011840"/>
              <a:gd name="connsiteY1091" fmla="*/ 1888685 h 6858285"/>
              <a:gd name="connsiteX1092" fmla="*/ 2252409 w 4011840"/>
              <a:gd name="connsiteY1092" fmla="*/ 1959283 h 6858285"/>
              <a:gd name="connsiteX1093" fmla="*/ 2183781 w 4011840"/>
              <a:gd name="connsiteY1093" fmla="*/ 1915398 h 6858285"/>
              <a:gd name="connsiteX1094" fmla="*/ 2229533 w 4011840"/>
              <a:gd name="connsiteY1094" fmla="*/ 1846708 h 6858285"/>
              <a:gd name="connsiteX1095" fmla="*/ 2574577 w 4011840"/>
              <a:gd name="connsiteY1095" fmla="*/ 1776110 h 6858285"/>
              <a:gd name="connsiteX1096" fmla="*/ 2597096 w 4011840"/>
              <a:gd name="connsiteY1096" fmla="*/ 1775454 h 6858285"/>
              <a:gd name="connsiteX1097" fmla="*/ 3139439 w 4011840"/>
              <a:gd name="connsiteY1097" fmla="*/ 1767852 h 6858285"/>
              <a:gd name="connsiteX1098" fmla="*/ 3209972 w 4011840"/>
              <a:gd name="connsiteY1098" fmla="*/ 1819198 h 6858285"/>
              <a:gd name="connsiteX1099" fmla="*/ 3209972 w 4011840"/>
              <a:gd name="connsiteY1099" fmla="*/ 1828706 h 6858285"/>
              <a:gd name="connsiteX1100" fmla="*/ 3156596 w 4011840"/>
              <a:gd name="connsiteY1100" fmla="*/ 1889561 h 6858285"/>
              <a:gd name="connsiteX1101" fmla="*/ 2811555 w 4011840"/>
              <a:gd name="connsiteY1101" fmla="*/ 1939005 h 6858285"/>
              <a:gd name="connsiteX1102" fmla="*/ 2741022 w 4011840"/>
              <a:gd name="connsiteY1102" fmla="*/ 1887660 h 6858285"/>
              <a:gd name="connsiteX1103" fmla="*/ 2792492 w 4011840"/>
              <a:gd name="connsiteY1103" fmla="*/ 1819198 h 6858285"/>
              <a:gd name="connsiteX1104" fmla="*/ 3139439 w 4011840"/>
              <a:gd name="connsiteY1104" fmla="*/ 1767852 h 6858285"/>
              <a:gd name="connsiteX1105" fmla="*/ 4011840 w 4011840"/>
              <a:gd name="connsiteY1105" fmla="*/ 1531095 h 6858285"/>
              <a:gd name="connsiteX1106" fmla="*/ 4011840 w 4011840"/>
              <a:gd name="connsiteY1106" fmla="*/ 1641028 h 6858285"/>
              <a:gd name="connsiteX1107" fmla="*/ 3954252 w 4011840"/>
              <a:gd name="connsiteY1107" fmla="*/ 1657678 h 6858285"/>
              <a:gd name="connsiteX1108" fmla="*/ 3887528 w 4011840"/>
              <a:gd name="connsiteY1108" fmla="*/ 1621430 h 6858285"/>
              <a:gd name="connsiteX1109" fmla="*/ 3923748 w 4011840"/>
              <a:gd name="connsiteY1109" fmla="*/ 1556564 h 6858285"/>
              <a:gd name="connsiteX1110" fmla="*/ 4007518 w 4011840"/>
              <a:gd name="connsiteY1110" fmla="*/ 1532344 h 6858285"/>
              <a:gd name="connsiteX1111" fmla="*/ 398249 w 4011840"/>
              <a:gd name="connsiteY1111" fmla="*/ 1477054 h 6858285"/>
              <a:gd name="connsiteX1112" fmla="*/ 423234 w 4011840"/>
              <a:gd name="connsiteY1112" fmla="*/ 1499043 h 6858285"/>
              <a:gd name="connsiteX1113" fmla="*/ 427041 w 4011840"/>
              <a:gd name="connsiteY1113" fmla="*/ 1516254 h 6858285"/>
              <a:gd name="connsiteX1114" fmla="*/ 402294 w 4011840"/>
              <a:gd name="connsiteY1114" fmla="*/ 1556411 h 6858285"/>
              <a:gd name="connsiteX1115" fmla="*/ 61547 w 4011840"/>
              <a:gd name="connsiteY1115" fmla="*/ 1711302 h 6858285"/>
              <a:gd name="connsiteX1116" fmla="*/ 6342 w 4011840"/>
              <a:gd name="connsiteY1116" fmla="*/ 1690267 h 6858285"/>
              <a:gd name="connsiteX1117" fmla="*/ 27282 w 4011840"/>
              <a:gd name="connsiteY1117" fmla="*/ 1632900 h 6858285"/>
              <a:gd name="connsiteX1118" fmla="*/ 366125 w 4011840"/>
              <a:gd name="connsiteY1118" fmla="*/ 1478010 h 6858285"/>
              <a:gd name="connsiteX1119" fmla="*/ 398249 w 4011840"/>
              <a:gd name="connsiteY1119" fmla="*/ 1477054 h 6858285"/>
              <a:gd name="connsiteX1120" fmla="*/ 929397 w 4011840"/>
              <a:gd name="connsiteY1120" fmla="*/ 1468271 h 6858285"/>
              <a:gd name="connsiteX1121" fmla="*/ 970920 w 4011840"/>
              <a:gd name="connsiteY1121" fmla="*/ 1498195 h 6858285"/>
              <a:gd name="connsiteX1122" fmla="*/ 974730 w 4011840"/>
              <a:gd name="connsiteY1122" fmla="*/ 1515296 h 6858285"/>
              <a:gd name="connsiteX1123" fmla="*/ 946155 w 4011840"/>
              <a:gd name="connsiteY1123" fmla="*/ 1557096 h 6858285"/>
              <a:gd name="connsiteX1124" fmla="*/ 605156 w 4011840"/>
              <a:gd name="connsiteY1124" fmla="*/ 1693897 h 6858285"/>
              <a:gd name="connsiteX1125" fmla="*/ 546100 w 4011840"/>
              <a:gd name="connsiteY1125" fmla="*/ 1667296 h 6858285"/>
              <a:gd name="connsiteX1126" fmla="*/ 570866 w 4011840"/>
              <a:gd name="connsiteY1126" fmla="*/ 1608396 h 6858285"/>
              <a:gd name="connsiteX1127" fmla="*/ 911865 w 4011840"/>
              <a:gd name="connsiteY1127" fmla="*/ 1471596 h 6858285"/>
              <a:gd name="connsiteX1128" fmla="*/ 929397 w 4011840"/>
              <a:gd name="connsiteY1128" fmla="*/ 1468271 h 6858285"/>
              <a:gd name="connsiteX1129" fmla="*/ 1479724 w 4011840"/>
              <a:gd name="connsiteY1129" fmla="*/ 1461429 h 6858285"/>
              <a:gd name="connsiteX1130" fmla="*/ 1523689 w 4011840"/>
              <a:gd name="connsiteY1130" fmla="*/ 1493843 h 6858285"/>
              <a:gd name="connsiteX1131" fmla="*/ 1525596 w 4011840"/>
              <a:gd name="connsiteY1131" fmla="*/ 1510988 h 6858285"/>
              <a:gd name="connsiteX1132" fmla="*/ 1493187 w 4011840"/>
              <a:gd name="connsiteY1132" fmla="*/ 1556708 h 6858285"/>
              <a:gd name="connsiteX1133" fmla="*/ 1150039 w 4011840"/>
              <a:gd name="connsiteY1133" fmla="*/ 1674820 h 6858285"/>
              <a:gd name="connsiteX1134" fmla="*/ 1089034 w 4011840"/>
              <a:gd name="connsiteY1134" fmla="*/ 1644339 h 6858285"/>
              <a:gd name="connsiteX1135" fmla="*/ 1117630 w 4011840"/>
              <a:gd name="connsiteY1135" fmla="*/ 1583379 h 6858285"/>
              <a:gd name="connsiteX1136" fmla="*/ 1460779 w 4011840"/>
              <a:gd name="connsiteY1136" fmla="*/ 1463363 h 6858285"/>
              <a:gd name="connsiteX1137" fmla="*/ 1479724 w 4011840"/>
              <a:gd name="connsiteY1137" fmla="*/ 1461429 h 6858285"/>
              <a:gd name="connsiteX1138" fmla="*/ 2034947 w 4011840"/>
              <a:gd name="connsiteY1138" fmla="*/ 1454929 h 6858285"/>
              <a:gd name="connsiteX1139" fmla="*/ 2079328 w 4011840"/>
              <a:gd name="connsiteY1139" fmla="*/ 1491683 h 6858285"/>
              <a:gd name="connsiteX1140" fmla="*/ 2081229 w 4011840"/>
              <a:gd name="connsiteY1140" fmla="*/ 1506945 h 6858285"/>
              <a:gd name="connsiteX1141" fmla="*/ 2043204 w 4011840"/>
              <a:gd name="connsiteY1141" fmla="*/ 1558456 h 6858285"/>
              <a:gd name="connsiteX1142" fmla="*/ 1701020 w 4011840"/>
              <a:gd name="connsiteY1142" fmla="*/ 1657662 h 6858285"/>
              <a:gd name="connsiteX1143" fmla="*/ 1636385 w 4011840"/>
              <a:gd name="connsiteY1143" fmla="*/ 1621413 h 6858285"/>
              <a:gd name="connsiteX1144" fmla="*/ 1672505 w 4011840"/>
              <a:gd name="connsiteY1144" fmla="*/ 1556548 h 6858285"/>
              <a:gd name="connsiteX1145" fmla="*/ 2014689 w 4011840"/>
              <a:gd name="connsiteY1145" fmla="*/ 1457343 h 6858285"/>
              <a:gd name="connsiteX1146" fmla="*/ 2034947 w 4011840"/>
              <a:gd name="connsiteY1146" fmla="*/ 1454929 h 6858285"/>
              <a:gd name="connsiteX1147" fmla="*/ 3729076 w 4011840"/>
              <a:gd name="connsiteY1147" fmla="*/ 1449674 h 6858285"/>
              <a:gd name="connsiteX1148" fmla="*/ 3773220 w 4011840"/>
              <a:gd name="connsiteY1148" fmla="*/ 1490533 h 6858285"/>
              <a:gd name="connsiteX1149" fmla="*/ 3775124 w 4011840"/>
              <a:gd name="connsiteY1149" fmla="*/ 1503826 h 6858285"/>
              <a:gd name="connsiteX1150" fmla="*/ 3733268 w 4011840"/>
              <a:gd name="connsiteY1150" fmla="*/ 1558900 h 6858285"/>
              <a:gd name="connsiteX1151" fmla="*/ 3388949 w 4011840"/>
              <a:gd name="connsiteY1151" fmla="*/ 1638661 h 6858285"/>
              <a:gd name="connsiteX1152" fmla="*/ 3322361 w 4011840"/>
              <a:gd name="connsiteY1152" fmla="*/ 1598781 h 6858285"/>
              <a:gd name="connsiteX1153" fmla="*/ 3362311 w 4011840"/>
              <a:gd name="connsiteY1153" fmla="*/ 1530413 h 6858285"/>
              <a:gd name="connsiteX1154" fmla="*/ 3706634 w 4011840"/>
              <a:gd name="connsiteY1154" fmla="*/ 1450653 h 6858285"/>
              <a:gd name="connsiteX1155" fmla="*/ 3729076 w 4011840"/>
              <a:gd name="connsiteY1155" fmla="*/ 1449674 h 6858285"/>
              <a:gd name="connsiteX1156" fmla="*/ 2595306 w 4011840"/>
              <a:gd name="connsiteY1156" fmla="*/ 1449656 h 6858285"/>
              <a:gd name="connsiteX1157" fmla="*/ 2639715 w 4011840"/>
              <a:gd name="connsiteY1157" fmla="*/ 1490515 h 6858285"/>
              <a:gd name="connsiteX1158" fmla="*/ 2641617 w 4011840"/>
              <a:gd name="connsiteY1158" fmla="*/ 1503809 h 6858285"/>
              <a:gd name="connsiteX1159" fmla="*/ 2597862 w 4011840"/>
              <a:gd name="connsiteY1159" fmla="*/ 1558882 h 6858285"/>
              <a:gd name="connsiteX1160" fmla="*/ 2255431 w 4011840"/>
              <a:gd name="connsiteY1160" fmla="*/ 1638643 h 6858285"/>
              <a:gd name="connsiteX1161" fmla="*/ 2188847 w 4011840"/>
              <a:gd name="connsiteY1161" fmla="*/ 1598762 h 6858285"/>
              <a:gd name="connsiteX1162" fmla="*/ 2228797 w 4011840"/>
              <a:gd name="connsiteY1162" fmla="*/ 1530396 h 6858285"/>
              <a:gd name="connsiteX1163" fmla="*/ 2573131 w 4011840"/>
              <a:gd name="connsiteY1163" fmla="*/ 1450635 h 6858285"/>
              <a:gd name="connsiteX1164" fmla="*/ 2595306 w 4011840"/>
              <a:gd name="connsiteY1164" fmla="*/ 1449656 h 6858285"/>
              <a:gd name="connsiteX1165" fmla="*/ 3137758 w 4011840"/>
              <a:gd name="connsiteY1165" fmla="*/ 1442422 h 6858285"/>
              <a:gd name="connsiteX1166" fmla="*/ 3206474 w 4011840"/>
              <a:gd name="connsiteY1166" fmla="*/ 1490047 h 6858285"/>
              <a:gd name="connsiteX1167" fmla="*/ 3208386 w 4011840"/>
              <a:gd name="connsiteY1167" fmla="*/ 1499571 h 6858285"/>
              <a:gd name="connsiteX1168" fmla="*/ 3158756 w 4011840"/>
              <a:gd name="connsiteY1168" fmla="*/ 1558627 h 6858285"/>
              <a:gd name="connsiteX1169" fmla="*/ 2813246 w 4011840"/>
              <a:gd name="connsiteY1169" fmla="*/ 1621493 h 6858285"/>
              <a:gd name="connsiteX1170" fmla="*/ 2744526 w 4011840"/>
              <a:gd name="connsiteY1170" fmla="*/ 1573867 h 6858285"/>
              <a:gd name="connsiteX1171" fmla="*/ 2792249 w 4011840"/>
              <a:gd name="connsiteY1171" fmla="*/ 1505286 h 6858285"/>
              <a:gd name="connsiteX1172" fmla="*/ 3137758 w 4011840"/>
              <a:gd name="connsiteY1172" fmla="*/ 1442422 h 6858285"/>
              <a:gd name="connsiteX1173" fmla="*/ 4011840 w 4011840"/>
              <a:gd name="connsiteY1173" fmla="*/ 1212485 h 6858285"/>
              <a:gd name="connsiteX1174" fmla="*/ 4011840 w 4011840"/>
              <a:gd name="connsiteY1174" fmla="*/ 1319140 h 6858285"/>
              <a:gd name="connsiteX1175" fmla="*/ 3955366 w 4011840"/>
              <a:gd name="connsiteY1175" fmla="*/ 1337024 h 6858285"/>
              <a:gd name="connsiteX1176" fmla="*/ 3890684 w 4011840"/>
              <a:gd name="connsiteY1176" fmla="*/ 1302782 h 6858285"/>
              <a:gd name="connsiteX1177" fmla="*/ 3924928 w 4011840"/>
              <a:gd name="connsiteY1177" fmla="*/ 1240007 h 6858285"/>
              <a:gd name="connsiteX1178" fmla="*/ 4008522 w 4011840"/>
              <a:gd name="connsiteY1178" fmla="*/ 1213536 h 6858285"/>
              <a:gd name="connsiteX1179" fmla="*/ 398307 w 4011840"/>
              <a:gd name="connsiteY1179" fmla="*/ 1155612 h 6858285"/>
              <a:gd name="connsiteX1180" fmla="*/ 421644 w 4011840"/>
              <a:gd name="connsiteY1180" fmla="*/ 1178178 h 6858285"/>
              <a:gd name="connsiteX1181" fmla="*/ 425454 w 4011840"/>
              <a:gd name="connsiteY1181" fmla="*/ 1195279 h 6858285"/>
              <a:gd name="connsiteX1182" fmla="*/ 402594 w 4011840"/>
              <a:gd name="connsiteY1182" fmla="*/ 1233281 h 6858285"/>
              <a:gd name="connsiteX1183" fmla="*/ 61595 w 4011840"/>
              <a:gd name="connsiteY1183" fmla="*/ 1389098 h 6858285"/>
              <a:gd name="connsiteX1184" fmla="*/ 6349 w 4011840"/>
              <a:gd name="connsiteY1184" fmla="*/ 1368196 h 6858285"/>
              <a:gd name="connsiteX1185" fmla="*/ 27304 w 4011840"/>
              <a:gd name="connsiteY1185" fmla="*/ 1313089 h 6858285"/>
              <a:gd name="connsiteX1186" fmla="*/ 366398 w 4011840"/>
              <a:gd name="connsiteY1186" fmla="*/ 1157275 h 6858285"/>
              <a:gd name="connsiteX1187" fmla="*/ 398307 w 4011840"/>
              <a:gd name="connsiteY1187" fmla="*/ 1155612 h 6858285"/>
              <a:gd name="connsiteX1188" fmla="*/ 929385 w 4011840"/>
              <a:gd name="connsiteY1188" fmla="*/ 1144384 h 6858285"/>
              <a:gd name="connsiteX1189" fmla="*/ 969330 w 4011840"/>
              <a:gd name="connsiteY1189" fmla="*/ 1172402 h 6858285"/>
              <a:gd name="connsiteX1190" fmla="*/ 973143 w 4011840"/>
              <a:gd name="connsiteY1190" fmla="*/ 1189481 h 6858285"/>
              <a:gd name="connsiteX1191" fmla="*/ 946453 w 4011840"/>
              <a:gd name="connsiteY1191" fmla="*/ 1231226 h 6858285"/>
              <a:gd name="connsiteX1192" fmla="*/ 605206 w 4011840"/>
              <a:gd name="connsiteY1192" fmla="*/ 1371647 h 6858285"/>
              <a:gd name="connsiteX1193" fmla="*/ 546107 w 4011840"/>
              <a:gd name="connsiteY1193" fmla="*/ 1346978 h 6858285"/>
              <a:gd name="connsiteX1194" fmla="*/ 570891 w 4011840"/>
              <a:gd name="connsiteY1194" fmla="*/ 1288153 h 6858285"/>
              <a:gd name="connsiteX1195" fmla="*/ 912138 w 4011840"/>
              <a:gd name="connsiteY1195" fmla="*/ 1147734 h 6858285"/>
              <a:gd name="connsiteX1196" fmla="*/ 929385 w 4011840"/>
              <a:gd name="connsiteY1196" fmla="*/ 1144384 h 6858285"/>
              <a:gd name="connsiteX1197" fmla="*/ 1478252 w 4011840"/>
              <a:gd name="connsiteY1197" fmla="*/ 1136777 h 6858285"/>
              <a:gd name="connsiteX1198" fmla="*/ 1520519 w 4011840"/>
              <a:gd name="connsiteY1198" fmla="*/ 1168302 h 6858285"/>
              <a:gd name="connsiteX1199" fmla="*/ 1522421 w 4011840"/>
              <a:gd name="connsiteY1199" fmla="*/ 1185401 h 6858285"/>
              <a:gd name="connsiteX1200" fmla="*/ 1491984 w 4011840"/>
              <a:gd name="connsiteY1200" fmla="*/ 1230995 h 6858285"/>
              <a:gd name="connsiteX1201" fmla="*/ 1151475 w 4011840"/>
              <a:gd name="connsiteY1201" fmla="*/ 1354481 h 6858285"/>
              <a:gd name="connsiteX1202" fmla="*/ 1088700 w 4011840"/>
              <a:gd name="connsiteY1202" fmla="*/ 1325984 h 6858285"/>
              <a:gd name="connsiteX1203" fmla="*/ 1117234 w 4011840"/>
              <a:gd name="connsiteY1203" fmla="*/ 1263291 h 6858285"/>
              <a:gd name="connsiteX1204" fmla="*/ 1459646 w 4011840"/>
              <a:gd name="connsiteY1204" fmla="*/ 1139805 h 6858285"/>
              <a:gd name="connsiteX1205" fmla="*/ 1478252 w 4011840"/>
              <a:gd name="connsiteY1205" fmla="*/ 1136777 h 6858285"/>
              <a:gd name="connsiteX1206" fmla="*/ 2033027 w 4011840"/>
              <a:gd name="connsiteY1206" fmla="*/ 1129690 h 6858285"/>
              <a:gd name="connsiteX1207" fmla="*/ 2077738 w 4011840"/>
              <a:gd name="connsiteY1207" fmla="*/ 1165803 h 6858285"/>
              <a:gd name="connsiteX1208" fmla="*/ 2079641 w 4011840"/>
              <a:gd name="connsiteY1208" fmla="*/ 1181022 h 6858285"/>
              <a:gd name="connsiteX1209" fmla="*/ 2043467 w 4011840"/>
              <a:gd name="connsiteY1209" fmla="*/ 1228577 h 6858285"/>
              <a:gd name="connsiteX1210" fmla="*/ 1702708 w 4011840"/>
              <a:gd name="connsiteY1210" fmla="*/ 1337007 h 6858285"/>
              <a:gd name="connsiteX1211" fmla="*/ 1637983 w 4011840"/>
              <a:gd name="connsiteY1211" fmla="*/ 1302766 h 6858285"/>
              <a:gd name="connsiteX1212" fmla="*/ 1670346 w 4011840"/>
              <a:gd name="connsiteY1212" fmla="*/ 1239991 h 6858285"/>
              <a:gd name="connsiteX1213" fmla="*/ 2013008 w 4011840"/>
              <a:gd name="connsiteY1213" fmla="*/ 1131563 h 6858285"/>
              <a:gd name="connsiteX1214" fmla="*/ 2033027 w 4011840"/>
              <a:gd name="connsiteY1214" fmla="*/ 1129690 h 6858285"/>
              <a:gd name="connsiteX1215" fmla="*/ 3726352 w 4011840"/>
              <a:gd name="connsiteY1215" fmla="*/ 1122412 h 6858285"/>
              <a:gd name="connsiteX1216" fmla="*/ 3771630 w 4011840"/>
              <a:gd name="connsiteY1216" fmla="*/ 1162029 h 6858285"/>
              <a:gd name="connsiteX1217" fmla="*/ 3773534 w 4011840"/>
              <a:gd name="connsiteY1217" fmla="*/ 1175444 h 6858285"/>
              <a:gd name="connsiteX1218" fmla="*/ 3733528 w 4011840"/>
              <a:gd name="connsiteY1218" fmla="*/ 1229103 h 6858285"/>
              <a:gd name="connsiteX1219" fmla="*/ 3390637 w 4011840"/>
              <a:gd name="connsiteY1219" fmla="*/ 1321092 h 6858285"/>
              <a:gd name="connsiteX1220" fmla="*/ 3323960 w 4011840"/>
              <a:gd name="connsiteY1220" fmla="*/ 1282761 h 6858285"/>
              <a:gd name="connsiteX1221" fmla="*/ 3362061 w 4011840"/>
              <a:gd name="connsiteY1221" fmla="*/ 1215690 h 6858285"/>
              <a:gd name="connsiteX1222" fmla="*/ 3704952 w 4011840"/>
              <a:gd name="connsiteY1222" fmla="*/ 1123700 h 6858285"/>
              <a:gd name="connsiteX1223" fmla="*/ 3726352 w 4011840"/>
              <a:gd name="connsiteY1223" fmla="*/ 1122412 h 6858285"/>
              <a:gd name="connsiteX1224" fmla="*/ 2592851 w 4011840"/>
              <a:gd name="connsiteY1224" fmla="*/ 1122392 h 6858285"/>
              <a:gd name="connsiteX1225" fmla="*/ 2638126 w 4011840"/>
              <a:gd name="connsiteY1225" fmla="*/ 1162008 h 6858285"/>
              <a:gd name="connsiteX1226" fmla="*/ 2640030 w 4011840"/>
              <a:gd name="connsiteY1226" fmla="*/ 1175424 h 6858285"/>
              <a:gd name="connsiteX1227" fmla="*/ 2600026 w 4011840"/>
              <a:gd name="connsiteY1227" fmla="*/ 1229084 h 6858285"/>
              <a:gd name="connsiteX1228" fmla="*/ 2257121 w 4011840"/>
              <a:gd name="connsiteY1228" fmla="*/ 1321073 h 6858285"/>
              <a:gd name="connsiteX1229" fmla="*/ 2190445 w 4011840"/>
              <a:gd name="connsiteY1229" fmla="*/ 1282744 h 6858285"/>
              <a:gd name="connsiteX1230" fmla="*/ 2228546 w 4011840"/>
              <a:gd name="connsiteY1230" fmla="*/ 1215669 h 6858285"/>
              <a:gd name="connsiteX1231" fmla="*/ 2571449 w 4011840"/>
              <a:gd name="connsiteY1231" fmla="*/ 1123680 h 6858285"/>
              <a:gd name="connsiteX1232" fmla="*/ 2592851 w 4011840"/>
              <a:gd name="connsiteY1232" fmla="*/ 1122392 h 6858285"/>
              <a:gd name="connsiteX1233" fmla="*/ 3157611 w 4011840"/>
              <a:gd name="connsiteY1233" fmla="*/ 1116352 h 6858285"/>
              <a:gd name="connsiteX1234" fmla="*/ 3201722 w 4011840"/>
              <a:gd name="connsiteY1234" fmla="*/ 1159215 h 6858285"/>
              <a:gd name="connsiteX1235" fmla="*/ 3203624 w 4011840"/>
              <a:gd name="connsiteY1235" fmla="*/ 1172550 h 6858285"/>
              <a:gd name="connsiteX1236" fmla="*/ 3159900 w 4011840"/>
              <a:gd name="connsiteY1236" fmla="*/ 1227794 h 6858285"/>
              <a:gd name="connsiteX1237" fmla="*/ 2815797 w 4011840"/>
              <a:gd name="connsiteY1237" fmla="*/ 1303992 h 6858285"/>
              <a:gd name="connsiteX1238" fmla="*/ 2747356 w 4011840"/>
              <a:gd name="connsiteY1238" fmla="*/ 1260177 h 6858285"/>
              <a:gd name="connsiteX1239" fmla="*/ 2791085 w 4011840"/>
              <a:gd name="connsiteY1239" fmla="*/ 1191600 h 6858285"/>
              <a:gd name="connsiteX1240" fmla="*/ 3135184 w 4011840"/>
              <a:gd name="connsiteY1240" fmla="*/ 1117304 h 6858285"/>
              <a:gd name="connsiteX1241" fmla="*/ 3157611 w 4011840"/>
              <a:gd name="connsiteY1241" fmla="*/ 1116352 h 6858285"/>
              <a:gd name="connsiteX1242" fmla="*/ 4011840 w 4011840"/>
              <a:gd name="connsiteY1242" fmla="*/ 892779 h 6858285"/>
              <a:gd name="connsiteX1243" fmla="*/ 4011840 w 4011840"/>
              <a:gd name="connsiteY1243" fmla="*/ 999216 h 6858285"/>
              <a:gd name="connsiteX1244" fmla="*/ 3957056 w 4011840"/>
              <a:gd name="connsiteY1244" fmla="*/ 1017912 h 6858285"/>
              <a:gd name="connsiteX1245" fmla="*/ 3894188 w 4011840"/>
              <a:gd name="connsiteY1245" fmla="*/ 985481 h 6858285"/>
              <a:gd name="connsiteX1246" fmla="*/ 3924668 w 4011840"/>
              <a:gd name="connsiteY1246" fmla="*/ 922528 h 6858285"/>
              <a:gd name="connsiteX1247" fmla="*/ 4007916 w 4011840"/>
              <a:gd name="connsiteY1247" fmla="*/ 894118 h 6858285"/>
              <a:gd name="connsiteX1248" fmla="*/ 398307 w 4011840"/>
              <a:gd name="connsiteY1248" fmla="*/ 832461 h 6858285"/>
              <a:gd name="connsiteX1249" fmla="*/ 421644 w 4011840"/>
              <a:gd name="connsiteY1249" fmla="*/ 854286 h 6858285"/>
              <a:gd name="connsiteX1250" fmla="*/ 425454 w 4011840"/>
              <a:gd name="connsiteY1250" fmla="*/ 871366 h 6858285"/>
              <a:gd name="connsiteX1251" fmla="*/ 400689 w 4011840"/>
              <a:gd name="connsiteY1251" fmla="*/ 909323 h 6858285"/>
              <a:gd name="connsiteX1252" fmla="*/ 61595 w 4011840"/>
              <a:gd name="connsiteY1252" fmla="*/ 1066847 h 6858285"/>
              <a:gd name="connsiteX1253" fmla="*/ 6349 w 4011840"/>
              <a:gd name="connsiteY1253" fmla="*/ 1045967 h 6858285"/>
              <a:gd name="connsiteX1254" fmla="*/ 27304 w 4011840"/>
              <a:gd name="connsiteY1254" fmla="*/ 990930 h 6858285"/>
              <a:gd name="connsiteX1255" fmla="*/ 366398 w 4011840"/>
              <a:gd name="connsiteY1255" fmla="*/ 833409 h 6858285"/>
              <a:gd name="connsiteX1256" fmla="*/ 398307 w 4011840"/>
              <a:gd name="connsiteY1256" fmla="*/ 832461 h 6858285"/>
              <a:gd name="connsiteX1257" fmla="*/ 944785 w 4011840"/>
              <a:gd name="connsiteY1257" fmla="*/ 824757 h 6858285"/>
              <a:gd name="connsiteX1258" fmla="*/ 969330 w 4011840"/>
              <a:gd name="connsiteY1258" fmla="*/ 848240 h 6858285"/>
              <a:gd name="connsiteX1259" fmla="*/ 973143 w 4011840"/>
              <a:gd name="connsiteY1259" fmla="*/ 865318 h 6858285"/>
              <a:gd name="connsiteX1260" fmla="*/ 946453 w 4011840"/>
              <a:gd name="connsiteY1260" fmla="*/ 907064 h 6858285"/>
              <a:gd name="connsiteX1261" fmla="*/ 605206 w 4011840"/>
              <a:gd name="connsiteY1261" fmla="*/ 1049381 h 6858285"/>
              <a:gd name="connsiteX1262" fmla="*/ 546108 w 4011840"/>
              <a:gd name="connsiteY1262" fmla="*/ 1024713 h 6858285"/>
              <a:gd name="connsiteX1263" fmla="*/ 570891 w 4011840"/>
              <a:gd name="connsiteY1263" fmla="*/ 967786 h 6858285"/>
              <a:gd name="connsiteX1264" fmla="*/ 910231 w 4011840"/>
              <a:gd name="connsiteY1264" fmla="*/ 825469 h 6858285"/>
              <a:gd name="connsiteX1265" fmla="*/ 944785 w 4011840"/>
              <a:gd name="connsiteY1265" fmla="*/ 824757 h 6858285"/>
              <a:gd name="connsiteX1266" fmla="*/ 1476350 w 4011840"/>
              <a:gd name="connsiteY1266" fmla="*/ 812922 h 6858285"/>
              <a:gd name="connsiteX1267" fmla="*/ 1518617 w 4011840"/>
              <a:gd name="connsiteY1267" fmla="*/ 842698 h 6858285"/>
              <a:gd name="connsiteX1268" fmla="*/ 1522421 w 4011840"/>
              <a:gd name="connsiteY1268" fmla="*/ 859866 h 6858285"/>
              <a:gd name="connsiteX1269" fmla="*/ 1491985 w 4011840"/>
              <a:gd name="connsiteY1269" fmla="*/ 903740 h 6858285"/>
              <a:gd name="connsiteX1270" fmla="*/ 1151476 w 4011840"/>
              <a:gd name="connsiteY1270" fmla="*/ 1033454 h 6858285"/>
              <a:gd name="connsiteX1271" fmla="*/ 1090602 w 4011840"/>
              <a:gd name="connsiteY1271" fmla="*/ 1006748 h 6858285"/>
              <a:gd name="connsiteX1272" fmla="*/ 1117234 w 4011840"/>
              <a:gd name="connsiteY1272" fmla="*/ 945706 h 6858285"/>
              <a:gd name="connsiteX1273" fmla="*/ 1457743 w 4011840"/>
              <a:gd name="connsiteY1273" fmla="*/ 815992 h 6858285"/>
              <a:gd name="connsiteX1274" fmla="*/ 1476350 w 4011840"/>
              <a:gd name="connsiteY1274" fmla="*/ 812922 h 6858285"/>
              <a:gd name="connsiteX1275" fmla="*/ 2032209 w 4011840"/>
              <a:gd name="connsiteY1275" fmla="*/ 804237 h 6858285"/>
              <a:gd name="connsiteX1276" fmla="*/ 2076148 w 4011840"/>
              <a:gd name="connsiteY1276" fmla="*/ 838575 h 6858285"/>
              <a:gd name="connsiteX1277" fmla="*/ 2078054 w 4011840"/>
              <a:gd name="connsiteY1277" fmla="*/ 853837 h 6858285"/>
              <a:gd name="connsiteX1278" fmla="*/ 2043759 w 4011840"/>
              <a:gd name="connsiteY1278" fmla="*/ 901528 h 6858285"/>
              <a:gd name="connsiteX1279" fmla="*/ 1702759 w 4011840"/>
              <a:gd name="connsiteY1279" fmla="*/ 1017896 h 6858285"/>
              <a:gd name="connsiteX1280" fmla="*/ 1639894 w 4011840"/>
              <a:gd name="connsiteY1280" fmla="*/ 985466 h 6858285"/>
              <a:gd name="connsiteX1281" fmla="*/ 1670374 w 4011840"/>
              <a:gd name="connsiteY1281" fmla="*/ 922513 h 6858285"/>
              <a:gd name="connsiteX1282" fmla="*/ 2013278 w 4011840"/>
              <a:gd name="connsiteY1282" fmla="*/ 806145 h 6858285"/>
              <a:gd name="connsiteX1283" fmla="*/ 2032209 w 4011840"/>
              <a:gd name="connsiteY1283" fmla="*/ 804237 h 6858285"/>
              <a:gd name="connsiteX1284" fmla="*/ 3725236 w 4011840"/>
              <a:gd name="connsiteY1284" fmla="*/ 796615 h 6858285"/>
              <a:gd name="connsiteX1285" fmla="*/ 3770040 w 4011840"/>
              <a:gd name="connsiteY1285" fmla="*/ 832564 h 6858285"/>
              <a:gd name="connsiteX1286" fmla="*/ 3771948 w 4011840"/>
              <a:gd name="connsiteY1286" fmla="*/ 847826 h 6858285"/>
              <a:gd name="connsiteX1287" fmla="*/ 3733792 w 4011840"/>
              <a:gd name="connsiteY1287" fmla="*/ 897429 h 6858285"/>
              <a:gd name="connsiteX1288" fmla="*/ 3390423 w 4011840"/>
              <a:gd name="connsiteY1288" fmla="*/ 1000449 h 6858285"/>
              <a:gd name="connsiteX1289" fmla="*/ 3325558 w 4011840"/>
              <a:gd name="connsiteY1289" fmla="*/ 964201 h 6858285"/>
              <a:gd name="connsiteX1290" fmla="*/ 3361806 w 4011840"/>
              <a:gd name="connsiteY1290" fmla="*/ 899337 h 6858285"/>
              <a:gd name="connsiteX1291" fmla="*/ 3705176 w 4011840"/>
              <a:gd name="connsiteY1291" fmla="*/ 798224 h 6858285"/>
              <a:gd name="connsiteX1292" fmla="*/ 3725236 w 4011840"/>
              <a:gd name="connsiteY1292" fmla="*/ 796615 h 6858285"/>
              <a:gd name="connsiteX1293" fmla="*/ 2591734 w 4011840"/>
              <a:gd name="connsiteY1293" fmla="*/ 796597 h 6858285"/>
              <a:gd name="connsiteX1294" fmla="*/ 2636535 w 4011840"/>
              <a:gd name="connsiteY1294" fmla="*/ 832546 h 6858285"/>
              <a:gd name="connsiteX1295" fmla="*/ 2638443 w 4011840"/>
              <a:gd name="connsiteY1295" fmla="*/ 847809 h 6858285"/>
              <a:gd name="connsiteX1296" fmla="*/ 2600289 w 4011840"/>
              <a:gd name="connsiteY1296" fmla="*/ 897411 h 6858285"/>
              <a:gd name="connsiteX1297" fmla="*/ 2256905 w 4011840"/>
              <a:gd name="connsiteY1297" fmla="*/ 1000432 h 6858285"/>
              <a:gd name="connsiteX1298" fmla="*/ 2192044 w 4011840"/>
              <a:gd name="connsiteY1298" fmla="*/ 964184 h 6858285"/>
              <a:gd name="connsiteX1299" fmla="*/ 2228290 w 4011840"/>
              <a:gd name="connsiteY1299" fmla="*/ 899319 h 6858285"/>
              <a:gd name="connsiteX1300" fmla="*/ 2571674 w 4011840"/>
              <a:gd name="connsiteY1300" fmla="*/ 798206 h 6858285"/>
              <a:gd name="connsiteX1301" fmla="*/ 2591734 w 4011840"/>
              <a:gd name="connsiteY1301" fmla="*/ 796597 h 6858285"/>
              <a:gd name="connsiteX1302" fmla="*/ 3154890 w 4011840"/>
              <a:gd name="connsiteY1302" fmla="*/ 787706 h 6858285"/>
              <a:gd name="connsiteX1303" fmla="*/ 3200131 w 4011840"/>
              <a:gd name="connsiteY1303" fmla="*/ 828693 h 6858285"/>
              <a:gd name="connsiteX1304" fmla="*/ 3202035 w 4011840"/>
              <a:gd name="connsiteY1304" fmla="*/ 842028 h 6858285"/>
              <a:gd name="connsiteX1305" fmla="*/ 3160155 w 4011840"/>
              <a:gd name="connsiteY1305" fmla="*/ 895367 h 6858285"/>
              <a:gd name="connsiteX1306" fmla="*/ 2817485 w 4011840"/>
              <a:gd name="connsiteY1306" fmla="*/ 982997 h 6858285"/>
              <a:gd name="connsiteX1307" fmla="*/ 2750856 w 4011840"/>
              <a:gd name="connsiteY1307" fmla="*/ 944898 h 6858285"/>
              <a:gd name="connsiteX1308" fmla="*/ 2788932 w 4011840"/>
              <a:gd name="connsiteY1308" fmla="*/ 878223 h 6858285"/>
              <a:gd name="connsiteX1309" fmla="*/ 3133502 w 4011840"/>
              <a:gd name="connsiteY1309" fmla="*/ 788688 h 6858285"/>
              <a:gd name="connsiteX1310" fmla="*/ 3154890 w 4011840"/>
              <a:gd name="connsiteY1310" fmla="*/ 787706 h 6858285"/>
              <a:gd name="connsiteX1311" fmla="*/ 4011840 w 4011840"/>
              <a:gd name="connsiteY1311" fmla="*/ 574461 h 6858285"/>
              <a:gd name="connsiteX1312" fmla="*/ 4011840 w 4011840"/>
              <a:gd name="connsiteY1312" fmla="*/ 675481 h 6858285"/>
              <a:gd name="connsiteX1313" fmla="*/ 3956840 w 4011840"/>
              <a:gd name="connsiteY1313" fmla="*/ 695371 h 6858285"/>
              <a:gd name="connsiteX1314" fmla="*/ 3895788 w 4011840"/>
              <a:gd name="connsiteY1314" fmla="*/ 666874 h 6858285"/>
              <a:gd name="connsiteX1315" fmla="*/ 3924406 w 4011840"/>
              <a:gd name="connsiteY1315" fmla="*/ 606080 h 6858285"/>
              <a:gd name="connsiteX1316" fmla="*/ 4007772 w 4011840"/>
              <a:gd name="connsiteY1316" fmla="*/ 575932 h 6858285"/>
              <a:gd name="connsiteX1317" fmla="*/ 382532 w 4011840"/>
              <a:gd name="connsiteY1317" fmla="*/ 506676 h 6858285"/>
              <a:gd name="connsiteX1318" fmla="*/ 421644 w 4011840"/>
              <a:gd name="connsiteY1318" fmla="*/ 530400 h 6858285"/>
              <a:gd name="connsiteX1319" fmla="*/ 425454 w 4011840"/>
              <a:gd name="connsiteY1319" fmla="*/ 547459 h 6858285"/>
              <a:gd name="connsiteX1320" fmla="*/ 400689 w 4011840"/>
              <a:gd name="connsiteY1320" fmla="*/ 585369 h 6858285"/>
              <a:gd name="connsiteX1321" fmla="*/ 61595 w 4011840"/>
              <a:gd name="connsiteY1321" fmla="*/ 744593 h 6858285"/>
              <a:gd name="connsiteX1322" fmla="*/ 6349 w 4011840"/>
              <a:gd name="connsiteY1322" fmla="*/ 723742 h 6858285"/>
              <a:gd name="connsiteX1323" fmla="*/ 27304 w 4011840"/>
              <a:gd name="connsiteY1323" fmla="*/ 668772 h 6858285"/>
              <a:gd name="connsiteX1324" fmla="*/ 366399 w 4011840"/>
              <a:gd name="connsiteY1324" fmla="*/ 511444 h 6858285"/>
              <a:gd name="connsiteX1325" fmla="*/ 382532 w 4011840"/>
              <a:gd name="connsiteY1325" fmla="*/ 506676 h 6858285"/>
              <a:gd name="connsiteX1326" fmla="*/ 943575 w 4011840"/>
              <a:gd name="connsiteY1326" fmla="*/ 500954 h 6858285"/>
              <a:gd name="connsiteX1327" fmla="*/ 968066 w 4011840"/>
              <a:gd name="connsiteY1327" fmla="*/ 524559 h 6858285"/>
              <a:gd name="connsiteX1328" fmla="*/ 969968 w 4011840"/>
              <a:gd name="connsiteY1328" fmla="*/ 541726 h 6858285"/>
              <a:gd name="connsiteX1329" fmla="*/ 945239 w 4011840"/>
              <a:gd name="connsiteY1329" fmla="*/ 581783 h 6858285"/>
              <a:gd name="connsiteX1330" fmla="*/ 604741 w 4011840"/>
              <a:gd name="connsiteY1330" fmla="*/ 728657 h 6858285"/>
              <a:gd name="connsiteX1331" fmla="*/ 547674 w 4011840"/>
              <a:gd name="connsiteY1331" fmla="*/ 705768 h 6858285"/>
              <a:gd name="connsiteX1332" fmla="*/ 570501 w 4011840"/>
              <a:gd name="connsiteY1332" fmla="*/ 648544 h 6858285"/>
              <a:gd name="connsiteX1333" fmla="*/ 909097 w 4011840"/>
              <a:gd name="connsiteY1333" fmla="*/ 501669 h 6858285"/>
              <a:gd name="connsiteX1334" fmla="*/ 943575 w 4011840"/>
              <a:gd name="connsiteY1334" fmla="*/ 500954 h 6858285"/>
              <a:gd name="connsiteX1335" fmla="*/ 1475768 w 4011840"/>
              <a:gd name="connsiteY1335" fmla="*/ 488758 h 6858285"/>
              <a:gd name="connsiteX1336" fmla="*/ 1517023 w 4011840"/>
              <a:gd name="connsiteY1336" fmla="*/ 516849 h 6858285"/>
              <a:gd name="connsiteX1337" fmla="*/ 1520833 w 4011840"/>
              <a:gd name="connsiteY1337" fmla="*/ 533972 h 6858285"/>
              <a:gd name="connsiteX1338" fmla="*/ 1492258 w 4011840"/>
              <a:gd name="connsiteY1338" fmla="*/ 577729 h 6858285"/>
              <a:gd name="connsiteX1339" fmla="*/ 1151259 w 4011840"/>
              <a:gd name="connsiteY1339" fmla="*/ 712805 h 6858285"/>
              <a:gd name="connsiteX1340" fmla="*/ 1092203 w 4011840"/>
              <a:gd name="connsiteY1340" fmla="*/ 686170 h 6858285"/>
              <a:gd name="connsiteX1341" fmla="*/ 1116969 w 4011840"/>
              <a:gd name="connsiteY1341" fmla="*/ 627193 h 6858285"/>
              <a:gd name="connsiteX1342" fmla="*/ 1457968 w 4011840"/>
              <a:gd name="connsiteY1342" fmla="*/ 492117 h 6858285"/>
              <a:gd name="connsiteX1343" fmla="*/ 1475768 w 4011840"/>
              <a:gd name="connsiteY1343" fmla="*/ 488758 h 6858285"/>
              <a:gd name="connsiteX1344" fmla="*/ 2030557 w 4011840"/>
              <a:gd name="connsiteY1344" fmla="*/ 479549 h 6858285"/>
              <a:gd name="connsiteX1345" fmla="*/ 2074559 w 4011840"/>
              <a:gd name="connsiteY1345" fmla="*/ 511073 h 6858285"/>
              <a:gd name="connsiteX1346" fmla="*/ 2076467 w 4011840"/>
              <a:gd name="connsiteY1346" fmla="*/ 528172 h 6858285"/>
              <a:gd name="connsiteX1347" fmla="*/ 2045938 w 4011840"/>
              <a:gd name="connsiteY1347" fmla="*/ 571867 h 6858285"/>
              <a:gd name="connsiteX1348" fmla="*/ 1702543 w 4011840"/>
              <a:gd name="connsiteY1348" fmla="*/ 695353 h 6858285"/>
              <a:gd name="connsiteX1349" fmla="*/ 1641495 w 4011840"/>
              <a:gd name="connsiteY1349" fmla="*/ 666857 h 6858285"/>
              <a:gd name="connsiteX1350" fmla="*/ 1670112 w 4011840"/>
              <a:gd name="connsiteY1350" fmla="*/ 606063 h 6858285"/>
              <a:gd name="connsiteX1351" fmla="*/ 2011599 w 4011840"/>
              <a:gd name="connsiteY1351" fmla="*/ 482577 h 6858285"/>
              <a:gd name="connsiteX1352" fmla="*/ 2030557 w 4011840"/>
              <a:gd name="connsiteY1352" fmla="*/ 479549 h 6858285"/>
              <a:gd name="connsiteX1353" fmla="*/ 3723552 w 4011840"/>
              <a:gd name="connsiteY1353" fmla="*/ 470397 h 6858285"/>
              <a:gd name="connsiteX1354" fmla="*/ 3766538 w 4011840"/>
              <a:gd name="connsiteY1354" fmla="*/ 505539 h 6858285"/>
              <a:gd name="connsiteX1355" fmla="*/ 3770360 w 4011840"/>
              <a:gd name="connsiteY1355" fmla="*/ 520800 h 6858285"/>
              <a:gd name="connsiteX1356" fmla="*/ 3734060 w 4011840"/>
              <a:gd name="connsiteY1356" fmla="*/ 568492 h 6858285"/>
              <a:gd name="connsiteX1357" fmla="*/ 3392112 w 4011840"/>
              <a:gd name="connsiteY1357" fmla="*/ 681044 h 6858285"/>
              <a:gd name="connsiteX1358" fmla="*/ 3329066 w 4011840"/>
              <a:gd name="connsiteY1358" fmla="*/ 648614 h 6858285"/>
              <a:gd name="connsiteX1359" fmla="*/ 3359633 w 4011840"/>
              <a:gd name="connsiteY1359" fmla="*/ 585661 h 6858285"/>
              <a:gd name="connsiteX1360" fmla="*/ 3703492 w 4011840"/>
              <a:gd name="connsiteY1360" fmla="*/ 473109 h 6858285"/>
              <a:gd name="connsiteX1361" fmla="*/ 3723552 w 4011840"/>
              <a:gd name="connsiteY1361" fmla="*/ 470397 h 6858285"/>
              <a:gd name="connsiteX1362" fmla="*/ 2590051 w 4011840"/>
              <a:gd name="connsiteY1362" fmla="*/ 470376 h 6858285"/>
              <a:gd name="connsiteX1363" fmla="*/ 2633035 w 4011840"/>
              <a:gd name="connsiteY1363" fmla="*/ 505519 h 6858285"/>
              <a:gd name="connsiteX1364" fmla="*/ 2636856 w 4011840"/>
              <a:gd name="connsiteY1364" fmla="*/ 520780 h 6858285"/>
              <a:gd name="connsiteX1365" fmla="*/ 2600558 w 4011840"/>
              <a:gd name="connsiteY1365" fmla="*/ 568472 h 6858285"/>
              <a:gd name="connsiteX1366" fmla="*/ 2258596 w 4011840"/>
              <a:gd name="connsiteY1366" fmla="*/ 681025 h 6858285"/>
              <a:gd name="connsiteX1367" fmla="*/ 2195553 w 4011840"/>
              <a:gd name="connsiteY1367" fmla="*/ 648594 h 6858285"/>
              <a:gd name="connsiteX1368" fmla="*/ 2226119 w 4011840"/>
              <a:gd name="connsiteY1368" fmla="*/ 585641 h 6858285"/>
              <a:gd name="connsiteX1369" fmla="*/ 2569992 w 4011840"/>
              <a:gd name="connsiteY1369" fmla="*/ 473089 h 6858285"/>
              <a:gd name="connsiteX1370" fmla="*/ 2590051 w 4011840"/>
              <a:gd name="connsiteY1370" fmla="*/ 470376 h 6858285"/>
              <a:gd name="connsiteX1371" fmla="*/ 3153226 w 4011840"/>
              <a:gd name="connsiteY1371" fmla="*/ 461684 h 6858285"/>
              <a:gd name="connsiteX1372" fmla="*/ 3196954 w 4011840"/>
              <a:gd name="connsiteY1372" fmla="*/ 499511 h 6858285"/>
              <a:gd name="connsiteX1373" fmla="*/ 3198860 w 4011840"/>
              <a:gd name="connsiteY1373" fmla="*/ 512866 h 6858285"/>
              <a:gd name="connsiteX1374" fmla="*/ 3162616 w 4011840"/>
              <a:gd name="connsiteY1374" fmla="*/ 564376 h 6858285"/>
              <a:gd name="connsiteX1375" fmla="*/ 2819228 w 4011840"/>
              <a:gd name="connsiteY1375" fmla="*/ 665488 h 6858285"/>
              <a:gd name="connsiteX1376" fmla="*/ 2754367 w 4011840"/>
              <a:gd name="connsiteY1376" fmla="*/ 629241 h 6858285"/>
              <a:gd name="connsiteX1377" fmla="*/ 2788705 w 4011840"/>
              <a:gd name="connsiteY1377" fmla="*/ 564376 h 6858285"/>
              <a:gd name="connsiteX1378" fmla="*/ 3132091 w 4011840"/>
              <a:gd name="connsiteY1378" fmla="*/ 463264 h 6858285"/>
              <a:gd name="connsiteX1379" fmla="*/ 3153226 w 4011840"/>
              <a:gd name="connsiteY1379" fmla="*/ 461684 h 6858285"/>
              <a:gd name="connsiteX1380" fmla="*/ 4011840 w 4011840"/>
              <a:gd name="connsiteY1380" fmla="*/ 256161 h 6858285"/>
              <a:gd name="connsiteX1381" fmla="*/ 4011840 w 4011840"/>
              <a:gd name="connsiteY1381" fmla="*/ 354991 h 6858285"/>
              <a:gd name="connsiteX1382" fmla="*/ 3956616 w 4011840"/>
              <a:gd name="connsiteY1382" fmla="*/ 376246 h 6858285"/>
              <a:gd name="connsiteX1383" fmla="*/ 3897392 w 4011840"/>
              <a:gd name="connsiteY1383" fmla="*/ 349541 h 6858285"/>
              <a:gd name="connsiteX1384" fmla="*/ 3924140 w 4011840"/>
              <a:gd name="connsiteY1384" fmla="*/ 290406 h 6858285"/>
              <a:gd name="connsiteX1385" fmla="*/ 4007626 w 4011840"/>
              <a:gd name="connsiteY1385" fmla="*/ 257806 h 6858285"/>
              <a:gd name="connsiteX1386" fmla="*/ 398308 w 4011840"/>
              <a:gd name="connsiteY1386" fmla="*/ 186349 h 6858285"/>
              <a:gd name="connsiteX1387" fmla="*/ 421644 w 4011840"/>
              <a:gd name="connsiteY1387" fmla="*/ 208174 h 6858285"/>
              <a:gd name="connsiteX1388" fmla="*/ 425454 w 4011840"/>
              <a:gd name="connsiteY1388" fmla="*/ 225255 h 6858285"/>
              <a:gd name="connsiteX1389" fmla="*/ 400689 w 4011840"/>
              <a:gd name="connsiteY1389" fmla="*/ 263212 h 6858285"/>
              <a:gd name="connsiteX1390" fmla="*/ 61595 w 4011840"/>
              <a:gd name="connsiteY1390" fmla="*/ 420733 h 6858285"/>
              <a:gd name="connsiteX1391" fmla="*/ 6349 w 4011840"/>
              <a:gd name="connsiteY1391" fmla="*/ 401754 h 6858285"/>
              <a:gd name="connsiteX1392" fmla="*/ 27305 w 4011840"/>
              <a:gd name="connsiteY1392" fmla="*/ 346717 h 6858285"/>
              <a:gd name="connsiteX1393" fmla="*/ 366399 w 4011840"/>
              <a:gd name="connsiteY1393" fmla="*/ 187298 h 6858285"/>
              <a:gd name="connsiteX1394" fmla="*/ 398308 w 4011840"/>
              <a:gd name="connsiteY1394" fmla="*/ 186349 h 6858285"/>
              <a:gd name="connsiteX1395" fmla="*/ 942624 w 4011840"/>
              <a:gd name="connsiteY1395" fmla="*/ 176854 h 6858285"/>
              <a:gd name="connsiteX1396" fmla="*/ 966164 w 4011840"/>
              <a:gd name="connsiteY1396" fmla="*/ 198761 h 6858285"/>
              <a:gd name="connsiteX1397" fmla="*/ 969968 w 4011840"/>
              <a:gd name="connsiteY1397" fmla="*/ 217811 h 6858285"/>
              <a:gd name="connsiteX1398" fmla="*/ 945239 w 4011840"/>
              <a:gd name="connsiteY1398" fmla="*/ 255911 h 6858285"/>
              <a:gd name="connsiteX1399" fmla="*/ 604741 w 4011840"/>
              <a:gd name="connsiteY1399" fmla="*/ 406406 h 6858285"/>
              <a:gd name="connsiteX1400" fmla="*/ 547674 w 4011840"/>
              <a:gd name="connsiteY1400" fmla="*/ 385451 h 6858285"/>
              <a:gd name="connsiteX1401" fmla="*/ 570501 w 4011840"/>
              <a:gd name="connsiteY1401" fmla="*/ 328301 h 6858285"/>
              <a:gd name="connsiteX1402" fmla="*/ 909097 w 4011840"/>
              <a:gd name="connsiteY1402" fmla="*/ 177807 h 6858285"/>
              <a:gd name="connsiteX1403" fmla="*/ 942624 w 4011840"/>
              <a:gd name="connsiteY1403" fmla="*/ 176854 h 6858285"/>
              <a:gd name="connsiteX1404" fmla="*/ 1492476 w 4011840"/>
              <a:gd name="connsiteY1404" fmla="*/ 167542 h 6858285"/>
              <a:gd name="connsiteX1405" fmla="*/ 1517021 w 4011840"/>
              <a:gd name="connsiteY1405" fmla="*/ 191054 h 6858285"/>
              <a:gd name="connsiteX1406" fmla="*/ 1520833 w 4011840"/>
              <a:gd name="connsiteY1406" fmla="*/ 208154 h 6858285"/>
              <a:gd name="connsiteX1407" fmla="*/ 1492238 w 4011840"/>
              <a:gd name="connsiteY1407" fmla="*/ 249954 h 6858285"/>
              <a:gd name="connsiteX1408" fmla="*/ 1150990 w 4011840"/>
              <a:gd name="connsiteY1408" fmla="*/ 390554 h 6858285"/>
              <a:gd name="connsiteX1409" fmla="*/ 1093798 w 4011840"/>
              <a:gd name="connsiteY1409" fmla="*/ 367754 h 6858285"/>
              <a:gd name="connsiteX1410" fmla="*/ 1116675 w 4011840"/>
              <a:gd name="connsiteY1410" fmla="*/ 308854 h 6858285"/>
              <a:gd name="connsiteX1411" fmla="*/ 1457922 w 4011840"/>
              <a:gd name="connsiteY1411" fmla="*/ 168254 h 6858285"/>
              <a:gd name="connsiteX1412" fmla="*/ 1492476 w 4011840"/>
              <a:gd name="connsiteY1412" fmla="*/ 167542 h 6858285"/>
              <a:gd name="connsiteX1413" fmla="*/ 2010467 w 4011840"/>
              <a:gd name="connsiteY1413" fmla="*/ 156857 h 6858285"/>
              <a:gd name="connsiteX1414" fmla="*/ 2071388 w 4011840"/>
              <a:gd name="connsiteY1414" fmla="*/ 183563 h 6858285"/>
              <a:gd name="connsiteX1415" fmla="*/ 2073292 w 4011840"/>
              <a:gd name="connsiteY1415" fmla="*/ 200731 h 6858285"/>
              <a:gd name="connsiteX1416" fmla="*/ 2044733 w 4011840"/>
              <a:gd name="connsiteY1416" fmla="*/ 244605 h 6858285"/>
              <a:gd name="connsiteX1417" fmla="*/ 1703979 w 4011840"/>
              <a:gd name="connsiteY1417" fmla="*/ 376227 h 6858285"/>
              <a:gd name="connsiteX1418" fmla="*/ 1643062 w 4011840"/>
              <a:gd name="connsiteY1418" fmla="*/ 349521 h 6858285"/>
              <a:gd name="connsiteX1419" fmla="*/ 1669713 w 4011840"/>
              <a:gd name="connsiteY1419" fmla="*/ 290387 h 6858285"/>
              <a:gd name="connsiteX1420" fmla="*/ 2010467 w 4011840"/>
              <a:gd name="connsiteY1420" fmla="*/ 156857 h 6858285"/>
              <a:gd name="connsiteX1421" fmla="*/ 3720656 w 4011840"/>
              <a:gd name="connsiteY1421" fmla="*/ 144606 h 6858285"/>
              <a:gd name="connsiteX1422" fmla="*/ 3763698 w 4011840"/>
              <a:gd name="connsiteY1422" fmla="*/ 176130 h 6858285"/>
              <a:gd name="connsiteX1423" fmla="*/ 3765600 w 4011840"/>
              <a:gd name="connsiteY1423" fmla="*/ 193228 h 6858285"/>
              <a:gd name="connsiteX1424" fmla="*/ 3735180 w 4011840"/>
              <a:gd name="connsiteY1424" fmla="*/ 238823 h 6858285"/>
              <a:gd name="connsiteX1425" fmla="*/ 3393028 w 4011840"/>
              <a:gd name="connsiteY1425" fmla="*/ 360410 h 6858285"/>
              <a:gd name="connsiteX1426" fmla="*/ 3332195 w 4011840"/>
              <a:gd name="connsiteY1426" fmla="*/ 331913 h 6858285"/>
              <a:gd name="connsiteX1427" fmla="*/ 3360708 w 4011840"/>
              <a:gd name="connsiteY1427" fmla="*/ 271120 h 6858285"/>
              <a:gd name="connsiteX1428" fmla="*/ 3700964 w 4011840"/>
              <a:gd name="connsiteY1428" fmla="*/ 147634 h 6858285"/>
              <a:gd name="connsiteX1429" fmla="*/ 3720656 w 4011840"/>
              <a:gd name="connsiteY1429" fmla="*/ 144606 h 6858285"/>
              <a:gd name="connsiteX1430" fmla="*/ 2586993 w 4011840"/>
              <a:gd name="connsiteY1430" fmla="*/ 144584 h 6858285"/>
              <a:gd name="connsiteX1431" fmla="*/ 2630185 w 4011840"/>
              <a:gd name="connsiteY1431" fmla="*/ 176109 h 6858285"/>
              <a:gd name="connsiteX1432" fmla="*/ 2632093 w 4011840"/>
              <a:gd name="connsiteY1432" fmla="*/ 193207 h 6858285"/>
              <a:gd name="connsiteX1433" fmla="*/ 2601569 w 4011840"/>
              <a:gd name="connsiteY1433" fmla="*/ 238802 h 6858285"/>
              <a:gd name="connsiteX1434" fmla="*/ 2258175 w 4011840"/>
              <a:gd name="connsiteY1434" fmla="*/ 360389 h 6858285"/>
              <a:gd name="connsiteX1435" fmla="*/ 2197127 w 4011840"/>
              <a:gd name="connsiteY1435" fmla="*/ 331892 h 6858285"/>
              <a:gd name="connsiteX1436" fmla="*/ 2225743 w 4011840"/>
              <a:gd name="connsiteY1436" fmla="*/ 271098 h 6858285"/>
              <a:gd name="connsiteX1437" fmla="*/ 2567230 w 4011840"/>
              <a:gd name="connsiteY1437" fmla="*/ 147612 h 6858285"/>
              <a:gd name="connsiteX1438" fmla="*/ 2586993 w 4011840"/>
              <a:gd name="connsiteY1438" fmla="*/ 144584 h 6858285"/>
              <a:gd name="connsiteX1439" fmla="*/ 3149047 w 4011840"/>
              <a:gd name="connsiteY1439" fmla="*/ 135359 h 6858285"/>
              <a:gd name="connsiteX1440" fmla="*/ 3191878 w 4011840"/>
              <a:gd name="connsiteY1440" fmla="*/ 168391 h 6858285"/>
              <a:gd name="connsiteX1441" fmla="*/ 3195685 w 4011840"/>
              <a:gd name="connsiteY1441" fmla="*/ 185439 h 6858285"/>
              <a:gd name="connsiteX1442" fmla="*/ 3161420 w 4011840"/>
              <a:gd name="connsiteY1442" fmla="*/ 232797 h 6858285"/>
              <a:gd name="connsiteX1443" fmla="*/ 2818756 w 4011840"/>
              <a:gd name="connsiteY1443" fmla="*/ 344562 h 6858285"/>
              <a:gd name="connsiteX1444" fmla="*/ 2755934 w 4011840"/>
              <a:gd name="connsiteY1444" fmla="*/ 314253 h 6858285"/>
              <a:gd name="connsiteX1445" fmla="*/ 2788299 w 4011840"/>
              <a:gd name="connsiteY1445" fmla="*/ 249846 h 6858285"/>
              <a:gd name="connsiteX1446" fmla="*/ 3129056 w 4011840"/>
              <a:gd name="connsiteY1446" fmla="*/ 138082 h 6858285"/>
              <a:gd name="connsiteX1447" fmla="*/ 3149047 w 4011840"/>
              <a:gd name="connsiteY1447" fmla="*/ 135359 h 6858285"/>
              <a:gd name="connsiteX1448" fmla="*/ 3898002 w 4011840"/>
              <a:gd name="connsiteY1448" fmla="*/ 24 h 6858285"/>
              <a:gd name="connsiteX1449" fmla="*/ 3980112 w 4011840"/>
              <a:gd name="connsiteY1449" fmla="*/ 24 h 6858285"/>
              <a:gd name="connsiteX1450" fmla="*/ 4011840 w 4011840"/>
              <a:gd name="connsiteY1450" fmla="*/ 24 h 6858285"/>
              <a:gd name="connsiteX1451" fmla="*/ 4011840 w 4011840"/>
              <a:gd name="connsiteY1451" fmla="*/ 33605 h 6858285"/>
              <a:gd name="connsiteX1452" fmla="*/ 3959064 w 4011840"/>
              <a:gd name="connsiteY1452" fmla="*/ 55540 h 6858285"/>
              <a:gd name="connsiteX1453" fmla="*/ 3899912 w 4011840"/>
              <a:gd name="connsiteY1453" fmla="*/ 30653 h 6858285"/>
              <a:gd name="connsiteX1454" fmla="*/ 3898002 w 4011840"/>
              <a:gd name="connsiteY1454" fmla="*/ 24 h 6858285"/>
              <a:gd name="connsiteX1455" fmla="*/ 3332212 w 4011840"/>
              <a:gd name="connsiteY1455" fmla="*/ 24 h 6858285"/>
              <a:gd name="connsiteX1456" fmla="*/ 3497315 w 4011840"/>
              <a:gd name="connsiteY1456" fmla="*/ 24 h 6858285"/>
              <a:gd name="connsiteX1457" fmla="*/ 3394843 w 4011840"/>
              <a:gd name="connsiteY1457" fmla="*/ 41665 h 6858285"/>
              <a:gd name="connsiteX1458" fmla="*/ 3334111 w 4011840"/>
              <a:gd name="connsiteY1458" fmla="*/ 15166 h 6858285"/>
              <a:gd name="connsiteX1459" fmla="*/ 3332212 w 4011840"/>
              <a:gd name="connsiteY1459" fmla="*/ 24 h 6858285"/>
              <a:gd name="connsiteX1460" fmla="*/ 2760703 w 4011840"/>
              <a:gd name="connsiteY1460" fmla="*/ 23 h 6858285"/>
              <a:gd name="connsiteX1461" fmla="*/ 2890880 w 4011840"/>
              <a:gd name="connsiteY1461" fmla="*/ 23 h 6858285"/>
              <a:gd name="connsiteX1462" fmla="*/ 2821076 w 4011840"/>
              <a:gd name="connsiteY1462" fmla="*/ 27187 h 6858285"/>
              <a:gd name="connsiteX1463" fmla="*/ 2760703 w 4011840"/>
              <a:gd name="connsiteY1463" fmla="*/ 23 h 6858285"/>
              <a:gd name="connsiteX1464" fmla="*/ 76928 w 4011840"/>
              <a:gd name="connsiteY1464" fmla="*/ 9 h 6858285"/>
              <a:gd name="connsiteX1465" fmla="*/ 271465 w 4011840"/>
              <a:gd name="connsiteY1465" fmla="*/ 9 h 6858285"/>
              <a:gd name="connsiteX1466" fmla="*/ 63577 w 4011840"/>
              <a:gd name="connsiteY1466" fmla="*/ 99939 h 6858285"/>
              <a:gd name="connsiteX1467" fmla="*/ 8268 w 4011840"/>
              <a:gd name="connsiteY1467" fmla="*/ 80722 h 6858285"/>
              <a:gd name="connsiteX1468" fmla="*/ 27340 w 4011840"/>
              <a:gd name="connsiteY1468" fmla="*/ 24992 h 6858285"/>
              <a:gd name="connsiteX1469" fmla="*/ 76928 w 4011840"/>
              <a:gd name="connsiteY1469" fmla="*/ 9 h 6858285"/>
              <a:gd name="connsiteX1470" fmla="*/ 583733 w 4011840"/>
              <a:gd name="connsiteY1470" fmla="*/ 7 h 6858285"/>
              <a:gd name="connsiteX1471" fmla="*/ 792167 w 4011840"/>
              <a:gd name="connsiteY1471" fmla="*/ 7 h 6858285"/>
              <a:gd name="connsiteX1472" fmla="*/ 604767 w 4011840"/>
              <a:gd name="connsiteY1472" fmla="*/ 83827 h 6858285"/>
              <a:gd name="connsiteX1473" fmla="*/ 549312 w 4011840"/>
              <a:gd name="connsiteY1473" fmla="*/ 62872 h 6858285"/>
              <a:gd name="connsiteX1474" fmla="*/ 570347 w 4011840"/>
              <a:gd name="connsiteY1474" fmla="*/ 7627 h 6858285"/>
              <a:gd name="connsiteX1475" fmla="*/ 583733 w 4011840"/>
              <a:gd name="connsiteY1475" fmla="*/ 7 h 6858285"/>
              <a:gd name="connsiteX1476" fmla="*/ 1102307 w 4011840"/>
              <a:gd name="connsiteY1476" fmla="*/ 5 h 6858285"/>
              <a:gd name="connsiteX1477" fmla="*/ 1312869 w 4011840"/>
              <a:gd name="connsiteY1477" fmla="*/ 5 h 6858285"/>
              <a:gd name="connsiteX1478" fmla="*/ 1153525 w 4011840"/>
              <a:gd name="connsiteY1478" fmla="*/ 71329 h 6858285"/>
              <a:gd name="connsiteX1479" fmla="*/ 1094719 w 4011840"/>
              <a:gd name="connsiteY1479" fmla="*/ 48197 h 6858285"/>
              <a:gd name="connsiteX1480" fmla="*/ 1102307 w 4011840"/>
              <a:gd name="connsiteY1480" fmla="*/ 5 h 6858285"/>
              <a:gd name="connsiteX1481" fmla="*/ 1643393 w 4011840"/>
              <a:gd name="connsiteY1481" fmla="*/ 2 h 6858285"/>
              <a:gd name="connsiteX1482" fmla="*/ 1838335 w 4011840"/>
              <a:gd name="connsiteY1482" fmla="*/ 2 h 6858285"/>
              <a:gd name="connsiteX1483" fmla="*/ 1704551 w 4011840"/>
              <a:gd name="connsiteY1483" fmla="*/ 55519 h 6858285"/>
              <a:gd name="connsiteX1484" fmla="*/ 1645304 w 4011840"/>
              <a:gd name="connsiteY1484" fmla="*/ 30632 h 6858285"/>
              <a:gd name="connsiteX1485" fmla="*/ 1643393 w 4011840"/>
              <a:gd name="connsiteY1485" fmla="*/ 2 h 6858285"/>
              <a:gd name="connsiteX1486" fmla="*/ 2197113 w 4011840"/>
              <a:gd name="connsiteY1486" fmla="*/ 0 h 6858285"/>
              <a:gd name="connsiteX1487" fmla="*/ 2363803 w 4011840"/>
              <a:gd name="connsiteY1487" fmla="*/ 0 h 6858285"/>
              <a:gd name="connsiteX1488" fmla="*/ 2260341 w 4011840"/>
              <a:gd name="connsiteY1488" fmla="*/ 41642 h 6858285"/>
              <a:gd name="connsiteX1489" fmla="*/ 2199030 w 4011840"/>
              <a:gd name="connsiteY1489" fmla="*/ 15142 h 6858285"/>
              <a:gd name="connsiteX1490" fmla="*/ 2197113 w 4011840"/>
              <a:gd name="connsiteY1490" fmla="*/ 0 h 6858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</a:cxnLst>
            <a:rect l="l" t="t" r="r" b="b"/>
            <a:pathLst>
              <a:path w="4011840" h="6858285">
                <a:moveTo>
                  <a:pt x="4011840" y="6728839"/>
                </a:moveTo>
                <a:lnTo>
                  <a:pt x="4011840" y="6814737"/>
                </a:lnTo>
                <a:lnTo>
                  <a:pt x="3960866" y="6841809"/>
                </a:lnTo>
                <a:cubicBezTo>
                  <a:pt x="3941816" y="6853239"/>
                  <a:pt x="3918956" y="6845619"/>
                  <a:pt x="3909430" y="6826569"/>
                </a:cubicBezTo>
                <a:cubicBezTo>
                  <a:pt x="3905620" y="6820854"/>
                  <a:pt x="3903712" y="6815139"/>
                  <a:pt x="3903712" y="6809424"/>
                </a:cubicBezTo>
                <a:cubicBezTo>
                  <a:pt x="3903712" y="6796089"/>
                  <a:pt x="3911334" y="6782754"/>
                  <a:pt x="3924672" y="6775134"/>
                </a:cubicBezTo>
                <a:cubicBezTo>
                  <a:pt x="3924672" y="6775134"/>
                  <a:pt x="3924672" y="6775134"/>
                  <a:pt x="4006988" y="6731416"/>
                </a:cubicBezTo>
                <a:close/>
                <a:moveTo>
                  <a:pt x="396081" y="6635423"/>
                </a:moveTo>
                <a:cubicBezTo>
                  <a:pt x="405822" y="6638752"/>
                  <a:pt x="414376" y="6645886"/>
                  <a:pt x="419128" y="6656349"/>
                </a:cubicBezTo>
                <a:cubicBezTo>
                  <a:pt x="428631" y="6675373"/>
                  <a:pt x="421028" y="6700104"/>
                  <a:pt x="400120" y="6709616"/>
                </a:cubicBezTo>
                <a:cubicBezTo>
                  <a:pt x="400120" y="6709616"/>
                  <a:pt x="400120" y="6709616"/>
                  <a:pt x="97901" y="6858002"/>
                </a:cubicBezTo>
                <a:cubicBezTo>
                  <a:pt x="97901" y="6858002"/>
                  <a:pt x="97901" y="6858002"/>
                  <a:pt x="10466" y="6858002"/>
                </a:cubicBezTo>
                <a:cubicBezTo>
                  <a:pt x="10466" y="6858002"/>
                  <a:pt x="8566" y="6858002"/>
                  <a:pt x="8566" y="6858002"/>
                </a:cubicBezTo>
                <a:cubicBezTo>
                  <a:pt x="6665" y="6852295"/>
                  <a:pt x="4764" y="6844686"/>
                  <a:pt x="4764" y="6838978"/>
                </a:cubicBezTo>
                <a:cubicBezTo>
                  <a:pt x="4764" y="6823759"/>
                  <a:pt x="12367" y="6810443"/>
                  <a:pt x="27573" y="6802833"/>
                </a:cubicBezTo>
                <a:cubicBezTo>
                  <a:pt x="27573" y="6802833"/>
                  <a:pt x="27573" y="6802833"/>
                  <a:pt x="365906" y="6637326"/>
                </a:cubicBezTo>
                <a:cubicBezTo>
                  <a:pt x="375410" y="6632570"/>
                  <a:pt x="386339" y="6632094"/>
                  <a:pt x="396081" y="6635423"/>
                </a:cubicBezTo>
                <a:close/>
                <a:moveTo>
                  <a:pt x="939733" y="6619807"/>
                </a:moveTo>
                <a:cubicBezTo>
                  <a:pt x="949279" y="6622907"/>
                  <a:pt x="957871" y="6630060"/>
                  <a:pt x="963599" y="6640551"/>
                </a:cubicBezTo>
                <a:cubicBezTo>
                  <a:pt x="973146" y="6659625"/>
                  <a:pt x="965509" y="6682515"/>
                  <a:pt x="944506" y="6693960"/>
                </a:cubicBezTo>
                <a:cubicBezTo>
                  <a:pt x="944506" y="6693960"/>
                  <a:pt x="944506" y="6693960"/>
                  <a:pt x="618014" y="6858002"/>
                </a:cubicBezTo>
                <a:cubicBezTo>
                  <a:pt x="618014" y="6858002"/>
                  <a:pt x="618014" y="6858002"/>
                  <a:pt x="562644" y="6858002"/>
                </a:cubicBezTo>
                <a:cubicBezTo>
                  <a:pt x="558825" y="6856095"/>
                  <a:pt x="555007" y="6852280"/>
                  <a:pt x="553097" y="6846557"/>
                </a:cubicBezTo>
                <a:cubicBezTo>
                  <a:pt x="549279" y="6840835"/>
                  <a:pt x="549279" y="6835113"/>
                  <a:pt x="549279" y="6829390"/>
                </a:cubicBezTo>
                <a:cubicBezTo>
                  <a:pt x="549279" y="6814131"/>
                  <a:pt x="556916" y="6800778"/>
                  <a:pt x="570281" y="6793148"/>
                </a:cubicBezTo>
                <a:cubicBezTo>
                  <a:pt x="570281" y="6793148"/>
                  <a:pt x="570281" y="6793148"/>
                  <a:pt x="910138" y="6623384"/>
                </a:cubicBezTo>
                <a:cubicBezTo>
                  <a:pt x="919685" y="6617661"/>
                  <a:pt x="930186" y="6616707"/>
                  <a:pt x="939733" y="6619807"/>
                </a:cubicBezTo>
                <a:close/>
                <a:moveTo>
                  <a:pt x="1485698" y="6606629"/>
                </a:moveTo>
                <a:cubicBezTo>
                  <a:pt x="1494978" y="6609729"/>
                  <a:pt x="1503069" y="6616404"/>
                  <a:pt x="1507827" y="6625941"/>
                </a:cubicBezTo>
                <a:cubicBezTo>
                  <a:pt x="1519249" y="6645014"/>
                  <a:pt x="1511635" y="6667901"/>
                  <a:pt x="1492599" y="6677438"/>
                </a:cubicBezTo>
                <a:cubicBezTo>
                  <a:pt x="1492599" y="6677438"/>
                  <a:pt x="1492599" y="6677438"/>
                  <a:pt x="1153761" y="6852909"/>
                </a:cubicBezTo>
                <a:cubicBezTo>
                  <a:pt x="1134725" y="6864352"/>
                  <a:pt x="1111882" y="6856723"/>
                  <a:pt x="1102364" y="6837650"/>
                </a:cubicBezTo>
                <a:cubicBezTo>
                  <a:pt x="1098557" y="6831928"/>
                  <a:pt x="1098557" y="6824299"/>
                  <a:pt x="1098557" y="6818577"/>
                </a:cubicBezTo>
                <a:cubicBezTo>
                  <a:pt x="1098557" y="6805226"/>
                  <a:pt x="1106171" y="6791875"/>
                  <a:pt x="1119496" y="6784246"/>
                </a:cubicBezTo>
                <a:cubicBezTo>
                  <a:pt x="1119496" y="6784246"/>
                  <a:pt x="1119496" y="6784246"/>
                  <a:pt x="1456431" y="6608775"/>
                </a:cubicBezTo>
                <a:cubicBezTo>
                  <a:pt x="1465948" y="6604007"/>
                  <a:pt x="1476418" y="6603530"/>
                  <a:pt x="1485698" y="6606629"/>
                </a:cubicBezTo>
                <a:close/>
                <a:moveTo>
                  <a:pt x="2037015" y="6592968"/>
                </a:moveTo>
                <a:cubicBezTo>
                  <a:pt x="2046302" y="6595587"/>
                  <a:pt x="2054881" y="6601779"/>
                  <a:pt x="2060595" y="6611304"/>
                </a:cubicBezTo>
                <a:cubicBezTo>
                  <a:pt x="2070120" y="6630354"/>
                  <a:pt x="2062500" y="6653214"/>
                  <a:pt x="2043444" y="6662739"/>
                </a:cubicBezTo>
                <a:cubicBezTo>
                  <a:pt x="2043444" y="6662739"/>
                  <a:pt x="2043444" y="6662739"/>
                  <a:pt x="1706255" y="6841809"/>
                </a:cubicBezTo>
                <a:cubicBezTo>
                  <a:pt x="1687205" y="6853239"/>
                  <a:pt x="1664344" y="6845619"/>
                  <a:pt x="1654819" y="6826569"/>
                </a:cubicBezTo>
                <a:cubicBezTo>
                  <a:pt x="1652914" y="6820854"/>
                  <a:pt x="1651009" y="6815139"/>
                  <a:pt x="1651009" y="6809424"/>
                </a:cubicBezTo>
                <a:cubicBezTo>
                  <a:pt x="1651009" y="6796089"/>
                  <a:pt x="1658629" y="6782754"/>
                  <a:pt x="1670059" y="6775134"/>
                </a:cubicBezTo>
                <a:cubicBezTo>
                  <a:pt x="1670059" y="6775134"/>
                  <a:pt x="1670059" y="6775134"/>
                  <a:pt x="2009154" y="6596064"/>
                </a:cubicBezTo>
                <a:cubicBezTo>
                  <a:pt x="2017726" y="6591301"/>
                  <a:pt x="2027728" y="6590349"/>
                  <a:pt x="2037015" y="6592968"/>
                </a:cubicBezTo>
                <a:close/>
                <a:moveTo>
                  <a:pt x="3727788" y="6578028"/>
                </a:moveTo>
                <a:cubicBezTo>
                  <a:pt x="3736844" y="6580642"/>
                  <a:pt x="3744948" y="6586818"/>
                  <a:pt x="3749716" y="6595371"/>
                </a:cubicBezTo>
                <a:cubicBezTo>
                  <a:pt x="3759248" y="6614376"/>
                  <a:pt x="3753528" y="6635282"/>
                  <a:pt x="3734462" y="6646685"/>
                </a:cubicBezTo>
                <a:cubicBezTo>
                  <a:pt x="3734462" y="6646685"/>
                  <a:pt x="3734462" y="6646685"/>
                  <a:pt x="3397032" y="6831037"/>
                </a:cubicBezTo>
                <a:cubicBezTo>
                  <a:pt x="3379870" y="6840539"/>
                  <a:pt x="3356992" y="6832937"/>
                  <a:pt x="3347462" y="6815832"/>
                </a:cubicBezTo>
                <a:cubicBezTo>
                  <a:pt x="3343646" y="6810131"/>
                  <a:pt x="3341741" y="6804429"/>
                  <a:pt x="3341741" y="6798728"/>
                </a:cubicBezTo>
                <a:cubicBezTo>
                  <a:pt x="3341741" y="6785424"/>
                  <a:pt x="3349366" y="6772120"/>
                  <a:pt x="3362712" y="6764518"/>
                </a:cubicBezTo>
                <a:cubicBezTo>
                  <a:pt x="3362712" y="6764518"/>
                  <a:pt x="3362712" y="6764518"/>
                  <a:pt x="3700144" y="6582067"/>
                </a:cubicBezTo>
                <a:cubicBezTo>
                  <a:pt x="3708724" y="6576365"/>
                  <a:pt x="3718732" y="6575415"/>
                  <a:pt x="3727788" y="6578028"/>
                </a:cubicBezTo>
                <a:close/>
                <a:moveTo>
                  <a:pt x="2592701" y="6578028"/>
                </a:moveTo>
                <a:cubicBezTo>
                  <a:pt x="2601757" y="6580641"/>
                  <a:pt x="2609859" y="6586818"/>
                  <a:pt x="2614625" y="6595371"/>
                </a:cubicBezTo>
                <a:cubicBezTo>
                  <a:pt x="2624159" y="6614376"/>
                  <a:pt x="2618439" y="6635282"/>
                  <a:pt x="2599374" y="6646685"/>
                </a:cubicBezTo>
                <a:cubicBezTo>
                  <a:pt x="2599374" y="6646685"/>
                  <a:pt x="2599374" y="6646685"/>
                  <a:pt x="2261929" y="6831037"/>
                </a:cubicBezTo>
                <a:cubicBezTo>
                  <a:pt x="2244770" y="6840539"/>
                  <a:pt x="2221893" y="6832937"/>
                  <a:pt x="2212361" y="6815832"/>
                </a:cubicBezTo>
                <a:cubicBezTo>
                  <a:pt x="2208547" y="6810131"/>
                  <a:pt x="2206641" y="6804429"/>
                  <a:pt x="2206641" y="6798728"/>
                </a:cubicBezTo>
                <a:cubicBezTo>
                  <a:pt x="2206641" y="6785424"/>
                  <a:pt x="2214267" y="6772120"/>
                  <a:pt x="2225706" y="6764518"/>
                </a:cubicBezTo>
                <a:cubicBezTo>
                  <a:pt x="2225706" y="6764518"/>
                  <a:pt x="2225706" y="6764518"/>
                  <a:pt x="2565057" y="6582067"/>
                </a:cubicBezTo>
                <a:cubicBezTo>
                  <a:pt x="2573636" y="6576365"/>
                  <a:pt x="2583648" y="6575415"/>
                  <a:pt x="2592701" y="6578028"/>
                </a:cubicBezTo>
                <a:close/>
                <a:moveTo>
                  <a:pt x="3153211" y="6564133"/>
                </a:moveTo>
                <a:cubicBezTo>
                  <a:pt x="3162241" y="6566506"/>
                  <a:pt x="3170320" y="6572201"/>
                  <a:pt x="3175070" y="6580744"/>
                </a:cubicBezTo>
                <a:cubicBezTo>
                  <a:pt x="3184574" y="6599727"/>
                  <a:pt x="3178873" y="6620609"/>
                  <a:pt x="3161766" y="6630101"/>
                </a:cubicBezTo>
                <a:cubicBezTo>
                  <a:pt x="3161766" y="6630101"/>
                  <a:pt x="3161766" y="6630101"/>
                  <a:pt x="2825350" y="6819936"/>
                </a:cubicBezTo>
                <a:cubicBezTo>
                  <a:pt x="2808242" y="6829427"/>
                  <a:pt x="2785433" y="6823732"/>
                  <a:pt x="2775931" y="6804749"/>
                </a:cubicBezTo>
                <a:cubicBezTo>
                  <a:pt x="2772130" y="6799054"/>
                  <a:pt x="2770229" y="6793359"/>
                  <a:pt x="2770229" y="6787664"/>
                </a:cubicBezTo>
                <a:cubicBezTo>
                  <a:pt x="2770229" y="6774375"/>
                  <a:pt x="2777831" y="6762985"/>
                  <a:pt x="2789236" y="6757290"/>
                </a:cubicBezTo>
                <a:cubicBezTo>
                  <a:pt x="2789236" y="6757290"/>
                  <a:pt x="2789236" y="6757290"/>
                  <a:pt x="3125653" y="6567455"/>
                </a:cubicBezTo>
                <a:cubicBezTo>
                  <a:pt x="3134208" y="6562710"/>
                  <a:pt x="3144185" y="6561760"/>
                  <a:pt x="3153211" y="6564133"/>
                </a:cubicBezTo>
                <a:close/>
                <a:moveTo>
                  <a:pt x="4011840" y="6402257"/>
                </a:moveTo>
                <a:lnTo>
                  <a:pt x="4011840" y="6490934"/>
                </a:lnTo>
                <a:lnTo>
                  <a:pt x="3961098" y="6516712"/>
                </a:lnTo>
                <a:cubicBezTo>
                  <a:pt x="3940172" y="6526214"/>
                  <a:pt x="3917344" y="6518612"/>
                  <a:pt x="3907832" y="6499609"/>
                </a:cubicBezTo>
                <a:cubicBezTo>
                  <a:pt x="3904028" y="6493908"/>
                  <a:pt x="3902128" y="6488206"/>
                  <a:pt x="3902128" y="6482505"/>
                </a:cubicBezTo>
                <a:cubicBezTo>
                  <a:pt x="3902128" y="6467302"/>
                  <a:pt x="3911636" y="6454000"/>
                  <a:pt x="3924952" y="6446398"/>
                </a:cubicBezTo>
                <a:cubicBezTo>
                  <a:pt x="3924952" y="6446398"/>
                  <a:pt x="3924952" y="6446398"/>
                  <a:pt x="4007146" y="6404642"/>
                </a:cubicBezTo>
                <a:close/>
                <a:moveTo>
                  <a:pt x="396081" y="6313171"/>
                </a:moveTo>
                <a:cubicBezTo>
                  <a:pt x="405822" y="6316504"/>
                  <a:pt x="414375" y="6323648"/>
                  <a:pt x="419127" y="6334126"/>
                </a:cubicBezTo>
                <a:cubicBezTo>
                  <a:pt x="428631" y="6353176"/>
                  <a:pt x="421028" y="6377941"/>
                  <a:pt x="400120" y="6387466"/>
                </a:cubicBezTo>
                <a:cubicBezTo>
                  <a:pt x="400120" y="6387466"/>
                  <a:pt x="400120" y="6387466"/>
                  <a:pt x="63687" y="6553201"/>
                </a:cubicBezTo>
                <a:cubicBezTo>
                  <a:pt x="42779" y="6562726"/>
                  <a:pt x="18069" y="6553201"/>
                  <a:pt x="8565" y="6534151"/>
                </a:cubicBezTo>
                <a:cubicBezTo>
                  <a:pt x="6665" y="6528436"/>
                  <a:pt x="4764" y="6522721"/>
                  <a:pt x="4764" y="6517006"/>
                </a:cubicBezTo>
                <a:cubicBezTo>
                  <a:pt x="4764" y="6501766"/>
                  <a:pt x="12367" y="6486526"/>
                  <a:pt x="27573" y="6478906"/>
                </a:cubicBezTo>
                <a:cubicBezTo>
                  <a:pt x="27573" y="6478906"/>
                  <a:pt x="27573" y="6478906"/>
                  <a:pt x="365906" y="6315076"/>
                </a:cubicBezTo>
                <a:cubicBezTo>
                  <a:pt x="375410" y="6310313"/>
                  <a:pt x="386339" y="6309837"/>
                  <a:pt x="396081" y="6313171"/>
                </a:cubicBezTo>
                <a:close/>
                <a:moveTo>
                  <a:pt x="940474" y="6300224"/>
                </a:moveTo>
                <a:cubicBezTo>
                  <a:pt x="950252" y="6303315"/>
                  <a:pt x="958837" y="6309975"/>
                  <a:pt x="963607" y="6319488"/>
                </a:cubicBezTo>
                <a:cubicBezTo>
                  <a:pt x="973146" y="6340417"/>
                  <a:pt x="965515" y="6363250"/>
                  <a:pt x="944529" y="6372763"/>
                </a:cubicBezTo>
                <a:cubicBezTo>
                  <a:pt x="944529" y="6372763"/>
                  <a:pt x="944529" y="6372763"/>
                  <a:pt x="606835" y="6540198"/>
                </a:cubicBezTo>
                <a:cubicBezTo>
                  <a:pt x="585849" y="6551614"/>
                  <a:pt x="562954" y="6542100"/>
                  <a:pt x="551507" y="6523074"/>
                </a:cubicBezTo>
                <a:cubicBezTo>
                  <a:pt x="549599" y="6517366"/>
                  <a:pt x="547691" y="6511658"/>
                  <a:pt x="547691" y="6505950"/>
                </a:cubicBezTo>
                <a:cubicBezTo>
                  <a:pt x="547691" y="6490728"/>
                  <a:pt x="557231" y="6475507"/>
                  <a:pt x="570586" y="6469799"/>
                </a:cubicBezTo>
                <a:cubicBezTo>
                  <a:pt x="570586" y="6469799"/>
                  <a:pt x="570586" y="6469799"/>
                  <a:pt x="910187" y="6302364"/>
                </a:cubicBezTo>
                <a:cubicBezTo>
                  <a:pt x="919726" y="6297608"/>
                  <a:pt x="930696" y="6297132"/>
                  <a:pt x="940474" y="6300224"/>
                </a:cubicBezTo>
                <a:close/>
                <a:moveTo>
                  <a:pt x="1486674" y="6285982"/>
                </a:moveTo>
                <a:cubicBezTo>
                  <a:pt x="1496423" y="6289093"/>
                  <a:pt x="1504982" y="6295793"/>
                  <a:pt x="1509738" y="6305364"/>
                </a:cubicBezTo>
                <a:cubicBezTo>
                  <a:pt x="1519249" y="6324508"/>
                  <a:pt x="1511640" y="6349394"/>
                  <a:pt x="1492618" y="6358966"/>
                </a:cubicBezTo>
                <a:cubicBezTo>
                  <a:pt x="1492618" y="6358966"/>
                  <a:pt x="1492618" y="6358966"/>
                  <a:pt x="1154033" y="6529342"/>
                </a:cubicBezTo>
                <a:cubicBezTo>
                  <a:pt x="1135012" y="6538914"/>
                  <a:pt x="1110284" y="6531256"/>
                  <a:pt x="1100773" y="6512113"/>
                </a:cubicBezTo>
                <a:cubicBezTo>
                  <a:pt x="1098871" y="6506370"/>
                  <a:pt x="1096968" y="6500627"/>
                  <a:pt x="1096968" y="6494884"/>
                </a:cubicBezTo>
                <a:cubicBezTo>
                  <a:pt x="1096968" y="6479569"/>
                  <a:pt x="1104577" y="6466169"/>
                  <a:pt x="1117892" y="6458512"/>
                </a:cubicBezTo>
                <a:cubicBezTo>
                  <a:pt x="1117892" y="6458512"/>
                  <a:pt x="1117892" y="6458512"/>
                  <a:pt x="1456477" y="6288135"/>
                </a:cubicBezTo>
                <a:cubicBezTo>
                  <a:pt x="1465988" y="6283350"/>
                  <a:pt x="1476926" y="6282871"/>
                  <a:pt x="1486674" y="6285982"/>
                </a:cubicBezTo>
                <a:close/>
                <a:moveTo>
                  <a:pt x="2038415" y="6273228"/>
                </a:moveTo>
                <a:cubicBezTo>
                  <a:pt x="2047931" y="6276316"/>
                  <a:pt x="2056491" y="6282967"/>
                  <a:pt x="2062198" y="6292469"/>
                </a:cubicBezTo>
                <a:cubicBezTo>
                  <a:pt x="2071708" y="6311473"/>
                  <a:pt x="2064099" y="6334277"/>
                  <a:pt x="2045072" y="6345679"/>
                </a:cubicBezTo>
                <a:cubicBezTo>
                  <a:pt x="2045072" y="6345679"/>
                  <a:pt x="2045072" y="6345679"/>
                  <a:pt x="1706487" y="6516712"/>
                </a:cubicBezTo>
                <a:cubicBezTo>
                  <a:pt x="1687465" y="6526214"/>
                  <a:pt x="1662737" y="6518612"/>
                  <a:pt x="1653226" y="6499609"/>
                </a:cubicBezTo>
                <a:cubicBezTo>
                  <a:pt x="1651324" y="6493908"/>
                  <a:pt x="1649422" y="6488206"/>
                  <a:pt x="1649422" y="6482505"/>
                </a:cubicBezTo>
                <a:cubicBezTo>
                  <a:pt x="1649422" y="6467302"/>
                  <a:pt x="1657031" y="6454000"/>
                  <a:pt x="1670346" y="6446398"/>
                </a:cubicBezTo>
                <a:cubicBezTo>
                  <a:pt x="1670346" y="6446398"/>
                  <a:pt x="1670346" y="6446398"/>
                  <a:pt x="2008931" y="6275366"/>
                </a:cubicBezTo>
                <a:cubicBezTo>
                  <a:pt x="2018442" y="6270615"/>
                  <a:pt x="2028904" y="6270140"/>
                  <a:pt x="2038415" y="6273228"/>
                </a:cubicBezTo>
                <a:close/>
                <a:moveTo>
                  <a:pt x="3729186" y="6260519"/>
                </a:moveTo>
                <a:cubicBezTo>
                  <a:pt x="3738468" y="6263603"/>
                  <a:pt x="3746556" y="6270247"/>
                  <a:pt x="3751316" y="6279737"/>
                </a:cubicBezTo>
                <a:cubicBezTo>
                  <a:pt x="3760836" y="6298718"/>
                  <a:pt x="3755126" y="6321495"/>
                  <a:pt x="3736088" y="6330986"/>
                </a:cubicBezTo>
                <a:cubicBezTo>
                  <a:pt x="3736088" y="6330986"/>
                  <a:pt x="3736088" y="6330986"/>
                  <a:pt x="3397264" y="6505611"/>
                </a:cubicBezTo>
                <a:cubicBezTo>
                  <a:pt x="3378225" y="6515102"/>
                  <a:pt x="3355383" y="6507509"/>
                  <a:pt x="3345866" y="6488528"/>
                </a:cubicBezTo>
                <a:cubicBezTo>
                  <a:pt x="3342057" y="6482834"/>
                  <a:pt x="3340155" y="6477140"/>
                  <a:pt x="3340155" y="6469547"/>
                </a:cubicBezTo>
                <a:cubicBezTo>
                  <a:pt x="3340155" y="6456261"/>
                  <a:pt x="3347765" y="6442974"/>
                  <a:pt x="3361094" y="6435381"/>
                </a:cubicBezTo>
                <a:cubicBezTo>
                  <a:pt x="3361094" y="6435381"/>
                  <a:pt x="3361094" y="6435381"/>
                  <a:pt x="3699920" y="6262654"/>
                </a:cubicBezTo>
                <a:cubicBezTo>
                  <a:pt x="3709436" y="6257909"/>
                  <a:pt x="3719904" y="6257435"/>
                  <a:pt x="3729186" y="6260519"/>
                </a:cubicBezTo>
                <a:close/>
                <a:moveTo>
                  <a:pt x="2595567" y="6260519"/>
                </a:moveTo>
                <a:cubicBezTo>
                  <a:pt x="2604884" y="6263603"/>
                  <a:pt x="2613003" y="6270247"/>
                  <a:pt x="2617780" y="6279737"/>
                </a:cubicBezTo>
                <a:cubicBezTo>
                  <a:pt x="2627334" y="6298718"/>
                  <a:pt x="2621601" y="6321495"/>
                  <a:pt x="2600583" y="6330986"/>
                </a:cubicBezTo>
                <a:cubicBezTo>
                  <a:pt x="2600583" y="6330986"/>
                  <a:pt x="2600583" y="6330986"/>
                  <a:pt x="2262377" y="6505611"/>
                </a:cubicBezTo>
                <a:cubicBezTo>
                  <a:pt x="2243270" y="6515102"/>
                  <a:pt x="2220340" y="6507509"/>
                  <a:pt x="2210786" y="6488528"/>
                </a:cubicBezTo>
                <a:cubicBezTo>
                  <a:pt x="2206965" y="6482834"/>
                  <a:pt x="2205054" y="6477140"/>
                  <a:pt x="2205054" y="6469547"/>
                </a:cubicBezTo>
                <a:cubicBezTo>
                  <a:pt x="2205054" y="6456261"/>
                  <a:pt x="2212697" y="6442974"/>
                  <a:pt x="2226073" y="6435381"/>
                </a:cubicBezTo>
                <a:cubicBezTo>
                  <a:pt x="2226073" y="6435381"/>
                  <a:pt x="2226073" y="6435381"/>
                  <a:pt x="2566189" y="6262654"/>
                </a:cubicBezTo>
                <a:cubicBezTo>
                  <a:pt x="2575743" y="6257909"/>
                  <a:pt x="2586252" y="6257435"/>
                  <a:pt x="2595567" y="6260519"/>
                </a:cubicBezTo>
                <a:close/>
                <a:moveTo>
                  <a:pt x="3155659" y="6245321"/>
                </a:moveTo>
                <a:cubicBezTo>
                  <a:pt x="3164974" y="6247947"/>
                  <a:pt x="3173095" y="6254153"/>
                  <a:pt x="3177874" y="6263701"/>
                </a:cubicBezTo>
                <a:cubicBezTo>
                  <a:pt x="3189337" y="6282797"/>
                  <a:pt x="3181694" y="6305712"/>
                  <a:pt x="3162585" y="6317169"/>
                </a:cubicBezTo>
                <a:cubicBezTo>
                  <a:pt x="3162585" y="6317169"/>
                  <a:pt x="3162585" y="6317169"/>
                  <a:pt x="2822468" y="6492853"/>
                </a:cubicBezTo>
                <a:cubicBezTo>
                  <a:pt x="2805269" y="6502401"/>
                  <a:pt x="2780431" y="6496672"/>
                  <a:pt x="2770875" y="6477576"/>
                </a:cubicBezTo>
                <a:cubicBezTo>
                  <a:pt x="2768965" y="6471847"/>
                  <a:pt x="2767055" y="6466118"/>
                  <a:pt x="2767055" y="6458480"/>
                </a:cubicBezTo>
                <a:cubicBezTo>
                  <a:pt x="2767055" y="6445113"/>
                  <a:pt x="2774698" y="6431746"/>
                  <a:pt x="2788072" y="6426017"/>
                </a:cubicBezTo>
                <a:cubicBezTo>
                  <a:pt x="2788072" y="6426017"/>
                  <a:pt x="2788072" y="6426017"/>
                  <a:pt x="3126282" y="6248424"/>
                </a:cubicBezTo>
                <a:cubicBezTo>
                  <a:pt x="3135836" y="6243650"/>
                  <a:pt x="3146345" y="6242695"/>
                  <a:pt x="3155659" y="6245321"/>
                </a:cubicBezTo>
                <a:close/>
                <a:moveTo>
                  <a:pt x="4011840" y="6076623"/>
                </a:moveTo>
                <a:lnTo>
                  <a:pt x="4011840" y="6165693"/>
                </a:lnTo>
                <a:lnTo>
                  <a:pt x="3959152" y="6191239"/>
                </a:lnTo>
                <a:cubicBezTo>
                  <a:pt x="3940144" y="6200776"/>
                  <a:pt x="3915434" y="6193146"/>
                  <a:pt x="3905930" y="6172165"/>
                </a:cubicBezTo>
                <a:cubicBezTo>
                  <a:pt x="3902128" y="6166443"/>
                  <a:pt x="3902128" y="6160721"/>
                  <a:pt x="3902128" y="6154999"/>
                </a:cubicBezTo>
                <a:cubicBezTo>
                  <a:pt x="3902128" y="6139740"/>
                  <a:pt x="3909730" y="6124481"/>
                  <a:pt x="3924936" y="6118759"/>
                </a:cubicBezTo>
                <a:cubicBezTo>
                  <a:pt x="3924936" y="6118759"/>
                  <a:pt x="3924936" y="6118759"/>
                  <a:pt x="4007532" y="6078712"/>
                </a:cubicBezTo>
                <a:close/>
                <a:moveTo>
                  <a:pt x="380904" y="5988309"/>
                </a:moveTo>
                <a:cubicBezTo>
                  <a:pt x="396318" y="5987059"/>
                  <a:pt x="411999" y="5995988"/>
                  <a:pt x="419127" y="6010276"/>
                </a:cubicBezTo>
                <a:cubicBezTo>
                  <a:pt x="428631" y="6031231"/>
                  <a:pt x="421028" y="6055996"/>
                  <a:pt x="400120" y="6065521"/>
                </a:cubicBezTo>
                <a:cubicBezTo>
                  <a:pt x="400120" y="6065521"/>
                  <a:pt x="400120" y="6065521"/>
                  <a:pt x="63687" y="6229351"/>
                </a:cubicBezTo>
                <a:cubicBezTo>
                  <a:pt x="42779" y="6238876"/>
                  <a:pt x="18069" y="6231256"/>
                  <a:pt x="8565" y="6210301"/>
                </a:cubicBezTo>
                <a:cubicBezTo>
                  <a:pt x="6664" y="6204586"/>
                  <a:pt x="4764" y="6198871"/>
                  <a:pt x="4764" y="6193156"/>
                </a:cubicBezTo>
                <a:cubicBezTo>
                  <a:pt x="4764" y="6177916"/>
                  <a:pt x="12367" y="6162676"/>
                  <a:pt x="27573" y="6156961"/>
                </a:cubicBezTo>
                <a:cubicBezTo>
                  <a:pt x="27573" y="6156961"/>
                  <a:pt x="27573" y="6156961"/>
                  <a:pt x="365906" y="5993131"/>
                </a:cubicBezTo>
                <a:cubicBezTo>
                  <a:pt x="370658" y="5990273"/>
                  <a:pt x="375766" y="5988725"/>
                  <a:pt x="380904" y="5988309"/>
                </a:cubicBezTo>
                <a:close/>
                <a:moveTo>
                  <a:pt x="940179" y="5978208"/>
                </a:moveTo>
                <a:cubicBezTo>
                  <a:pt x="949950" y="5981541"/>
                  <a:pt x="958529" y="5988685"/>
                  <a:pt x="963295" y="5999163"/>
                </a:cubicBezTo>
                <a:cubicBezTo>
                  <a:pt x="974733" y="6018213"/>
                  <a:pt x="965201" y="6042978"/>
                  <a:pt x="944230" y="6052503"/>
                </a:cubicBezTo>
                <a:cubicBezTo>
                  <a:pt x="944230" y="6052503"/>
                  <a:pt x="944230" y="6052503"/>
                  <a:pt x="606791" y="6218238"/>
                </a:cubicBezTo>
                <a:cubicBezTo>
                  <a:pt x="585820" y="6227763"/>
                  <a:pt x="561036" y="6218238"/>
                  <a:pt x="551504" y="6199188"/>
                </a:cubicBezTo>
                <a:cubicBezTo>
                  <a:pt x="549598" y="6193473"/>
                  <a:pt x="547691" y="6185853"/>
                  <a:pt x="547691" y="6180138"/>
                </a:cubicBezTo>
                <a:cubicBezTo>
                  <a:pt x="547691" y="6164898"/>
                  <a:pt x="555317" y="6151563"/>
                  <a:pt x="570568" y="6143943"/>
                </a:cubicBezTo>
                <a:cubicBezTo>
                  <a:pt x="570568" y="6143943"/>
                  <a:pt x="570568" y="6143943"/>
                  <a:pt x="909915" y="5980113"/>
                </a:cubicBezTo>
                <a:cubicBezTo>
                  <a:pt x="919447" y="5975350"/>
                  <a:pt x="930409" y="5974874"/>
                  <a:pt x="940179" y="5978208"/>
                </a:cubicBezTo>
                <a:close/>
                <a:moveTo>
                  <a:pt x="1487950" y="5966222"/>
                </a:moveTo>
                <a:cubicBezTo>
                  <a:pt x="1497958" y="5969794"/>
                  <a:pt x="1506537" y="5976938"/>
                  <a:pt x="1511303" y="5986463"/>
                </a:cubicBezTo>
                <a:cubicBezTo>
                  <a:pt x="1520836" y="6007418"/>
                  <a:pt x="1513210" y="6032183"/>
                  <a:pt x="1492239" y="6041708"/>
                </a:cubicBezTo>
                <a:cubicBezTo>
                  <a:pt x="1492239" y="6041708"/>
                  <a:pt x="1492239" y="6041708"/>
                  <a:pt x="1152893" y="6205538"/>
                </a:cubicBezTo>
                <a:cubicBezTo>
                  <a:pt x="1131922" y="6215063"/>
                  <a:pt x="1109045" y="6207443"/>
                  <a:pt x="1097606" y="6186488"/>
                </a:cubicBezTo>
                <a:cubicBezTo>
                  <a:pt x="1095700" y="6180773"/>
                  <a:pt x="1093793" y="6175058"/>
                  <a:pt x="1093793" y="6169343"/>
                </a:cubicBezTo>
                <a:cubicBezTo>
                  <a:pt x="1093793" y="6154103"/>
                  <a:pt x="1103326" y="6138863"/>
                  <a:pt x="1116671" y="6131243"/>
                </a:cubicBezTo>
                <a:cubicBezTo>
                  <a:pt x="1116671" y="6131243"/>
                  <a:pt x="1116671" y="6131243"/>
                  <a:pt x="1456017" y="5967413"/>
                </a:cubicBezTo>
                <a:cubicBezTo>
                  <a:pt x="1466502" y="5962650"/>
                  <a:pt x="1477941" y="5962650"/>
                  <a:pt x="1487950" y="5966222"/>
                </a:cubicBezTo>
                <a:close/>
                <a:moveTo>
                  <a:pt x="2039813" y="5952817"/>
                </a:moveTo>
                <a:cubicBezTo>
                  <a:pt x="2049553" y="5956155"/>
                  <a:pt x="2058100" y="5963308"/>
                  <a:pt x="2063798" y="5973798"/>
                </a:cubicBezTo>
                <a:cubicBezTo>
                  <a:pt x="2073295" y="5992872"/>
                  <a:pt x="2063798" y="6017668"/>
                  <a:pt x="2044799" y="6027205"/>
                </a:cubicBezTo>
                <a:cubicBezTo>
                  <a:pt x="2044799" y="6027205"/>
                  <a:pt x="2044799" y="6027205"/>
                  <a:pt x="1706714" y="6191239"/>
                </a:cubicBezTo>
                <a:cubicBezTo>
                  <a:pt x="1685821" y="6200776"/>
                  <a:pt x="1661129" y="6193146"/>
                  <a:pt x="1651633" y="6172165"/>
                </a:cubicBezTo>
                <a:cubicBezTo>
                  <a:pt x="1649733" y="6166443"/>
                  <a:pt x="1647834" y="6160721"/>
                  <a:pt x="1647834" y="6154999"/>
                </a:cubicBezTo>
                <a:cubicBezTo>
                  <a:pt x="1647834" y="6139740"/>
                  <a:pt x="1655431" y="6124481"/>
                  <a:pt x="1670626" y="6118759"/>
                </a:cubicBezTo>
                <a:cubicBezTo>
                  <a:pt x="1670626" y="6118759"/>
                  <a:pt x="1670626" y="6118759"/>
                  <a:pt x="2008712" y="5954725"/>
                </a:cubicBezTo>
                <a:cubicBezTo>
                  <a:pt x="2019158" y="5949956"/>
                  <a:pt x="2030079" y="5949479"/>
                  <a:pt x="2039813" y="5952817"/>
                </a:cubicBezTo>
                <a:close/>
                <a:moveTo>
                  <a:pt x="3730408" y="5940108"/>
                </a:moveTo>
                <a:cubicBezTo>
                  <a:pt x="3740180" y="5943442"/>
                  <a:pt x="3748756" y="5950585"/>
                  <a:pt x="3754476" y="5961063"/>
                </a:cubicBezTo>
                <a:cubicBezTo>
                  <a:pt x="3764010" y="5982018"/>
                  <a:pt x="3754476" y="6004878"/>
                  <a:pt x="3735412" y="6016308"/>
                </a:cubicBezTo>
                <a:cubicBezTo>
                  <a:pt x="3735412" y="6016308"/>
                  <a:pt x="3735412" y="6016308"/>
                  <a:pt x="3396080" y="6180138"/>
                </a:cubicBezTo>
                <a:cubicBezTo>
                  <a:pt x="3375107" y="6189663"/>
                  <a:pt x="3350323" y="6180138"/>
                  <a:pt x="3340791" y="6161088"/>
                </a:cubicBezTo>
                <a:cubicBezTo>
                  <a:pt x="3338885" y="6155373"/>
                  <a:pt x="3336980" y="6149658"/>
                  <a:pt x="3336980" y="6142038"/>
                </a:cubicBezTo>
                <a:cubicBezTo>
                  <a:pt x="3336980" y="6126798"/>
                  <a:pt x="3346510" y="6113463"/>
                  <a:pt x="3359854" y="6105843"/>
                </a:cubicBezTo>
                <a:cubicBezTo>
                  <a:pt x="3359854" y="6105843"/>
                  <a:pt x="3359854" y="6105843"/>
                  <a:pt x="3699190" y="5942013"/>
                </a:cubicBezTo>
                <a:cubicBezTo>
                  <a:pt x="3709676" y="5937250"/>
                  <a:pt x="3720634" y="5936774"/>
                  <a:pt x="3730408" y="5940108"/>
                </a:cubicBezTo>
                <a:close/>
                <a:moveTo>
                  <a:pt x="2596907" y="5940108"/>
                </a:moveTo>
                <a:cubicBezTo>
                  <a:pt x="2606677" y="5943442"/>
                  <a:pt x="2615256" y="5950585"/>
                  <a:pt x="2620976" y="5961063"/>
                </a:cubicBezTo>
                <a:cubicBezTo>
                  <a:pt x="2630508" y="5982018"/>
                  <a:pt x="2620976" y="6004878"/>
                  <a:pt x="2601911" y="6016308"/>
                </a:cubicBezTo>
                <a:cubicBezTo>
                  <a:pt x="2601911" y="6016308"/>
                  <a:pt x="2601911" y="6016308"/>
                  <a:pt x="2262565" y="6180138"/>
                </a:cubicBezTo>
                <a:cubicBezTo>
                  <a:pt x="2241595" y="6189663"/>
                  <a:pt x="2216811" y="6180138"/>
                  <a:pt x="2207278" y="6161088"/>
                </a:cubicBezTo>
                <a:cubicBezTo>
                  <a:pt x="2205372" y="6155373"/>
                  <a:pt x="2203466" y="6149658"/>
                  <a:pt x="2203466" y="6142038"/>
                </a:cubicBezTo>
                <a:cubicBezTo>
                  <a:pt x="2203466" y="6126798"/>
                  <a:pt x="2211091" y="6113463"/>
                  <a:pt x="2226343" y="6105843"/>
                </a:cubicBezTo>
                <a:cubicBezTo>
                  <a:pt x="2226343" y="6105843"/>
                  <a:pt x="2226343" y="6105843"/>
                  <a:pt x="2565688" y="5942013"/>
                </a:cubicBezTo>
                <a:cubicBezTo>
                  <a:pt x="2576174" y="5937250"/>
                  <a:pt x="2587136" y="5936774"/>
                  <a:pt x="2596907" y="5940108"/>
                </a:cubicBezTo>
                <a:close/>
                <a:moveTo>
                  <a:pt x="3158038" y="5928122"/>
                </a:moveTo>
                <a:cubicBezTo>
                  <a:pt x="3168046" y="5931694"/>
                  <a:pt x="3176626" y="5938838"/>
                  <a:pt x="3181392" y="5948363"/>
                </a:cubicBezTo>
                <a:cubicBezTo>
                  <a:pt x="3190924" y="5969318"/>
                  <a:pt x="3183299" y="5994083"/>
                  <a:pt x="3162325" y="6003608"/>
                </a:cubicBezTo>
                <a:cubicBezTo>
                  <a:pt x="3162325" y="6003608"/>
                  <a:pt x="3162325" y="6003608"/>
                  <a:pt x="2822979" y="6167438"/>
                </a:cubicBezTo>
                <a:cubicBezTo>
                  <a:pt x="2803913" y="6176963"/>
                  <a:pt x="2779131" y="6169343"/>
                  <a:pt x="2769598" y="6148388"/>
                </a:cubicBezTo>
                <a:cubicBezTo>
                  <a:pt x="2765784" y="6142673"/>
                  <a:pt x="2763878" y="6136958"/>
                  <a:pt x="2763878" y="6131243"/>
                </a:cubicBezTo>
                <a:cubicBezTo>
                  <a:pt x="2763878" y="6116003"/>
                  <a:pt x="2773410" y="6100763"/>
                  <a:pt x="2788667" y="6093143"/>
                </a:cubicBezTo>
                <a:cubicBezTo>
                  <a:pt x="2788667" y="6093143"/>
                  <a:pt x="2788667" y="6093143"/>
                  <a:pt x="3126105" y="5929313"/>
                </a:cubicBezTo>
                <a:cubicBezTo>
                  <a:pt x="3136591" y="5924550"/>
                  <a:pt x="3148030" y="5924550"/>
                  <a:pt x="3158038" y="5928122"/>
                </a:cubicBezTo>
                <a:close/>
                <a:moveTo>
                  <a:pt x="4011840" y="5749863"/>
                </a:moveTo>
                <a:lnTo>
                  <a:pt x="4011840" y="5842922"/>
                </a:lnTo>
                <a:lnTo>
                  <a:pt x="3958228" y="5867437"/>
                </a:lnTo>
                <a:cubicBezTo>
                  <a:pt x="3937196" y="5876926"/>
                  <a:pt x="3912336" y="5867437"/>
                  <a:pt x="3902776" y="5846560"/>
                </a:cubicBezTo>
                <a:cubicBezTo>
                  <a:pt x="3898954" y="5840867"/>
                  <a:pt x="3898954" y="5835173"/>
                  <a:pt x="3898954" y="5829480"/>
                </a:cubicBezTo>
                <a:cubicBezTo>
                  <a:pt x="3898954" y="5812399"/>
                  <a:pt x="3906600" y="5797216"/>
                  <a:pt x="3923810" y="5789625"/>
                </a:cubicBezTo>
                <a:cubicBezTo>
                  <a:pt x="3923810" y="5789625"/>
                  <a:pt x="3923810" y="5789625"/>
                  <a:pt x="4006898" y="5752095"/>
                </a:cubicBezTo>
                <a:close/>
                <a:moveTo>
                  <a:pt x="397251" y="5667772"/>
                </a:moveTo>
                <a:cubicBezTo>
                  <a:pt x="407022" y="5671344"/>
                  <a:pt x="415601" y="5678488"/>
                  <a:pt x="420367" y="5688013"/>
                </a:cubicBezTo>
                <a:cubicBezTo>
                  <a:pt x="431806" y="5708968"/>
                  <a:pt x="422273" y="5733733"/>
                  <a:pt x="401303" y="5743258"/>
                </a:cubicBezTo>
                <a:cubicBezTo>
                  <a:pt x="401303" y="5743258"/>
                  <a:pt x="401303" y="5743258"/>
                  <a:pt x="63863" y="5907088"/>
                </a:cubicBezTo>
                <a:cubicBezTo>
                  <a:pt x="42892" y="5916613"/>
                  <a:pt x="18109" y="5907088"/>
                  <a:pt x="8576" y="5888038"/>
                </a:cubicBezTo>
                <a:cubicBezTo>
                  <a:pt x="4764" y="5882323"/>
                  <a:pt x="4764" y="5874703"/>
                  <a:pt x="4764" y="5868988"/>
                </a:cubicBezTo>
                <a:cubicBezTo>
                  <a:pt x="4764" y="5853748"/>
                  <a:pt x="12389" y="5840413"/>
                  <a:pt x="27641" y="5832793"/>
                </a:cubicBezTo>
                <a:cubicBezTo>
                  <a:pt x="27641" y="5832793"/>
                  <a:pt x="27641" y="5832793"/>
                  <a:pt x="366987" y="5668963"/>
                </a:cubicBezTo>
                <a:cubicBezTo>
                  <a:pt x="376519" y="5664200"/>
                  <a:pt x="387481" y="5664200"/>
                  <a:pt x="397251" y="5667772"/>
                </a:cubicBezTo>
                <a:close/>
                <a:moveTo>
                  <a:pt x="941847" y="5656671"/>
                </a:moveTo>
                <a:cubicBezTo>
                  <a:pt x="951856" y="5660247"/>
                  <a:pt x="960435" y="5667400"/>
                  <a:pt x="965201" y="5676936"/>
                </a:cubicBezTo>
                <a:cubicBezTo>
                  <a:pt x="974733" y="5697917"/>
                  <a:pt x="965201" y="5722713"/>
                  <a:pt x="946137" y="5732250"/>
                </a:cubicBezTo>
                <a:cubicBezTo>
                  <a:pt x="946137" y="5732250"/>
                  <a:pt x="946137" y="5732250"/>
                  <a:pt x="606791" y="5894377"/>
                </a:cubicBezTo>
                <a:cubicBezTo>
                  <a:pt x="585820" y="5903914"/>
                  <a:pt x="561036" y="5894377"/>
                  <a:pt x="551504" y="5873396"/>
                </a:cubicBezTo>
                <a:cubicBezTo>
                  <a:pt x="547691" y="5867674"/>
                  <a:pt x="547691" y="5861952"/>
                  <a:pt x="547691" y="5856229"/>
                </a:cubicBezTo>
                <a:cubicBezTo>
                  <a:pt x="547691" y="5840970"/>
                  <a:pt x="555317" y="5825711"/>
                  <a:pt x="570568" y="5818082"/>
                </a:cubicBezTo>
                <a:cubicBezTo>
                  <a:pt x="570568" y="5818082"/>
                  <a:pt x="570568" y="5818082"/>
                  <a:pt x="909914" y="5657863"/>
                </a:cubicBezTo>
                <a:cubicBezTo>
                  <a:pt x="920400" y="5653094"/>
                  <a:pt x="931838" y="5653094"/>
                  <a:pt x="941847" y="5656671"/>
                </a:cubicBezTo>
                <a:close/>
                <a:moveTo>
                  <a:pt x="1487895" y="5644852"/>
                </a:moveTo>
                <a:cubicBezTo>
                  <a:pt x="1498134" y="5648194"/>
                  <a:pt x="1507183" y="5655356"/>
                  <a:pt x="1512898" y="5665859"/>
                </a:cubicBezTo>
                <a:cubicBezTo>
                  <a:pt x="1522423" y="5686867"/>
                  <a:pt x="1512898" y="5711694"/>
                  <a:pt x="1491943" y="5723153"/>
                </a:cubicBezTo>
                <a:cubicBezTo>
                  <a:pt x="1491943" y="5723153"/>
                  <a:pt x="1491943" y="5723153"/>
                  <a:pt x="1152849" y="5881664"/>
                </a:cubicBezTo>
                <a:cubicBezTo>
                  <a:pt x="1131894" y="5891213"/>
                  <a:pt x="1107128" y="5881664"/>
                  <a:pt x="1097603" y="5860656"/>
                </a:cubicBezTo>
                <a:cubicBezTo>
                  <a:pt x="1093793" y="5854927"/>
                  <a:pt x="1093793" y="5849198"/>
                  <a:pt x="1093793" y="5843468"/>
                </a:cubicBezTo>
                <a:cubicBezTo>
                  <a:pt x="1093793" y="5828190"/>
                  <a:pt x="1101413" y="5812912"/>
                  <a:pt x="1116653" y="5805273"/>
                </a:cubicBezTo>
                <a:cubicBezTo>
                  <a:pt x="1116653" y="5805273"/>
                  <a:pt x="1116653" y="5805273"/>
                  <a:pt x="1455747" y="5646762"/>
                </a:cubicBezTo>
                <a:cubicBezTo>
                  <a:pt x="1466225" y="5641987"/>
                  <a:pt x="1477655" y="5641510"/>
                  <a:pt x="1487895" y="5644852"/>
                </a:cubicBezTo>
                <a:close/>
                <a:moveTo>
                  <a:pt x="2025802" y="5631125"/>
                </a:moveTo>
                <a:cubicBezTo>
                  <a:pt x="2042192" y="5629969"/>
                  <a:pt x="2058318" y="5639221"/>
                  <a:pt x="2066916" y="5654878"/>
                </a:cubicBezTo>
                <a:cubicBezTo>
                  <a:pt x="2076469" y="5677652"/>
                  <a:pt x="2066916" y="5702324"/>
                  <a:pt x="2045894" y="5711813"/>
                </a:cubicBezTo>
                <a:cubicBezTo>
                  <a:pt x="2045894" y="5711813"/>
                  <a:pt x="2045894" y="5711813"/>
                  <a:pt x="1705799" y="5867437"/>
                </a:cubicBezTo>
                <a:cubicBezTo>
                  <a:pt x="1682871" y="5876926"/>
                  <a:pt x="1658033" y="5867437"/>
                  <a:pt x="1648480" y="5846560"/>
                </a:cubicBezTo>
                <a:cubicBezTo>
                  <a:pt x="1646569" y="5840867"/>
                  <a:pt x="1644659" y="5835173"/>
                  <a:pt x="1644659" y="5829480"/>
                </a:cubicBezTo>
                <a:cubicBezTo>
                  <a:pt x="1644659" y="5812399"/>
                  <a:pt x="1654212" y="5797216"/>
                  <a:pt x="1669497" y="5789625"/>
                </a:cubicBezTo>
                <a:cubicBezTo>
                  <a:pt x="1669497" y="5789625"/>
                  <a:pt x="1669497" y="5789625"/>
                  <a:pt x="2009592" y="5635900"/>
                </a:cubicBezTo>
                <a:cubicBezTo>
                  <a:pt x="2014846" y="5633053"/>
                  <a:pt x="2020339" y="5631511"/>
                  <a:pt x="2025802" y="5631125"/>
                </a:cubicBezTo>
                <a:close/>
                <a:moveTo>
                  <a:pt x="3732520" y="5620418"/>
                </a:moveTo>
                <a:cubicBezTo>
                  <a:pt x="3742752" y="5624242"/>
                  <a:pt x="3751320" y="5631891"/>
                  <a:pt x="3756078" y="5642408"/>
                </a:cubicBezTo>
                <a:cubicBezTo>
                  <a:pt x="3765600" y="5665355"/>
                  <a:pt x="3756078" y="5690214"/>
                  <a:pt x="3735138" y="5699775"/>
                </a:cubicBezTo>
                <a:cubicBezTo>
                  <a:pt x="3735138" y="5699775"/>
                  <a:pt x="3735138" y="5699775"/>
                  <a:pt x="3396308" y="5854665"/>
                </a:cubicBezTo>
                <a:cubicBezTo>
                  <a:pt x="3373464" y="5864226"/>
                  <a:pt x="3348715" y="5854665"/>
                  <a:pt x="3339199" y="5833630"/>
                </a:cubicBezTo>
                <a:cubicBezTo>
                  <a:pt x="3337292" y="5827894"/>
                  <a:pt x="3335390" y="5820245"/>
                  <a:pt x="3335390" y="5814508"/>
                </a:cubicBezTo>
                <a:cubicBezTo>
                  <a:pt x="3335390" y="5799210"/>
                  <a:pt x="3344907" y="5783913"/>
                  <a:pt x="3360135" y="5776264"/>
                </a:cubicBezTo>
                <a:cubicBezTo>
                  <a:pt x="3360135" y="5776264"/>
                  <a:pt x="3360135" y="5776264"/>
                  <a:pt x="3698968" y="5621374"/>
                </a:cubicBezTo>
                <a:cubicBezTo>
                  <a:pt x="3710392" y="5616593"/>
                  <a:pt x="3722288" y="5616593"/>
                  <a:pt x="3732520" y="5620418"/>
                </a:cubicBezTo>
                <a:close/>
                <a:moveTo>
                  <a:pt x="2598306" y="5620418"/>
                </a:moveTo>
                <a:cubicBezTo>
                  <a:pt x="2608777" y="5624242"/>
                  <a:pt x="2617819" y="5631891"/>
                  <a:pt x="2622577" y="5642408"/>
                </a:cubicBezTo>
                <a:cubicBezTo>
                  <a:pt x="2632096" y="5665355"/>
                  <a:pt x="2622577" y="5690214"/>
                  <a:pt x="2601638" y="5699775"/>
                </a:cubicBezTo>
                <a:cubicBezTo>
                  <a:pt x="2601638" y="5699775"/>
                  <a:pt x="2601638" y="5699775"/>
                  <a:pt x="2262794" y="5854665"/>
                </a:cubicBezTo>
                <a:cubicBezTo>
                  <a:pt x="2239951" y="5864226"/>
                  <a:pt x="2215204" y="5854665"/>
                  <a:pt x="2205686" y="5833630"/>
                </a:cubicBezTo>
                <a:cubicBezTo>
                  <a:pt x="2203782" y="5827894"/>
                  <a:pt x="2201879" y="5820245"/>
                  <a:pt x="2201879" y="5814508"/>
                </a:cubicBezTo>
                <a:cubicBezTo>
                  <a:pt x="2201879" y="5799210"/>
                  <a:pt x="2211397" y="5783913"/>
                  <a:pt x="2226626" y="5776264"/>
                </a:cubicBezTo>
                <a:cubicBezTo>
                  <a:pt x="2226626" y="5776264"/>
                  <a:pt x="2226626" y="5776264"/>
                  <a:pt x="2565468" y="5621374"/>
                </a:cubicBezTo>
                <a:cubicBezTo>
                  <a:pt x="2575938" y="5616593"/>
                  <a:pt x="2587837" y="5616593"/>
                  <a:pt x="2598306" y="5620418"/>
                </a:cubicBezTo>
                <a:close/>
                <a:moveTo>
                  <a:pt x="3160334" y="5609262"/>
                </a:moveTo>
                <a:cubicBezTo>
                  <a:pt x="3170798" y="5613068"/>
                  <a:pt x="3179834" y="5620678"/>
                  <a:pt x="3184589" y="5631142"/>
                </a:cubicBezTo>
                <a:cubicBezTo>
                  <a:pt x="3194099" y="5653973"/>
                  <a:pt x="3184589" y="5678707"/>
                  <a:pt x="3161758" y="5688219"/>
                </a:cubicBezTo>
                <a:cubicBezTo>
                  <a:pt x="3161758" y="5688219"/>
                  <a:pt x="3161758" y="5688219"/>
                  <a:pt x="2823162" y="5840426"/>
                </a:cubicBezTo>
                <a:cubicBezTo>
                  <a:pt x="2800335" y="5849939"/>
                  <a:pt x="2775607" y="5840426"/>
                  <a:pt x="2766094" y="5817595"/>
                </a:cubicBezTo>
                <a:cubicBezTo>
                  <a:pt x="2764193" y="5811887"/>
                  <a:pt x="2762292" y="5806179"/>
                  <a:pt x="2762292" y="5800472"/>
                </a:cubicBezTo>
                <a:cubicBezTo>
                  <a:pt x="2762292" y="5783348"/>
                  <a:pt x="2771803" y="5768128"/>
                  <a:pt x="2787018" y="5760517"/>
                </a:cubicBezTo>
                <a:cubicBezTo>
                  <a:pt x="2787018" y="5760517"/>
                  <a:pt x="2787018" y="5760517"/>
                  <a:pt x="3127521" y="5610214"/>
                </a:cubicBezTo>
                <a:cubicBezTo>
                  <a:pt x="3137983" y="5605457"/>
                  <a:pt x="3149871" y="5605457"/>
                  <a:pt x="3160334" y="5609262"/>
                </a:cubicBezTo>
                <a:close/>
                <a:moveTo>
                  <a:pt x="4011840" y="5423585"/>
                </a:moveTo>
                <a:lnTo>
                  <a:pt x="4011840" y="5518922"/>
                </a:lnTo>
                <a:lnTo>
                  <a:pt x="3958460" y="5541963"/>
                </a:lnTo>
                <a:cubicBezTo>
                  <a:pt x="3935548" y="5551488"/>
                  <a:pt x="3910732" y="5541963"/>
                  <a:pt x="3901184" y="5519103"/>
                </a:cubicBezTo>
                <a:cubicBezTo>
                  <a:pt x="3897364" y="5513388"/>
                  <a:pt x="3897364" y="5507673"/>
                  <a:pt x="3897364" y="5501958"/>
                </a:cubicBezTo>
                <a:cubicBezTo>
                  <a:pt x="3897364" y="5484813"/>
                  <a:pt x="3906912" y="5469573"/>
                  <a:pt x="3924092" y="5461953"/>
                </a:cubicBezTo>
                <a:cubicBezTo>
                  <a:pt x="3924092" y="5461953"/>
                  <a:pt x="3924092" y="5461953"/>
                  <a:pt x="4007056" y="5425676"/>
                </a:cubicBezTo>
                <a:close/>
                <a:moveTo>
                  <a:pt x="398204" y="5347056"/>
                </a:moveTo>
                <a:cubicBezTo>
                  <a:pt x="407975" y="5350610"/>
                  <a:pt x="416554" y="5357718"/>
                  <a:pt x="422273" y="5367196"/>
                </a:cubicBezTo>
                <a:cubicBezTo>
                  <a:pt x="431805" y="5388046"/>
                  <a:pt x="422273" y="5412688"/>
                  <a:pt x="401302" y="5422166"/>
                </a:cubicBezTo>
                <a:cubicBezTo>
                  <a:pt x="401302" y="5422166"/>
                  <a:pt x="401302" y="5422166"/>
                  <a:pt x="63863" y="5583285"/>
                </a:cubicBezTo>
                <a:cubicBezTo>
                  <a:pt x="42892" y="5592763"/>
                  <a:pt x="18108" y="5585181"/>
                  <a:pt x="8576" y="5564330"/>
                </a:cubicBezTo>
                <a:cubicBezTo>
                  <a:pt x="4763" y="5558643"/>
                  <a:pt x="4763" y="5552957"/>
                  <a:pt x="4763" y="5547270"/>
                </a:cubicBezTo>
                <a:cubicBezTo>
                  <a:pt x="4763" y="5532106"/>
                  <a:pt x="12389" y="5516942"/>
                  <a:pt x="27641" y="5509360"/>
                </a:cubicBezTo>
                <a:cubicBezTo>
                  <a:pt x="27641" y="5509360"/>
                  <a:pt x="27641" y="5509360"/>
                  <a:pt x="366986" y="5348240"/>
                </a:cubicBezTo>
                <a:cubicBezTo>
                  <a:pt x="377472" y="5343502"/>
                  <a:pt x="388434" y="5343502"/>
                  <a:pt x="398204" y="5347056"/>
                </a:cubicBezTo>
                <a:close/>
                <a:moveTo>
                  <a:pt x="941871" y="5334657"/>
                </a:moveTo>
                <a:cubicBezTo>
                  <a:pt x="951873" y="5338476"/>
                  <a:pt x="960445" y="5346116"/>
                  <a:pt x="965208" y="5356619"/>
                </a:cubicBezTo>
                <a:cubicBezTo>
                  <a:pt x="974733" y="5377627"/>
                  <a:pt x="967113" y="5402454"/>
                  <a:pt x="946158" y="5412003"/>
                </a:cubicBezTo>
                <a:cubicBezTo>
                  <a:pt x="946158" y="5412003"/>
                  <a:pt x="946158" y="5412003"/>
                  <a:pt x="605159" y="5570514"/>
                </a:cubicBezTo>
                <a:cubicBezTo>
                  <a:pt x="584203" y="5580063"/>
                  <a:pt x="559438" y="5570514"/>
                  <a:pt x="549913" y="5549506"/>
                </a:cubicBezTo>
                <a:cubicBezTo>
                  <a:pt x="548008" y="5543777"/>
                  <a:pt x="546103" y="5538048"/>
                  <a:pt x="546103" y="5532318"/>
                </a:cubicBezTo>
                <a:cubicBezTo>
                  <a:pt x="546103" y="5515130"/>
                  <a:pt x="555628" y="5499852"/>
                  <a:pt x="570868" y="5494123"/>
                </a:cubicBezTo>
                <a:cubicBezTo>
                  <a:pt x="570868" y="5494123"/>
                  <a:pt x="570868" y="5494123"/>
                  <a:pt x="909962" y="5335612"/>
                </a:cubicBezTo>
                <a:cubicBezTo>
                  <a:pt x="920440" y="5330837"/>
                  <a:pt x="931870" y="5330837"/>
                  <a:pt x="941871" y="5334657"/>
                </a:cubicBezTo>
                <a:close/>
                <a:moveTo>
                  <a:pt x="1489585" y="5323794"/>
                </a:moveTo>
                <a:cubicBezTo>
                  <a:pt x="1499579" y="5327857"/>
                  <a:pt x="1508145" y="5335984"/>
                  <a:pt x="1512904" y="5347457"/>
                </a:cubicBezTo>
                <a:cubicBezTo>
                  <a:pt x="1522422" y="5368492"/>
                  <a:pt x="1512904" y="5393351"/>
                  <a:pt x="1491964" y="5402912"/>
                </a:cubicBezTo>
                <a:cubicBezTo>
                  <a:pt x="1491964" y="5402912"/>
                  <a:pt x="1491964" y="5402912"/>
                  <a:pt x="1153121" y="5555889"/>
                </a:cubicBezTo>
                <a:cubicBezTo>
                  <a:pt x="1130277" y="5567363"/>
                  <a:pt x="1105530" y="5557802"/>
                  <a:pt x="1096012" y="5534855"/>
                </a:cubicBezTo>
                <a:cubicBezTo>
                  <a:pt x="1094109" y="5529118"/>
                  <a:pt x="1092205" y="5523382"/>
                  <a:pt x="1092205" y="5517645"/>
                </a:cubicBezTo>
                <a:cubicBezTo>
                  <a:pt x="1092205" y="5500435"/>
                  <a:pt x="1101723" y="5485137"/>
                  <a:pt x="1116952" y="5477488"/>
                </a:cubicBezTo>
                <a:cubicBezTo>
                  <a:pt x="1116952" y="5477488"/>
                  <a:pt x="1116952" y="5477488"/>
                  <a:pt x="1457699" y="5324511"/>
                </a:cubicBezTo>
                <a:cubicBezTo>
                  <a:pt x="1468169" y="5319730"/>
                  <a:pt x="1479591" y="5319730"/>
                  <a:pt x="1489585" y="5323794"/>
                </a:cubicBezTo>
                <a:close/>
                <a:moveTo>
                  <a:pt x="2026929" y="5309969"/>
                </a:moveTo>
                <a:cubicBezTo>
                  <a:pt x="2044546" y="5310148"/>
                  <a:pt x="2061364" y="5320506"/>
                  <a:pt x="2068518" y="5336223"/>
                </a:cubicBezTo>
                <a:cubicBezTo>
                  <a:pt x="2078057" y="5359083"/>
                  <a:pt x="2066610" y="5383848"/>
                  <a:pt x="2045619" y="5395278"/>
                </a:cubicBezTo>
                <a:cubicBezTo>
                  <a:pt x="2045619" y="5395278"/>
                  <a:pt x="2045619" y="5395278"/>
                  <a:pt x="1704121" y="5541963"/>
                </a:cubicBezTo>
                <a:cubicBezTo>
                  <a:pt x="1683136" y="5551488"/>
                  <a:pt x="1656426" y="5541963"/>
                  <a:pt x="1646887" y="5519103"/>
                </a:cubicBezTo>
                <a:cubicBezTo>
                  <a:pt x="1644979" y="5513388"/>
                  <a:pt x="1643071" y="5507673"/>
                  <a:pt x="1643071" y="5501958"/>
                </a:cubicBezTo>
                <a:cubicBezTo>
                  <a:pt x="1643071" y="5484813"/>
                  <a:pt x="1652611" y="5469573"/>
                  <a:pt x="1669781" y="5461953"/>
                </a:cubicBezTo>
                <a:cubicBezTo>
                  <a:pt x="1669781" y="5461953"/>
                  <a:pt x="1669781" y="5461953"/>
                  <a:pt x="2009371" y="5313363"/>
                </a:cubicBezTo>
                <a:cubicBezTo>
                  <a:pt x="2015094" y="5310981"/>
                  <a:pt x="2021056" y="5309910"/>
                  <a:pt x="2026929" y="5309969"/>
                </a:cubicBezTo>
                <a:close/>
                <a:moveTo>
                  <a:pt x="3719258" y="5298894"/>
                </a:moveTo>
                <a:cubicBezTo>
                  <a:pt x="3736336" y="5299163"/>
                  <a:pt x="3752080" y="5309892"/>
                  <a:pt x="3759236" y="5327059"/>
                </a:cubicBezTo>
                <a:cubicBezTo>
                  <a:pt x="3768772" y="5349949"/>
                  <a:pt x="3759236" y="5376653"/>
                  <a:pt x="3736336" y="5386191"/>
                </a:cubicBezTo>
                <a:cubicBezTo>
                  <a:pt x="3736336" y="5386191"/>
                  <a:pt x="3736336" y="5386191"/>
                  <a:pt x="3394855" y="5529250"/>
                </a:cubicBezTo>
                <a:cubicBezTo>
                  <a:pt x="3371961" y="5538788"/>
                  <a:pt x="3347159" y="5527343"/>
                  <a:pt x="3337618" y="5504453"/>
                </a:cubicBezTo>
                <a:cubicBezTo>
                  <a:pt x="3333804" y="5498731"/>
                  <a:pt x="3333804" y="5493009"/>
                  <a:pt x="3333804" y="5487286"/>
                </a:cubicBezTo>
                <a:cubicBezTo>
                  <a:pt x="3333804" y="5470119"/>
                  <a:pt x="3343341" y="5454859"/>
                  <a:pt x="3360513" y="5447229"/>
                </a:cubicBezTo>
                <a:cubicBezTo>
                  <a:pt x="3360513" y="5447229"/>
                  <a:pt x="3360513" y="5447229"/>
                  <a:pt x="3701998" y="5302262"/>
                </a:cubicBezTo>
                <a:cubicBezTo>
                  <a:pt x="3707720" y="5299878"/>
                  <a:pt x="3713564" y="5298805"/>
                  <a:pt x="3719258" y="5298894"/>
                </a:cubicBezTo>
                <a:close/>
                <a:moveTo>
                  <a:pt x="2583547" y="5298894"/>
                </a:moveTo>
                <a:cubicBezTo>
                  <a:pt x="2600298" y="5299163"/>
                  <a:pt x="2617050" y="5309892"/>
                  <a:pt x="2624178" y="5327059"/>
                </a:cubicBezTo>
                <a:cubicBezTo>
                  <a:pt x="2633683" y="5349949"/>
                  <a:pt x="2624178" y="5376653"/>
                  <a:pt x="2601368" y="5386191"/>
                </a:cubicBezTo>
                <a:cubicBezTo>
                  <a:pt x="2601368" y="5386191"/>
                  <a:pt x="2601368" y="5386191"/>
                  <a:pt x="2261117" y="5529250"/>
                </a:cubicBezTo>
                <a:cubicBezTo>
                  <a:pt x="2238307" y="5538788"/>
                  <a:pt x="2213596" y="5527343"/>
                  <a:pt x="2204092" y="5504453"/>
                </a:cubicBezTo>
                <a:cubicBezTo>
                  <a:pt x="2200290" y="5498731"/>
                  <a:pt x="2200290" y="5493009"/>
                  <a:pt x="2200290" y="5487286"/>
                </a:cubicBezTo>
                <a:cubicBezTo>
                  <a:pt x="2200290" y="5470119"/>
                  <a:pt x="2209795" y="5454859"/>
                  <a:pt x="2226902" y="5447229"/>
                </a:cubicBezTo>
                <a:cubicBezTo>
                  <a:pt x="2226902" y="5447229"/>
                  <a:pt x="2226902" y="5447229"/>
                  <a:pt x="2567153" y="5302262"/>
                </a:cubicBezTo>
                <a:cubicBezTo>
                  <a:pt x="2572380" y="5299878"/>
                  <a:pt x="2577964" y="5298805"/>
                  <a:pt x="2583547" y="5298894"/>
                </a:cubicBezTo>
                <a:close/>
                <a:moveTo>
                  <a:pt x="3161733" y="5292225"/>
                </a:moveTo>
                <a:cubicBezTo>
                  <a:pt x="3172419" y="5296500"/>
                  <a:pt x="3181443" y="5305050"/>
                  <a:pt x="3186188" y="5317400"/>
                </a:cubicBezTo>
                <a:cubicBezTo>
                  <a:pt x="3195686" y="5340200"/>
                  <a:pt x="3184290" y="5366800"/>
                  <a:pt x="3161495" y="5376300"/>
                </a:cubicBezTo>
                <a:cubicBezTo>
                  <a:pt x="3161495" y="5376300"/>
                  <a:pt x="3161495" y="5376300"/>
                  <a:pt x="2821486" y="5515000"/>
                </a:cubicBezTo>
                <a:cubicBezTo>
                  <a:pt x="2798692" y="5524500"/>
                  <a:pt x="2772100" y="5513100"/>
                  <a:pt x="2762604" y="5488400"/>
                </a:cubicBezTo>
                <a:cubicBezTo>
                  <a:pt x="2760705" y="5484600"/>
                  <a:pt x="2760705" y="5477000"/>
                  <a:pt x="2760705" y="5471300"/>
                </a:cubicBezTo>
                <a:cubicBezTo>
                  <a:pt x="2760705" y="5454200"/>
                  <a:pt x="2770200" y="5437100"/>
                  <a:pt x="2787298" y="5429500"/>
                </a:cubicBezTo>
                <a:cubicBezTo>
                  <a:pt x="2787298" y="5429500"/>
                  <a:pt x="2787298" y="5429500"/>
                  <a:pt x="3127305" y="5292700"/>
                </a:cubicBezTo>
                <a:cubicBezTo>
                  <a:pt x="3138701" y="5287950"/>
                  <a:pt x="3151049" y="5287950"/>
                  <a:pt x="3161733" y="5292225"/>
                </a:cubicBezTo>
                <a:close/>
                <a:moveTo>
                  <a:pt x="4011840" y="5097617"/>
                </a:moveTo>
                <a:lnTo>
                  <a:pt x="4011840" y="5195949"/>
                </a:lnTo>
                <a:lnTo>
                  <a:pt x="3958692" y="5218087"/>
                </a:lnTo>
                <a:cubicBezTo>
                  <a:pt x="3933908" y="5227637"/>
                  <a:pt x="3909124" y="5216177"/>
                  <a:pt x="3899590" y="5193257"/>
                </a:cubicBezTo>
                <a:cubicBezTo>
                  <a:pt x="3895780" y="5187528"/>
                  <a:pt x="3895780" y="5181798"/>
                  <a:pt x="3895780" y="5176068"/>
                </a:cubicBezTo>
                <a:cubicBezTo>
                  <a:pt x="3895780" y="5156968"/>
                  <a:pt x="3905308" y="5141689"/>
                  <a:pt x="3924374" y="5134049"/>
                </a:cubicBezTo>
                <a:cubicBezTo>
                  <a:pt x="3924374" y="5134049"/>
                  <a:pt x="3924374" y="5134049"/>
                  <a:pt x="4007216" y="5099543"/>
                </a:cubicBezTo>
                <a:close/>
                <a:moveTo>
                  <a:pt x="398945" y="5024845"/>
                </a:moveTo>
                <a:cubicBezTo>
                  <a:pt x="408946" y="5028421"/>
                  <a:pt x="417519" y="5035573"/>
                  <a:pt x="422281" y="5045110"/>
                </a:cubicBezTo>
                <a:cubicBezTo>
                  <a:pt x="431806" y="5066091"/>
                  <a:pt x="422281" y="5090887"/>
                  <a:pt x="401326" y="5100424"/>
                </a:cubicBezTo>
                <a:cubicBezTo>
                  <a:pt x="401326" y="5100424"/>
                  <a:pt x="401326" y="5100424"/>
                  <a:pt x="62232" y="5262551"/>
                </a:cubicBezTo>
                <a:cubicBezTo>
                  <a:pt x="43182" y="5272088"/>
                  <a:pt x="18416" y="5262551"/>
                  <a:pt x="8891" y="5241570"/>
                </a:cubicBezTo>
                <a:cubicBezTo>
                  <a:pt x="5081" y="5235848"/>
                  <a:pt x="3176" y="5230126"/>
                  <a:pt x="3176" y="5224403"/>
                </a:cubicBezTo>
                <a:cubicBezTo>
                  <a:pt x="3176" y="5209144"/>
                  <a:pt x="12701" y="5193885"/>
                  <a:pt x="27941" y="5186256"/>
                </a:cubicBezTo>
                <a:cubicBezTo>
                  <a:pt x="27941" y="5186256"/>
                  <a:pt x="27941" y="5186256"/>
                  <a:pt x="367036" y="5026037"/>
                </a:cubicBezTo>
                <a:cubicBezTo>
                  <a:pt x="377513" y="5021268"/>
                  <a:pt x="388943" y="5021268"/>
                  <a:pt x="398945" y="5024845"/>
                </a:cubicBezTo>
                <a:close/>
                <a:moveTo>
                  <a:pt x="942531" y="5014175"/>
                </a:moveTo>
                <a:cubicBezTo>
                  <a:pt x="953001" y="5018213"/>
                  <a:pt x="962043" y="5026289"/>
                  <a:pt x="966802" y="5037690"/>
                </a:cubicBezTo>
                <a:cubicBezTo>
                  <a:pt x="976320" y="5058592"/>
                  <a:pt x="966802" y="5083295"/>
                  <a:pt x="945862" y="5092795"/>
                </a:cubicBezTo>
                <a:cubicBezTo>
                  <a:pt x="945862" y="5092795"/>
                  <a:pt x="945862" y="5092795"/>
                  <a:pt x="605115" y="5246711"/>
                </a:cubicBezTo>
                <a:cubicBezTo>
                  <a:pt x="584175" y="5256212"/>
                  <a:pt x="559428" y="5246711"/>
                  <a:pt x="549910" y="5225809"/>
                </a:cubicBezTo>
                <a:cubicBezTo>
                  <a:pt x="546103" y="5220108"/>
                  <a:pt x="546103" y="5214408"/>
                  <a:pt x="546103" y="5208707"/>
                </a:cubicBezTo>
                <a:cubicBezTo>
                  <a:pt x="546103" y="5191605"/>
                  <a:pt x="555621" y="5176404"/>
                  <a:pt x="570850" y="5168803"/>
                </a:cubicBezTo>
                <a:cubicBezTo>
                  <a:pt x="570850" y="5168803"/>
                  <a:pt x="570850" y="5168803"/>
                  <a:pt x="909693" y="5014888"/>
                </a:cubicBezTo>
                <a:cubicBezTo>
                  <a:pt x="920163" y="5010137"/>
                  <a:pt x="932061" y="5010137"/>
                  <a:pt x="942531" y="5014175"/>
                </a:cubicBezTo>
                <a:close/>
                <a:moveTo>
                  <a:pt x="1491734" y="5004627"/>
                </a:moveTo>
                <a:cubicBezTo>
                  <a:pt x="1502228" y="5008654"/>
                  <a:pt x="1511290" y="5016708"/>
                  <a:pt x="1516059" y="5028079"/>
                </a:cubicBezTo>
                <a:cubicBezTo>
                  <a:pt x="1525598" y="5050821"/>
                  <a:pt x="1516059" y="5075458"/>
                  <a:pt x="1493165" y="5084934"/>
                </a:cubicBezTo>
                <a:cubicBezTo>
                  <a:pt x="1493165" y="5084934"/>
                  <a:pt x="1493165" y="5084934"/>
                  <a:pt x="1153575" y="5230861"/>
                </a:cubicBezTo>
                <a:cubicBezTo>
                  <a:pt x="1130682" y="5240337"/>
                  <a:pt x="1103972" y="5230861"/>
                  <a:pt x="1094433" y="5208119"/>
                </a:cubicBezTo>
                <a:cubicBezTo>
                  <a:pt x="1092526" y="5202434"/>
                  <a:pt x="1090618" y="5196748"/>
                  <a:pt x="1090618" y="5191063"/>
                </a:cubicBezTo>
                <a:cubicBezTo>
                  <a:pt x="1090618" y="5174006"/>
                  <a:pt x="1102065" y="5158845"/>
                  <a:pt x="1117327" y="5151264"/>
                </a:cubicBezTo>
                <a:cubicBezTo>
                  <a:pt x="1117327" y="5151264"/>
                  <a:pt x="1117327" y="5151264"/>
                  <a:pt x="1458825" y="5005338"/>
                </a:cubicBezTo>
                <a:cubicBezTo>
                  <a:pt x="1469318" y="5000600"/>
                  <a:pt x="1481242" y="5000600"/>
                  <a:pt x="1491734" y="5004627"/>
                </a:cubicBezTo>
                <a:close/>
                <a:moveTo>
                  <a:pt x="2028590" y="4989339"/>
                </a:moveTo>
                <a:cubicBezTo>
                  <a:pt x="2046182" y="4989608"/>
                  <a:pt x="2062975" y="5000352"/>
                  <a:pt x="2070119" y="5017541"/>
                </a:cubicBezTo>
                <a:cubicBezTo>
                  <a:pt x="2079644" y="5040461"/>
                  <a:pt x="2068214" y="5067200"/>
                  <a:pt x="2045349" y="5076750"/>
                </a:cubicBezTo>
                <a:cubicBezTo>
                  <a:pt x="2045349" y="5076750"/>
                  <a:pt x="2045349" y="5076750"/>
                  <a:pt x="1704349" y="5218087"/>
                </a:cubicBezTo>
                <a:cubicBezTo>
                  <a:pt x="1681489" y="5227637"/>
                  <a:pt x="1654818" y="5216177"/>
                  <a:pt x="1645293" y="5193257"/>
                </a:cubicBezTo>
                <a:cubicBezTo>
                  <a:pt x="1643388" y="5187528"/>
                  <a:pt x="1641483" y="5181798"/>
                  <a:pt x="1641483" y="5176068"/>
                </a:cubicBezTo>
                <a:cubicBezTo>
                  <a:pt x="1641483" y="5156968"/>
                  <a:pt x="1652914" y="5141689"/>
                  <a:pt x="1670059" y="5134049"/>
                </a:cubicBezTo>
                <a:cubicBezTo>
                  <a:pt x="1670059" y="5134049"/>
                  <a:pt x="1670059" y="5134049"/>
                  <a:pt x="2011058" y="4992712"/>
                </a:cubicBezTo>
                <a:cubicBezTo>
                  <a:pt x="2016773" y="4990324"/>
                  <a:pt x="2022726" y="4989250"/>
                  <a:pt x="2028590" y="4989339"/>
                </a:cubicBezTo>
                <a:close/>
                <a:moveTo>
                  <a:pt x="3720408" y="4979828"/>
                </a:moveTo>
                <a:cubicBezTo>
                  <a:pt x="3738808" y="4980185"/>
                  <a:pt x="3755596" y="4991258"/>
                  <a:pt x="3762740" y="5009832"/>
                </a:cubicBezTo>
                <a:cubicBezTo>
                  <a:pt x="3770360" y="5032692"/>
                  <a:pt x="3758930" y="5059362"/>
                  <a:pt x="3736068" y="5068887"/>
                </a:cubicBezTo>
                <a:cubicBezTo>
                  <a:pt x="3736068" y="5068887"/>
                  <a:pt x="3736068" y="5068887"/>
                  <a:pt x="3395084" y="5202237"/>
                </a:cubicBezTo>
                <a:cubicBezTo>
                  <a:pt x="3370317" y="5211762"/>
                  <a:pt x="3343646" y="5200332"/>
                  <a:pt x="3334121" y="5175567"/>
                </a:cubicBezTo>
                <a:cubicBezTo>
                  <a:pt x="3332215" y="5169852"/>
                  <a:pt x="3332215" y="5164137"/>
                  <a:pt x="3332215" y="5158422"/>
                </a:cubicBezTo>
                <a:cubicBezTo>
                  <a:pt x="3332215" y="5141277"/>
                  <a:pt x="3343646" y="5122227"/>
                  <a:pt x="3360792" y="5116512"/>
                </a:cubicBezTo>
                <a:cubicBezTo>
                  <a:pt x="3360792" y="5116512"/>
                  <a:pt x="3360792" y="5116512"/>
                  <a:pt x="3701776" y="4983162"/>
                </a:cubicBezTo>
                <a:cubicBezTo>
                  <a:pt x="3707968" y="4980781"/>
                  <a:pt x="3714280" y="4979709"/>
                  <a:pt x="3720408" y="4979828"/>
                </a:cubicBezTo>
                <a:close/>
                <a:moveTo>
                  <a:pt x="2585923" y="4979828"/>
                </a:moveTo>
                <a:cubicBezTo>
                  <a:pt x="2604117" y="4980185"/>
                  <a:pt x="2622040" y="4991258"/>
                  <a:pt x="2629210" y="5009832"/>
                </a:cubicBezTo>
                <a:cubicBezTo>
                  <a:pt x="2636858" y="5032692"/>
                  <a:pt x="2625387" y="5059362"/>
                  <a:pt x="2602444" y="5068887"/>
                </a:cubicBezTo>
                <a:cubicBezTo>
                  <a:pt x="2602444" y="5068887"/>
                  <a:pt x="2602444" y="5068887"/>
                  <a:pt x="2260209" y="5202237"/>
                </a:cubicBezTo>
                <a:cubicBezTo>
                  <a:pt x="2235354" y="5211762"/>
                  <a:pt x="2208587" y="5200332"/>
                  <a:pt x="2199027" y="5175567"/>
                </a:cubicBezTo>
                <a:cubicBezTo>
                  <a:pt x="2197115" y="5169852"/>
                  <a:pt x="2197115" y="5164137"/>
                  <a:pt x="2197115" y="5158422"/>
                </a:cubicBezTo>
                <a:cubicBezTo>
                  <a:pt x="2197115" y="5141277"/>
                  <a:pt x="2206675" y="5122227"/>
                  <a:pt x="2225794" y="5116512"/>
                </a:cubicBezTo>
                <a:cubicBezTo>
                  <a:pt x="2225794" y="5116512"/>
                  <a:pt x="2225794" y="5116512"/>
                  <a:pt x="2568028" y="4983162"/>
                </a:cubicBezTo>
                <a:cubicBezTo>
                  <a:pt x="2573764" y="4980780"/>
                  <a:pt x="2579859" y="4979709"/>
                  <a:pt x="2585923" y="4979828"/>
                </a:cubicBezTo>
                <a:close/>
                <a:moveTo>
                  <a:pt x="3148522" y="4969031"/>
                </a:moveTo>
                <a:cubicBezTo>
                  <a:pt x="3166945" y="4969927"/>
                  <a:pt x="3183758" y="4982104"/>
                  <a:pt x="3190913" y="5000728"/>
                </a:cubicBezTo>
                <a:cubicBezTo>
                  <a:pt x="3200448" y="5025560"/>
                  <a:pt x="3187095" y="5052302"/>
                  <a:pt x="3162293" y="5061853"/>
                </a:cubicBezTo>
                <a:cubicBezTo>
                  <a:pt x="3162293" y="5061853"/>
                  <a:pt x="3162293" y="5061853"/>
                  <a:pt x="2820804" y="5187924"/>
                </a:cubicBezTo>
                <a:cubicBezTo>
                  <a:pt x="2796003" y="5197475"/>
                  <a:pt x="2769296" y="5184104"/>
                  <a:pt x="2759756" y="5161182"/>
                </a:cubicBezTo>
                <a:cubicBezTo>
                  <a:pt x="2757847" y="5155451"/>
                  <a:pt x="2755940" y="5149721"/>
                  <a:pt x="2755940" y="5143990"/>
                </a:cubicBezTo>
                <a:cubicBezTo>
                  <a:pt x="2755940" y="5124889"/>
                  <a:pt x="2767388" y="5105787"/>
                  <a:pt x="2788374" y="5098146"/>
                </a:cubicBezTo>
                <a:cubicBezTo>
                  <a:pt x="2788374" y="5098146"/>
                  <a:pt x="2788374" y="5098146"/>
                  <a:pt x="3129862" y="4972076"/>
                </a:cubicBezTo>
                <a:cubicBezTo>
                  <a:pt x="3136060" y="4969688"/>
                  <a:pt x="3142382" y="4968733"/>
                  <a:pt x="3148522" y="4969031"/>
                </a:cubicBezTo>
                <a:close/>
                <a:moveTo>
                  <a:pt x="4011840" y="4771408"/>
                </a:moveTo>
                <a:lnTo>
                  <a:pt x="4011840" y="4871523"/>
                </a:lnTo>
                <a:lnTo>
                  <a:pt x="3957012" y="4892674"/>
                </a:lnTo>
                <a:cubicBezTo>
                  <a:pt x="3934168" y="4902199"/>
                  <a:pt x="3907512" y="4890769"/>
                  <a:pt x="3897996" y="4866004"/>
                </a:cubicBezTo>
                <a:cubicBezTo>
                  <a:pt x="3896096" y="4860289"/>
                  <a:pt x="3894188" y="4854574"/>
                  <a:pt x="3894188" y="4848859"/>
                </a:cubicBezTo>
                <a:cubicBezTo>
                  <a:pt x="3894188" y="4829809"/>
                  <a:pt x="3905612" y="4812664"/>
                  <a:pt x="3924648" y="4805044"/>
                </a:cubicBezTo>
                <a:cubicBezTo>
                  <a:pt x="3924648" y="4805044"/>
                  <a:pt x="3924648" y="4805044"/>
                  <a:pt x="4007834" y="4772953"/>
                </a:cubicBezTo>
                <a:close/>
                <a:moveTo>
                  <a:pt x="398944" y="4701876"/>
                </a:moveTo>
                <a:cubicBezTo>
                  <a:pt x="408946" y="4705218"/>
                  <a:pt x="417518" y="4712380"/>
                  <a:pt x="422281" y="4722883"/>
                </a:cubicBezTo>
                <a:cubicBezTo>
                  <a:pt x="431806" y="4743891"/>
                  <a:pt x="422281" y="4768718"/>
                  <a:pt x="401326" y="4778267"/>
                </a:cubicBezTo>
                <a:cubicBezTo>
                  <a:pt x="401326" y="4778267"/>
                  <a:pt x="401326" y="4778267"/>
                  <a:pt x="62232" y="4938688"/>
                </a:cubicBezTo>
                <a:cubicBezTo>
                  <a:pt x="43181" y="4948237"/>
                  <a:pt x="16511" y="4940598"/>
                  <a:pt x="6986" y="4919590"/>
                </a:cubicBezTo>
                <a:cubicBezTo>
                  <a:pt x="5081" y="4913861"/>
                  <a:pt x="3176" y="4906222"/>
                  <a:pt x="3176" y="4900492"/>
                </a:cubicBezTo>
                <a:cubicBezTo>
                  <a:pt x="3176" y="4885214"/>
                  <a:pt x="12701" y="4869936"/>
                  <a:pt x="27941" y="4864207"/>
                </a:cubicBezTo>
                <a:cubicBezTo>
                  <a:pt x="27941" y="4864207"/>
                  <a:pt x="27941" y="4864207"/>
                  <a:pt x="367035" y="4703786"/>
                </a:cubicBezTo>
                <a:cubicBezTo>
                  <a:pt x="377513" y="4699011"/>
                  <a:pt x="388943" y="4698534"/>
                  <a:pt x="398944" y="4701876"/>
                </a:cubicBezTo>
                <a:close/>
                <a:moveTo>
                  <a:pt x="943147" y="4693284"/>
                </a:moveTo>
                <a:cubicBezTo>
                  <a:pt x="953409" y="4697094"/>
                  <a:pt x="962000" y="4704714"/>
                  <a:pt x="966774" y="4715192"/>
                </a:cubicBezTo>
                <a:cubicBezTo>
                  <a:pt x="976320" y="4738052"/>
                  <a:pt x="966774" y="4762817"/>
                  <a:pt x="945772" y="4772342"/>
                </a:cubicBezTo>
                <a:cubicBezTo>
                  <a:pt x="945772" y="4772342"/>
                  <a:pt x="945772" y="4772342"/>
                  <a:pt x="604023" y="4922837"/>
                </a:cubicBezTo>
                <a:cubicBezTo>
                  <a:pt x="583021" y="4932362"/>
                  <a:pt x="556292" y="4922837"/>
                  <a:pt x="546746" y="4901882"/>
                </a:cubicBezTo>
                <a:cubicBezTo>
                  <a:pt x="544837" y="4894262"/>
                  <a:pt x="542928" y="4888547"/>
                  <a:pt x="542928" y="4882832"/>
                </a:cubicBezTo>
                <a:cubicBezTo>
                  <a:pt x="542928" y="4867592"/>
                  <a:pt x="552474" y="4850447"/>
                  <a:pt x="569657" y="4842827"/>
                </a:cubicBezTo>
                <a:cubicBezTo>
                  <a:pt x="569657" y="4842827"/>
                  <a:pt x="569657" y="4842827"/>
                  <a:pt x="909497" y="4694237"/>
                </a:cubicBezTo>
                <a:cubicBezTo>
                  <a:pt x="920952" y="4689474"/>
                  <a:pt x="932885" y="4689474"/>
                  <a:pt x="943147" y="4693284"/>
                </a:cubicBezTo>
                <a:close/>
                <a:moveTo>
                  <a:pt x="1476099" y="4679736"/>
                </a:moveTo>
                <a:cubicBezTo>
                  <a:pt x="1493704" y="4680003"/>
                  <a:pt x="1510504" y="4690677"/>
                  <a:pt x="1517653" y="4707755"/>
                </a:cubicBezTo>
                <a:cubicBezTo>
                  <a:pt x="1527185" y="4730526"/>
                  <a:pt x="1515746" y="4757092"/>
                  <a:pt x="1492870" y="4766579"/>
                </a:cubicBezTo>
                <a:cubicBezTo>
                  <a:pt x="1492870" y="4766579"/>
                  <a:pt x="1492870" y="4766579"/>
                  <a:pt x="1151623" y="4906999"/>
                </a:cubicBezTo>
                <a:cubicBezTo>
                  <a:pt x="1128746" y="4916487"/>
                  <a:pt x="1102056" y="4905101"/>
                  <a:pt x="1094430" y="4882331"/>
                </a:cubicBezTo>
                <a:cubicBezTo>
                  <a:pt x="1090618" y="4876638"/>
                  <a:pt x="1090618" y="4870945"/>
                  <a:pt x="1090618" y="4865253"/>
                </a:cubicBezTo>
                <a:cubicBezTo>
                  <a:pt x="1090618" y="4848175"/>
                  <a:pt x="1100150" y="4831096"/>
                  <a:pt x="1117307" y="4823506"/>
                </a:cubicBezTo>
                <a:cubicBezTo>
                  <a:pt x="1117307" y="4823506"/>
                  <a:pt x="1117307" y="4823506"/>
                  <a:pt x="1458554" y="4683087"/>
                </a:cubicBezTo>
                <a:cubicBezTo>
                  <a:pt x="1464273" y="4680715"/>
                  <a:pt x="1470231" y="4679647"/>
                  <a:pt x="1476099" y="4679736"/>
                </a:cubicBezTo>
                <a:close/>
                <a:moveTo>
                  <a:pt x="2029448" y="4670533"/>
                </a:moveTo>
                <a:cubicBezTo>
                  <a:pt x="2047822" y="4671337"/>
                  <a:pt x="2064586" y="4683124"/>
                  <a:pt x="2071719" y="4700269"/>
                </a:cubicBezTo>
                <a:cubicBezTo>
                  <a:pt x="2081231" y="4725034"/>
                  <a:pt x="2067915" y="4751704"/>
                  <a:pt x="2045082" y="4761229"/>
                </a:cubicBezTo>
                <a:cubicBezTo>
                  <a:pt x="2045082" y="4761229"/>
                  <a:pt x="2045082" y="4761229"/>
                  <a:pt x="1704573" y="4892674"/>
                </a:cubicBezTo>
                <a:cubicBezTo>
                  <a:pt x="1679843" y="4902199"/>
                  <a:pt x="1653211" y="4890769"/>
                  <a:pt x="1643700" y="4866004"/>
                </a:cubicBezTo>
                <a:cubicBezTo>
                  <a:pt x="1641797" y="4860289"/>
                  <a:pt x="1639895" y="4854574"/>
                  <a:pt x="1639895" y="4848859"/>
                </a:cubicBezTo>
                <a:cubicBezTo>
                  <a:pt x="1639895" y="4829809"/>
                  <a:pt x="1651309" y="4812664"/>
                  <a:pt x="1670332" y="4805044"/>
                </a:cubicBezTo>
                <a:cubicBezTo>
                  <a:pt x="1670332" y="4805044"/>
                  <a:pt x="1670332" y="4805044"/>
                  <a:pt x="2010841" y="4673599"/>
                </a:cubicBezTo>
                <a:cubicBezTo>
                  <a:pt x="2017024" y="4671218"/>
                  <a:pt x="2023325" y="4670265"/>
                  <a:pt x="2029448" y="4670533"/>
                </a:cubicBezTo>
                <a:close/>
                <a:moveTo>
                  <a:pt x="3720840" y="4661020"/>
                </a:moveTo>
                <a:cubicBezTo>
                  <a:pt x="3740052" y="4661910"/>
                  <a:pt x="3756856" y="4674022"/>
                  <a:pt x="3764004" y="4692545"/>
                </a:cubicBezTo>
                <a:cubicBezTo>
                  <a:pt x="3773538" y="4717242"/>
                  <a:pt x="3760192" y="4745739"/>
                  <a:pt x="3735408" y="4755238"/>
                </a:cubicBezTo>
                <a:cubicBezTo>
                  <a:pt x="3735408" y="4755238"/>
                  <a:pt x="3735408" y="4755238"/>
                  <a:pt x="3392273" y="4876825"/>
                </a:cubicBezTo>
                <a:cubicBezTo>
                  <a:pt x="3367488" y="4886324"/>
                  <a:pt x="3340798" y="4873025"/>
                  <a:pt x="3331265" y="4848328"/>
                </a:cubicBezTo>
                <a:cubicBezTo>
                  <a:pt x="3329361" y="4842628"/>
                  <a:pt x="3327453" y="4836929"/>
                  <a:pt x="3327453" y="4831230"/>
                </a:cubicBezTo>
                <a:cubicBezTo>
                  <a:pt x="3327453" y="4812232"/>
                  <a:pt x="3340798" y="4793234"/>
                  <a:pt x="3359861" y="4785635"/>
                </a:cubicBezTo>
                <a:cubicBezTo>
                  <a:pt x="3359861" y="4785635"/>
                  <a:pt x="3359861" y="4785635"/>
                  <a:pt x="3701092" y="4664048"/>
                </a:cubicBezTo>
                <a:cubicBezTo>
                  <a:pt x="3707764" y="4661673"/>
                  <a:pt x="3714436" y="4660723"/>
                  <a:pt x="3720840" y="4661020"/>
                </a:cubicBezTo>
                <a:close/>
                <a:moveTo>
                  <a:pt x="2587339" y="4661020"/>
                </a:moveTo>
                <a:cubicBezTo>
                  <a:pt x="2606552" y="4661910"/>
                  <a:pt x="2623352" y="4674022"/>
                  <a:pt x="2630501" y="4692545"/>
                </a:cubicBezTo>
                <a:cubicBezTo>
                  <a:pt x="2640033" y="4717242"/>
                  <a:pt x="2626688" y="4745739"/>
                  <a:pt x="2601905" y="4755238"/>
                </a:cubicBezTo>
                <a:cubicBezTo>
                  <a:pt x="2601905" y="4755238"/>
                  <a:pt x="2601905" y="4755238"/>
                  <a:pt x="2258757" y="4876825"/>
                </a:cubicBezTo>
                <a:cubicBezTo>
                  <a:pt x="2233974" y="4886324"/>
                  <a:pt x="2207285" y="4873025"/>
                  <a:pt x="2197753" y="4848328"/>
                </a:cubicBezTo>
                <a:cubicBezTo>
                  <a:pt x="2195847" y="4842628"/>
                  <a:pt x="2193940" y="4836929"/>
                  <a:pt x="2193940" y="4831230"/>
                </a:cubicBezTo>
                <a:cubicBezTo>
                  <a:pt x="2193940" y="4812232"/>
                  <a:pt x="2207285" y="4793234"/>
                  <a:pt x="2226348" y="4785635"/>
                </a:cubicBezTo>
                <a:cubicBezTo>
                  <a:pt x="2226348" y="4785635"/>
                  <a:pt x="2226348" y="4785635"/>
                  <a:pt x="2567590" y="4664048"/>
                </a:cubicBezTo>
                <a:cubicBezTo>
                  <a:pt x="2574263" y="4661673"/>
                  <a:pt x="2580935" y="4660723"/>
                  <a:pt x="2587339" y="4661020"/>
                </a:cubicBezTo>
                <a:close/>
                <a:moveTo>
                  <a:pt x="3149675" y="4651820"/>
                </a:moveTo>
                <a:cubicBezTo>
                  <a:pt x="3169412" y="4653251"/>
                  <a:pt x="3187273" y="4666485"/>
                  <a:pt x="3194414" y="4685085"/>
                </a:cubicBezTo>
                <a:cubicBezTo>
                  <a:pt x="3202035" y="4711792"/>
                  <a:pt x="3188702" y="4740407"/>
                  <a:pt x="3162027" y="4748038"/>
                </a:cubicBezTo>
                <a:cubicBezTo>
                  <a:pt x="3162027" y="4748038"/>
                  <a:pt x="3162027" y="4748038"/>
                  <a:pt x="2819126" y="4862498"/>
                </a:cubicBezTo>
                <a:cubicBezTo>
                  <a:pt x="2794360" y="4872037"/>
                  <a:pt x="2765783" y="4856775"/>
                  <a:pt x="2756258" y="4830068"/>
                </a:cubicBezTo>
                <a:cubicBezTo>
                  <a:pt x="2754353" y="4826253"/>
                  <a:pt x="2754353" y="4820530"/>
                  <a:pt x="2754353" y="4814807"/>
                </a:cubicBezTo>
                <a:cubicBezTo>
                  <a:pt x="2754353" y="4793822"/>
                  <a:pt x="2767688" y="4774745"/>
                  <a:pt x="2788646" y="4767115"/>
                </a:cubicBezTo>
                <a:cubicBezTo>
                  <a:pt x="2788646" y="4767115"/>
                  <a:pt x="2788646" y="4767115"/>
                  <a:pt x="3129644" y="4654562"/>
                </a:cubicBezTo>
                <a:cubicBezTo>
                  <a:pt x="3136311" y="4652178"/>
                  <a:pt x="3143098" y="4651343"/>
                  <a:pt x="3149675" y="4651820"/>
                </a:cubicBezTo>
                <a:close/>
                <a:moveTo>
                  <a:pt x="4011840" y="4445533"/>
                </a:moveTo>
                <a:lnTo>
                  <a:pt x="4011840" y="4548851"/>
                </a:lnTo>
                <a:lnTo>
                  <a:pt x="3957236" y="4569111"/>
                </a:lnTo>
                <a:cubicBezTo>
                  <a:pt x="3932522" y="4576762"/>
                  <a:pt x="3904008" y="4565285"/>
                  <a:pt x="3896404" y="4538506"/>
                </a:cubicBezTo>
                <a:cubicBezTo>
                  <a:pt x="3894504" y="4534680"/>
                  <a:pt x="3892602" y="4528941"/>
                  <a:pt x="3892602" y="4523203"/>
                </a:cubicBezTo>
                <a:cubicBezTo>
                  <a:pt x="3892602" y="4502162"/>
                  <a:pt x="3904008" y="4484947"/>
                  <a:pt x="3924918" y="4477296"/>
                </a:cubicBezTo>
                <a:cubicBezTo>
                  <a:pt x="3924918" y="4477296"/>
                  <a:pt x="3924918" y="4477296"/>
                  <a:pt x="4007986" y="4446942"/>
                </a:cubicBezTo>
                <a:close/>
                <a:moveTo>
                  <a:pt x="398944" y="4379613"/>
                </a:moveTo>
                <a:cubicBezTo>
                  <a:pt x="408946" y="4382955"/>
                  <a:pt x="417518" y="4390116"/>
                  <a:pt x="422281" y="4400620"/>
                </a:cubicBezTo>
                <a:cubicBezTo>
                  <a:pt x="431806" y="4421628"/>
                  <a:pt x="422281" y="4446455"/>
                  <a:pt x="401326" y="4456004"/>
                </a:cubicBezTo>
                <a:cubicBezTo>
                  <a:pt x="401326" y="4456004"/>
                  <a:pt x="401326" y="4456004"/>
                  <a:pt x="62232" y="4616425"/>
                </a:cubicBezTo>
                <a:cubicBezTo>
                  <a:pt x="41276" y="4625974"/>
                  <a:pt x="16511" y="4616425"/>
                  <a:pt x="6986" y="4595417"/>
                </a:cubicBezTo>
                <a:cubicBezTo>
                  <a:pt x="5081" y="4589688"/>
                  <a:pt x="3176" y="4583959"/>
                  <a:pt x="3176" y="4578229"/>
                </a:cubicBezTo>
                <a:cubicBezTo>
                  <a:pt x="3176" y="4561041"/>
                  <a:pt x="12701" y="4547673"/>
                  <a:pt x="27941" y="4540034"/>
                </a:cubicBezTo>
                <a:cubicBezTo>
                  <a:pt x="27941" y="4540034"/>
                  <a:pt x="27941" y="4540034"/>
                  <a:pt x="367035" y="4381523"/>
                </a:cubicBezTo>
                <a:cubicBezTo>
                  <a:pt x="377513" y="4376748"/>
                  <a:pt x="388943" y="4376271"/>
                  <a:pt x="398944" y="4379613"/>
                </a:cubicBezTo>
                <a:close/>
                <a:moveTo>
                  <a:pt x="943805" y="4371271"/>
                </a:moveTo>
                <a:cubicBezTo>
                  <a:pt x="954537" y="4375324"/>
                  <a:pt x="963599" y="4383431"/>
                  <a:pt x="968368" y="4394876"/>
                </a:cubicBezTo>
                <a:cubicBezTo>
                  <a:pt x="977908" y="4415858"/>
                  <a:pt x="966461" y="4442562"/>
                  <a:pt x="945475" y="4452100"/>
                </a:cubicBezTo>
                <a:cubicBezTo>
                  <a:pt x="945475" y="4452100"/>
                  <a:pt x="945475" y="4452100"/>
                  <a:pt x="603977" y="4598974"/>
                </a:cubicBezTo>
                <a:cubicBezTo>
                  <a:pt x="581084" y="4608512"/>
                  <a:pt x="556282" y="4598974"/>
                  <a:pt x="546743" y="4576085"/>
                </a:cubicBezTo>
                <a:cubicBezTo>
                  <a:pt x="544835" y="4570362"/>
                  <a:pt x="542927" y="4564640"/>
                  <a:pt x="542927" y="4558918"/>
                </a:cubicBezTo>
                <a:cubicBezTo>
                  <a:pt x="542927" y="4541750"/>
                  <a:pt x="552466" y="4526491"/>
                  <a:pt x="569637" y="4518861"/>
                </a:cubicBezTo>
                <a:cubicBezTo>
                  <a:pt x="569637" y="4518861"/>
                  <a:pt x="569637" y="4518861"/>
                  <a:pt x="909226" y="4371986"/>
                </a:cubicBezTo>
                <a:cubicBezTo>
                  <a:pt x="920673" y="4367218"/>
                  <a:pt x="933074" y="4367218"/>
                  <a:pt x="943805" y="4371271"/>
                </a:cubicBezTo>
                <a:close/>
                <a:moveTo>
                  <a:pt x="1477208" y="4359077"/>
                </a:moveTo>
                <a:cubicBezTo>
                  <a:pt x="1495514" y="4359345"/>
                  <a:pt x="1511945" y="4370046"/>
                  <a:pt x="1517660" y="4387168"/>
                </a:cubicBezTo>
                <a:cubicBezTo>
                  <a:pt x="1527185" y="4411901"/>
                  <a:pt x="1515755" y="4438536"/>
                  <a:pt x="1492894" y="4448048"/>
                </a:cubicBezTo>
                <a:cubicBezTo>
                  <a:pt x="1492894" y="4448048"/>
                  <a:pt x="1492894" y="4448048"/>
                  <a:pt x="1151895" y="4583124"/>
                </a:cubicBezTo>
                <a:cubicBezTo>
                  <a:pt x="1129035" y="4592637"/>
                  <a:pt x="1102365" y="4581222"/>
                  <a:pt x="1092840" y="4556490"/>
                </a:cubicBezTo>
                <a:cubicBezTo>
                  <a:pt x="1090934" y="4550782"/>
                  <a:pt x="1089029" y="4545075"/>
                  <a:pt x="1089029" y="4539367"/>
                </a:cubicBezTo>
                <a:cubicBezTo>
                  <a:pt x="1089029" y="4522245"/>
                  <a:pt x="1100460" y="4505122"/>
                  <a:pt x="1117605" y="4497513"/>
                </a:cubicBezTo>
                <a:cubicBezTo>
                  <a:pt x="1117605" y="4497513"/>
                  <a:pt x="1117605" y="4497513"/>
                  <a:pt x="1458604" y="4362436"/>
                </a:cubicBezTo>
                <a:cubicBezTo>
                  <a:pt x="1464795" y="4360058"/>
                  <a:pt x="1471106" y="4358988"/>
                  <a:pt x="1477208" y="4359077"/>
                </a:cubicBezTo>
                <a:close/>
                <a:moveTo>
                  <a:pt x="2029782" y="4349914"/>
                </a:moveTo>
                <a:cubicBezTo>
                  <a:pt x="2048677" y="4350811"/>
                  <a:pt x="2066499" y="4363005"/>
                  <a:pt x="2073629" y="4381655"/>
                </a:cubicBezTo>
                <a:cubicBezTo>
                  <a:pt x="2081232" y="4406522"/>
                  <a:pt x="2069826" y="4435214"/>
                  <a:pt x="2045109" y="4442865"/>
                </a:cubicBezTo>
                <a:cubicBezTo>
                  <a:pt x="2045109" y="4442865"/>
                  <a:pt x="2045109" y="4442865"/>
                  <a:pt x="1702940" y="4569111"/>
                </a:cubicBezTo>
                <a:cubicBezTo>
                  <a:pt x="1678228" y="4576762"/>
                  <a:pt x="1651615" y="4565285"/>
                  <a:pt x="1642110" y="4538506"/>
                </a:cubicBezTo>
                <a:cubicBezTo>
                  <a:pt x="1640209" y="4534680"/>
                  <a:pt x="1638308" y="4528941"/>
                  <a:pt x="1638308" y="4523203"/>
                </a:cubicBezTo>
                <a:cubicBezTo>
                  <a:pt x="1638308" y="4502162"/>
                  <a:pt x="1651615" y="4484947"/>
                  <a:pt x="1670624" y="4477296"/>
                </a:cubicBezTo>
                <a:cubicBezTo>
                  <a:pt x="1670624" y="4477296"/>
                  <a:pt x="1670624" y="4477296"/>
                  <a:pt x="2010892" y="4352963"/>
                </a:cubicBezTo>
                <a:cubicBezTo>
                  <a:pt x="2017070" y="4350572"/>
                  <a:pt x="2023486" y="4349615"/>
                  <a:pt x="2029782" y="4349914"/>
                </a:cubicBezTo>
                <a:close/>
                <a:moveTo>
                  <a:pt x="3722768" y="4341193"/>
                </a:moveTo>
                <a:cubicBezTo>
                  <a:pt x="3742404" y="4342984"/>
                  <a:pt x="3759894" y="4355521"/>
                  <a:pt x="3765602" y="4375580"/>
                </a:cubicBezTo>
                <a:cubicBezTo>
                  <a:pt x="3775124" y="4402325"/>
                  <a:pt x="3759894" y="4430981"/>
                  <a:pt x="3733240" y="4438622"/>
                </a:cubicBezTo>
                <a:cubicBezTo>
                  <a:pt x="3733240" y="4438622"/>
                  <a:pt x="3733240" y="4438622"/>
                  <a:pt x="3392498" y="4551335"/>
                </a:cubicBezTo>
                <a:cubicBezTo>
                  <a:pt x="3365843" y="4560887"/>
                  <a:pt x="3337287" y="4545604"/>
                  <a:pt x="3329674" y="4518858"/>
                </a:cubicBezTo>
                <a:cubicBezTo>
                  <a:pt x="3327768" y="4515038"/>
                  <a:pt x="3325864" y="4509306"/>
                  <a:pt x="3325864" y="4503575"/>
                </a:cubicBezTo>
                <a:cubicBezTo>
                  <a:pt x="3325864" y="4482561"/>
                  <a:pt x="3339192" y="4463457"/>
                  <a:pt x="3360130" y="4455816"/>
                </a:cubicBezTo>
                <a:cubicBezTo>
                  <a:pt x="3360130" y="4455816"/>
                  <a:pt x="3360130" y="4455816"/>
                  <a:pt x="3702782" y="4343103"/>
                </a:cubicBezTo>
                <a:cubicBezTo>
                  <a:pt x="3709444" y="4341193"/>
                  <a:pt x="3716226" y="4340596"/>
                  <a:pt x="3722768" y="4341193"/>
                </a:cubicBezTo>
                <a:close/>
                <a:moveTo>
                  <a:pt x="2589270" y="4341193"/>
                </a:moveTo>
                <a:cubicBezTo>
                  <a:pt x="2608901" y="4342984"/>
                  <a:pt x="2626391" y="4355521"/>
                  <a:pt x="2632103" y="4375580"/>
                </a:cubicBezTo>
                <a:cubicBezTo>
                  <a:pt x="2641621" y="4402325"/>
                  <a:pt x="2626391" y="4430981"/>
                  <a:pt x="2599739" y="4438622"/>
                </a:cubicBezTo>
                <a:cubicBezTo>
                  <a:pt x="2599739" y="4438622"/>
                  <a:pt x="2599739" y="4438622"/>
                  <a:pt x="2258981" y="4551335"/>
                </a:cubicBezTo>
                <a:cubicBezTo>
                  <a:pt x="2232330" y="4560887"/>
                  <a:pt x="2203775" y="4545604"/>
                  <a:pt x="2196160" y="4518858"/>
                </a:cubicBezTo>
                <a:cubicBezTo>
                  <a:pt x="2194257" y="4515038"/>
                  <a:pt x="2192353" y="4509306"/>
                  <a:pt x="2192353" y="4503575"/>
                </a:cubicBezTo>
                <a:cubicBezTo>
                  <a:pt x="2192353" y="4482561"/>
                  <a:pt x="2205679" y="4463457"/>
                  <a:pt x="2226618" y="4455816"/>
                </a:cubicBezTo>
                <a:cubicBezTo>
                  <a:pt x="2226618" y="4455816"/>
                  <a:pt x="2226618" y="4455816"/>
                  <a:pt x="2569281" y="4343103"/>
                </a:cubicBezTo>
                <a:cubicBezTo>
                  <a:pt x="2575943" y="4341193"/>
                  <a:pt x="2582725" y="4340596"/>
                  <a:pt x="2589270" y="4341193"/>
                </a:cubicBezTo>
                <a:close/>
                <a:moveTo>
                  <a:pt x="3152169" y="4331988"/>
                </a:moveTo>
                <a:cubicBezTo>
                  <a:pt x="3172559" y="4334403"/>
                  <a:pt x="3190013" y="4348353"/>
                  <a:pt x="3195709" y="4369816"/>
                </a:cubicBezTo>
                <a:cubicBezTo>
                  <a:pt x="3205209" y="4396525"/>
                  <a:pt x="3188113" y="4427050"/>
                  <a:pt x="3161515" y="4434681"/>
                </a:cubicBezTo>
                <a:cubicBezTo>
                  <a:pt x="3161515" y="4434681"/>
                  <a:pt x="3161515" y="4434681"/>
                  <a:pt x="2819566" y="4535794"/>
                </a:cubicBezTo>
                <a:cubicBezTo>
                  <a:pt x="2791073" y="4543425"/>
                  <a:pt x="2762578" y="4528162"/>
                  <a:pt x="2753078" y="4499546"/>
                </a:cubicBezTo>
                <a:cubicBezTo>
                  <a:pt x="2753078" y="4495730"/>
                  <a:pt x="2751179" y="4490007"/>
                  <a:pt x="2751179" y="4486191"/>
                </a:cubicBezTo>
                <a:cubicBezTo>
                  <a:pt x="2751179" y="4463298"/>
                  <a:pt x="2766377" y="4442312"/>
                  <a:pt x="2789170" y="4434681"/>
                </a:cubicBezTo>
                <a:cubicBezTo>
                  <a:pt x="2789170" y="4434681"/>
                  <a:pt x="2789170" y="4434681"/>
                  <a:pt x="3131122" y="4333568"/>
                </a:cubicBezTo>
                <a:cubicBezTo>
                  <a:pt x="3138245" y="4331660"/>
                  <a:pt x="3145370" y="4331183"/>
                  <a:pt x="3152169" y="4331988"/>
                </a:cubicBezTo>
                <a:close/>
                <a:moveTo>
                  <a:pt x="4011840" y="4120157"/>
                </a:moveTo>
                <a:lnTo>
                  <a:pt x="4011840" y="4224539"/>
                </a:lnTo>
                <a:lnTo>
                  <a:pt x="3956340" y="4243386"/>
                </a:lnTo>
                <a:cubicBezTo>
                  <a:pt x="3929572" y="4252911"/>
                  <a:pt x="3900896" y="4237671"/>
                  <a:pt x="3893252" y="4212906"/>
                </a:cubicBezTo>
                <a:cubicBezTo>
                  <a:pt x="3891336" y="4207191"/>
                  <a:pt x="3889424" y="4201476"/>
                  <a:pt x="3889424" y="4195761"/>
                </a:cubicBezTo>
                <a:cubicBezTo>
                  <a:pt x="3889424" y="4174806"/>
                  <a:pt x="3902812" y="4155756"/>
                  <a:pt x="3923840" y="4150041"/>
                </a:cubicBezTo>
                <a:cubicBezTo>
                  <a:pt x="3923840" y="4150041"/>
                  <a:pt x="3923840" y="4150041"/>
                  <a:pt x="4007382" y="4121671"/>
                </a:cubicBezTo>
                <a:close/>
                <a:moveTo>
                  <a:pt x="383168" y="4054778"/>
                </a:moveTo>
                <a:cubicBezTo>
                  <a:pt x="399420" y="4053614"/>
                  <a:pt x="415137" y="4062925"/>
                  <a:pt x="422281" y="4078680"/>
                </a:cubicBezTo>
                <a:cubicBezTo>
                  <a:pt x="431806" y="4099688"/>
                  <a:pt x="424186" y="4124515"/>
                  <a:pt x="401325" y="4135973"/>
                </a:cubicBezTo>
                <a:cubicBezTo>
                  <a:pt x="401325" y="4135973"/>
                  <a:pt x="401325" y="4135973"/>
                  <a:pt x="62231" y="4292575"/>
                </a:cubicBezTo>
                <a:cubicBezTo>
                  <a:pt x="41276" y="4302124"/>
                  <a:pt x="16511" y="4292575"/>
                  <a:pt x="6986" y="4271567"/>
                </a:cubicBezTo>
                <a:cubicBezTo>
                  <a:pt x="5081" y="4265838"/>
                  <a:pt x="3176" y="4260109"/>
                  <a:pt x="3176" y="4254379"/>
                </a:cubicBezTo>
                <a:cubicBezTo>
                  <a:pt x="3176" y="4239101"/>
                  <a:pt x="12701" y="4223823"/>
                  <a:pt x="27941" y="4216184"/>
                </a:cubicBezTo>
                <a:cubicBezTo>
                  <a:pt x="27941" y="4216184"/>
                  <a:pt x="27941" y="4216184"/>
                  <a:pt x="367035" y="4059583"/>
                </a:cubicBezTo>
                <a:cubicBezTo>
                  <a:pt x="372274" y="4056718"/>
                  <a:pt x="377751" y="4055166"/>
                  <a:pt x="383168" y="4054778"/>
                </a:cubicBezTo>
                <a:close/>
                <a:moveTo>
                  <a:pt x="926784" y="4046333"/>
                </a:moveTo>
                <a:cubicBezTo>
                  <a:pt x="944402" y="4046513"/>
                  <a:pt x="961214" y="4056898"/>
                  <a:pt x="968368" y="4072655"/>
                </a:cubicBezTo>
                <a:cubicBezTo>
                  <a:pt x="977907" y="4095575"/>
                  <a:pt x="966460" y="4122314"/>
                  <a:pt x="945475" y="4131864"/>
                </a:cubicBezTo>
                <a:cubicBezTo>
                  <a:pt x="945475" y="4131864"/>
                  <a:pt x="945475" y="4131864"/>
                  <a:pt x="603977" y="4275111"/>
                </a:cubicBezTo>
                <a:cubicBezTo>
                  <a:pt x="581083" y="4284661"/>
                  <a:pt x="554374" y="4275111"/>
                  <a:pt x="544835" y="4252191"/>
                </a:cubicBezTo>
                <a:cubicBezTo>
                  <a:pt x="542927" y="4246462"/>
                  <a:pt x="542927" y="4240732"/>
                  <a:pt x="542927" y="4235002"/>
                </a:cubicBezTo>
                <a:cubicBezTo>
                  <a:pt x="542927" y="4217812"/>
                  <a:pt x="552466" y="4200622"/>
                  <a:pt x="569637" y="4192983"/>
                </a:cubicBezTo>
                <a:cubicBezTo>
                  <a:pt x="569637" y="4192983"/>
                  <a:pt x="569637" y="4192983"/>
                  <a:pt x="909226" y="4049736"/>
                </a:cubicBezTo>
                <a:cubicBezTo>
                  <a:pt x="914950" y="4047348"/>
                  <a:pt x="920912" y="4046274"/>
                  <a:pt x="926784" y="4046333"/>
                </a:cubicBezTo>
                <a:close/>
                <a:moveTo>
                  <a:pt x="1458388" y="4041415"/>
                </a:moveTo>
                <a:cubicBezTo>
                  <a:pt x="1483118" y="4033836"/>
                  <a:pt x="1509750" y="4045204"/>
                  <a:pt x="1519261" y="4069836"/>
                </a:cubicBezTo>
                <a:cubicBezTo>
                  <a:pt x="1528773" y="4092573"/>
                  <a:pt x="1517359" y="4120995"/>
                  <a:pt x="1492629" y="4130469"/>
                </a:cubicBezTo>
                <a:cubicBezTo>
                  <a:pt x="1492629" y="4130469"/>
                  <a:pt x="1492629" y="4130469"/>
                  <a:pt x="1152120" y="4259312"/>
                </a:cubicBezTo>
                <a:cubicBezTo>
                  <a:pt x="1127390" y="4268786"/>
                  <a:pt x="1100758" y="4255522"/>
                  <a:pt x="1091247" y="4230891"/>
                </a:cubicBezTo>
                <a:cubicBezTo>
                  <a:pt x="1089345" y="4225206"/>
                  <a:pt x="1087442" y="4219522"/>
                  <a:pt x="1087442" y="4215733"/>
                </a:cubicBezTo>
                <a:cubicBezTo>
                  <a:pt x="1087442" y="4196785"/>
                  <a:pt x="1098856" y="4177837"/>
                  <a:pt x="1117879" y="4170258"/>
                </a:cubicBezTo>
                <a:cubicBezTo>
                  <a:pt x="1117879" y="4170258"/>
                  <a:pt x="1117879" y="4170258"/>
                  <a:pt x="1458388" y="4041415"/>
                </a:cubicBezTo>
                <a:close/>
                <a:moveTo>
                  <a:pt x="2031406" y="4031097"/>
                </a:moveTo>
                <a:cubicBezTo>
                  <a:pt x="2050288" y="4032526"/>
                  <a:pt x="2068096" y="4045742"/>
                  <a:pt x="2075219" y="4064316"/>
                </a:cubicBezTo>
                <a:cubicBezTo>
                  <a:pt x="2082819" y="4090986"/>
                  <a:pt x="2069521" y="4119561"/>
                  <a:pt x="2042922" y="4127181"/>
                </a:cubicBezTo>
                <a:cubicBezTo>
                  <a:pt x="2042922" y="4127181"/>
                  <a:pt x="2042922" y="4127181"/>
                  <a:pt x="1702894" y="4243386"/>
                </a:cubicBezTo>
                <a:cubicBezTo>
                  <a:pt x="1676300" y="4252911"/>
                  <a:pt x="1649705" y="4237671"/>
                  <a:pt x="1640208" y="4212906"/>
                </a:cubicBezTo>
                <a:cubicBezTo>
                  <a:pt x="1638308" y="4207191"/>
                  <a:pt x="1638308" y="4201476"/>
                  <a:pt x="1638308" y="4195761"/>
                </a:cubicBezTo>
                <a:cubicBezTo>
                  <a:pt x="1638308" y="4174806"/>
                  <a:pt x="1649705" y="4155756"/>
                  <a:pt x="1670601" y="4150041"/>
                </a:cubicBezTo>
                <a:cubicBezTo>
                  <a:pt x="1670601" y="4150041"/>
                  <a:pt x="1670601" y="4150041"/>
                  <a:pt x="2012528" y="4033836"/>
                </a:cubicBezTo>
                <a:cubicBezTo>
                  <a:pt x="2018702" y="4031455"/>
                  <a:pt x="2025113" y="4030621"/>
                  <a:pt x="2031406" y="4031097"/>
                </a:cubicBezTo>
                <a:close/>
                <a:moveTo>
                  <a:pt x="3725864" y="4022416"/>
                </a:moveTo>
                <a:cubicBezTo>
                  <a:pt x="3745628" y="4024827"/>
                  <a:pt x="3763516" y="4038758"/>
                  <a:pt x="3770668" y="4060189"/>
                </a:cubicBezTo>
                <a:cubicBezTo>
                  <a:pt x="3778300" y="4086859"/>
                  <a:pt x="3763036" y="4115434"/>
                  <a:pt x="3734420" y="4124959"/>
                </a:cubicBezTo>
                <a:cubicBezTo>
                  <a:pt x="3734420" y="4124959"/>
                  <a:pt x="3734420" y="4124959"/>
                  <a:pt x="3391048" y="4225924"/>
                </a:cubicBezTo>
                <a:cubicBezTo>
                  <a:pt x="3364339" y="4235449"/>
                  <a:pt x="3335725" y="4218304"/>
                  <a:pt x="3326184" y="4191634"/>
                </a:cubicBezTo>
                <a:cubicBezTo>
                  <a:pt x="3326184" y="4185919"/>
                  <a:pt x="3324277" y="4182109"/>
                  <a:pt x="3324277" y="4176394"/>
                </a:cubicBezTo>
                <a:cubicBezTo>
                  <a:pt x="3324277" y="4153534"/>
                  <a:pt x="3339540" y="4132579"/>
                  <a:pt x="3362432" y="4126864"/>
                </a:cubicBezTo>
                <a:cubicBezTo>
                  <a:pt x="3362432" y="4126864"/>
                  <a:pt x="3362432" y="4126864"/>
                  <a:pt x="3705804" y="4023994"/>
                </a:cubicBezTo>
                <a:cubicBezTo>
                  <a:pt x="3712480" y="4022089"/>
                  <a:pt x="3719276" y="4021613"/>
                  <a:pt x="3725864" y="4022416"/>
                </a:cubicBezTo>
                <a:close/>
                <a:moveTo>
                  <a:pt x="2590959" y="4022416"/>
                </a:moveTo>
                <a:cubicBezTo>
                  <a:pt x="2610652" y="4024827"/>
                  <a:pt x="2628475" y="4038758"/>
                  <a:pt x="2635603" y="4060189"/>
                </a:cubicBezTo>
                <a:cubicBezTo>
                  <a:pt x="2643208" y="4086859"/>
                  <a:pt x="2627999" y="4115434"/>
                  <a:pt x="2599484" y="4124959"/>
                </a:cubicBezTo>
                <a:cubicBezTo>
                  <a:pt x="2599484" y="4124959"/>
                  <a:pt x="2599484" y="4124959"/>
                  <a:pt x="2257300" y="4225924"/>
                </a:cubicBezTo>
                <a:cubicBezTo>
                  <a:pt x="2230686" y="4235449"/>
                  <a:pt x="2202171" y="4218304"/>
                  <a:pt x="2192666" y="4191634"/>
                </a:cubicBezTo>
                <a:cubicBezTo>
                  <a:pt x="2190765" y="4185919"/>
                  <a:pt x="2190765" y="4182109"/>
                  <a:pt x="2190765" y="4176394"/>
                </a:cubicBezTo>
                <a:cubicBezTo>
                  <a:pt x="2190765" y="4153534"/>
                  <a:pt x="2205972" y="4132579"/>
                  <a:pt x="2228785" y="4126864"/>
                </a:cubicBezTo>
                <a:cubicBezTo>
                  <a:pt x="2228785" y="4126864"/>
                  <a:pt x="2228785" y="4126864"/>
                  <a:pt x="2570968" y="4023994"/>
                </a:cubicBezTo>
                <a:cubicBezTo>
                  <a:pt x="2577622" y="4022089"/>
                  <a:pt x="2584395" y="4021613"/>
                  <a:pt x="2590959" y="4022416"/>
                </a:cubicBezTo>
                <a:close/>
                <a:moveTo>
                  <a:pt x="3155344" y="4014776"/>
                </a:moveTo>
                <a:cubicBezTo>
                  <a:pt x="3176388" y="4017723"/>
                  <a:pt x="3195015" y="4032725"/>
                  <a:pt x="3200742" y="4054156"/>
                </a:cubicBezTo>
                <a:cubicBezTo>
                  <a:pt x="3208384" y="4084636"/>
                  <a:pt x="3189282" y="4113211"/>
                  <a:pt x="3160626" y="4120831"/>
                </a:cubicBezTo>
                <a:cubicBezTo>
                  <a:pt x="3160626" y="4120831"/>
                  <a:pt x="3160626" y="4120831"/>
                  <a:pt x="2816772" y="4210366"/>
                </a:cubicBezTo>
                <a:cubicBezTo>
                  <a:pt x="2786207" y="4217986"/>
                  <a:pt x="2757555" y="4198936"/>
                  <a:pt x="2749914" y="4170361"/>
                </a:cubicBezTo>
                <a:cubicBezTo>
                  <a:pt x="2748002" y="4166551"/>
                  <a:pt x="2748002" y="4160836"/>
                  <a:pt x="2748002" y="4157026"/>
                </a:cubicBezTo>
                <a:cubicBezTo>
                  <a:pt x="2748002" y="4132261"/>
                  <a:pt x="2765195" y="4109401"/>
                  <a:pt x="2788116" y="4103686"/>
                </a:cubicBezTo>
                <a:cubicBezTo>
                  <a:pt x="2788116" y="4103686"/>
                  <a:pt x="2788116" y="4103686"/>
                  <a:pt x="3133885" y="4016056"/>
                </a:cubicBezTo>
                <a:cubicBezTo>
                  <a:pt x="3141047" y="4014151"/>
                  <a:pt x="3148330" y="4013794"/>
                  <a:pt x="3155344" y="4014776"/>
                </a:cubicBezTo>
                <a:close/>
                <a:moveTo>
                  <a:pt x="4011840" y="3792351"/>
                </a:moveTo>
                <a:lnTo>
                  <a:pt x="4011840" y="3898685"/>
                </a:lnTo>
                <a:lnTo>
                  <a:pt x="3954656" y="3916388"/>
                </a:lnTo>
                <a:cubicBezTo>
                  <a:pt x="3927928" y="3925886"/>
                  <a:pt x="3899294" y="3910689"/>
                  <a:pt x="3891656" y="3884095"/>
                </a:cubicBezTo>
                <a:cubicBezTo>
                  <a:pt x="3889748" y="3878397"/>
                  <a:pt x="3887840" y="3874597"/>
                  <a:pt x="3887840" y="3868899"/>
                </a:cubicBezTo>
                <a:cubicBezTo>
                  <a:pt x="3887840" y="3846104"/>
                  <a:pt x="3903112" y="3827108"/>
                  <a:pt x="3924112" y="3819510"/>
                </a:cubicBezTo>
                <a:cubicBezTo>
                  <a:pt x="3924112" y="3819510"/>
                  <a:pt x="3924112" y="3819510"/>
                  <a:pt x="4008000" y="3793539"/>
                </a:cubicBezTo>
                <a:close/>
                <a:moveTo>
                  <a:pt x="398944" y="3734455"/>
                </a:moveTo>
                <a:cubicBezTo>
                  <a:pt x="408945" y="3738274"/>
                  <a:pt x="417518" y="3745914"/>
                  <a:pt x="422280" y="3756417"/>
                </a:cubicBezTo>
                <a:cubicBezTo>
                  <a:pt x="431805" y="3777425"/>
                  <a:pt x="424185" y="3804162"/>
                  <a:pt x="401325" y="3813710"/>
                </a:cubicBezTo>
                <a:cubicBezTo>
                  <a:pt x="401325" y="3813710"/>
                  <a:pt x="401325" y="3813710"/>
                  <a:pt x="62231" y="3970312"/>
                </a:cubicBezTo>
                <a:cubicBezTo>
                  <a:pt x="41276" y="3979861"/>
                  <a:pt x="16511" y="3970312"/>
                  <a:pt x="6985" y="3949304"/>
                </a:cubicBezTo>
                <a:cubicBezTo>
                  <a:pt x="5080" y="3943575"/>
                  <a:pt x="3175" y="3935936"/>
                  <a:pt x="3175" y="3930207"/>
                </a:cubicBezTo>
                <a:cubicBezTo>
                  <a:pt x="3175" y="3914929"/>
                  <a:pt x="12701" y="3899650"/>
                  <a:pt x="27941" y="3892011"/>
                </a:cubicBezTo>
                <a:cubicBezTo>
                  <a:pt x="27941" y="3892011"/>
                  <a:pt x="27941" y="3892011"/>
                  <a:pt x="367035" y="3735410"/>
                </a:cubicBezTo>
                <a:cubicBezTo>
                  <a:pt x="377512" y="3730635"/>
                  <a:pt x="388942" y="3730635"/>
                  <a:pt x="398944" y="3734455"/>
                </a:cubicBezTo>
                <a:close/>
                <a:moveTo>
                  <a:pt x="927625" y="3725656"/>
                </a:moveTo>
                <a:cubicBezTo>
                  <a:pt x="945497" y="3725923"/>
                  <a:pt x="961225" y="3736611"/>
                  <a:pt x="968374" y="3753711"/>
                </a:cubicBezTo>
                <a:cubicBezTo>
                  <a:pt x="977906" y="3776511"/>
                  <a:pt x="968374" y="3803111"/>
                  <a:pt x="945497" y="3812611"/>
                </a:cubicBezTo>
                <a:cubicBezTo>
                  <a:pt x="945497" y="3812611"/>
                  <a:pt x="945497" y="3812611"/>
                  <a:pt x="604250" y="3951311"/>
                </a:cubicBezTo>
                <a:cubicBezTo>
                  <a:pt x="581374" y="3960811"/>
                  <a:pt x="554684" y="3951311"/>
                  <a:pt x="545152" y="3928511"/>
                </a:cubicBezTo>
                <a:cubicBezTo>
                  <a:pt x="543246" y="3922811"/>
                  <a:pt x="541339" y="3917111"/>
                  <a:pt x="541339" y="3911411"/>
                </a:cubicBezTo>
                <a:cubicBezTo>
                  <a:pt x="541339" y="3892411"/>
                  <a:pt x="552778" y="3875311"/>
                  <a:pt x="569935" y="3869611"/>
                </a:cubicBezTo>
                <a:cubicBezTo>
                  <a:pt x="569935" y="3869611"/>
                  <a:pt x="569935" y="3869611"/>
                  <a:pt x="909276" y="3729011"/>
                </a:cubicBezTo>
                <a:cubicBezTo>
                  <a:pt x="915471" y="3726636"/>
                  <a:pt x="921667" y="3725567"/>
                  <a:pt x="927625" y="3725656"/>
                </a:cubicBezTo>
                <a:close/>
                <a:moveTo>
                  <a:pt x="1478619" y="3718044"/>
                </a:moveTo>
                <a:cubicBezTo>
                  <a:pt x="1496975" y="3718935"/>
                  <a:pt x="1513727" y="3731046"/>
                  <a:pt x="1520856" y="3749569"/>
                </a:cubicBezTo>
                <a:cubicBezTo>
                  <a:pt x="1530361" y="3774266"/>
                  <a:pt x="1517054" y="3802763"/>
                  <a:pt x="1492342" y="3810362"/>
                </a:cubicBezTo>
                <a:cubicBezTo>
                  <a:pt x="1492342" y="3810362"/>
                  <a:pt x="1492342" y="3810362"/>
                  <a:pt x="1152074" y="3933849"/>
                </a:cubicBezTo>
                <a:cubicBezTo>
                  <a:pt x="1127362" y="3943348"/>
                  <a:pt x="1098848" y="3930049"/>
                  <a:pt x="1089343" y="3905352"/>
                </a:cubicBezTo>
                <a:cubicBezTo>
                  <a:pt x="1087442" y="3901552"/>
                  <a:pt x="1087442" y="3895853"/>
                  <a:pt x="1087442" y="3890154"/>
                </a:cubicBezTo>
                <a:cubicBezTo>
                  <a:pt x="1087442" y="3869256"/>
                  <a:pt x="1098848" y="3852158"/>
                  <a:pt x="1117857" y="3844559"/>
                </a:cubicBezTo>
                <a:cubicBezTo>
                  <a:pt x="1117857" y="3844559"/>
                  <a:pt x="1117857" y="3844559"/>
                  <a:pt x="1460026" y="3721072"/>
                </a:cubicBezTo>
                <a:cubicBezTo>
                  <a:pt x="1466204" y="3718697"/>
                  <a:pt x="1472501" y="3717747"/>
                  <a:pt x="1478619" y="3718044"/>
                </a:cubicBezTo>
                <a:close/>
                <a:moveTo>
                  <a:pt x="2033482" y="3710433"/>
                </a:moveTo>
                <a:cubicBezTo>
                  <a:pt x="2053278" y="3711947"/>
                  <a:pt x="2071188" y="3725481"/>
                  <a:pt x="2078351" y="3745426"/>
                </a:cubicBezTo>
                <a:cubicBezTo>
                  <a:pt x="2085994" y="3772020"/>
                  <a:pt x="2070710" y="3800514"/>
                  <a:pt x="2043960" y="3810012"/>
                </a:cubicBezTo>
                <a:cubicBezTo>
                  <a:pt x="2043960" y="3810012"/>
                  <a:pt x="2043960" y="3810012"/>
                  <a:pt x="1701997" y="3916388"/>
                </a:cubicBezTo>
                <a:cubicBezTo>
                  <a:pt x="1673341" y="3925886"/>
                  <a:pt x="1644685" y="3910689"/>
                  <a:pt x="1637043" y="3884095"/>
                </a:cubicBezTo>
                <a:cubicBezTo>
                  <a:pt x="1635133" y="3878397"/>
                  <a:pt x="1635133" y="3874597"/>
                  <a:pt x="1635133" y="3868899"/>
                </a:cubicBezTo>
                <a:cubicBezTo>
                  <a:pt x="1635133" y="3846104"/>
                  <a:pt x="1648506" y="3827108"/>
                  <a:pt x="1669520" y="3819510"/>
                </a:cubicBezTo>
                <a:cubicBezTo>
                  <a:pt x="1669520" y="3819510"/>
                  <a:pt x="1669520" y="3819510"/>
                  <a:pt x="2013393" y="3713134"/>
                </a:cubicBezTo>
                <a:cubicBezTo>
                  <a:pt x="2020079" y="3710759"/>
                  <a:pt x="2026885" y="3709928"/>
                  <a:pt x="2033482" y="3710433"/>
                </a:cubicBezTo>
                <a:close/>
                <a:moveTo>
                  <a:pt x="3726988" y="3702861"/>
                </a:moveTo>
                <a:cubicBezTo>
                  <a:pt x="3747976" y="3705090"/>
                  <a:pt x="3766548" y="3720426"/>
                  <a:pt x="3772266" y="3743251"/>
                </a:cubicBezTo>
                <a:cubicBezTo>
                  <a:pt x="3779884" y="3771784"/>
                  <a:pt x="3762740" y="3800316"/>
                  <a:pt x="3734164" y="3807924"/>
                </a:cubicBezTo>
                <a:cubicBezTo>
                  <a:pt x="3734164" y="3807924"/>
                  <a:pt x="3734164" y="3807924"/>
                  <a:pt x="3391274" y="3899227"/>
                </a:cubicBezTo>
                <a:cubicBezTo>
                  <a:pt x="3360792" y="3906836"/>
                  <a:pt x="3332215" y="3889717"/>
                  <a:pt x="3324595" y="3861184"/>
                </a:cubicBezTo>
                <a:cubicBezTo>
                  <a:pt x="3322691" y="3857380"/>
                  <a:pt x="3322691" y="3851674"/>
                  <a:pt x="3322691" y="3847869"/>
                </a:cubicBezTo>
                <a:cubicBezTo>
                  <a:pt x="3322691" y="3823142"/>
                  <a:pt x="3337931" y="3802218"/>
                  <a:pt x="3362695" y="3796512"/>
                </a:cubicBezTo>
                <a:cubicBezTo>
                  <a:pt x="3362695" y="3796512"/>
                  <a:pt x="3362695" y="3796512"/>
                  <a:pt x="3705588" y="3705209"/>
                </a:cubicBezTo>
                <a:cubicBezTo>
                  <a:pt x="3712732" y="3702831"/>
                  <a:pt x="3719992" y="3702118"/>
                  <a:pt x="3726988" y="3702861"/>
                </a:cubicBezTo>
                <a:close/>
                <a:moveTo>
                  <a:pt x="2593304" y="3702861"/>
                </a:moveTo>
                <a:cubicBezTo>
                  <a:pt x="2614363" y="3705090"/>
                  <a:pt x="2633002" y="3720426"/>
                  <a:pt x="2638736" y="3743251"/>
                </a:cubicBezTo>
                <a:cubicBezTo>
                  <a:pt x="2646382" y="3771784"/>
                  <a:pt x="2629177" y="3800316"/>
                  <a:pt x="2600503" y="3807924"/>
                </a:cubicBezTo>
                <a:cubicBezTo>
                  <a:pt x="2600503" y="3807924"/>
                  <a:pt x="2600503" y="3807924"/>
                  <a:pt x="2256408" y="3899227"/>
                </a:cubicBezTo>
                <a:cubicBezTo>
                  <a:pt x="2225822" y="3906836"/>
                  <a:pt x="2197147" y="3889717"/>
                  <a:pt x="2189501" y="3861184"/>
                </a:cubicBezTo>
                <a:cubicBezTo>
                  <a:pt x="2187590" y="3857380"/>
                  <a:pt x="2187590" y="3851674"/>
                  <a:pt x="2187590" y="3847869"/>
                </a:cubicBezTo>
                <a:cubicBezTo>
                  <a:pt x="2187590" y="3823142"/>
                  <a:pt x="2202883" y="3802218"/>
                  <a:pt x="2227734" y="3796512"/>
                </a:cubicBezTo>
                <a:cubicBezTo>
                  <a:pt x="2227734" y="3796512"/>
                  <a:pt x="2227734" y="3796512"/>
                  <a:pt x="2571828" y="3705209"/>
                </a:cubicBezTo>
                <a:cubicBezTo>
                  <a:pt x="2578997" y="3702831"/>
                  <a:pt x="2586285" y="3702118"/>
                  <a:pt x="2593304" y="3702861"/>
                </a:cubicBezTo>
                <a:close/>
                <a:moveTo>
                  <a:pt x="3135575" y="3696651"/>
                </a:moveTo>
                <a:cubicBezTo>
                  <a:pt x="3166097" y="3690936"/>
                  <a:pt x="3196619" y="3709986"/>
                  <a:pt x="3202342" y="3740466"/>
                </a:cubicBezTo>
                <a:cubicBezTo>
                  <a:pt x="3209972" y="3770946"/>
                  <a:pt x="3190898" y="3801426"/>
                  <a:pt x="3160373" y="3809046"/>
                </a:cubicBezTo>
                <a:cubicBezTo>
                  <a:pt x="3160373" y="3809046"/>
                  <a:pt x="3160373" y="3809046"/>
                  <a:pt x="2815092" y="3883341"/>
                </a:cubicBezTo>
                <a:cubicBezTo>
                  <a:pt x="2784567" y="3890961"/>
                  <a:pt x="2754047" y="3871911"/>
                  <a:pt x="2746418" y="3841431"/>
                </a:cubicBezTo>
                <a:cubicBezTo>
                  <a:pt x="2746418" y="3835716"/>
                  <a:pt x="2746418" y="3831906"/>
                  <a:pt x="2746418" y="3828096"/>
                </a:cubicBezTo>
                <a:cubicBezTo>
                  <a:pt x="2746418" y="3801426"/>
                  <a:pt x="2763583" y="3778566"/>
                  <a:pt x="2790295" y="3772851"/>
                </a:cubicBezTo>
                <a:cubicBezTo>
                  <a:pt x="2790295" y="3772851"/>
                  <a:pt x="2790295" y="3772851"/>
                  <a:pt x="3135575" y="3696651"/>
                </a:cubicBezTo>
                <a:close/>
                <a:moveTo>
                  <a:pt x="4011840" y="3466417"/>
                </a:moveTo>
                <a:lnTo>
                  <a:pt x="4011840" y="3576032"/>
                </a:lnTo>
                <a:lnTo>
                  <a:pt x="3954880" y="3592817"/>
                </a:lnTo>
                <a:cubicBezTo>
                  <a:pt x="3926284" y="3600448"/>
                  <a:pt x="3897688" y="3585186"/>
                  <a:pt x="3888158" y="3556569"/>
                </a:cubicBezTo>
                <a:cubicBezTo>
                  <a:pt x="3888158" y="3552753"/>
                  <a:pt x="3886250" y="3547030"/>
                  <a:pt x="3886250" y="3541306"/>
                </a:cubicBezTo>
                <a:cubicBezTo>
                  <a:pt x="3886250" y="3518413"/>
                  <a:pt x="3901502" y="3497427"/>
                  <a:pt x="3924376" y="3491704"/>
                </a:cubicBezTo>
                <a:cubicBezTo>
                  <a:pt x="3924376" y="3491704"/>
                  <a:pt x="3924376" y="3491704"/>
                  <a:pt x="4008146" y="3467485"/>
                </a:cubicBezTo>
                <a:close/>
                <a:moveTo>
                  <a:pt x="398651" y="3413736"/>
                </a:moveTo>
                <a:cubicBezTo>
                  <a:pt x="408645" y="3417537"/>
                  <a:pt x="417211" y="3425137"/>
                  <a:pt x="421971" y="3435588"/>
                </a:cubicBezTo>
                <a:cubicBezTo>
                  <a:pt x="433392" y="3456490"/>
                  <a:pt x="423874" y="3483093"/>
                  <a:pt x="401031" y="3492594"/>
                </a:cubicBezTo>
                <a:cubicBezTo>
                  <a:pt x="401031" y="3492594"/>
                  <a:pt x="401031" y="3492594"/>
                  <a:pt x="62187" y="3646509"/>
                </a:cubicBezTo>
                <a:cubicBezTo>
                  <a:pt x="41248" y="3656010"/>
                  <a:pt x="16501" y="3646509"/>
                  <a:pt x="6983" y="3625607"/>
                </a:cubicBezTo>
                <a:cubicBezTo>
                  <a:pt x="3175" y="3619906"/>
                  <a:pt x="3175" y="3614206"/>
                  <a:pt x="3175" y="3608505"/>
                </a:cubicBezTo>
                <a:cubicBezTo>
                  <a:pt x="3175" y="3591403"/>
                  <a:pt x="12693" y="3576202"/>
                  <a:pt x="27922" y="3568601"/>
                </a:cubicBezTo>
                <a:cubicBezTo>
                  <a:pt x="27922" y="3568601"/>
                  <a:pt x="27922" y="3568601"/>
                  <a:pt x="366766" y="3414687"/>
                </a:cubicBezTo>
                <a:cubicBezTo>
                  <a:pt x="377236" y="3409937"/>
                  <a:pt x="388657" y="3409937"/>
                  <a:pt x="398651" y="3413736"/>
                </a:cubicBezTo>
                <a:close/>
                <a:moveTo>
                  <a:pt x="928445" y="3403423"/>
                </a:moveTo>
                <a:cubicBezTo>
                  <a:pt x="946037" y="3403779"/>
                  <a:pt x="962825" y="3414824"/>
                  <a:pt x="969969" y="3433348"/>
                </a:cubicBezTo>
                <a:cubicBezTo>
                  <a:pt x="979494" y="3456148"/>
                  <a:pt x="968064" y="3482748"/>
                  <a:pt x="945204" y="3492248"/>
                </a:cubicBezTo>
                <a:cubicBezTo>
                  <a:pt x="945204" y="3492248"/>
                  <a:pt x="945204" y="3492248"/>
                  <a:pt x="604205" y="3629048"/>
                </a:cubicBezTo>
                <a:cubicBezTo>
                  <a:pt x="579439" y="3638548"/>
                  <a:pt x="552769" y="3627148"/>
                  <a:pt x="543244" y="3602448"/>
                </a:cubicBezTo>
                <a:cubicBezTo>
                  <a:pt x="541339" y="3596748"/>
                  <a:pt x="541339" y="3591048"/>
                  <a:pt x="541339" y="3585348"/>
                </a:cubicBezTo>
                <a:cubicBezTo>
                  <a:pt x="541339" y="3568248"/>
                  <a:pt x="550864" y="3551148"/>
                  <a:pt x="569914" y="3543548"/>
                </a:cubicBezTo>
                <a:cubicBezTo>
                  <a:pt x="569914" y="3543548"/>
                  <a:pt x="569914" y="3543548"/>
                  <a:pt x="910913" y="3406748"/>
                </a:cubicBezTo>
                <a:cubicBezTo>
                  <a:pt x="916628" y="3404375"/>
                  <a:pt x="922581" y="3403304"/>
                  <a:pt x="928445" y="3403423"/>
                </a:cubicBezTo>
                <a:close/>
                <a:moveTo>
                  <a:pt x="1478769" y="3396584"/>
                </a:moveTo>
                <a:cubicBezTo>
                  <a:pt x="1497714" y="3398280"/>
                  <a:pt x="1515586" y="3410426"/>
                  <a:pt x="1522735" y="3428999"/>
                </a:cubicBezTo>
                <a:cubicBezTo>
                  <a:pt x="1530360" y="3455668"/>
                  <a:pt x="1517016" y="3484243"/>
                  <a:pt x="1492233" y="3491863"/>
                </a:cubicBezTo>
                <a:cubicBezTo>
                  <a:pt x="1492233" y="3491863"/>
                  <a:pt x="1492233" y="3491863"/>
                  <a:pt x="1149084" y="3609973"/>
                </a:cubicBezTo>
                <a:cubicBezTo>
                  <a:pt x="1124301" y="3619498"/>
                  <a:pt x="1095705" y="3606163"/>
                  <a:pt x="1088080" y="3579493"/>
                </a:cubicBezTo>
                <a:cubicBezTo>
                  <a:pt x="1086173" y="3575683"/>
                  <a:pt x="1084267" y="3569968"/>
                  <a:pt x="1084267" y="3564253"/>
                </a:cubicBezTo>
                <a:cubicBezTo>
                  <a:pt x="1084267" y="3543298"/>
                  <a:pt x="1097612" y="3524248"/>
                  <a:pt x="1116676" y="3518533"/>
                </a:cubicBezTo>
                <a:cubicBezTo>
                  <a:pt x="1116676" y="3518533"/>
                  <a:pt x="1116676" y="3518533"/>
                  <a:pt x="1459824" y="3398519"/>
                </a:cubicBezTo>
                <a:cubicBezTo>
                  <a:pt x="1466020" y="3396614"/>
                  <a:pt x="1472454" y="3396018"/>
                  <a:pt x="1478769" y="3396584"/>
                </a:cubicBezTo>
                <a:close/>
                <a:moveTo>
                  <a:pt x="2035412" y="3390086"/>
                </a:moveTo>
                <a:cubicBezTo>
                  <a:pt x="2055626" y="3392143"/>
                  <a:pt x="2074226" y="3406808"/>
                  <a:pt x="2079949" y="3426840"/>
                </a:cubicBezTo>
                <a:cubicBezTo>
                  <a:pt x="2087581" y="3455456"/>
                  <a:pt x="2072317" y="3484073"/>
                  <a:pt x="2043698" y="3491704"/>
                </a:cubicBezTo>
                <a:cubicBezTo>
                  <a:pt x="2043698" y="3491704"/>
                  <a:pt x="2043698" y="3491704"/>
                  <a:pt x="1700314" y="3592817"/>
                </a:cubicBezTo>
                <a:cubicBezTo>
                  <a:pt x="1671698" y="3600448"/>
                  <a:pt x="1643083" y="3585186"/>
                  <a:pt x="1635452" y="3556569"/>
                </a:cubicBezTo>
                <a:cubicBezTo>
                  <a:pt x="1633545" y="3552753"/>
                  <a:pt x="1633545" y="3547030"/>
                  <a:pt x="1633545" y="3541306"/>
                </a:cubicBezTo>
                <a:cubicBezTo>
                  <a:pt x="1633545" y="3518413"/>
                  <a:pt x="1648806" y="3497427"/>
                  <a:pt x="1671698" y="3491704"/>
                </a:cubicBezTo>
                <a:cubicBezTo>
                  <a:pt x="1671698" y="3491704"/>
                  <a:pt x="1671698" y="3491704"/>
                  <a:pt x="2015083" y="3392501"/>
                </a:cubicBezTo>
                <a:cubicBezTo>
                  <a:pt x="2021760" y="3390117"/>
                  <a:pt x="2028675" y="3389400"/>
                  <a:pt x="2035412" y="3390086"/>
                </a:cubicBezTo>
                <a:close/>
                <a:moveTo>
                  <a:pt x="3729540" y="3384850"/>
                </a:moveTo>
                <a:cubicBezTo>
                  <a:pt x="3751288" y="3388411"/>
                  <a:pt x="3769540" y="3404789"/>
                  <a:pt x="3773836" y="3427575"/>
                </a:cubicBezTo>
                <a:cubicBezTo>
                  <a:pt x="3781474" y="3456060"/>
                  <a:pt x="3762384" y="3486445"/>
                  <a:pt x="3733748" y="3494041"/>
                </a:cubicBezTo>
                <a:cubicBezTo>
                  <a:pt x="3733748" y="3494041"/>
                  <a:pt x="3733748" y="3494041"/>
                  <a:pt x="3388242" y="3575701"/>
                </a:cubicBezTo>
                <a:cubicBezTo>
                  <a:pt x="3357694" y="3581398"/>
                  <a:pt x="3327150" y="3564306"/>
                  <a:pt x="3321424" y="3533921"/>
                </a:cubicBezTo>
                <a:cubicBezTo>
                  <a:pt x="3319515" y="3528224"/>
                  <a:pt x="3319515" y="3524426"/>
                  <a:pt x="3319515" y="3520628"/>
                </a:cubicBezTo>
                <a:cubicBezTo>
                  <a:pt x="3319515" y="3495940"/>
                  <a:pt x="3336696" y="3473151"/>
                  <a:pt x="3361512" y="3465555"/>
                </a:cubicBezTo>
                <a:cubicBezTo>
                  <a:pt x="3361512" y="3465555"/>
                  <a:pt x="3361512" y="3465555"/>
                  <a:pt x="3707020" y="3385799"/>
                </a:cubicBezTo>
                <a:cubicBezTo>
                  <a:pt x="3714656" y="3383903"/>
                  <a:pt x="3722292" y="3383661"/>
                  <a:pt x="3729540" y="3384850"/>
                </a:cubicBezTo>
                <a:close/>
                <a:moveTo>
                  <a:pt x="2596040" y="3384845"/>
                </a:moveTo>
                <a:cubicBezTo>
                  <a:pt x="2617785" y="3388406"/>
                  <a:pt x="2636040" y="3404787"/>
                  <a:pt x="2640334" y="3427574"/>
                </a:cubicBezTo>
                <a:cubicBezTo>
                  <a:pt x="2647970" y="3456060"/>
                  <a:pt x="2628881" y="3486445"/>
                  <a:pt x="2598338" y="3494041"/>
                </a:cubicBezTo>
                <a:cubicBezTo>
                  <a:pt x="2598338" y="3494041"/>
                  <a:pt x="2598338" y="3494041"/>
                  <a:pt x="2254725" y="3575701"/>
                </a:cubicBezTo>
                <a:cubicBezTo>
                  <a:pt x="2224181" y="3581398"/>
                  <a:pt x="2193638" y="3564306"/>
                  <a:pt x="2187911" y="3533921"/>
                </a:cubicBezTo>
                <a:cubicBezTo>
                  <a:pt x="2186002" y="3528224"/>
                  <a:pt x="2186002" y="3524426"/>
                  <a:pt x="2186002" y="3520628"/>
                </a:cubicBezTo>
                <a:cubicBezTo>
                  <a:pt x="2186002" y="3495940"/>
                  <a:pt x="2203183" y="3473151"/>
                  <a:pt x="2227999" y="3465555"/>
                </a:cubicBezTo>
                <a:cubicBezTo>
                  <a:pt x="2227999" y="3465555"/>
                  <a:pt x="2227999" y="3465555"/>
                  <a:pt x="2573520" y="3385794"/>
                </a:cubicBezTo>
                <a:cubicBezTo>
                  <a:pt x="2581156" y="3383896"/>
                  <a:pt x="2588792" y="3383659"/>
                  <a:pt x="2596040" y="3384845"/>
                </a:cubicBezTo>
                <a:close/>
                <a:moveTo>
                  <a:pt x="3137316" y="3377570"/>
                </a:moveTo>
                <a:cubicBezTo>
                  <a:pt x="3169680" y="3371857"/>
                  <a:pt x="3200139" y="3392806"/>
                  <a:pt x="3205849" y="3425189"/>
                </a:cubicBezTo>
                <a:cubicBezTo>
                  <a:pt x="3211557" y="3457573"/>
                  <a:pt x="3190620" y="3488053"/>
                  <a:pt x="3158257" y="3493768"/>
                </a:cubicBezTo>
                <a:cubicBezTo>
                  <a:pt x="3158257" y="3493768"/>
                  <a:pt x="3158257" y="3493768"/>
                  <a:pt x="2813680" y="3556633"/>
                </a:cubicBezTo>
                <a:cubicBezTo>
                  <a:pt x="2781314" y="3562348"/>
                  <a:pt x="2750856" y="3541393"/>
                  <a:pt x="2745145" y="3509008"/>
                </a:cubicBezTo>
                <a:cubicBezTo>
                  <a:pt x="2743240" y="3505198"/>
                  <a:pt x="2743240" y="3501388"/>
                  <a:pt x="2743240" y="3497578"/>
                </a:cubicBezTo>
                <a:cubicBezTo>
                  <a:pt x="2743240" y="3470908"/>
                  <a:pt x="2764181" y="3446143"/>
                  <a:pt x="2792741" y="3440428"/>
                </a:cubicBezTo>
                <a:cubicBezTo>
                  <a:pt x="2792741" y="3440428"/>
                  <a:pt x="2792741" y="3440428"/>
                  <a:pt x="3137316" y="3377570"/>
                </a:cubicBezTo>
                <a:close/>
                <a:moveTo>
                  <a:pt x="4011840" y="3141126"/>
                </a:moveTo>
                <a:lnTo>
                  <a:pt x="4011840" y="3251800"/>
                </a:lnTo>
                <a:lnTo>
                  <a:pt x="3953196" y="3267426"/>
                </a:lnTo>
                <a:cubicBezTo>
                  <a:pt x="3924642" y="3275036"/>
                  <a:pt x="3894184" y="3257916"/>
                  <a:pt x="3886568" y="3229382"/>
                </a:cubicBezTo>
                <a:cubicBezTo>
                  <a:pt x="3886568" y="3225578"/>
                  <a:pt x="3884664" y="3219872"/>
                  <a:pt x="3884664" y="3216071"/>
                </a:cubicBezTo>
                <a:cubicBezTo>
                  <a:pt x="3884664" y="3191341"/>
                  <a:pt x="3901798" y="3170420"/>
                  <a:pt x="3924642" y="3164714"/>
                </a:cubicBezTo>
                <a:cubicBezTo>
                  <a:pt x="3924642" y="3164714"/>
                  <a:pt x="3924642" y="3164714"/>
                  <a:pt x="4008762" y="3141959"/>
                </a:cubicBezTo>
                <a:close/>
                <a:moveTo>
                  <a:pt x="399603" y="3091489"/>
                </a:moveTo>
                <a:cubicBezTo>
                  <a:pt x="410073" y="3095288"/>
                  <a:pt x="419115" y="3102890"/>
                  <a:pt x="423874" y="3113341"/>
                </a:cubicBezTo>
                <a:cubicBezTo>
                  <a:pt x="433392" y="3134243"/>
                  <a:pt x="423874" y="3160845"/>
                  <a:pt x="401031" y="3170346"/>
                </a:cubicBezTo>
                <a:cubicBezTo>
                  <a:pt x="401031" y="3170346"/>
                  <a:pt x="401031" y="3170346"/>
                  <a:pt x="62187" y="3324257"/>
                </a:cubicBezTo>
                <a:cubicBezTo>
                  <a:pt x="41247" y="3333758"/>
                  <a:pt x="16500" y="3324257"/>
                  <a:pt x="6982" y="3301458"/>
                </a:cubicBezTo>
                <a:cubicBezTo>
                  <a:pt x="3175" y="3295756"/>
                  <a:pt x="3175" y="3290055"/>
                  <a:pt x="3175" y="3284355"/>
                </a:cubicBezTo>
                <a:cubicBezTo>
                  <a:pt x="3175" y="3269153"/>
                  <a:pt x="12693" y="3252053"/>
                  <a:pt x="27922" y="3246351"/>
                </a:cubicBezTo>
                <a:cubicBezTo>
                  <a:pt x="27922" y="3246351"/>
                  <a:pt x="27922" y="3246351"/>
                  <a:pt x="366766" y="3092440"/>
                </a:cubicBezTo>
                <a:cubicBezTo>
                  <a:pt x="377235" y="3087688"/>
                  <a:pt x="389133" y="3087688"/>
                  <a:pt x="399603" y="3091489"/>
                </a:cubicBezTo>
                <a:close/>
                <a:moveTo>
                  <a:pt x="910964" y="3084205"/>
                </a:moveTo>
                <a:cubicBezTo>
                  <a:pt x="933807" y="3076586"/>
                  <a:pt x="960458" y="3088016"/>
                  <a:pt x="969977" y="3110874"/>
                </a:cubicBezTo>
                <a:cubicBezTo>
                  <a:pt x="979495" y="3135641"/>
                  <a:pt x="968073" y="3162310"/>
                  <a:pt x="945229" y="3171835"/>
                </a:cubicBezTo>
                <a:cubicBezTo>
                  <a:pt x="945229" y="3171835"/>
                  <a:pt x="945229" y="3171835"/>
                  <a:pt x="604476" y="3305182"/>
                </a:cubicBezTo>
                <a:cubicBezTo>
                  <a:pt x="579728" y="3314707"/>
                  <a:pt x="553077" y="3301372"/>
                  <a:pt x="543559" y="3278513"/>
                </a:cubicBezTo>
                <a:cubicBezTo>
                  <a:pt x="541655" y="3272798"/>
                  <a:pt x="539752" y="3267083"/>
                  <a:pt x="539752" y="3261369"/>
                </a:cubicBezTo>
                <a:cubicBezTo>
                  <a:pt x="539752" y="3242317"/>
                  <a:pt x="551174" y="3225173"/>
                  <a:pt x="570210" y="3217554"/>
                </a:cubicBezTo>
                <a:cubicBezTo>
                  <a:pt x="570210" y="3217554"/>
                  <a:pt x="570210" y="3217554"/>
                  <a:pt x="910964" y="3084205"/>
                </a:cubicBezTo>
                <a:close/>
                <a:moveTo>
                  <a:pt x="1479596" y="3075472"/>
                </a:moveTo>
                <a:cubicBezTo>
                  <a:pt x="1499228" y="3076991"/>
                  <a:pt x="1516718" y="3090584"/>
                  <a:pt x="1522429" y="3110614"/>
                </a:cubicBezTo>
                <a:cubicBezTo>
                  <a:pt x="1531947" y="3137321"/>
                  <a:pt x="1516718" y="3165935"/>
                  <a:pt x="1491970" y="3173568"/>
                </a:cubicBezTo>
                <a:cubicBezTo>
                  <a:pt x="1491970" y="3173568"/>
                  <a:pt x="1491970" y="3173568"/>
                  <a:pt x="1149308" y="3286117"/>
                </a:cubicBezTo>
                <a:cubicBezTo>
                  <a:pt x="1122656" y="3295656"/>
                  <a:pt x="1094101" y="3280396"/>
                  <a:pt x="1086486" y="3253688"/>
                </a:cubicBezTo>
                <a:cubicBezTo>
                  <a:pt x="1084582" y="3249872"/>
                  <a:pt x="1082679" y="3244148"/>
                  <a:pt x="1082679" y="3238426"/>
                </a:cubicBezTo>
                <a:cubicBezTo>
                  <a:pt x="1082679" y="3217441"/>
                  <a:pt x="1097908" y="3198366"/>
                  <a:pt x="1118849" y="3190736"/>
                </a:cubicBezTo>
                <a:cubicBezTo>
                  <a:pt x="1118849" y="3190736"/>
                  <a:pt x="1118849" y="3190736"/>
                  <a:pt x="1459607" y="3078184"/>
                </a:cubicBezTo>
                <a:cubicBezTo>
                  <a:pt x="1466270" y="3075800"/>
                  <a:pt x="1473052" y="3074965"/>
                  <a:pt x="1479596" y="3075472"/>
                </a:cubicBezTo>
                <a:close/>
                <a:moveTo>
                  <a:pt x="2036269" y="3070212"/>
                </a:moveTo>
                <a:cubicBezTo>
                  <a:pt x="2057258" y="3073154"/>
                  <a:pt x="2075832" y="3088134"/>
                  <a:pt x="2081548" y="3109532"/>
                </a:cubicBezTo>
                <a:cubicBezTo>
                  <a:pt x="2089168" y="3139966"/>
                  <a:pt x="2072023" y="3168499"/>
                  <a:pt x="2043443" y="3176106"/>
                </a:cubicBezTo>
                <a:cubicBezTo>
                  <a:pt x="2043443" y="3176106"/>
                  <a:pt x="2043443" y="3176106"/>
                  <a:pt x="1700538" y="3267409"/>
                </a:cubicBezTo>
                <a:cubicBezTo>
                  <a:pt x="1670058" y="3275018"/>
                  <a:pt x="1641482" y="3257898"/>
                  <a:pt x="1633862" y="3229366"/>
                </a:cubicBezTo>
                <a:cubicBezTo>
                  <a:pt x="1631957" y="3225562"/>
                  <a:pt x="1631957" y="3219855"/>
                  <a:pt x="1631957" y="3216051"/>
                </a:cubicBezTo>
                <a:cubicBezTo>
                  <a:pt x="1631957" y="3191325"/>
                  <a:pt x="1647198" y="3170401"/>
                  <a:pt x="1671963" y="3164695"/>
                </a:cubicBezTo>
                <a:cubicBezTo>
                  <a:pt x="1671963" y="3164695"/>
                  <a:pt x="1671963" y="3164695"/>
                  <a:pt x="2014867" y="3071490"/>
                </a:cubicBezTo>
                <a:cubicBezTo>
                  <a:pt x="2022011" y="3069588"/>
                  <a:pt x="2029274" y="3069230"/>
                  <a:pt x="2036269" y="3070212"/>
                </a:cubicBezTo>
                <a:close/>
                <a:moveTo>
                  <a:pt x="3731232" y="3064526"/>
                </a:moveTo>
                <a:cubicBezTo>
                  <a:pt x="3753036" y="3068642"/>
                  <a:pt x="3771624" y="3086171"/>
                  <a:pt x="3777344" y="3109067"/>
                </a:cubicBezTo>
                <a:cubicBezTo>
                  <a:pt x="3783062" y="3141504"/>
                  <a:pt x="3762092" y="3172032"/>
                  <a:pt x="3731588" y="3177757"/>
                </a:cubicBezTo>
                <a:cubicBezTo>
                  <a:pt x="3731588" y="3177757"/>
                  <a:pt x="3731588" y="3177757"/>
                  <a:pt x="3386557" y="3250258"/>
                </a:cubicBezTo>
                <a:cubicBezTo>
                  <a:pt x="3356055" y="3255985"/>
                  <a:pt x="3325554" y="3234992"/>
                  <a:pt x="3317928" y="3204467"/>
                </a:cubicBezTo>
                <a:cubicBezTo>
                  <a:pt x="3317928" y="3200651"/>
                  <a:pt x="3317928" y="3196834"/>
                  <a:pt x="3317928" y="3193018"/>
                </a:cubicBezTo>
                <a:cubicBezTo>
                  <a:pt x="3317928" y="3166307"/>
                  <a:pt x="3335085" y="3141504"/>
                  <a:pt x="3363681" y="3135781"/>
                </a:cubicBezTo>
                <a:cubicBezTo>
                  <a:pt x="3363681" y="3135781"/>
                  <a:pt x="3363681" y="3135781"/>
                  <a:pt x="3708712" y="3065182"/>
                </a:cubicBezTo>
                <a:cubicBezTo>
                  <a:pt x="3716336" y="3063275"/>
                  <a:pt x="3723964" y="3063157"/>
                  <a:pt x="3731232" y="3064526"/>
                </a:cubicBezTo>
                <a:close/>
                <a:moveTo>
                  <a:pt x="2597728" y="3064505"/>
                </a:moveTo>
                <a:cubicBezTo>
                  <a:pt x="2619532" y="3068620"/>
                  <a:pt x="2638119" y="3086150"/>
                  <a:pt x="2643838" y="3109046"/>
                </a:cubicBezTo>
                <a:cubicBezTo>
                  <a:pt x="2649557" y="3141483"/>
                  <a:pt x="2628587" y="3172011"/>
                  <a:pt x="2598086" y="3177737"/>
                </a:cubicBezTo>
                <a:cubicBezTo>
                  <a:pt x="2598086" y="3177737"/>
                  <a:pt x="2598086" y="3177737"/>
                  <a:pt x="2253042" y="3250241"/>
                </a:cubicBezTo>
                <a:cubicBezTo>
                  <a:pt x="2222541" y="3255966"/>
                  <a:pt x="2192040" y="3234975"/>
                  <a:pt x="2184414" y="3204449"/>
                </a:cubicBezTo>
                <a:cubicBezTo>
                  <a:pt x="2184414" y="3200633"/>
                  <a:pt x="2184414" y="3196817"/>
                  <a:pt x="2184414" y="3193000"/>
                </a:cubicBezTo>
                <a:cubicBezTo>
                  <a:pt x="2184414" y="3166289"/>
                  <a:pt x="2201571" y="3141483"/>
                  <a:pt x="2230166" y="3135760"/>
                </a:cubicBezTo>
                <a:cubicBezTo>
                  <a:pt x="2230166" y="3135760"/>
                  <a:pt x="2230166" y="3135760"/>
                  <a:pt x="2575210" y="3065161"/>
                </a:cubicBezTo>
                <a:cubicBezTo>
                  <a:pt x="2582837" y="3063252"/>
                  <a:pt x="2590461" y="3063132"/>
                  <a:pt x="2597728" y="3064505"/>
                </a:cubicBezTo>
                <a:close/>
                <a:moveTo>
                  <a:pt x="3139002" y="3058185"/>
                </a:moveTo>
                <a:cubicBezTo>
                  <a:pt x="3173224" y="3054375"/>
                  <a:pt x="3203641" y="3077235"/>
                  <a:pt x="3209344" y="3111524"/>
                </a:cubicBezTo>
                <a:cubicBezTo>
                  <a:pt x="3213145" y="3143909"/>
                  <a:pt x="3190332" y="3176294"/>
                  <a:pt x="3156112" y="3180105"/>
                </a:cubicBezTo>
                <a:cubicBezTo>
                  <a:pt x="3156112" y="3180105"/>
                  <a:pt x="3156112" y="3180105"/>
                  <a:pt x="2811996" y="3231532"/>
                </a:cubicBezTo>
                <a:cubicBezTo>
                  <a:pt x="2777776" y="3235344"/>
                  <a:pt x="2747356" y="3212490"/>
                  <a:pt x="2741653" y="3180105"/>
                </a:cubicBezTo>
                <a:cubicBezTo>
                  <a:pt x="2741653" y="3176294"/>
                  <a:pt x="2741653" y="3172482"/>
                  <a:pt x="2741653" y="3170578"/>
                </a:cubicBezTo>
                <a:cubicBezTo>
                  <a:pt x="2741653" y="3140101"/>
                  <a:pt x="2762567" y="3113431"/>
                  <a:pt x="2792985" y="3109621"/>
                </a:cubicBezTo>
                <a:cubicBezTo>
                  <a:pt x="2792985" y="3109621"/>
                  <a:pt x="2792985" y="3109621"/>
                  <a:pt x="3139002" y="3058185"/>
                </a:cubicBezTo>
                <a:close/>
                <a:moveTo>
                  <a:pt x="4011840" y="2813695"/>
                </a:moveTo>
                <a:lnTo>
                  <a:pt x="4011840" y="2929155"/>
                </a:lnTo>
                <a:lnTo>
                  <a:pt x="3953196" y="2943545"/>
                </a:lnTo>
                <a:cubicBezTo>
                  <a:pt x="3922736" y="2951190"/>
                  <a:pt x="3892278" y="2932080"/>
                  <a:pt x="3884664" y="2901507"/>
                </a:cubicBezTo>
                <a:cubicBezTo>
                  <a:pt x="3884664" y="2897685"/>
                  <a:pt x="3884664" y="2893863"/>
                  <a:pt x="3884664" y="2888131"/>
                </a:cubicBezTo>
                <a:cubicBezTo>
                  <a:pt x="3884664" y="2863287"/>
                  <a:pt x="3899892" y="2840356"/>
                  <a:pt x="3926546" y="2834624"/>
                </a:cubicBezTo>
                <a:cubicBezTo>
                  <a:pt x="3926546" y="2834624"/>
                  <a:pt x="3926546" y="2834624"/>
                  <a:pt x="4010200" y="2814097"/>
                </a:cubicBezTo>
                <a:close/>
                <a:moveTo>
                  <a:pt x="399603" y="2769236"/>
                </a:moveTo>
                <a:cubicBezTo>
                  <a:pt x="410073" y="2773041"/>
                  <a:pt x="419115" y="2780652"/>
                  <a:pt x="423874" y="2791116"/>
                </a:cubicBezTo>
                <a:cubicBezTo>
                  <a:pt x="433392" y="2812044"/>
                  <a:pt x="423874" y="2838680"/>
                  <a:pt x="401030" y="2848194"/>
                </a:cubicBezTo>
                <a:cubicBezTo>
                  <a:pt x="401030" y="2848194"/>
                  <a:pt x="401030" y="2848194"/>
                  <a:pt x="62187" y="3000399"/>
                </a:cubicBezTo>
                <a:cubicBezTo>
                  <a:pt x="41247" y="3009914"/>
                  <a:pt x="16500" y="3000399"/>
                  <a:pt x="6982" y="2979471"/>
                </a:cubicBezTo>
                <a:cubicBezTo>
                  <a:pt x="3175" y="2973763"/>
                  <a:pt x="3175" y="2968056"/>
                  <a:pt x="3175" y="2960446"/>
                </a:cubicBezTo>
                <a:cubicBezTo>
                  <a:pt x="3175" y="2945225"/>
                  <a:pt x="10789" y="2930005"/>
                  <a:pt x="27922" y="2922394"/>
                </a:cubicBezTo>
                <a:cubicBezTo>
                  <a:pt x="27922" y="2922394"/>
                  <a:pt x="27922" y="2922394"/>
                  <a:pt x="366765" y="2770189"/>
                </a:cubicBezTo>
                <a:cubicBezTo>
                  <a:pt x="377235" y="2765431"/>
                  <a:pt x="389133" y="2765431"/>
                  <a:pt x="399603" y="2769236"/>
                </a:cubicBezTo>
                <a:close/>
                <a:moveTo>
                  <a:pt x="930705" y="2760523"/>
                </a:moveTo>
                <a:cubicBezTo>
                  <a:pt x="949140" y="2760880"/>
                  <a:pt x="965965" y="2771968"/>
                  <a:pt x="973124" y="2790565"/>
                </a:cubicBezTo>
                <a:cubicBezTo>
                  <a:pt x="982670" y="2815364"/>
                  <a:pt x="969306" y="2842071"/>
                  <a:pt x="946396" y="2851609"/>
                </a:cubicBezTo>
                <a:cubicBezTo>
                  <a:pt x="946396" y="2851609"/>
                  <a:pt x="946396" y="2851609"/>
                  <a:pt x="604662" y="2981323"/>
                </a:cubicBezTo>
                <a:cubicBezTo>
                  <a:pt x="579843" y="2990862"/>
                  <a:pt x="551206" y="2977508"/>
                  <a:pt x="543570" y="2954616"/>
                </a:cubicBezTo>
                <a:cubicBezTo>
                  <a:pt x="541661" y="2948894"/>
                  <a:pt x="539752" y="2943172"/>
                  <a:pt x="539752" y="2937448"/>
                </a:cubicBezTo>
                <a:cubicBezTo>
                  <a:pt x="539752" y="2918374"/>
                  <a:pt x="551206" y="2899297"/>
                  <a:pt x="570298" y="2893575"/>
                </a:cubicBezTo>
                <a:cubicBezTo>
                  <a:pt x="570298" y="2893575"/>
                  <a:pt x="570298" y="2893575"/>
                  <a:pt x="912032" y="2763862"/>
                </a:cubicBezTo>
                <a:cubicBezTo>
                  <a:pt x="918237" y="2761479"/>
                  <a:pt x="924561" y="2760403"/>
                  <a:pt x="930705" y="2760523"/>
                </a:cubicBezTo>
                <a:close/>
                <a:moveTo>
                  <a:pt x="1482623" y="2755562"/>
                </a:moveTo>
                <a:cubicBezTo>
                  <a:pt x="1502310" y="2757882"/>
                  <a:pt x="1519850" y="2771434"/>
                  <a:pt x="1525577" y="2791407"/>
                </a:cubicBezTo>
                <a:cubicBezTo>
                  <a:pt x="1535122" y="2818039"/>
                  <a:pt x="1519850" y="2846572"/>
                  <a:pt x="1493123" y="2856085"/>
                </a:cubicBezTo>
                <a:cubicBezTo>
                  <a:pt x="1493123" y="2856085"/>
                  <a:pt x="1493123" y="2856085"/>
                  <a:pt x="1149495" y="2962612"/>
                </a:cubicBezTo>
                <a:cubicBezTo>
                  <a:pt x="1122769" y="2970220"/>
                  <a:pt x="1092224" y="2955002"/>
                  <a:pt x="1084588" y="2928370"/>
                </a:cubicBezTo>
                <a:cubicBezTo>
                  <a:pt x="1082679" y="2924566"/>
                  <a:pt x="1082679" y="2918859"/>
                  <a:pt x="1082679" y="2913153"/>
                </a:cubicBezTo>
                <a:cubicBezTo>
                  <a:pt x="1082679" y="2892227"/>
                  <a:pt x="1096042" y="2871303"/>
                  <a:pt x="1118950" y="2863693"/>
                </a:cubicBezTo>
                <a:cubicBezTo>
                  <a:pt x="1118950" y="2863693"/>
                  <a:pt x="1118950" y="2863693"/>
                  <a:pt x="1462578" y="2757168"/>
                </a:cubicBezTo>
                <a:cubicBezTo>
                  <a:pt x="1469260" y="2755265"/>
                  <a:pt x="1476061" y="2754790"/>
                  <a:pt x="1482623" y="2755562"/>
                </a:cubicBezTo>
                <a:close/>
                <a:moveTo>
                  <a:pt x="2037929" y="2750376"/>
                </a:moveTo>
                <a:cubicBezTo>
                  <a:pt x="2058890" y="2754227"/>
                  <a:pt x="2077438" y="2769633"/>
                  <a:pt x="2083145" y="2792565"/>
                </a:cubicBezTo>
                <a:cubicBezTo>
                  <a:pt x="2090755" y="2821228"/>
                  <a:pt x="2071730" y="2851802"/>
                  <a:pt x="2043190" y="2859446"/>
                </a:cubicBezTo>
                <a:cubicBezTo>
                  <a:pt x="2043190" y="2859446"/>
                  <a:pt x="2043190" y="2859446"/>
                  <a:pt x="1698856" y="2943524"/>
                </a:cubicBezTo>
                <a:cubicBezTo>
                  <a:pt x="1668417" y="2951168"/>
                  <a:pt x="1639881" y="2932060"/>
                  <a:pt x="1632272" y="2901486"/>
                </a:cubicBezTo>
                <a:cubicBezTo>
                  <a:pt x="1630369" y="2897664"/>
                  <a:pt x="1630369" y="2893842"/>
                  <a:pt x="1630369" y="2888109"/>
                </a:cubicBezTo>
                <a:cubicBezTo>
                  <a:pt x="1630369" y="2863268"/>
                  <a:pt x="1647491" y="2840337"/>
                  <a:pt x="1672222" y="2834604"/>
                </a:cubicBezTo>
                <a:cubicBezTo>
                  <a:pt x="1672222" y="2834604"/>
                  <a:pt x="1672222" y="2834604"/>
                  <a:pt x="2016556" y="2750526"/>
                </a:cubicBezTo>
                <a:cubicBezTo>
                  <a:pt x="2023690" y="2749093"/>
                  <a:pt x="2030943" y="2749093"/>
                  <a:pt x="2037929" y="2750376"/>
                </a:cubicBezTo>
                <a:close/>
                <a:moveTo>
                  <a:pt x="3710448" y="2745765"/>
                </a:moveTo>
                <a:cubicBezTo>
                  <a:pt x="3742792" y="2740051"/>
                  <a:pt x="3773232" y="2762911"/>
                  <a:pt x="3778944" y="2795292"/>
                </a:cubicBezTo>
                <a:cubicBezTo>
                  <a:pt x="3784650" y="2827678"/>
                  <a:pt x="3763720" y="2858160"/>
                  <a:pt x="3731376" y="2863875"/>
                </a:cubicBezTo>
                <a:cubicBezTo>
                  <a:pt x="3731376" y="2863875"/>
                  <a:pt x="3731376" y="2863875"/>
                  <a:pt x="3385145" y="2924837"/>
                </a:cubicBezTo>
                <a:cubicBezTo>
                  <a:pt x="3352800" y="2930551"/>
                  <a:pt x="3322363" y="2907691"/>
                  <a:pt x="3316655" y="2875305"/>
                </a:cubicBezTo>
                <a:cubicBezTo>
                  <a:pt x="3316655" y="2871495"/>
                  <a:pt x="3314753" y="2869590"/>
                  <a:pt x="3314753" y="2865779"/>
                </a:cubicBezTo>
                <a:cubicBezTo>
                  <a:pt x="3314753" y="2837202"/>
                  <a:pt x="3335679" y="2812439"/>
                  <a:pt x="3364218" y="2806724"/>
                </a:cubicBezTo>
                <a:cubicBezTo>
                  <a:pt x="3364218" y="2806724"/>
                  <a:pt x="3364218" y="2806724"/>
                  <a:pt x="3710448" y="2745765"/>
                </a:cubicBezTo>
                <a:close/>
                <a:moveTo>
                  <a:pt x="2576948" y="2745743"/>
                </a:moveTo>
                <a:cubicBezTo>
                  <a:pt x="2609290" y="2740028"/>
                  <a:pt x="2639729" y="2762887"/>
                  <a:pt x="2645436" y="2795273"/>
                </a:cubicBezTo>
                <a:cubicBezTo>
                  <a:pt x="2651144" y="2827657"/>
                  <a:pt x="2630217" y="2858138"/>
                  <a:pt x="2595973" y="2863852"/>
                </a:cubicBezTo>
                <a:cubicBezTo>
                  <a:pt x="2595973" y="2863852"/>
                  <a:pt x="2595973" y="2863852"/>
                  <a:pt x="2251629" y="2924813"/>
                </a:cubicBezTo>
                <a:cubicBezTo>
                  <a:pt x="2219287" y="2930528"/>
                  <a:pt x="2188848" y="2907668"/>
                  <a:pt x="2183141" y="2875282"/>
                </a:cubicBezTo>
                <a:cubicBezTo>
                  <a:pt x="2183141" y="2871473"/>
                  <a:pt x="2181238" y="2869568"/>
                  <a:pt x="2181238" y="2865758"/>
                </a:cubicBezTo>
                <a:cubicBezTo>
                  <a:pt x="2181238" y="2837183"/>
                  <a:pt x="2202166" y="2812418"/>
                  <a:pt x="2230702" y="2806703"/>
                </a:cubicBezTo>
                <a:cubicBezTo>
                  <a:pt x="2230702" y="2806703"/>
                  <a:pt x="2230702" y="2806703"/>
                  <a:pt x="2576948" y="2745743"/>
                </a:cubicBezTo>
                <a:close/>
                <a:moveTo>
                  <a:pt x="3140488" y="2739127"/>
                </a:moveTo>
                <a:cubicBezTo>
                  <a:pt x="3176662" y="2735289"/>
                  <a:pt x="3207121" y="2760236"/>
                  <a:pt x="3210926" y="2796693"/>
                </a:cubicBezTo>
                <a:cubicBezTo>
                  <a:pt x="3214735" y="2831234"/>
                  <a:pt x="3189988" y="2863857"/>
                  <a:pt x="3153818" y="2867695"/>
                </a:cubicBezTo>
                <a:cubicBezTo>
                  <a:pt x="3153818" y="2867695"/>
                  <a:pt x="3153818" y="2867695"/>
                  <a:pt x="2807329" y="2906076"/>
                </a:cubicBezTo>
                <a:cubicBezTo>
                  <a:pt x="2773061" y="2909915"/>
                  <a:pt x="2740696" y="2883048"/>
                  <a:pt x="2736893" y="2848505"/>
                </a:cubicBezTo>
                <a:cubicBezTo>
                  <a:pt x="2736893" y="2846586"/>
                  <a:pt x="2736893" y="2842748"/>
                  <a:pt x="2736893" y="2840828"/>
                </a:cubicBezTo>
                <a:cubicBezTo>
                  <a:pt x="2736893" y="2808208"/>
                  <a:pt x="2761639" y="2781342"/>
                  <a:pt x="2794003" y="2777505"/>
                </a:cubicBezTo>
                <a:cubicBezTo>
                  <a:pt x="2794003" y="2777505"/>
                  <a:pt x="2794003" y="2777505"/>
                  <a:pt x="3140488" y="2739127"/>
                </a:cubicBezTo>
                <a:close/>
                <a:moveTo>
                  <a:pt x="4011840" y="2488817"/>
                </a:moveTo>
                <a:lnTo>
                  <a:pt x="4011840" y="2605107"/>
                </a:lnTo>
                <a:lnTo>
                  <a:pt x="3951516" y="2618129"/>
                </a:lnTo>
                <a:cubicBezTo>
                  <a:pt x="3921098" y="2625749"/>
                  <a:pt x="3890680" y="2606702"/>
                  <a:pt x="3883076" y="2574325"/>
                </a:cubicBezTo>
                <a:cubicBezTo>
                  <a:pt x="3883076" y="2570513"/>
                  <a:pt x="3883076" y="2566705"/>
                  <a:pt x="3883076" y="2562897"/>
                </a:cubicBezTo>
                <a:cubicBezTo>
                  <a:pt x="3883076" y="2536230"/>
                  <a:pt x="3900186" y="2513366"/>
                  <a:pt x="3926804" y="2507652"/>
                </a:cubicBezTo>
                <a:cubicBezTo>
                  <a:pt x="3926804" y="2507652"/>
                  <a:pt x="3926804" y="2507652"/>
                  <a:pt x="4010808" y="2489046"/>
                </a:cubicBezTo>
                <a:close/>
                <a:moveTo>
                  <a:pt x="399503" y="2446974"/>
                </a:moveTo>
                <a:cubicBezTo>
                  <a:pt x="410004" y="2450780"/>
                  <a:pt x="419073" y="2458390"/>
                  <a:pt x="423846" y="2468859"/>
                </a:cubicBezTo>
                <a:cubicBezTo>
                  <a:pt x="433392" y="2491688"/>
                  <a:pt x="423846" y="2516422"/>
                  <a:pt x="400935" y="2525937"/>
                </a:cubicBezTo>
                <a:cubicBezTo>
                  <a:pt x="400935" y="2525937"/>
                  <a:pt x="400935" y="2525937"/>
                  <a:pt x="61095" y="2676233"/>
                </a:cubicBezTo>
                <a:cubicBezTo>
                  <a:pt x="40093" y="2687647"/>
                  <a:pt x="13364" y="2676233"/>
                  <a:pt x="3818" y="2655306"/>
                </a:cubicBezTo>
                <a:cubicBezTo>
                  <a:pt x="1909" y="2649597"/>
                  <a:pt x="0" y="2643887"/>
                  <a:pt x="0" y="2638182"/>
                </a:cubicBezTo>
                <a:cubicBezTo>
                  <a:pt x="0" y="2621058"/>
                  <a:pt x="9546" y="2605839"/>
                  <a:pt x="26729" y="2598228"/>
                </a:cubicBezTo>
                <a:cubicBezTo>
                  <a:pt x="26729" y="2598228"/>
                  <a:pt x="26729" y="2598228"/>
                  <a:pt x="366569" y="2447925"/>
                </a:cubicBezTo>
                <a:cubicBezTo>
                  <a:pt x="377070" y="2443169"/>
                  <a:pt x="389002" y="2443169"/>
                  <a:pt x="399503" y="2446974"/>
                </a:cubicBezTo>
                <a:close/>
                <a:moveTo>
                  <a:pt x="930705" y="2440109"/>
                </a:moveTo>
                <a:cubicBezTo>
                  <a:pt x="949140" y="2441000"/>
                  <a:pt x="965965" y="2453095"/>
                  <a:pt x="973124" y="2471595"/>
                </a:cubicBezTo>
                <a:cubicBezTo>
                  <a:pt x="982669" y="2496260"/>
                  <a:pt x="969306" y="2522822"/>
                  <a:pt x="944487" y="2532310"/>
                </a:cubicBezTo>
                <a:cubicBezTo>
                  <a:pt x="944487" y="2532310"/>
                  <a:pt x="944487" y="2532310"/>
                  <a:pt x="602753" y="2657520"/>
                </a:cubicBezTo>
                <a:cubicBezTo>
                  <a:pt x="577934" y="2667007"/>
                  <a:pt x="551206" y="2653725"/>
                  <a:pt x="541661" y="2629065"/>
                </a:cubicBezTo>
                <a:cubicBezTo>
                  <a:pt x="539751" y="2623373"/>
                  <a:pt x="539751" y="2617681"/>
                  <a:pt x="539751" y="2613887"/>
                </a:cubicBezTo>
                <a:cubicBezTo>
                  <a:pt x="539751" y="2593017"/>
                  <a:pt x="551206" y="2575945"/>
                  <a:pt x="570297" y="2568357"/>
                </a:cubicBezTo>
                <a:cubicBezTo>
                  <a:pt x="570297" y="2568357"/>
                  <a:pt x="570297" y="2568357"/>
                  <a:pt x="912032" y="2443134"/>
                </a:cubicBezTo>
                <a:cubicBezTo>
                  <a:pt x="918236" y="2440761"/>
                  <a:pt x="924560" y="2439813"/>
                  <a:pt x="930705" y="2440109"/>
                </a:cubicBezTo>
                <a:close/>
                <a:moveTo>
                  <a:pt x="1482958" y="2434934"/>
                </a:moveTo>
                <a:cubicBezTo>
                  <a:pt x="1503168" y="2437349"/>
                  <a:pt x="1521768" y="2451300"/>
                  <a:pt x="1527491" y="2472764"/>
                </a:cubicBezTo>
                <a:cubicBezTo>
                  <a:pt x="1535122" y="2499474"/>
                  <a:pt x="1519860" y="2528092"/>
                  <a:pt x="1491245" y="2537631"/>
                </a:cubicBezTo>
                <a:cubicBezTo>
                  <a:pt x="1491245" y="2537631"/>
                  <a:pt x="1491245" y="2537631"/>
                  <a:pt x="1147861" y="2638738"/>
                </a:cubicBezTo>
                <a:cubicBezTo>
                  <a:pt x="1121153" y="2646368"/>
                  <a:pt x="1092538" y="2631108"/>
                  <a:pt x="1082999" y="2602491"/>
                </a:cubicBezTo>
                <a:cubicBezTo>
                  <a:pt x="1081092" y="2596768"/>
                  <a:pt x="1081092" y="2592952"/>
                  <a:pt x="1081092" y="2587229"/>
                </a:cubicBezTo>
                <a:cubicBezTo>
                  <a:pt x="1081092" y="2564338"/>
                  <a:pt x="1096353" y="2545262"/>
                  <a:pt x="1119245" y="2537631"/>
                </a:cubicBezTo>
                <a:cubicBezTo>
                  <a:pt x="1119245" y="2537631"/>
                  <a:pt x="1119245" y="2537631"/>
                  <a:pt x="1462630" y="2436514"/>
                </a:cubicBezTo>
                <a:cubicBezTo>
                  <a:pt x="1469306" y="2434606"/>
                  <a:pt x="1476222" y="2434129"/>
                  <a:pt x="1482958" y="2434934"/>
                </a:cubicBezTo>
                <a:close/>
                <a:moveTo>
                  <a:pt x="2016607" y="2431420"/>
                </a:moveTo>
                <a:cubicBezTo>
                  <a:pt x="2047025" y="2425705"/>
                  <a:pt x="2077447" y="2444755"/>
                  <a:pt x="2085053" y="2475236"/>
                </a:cubicBezTo>
                <a:cubicBezTo>
                  <a:pt x="2090756" y="2505718"/>
                  <a:pt x="2071744" y="2536199"/>
                  <a:pt x="2041322" y="2543819"/>
                </a:cubicBezTo>
                <a:cubicBezTo>
                  <a:pt x="2041322" y="2543819"/>
                  <a:pt x="2041322" y="2543819"/>
                  <a:pt x="1697222" y="2618110"/>
                </a:cubicBezTo>
                <a:cubicBezTo>
                  <a:pt x="1666804" y="2625730"/>
                  <a:pt x="1636386" y="2606681"/>
                  <a:pt x="1630683" y="2574297"/>
                </a:cubicBezTo>
                <a:cubicBezTo>
                  <a:pt x="1628782" y="2570488"/>
                  <a:pt x="1628782" y="2566678"/>
                  <a:pt x="1628782" y="2562869"/>
                </a:cubicBezTo>
                <a:cubicBezTo>
                  <a:pt x="1628782" y="2536199"/>
                  <a:pt x="1647793" y="2513338"/>
                  <a:pt x="1674409" y="2507623"/>
                </a:cubicBezTo>
                <a:cubicBezTo>
                  <a:pt x="1674409" y="2507623"/>
                  <a:pt x="1674409" y="2507623"/>
                  <a:pt x="2016607" y="2431420"/>
                </a:cubicBezTo>
                <a:close/>
                <a:moveTo>
                  <a:pt x="2799530" y="2428900"/>
                </a:moveTo>
                <a:cubicBezTo>
                  <a:pt x="2799530" y="2428900"/>
                  <a:pt x="2799530" y="2428900"/>
                  <a:pt x="3148601" y="2428900"/>
                </a:cubicBezTo>
                <a:cubicBezTo>
                  <a:pt x="3188659" y="2428900"/>
                  <a:pt x="3221085" y="2459451"/>
                  <a:pt x="3221085" y="2499556"/>
                </a:cubicBezTo>
                <a:cubicBezTo>
                  <a:pt x="3221085" y="2537746"/>
                  <a:pt x="3188659" y="2570198"/>
                  <a:pt x="3148601" y="2570198"/>
                </a:cubicBezTo>
                <a:cubicBezTo>
                  <a:pt x="3148601" y="2570198"/>
                  <a:pt x="3148601" y="2570198"/>
                  <a:pt x="2799530" y="2570198"/>
                </a:cubicBezTo>
                <a:cubicBezTo>
                  <a:pt x="2761379" y="2570198"/>
                  <a:pt x="2728953" y="2537746"/>
                  <a:pt x="2728953" y="2499556"/>
                </a:cubicBezTo>
                <a:cubicBezTo>
                  <a:pt x="2728953" y="2459451"/>
                  <a:pt x="2761379" y="2428900"/>
                  <a:pt x="2799530" y="2428900"/>
                </a:cubicBezTo>
                <a:close/>
                <a:moveTo>
                  <a:pt x="3713474" y="2424773"/>
                </a:moveTo>
                <a:cubicBezTo>
                  <a:pt x="3745884" y="2420960"/>
                  <a:pt x="3778294" y="2443824"/>
                  <a:pt x="3782104" y="2478118"/>
                </a:cubicBezTo>
                <a:cubicBezTo>
                  <a:pt x="3787824" y="2510510"/>
                  <a:pt x="3764948" y="2542896"/>
                  <a:pt x="3730632" y="2546706"/>
                </a:cubicBezTo>
                <a:cubicBezTo>
                  <a:pt x="3730632" y="2546706"/>
                  <a:pt x="3730632" y="2546706"/>
                  <a:pt x="3383699" y="2598127"/>
                </a:cubicBezTo>
                <a:cubicBezTo>
                  <a:pt x="3351292" y="2601938"/>
                  <a:pt x="3318883" y="2579083"/>
                  <a:pt x="3315071" y="2546706"/>
                </a:cubicBezTo>
                <a:cubicBezTo>
                  <a:pt x="3313164" y="2542896"/>
                  <a:pt x="3313164" y="2539086"/>
                  <a:pt x="3313164" y="2537183"/>
                </a:cubicBezTo>
                <a:cubicBezTo>
                  <a:pt x="3313164" y="2506700"/>
                  <a:pt x="3336040" y="2480026"/>
                  <a:pt x="3366541" y="2476213"/>
                </a:cubicBezTo>
                <a:cubicBezTo>
                  <a:pt x="3366541" y="2476213"/>
                  <a:pt x="3366541" y="2476213"/>
                  <a:pt x="3713474" y="2424773"/>
                </a:cubicBezTo>
                <a:close/>
                <a:moveTo>
                  <a:pt x="2578386" y="2424750"/>
                </a:moveTo>
                <a:cubicBezTo>
                  <a:pt x="2610793" y="2420940"/>
                  <a:pt x="2643200" y="2443801"/>
                  <a:pt x="2647013" y="2478093"/>
                </a:cubicBezTo>
                <a:cubicBezTo>
                  <a:pt x="2652731" y="2510478"/>
                  <a:pt x="2629856" y="2542862"/>
                  <a:pt x="2595543" y="2546673"/>
                </a:cubicBezTo>
                <a:cubicBezTo>
                  <a:pt x="2595543" y="2546673"/>
                  <a:pt x="2595543" y="2546673"/>
                  <a:pt x="2248597" y="2598105"/>
                </a:cubicBezTo>
                <a:cubicBezTo>
                  <a:pt x="2216190" y="2601915"/>
                  <a:pt x="2183783" y="2579056"/>
                  <a:pt x="2179970" y="2546673"/>
                </a:cubicBezTo>
                <a:cubicBezTo>
                  <a:pt x="2178064" y="2542862"/>
                  <a:pt x="2178064" y="2539052"/>
                  <a:pt x="2178064" y="2537148"/>
                </a:cubicBezTo>
                <a:cubicBezTo>
                  <a:pt x="2178064" y="2506667"/>
                  <a:pt x="2200939" y="2479996"/>
                  <a:pt x="2231440" y="2476187"/>
                </a:cubicBezTo>
                <a:cubicBezTo>
                  <a:pt x="2231440" y="2476187"/>
                  <a:pt x="2231440" y="2476187"/>
                  <a:pt x="2578386" y="2424750"/>
                </a:cubicBezTo>
                <a:close/>
                <a:moveTo>
                  <a:pt x="4011840" y="2170473"/>
                </a:moveTo>
                <a:lnTo>
                  <a:pt x="4011840" y="2283142"/>
                </a:lnTo>
                <a:lnTo>
                  <a:pt x="3952804" y="2297465"/>
                </a:lnTo>
                <a:cubicBezTo>
                  <a:pt x="3922240" y="2305051"/>
                  <a:pt x="3891674" y="2286085"/>
                  <a:pt x="3884032" y="2257651"/>
                </a:cubicBezTo>
                <a:cubicBezTo>
                  <a:pt x="3878302" y="2227314"/>
                  <a:pt x="3895496" y="2196975"/>
                  <a:pt x="3926060" y="2191286"/>
                </a:cubicBezTo>
                <a:cubicBezTo>
                  <a:pt x="3926060" y="2191286"/>
                  <a:pt x="3926060" y="2191286"/>
                  <a:pt x="4010006" y="2170918"/>
                </a:cubicBezTo>
                <a:close/>
                <a:moveTo>
                  <a:pt x="398983" y="2123120"/>
                </a:moveTo>
                <a:cubicBezTo>
                  <a:pt x="409445" y="2126926"/>
                  <a:pt x="418480" y="2134534"/>
                  <a:pt x="423236" y="2145003"/>
                </a:cubicBezTo>
                <a:cubicBezTo>
                  <a:pt x="425138" y="2150710"/>
                  <a:pt x="427040" y="2158322"/>
                  <a:pt x="427040" y="2164030"/>
                </a:cubicBezTo>
                <a:cubicBezTo>
                  <a:pt x="427040" y="2179250"/>
                  <a:pt x="417529" y="2196374"/>
                  <a:pt x="402312" y="2202079"/>
                </a:cubicBezTo>
                <a:cubicBezTo>
                  <a:pt x="402312" y="2202079"/>
                  <a:pt x="402312" y="2202079"/>
                  <a:pt x="61813" y="2354282"/>
                </a:cubicBezTo>
                <a:cubicBezTo>
                  <a:pt x="40889" y="2363796"/>
                  <a:pt x="16160" y="2354282"/>
                  <a:pt x="6649" y="2333354"/>
                </a:cubicBezTo>
                <a:cubicBezTo>
                  <a:pt x="-4765" y="2312425"/>
                  <a:pt x="4746" y="2285781"/>
                  <a:pt x="27573" y="2276277"/>
                </a:cubicBezTo>
                <a:cubicBezTo>
                  <a:pt x="27573" y="2276277"/>
                  <a:pt x="27573" y="2276277"/>
                  <a:pt x="366169" y="2124071"/>
                </a:cubicBezTo>
                <a:cubicBezTo>
                  <a:pt x="376631" y="2119317"/>
                  <a:pt x="388520" y="2119317"/>
                  <a:pt x="398983" y="2123120"/>
                </a:cubicBezTo>
                <a:close/>
                <a:moveTo>
                  <a:pt x="930370" y="2116219"/>
                </a:moveTo>
                <a:cubicBezTo>
                  <a:pt x="948819" y="2117022"/>
                  <a:pt x="965655" y="2128742"/>
                  <a:pt x="972820" y="2145797"/>
                </a:cubicBezTo>
                <a:cubicBezTo>
                  <a:pt x="974730" y="2151482"/>
                  <a:pt x="974730" y="2157168"/>
                  <a:pt x="974730" y="2162851"/>
                </a:cubicBezTo>
                <a:cubicBezTo>
                  <a:pt x="974730" y="2181799"/>
                  <a:pt x="963267" y="2198852"/>
                  <a:pt x="944162" y="2206429"/>
                </a:cubicBezTo>
                <a:cubicBezTo>
                  <a:pt x="944162" y="2206429"/>
                  <a:pt x="944162" y="2206429"/>
                  <a:pt x="602179" y="2335271"/>
                </a:cubicBezTo>
                <a:cubicBezTo>
                  <a:pt x="579252" y="2344740"/>
                  <a:pt x="550595" y="2333375"/>
                  <a:pt x="542953" y="2308740"/>
                </a:cubicBezTo>
                <a:cubicBezTo>
                  <a:pt x="533400" y="2284105"/>
                  <a:pt x="544863" y="2257586"/>
                  <a:pt x="569700" y="2248111"/>
                </a:cubicBezTo>
                <a:cubicBezTo>
                  <a:pt x="569700" y="2248111"/>
                  <a:pt x="569700" y="2248111"/>
                  <a:pt x="911683" y="2119271"/>
                </a:cubicBezTo>
                <a:cubicBezTo>
                  <a:pt x="917892" y="2116901"/>
                  <a:pt x="924221" y="2115954"/>
                  <a:pt x="930370" y="2116219"/>
                </a:cubicBezTo>
                <a:close/>
                <a:moveTo>
                  <a:pt x="1482447" y="2110273"/>
                </a:moveTo>
                <a:cubicBezTo>
                  <a:pt x="1502079" y="2111874"/>
                  <a:pt x="1519569" y="2125762"/>
                  <a:pt x="1525280" y="2147134"/>
                </a:cubicBezTo>
                <a:cubicBezTo>
                  <a:pt x="1527184" y="2150933"/>
                  <a:pt x="1527184" y="2156633"/>
                  <a:pt x="1527184" y="2162332"/>
                </a:cubicBezTo>
                <a:cubicBezTo>
                  <a:pt x="1527184" y="2183226"/>
                  <a:pt x="1513858" y="2204123"/>
                  <a:pt x="1492917" y="2209820"/>
                </a:cubicBezTo>
                <a:cubicBezTo>
                  <a:pt x="1492917" y="2209820"/>
                  <a:pt x="1492917" y="2209820"/>
                  <a:pt x="1150255" y="2316193"/>
                </a:cubicBezTo>
                <a:cubicBezTo>
                  <a:pt x="1123603" y="2325693"/>
                  <a:pt x="1093145" y="2310492"/>
                  <a:pt x="1085530" y="2283894"/>
                </a:cubicBezTo>
                <a:cubicBezTo>
                  <a:pt x="1077915" y="2255409"/>
                  <a:pt x="1093145" y="2226917"/>
                  <a:pt x="1119796" y="2219317"/>
                </a:cubicBezTo>
                <a:cubicBezTo>
                  <a:pt x="1119796" y="2219317"/>
                  <a:pt x="1119796" y="2219317"/>
                  <a:pt x="1462458" y="2112944"/>
                </a:cubicBezTo>
                <a:cubicBezTo>
                  <a:pt x="1469121" y="2110569"/>
                  <a:pt x="1475903" y="2109738"/>
                  <a:pt x="1482447" y="2110273"/>
                </a:cubicBezTo>
                <a:close/>
                <a:moveTo>
                  <a:pt x="2038710" y="2106607"/>
                </a:moveTo>
                <a:cubicBezTo>
                  <a:pt x="2059742" y="2109629"/>
                  <a:pt x="2078355" y="2124916"/>
                  <a:pt x="2084082" y="2147672"/>
                </a:cubicBezTo>
                <a:cubicBezTo>
                  <a:pt x="2084082" y="2151465"/>
                  <a:pt x="2085991" y="2157154"/>
                  <a:pt x="2085991" y="2160946"/>
                </a:cubicBezTo>
                <a:cubicBezTo>
                  <a:pt x="2085991" y="2185596"/>
                  <a:pt x="2068810" y="2208348"/>
                  <a:pt x="2043989" y="2214037"/>
                </a:cubicBezTo>
                <a:cubicBezTo>
                  <a:pt x="2043989" y="2214037"/>
                  <a:pt x="2043989" y="2214037"/>
                  <a:pt x="1698467" y="2297465"/>
                </a:cubicBezTo>
                <a:cubicBezTo>
                  <a:pt x="1667924" y="2305051"/>
                  <a:pt x="1639290" y="2286085"/>
                  <a:pt x="1631654" y="2257649"/>
                </a:cubicBezTo>
                <a:cubicBezTo>
                  <a:pt x="1624018" y="2227312"/>
                  <a:pt x="1643107" y="2196972"/>
                  <a:pt x="1671742" y="2191284"/>
                </a:cubicBezTo>
                <a:cubicBezTo>
                  <a:pt x="1671742" y="2191284"/>
                  <a:pt x="1671742" y="2191284"/>
                  <a:pt x="2017264" y="2107852"/>
                </a:cubicBezTo>
                <a:cubicBezTo>
                  <a:pt x="2024423" y="2105955"/>
                  <a:pt x="2031700" y="2105600"/>
                  <a:pt x="2038710" y="2106607"/>
                </a:cubicBezTo>
                <a:close/>
                <a:moveTo>
                  <a:pt x="3734742" y="2101210"/>
                </a:moveTo>
                <a:cubicBezTo>
                  <a:pt x="3757308" y="2105942"/>
                  <a:pt x="3775572" y="2124873"/>
                  <a:pt x="3779872" y="2149163"/>
                </a:cubicBezTo>
                <a:cubicBezTo>
                  <a:pt x="3779872" y="2152972"/>
                  <a:pt x="3779872" y="2156782"/>
                  <a:pt x="3779872" y="2158688"/>
                </a:cubicBezTo>
                <a:cubicBezTo>
                  <a:pt x="3779872" y="2187262"/>
                  <a:pt x="3760768" y="2212026"/>
                  <a:pt x="3732116" y="2217741"/>
                </a:cubicBezTo>
                <a:cubicBezTo>
                  <a:pt x="3732116" y="2217741"/>
                  <a:pt x="3732116" y="2217741"/>
                  <a:pt x="3384469" y="2278699"/>
                </a:cubicBezTo>
                <a:cubicBezTo>
                  <a:pt x="3351995" y="2284410"/>
                  <a:pt x="3321431" y="2263461"/>
                  <a:pt x="3315701" y="2231076"/>
                </a:cubicBezTo>
                <a:cubicBezTo>
                  <a:pt x="3309970" y="2198691"/>
                  <a:pt x="3330982" y="2166308"/>
                  <a:pt x="3363456" y="2160593"/>
                </a:cubicBezTo>
                <a:cubicBezTo>
                  <a:pt x="3363456" y="2160593"/>
                  <a:pt x="3363456" y="2160593"/>
                  <a:pt x="3711104" y="2101538"/>
                </a:cubicBezTo>
                <a:cubicBezTo>
                  <a:pt x="3719222" y="2099633"/>
                  <a:pt x="3727220" y="2099633"/>
                  <a:pt x="3734742" y="2101210"/>
                </a:cubicBezTo>
                <a:close/>
                <a:moveTo>
                  <a:pt x="2601252" y="2101207"/>
                </a:moveTo>
                <a:cubicBezTo>
                  <a:pt x="2623816" y="2105940"/>
                  <a:pt x="2642082" y="2124870"/>
                  <a:pt x="2646380" y="2149158"/>
                </a:cubicBezTo>
                <a:cubicBezTo>
                  <a:pt x="2646380" y="2152969"/>
                  <a:pt x="2646380" y="2156780"/>
                  <a:pt x="2646380" y="2158685"/>
                </a:cubicBezTo>
                <a:cubicBezTo>
                  <a:pt x="2646380" y="2187260"/>
                  <a:pt x="2627278" y="2212024"/>
                  <a:pt x="2596715" y="2217739"/>
                </a:cubicBezTo>
                <a:cubicBezTo>
                  <a:pt x="2596715" y="2217739"/>
                  <a:pt x="2596715" y="2217739"/>
                  <a:pt x="2250972" y="2278698"/>
                </a:cubicBezTo>
                <a:cubicBezTo>
                  <a:pt x="2218499" y="2284410"/>
                  <a:pt x="2187936" y="2263459"/>
                  <a:pt x="2182205" y="2231074"/>
                </a:cubicBezTo>
                <a:cubicBezTo>
                  <a:pt x="2176475" y="2198689"/>
                  <a:pt x="2197487" y="2166304"/>
                  <a:pt x="2229960" y="2160590"/>
                </a:cubicBezTo>
                <a:cubicBezTo>
                  <a:pt x="2229960" y="2160590"/>
                  <a:pt x="2229960" y="2160590"/>
                  <a:pt x="2577613" y="2101535"/>
                </a:cubicBezTo>
                <a:cubicBezTo>
                  <a:pt x="2585732" y="2099630"/>
                  <a:pt x="2593730" y="2099630"/>
                  <a:pt x="2601252" y="2101207"/>
                </a:cubicBezTo>
                <a:close/>
                <a:moveTo>
                  <a:pt x="3141099" y="2094543"/>
                </a:moveTo>
                <a:cubicBezTo>
                  <a:pt x="3177271" y="2090740"/>
                  <a:pt x="3207731" y="2117360"/>
                  <a:pt x="3211539" y="2151589"/>
                </a:cubicBezTo>
                <a:cubicBezTo>
                  <a:pt x="3211539" y="2153490"/>
                  <a:pt x="3211539" y="2157291"/>
                  <a:pt x="3211539" y="2159195"/>
                </a:cubicBezTo>
                <a:cubicBezTo>
                  <a:pt x="3211539" y="2191522"/>
                  <a:pt x="3188693" y="2218141"/>
                  <a:pt x="3156330" y="2221944"/>
                </a:cubicBezTo>
                <a:cubicBezTo>
                  <a:pt x="3156330" y="2221944"/>
                  <a:pt x="3156330" y="2221944"/>
                  <a:pt x="2807941" y="2259975"/>
                </a:cubicBezTo>
                <a:cubicBezTo>
                  <a:pt x="2773673" y="2263775"/>
                  <a:pt x="2741309" y="2239058"/>
                  <a:pt x="2737501" y="2202929"/>
                </a:cubicBezTo>
                <a:cubicBezTo>
                  <a:pt x="2733694" y="2168703"/>
                  <a:pt x="2760347" y="2136375"/>
                  <a:pt x="2794615" y="2132570"/>
                </a:cubicBezTo>
                <a:cubicBezTo>
                  <a:pt x="2794615" y="2132570"/>
                  <a:pt x="2794615" y="2132570"/>
                  <a:pt x="3141099" y="2094543"/>
                </a:cubicBezTo>
                <a:close/>
                <a:moveTo>
                  <a:pt x="4011840" y="1849489"/>
                </a:moveTo>
                <a:lnTo>
                  <a:pt x="4011840" y="1962430"/>
                </a:lnTo>
                <a:lnTo>
                  <a:pt x="3952612" y="1978320"/>
                </a:lnTo>
                <a:cubicBezTo>
                  <a:pt x="3924032" y="1985985"/>
                  <a:pt x="3893552" y="1968738"/>
                  <a:pt x="3885932" y="1939991"/>
                </a:cubicBezTo>
                <a:cubicBezTo>
                  <a:pt x="3878314" y="1911245"/>
                  <a:pt x="3895458" y="1880581"/>
                  <a:pt x="3924032" y="1872916"/>
                </a:cubicBezTo>
                <a:cubicBezTo>
                  <a:pt x="3924032" y="1872916"/>
                  <a:pt x="3924032" y="1872916"/>
                  <a:pt x="4008210" y="1850457"/>
                </a:cubicBezTo>
                <a:close/>
                <a:moveTo>
                  <a:pt x="398962" y="1800917"/>
                </a:moveTo>
                <a:cubicBezTo>
                  <a:pt x="409432" y="1804747"/>
                  <a:pt x="418474" y="1812406"/>
                  <a:pt x="423233" y="1822936"/>
                </a:cubicBezTo>
                <a:cubicBezTo>
                  <a:pt x="425137" y="1828681"/>
                  <a:pt x="427041" y="1834425"/>
                  <a:pt x="427041" y="1840169"/>
                </a:cubicBezTo>
                <a:cubicBezTo>
                  <a:pt x="427041" y="1857402"/>
                  <a:pt x="417522" y="1872719"/>
                  <a:pt x="400390" y="1878463"/>
                </a:cubicBezTo>
                <a:cubicBezTo>
                  <a:pt x="400390" y="1878463"/>
                  <a:pt x="400390" y="1878463"/>
                  <a:pt x="61546" y="2033553"/>
                </a:cubicBezTo>
                <a:cubicBezTo>
                  <a:pt x="40607" y="2043126"/>
                  <a:pt x="15860" y="2033553"/>
                  <a:pt x="6342" y="2012491"/>
                </a:cubicBezTo>
                <a:cubicBezTo>
                  <a:pt x="-3177" y="1991430"/>
                  <a:pt x="6342" y="1964624"/>
                  <a:pt x="27281" y="1955050"/>
                </a:cubicBezTo>
                <a:cubicBezTo>
                  <a:pt x="27281" y="1955050"/>
                  <a:pt x="27281" y="1955050"/>
                  <a:pt x="366125" y="1801874"/>
                </a:cubicBezTo>
                <a:cubicBezTo>
                  <a:pt x="376595" y="1797088"/>
                  <a:pt x="388492" y="1797088"/>
                  <a:pt x="398962" y="1800917"/>
                </a:cubicBezTo>
                <a:close/>
                <a:moveTo>
                  <a:pt x="929266" y="1792140"/>
                </a:moveTo>
                <a:cubicBezTo>
                  <a:pt x="946908" y="1792497"/>
                  <a:pt x="963745" y="1803570"/>
                  <a:pt x="970909" y="1822144"/>
                </a:cubicBezTo>
                <a:cubicBezTo>
                  <a:pt x="974730" y="1827859"/>
                  <a:pt x="974730" y="1833574"/>
                  <a:pt x="974730" y="1839289"/>
                </a:cubicBezTo>
                <a:cubicBezTo>
                  <a:pt x="974730" y="1858339"/>
                  <a:pt x="963267" y="1875484"/>
                  <a:pt x="946072" y="1883104"/>
                </a:cubicBezTo>
                <a:cubicBezTo>
                  <a:pt x="946072" y="1883104"/>
                  <a:pt x="946072" y="1883104"/>
                  <a:pt x="604089" y="2014549"/>
                </a:cubicBezTo>
                <a:cubicBezTo>
                  <a:pt x="579253" y="2024073"/>
                  <a:pt x="552505" y="2012644"/>
                  <a:pt x="542953" y="1989784"/>
                </a:cubicBezTo>
                <a:cubicBezTo>
                  <a:pt x="533400" y="1965019"/>
                  <a:pt x="544863" y="1938349"/>
                  <a:pt x="569700" y="1928824"/>
                </a:cubicBezTo>
                <a:cubicBezTo>
                  <a:pt x="569700" y="1928824"/>
                  <a:pt x="569700" y="1928824"/>
                  <a:pt x="911683" y="1795473"/>
                </a:cubicBezTo>
                <a:cubicBezTo>
                  <a:pt x="917415" y="1793092"/>
                  <a:pt x="923385" y="1792021"/>
                  <a:pt x="929266" y="1792140"/>
                </a:cubicBezTo>
                <a:close/>
                <a:moveTo>
                  <a:pt x="1480544" y="1786402"/>
                </a:moveTo>
                <a:cubicBezTo>
                  <a:pt x="1500175" y="1787834"/>
                  <a:pt x="1517665" y="1801087"/>
                  <a:pt x="1523376" y="1819714"/>
                </a:cubicBezTo>
                <a:cubicBezTo>
                  <a:pt x="1525280" y="1825445"/>
                  <a:pt x="1527184" y="1831176"/>
                  <a:pt x="1527184" y="1836908"/>
                </a:cubicBezTo>
                <a:cubicBezTo>
                  <a:pt x="1527184" y="1857922"/>
                  <a:pt x="1513858" y="1877026"/>
                  <a:pt x="1492918" y="1884667"/>
                </a:cubicBezTo>
                <a:cubicBezTo>
                  <a:pt x="1492918" y="1884667"/>
                  <a:pt x="1492918" y="1884667"/>
                  <a:pt x="1150255" y="1997380"/>
                </a:cubicBezTo>
                <a:cubicBezTo>
                  <a:pt x="1123604" y="2005020"/>
                  <a:pt x="1095048" y="1991648"/>
                  <a:pt x="1087434" y="1964903"/>
                </a:cubicBezTo>
                <a:cubicBezTo>
                  <a:pt x="1077915" y="1938158"/>
                  <a:pt x="1093145" y="1909502"/>
                  <a:pt x="1119796" y="1901861"/>
                </a:cubicBezTo>
                <a:cubicBezTo>
                  <a:pt x="1119796" y="1901861"/>
                  <a:pt x="1119796" y="1901861"/>
                  <a:pt x="1460555" y="1789148"/>
                </a:cubicBezTo>
                <a:cubicBezTo>
                  <a:pt x="1467218" y="1786760"/>
                  <a:pt x="1474000" y="1785924"/>
                  <a:pt x="1480544" y="1786402"/>
                </a:cubicBezTo>
                <a:close/>
                <a:moveTo>
                  <a:pt x="2035632" y="1779621"/>
                </a:moveTo>
                <a:cubicBezTo>
                  <a:pt x="2056622" y="1782586"/>
                  <a:pt x="2075195" y="1797678"/>
                  <a:pt x="2080910" y="1819238"/>
                </a:cubicBezTo>
                <a:cubicBezTo>
                  <a:pt x="2082815" y="1824987"/>
                  <a:pt x="2082815" y="1828820"/>
                  <a:pt x="2082815" y="1834569"/>
                </a:cubicBezTo>
                <a:cubicBezTo>
                  <a:pt x="2082815" y="1857567"/>
                  <a:pt x="2065670" y="1878648"/>
                  <a:pt x="2042805" y="1886314"/>
                </a:cubicBezTo>
                <a:cubicBezTo>
                  <a:pt x="2042805" y="1886314"/>
                  <a:pt x="2042805" y="1886314"/>
                  <a:pt x="1699901" y="1978302"/>
                </a:cubicBezTo>
                <a:cubicBezTo>
                  <a:pt x="1669421" y="1985968"/>
                  <a:pt x="1640845" y="1968720"/>
                  <a:pt x="1633225" y="1939974"/>
                </a:cubicBezTo>
                <a:cubicBezTo>
                  <a:pt x="1625605" y="1911227"/>
                  <a:pt x="1642750" y="1880564"/>
                  <a:pt x="1671326" y="1872898"/>
                </a:cubicBezTo>
                <a:cubicBezTo>
                  <a:pt x="1671326" y="1872898"/>
                  <a:pt x="1671326" y="1872898"/>
                  <a:pt x="2014230" y="1780909"/>
                </a:cubicBezTo>
                <a:cubicBezTo>
                  <a:pt x="2021374" y="1778992"/>
                  <a:pt x="2028637" y="1778633"/>
                  <a:pt x="2035632" y="1779621"/>
                </a:cubicBezTo>
                <a:close/>
                <a:moveTo>
                  <a:pt x="3732186" y="1775473"/>
                </a:moveTo>
                <a:cubicBezTo>
                  <a:pt x="3753992" y="1779587"/>
                  <a:pt x="3772580" y="1797118"/>
                  <a:pt x="3778300" y="1820015"/>
                </a:cubicBezTo>
                <a:cubicBezTo>
                  <a:pt x="3778300" y="1823830"/>
                  <a:pt x="3778300" y="1827647"/>
                  <a:pt x="3778300" y="1831463"/>
                </a:cubicBezTo>
                <a:cubicBezTo>
                  <a:pt x="3778300" y="1858176"/>
                  <a:pt x="3759236" y="1882981"/>
                  <a:pt x="3732544" y="1888705"/>
                </a:cubicBezTo>
                <a:cubicBezTo>
                  <a:pt x="3732544" y="1888705"/>
                  <a:pt x="3732544" y="1888705"/>
                  <a:pt x="3387514" y="1959303"/>
                </a:cubicBezTo>
                <a:cubicBezTo>
                  <a:pt x="3357010" y="1966936"/>
                  <a:pt x="3326509" y="1945947"/>
                  <a:pt x="3318883" y="1915418"/>
                </a:cubicBezTo>
                <a:cubicBezTo>
                  <a:pt x="3313164" y="1882981"/>
                  <a:pt x="3332228" y="1852452"/>
                  <a:pt x="3364636" y="1846728"/>
                </a:cubicBezTo>
                <a:cubicBezTo>
                  <a:pt x="3364636" y="1846728"/>
                  <a:pt x="3364636" y="1846728"/>
                  <a:pt x="3709668" y="1776129"/>
                </a:cubicBezTo>
                <a:cubicBezTo>
                  <a:pt x="3717292" y="1774221"/>
                  <a:pt x="3724918" y="1774102"/>
                  <a:pt x="3732186" y="1775473"/>
                </a:cubicBezTo>
                <a:close/>
                <a:moveTo>
                  <a:pt x="2597096" y="1775454"/>
                </a:moveTo>
                <a:cubicBezTo>
                  <a:pt x="2618900" y="1779568"/>
                  <a:pt x="2637486" y="1797098"/>
                  <a:pt x="2643205" y="1819995"/>
                </a:cubicBezTo>
                <a:cubicBezTo>
                  <a:pt x="2643205" y="1823811"/>
                  <a:pt x="2643205" y="1827627"/>
                  <a:pt x="2643205" y="1831444"/>
                </a:cubicBezTo>
                <a:cubicBezTo>
                  <a:pt x="2643205" y="1858156"/>
                  <a:pt x="2624142" y="1882961"/>
                  <a:pt x="2597453" y="1888685"/>
                </a:cubicBezTo>
                <a:cubicBezTo>
                  <a:pt x="2597453" y="1888685"/>
                  <a:pt x="2597453" y="1888685"/>
                  <a:pt x="2252409" y="1959283"/>
                </a:cubicBezTo>
                <a:cubicBezTo>
                  <a:pt x="2221908" y="1966916"/>
                  <a:pt x="2191406" y="1945927"/>
                  <a:pt x="2183781" y="1915398"/>
                </a:cubicBezTo>
                <a:cubicBezTo>
                  <a:pt x="2178062" y="1882961"/>
                  <a:pt x="2197125" y="1852432"/>
                  <a:pt x="2229533" y="1846708"/>
                </a:cubicBezTo>
                <a:cubicBezTo>
                  <a:pt x="2229533" y="1846708"/>
                  <a:pt x="2229533" y="1846708"/>
                  <a:pt x="2574577" y="1776110"/>
                </a:cubicBezTo>
                <a:cubicBezTo>
                  <a:pt x="2582203" y="1774201"/>
                  <a:pt x="2589828" y="1774082"/>
                  <a:pt x="2597096" y="1775454"/>
                </a:cubicBezTo>
                <a:close/>
                <a:moveTo>
                  <a:pt x="3139439" y="1767852"/>
                </a:moveTo>
                <a:cubicBezTo>
                  <a:pt x="3173753" y="1762146"/>
                  <a:pt x="3204252" y="1786869"/>
                  <a:pt x="3209972" y="1819198"/>
                </a:cubicBezTo>
                <a:cubicBezTo>
                  <a:pt x="3209972" y="1823001"/>
                  <a:pt x="3209972" y="1826805"/>
                  <a:pt x="3209972" y="1828706"/>
                </a:cubicBezTo>
                <a:cubicBezTo>
                  <a:pt x="3209972" y="1859134"/>
                  <a:pt x="3187098" y="1885758"/>
                  <a:pt x="3156596" y="1889561"/>
                </a:cubicBezTo>
                <a:cubicBezTo>
                  <a:pt x="3156596" y="1889561"/>
                  <a:pt x="3156596" y="1889561"/>
                  <a:pt x="2811555" y="1939005"/>
                </a:cubicBezTo>
                <a:cubicBezTo>
                  <a:pt x="2777239" y="1944711"/>
                  <a:pt x="2746740" y="1921890"/>
                  <a:pt x="2741022" y="1887660"/>
                </a:cubicBezTo>
                <a:cubicBezTo>
                  <a:pt x="2735303" y="1853429"/>
                  <a:pt x="2760084" y="1823001"/>
                  <a:pt x="2792492" y="1819198"/>
                </a:cubicBezTo>
                <a:cubicBezTo>
                  <a:pt x="2792492" y="1819198"/>
                  <a:pt x="2792492" y="1819198"/>
                  <a:pt x="3139439" y="1767852"/>
                </a:cubicBezTo>
                <a:close/>
                <a:moveTo>
                  <a:pt x="4011840" y="1531095"/>
                </a:moveTo>
                <a:lnTo>
                  <a:pt x="4011840" y="1641028"/>
                </a:lnTo>
                <a:lnTo>
                  <a:pt x="3954252" y="1657678"/>
                </a:lnTo>
                <a:cubicBezTo>
                  <a:pt x="3925656" y="1665310"/>
                  <a:pt x="3897056" y="1650048"/>
                  <a:pt x="3887528" y="1621430"/>
                </a:cubicBezTo>
                <a:cubicBezTo>
                  <a:pt x="3879902" y="1594720"/>
                  <a:pt x="3897056" y="1564195"/>
                  <a:pt x="3923748" y="1556564"/>
                </a:cubicBezTo>
                <a:cubicBezTo>
                  <a:pt x="3923748" y="1556564"/>
                  <a:pt x="3923748" y="1556564"/>
                  <a:pt x="4007518" y="1532344"/>
                </a:cubicBezTo>
                <a:close/>
                <a:moveTo>
                  <a:pt x="398249" y="1477054"/>
                </a:moveTo>
                <a:cubicBezTo>
                  <a:pt x="408480" y="1480877"/>
                  <a:pt x="417523" y="1488527"/>
                  <a:pt x="423234" y="1499043"/>
                </a:cubicBezTo>
                <a:cubicBezTo>
                  <a:pt x="425137" y="1504780"/>
                  <a:pt x="427041" y="1510517"/>
                  <a:pt x="427041" y="1516254"/>
                </a:cubicBezTo>
                <a:cubicBezTo>
                  <a:pt x="427041" y="1533463"/>
                  <a:pt x="417523" y="1548761"/>
                  <a:pt x="402294" y="1556411"/>
                </a:cubicBezTo>
                <a:cubicBezTo>
                  <a:pt x="402294" y="1556411"/>
                  <a:pt x="402294" y="1556411"/>
                  <a:pt x="61547" y="1711302"/>
                </a:cubicBezTo>
                <a:cubicBezTo>
                  <a:pt x="40607" y="1720863"/>
                  <a:pt x="15860" y="1711302"/>
                  <a:pt x="6342" y="1690267"/>
                </a:cubicBezTo>
                <a:cubicBezTo>
                  <a:pt x="-3176" y="1669232"/>
                  <a:pt x="6342" y="1644373"/>
                  <a:pt x="27282" y="1632900"/>
                </a:cubicBezTo>
                <a:cubicBezTo>
                  <a:pt x="27282" y="1632900"/>
                  <a:pt x="27282" y="1632900"/>
                  <a:pt x="366125" y="1478010"/>
                </a:cubicBezTo>
                <a:cubicBezTo>
                  <a:pt x="376595" y="1473229"/>
                  <a:pt x="388017" y="1473229"/>
                  <a:pt x="398249" y="1477054"/>
                </a:cubicBezTo>
                <a:close/>
                <a:moveTo>
                  <a:pt x="929397" y="1468271"/>
                </a:moveTo>
                <a:cubicBezTo>
                  <a:pt x="946989" y="1468627"/>
                  <a:pt x="963777" y="1479671"/>
                  <a:pt x="970920" y="1498195"/>
                </a:cubicBezTo>
                <a:cubicBezTo>
                  <a:pt x="972826" y="1503895"/>
                  <a:pt x="974730" y="1509596"/>
                  <a:pt x="974730" y="1515296"/>
                </a:cubicBezTo>
                <a:cubicBezTo>
                  <a:pt x="974730" y="1532396"/>
                  <a:pt x="963300" y="1549496"/>
                  <a:pt x="946155" y="1557096"/>
                </a:cubicBezTo>
                <a:cubicBezTo>
                  <a:pt x="946155" y="1557096"/>
                  <a:pt x="946155" y="1557096"/>
                  <a:pt x="605156" y="1693897"/>
                </a:cubicBezTo>
                <a:cubicBezTo>
                  <a:pt x="580391" y="1703397"/>
                  <a:pt x="553721" y="1691997"/>
                  <a:pt x="546100" y="1667296"/>
                </a:cubicBezTo>
                <a:cubicBezTo>
                  <a:pt x="536576" y="1644496"/>
                  <a:pt x="548005" y="1617896"/>
                  <a:pt x="570866" y="1608396"/>
                </a:cubicBezTo>
                <a:cubicBezTo>
                  <a:pt x="570866" y="1608396"/>
                  <a:pt x="570866" y="1608396"/>
                  <a:pt x="911865" y="1471596"/>
                </a:cubicBezTo>
                <a:cubicBezTo>
                  <a:pt x="917580" y="1469221"/>
                  <a:pt x="923533" y="1468152"/>
                  <a:pt x="929397" y="1468271"/>
                </a:cubicBezTo>
                <a:close/>
                <a:moveTo>
                  <a:pt x="1479724" y="1461429"/>
                </a:moveTo>
                <a:cubicBezTo>
                  <a:pt x="1498668" y="1463125"/>
                  <a:pt x="1516541" y="1475270"/>
                  <a:pt x="1523689" y="1493843"/>
                </a:cubicBezTo>
                <a:cubicBezTo>
                  <a:pt x="1525596" y="1499559"/>
                  <a:pt x="1525596" y="1505273"/>
                  <a:pt x="1525596" y="1510988"/>
                </a:cubicBezTo>
                <a:cubicBezTo>
                  <a:pt x="1525596" y="1531943"/>
                  <a:pt x="1512251" y="1550994"/>
                  <a:pt x="1493187" y="1556708"/>
                </a:cubicBezTo>
                <a:cubicBezTo>
                  <a:pt x="1493187" y="1556708"/>
                  <a:pt x="1493187" y="1556708"/>
                  <a:pt x="1150039" y="1674820"/>
                </a:cubicBezTo>
                <a:cubicBezTo>
                  <a:pt x="1125256" y="1684344"/>
                  <a:pt x="1096660" y="1671009"/>
                  <a:pt x="1089034" y="1644339"/>
                </a:cubicBezTo>
                <a:cubicBezTo>
                  <a:pt x="1079503" y="1619574"/>
                  <a:pt x="1092847" y="1590999"/>
                  <a:pt x="1117630" y="1583379"/>
                </a:cubicBezTo>
                <a:cubicBezTo>
                  <a:pt x="1117630" y="1583379"/>
                  <a:pt x="1117630" y="1583379"/>
                  <a:pt x="1460779" y="1463363"/>
                </a:cubicBezTo>
                <a:cubicBezTo>
                  <a:pt x="1466975" y="1461459"/>
                  <a:pt x="1473409" y="1460863"/>
                  <a:pt x="1479724" y="1461429"/>
                </a:cubicBezTo>
                <a:close/>
                <a:moveTo>
                  <a:pt x="2034947" y="1454929"/>
                </a:moveTo>
                <a:cubicBezTo>
                  <a:pt x="2055091" y="1456986"/>
                  <a:pt x="2073625" y="1471652"/>
                  <a:pt x="2079328" y="1491683"/>
                </a:cubicBezTo>
                <a:cubicBezTo>
                  <a:pt x="2081229" y="1497407"/>
                  <a:pt x="2081229" y="1501222"/>
                  <a:pt x="2081229" y="1506945"/>
                </a:cubicBezTo>
                <a:cubicBezTo>
                  <a:pt x="2081229" y="1529839"/>
                  <a:pt x="2066021" y="1550825"/>
                  <a:pt x="2043204" y="1558456"/>
                </a:cubicBezTo>
                <a:cubicBezTo>
                  <a:pt x="2043204" y="1558456"/>
                  <a:pt x="2043204" y="1558456"/>
                  <a:pt x="1701020" y="1657662"/>
                </a:cubicBezTo>
                <a:cubicBezTo>
                  <a:pt x="1672505" y="1665293"/>
                  <a:pt x="1643989" y="1650030"/>
                  <a:pt x="1636385" y="1621413"/>
                </a:cubicBezTo>
                <a:cubicBezTo>
                  <a:pt x="1628781" y="1594704"/>
                  <a:pt x="1643989" y="1564179"/>
                  <a:pt x="1672505" y="1556548"/>
                </a:cubicBezTo>
                <a:cubicBezTo>
                  <a:pt x="1672505" y="1556548"/>
                  <a:pt x="1672505" y="1556548"/>
                  <a:pt x="2014689" y="1457343"/>
                </a:cubicBezTo>
                <a:cubicBezTo>
                  <a:pt x="2021343" y="1454958"/>
                  <a:pt x="2028234" y="1454243"/>
                  <a:pt x="2034947" y="1454929"/>
                </a:cubicBezTo>
                <a:close/>
                <a:moveTo>
                  <a:pt x="3729076" y="1449674"/>
                </a:moveTo>
                <a:cubicBezTo>
                  <a:pt x="3750748" y="1453146"/>
                  <a:pt x="3768942" y="1469169"/>
                  <a:pt x="3773220" y="1490533"/>
                </a:cubicBezTo>
                <a:cubicBezTo>
                  <a:pt x="3775124" y="1496230"/>
                  <a:pt x="3775124" y="1500029"/>
                  <a:pt x="3775124" y="1503826"/>
                </a:cubicBezTo>
                <a:cubicBezTo>
                  <a:pt x="3775124" y="1528514"/>
                  <a:pt x="3758002" y="1553203"/>
                  <a:pt x="3733268" y="1558900"/>
                </a:cubicBezTo>
                <a:cubicBezTo>
                  <a:pt x="3733268" y="1558900"/>
                  <a:pt x="3733268" y="1558900"/>
                  <a:pt x="3388949" y="1638661"/>
                </a:cubicBezTo>
                <a:cubicBezTo>
                  <a:pt x="3358507" y="1646258"/>
                  <a:pt x="3328069" y="1627267"/>
                  <a:pt x="3322361" y="1598781"/>
                </a:cubicBezTo>
                <a:cubicBezTo>
                  <a:pt x="3314753" y="1568395"/>
                  <a:pt x="3333778" y="1538010"/>
                  <a:pt x="3362311" y="1530413"/>
                </a:cubicBezTo>
                <a:cubicBezTo>
                  <a:pt x="3362311" y="1530413"/>
                  <a:pt x="3362311" y="1530413"/>
                  <a:pt x="3706634" y="1450653"/>
                </a:cubicBezTo>
                <a:cubicBezTo>
                  <a:pt x="3714244" y="1448755"/>
                  <a:pt x="3721852" y="1448517"/>
                  <a:pt x="3729076" y="1449674"/>
                </a:cubicBezTo>
                <a:close/>
                <a:moveTo>
                  <a:pt x="2595306" y="1449656"/>
                </a:moveTo>
                <a:cubicBezTo>
                  <a:pt x="2616530" y="1453128"/>
                  <a:pt x="2634008" y="1469151"/>
                  <a:pt x="2639715" y="1490515"/>
                </a:cubicBezTo>
                <a:cubicBezTo>
                  <a:pt x="2641617" y="1496212"/>
                  <a:pt x="2641617" y="1500010"/>
                  <a:pt x="2641617" y="1503809"/>
                </a:cubicBezTo>
                <a:cubicBezTo>
                  <a:pt x="2641617" y="1528497"/>
                  <a:pt x="2624496" y="1553184"/>
                  <a:pt x="2597862" y="1558882"/>
                </a:cubicBezTo>
                <a:cubicBezTo>
                  <a:pt x="2597862" y="1558882"/>
                  <a:pt x="2597862" y="1558882"/>
                  <a:pt x="2255431" y="1638643"/>
                </a:cubicBezTo>
                <a:cubicBezTo>
                  <a:pt x="2224992" y="1646239"/>
                  <a:pt x="2194554" y="1627248"/>
                  <a:pt x="2188847" y="1598762"/>
                </a:cubicBezTo>
                <a:cubicBezTo>
                  <a:pt x="2181237" y="1568377"/>
                  <a:pt x="2200261" y="1537992"/>
                  <a:pt x="2228797" y="1530396"/>
                </a:cubicBezTo>
                <a:cubicBezTo>
                  <a:pt x="2228797" y="1530396"/>
                  <a:pt x="2228797" y="1530396"/>
                  <a:pt x="2573131" y="1450635"/>
                </a:cubicBezTo>
                <a:cubicBezTo>
                  <a:pt x="2580740" y="1448736"/>
                  <a:pt x="2588232" y="1448498"/>
                  <a:pt x="2595306" y="1449656"/>
                </a:cubicBezTo>
                <a:close/>
                <a:moveTo>
                  <a:pt x="3137758" y="1442422"/>
                </a:moveTo>
                <a:cubicBezTo>
                  <a:pt x="3170208" y="1436707"/>
                  <a:pt x="3200750" y="1457662"/>
                  <a:pt x="3206474" y="1490047"/>
                </a:cubicBezTo>
                <a:cubicBezTo>
                  <a:pt x="3206474" y="1493857"/>
                  <a:pt x="3208386" y="1497666"/>
                  <a:pt x="3208386" y="1499571"/>
                </a:cubicBezTo>
                <a:cubicBezTo>
                  <a:pt x="3208386" y="1528146"/>
                  <a:pt x="3187387" y="1552912"/>
                  <a:pt x="3158756" y="1558627"/>
                </a:cubicBezTo>
                <a:cubicBezTo>
                  <a:pt x="3158756" y="1558627"/>
                  <a:pt x="3158756" y="1558627"/>
                  <a:pt x="2813246" y="1621493"/>
                </a:cubicBezTo>
                <a:cubicBezTo>
                  <a:pt x="2780793" y="1627208"/>
                  <a:pt x="2750254" y="1606252"/>
                  <a:pt x="2744526" y="1573867"/>
                </a:cubicBezTo>
                <a:cubicBezTo>
                  <a:pt x="2736890" y="1541481"/>
                  <a:pt x="2759798" y="1511001"/>
                  <a:pt x="2792249" y="1505286"/>
                </a:cubicBezTo>
                <a:cubicBezTo>
                  <a:pt x="2792249" y="1505286"/>
                  <a:pt x="2792249" y="1505286"/>
                  <a:pt x="3137758" y="1442422"/>
                </a:cubicBezTo>
                <a:close/>
                <a:moveTo>
                  <a:pt x="4011840" y="1212485"/>
                </a:moveTo>
                <a:lnTo>
                  <a:pt x="4011840" y="1319140"/>
                </a:lnTo>
                <a:lnTo>
                  <a:pt x="3955366" y="1337024"/>
                </a:lnTo>
                <a:cubicBezTo>
                  <a:pt x="3928732" y="1344633"/>
                  <a:pt x="3900198" y="1329414"/>
                  <a:pt x="3890684" y="1302782"/>
                </a:cubicBezTo>
                <a:cubicBezTo>
                  <a:pt x="3883076" y="1276150"/>
                  <a:pt x="3898296" y="1247615"/>
                  <a:pt x="3924928" y="1240007"/>
                </a:cubicBezTo>
                <a:cubicBezTo>
                  <a:pt x="3924928" y="1240007"/>
                  <a:pt x="3924928" y="1240007"/>
                  <a:pt x="4008522" y="1213536"/>
                </a:cubicBezTo>
                <a:close/>
                <a:moveTo>
                  <a:pt x="398307" y="1155612"/>
                </a:moveTo>
                <a:cubicBezTo>
                  <a:pt x="408309" y="1159175"/>
                  <a:pt x="416881" y="1166776"/>
                  <a:pt x="421644" y="1178178"/>
                </a:cubicBezTo>
                <a:cubicBezTo>
                  <a:pt x="425454" y="1183878"/>
                  <a:pt x="425454" y="1189578"/>
                  <a:pt x="425454" y="1195279"/>
                </a:cubicBezTo>
                <a:cubicBezTo>
                  <a:pt x="425454" y="1210481"/>
                  <a:pt x="417834" y="1225680"/>
                  <a:pt x="402594" y="1233281"/>
                </a:cubicBezTo>
                <a:cubicBezTo>
                  <a:pt x="402594" y="1233281"/>
                  <a:pt x="402594" y="1233281"/>
                  <a:pt x="61595" y="1389098"/>
                </a:cubicBezTo>
                <a:cubicBezTo>
                  <a:pt x="40639" y="1398599"/>
                  <a:pt x="15874" y="1389098"/>
                  <a:pt x="6349" y="1368196"/>
                </a:cubicBezTo>
                <a:cubicBezTo>
                  <a:pt x="-3176" y="1347292"/>
                  <a:pt x="6349" y="1322591"/>
                  <a:pt x="27304" y="1313089"/>
                </a:cubicBezTo>
                <a:cubicBezTo>
                  <a:pt x="27304" y="1313089"/>
                  <a:pt x="27304" y="1313089"/>
                  <a:pt x="366398" y="1157275"/>
                </a:cubicBezTo>
                <a:cubicBezTo>
                  <a:pt x="376876" y="1152524"/>
                  <a:pt x="388306" y="1152049"/>
                  <a:pt x="398307" y="1155612"/>
                </a:cubicBezTo>
                <a:close/>
                <a:moveTo>
                  <a:pt x="929385" y="1144384"/>
                </a:moveTo>
                <a:cubicBezTo>
                  <a:pt x="946453" y="1144651"/>
                  <a:pt x="962181" y="1155325"/>
                  <a:pt x="969330" y="1172402"/>
                </a:cubicBezTo>
                <a:cubicBezTo>
                  <a:pt x="973143" y="1178096"/>
                  <a:pt x="973143" y="1183789"/>
                  <a:pt x="973143" y="1189481"/>
                </a:cubicBezTo>
                <a:cubicBezTo>
                  <a:pt x="973143" y="1208456"/>
                  <a:pt x="963611" y="1225533"/>
                  <a:pt x="946453" y="1231226"/>
                </a:cubicBezTo>
                <a:cubicBezTo>
                  <a:pt x="946453" y="1231226"/>
                  <a:pt x="946453" y="1231226"/>
                  <a:pt x="605206" y="1371647"/>
                </a:cubicBezTo>
                <a:cubicBezTo>
                  <a:pt x="582329" y="1381135"/>
                  <a:pt x="555640" y="1369750"/>
                  <a:pt x="546107" y="1346978"/>
                </a:cubicBezTo>
                <a:cubicBezTo>
                  <a:pt x="536576" y="1324207"/>
                  <a:pt x="548014" y="1297641"/>
                  <a:pt x="570891" y="1288153"/>
                </a:cubicBezTo>
                <a:cubicBezTo>
                  <a:pt x="570891" y="1288153"/>
                  <a:pt x="570891" y="1288153"/>
                  <a:pt x="912138" y="1147734"/>
                </a:cubicBezTo>
                <a:cubicBezTo>
                  <a:pt x="917857" y="1145362"/>
                  <a:pt x="923695" y="1144295"/>
                  <a:pt x="929385" y="1144384"/>
                </a:cubicBezTo>
                <a:close/>
                <a:moveTo>
                  <a:pt x="1478252" y="1136777"/>
                </a:moveTo>
                <a:cubicBezTo>
                  <a:pt x="1496621" y="1137668"/>
                  <a:pt x="1513385" y="1149779"/>
                  <a:pt x="1520519" y="1168302"/>
                </a:cubicBezTo>
                <a:cubicBezTo>
                  <a:pt x="1522421" y="1174002"/>
                  <a:pt x="1522421" y="1179701"/>
                  <a:pt x="1522421" y="1185401"/>
                </a:cubicBezTo>
                <a:cubicBezTo>
                  <a:pt x="1522421" y="1204399"/>
                  <a:pt x="1511007" y="1223396"/>
                  <a:pt x="1491984" y="1230995"/>
                </a:cubicBezTo>
                <a:cubicBezTo>
                  <a:pt x="1491984" y="1230995"/>
                  <a:pt x="1491984" y="1230995"/>
                  <a:pt x="1151475" y="1354481"/>
                </a:cubicBezTo>
                <a:cubicBezTo>
                  <a:pt x="1124843" y="1362081"/>
                  <a:pt x="1098211" y="1350681"/>
                  <a:pt x="1088700" y="1325984"/>
                </a:cubicBezTo>
                <a:cubicBezTo>
                  <a:pt x="1081091" y="1301286"/>
                  <a:pt x="1092504" y="1272790"/>
                  <a:pt x="1117234" y="1263291"/>
                </a:cubicBezTo>
                <a:cubicBezTo>
                  <a:pt x="1117234" y="1263291"/>
                  <a:pt x="1117234" y="1263291"/>
                  <a:pt x="1459646" y="1139805"/>
                </a:cubicBezTo>
                <a:cubicBezTo>
                  <a:pt x="1465828" y="1137431"/>
                  <a:pt x="1472129" y="1136480"/>
                  <a:pt x="1478252" y="1136777"/>
                </a:cubicBezTo>
                <a:close/>
                <a:moveTo>
                  <a:pt x="2033027" y="1129690"/>
                </a:moveTo>
                <a:cubicBezTo>
                  <a:pt x="2052752" y="1131563"/>
                  <a:pt x="2070599" y="1144403"/>
                  <a:pt x="2077738" y="1165803"/>
                </a:cubicBezTo>
                <a:cubicBezTo>
                  <a:pt x="2079641" y="1169608"/>
                  <a:pt x="2079641" y="1175315"/>
                  <a:pt x="2079641" y="1181022"/>
                </a:cubicBezTo>
                <a:cubicBezTo>
                  <a:pt x="2079641" y="1201947"/>
                  <a:pt x="2066315" y="1222871"/>
                  <a:pt x="2043467" y="1228577"/>
                </a:cubicBezTo>
                <a:cubicBezTo>
                  <a:pt x="2043467" y="1228577"/>
                  <a:pt x="2043467" y="1228577"/>
                  <a:pt x="1702708" y="1337007"/>
                </a:cubicBezTo>
                <a:cubicBezTo>
                  <a:pt x="1674153" y="1344616"/>
                  <a:pt x="1645598" y="1329398"/>
                  <a:pt x="1637983" y="1302766"/>
                </a:cubicBezTo>
                <a:cubicBezTo>
                  <a:pt x="1630368" y="1276134"/>
                  <a:pt x="1643694" y="1247600"/>
                  <a:pt x="1670346" y="1239991"/>
                </a:cubicBezTo>
                <a:cubicBezTo>
                  <a:pt x="1670346" y="1239991"/>
                  <a:pt x="1670346" y="1239991"/>
                  <a:pt x="2013008" y="1131563"/>
                </a:cubicBezTo>
                <a:cubicBezTo>
                  <a:pt x="2019671" y="1129660"/>
                  <a:pt x="2026453" y="1129066"/>
                  <a:pt x="2033027" y="1129690"/>
                </a:cubicBezTo>
                <a:close/>
                <a:moveTo>
                  <a:pt x="3726352" y="1122412"/>
                </a:moveTo>
                <a:cubicBezTo>
                  <a:pt x="3747340" y="1125377"/>
                  <a:pt x="3765914" y="1140469"/>
                  <a:pt x="3771630" y="1162029"/>
                </a:cubicBezTo>
                <a:cubicBezTo>
                  <a:pt x="3773534" y="1165862"/>
                  <a:pt x="3773534" y="1171611"/>
                  <a:pt x="3773534" y="1175444"/>
                </a:cubicBezTo>
                <a:cubicBezTo>
                  <a:pt x="3773534" y="1200359"/>
                  <a:pt x="3758296" y="1221437"/>
                  <a:pt x="3733528" y="1229103"/>
                </a:cubicBezTo>
                <a:cubicBezTo>
                  <a:pt x="3733528" y="1229103"/>
                  <a:pt x="3733528" y="1229103"/>
                  <a:pt x="3390637" y="1321092"/>
                </a:cubicBezTo>
                <a:cubicBezTo>
                  <a:pt x="3362061" y="1328758"/>
                  <a:pt x="3331580" y="1311508"/>
                  <a:pt x="3323960" y="1282761"/>
                </a:cubicBezTo>
                <a:cubicBezTo>
                  <a:pt x="3316339" y="1254015"/>
                  <a:pt x="3333484" y="1223355"/>
                  <a:pt x="3362061" y="1215690"/>
                </a:cubicBezTo>
                <a:cubicBezTo>
                  <a:pt x="3362061" y="1215690"/>
                  <a:pt x="3362061" y="1215690"/>
                  <a:pt x="3704952" y="1123700"/>
                </a:cubicBezTo>
                <a:cubicBezTo>
                  <a:pt x="3712096" y="1121784"/>
                  <a:pt x="3719358" y="1121424"/>
                  <a:pt x="3726352" y="1122412"/>
                </a:cubicBezTo>
                <a:close/>
                <a:moveTo>
                  <a:pt x="2592851" y="1122392"/>
                </a:moveTo>
                <a:cubicBezTo>
                  <a:pt x="2613837" y="1125356"/>
                  <a:pt x="2632410" y="1140449"/>
                  <a:pt x="2638126" y="1162008"/>
                </a:cubicBezTo>
                <a:cubicBezTo>
                  <a:pt x="2640030" y="1165841"/>
                  <a:pt x="2640030" y="1171591"/>
                  <a:pt x="2640030" y="1175424"/>
                </a:cubicBezTo>
                <a:cubicBezTo>
                  <a:pt x="2640030" y="1200338"/>
                  <a:pt x="2622885" y="1221418"/>
                  <a:pt x="2600026" y="1229084"/>
                </a:cubicBezTo>
                <a:cubicBezTo>
                  <a:pt x="2600026" y="1229084"/>
                  <a:pt x="2600026" y="1229084"/>
                  <a:pt x="2257121" y="1321073"/>
                </a:cubicBezTo>
                <a:cubicBezTo>
                  <a:pt x="2226641" y="1328739"/>
                  <a:pt x="2198066" y="1311491"/>
                  <a:pt x="2190445" y="1282744"/>
                </a:cubicBezTo>
                <a:cubicBezTo>
                  <a:pt x="2182826" y="1253997"/>
                  <a:pt x="2199971" y="1223335"/>
                  <a:pt x="2228546" y="1215669"/>
                </a:cubicBezTo>
                <a:cubicBezTo>
                  <a:pt x="2228546" y="1215669"/>
                  <a:pt x="2228546" y="1215669"/>
                  <a:pt x="2571449" y="1123680"/>
                </a:cubicBezTo>
                <a:cubicBezTo>
                  <a:pt x="2578593" y="1121763"/>
                  <a:pt x="2585856" y="1121404"/>
                  <a:pt x="2592851" y="1122392"/>
                </a:cubicBezTo>
                <a:close/>
                <a:moveTo>
                  <a:pt x="3157611" y="1116352"/>
                </a:moveTo>
                <a:cubicBezTo>
                  <a:pt x="3179267" y="1119924"/>
                  <a:pt x="3197446" y="1136354"/>
                  <a:pt x="3201722" y="1159215"/>
                </a:cubicBezTo>
                <a:cubicBezTo>
                  <a:pt x="3203624" y="1163024"/>
                  <a:pt x="3203624" y="1168739"/>
                  <a:pt x="3203624" y="1172550"/>
                </a:cubicBezTo>
                <a:cubicBezTo>
                  <a:pt x="3203624" y="1197316"/>
                  <a:pt x="3186515" y="1222078"/>
                  <a:pt x="3159900" y="1227794"/>
                </a:cubicBezTo>
                <a:cubicBezTo>
                  <a:pt x="3159900" y="1227794"/>
                  <a:pt x="3159900" y="1227794"/>
                  <a:pt x="2815797" y="1303992"/>
                </a:cubicBezTo>
                <a:cubicBezTo>
                  <a:pt x="2785375" y="1309707"/>
                  <a:pt x="2754960" y="1290657"/>
                  <a:pt x="2747356" y="1260177"/>
                </a:cubicBezTo>
                <a:cubicBezTo>
                  <a:pt x="2741654" y="1229698"/>
                  <a:pt x="2760664" y="1199220"/>
                  <a:pt x="2791085" y="1191600"/>
                </a:cubicBezTo>
                <a:cubicBezTo>
                  <a:pt x="2791085" y="1191600"/>
                  <a:pt x="2791085" y="1191600"/>
                  <a:pt x="3135184" y="1117304"/>
                </a:cubicBezTo>
                <a:cubicBezTo>
                  <a:pt x="3142789" y="1115399"/>
                  <a:pt x="3150393" y="1115161"/>
                  <a:pt x="3157611" y="1116352"/>
                </a:cubicBezTo>
                <a:close/>
                <a:moveTo>
                  <a:pt x="4011840" y="892779"/>
                </a:moveTo>
                <a:lnTo>
                  <a:pt x="4011840" y="999216"/>
                </a:lnTo>
                <a:lnTo>
                  <a:pt x="3957056" y="1017912"/>
                </a:lnTo>
                <a:cubicBezTo>
                  <a:pt x="3930386" y="1025543"/>
                  <a:pt x="3901808" y="1012189"/>
                  <a:pt x="3894188" y="985481"/>
                </a:cubicBezTo>
                <a:cubicBezTo>
                  <a:pt x="3884664" y="960682"/>
                  <a:pt x="3898000" y="932067"/>
                  <a:pt x="3924668" y="922528"/>
                </a:cubicBezTo>
                <a:cubicBezTo>
                  <a:pt x="3924668" y="922528"/>
                  <a:pt x="3924668" y="922528"/>
                  <a:pt x="4007916" y="894118"/>
                </a:cubicBezTo>
                <a:close/>
                <a:moveTo>
                  <a:pt x="398307" y="832461"/>
                </a:moveTo>
                <a:cubicBezTo>
                  <a:pt x="408309" y="836256"/>
                  <a:pt x="416881" y="843848"/>
                  <a:pt x="421644" y="854286"/>
                </a:cubicBezTo>
                <a:cubicBezTo>
                  <a:pt x="425454" y="859979"/>
                  <a:pt x="425454" y="865673"/>
                  <a:pt x="425454" y="871366"/>
                </a:cubicBezTo>
                <a:cubicBezTo>
                  <a:pt x="425454" y="886549"/>
                  <a:pt x="417834" y="901732"/>
                  <a:pt x="400689" y="909323"/>
                </a:cubicBezTo>
                <a:cubicBezTo>
                  <a:pt x="400689" y="909323"/>
                  <a:pt x="400689" y="909323"/>
                  <a:pt x="61595" y="1066847"/>
                </a:cubicBezTo>
                <a:cubicBezTo>
                  <a:pt x="40639" y="1076336"/>
                  <a:pt x="15874" y="1066847"/>
                  <a:pt x="6349" y="1045967"/>
                </a:cubicBezTo>
                <a:cubicBezTo>
                  <a:pt x="-3176" y="1025091"/>
                  <a:pt x="6349" y="1000419"/>
                  <a:pt x="27304" y="990930"/>
                </a:cubicBezTo>
                <a:cubicBezTo>
                  <a:pt x="27304" y="990930"/>
                  <a:pt x="27304" y="990930"/>
                  <a:pt x="366398" y="833409"/>
                </a:cubicBezTo>
                <a:cubicBezTo>
                  <a:pt x="376876" y="828665"/>
                  <a:pt x="388306" y="828665"/>
                  <a:pt x="398307" y="832461"/>
                </a:cubicBezTo>
                <a:close/>
                <a:moveTo>
                  <a:pt x="944785" y="824757"/>
                </a:moveTo>
                <a:cubicBezTo>
                  <a:pt x="955509" y="828790"/>
                  <a:pt x="964564" y="836854"/>
                  <a:pt x="969330" y="848240"/>
                </a:cubicBezTo>
                <a:cubicBezTo>
                  <a:pt x="971236" y="853932"/>
                  <a:pt x="973143" y="859625"/>
                  <a:pt x="973143" y="865318"/>
                </a:cubicBezTo>
                <a:cubicBezTo>
                  <a:pt x="973143" y="882396"/>
                  <a:pt x="963611" y="899474"/>
                  <a:pt x="946453" y="907064"/>
                </a:cubicBezTo>
                <a:cubicBezTo>
                  <a:pt x="946453" y="907064"/>
                  <a:pt x="946453" y="907064"/>
                  <a:pt x="605206" y="1049381"/>
                </a:cubicBezTo>
                <a:cubicBezTo>
                  <a:pt x="582329" y="1058872"/>
                  <a:pt x="555640" y="1047484"/>
                  <a:pt x="546108" y="1024713"/>
                </a:cubicBezTo>
                <a:cubicBezTo>
                  <a:pt x="536576" y="1003840"/>
                  <a:pt x="548014" y="977274"/>
                  <a:pt x="570891" y="967786"/>
                </a:cubicBezTo>
                <a:cubicBezTo>
                  <a:pt x="570891" y="967786"/>
                  <a:pt x="570891" y="967786"/>
                  <a:pt x="910231" y="825469"/>
                </a:cubicBezTo>
                <a:cubicBezTo>
                  <a:pt x="921670" y="820725"/>
                  <a:pt x="934061" y="820725"/>
                  <a:pt x="944785" y="824757"/>
                </a:cubicBezTo>
                <a:close/>
                <a:moveTo>
                  <a:pt x="1476350" y="812922"/>
                </a:moveTo>
                <a:cubicBezTo>
                  <a:pt x="1494719" y="813727"/>
                  <a:pt x="1511483" y="825530"/>
                  <a:pt x="1518617" y="842698"/>
                </a:cubicBezTo>
                <a:cubicBezTo>
                  <a:pt x="1520519" y="848421"/>
                  <a:pt x="1522421" y="854143"/>
                  <a:pt x="1522421" y="859866"/>
                </a:cubicBezTo>
                <a:cubicBezTo>
                  <a:pt x="1522421" y="878941"/>
                  <a:pt x="1511008" y="898017"/>
                  <a:pt x="1491985" y="903740"/>
                </a:cubicBezTo>
                <a:cubicBezTo>
                  <a:pt x="1491985" y="903740"/>
                  <a:pt x="1491985" y="903740"/>
                  <a:pt x="1151476" y="1033454"/>
                </a:cubicBezTo>
                <a:cubicBezTo>
                  <a:pt x="1126746" y="1042992"/>
                  <a:pt x="1100114" y="1031547"/>
                  <a:pt x="1090602" y="1006748"/>
                </a:cubicBezTo>
                <a:cubicBezTo>
                  <a:pt x="1081091" y="981950"/>
                  <a:pt x="1094407" y="955244"/>
                  <a:pt x="1117234" y="945706"/>
                </a:cubicBezTo>
                <a:cubicBezTo>
                  <a:pt x="1117234" y="945706"/>
                  <a:pt x="1117234" y="945706"/>
                  <a:pt x="1457743" y="815992"/>
                </a:cubicBezTo>
                <a:cubicBezTo>
                  <a:pt x="1463926" y="813608"/>
                  <a:pt x="1470227" y="812654"/>
                  <a:pt x="1476350" y="812922"/>
                </a:cubicBezTo>
                <a:close/>
                <a:moveTo>
                  <a:pt x="2032209" y="804237"/>
                </a:moveTo>
                <a:cubicBezTo>
                  <a:pt x="2051146" y="806026"/>
                  <a:pt x="2069005" y="818545"/>
                  <a:pt x="2076148" y="838575"/>
                </a:cubicBezTo>
                <a:cubicBezTo>
                  <a:pt x="2078054" y="844298"/>
                  <a:pt x="2078054" y="848114"/>
                  <a:pt x="2078054" y="853837"/>
                </a:cubicBezTo>
                <a:cubicBezTo>
                  <a:pt x="2078054" y="874821"/>
                  <a:pt x="2064718" y="893898"/>
                  <a:pt x="2043759" y="901528"/>
                </a:cubicBezTo>
                <a:cubicBezTo>
                  <a:pt x="2043759" y="901528"/>
                  <a:pt x="2043759" y="901528"/>
                  <a:pt x="1702759" y="1017896"/>
                </a:cubicBezTo>
                <a:cubicBezTo>
                  <a:pt x="1676089" y="1025527"/>
                  <a:pt x="1649419" y="1012173"/>
                  <a:pt x="1639894" y="985466"/>
                </a:cubicBezTo>
                <a:cubicBezTo>
                  <a:pt x="1630368" y="960666"/>
                  <a:pt x="1645609" y="932051"/>
                  <a:pt x="1670374" y="922513"/>
                </a:cubicBezTo>
                <a:cubicBezTo>
                  <a:pt x="1670374" y="922513"/>
                  <a:pt x="1670374" y="922513"/>
                  <a:pt x="2013278" y="806145"/>
                </a:cubicBezTo>
                <a:cubicBezTo>
                  <a:pt x="2019470" y="804237"/>
                  <a:pt x="2025899" y="803641"/>
                  <a:pt x="2032209" y="804237"/>
                </a:cubicBezTo>
                <a:close/>
                <a:moveTo>
                  <a:pt x="3725236" y="796615"/>
                </a:moveTo>
                <a:cubicBezTo>
                  <a:pt x="3745002" y="798940"/>
                  <a:pt x="3762884" y="812533"/>
                  <a:pt x="3770040" y="832564"/>
                </a:cubicBezTo>
                <a:cubicBezTo>
                  <a:pt x="3770040" y="838288"/>
                  <a:pt x="3771948" y="844011"/>
                  <a:pt x="3771948" y="847826"/>
                </a:cubicBezTo>
                <a:cubicBezTo>
                  <a:pt x="3771948" y="870720"/>
                  <a:pt x="3756688" y="891705"/>
                  <a:pt x="3733792" y="897429"/>
                </a:cubicBezTo>
                <a:cubicBezTo>
                  <a:pt x="3733792" y="897429"/>
                  <a:pt x="3733792" y="897429"/>
                  <a:pt x="3390423" y="1000449"/>
                </a:cubicBezTo>
                <a:cubicBezTo>
                  <a:pt x="3363713" y="1008080"/>
                  <a:pt x="3335097" y="992818"/>
                  <a:pt x="3325558" y="964201"/>
                </a:cubicBezTo>
                <a:cubicBezTo>
                  <a:pt x="3317928" y="937492"/>
                  <a:pt x="3333189" y="908876"/>
                  <a:pt x="3361806" y="899337"/>
                </a:cubicBezTo>
                <a:cubicBezTo>
                  <a:pt x="3361806" y="899337"/>
                  <a:pt x="3361806" y="899337"/>
                  <a:pt x="3705176" y="798224"/>
                </a:cubicBezTo>
                <a:cubicBezTo>
                  <a:pt x="3711854" y="796316"/>
                  <a:pt x="3718648" y="795840"/>
                  <a:pt x="3725236" y="796615"/>
                </a:cubicBezTo>
                <a:close/>
                <a:moveTo>
                  <a:pt x="2591734" y="796597"/>
                </a:moveTo>
                <a:cubicBezTo>
                  <a:pt x="2611497" y="798922"/>
                  <a:pt x="2629381" y="812515"/>
                  <a:pt x="2636535" y="832546"/>
                </a:cubicBezTo>
                <a:cubicBezTo>
                  <a:pt x="2636535" y="838270"/>
                  <a:pt x="2638443" y="843993"/>
                  <a:pt x="2638443" y="847809"/>
                </a:cubicBezTo>
                <a:cubicBezTo>
                  <a:pt x="2638443" y="870702"/>
                  <a:pt x="2623182" y="891688"/>
                  <a:pt x="2600289" y="897411"/>
                </a:cubicBezTo>
                <a:cubicBezTo>
                  <a:pt x="2600289" y="897411"/>
                  <a:pt x="2600289" y="897411"/>
                  <a:pt x="2256905" y="1000432"/>
                </a:cubicBezTo>
                <a:cubicBezTo>
                  <a:pt x="2230197" y="1008063"/>
                  <a:pt x="2201582" y="992801"/>
                  <a:pt x="2192044" y="964184"/>
                </a:cubicBezTo>
                <a:cubicBezTo>
                  <a:pt x="2184413" y="937475"/>
                  <a:pt x="2199674" y="908858"/>
                  <a:pt x="2228290" y="899319"/>
                </a:cubicBezTo>
                <a:cubicBezTo>
                  <a:pt x="2228290" y="899319"/>
                  <a:pt x="2228290" y="899319"/>
                  <a:pt x="2571674" y="798206"/>
                </a:cubicBezTo>
                <a:cubicBezTo>
                  <a:pt x="2578350" y="796299"/>
                  <a:pt x="2585147" y="795822"/>
                  <a:pt x="2591734" y="796597"/>
                </a:cubicBezTo>
                <a:close/>
                <a:moveTo>
                  <a:pt x="3154890" y="787706"/>
                </a:moveTo>
                <a:cubicBezTo>
                  <a:pt x="3175860" y="791188"/>
                  <a:pt x="3194420" y="807261"/>
                  <a:pt x="3200131" y="828693"/>
                </a:cubicBezTo>
                <a:cubicBezTo>
                  <a:pt x="3200131" y="832503"/>
                  <a:pt x="3202035" y="838218"/>
                  <a:pt x="3202035" y="842028"/>
                </a:cubicBezTo>
                <a:cubicBezTo>
                  <a:pt x="3202035" y="866793"/>
                  <a:pt x="3184903" y="887747"/>
                  <a:pt x="3160155" y="895367"/>
                </a:cubicBezTo>
                <a:cubicBezTo>
                  <a:pt x="3160155" y="895367"/>
                  <a:pt x="3160155" y="895367"/>
                  <a:pt x="2817485" y="982997"/>
                </a:cubicBezTo>
                <a:cubicBezTo>
                  <a:pt x="2787025" y="990617"/>
                  <a:pt x="2758469" y="973472"/>
                  <a:pt x="2750856" y="944898"/>
                </a:cubicBezTo>
                <a:cubicBezTo>
                  <a:pt x="2743240" y="914417"/>
                  <a:pt x="2760373" y="885843"/>
                  <a:pt x="2788932" y="878223"/>
                </a:cubicBezTo>
                <a:cubicBezTo>
                  <a:pt x="2788932" y="878223"/>
                  <a:pt x="2788932" y="878223"/>
                  <a:pt x="3133502" y="788688"/>
                </a:cubicBezTo>
                <a:cubicBezTo>
                  <a:pt x="3140640" y="786783"/>
                  <a:pt x="3147899" y="786545"/>
                  <a:pt x="3154890" y="787706"/>
                </a:cubicBezTo>
                <a:close/>
                <a:moveTo>
                  <a:pt x="4011840" y="574461"/>
                </a:moveTo>
                <a:lnTo>
                  <a:pt x="4011840" y="675481"/>
                </a:lnTo>
                <a:lnTo>
                  <a:pt x="3956840" y="695371"/>
                </a:lnTo>
                <a:cubicBezTo>
                  <a:pt x="3932036" y="704870"/>
                  <a:pt x="3903420" y="691571"/>
                  <a:pt x="3895788" y="666874"/>
                </a:cubicBezTo>
                <a:cubicBezTo>
                  <a:pt x="3886250" y="642177"/>
                  <a:pt x="3899604" y="615579"/>
                  <a:pt x="3924406" y="606080"/>
                </a:cubicBezTo>
                <a:cubicBezTo>
                  <a:pt x="3924406" y="606080"/>
                  <a:pt x="3924406" y="606080"/>
                  <a:pt x="4007772" y="575932"/>
                </a:cubicBezTo>
                <a:close/>
                <a:moveTo>
                  <a:pt x="382532" y="506676"/>
                </a:moveTo>
                <a:cubicBezTo>
                  <a:pt x="398784" y="505521"/>
                  <a:pt x="414500" y="514761"/>
                  <a:pt x="421644" y="530400"/>
                </a:cubicBezTo>
                <a:cubicBezTo>
                  <a:pt x="423549" y="536086"/>
                  <a:pt x="425454" y="541773"/>
                  <a:pt x="425454" y="547459"/>
                </a:cubicBezTo>
                <a:cubicBezTo>
                  <a:pt x="425454" y="564519"/>
                  <a:pt x="415929" y="579683"/>
                  <a:pt x="400689" y="585369"/>
                </a:cubicBezTo>
                <a:cubicBezTo>
                  <a:pt x="400689" y="585369"/>
                  <a:pt x="400689" y="585369"/>
                  <a:pt x="61595" y="744593"/>
                </a:cubicBezTo>
                <a:cubicBezTo>
                  <a:pt x="40640" y="754071"/>
                  <a:pt x="15874" y="744593"/>
                  <a:pt x="6349" y="723742"/>
                </a:cubicBezTo>
                <a:cubicBezTo>
                  <a:pt x="-3176" y="702892"/>
                  <a:pt x="6349" y="678250"/>
                  <a:pt x="27304" y="668772"/>
                </a:cubicBezTo>
                <a:cubicBezTo>
                  <a:pt x="27304" y="668772"/>
                  <a:pt x="27304" y="668772"/>
                  <a:pt x="366399" y="511444"/>
                </a:cubicBezTo>
                <a:cubicBezTo>
                  <a:pt x="371637" y="508601"/>
                  <a:pt x="377114" y="507061"/>
                  <a:pt x="382532" y="506676"/>
                </a:cubicBezTo>
                <a:close/>
                <a:moveTo>
                  <a:pt x="943575" y="500954"/>
                </a:moveTo>
                <a:cubicBezTo>
                  <a:pt x="954275" y="505007"/>
                  <a:pt x="963310" y="513114"/>
                  <a:pt x="968066" y="524559"/>
                </a:cubicBezTo>
                <a:cubicBezTo>
                  <a:pt x="969968" y="530281"/>
                  <a:pt x="969968" y="536004"/>
                  <a:pt x="969968" y="541726"/>
                </a:cubicBezTo>
                <a:cubicBezTo>
                  <a:pt x="969968" y="558893"/>
                  <a:pt x="960457" y="574153"/>
                  <a:pt x="945239" y="581783"/>
                </a:cubicBezTo>
                <a:cubicBezTo>
                  <a:pt x="945239" y="581783"/>
                  <a:pt x="945239" y="581783"/>
                  <a:pt x="604741" y="728657"/>
                </a:cubicBezTo>
                <a:cubicBezTo>
                  <a:pt x="581914" y="738195"/>
                  <a:pt x="557185" y="728657"/>
                  <a:pt x="547674" y="705768"/>
                </a:cubicBezTo>
                <a:cubicBezTo>
                  <a:pt x="538163" y="682878"/>
                  <a:pt x="547674" y="658081"/>
                  <a:pt x="570501" y="648544"/>
                </a:cubicBezTo>
                <a:cubicBezTo>
                  <a:pt x="570501" y="648544"/>
                  <a:pt x="570501" y="648544"/>
                  <a:pt x="909097" y="501669"/>
                </a:cubicBezTo>
                <a:cubicBezTo>
                  <a:pt x="920510" y="496901"/>
                  <a:pt x="932875" y="496901"/>
                  <a:pt x="943575" y="500954"/>
                </a:cubicBezTo>
                <a:close/>
                <a:moveTo>
                  <a:pt x="1475768" y="488758"/>
                </a:moveTo>
                <a:cubicBezTo>
                  <a:pt x="1493806" y="489026"/>
                  <a:pt x="1511308" y="499727"/>
                  <a:pt x="1517023" y="516849"/>
                </a:cubicBezTo>
                <a:cubicBezTo>
                  <a:pt x="1520833" y="522557"/>
                  <a:pt x="1520833" y="528264"/>
                  <a:pt x="1520833" y="533972"/>
                </a:cubicBezTo>
                <a:cubicBezTo>
                  <a:pt x="1520833" y="552997"/>
                  <a:pt x="1509403" y="570119"/>
                  <a:pt x="1492258" y="577729"/>
                </a:cubicBezTo>
                <a:cubicBezTo>
                  <a:pt x="1492258" y="577729"/>
                  <a:pt x="1492258" y="577729"/>
                  <a:pt x="1151259" y="712805"/>
                </a:cubicBezTo>
                <a:cubicBezTo>
                  <a:pt x="1128399" y="722318"/>
                  <a:pt x="1101728" y="710903"/>
                  <a:pt x="1092203" y="686170"/>
                </a:cubicBezTo>
                <a:cubicBezTo>
                  <a:pt x="1082678" y="663341"/>
                  <a:pt x="1094108" y="636706"/>
                  <a:pt x="1116969" y="627193"/>
                </a:cubicBezTo>
                <a:cubicBezTo>
                  <a:pt x="1116969" y="627193"/>
                  <a:pt x="1116969" y="627193"/>
                  <a:pt x="1457968" y="492117"/>
                </a:cubicBezTo>
                <a:cubicBezTo>
                  <a:pt x="1463683" y="489739"/>
                  <a:pt x="1469755" y="488669"/>
                  <a:pt x="1475768" y="488758"/>
                </a:cubicBezTo>
                <a:close/>
                <a:moveTo>
                  <a:pt x="2030557" y="479549"/>
                </a:moveTo>
                <a:cubicBezTo>
                  <a:pt x="2049519" y="480439"/>
                  <a:pt x="2067405" y="492550"/>
                  <a:pt x="2074559" y="511073"/>
                </a:cubicBezTo>
                <a:cubicBezTo>
                  <a:pt x="2076467" y="516773"/>
                  <a:pt x="2076467" y="522472"/>
                  <a:pt x="2076467" y="528172"/>
                </a:cubicBezTo>
                <a:cubicBezTo>
                  <a:pt x="2076467" y="547170"/>
                  <a:pt x="2065020" y="566167"/>
                  <a:pt x="2045938" y="571867"/>
                </a:cubicBezTo>
                <a:cubicBezTo>
                  <a:pt x="2045938" y="571867"/>
                  <a:pt x="2045938" y="571867"/>
                  <a:pt x="1702543" y="695353"/>
                </a:cubicBezTo>
                <a:cubicBezTo>
                  <a:pt x="1677743" y="704852"/>
                  <a:pt x="1651034" y="691554"/>
                  <a:pt x="1641495" y="666857"/>
                </a:cubicBezTo>
                <a:cubicBezTo>
                  <a:pt x="1631957" y="642159"/>
                  <a:pt x="1645311" y="615562"/>
                  <a:pt x="1670112" y="606063"/>
                </a:cubicBezTo>
                <a:cubicBezTo>
                  <a:pt x="1670112" y="606063"/>
                  <a:pt x="1670112" y="606063"/>
                  <a:pt x="2011599" y="482577"/>
                </a:cubicBezTo>
                <a:cubicBezTo>
                  <a:pt x="2017799" y="480202"/>
                  <a:pt x="2024238" y="479252"/>
                  <a:pt x="2030557" y="479549"/>
                </a:cubicBezTo>
                <a:close/>
                <a:moveTo>
                  <a:pt x="3723552" y="470397"/>
                </a:moveTo>
                <a:cubicBezTo>
                  <a:pt x="3743256" y="471917"/>
                  <a:pt x="3760808" y="485509"/>
                  <a:pt x="3766538" y="505539"/>
                </a:cubicBezTo>
                <a:cubicBezTo>
                  <a:pt x="3768448" y="511262"/>
                  <a:pt x="3770360" y="515077"/>
                  <a:pt x="3770360" y="520800"/>
                </a:cubicBezTo>
                <a:cubicBezTo>
                  <a:pt x="3770360" y="541785"/>
                  <a:pt x="3756988" y="560861"/>
                  <a:pt x="3734060" y="568492"/>
                </a:cubicBezTo>
                <a:cubicBezTo>
                  <a:pt x="3734060" y="568492"/>
                  <a:pt x="3734060" y="568492"/>
                  <a:pt x="3392112" y="681044"/>
                </a:cubicBezTo>
                <a:cubicBezTo>
                  <a:pt x="3365365" y="690583"/>
                  <a:pt x="3336709" y="675321"/>
                  <a:pt x="3329066" y="648614"/>
                </a:cubicBezTo>
                <a:cubicBezTo>
                  <a:pt x="3319515" y="621907"/>
                  <a:pt x="3334799" y="595199"/>
                  <a:pt x="3359633" y="585661"/>
                </a:cubicBezTo>
                <a:cubicBezTo>
                  <a:pt x="3359633" y="585661"/>
                  <a:pt x="3359633" y="585661"/>
                  <a:pt x="3703492" y="473109"/>
                </a:cubicBezTo>
                <a:cubicBezTo>
                  <a:pt x="3710178" y="470724"/>
                  <a:pt x="3716984" y="469890"/>
                  <a:pt x="3723552" y="470397"/>
                </a:cubicBezTo>
                <a:close/>
                <a:moveTo>
                  <a:pt x="2590051" y="470376"/>
                </a:moveTo>
                <a:cubicBezTo>
                  <a:pt x="2609752" y="471896"/>
                  <a:pt x="2627304" y="485489"/>
                  <a:pt x="2633035" y="505519"/>
                </a:cubicBezTo>
                <a:cubicBezTo>
                  <a:pt x="2634946" y="511242"/>
                  <a:pt x="2636856" y="515058"/>
                  <a:pt x="2636856" y="520780"/>
                </a:cubicBezTo>
                <a:cubicBezTo>
                  <a:pt x="2636856" y="541765"/>
                  <a:pt x="2623484" y="560842"/>
                  <a:pt x="2600558" y="568472"/>
                </a:cubicBezTo>
                <a:cubicBezTo>
                  <a:pt x="2600558" y="568472"/>
                  <a:pt x="2600558" y="568472"/>
                  <a:pt x="2258596" y="681025"/>
                </a:cubicBezTo>
                <a:cubicBezTo>
                  <a:pt x="2231850" y="690563"/>
                  <a:pt x="2203194" y="675302"/>
                  <a:pt x="2195553" y="648594"/>
                </a:cubicBezTo>
                <a:cubicBezTo>
                  <a:pt x="2186001" y="621887"/>
                  <a:pt x="2201284" y="595180"/>
                  <a:pt x="2226119" y="585641"/>
                </a:cubicBezTo>
                <a:cubicBezTo>
                  <a:pt x="2226119" y="585641"/>
                  <a:pt x="2226119" y="585641"/>
                  <a:pt x="2569992" y="473089"/>
                </a:cubicBezTo>
                <a:cubicBezTo>
                  <a:pt x="2576678" y="470704"/>
                  <a:pt x="2583484" y="469870"/>
                  <a:pt x="2590051" y="470376"/>
                </a:cubicBezTo>
                <a:close/>
                <a:moveTo>
                  <a:pt x="3153226" y="461684"/>
                </a:moveTo>
                <a:cubicBezTo>
                  <a:pt x="3173703" y="464098"/>
                  <a:pt x="3191231" y="478049"/>
                  <a:pt x="3196954" y="499511"/>
                </a:cubicBezTo>
                <a:cubicBezTo>
                  <a:pt x="3198860" y="503327"/>
                  <a:pt x="3198860" y="509050"/>
                  <a:pt x="3198860" y="512866"/>
                </a:cubicBezTo>
                <a:cubicBezTo>
                  <a:pt x="3198860" y="535759"/>
                  <a:pt x="3185507" y="556745"/>
                  <a:pt x="3162616" y="564376"/>
                </a:cubicBezTo>
                <a:cubicBezTo>
                  <a:pt x="3162616" y="564376"/>
                  <a:pt x="3162616" y="564376"/>
                  <a:pt x="2819228" y="665488"/>
                </a:cubicBezTo>
                <a:cubicBezTo>
                  <a:pt x="2790614" y="673120"/>
                  <a:pt x="2761996" y="657857"/>
                  <a:pt x="2754367" y="629241"/>
                </a:cubicBezTo>
                <a:cubicBezTo>
                  <a:pt x="2744828" y="602531"/>
                  <a:pt x="2761996" y="572007"/>
                  <a:pt x="2788705" y="564376"/>
                </a:cubicBezTo>
                <a:cubicBezTo>
                  <a:pt x="2788705" y="564376"/>
                  <a:pt x="2788705" y="564376"/>
                  <a:pt x="3132091" y="463264"/>
                </a:cubicBezTo>
                <a:cubicBezTo>
                  <a:pt x="3139247" y="461356"/>
                  <a:pt x="3146400" y="460879"/>
                  <a:pt x="3153226" y="461684"/>
                </a:cubicBezTo>
                <a:close/>
                <a:moveTo>
                  <a:pt x="4011840" y="256161"/>
                </a:moveTo>
                <a:lnTo>
                  <a:pt x="4011840" y="354991"/>
                </a:lnTo>
                <a:lnTo>
                  <a:pt x="3956616" y="376246"/>
                </a:lnTo>
                <a:cubicBezTo>
                  <a:pt x="3933692" y="385784"/>
                  <a:pt x="3906944" y="374339"/>
                  <a:pt x="3897392" y="349541"/>
                </a:cubicBezTo>
                <a:cubicBezTo>
                  <a:pt x="3887836" y="326650"/>
                  <a:pt x="3899300" y="299944"/>
                  <a:pt x="3924140" y="290406"/>
                </a:cubicBezTo>
                <a:cubicBezTo>
                  <a:pt x="3924140" y="290406"/>
                  <a:pt x="3924140" y="290406"/>
                  <a:pt x="4007626" y="257806"/>
                </a:cubicBezTo>
                <a:close/>
                <a:moveTo>
                  <a:pt x="398308" y="186349"/>
                </a:moveTo>
                <a:cubicBezTo>
                  <a:pt x="408309" y="190145"/>
                  <a:pt x="416882" y="197736"/>
                  <a:pt x="421644" y="208174"/>
                </a:cubicBezTo>
                <a:cubicBezTo>
                  <a:pt x="423549" y="213868"/>
                  <a:pt x="425454" y="219561"/>
                  <a:pt x="425454" y="225255"/>
                </a:cubicBezTo>
                <a:cubicBezTo>
                  <a:pt x="425454" y="240437"/>
                  <a:pt x="415929" y="255620"/>
                  <a:pt x="400689" y="263212"/>
                </a:cubicBezTo>
                <a:cubicBezTo>
                  <a:pt x="400689" y="263212"/>
                  <a:pt x="400689" y="263212"/>
                  <a:pt x="61595" y="420733"/>
                </a:cubicBezTo>
                <a:cubicBezTo>
                  <a:pt x="42545" y="430222"/>
                  <a:pt x="17780" y="422630"/>
                  <a:pt x="6349" y="401754"/>
                </a:cubicBezTo>
                <a:cubicBezTo>
                  <a:pt x="-3176" y="380878"/>
                  <a:pt x="6349" y="356206"/>
                  <a:pt x="27305" y="346717"/>
                </a:cubicBezTo>
                <a:cubicBezTo>
                  <a:pt x="27305" y="346717"/>
                  <a:pt x="27305" y="346717"/>
                  <a:pt x="366399" y="187298"/>
                </a:cubicBezTo>
                <a:cubicBezTo>
                  <a:pt x="376876" y="182554"/>
                  <a:pt x="388306" y="182554"/>
                  <a:pt x="398308" y="186349"/>
                </a:cubicBezTo>
                <a:close/>
                <a:moveTo>
                  <a:pt x="942624" y="176854"/>
                </a:moveTo>
                <a:cubicBezTo>
                  <a:pt x="952848" y="180664"/>
                  <a:pt x="961408" y="188284"/>
                  <a:pt x="966164" y="198761"/>
                </a:cubicBezTo>
                <a:cubicBezTo>
                  <a:pt x="968066" y="204476"/>
                  <a:pt x="969968" y="212096"/>
                  <a:pt x="969968" y="217811"/>
                </a:cubicBezTo>
                <a:cubicBezTo>
                  <a:pt x="969968" y="233051"/>
                  <a:pt x="960457" y="250196"/>
                  <a:pt x="945239" y="255911"/>
                </a:cubicBezTo>
                <a:cubicBezTo>
                  <a:pt x="945239" y="255911"/>
                  <a:pt x="945239" y="255911"/>
                  <a:pt x="604741" y="406406"/>
                </a:cubicBezTo>
                <a:cubicBezTo>
                  <a:pt x="583816" y="415931"/>
                  <a:pt x="557185" y="406406"/>
                  <a:pt x="547674" y="385451"/>
                </a:cubicBezTo>
                <a:cubicBezTo>
                  <a:pt x="538163" y="362591"/>
                  <a:pt x="547674" y="337826"/>
                  <a:pt x="570501" y="328301"/>
                </a:cubicBezTo>
                <a:cubicBezTo>
                  <a:pt x="570501" y="328301"/>
                  <a:pt x="570501" y="328301"/>
                  <a:pt x="909097" y="177807"/>
                </a:cubicBezTo>
                <a:cubicBezTo>
                  <a:pt x="920510" y="173044"/>
                  <a:pt x="932399" y="173044"/>
                  <a:pt x="942624" y="176854"/>
                </a:cubicBezTo>
                <a:close/>
                <a:moveTo>
                  <a:pt x="1492476" y="167542"/>
                </a:moveTo>
                <a:cubicBezTo>
                  <a:pt x="1503199" y="171579"/>
                  <a:pt x="1512255" y="179654"/>
                  <a:pt x="1517021" y="191054"/>
                </a:cubicBezTo>
                <a:cubicBezTo>
                  <a:pt x="1518927" y="196754"/>
                  <a:pt x="1520833" y="202454"/>
                  <a:pt x="1520833" y="208154"/>
                </a:cubicBezTo>
                <a:cubicBezTo>
                  <a:pt x="1520833" y="227154"/>
                  <a:pt x="1509395" y="242354"/>
                  <a:pt x="1492238" y="249954"/>
                </a:cubicBezTo>
                <a:cubicBezTo>
                  <a:pt x="1492238" y="249954"/>
                  <a:pt x="1492238" y="249954"/>
                  <a:pt x="1150990" y="390554"/>
                </a:cubicBezTo>
                <a:cubicBezTo>
                  <a:pt x="1128114" y="400054"/>
                  <a:pt x="1103330" y="390554"/>
                  <a:pt x="1093798" y="367754"/>
                </a:cubicBezTo>
                <a:cubicBezTo>
                  <a:pt x="1084266" y="343054"/>
                  <a:pt x="1093798" y="318354"/>
                  <a:pt x="1116675" y="308854"/>
                </a:cubicBezTo>
                <a:cubicBezTo>
                  <a:pt x="1116675" y="308854"/>
                  <a:pt x="1116675" y="308854"/>
                  <a:pt x="1457922" y="168254"/>
                </a:cubicBezTo>
                <a:cubicBezTo>
                  <a:pt x="1469361" y="163504"/>
                  <a:pt x="1481752" y="163504"/>
                  <a:pt x="1492476" y="167542"/>
                </a:cubicBezTo>
                <a:close/>
                <a:moveTo>
                  <a:pt x="2010467" y="156857"/>
                </a:moveTo>
                <a:cubicBezTo>
                  <a:pt x="2035214" y="149227"/>
                  <a:pt x="2061870" y="160672"/>
                  <a:pt x="2071388" y="183563"/>
                </a:cubicBezTo>
                <a:cubicBezTo>
                  <a:pt x="2073292" y="189286"/>
                  <a:pt x="2073292" y="195008"/>
                  <a:pt x="2073292" y="200731"/>
                </a:cubicBezTo>
                <a:cubicBezTo>
                  <a:pt x="2073292" y="219807"/>
                  <a:pt x="2061870" y="236975"/>
                  <a:pt x="2044733" y="244605"/>
                </a:cubicBezTo>
                <a:cubicBezTo>
                  <a:pt x="2044733" y="244605"/>
                  <a:pt x="2044733" y="244605"/>
                  <a:pt x="1703979" y="376227"/>
                </a:cubicBezTo>
                <a:cubicBezTo>
                  <a:pt x="1679231" y="385765"/>
                  <a:pt x="1652580" y="374320"/>
                  <a:pt x="1643062" y="349521"/>
                </a:cubicBezTo>
                <a:cubicBezTo>
                  <a:pt x="1633544" y="326630"/>
                  <a:pt x="1644966" y="299925"/>
                  <a:pt x="1669713" y="290387"/>
                </a:cubicBezTo>
                <a:cubicBezTo>
                  <a:pt x="1669713" y="290387"/>
                  <a:pt x="1669713" y="290387"/>
                  <a:pt x="2010467" y="156857"/>
                </a:cubicBezTo>
                <a:close/>
                <a:moveTo>
                  <a:pt x="3720656" y="144606"/>
                </a:moveTo>
                <a:cubicBezTo>
                  <a:pt x="3739812" y="145497"/>
                  <a:pt x="3756568" y="157608"/>
                  <a:pt x="3763698" y="176130"/>
                </a:cubicBezTo>
                <a:cubicBezTo>
                  <a:pt x="3765600" y="181830"/>
                  <a:pt x="3765600" y="187529"/>
                  <a:pt x="3765600" y="193228"/>
                </a:cubicBezTo>
                <a:cubicBezTo>
                  <a:pt x="3765600" y="212226"/>
                  <a:pt x="3754192" y="231224"/>
                  <a:pt x="3735180" y="238823"/>
                </a:cubicBezTo>
                <a:cubicBezTo>
                  <a:pt x="3735180" y="238823"/>
                  <a:pt x="3735180" y="238823"/>
                  <a:pt x="3393028" y="360410"/>
                </a:cubicBezTo>
                <a:cubicBezTo>
                  <a:pt x="3368312" y="369909"/>
                  <a:pt x="3341701" y="356611"/>
                  <a:pt x="3332195" y="331913"/>
                </a:cubicBezTo>
                <a:cubicBezTo>
                  <a:pt x="3322691" y="307216"/>
                  <a:pt x="3335998" y="278719"/>
                  <a:pt x="3360708" y="271120"/>
                </a:cubicBezTo>
                <a:cubicBezTo>
                  <a:pt x="3360708" y="271120"/>
                  <a:pt x="3360708" y="271120"/>
                  <a:pt x="3700964" y="147634"/>
                </a:cubicBezTo>
                <a:cubicBezTo>
                  <a:pt x="3707616" y="145259"/>
                  <a:pt x="3714268" y="144309"/>
                  <a:pt x="3720656" y="144606"/>
                </a:cubicBezTo>
                <a:close/>
                <a:moveTo>
                  <a:pt x="2586993" y="144584"/>
                </a:moveTo>
                <a:cubicBezTo>
                  <a:pt x="2606219" y="145475"/>
                  <a:pt x="2623032" y="157586"/>
                  <a:pt x="2630185" y="176109"/>
                </a:cubicBezTo>
                <a:cubicBezTo>
                  <a:pt x="2632093" y="181808"/>
                  <a:pt x="2632093" y="187507"/>
                  <a:pt x="2632093" y="193207"/>
                </a:cubicBezTo>
                <a:cubicBezTo>
                  <a:pt x="2632093" y="212205"/>
                  <a:pt x="2620647" y="231203"/>
                  <a:pt x="2601569" y="238802"/>
                </a:cubicBezTo>
                <a:cubicBezTo>
                  <a:pt x="2601569" y="238802"/>
                  <a:pt x="2601569" y="238802"/>
                  <a:pt x="2258175" y="360389"/>
                </a:cubicBezTo>
                <a:cubicBezTo>
                  <a:pt x="2233374" y="369888"/>
                  <a:pt x="2206666" y="356589"/>
                  <a:pt x="2197127" y="331892"/>
                </a:cubicBezTo>
                <a:cubicBezTo>
                  <a:pt x="2187588" y="307194"/>
                  <a:pt x="2200942" y="278697"/>
                  <a:pt x="2225743" y="271098"/>
                </a:cubicBezTo>
                <a:cubicBezTo>
                  <a:pt x="2225743" y="271098"/>
                  <a:pt x="2225743" y="271098"/>
                  <a:pt x="2567230" y="147612"/>
                </a:cubicBezTo>
                <a:cubicBezTo>
                  <a:pt x="2573907" y="145237"/>
                  <a:pt x="2580584" y="144287"/>
                  <a:pt x="2586993" y="144584"/>
                </a:cubicBezTo>
                <a:close/>
                <a:moveTo>
                  <a:pt x="3149047" y="135359"/>
                </a:moveTo>
                <a:cubicBezTo>
                  <a:pt x="3168678" y="136779"/>
                  <a:pt x="3186167" y="149921"/>
                  <a:pt x="3191878" y="168391"/>
                </a:cubicBezTo>
                <a:cubicBezTo>
                  <a:pt x="3193782" y="174073"/>
                  <a:pt x="3195685" y="179756"/>
                  <a:pt x="3195685" y="185439"/>
                </a:cubicBezTo>
                <a:cubicBezTo>
                  <a:pt x="3195685" y="206277"/>
                  <a:pt x="3182361" y="225220"/>
                  <a:pt x="3161420" y="232797"/>
                </a:cubicBezTo>
                <a:cubicBezTo>
                  <a:pt x="3161420" y="232797"/>
                  <a:pt x="3161420" y="232797"/>
                  <a:pt x="2818756" y="344562"/>
                </a:cubicBezTo>
                <a:cubicBezTo>
                  <a:pt x="2794009" y="354034"/>
                  <a:pt x="2765451" y="338879"/>
                  <a:pt x="2755934" y="314253"/>
                </a:cubicBezTo>
                <a:cubicBezTo>
                  <a:pt x="2746414" y="287733"/>
                  <a:pt x="2761644" y="259318"/>
                  <a:pt x="2788299" y="249846"/>
                </a:cubicBezTo>
                <a:cubicBezTo>
                  <a:pt x="2788299" y="249846"/>
                  <a:pt x="2788299" y="249846"/>
                  <a:pt x="3129056" y="138082"/>
                </a:cubicBezTo>
                <a:cubicBezTo>
                  <a:pt x="3135720" y="135714"/>
                  <a:pt x="3142503" y="134885"/>
                  <a:pt x="3149047" y="135359"/>
                </a:cubicBezTo>
                <a:close/>
                <a:moveTo>
                  <a:pt x="3898002" y="24"/>
                </a:moveTo>
                <a:cubicBezTo>
                  <a:pt x="3898002" y="24"/>
                  <a:pt x="3898002" y="24"/>
                  <a:pt x="3980112" y="24"/>
                </a:cubicBezTo>
                <a:lnTo>
                  <a:pt x="4011840" y="24"/>
                </a:lnTo>
                <a:lnTo>
                  <a:pt x="4011840" y="33605"/>
                </a:lnTo>
                <a:lnTo>
                  <a:pt x="3959064" y="55540"/>
                </a:lnTo>
                <a:cubicBezTo>
                  <a:pt x="3936168" y="65112"/>
                  <a:pt x="3909452" y="53625"/>
                  <a:pt x="3899912" y="30653"/>
                </a:cubicBezTo>
                <a:cubicBezTo>
                  <a:pt x="3896096" y="21082"/>
                  <a:pt x="3894188" y="9595"/>
                  <a:pt x="3898002" y="24"/>
                </a:cubicBezTo>
                <a:close/>
                <a:moveTo>
                  <a:pt x="3332212" y="24"/>
                </a:moveTo>
                <a:cubicBezTo>
                  <a:pt x="3332212" y="24"/>
                  <a:pt x="3332212" y="24"/>
                  <a:pt x="3497315" y="24"/>
                </a:cubicBezTo>
                <a:cubicBezTo>
                  <a:pt x="3497315" y="24"/>
                  <a:pt x="3497315" y="24"/>
                  <a:pt x="3394843" y="41665"/>
                </a:cubicBezTo>
                <a:cubicBezTo>
                  <a:pt x="3370170" y="49236"/>
                  <a:pt x="3343601" y="37880"/>
                  <a:pt x="3334111" y="15166"/>
                </a:cubicBezTo>
                <a:cubicBezTo>
                  <a:pt x="3332212" y="9488"/>
                  <a:pt x="3332212" y="5702"/>
                  <a:pt x="3332212" y="24"/>
                </a:cubicBezTo>
                <a:close/>
                <a:moveTo>
                  <a:pt x="2760703" y="23"/>
                </a:moveTo>
                <a:cubicBezTo>
                  <a:pt x="2760703" y="23"/>
                  <a:pt x="2760703" y="23"/>
                  <a:pt x="2890880" y="23"/>
                </a:cubicBezTo>
                <a:cubicBezTo>
                  <a:pt x="2890880" y="23"/>
                  <a:pt x="2890880" y="23"/>
                  <a:pt x="2821076" y="27187"/>
                </a:cubicBezTo>
                <a:cubicBezTo>
                  <a:pt x="2796551" y="34949"/>
                  <a:pt x="2772024" y="23307"/>
                  <a:pt x="2760703" y="23"/>
                </a:cubicBezTo>
                <a:close/>
                <a:moveTo>
                  <a:pt x="76928" y="9"/>
                </a:moveTo>
                <a:cubicBezTo>
                  <a:pt x="76928" y="9"/>
                  <a:pt x="76928" y="9"/>
                  <a:pt x="271465" y="9"/>
                </a:cubicBezTo>
                <a:cubicBezTo>
                  <a:pt x="271465" y="9"/>
                  <a:pt x="271465" y="9"/>
                  <a:pt x="63577" y="99939"/>
                </a:cubicBezTo>
                <a:cubicBezTo>
                  <a:pt x="42598" y="109547"/>
                  <a:pt x="17804" y="101861"/>
                  <a:pt x="8268" y="80722"/>
                </a:cubicBezTo>
                <a:cubicBezTo>
                  <a:pt x="-3175" y="59583"/>
                  <a:pt x="6361" y="34600"/>
                  <a:pt x="27340" y="24992"/>
                </a:cubicBezTo>
                <a:cubicBezTo>
                  <a:pt x="27340" y="24992"/>
                  <a:pt x="27340" y="24992"/>
                  <a:pt x="76928" y="9"/>
                </a:cubicBezTo>
                <a:close/>
                <a:moveTo>
                  <a:pt x="583733" y="7"/>
                </a:moveTo>
                <a:cubicBezTo>
                  <a:pt x="583733" y="7"/>
                  <a:pt x="583733" y="7"/>
                  <a:pt x="792167" y="7"/>
                </a:cubicBezTo>
                <a:cubicBezTo>
                  <a:pt x="792167" y="7"/>
                  <a:pt x="792167" y="7"/>
                  <a:pt x="604767" y="83827"/>
                </a:cubicBezTo>
                <a:cubicBezTo>
                  <a:pt x="583733" y="95257"/>
                  <a:pt x="558874" y="85732"/>
                  <a:pt x="549312" y="62872"/>
                </a:cubicBezTo>
                <a:cubicBezTo>
                  <a:pt x="539751" y="41917"/>
                  <a:pt x="549312" y="17152"/>
                  <a:pt x="570347" y="7627"/>
                </a:cubicBezTo>
                <a:cubicBezTo>
                  <a:pt x="570347" y="7627"/>
                  <a:pt x="570347" y="7627"/>
                  <a:pt x="583733" y="7"/>
                </a:cubicBezTo>
                <a:close/>
                <a:moveTo>
                  <a:pt x="1102307" y="5"/>
                </a:moveTo>
                <a:cubicBezTo>
                  <a:pt x="1102307" y="5"/>
                  <a:pt x="1102307" y="5"/>
                  <a:pt x="1312869" y="5"/>
                </a:cubicBezTo>
                <a:cubicBezTo>
                  <a:pt x="1312869" y="5"/>
                  <a:pt x="1312869" y="5"/>
                  <a:pt x="1153525" y="71329"/>
                </a:cubicBezTo>
                <a:cubicBezTo>
                  <a:pt x="1130761" y="80968"/>
                  <a:pt x="1104204" y="69401"/>
                  <a:pt x="1094719" y="48197"/>
                </a:cubicBezTo>
                <a:cubicBezTo>
                  <a:pt x="1089028" y="30848"/>
                  <a:pt x="1090925" y="13498"/>
                  <a:pt x="1102307" y="5"/>
                </a:cubicBezTo>
                <a:close/>
                <a:moveTo>
                  <a:pt x="1643393" y="2"/>
                </a:moveTo>
                <a:cubicBezTo>
                  <a:pt x="1643393" y="2"/>
                  <a:pt x="1643393" y="2"/>
                  <a:pt x="1838335" y="2"/>
                </a:cubicBezTo>
                <a:cubicBezTo>
                  <a:pt x="1838335" y="2"/>
                  <a:pt x="1838335" y="2"/>
                  <a:pt x="1704551" y="55519"/>
                </a:cubicBezTo>
                <a:cubicBezTo>
                  <a:pt x="1681617" y="65090"/>
                  <a:pt x="1654860" y="53604"/>
                  <a:pt x="1645304" y="30632"/>
                </a:cubicBezTo>
                <a:cubicBezTo>
                  <a:pt x="1641482" y="21060"/>
                  <a:pt x="1641482" y="9574"/>
                  <a:pt x="1643393" y="2"/>
                </a:cubicBezTo>
                <a:close/>
                <a:moveTo>
                  <a:pt x="2197113" y="0"/>
                </a:moveTo>
                <a:cubicBezTo>
                  <a:pt x="2197113" y="0"/>
                  <a:pt x="2197113" y="0"/>
                  <a:pt x="2363803" y="0"/>
                </a:cubicBezTo>
                <a:cubicBezTo>
                  <a:pt x="2363803" y="0"/>
                  <a:pt x="2363803" y="0"/>
                  <a:pt x="2260341" y="41642"/>
                </a:cubicBezTo>
                <a:cubicBezTo>
                  <a:pt x="2235433" y="49213"/>
                  <a:pt x="2208609" y="37856"/>
                  <a:pt x="2199030" y="15142"/>
                </a:cubicBezTo>
                <a:cubicBezTo>
                  <a:pt x="2197113" y="9464"/>
                  <a:pt x="2197113" y="5678"/>
                  <a:pt x="2197113" y="0"/>
                </a:cubicBezTo>
                <a:close/>
              </a:path>
            </a:pathLst>
          </a:custGeom>
          <a:solidFill>
            <a:srgbClr val="55BA4A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1793" y="0"/>
            <a:ext cx="8127034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849537"/>
            <a:ext cx="3513152" cy="1926795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199"/>
              </a:lnSpc>
              <a:spcBef>
                <a:spcPts val="0"/>
              </a:spcBef>
              <a:buFont typeface="Arial" panose="020B0604020202020204" pitchFamily="34" charset="0"/>
              <a:buNone/>
              <a:defRPr sz="4666" b="1" strike="noStrike" spc="-151" baseline="0">
                <a:solidFill>
                  <a:schemeClr val="bg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Photo Plus</a:t>
            </a:r>
            <a:br>
              <a:rPr lang="en-US"/>
            </a:br>
            <a:r>
              <a:rPr lang="en-US"/>
              <a:t>Statement</a:t>
            </a:r>
            <a:br>
              <a:rPr lang="en-US"/>
            </a:br>
            <a:r>
              <a:rPr lang="en-US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643" y="2943647"/>
            <a:ext cx="3513150" cy="16416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9"/>
              </a:lnSpc>
              <a:spcBef>
                <a:spcPts val="0"/>
              </a:spcBef>
              <a:buNone/>
              <a:defRPr sz="2399" baseline="0">
                <a:solidFill>
                  <a:schemeClr val="bg1"/>
                </a:solidFill>
              </a:defRPr>
            </a:lvl1pPr>
            <a:lvl2pPr marL="609321" indent="0">
              <a:buNone/>
              <a:defRPr/>
            </a:lvl2pPr>
            <a:lvl3pPr marL="1218641" indent="0">
              <a:buNone/>
              <a:defRPr/>
            </a:lvl3pPr>
            <a:lvl4pPr marL="1827963" indent="0">
              <a:buNone/>
              <a:defRPr/>
            </a:lvl4pPr>
            <a:lvl5pPr marL="2437284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269335020"/>
      </p:ext>
    </p:extLst>
  </p:cSld>
  <p:clrMapOvr>
    <a:masterClrMapping/>
  </p:clrMapOvr>
  <p:transition spd="med"/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rgbClr val="F36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49074" y="-3179"/>
            <a:ext cx="12139750" cy="6858291"/>
          </a:xfrm>
          <a:custGeom>
            <a:avLst/>
            <a:gdLst>
              <a:gd name="connsiteX0" fmla="*/ 9863865 w 12139750"/>
              <a:gd name="connsiteY0" fmla="*/ 6730848 h 6858290"/>
              <a:gd name="connsiteX1" fmla="*/ 9906123 w 12139750"/>
              <a:gd name="connsiteY1" fmla="*/ 6760852 h 6858290"/>
              <a:gd name="connsiteX2" fmla="*/ 9879496 w 12139750"/>
              <a:gd name="connsiteY2" fmla="*/ 6819907 h 6858290"/>
              <a:gd name="connsiteX3" fmla="*/ 9782500 w 12139750"/>
              <a:gd name="connsiteY3" fmla="*/ 6858007 h 6858290"/>
              <a:gd name="connsiteX4" fmla="*/ 9531452 w 12139750"/>
              <a:gd name="connsiteY4" fmla="*/ 6858007 h 6858290"/>
              <a:gd name="connsiteX5" fmla="*/ 9845262 w 12139750"/>
              <a:gd name="connsiteY5" fmla="*/ 6734182 h 6858290"/>
              <a:gd name="connsiteX6" fmla="*/ 9863865 w 12139750"/>
              <a:gd name="connsiteY6" fmla="*/ 6730848 h 6858290"/>
              <a:gd name="connsiteX7" fmla="*/ 10445577 w 12139750"/>
              <a:gd name="connsiteY7" fmla="*/ 6718092 h 6858290"/>
              <a:gd name="connsiteX8" fmla="*/ 10487132 w 12139750"/>
              <a:gd name="connsiteY8" fmla="*/ 6746099 h 6858290"/>
              <a:gd name="connsiteX9" fmla="*/ 10462348 w 12139750"/>
              <a:gd name="connsiteY9" fmla="*/ 6804898 h 6858290"/>
              <a:gd name="connsiteX10" fmla="*/ 10328892 w 12139750"/>
              <a:gd name="connsiteY10" fmla="*/ 6858007 h 6858290"/>
              <a:gd name="connsiteX11" fmla="*/ 10088672 w 12139750"/>
              <a:gd name="connsiteY11" fmla="*/ 6858007 h 6858290"/>
              <a:gd name="connsiteX12" fmla="*/ 10428031 w 12139750"/>
              <a:gd name="connsiteY12" fmla="*/ 6721441 h 6858290"/>
              <a:gd name="connsiteX13" fmla="*/ 10445577 w 12139750"/>
              <a:gd name="connsiteY13" fmla="*/ 6718092 h 6858290"/>
              <a:gd name="connsiteX14" fmla="*/ 9285099 w 12139750"/>
              <a:gd name="connsiteY14" fmla="*/ 6718092 h 6858290"/>
              <a:gd name="connsiteX15" fmla="*/ 9326654 w 12139750"/>
              <a:gd name="connsiteY15" fmla="*/ 6746099 h 6858290"/>
              <a:gd name="connsiteX16" fmla="*/ 9301870 w 12139750"/>
              <a:gd name="connsiteY16" fmla="*/ 6804898 h 6858290"/>
              <a:gd name="connsiteX17" fmla="*/ 9168414 w 12139750"/>
              <a:gd name="connsiteY17" fmla="*/ 6858007 h 6858290"/>
              <a:gd name="connsiteX18" fmla="*/ 8928194 w 12139750"/>
              <a:gd name="connsiteY18" fmla="*/ 6858007 h 6858290"/>
              <a:gd name="connsiteX19" fmla="*/ 9267553 w 12139750"/>
              <a:gd name="connsiteY19" fmla="*/ 6721441 h 6858290"/>
              <a:gd name="connsiteX20" fmla="*/ 9285099 w 12139750"/>
              <a:gd name="connsiteY20" fmla="*/ 6718092 h 6858290"/>
              <a:gd name="connsiteX21" fmla="*/ 11021925 w 12139750"/>
              <a:gd name="connsiteY21" fmla="*/ 6702243 h 6858290"/>
              <a:gd name="connsiteX22" fmla="*/ 11063417 w 12139750"/>
              <a:gd name="connsiteY22" fmla="*/ 6730372 h 6858290"/>
              <a:gd name="connsiteX23" fmla="*/ 11038670 w 12139750"/>
              <a:gd name="connsiteY23" fmla="*/ 6789427 h 6858290"/>
              <a:gd name="connsiteX24" fmla="*/ 10873058 w 12139750"/>
              <a:gd name="connsiteY24" fmla="*/ 6858007 h 6858290"/>
              <a:gd name="connsiteX25" fmla="*/ 10652242 w 12139750"/>
              <a:gd name="connsiteY25" fmla="*/ 6858007 h 6858290"/>
              <a:gd name="connsiteX26" fmla="*/ 10665567 w 12139750"/>
              <a:gd name="connsiteY26" fmla="*/ 6850387 h 6858290"/>
              <a:gd name="connsiteX27" fmla="*/ 11004406 w 12139750"/>
              <a:gd name="connsiteY27" fmla="*/ 6705607 h 6858290"/>
              <a:gd name="connsiteX28" fmla="*/ 11021925 w 12139750"/>
              <a:gd name="connsiteY28" fmla="*/ 6702243 h 6858290"/>
              <a:gd name="connsiteX29" fmla="*/ 8712081 w 12139750"/>
              <a:gd name="connsiteY29" fmla="*/ 6702243 h 6858290"/>
              <a:gd name="connsiteX30" fmla="*/ 8753573 w 12139750"/>
              <a:gd name="connsiteY30" fmla="*/ 6730372 h 6858290"/>
              <a:gd name="connsiteX31" fmla="*/ 8730730 w 12139750"/>
              <a:gd name="connsiteY31" fmla="*/ 6789427 h 6858290"/>
              <a:gd name="connsiteX32" fmla="*/ 8565118 w 12139750"/>
              <a:gd name="connsiteY32" fmla="*/ 6858007 h 6858290"/>
              <a:gd name="connsiteX33" fmla="*/ 8342398 w 12139750"/>
              <a:gd name="connsiteY33" fmla="*/ 6858007 h 6858290"/>
              <a:gd name="connsiteX34" fmla="*/ 8355723 w 12139750"/>
              <a:gd name="connsiteY34" fmla="*/ 6850387 h 6858290"/>
              <a:gd name="connsiteX35" fmla="*/ 8694562 w 12139750"/>
              <a:gd name="connsiteY35" fmla="*/ 6705607 h 6858290"/>
              <a:gd name="connsiteX36" fmla="*/ 8712081 w 12139750"/>
              <a:gd name="connsiteY36" fmla="*/ 6702243 h 6858290"/>
              <a:gd name="connsiteX37" fmla="*/ 11608144 w 12139750"/>
              <a:gd name="connsiteY37" fmla="*/ 6692160 h 6858290"/>
              <a:gd name="connsiteX38" fmla="*/ 11631736 w 12139750"/>
              <a:gd name="connsiteY38" fmla="*/ 6715650 h 6858290"/>
              <a:gd name="connsiteX39" fmla="*/ 11608859 w 12139750"/>
              <a:gd name="connsiteY39" fmla="*/ 6772593 h 6858290"/>
              <a:gd name="connsiteX40" fmla="*/ 11412495 w 12139750"/>
              <a:gd name="connsiteY40" fmla="*/ 6858007 h 6858290"/>
              <a:gd name="connsiteX41" fmla="*/ 11214225 w 12139750"/>
              <a:gd name="connsiteY41" fmla="*/ 6858007 h 6858290"/>
              <a:gd name="connsiteX42" fmla="*/ 11235196 w 12139750"/>
              <a:gd name="connsiteY42" fmla="*/ 6840924 h 6858290"/>
              <a:gd name="connsiteX43" fmla="*/ 11574543 w 12139750"/>
              <a:gd name="connsiteY43" fmla="*/ 6692872 h 6858290"/>
              <a:gd name="connsiteX44" fmla="*/ 11608144 w 12139750"/>
              <a:gd name="connsiteY44" fmla="*/ 6692160 h 6858290"/>
              <a:gd name="connsiteX45" fmla="*/ 8162632 w 12139750"/>
              <a:gd name="connsiteY45" fmla="*/ 6692160 h 6858290"/>
              <a:gd name="connsiteX46" fmla="*/ 8186849 w 12139750"/>
              <a:gd name="connsiteY46" fmla="*/ 6715650 h 6858290"/>
              <a:gd name="connsiteX47" fmla="*/ 8164057 w 12139750"/>
              <a:gd name="connsiteY47" fmla="*/ 6772593 h 6858290"/>
              <a:gd name="connsiteX48" fmla="*/ 7966524 w 12139750"/>
              <a:gd name="connsiteY48" fmla="*/ 6858007 h 6858290"/>
              <a:gd name="connsiteX49" fmla="*/ 7770890 w 12139750"/>
              <a:gd name="connsiteY49" fmla="*/ 6858007 h 6858290"/>
              <a:gd name="connsiteX50" fmla="*/ 7789883 w 12139750"/>
              <a:gd name="connsiteY50" fmla="*/ 6840924 h 6858290"/>
              <a:gd name="connsiteX51" fmla="*/ 8129868 w 12139750"/>
              <a:gd name="connsiteY51" fmla="*/ 6692872 h 6858290"/>
              <a:gd name="connsiteX52" fmla="*/ 8162632 w 12139750"/>
              <a:gd name="connsiteY52" fmla="*/ 6692160 h 6858290"/>
              <a:gd name="connsiteX53" fmla="*/ 7602161 w 12139750"/>
              <a:gd name="connsiteY53" fmla="*/ 6677681 h 6858290"/>
              <a:gd name="connsiteX54" fmla="*/ 7626432 w 12139750"/>
              <a:gd name="connsiteY54" fmla="*/ 6699625 h 6858290"/>
              <a:gd name="connsiteX55" fmla="*/ 7605492 w 12139750"/>
              <a:gd name="connsiteY55" fmla="*/ 6756872 h 6858290"/>
              <a:gd name="connsiteX56" fmla="*/ 7378961 w 12139750"/>
              <a:gd name="connsiteY56" fmla="*/ 6858007 h 6858290"/>
              <a:gd name="connsiteX57" fmla="*/ 7205732 w 12139750"/>
              <a:gd name="connsiteY57" fmla="*/ 6858007 h 6858290"/>
              <a:gd name="connsiteX58" fmla="*/ 7230479 w 12139750"/>
              <a:gd name="connsiteY58" fmla="*/ 6831292 h 6858290"/>
              <a:gd name="connsiteX59" fmla="*/ 7569323 w 12139750"/>
              <a:gd name="connsiteY59" fmla="*/ 6678635 h 6858290"/>
              <a:gd name="connsiteX60" fmla="*/ 7602161 w 12139750"/>
              <a:gd name="connsiteY60" fmla="*/ 6677681 h 6858290"/>
              <a:gd name="connsiteX61" fmla="*/ 12139750 w 12139750"/>
              <a:gd name="connsiteY61" fmla="*/ 6677032 h 6858290"/>
              <a:gd name="connsiteX62" fmla="*/ 12139750 w 12139750"/>
              <a:gd name="connsiteY62" fmla="*/ 6770377 h 6858290"/>
              <a:gd name="connsiteX63" fmla="*/ 12139750 w 12139750"/>
              <a:gd name="connsiteY63" fmla="*/ 6858007 h 6858290"/>
              <a:gd name="connsiteX64" fmla="*/ 11945775 w 12139750"/>
              <a:gd name="connsiteY64" fmla="*/ 6858007 h 6858290"/>
              <a:gd name="connsiteX65" fmla="*/ 11774620 w 12139750"/>
              <a:gd name="connsiteY65" fmla="*/ 6858007 h 6858290"/>
              <a:gd name="connsiteX66" fmla="*/ 11797441 w 12139750"/>
              <a:gd name="connsiteY66" fmla="*/ 6831337 h 6858290"/>
              <a:gd name="connsiteX67" fmla="*/ 12137848 w 12139750"/>
              <a:gd name="connsiteY67" fmla="*/ 6678937 h 6858290"/>
              <a:gd name="connsiteX68" fmla="*/ 12139750 w 12139750"/>
              <a:gd name="connsiteY68" fmla="*/ 6677032 h 6858290"/>
              <a:gd name="connsiteX69" fmla="*/ 7049044 w 12139750"/>
              <a:gd name="connsiteY69" fmla="*/ 6663353 h 6858290"/>
              <a:gd name="connsiteX70" fmla="*/ 7072381 w 12139750"/>
              <a:gd name="connsiteY70" fmla="*/ 6685192 h 6858290"/>
              <a:gd name="connsiteX71" fmla="*/ 7051425 w 12139750"/>
              <a:gd name="connsiteY71" fmla="*/ 6742164 h 6858290"/>
              <a:gd name="connsiteX72" fmla="*/ 6798057 w 12139750"/>
              <a:gd name="connsiteY72" fmla="*/ 6858007 h 6858290"/>
              <a:gd name="connsiteX73" fmla="*/ 6653275 w 12139750"/>
              <a:gd name="connsiteY73" fmla="*/ 6858007 h 6858290"/>
              <a:gd name="connsiteX74" fmla="*/ 6678040 w 12139750"/>
              <a:gd name="connsiteY74" fmla="*/ 6821925 h 6858290"/>
              <a:gd name="connsiteX75" fmla="*/ 7017135 w 12139750"/>
              <a:gd name="connsiteY75" fmla="*/ 6664302 h 6858290"/>
              <a:gd name="connsiteX76" fmla="*/ 7049044 w 12139750"/>
              <a:gd name="connsiteY76" fmla="*/ 6663353 h 6858290"/>
              <a:gd name="connsiteX77" fmla="*/ 6502912 w 12139750"/>
              <a:gd name="connsiteY77" fmla="*/ 6648865 h 6858290"/>
              <a:gd name="connsiteX78" fmla="*/ 6526266 w 12139750"/>
              <a:gd name="connsiteY78" fmla="*/ 6669136 h 6858290"/>
              <a:gd name="connsiteX79" fmla="*/ 6507201 w 12139750"/>
              <a:gd name="connsiteY79" fmla="*/ 6724462 h 6858290"/>
              <a:gd name="connsiteX80" fmla="*/ 6226954 w 12139750"/>
              <a:gd name="connsiteY80" fmla="*/ 6858007 h 6858290"/>
              <a:gd name="connsiteX81" fmla="*/ 6108755 w 12139750"/>
              <a:gd name="connsiteY81" fmla="*/ 6858007 h 6858290"/>
              <a:gd name="connsiteX82" fmla="*/ 6108755 w 12139750"/>
              <a:gd name="connsiteY82" fmla="*/ 6850376 h 6858290"/>
              <a:gd name="connsiteX83" fmla="*/ 6131632 w 12139750"/>
              <a:gd name="connsiteY83" fmla="*/ 6812220 h 6858290"/>
              <a:gd name="connsiteX84" fmla="*/ 6470979 w 12139750"/>
              <a:gd name="connsiteY84" fmla="*/ 6650058 h 6858290"/>
              <a:gd name="connsiteX85" fmla="*/ 6502912 w 12139750"/>
              <a:gd name="connsiteY85" fmla="*/ 6648865 h 6858290"/>
              <a:gd name="connsiteX86" fmla="*/ 5955433 w 12139750"/>
              <a:gd name="connsiteY86" fmla="*/ 6635428 h 6858290"/>
              <a:gd name="connsiteX87" fmla="*/ 5978566 w 12139750"/>
              <a:gd name="connsiteY87" fmla="*/ 6656354 h 6858290"/>
              <a:gd name="connsiteX88" fmla="*/ 5961395 w 12139750"/>
              <a:gd name="connsiteY88" fmla="*/ 6709621 h 6858290"/>
              <a:gd name="connsiteX89" fmla="*/ 5656142 w 12139750"/>
              <a:gd name="connsiteY89" fmla="*/ 6858007 h 6858290"/>
              <a:gd name="connsiteX90" fmla="*/ 5568382 w 12139750"/>
              <a:gd name="connsiteY90" fmla="*/ 6858007 h 6858290"/>
              <a:gd name="connsiteX91" fmla="*/ 5566474 w 12139750"/>
              <a:gd name="connsiteY91" fmla="*/ 6858007 h 6858290"/>
              <a:gd name="connsiteX92" fmla="*/ 5562659 w 12139750"/>
              <a:gd name="connsiteY92" fmla="*/ 6838983 h 6858290"/>
              <a:gd name="connsiteX93" fmla="*/ 5585552 w 12139750"/>
              <a:gd name="connsiteY93" fmla="*/ 6802838 h 6858290"/>
              <a:gd name="connsiteX94" fmla="*/ 5925146 w 12139750"/>
              <a:gd name="connsiteY94" fmla="*/ 6637331 h 6858290"/>
              <a:gd name="connsiteX95" fmla="*/ 5955433 w 12139750"/>
              <a:gd name="connsiteY95" fmla="*/ 6635428 h 6858290"/>
              <a:gd name="connsiteX96" fmla="*/ 396081 w 12139750"/>
              <a:gd name="connsiteY96" fmla="*/ 6635428 h 6858290"/>
              <a:gd name="connsiteX97" fmla="*/ 419127 w 12139750"/>
              <a:gd name="connsiteY97" fmla="*/ 6656354 h 6858290"/>
              <a:gd name="connsiteX98" fmla="*/ 400120 w 12139750"/>
              <a:gd name="connsiteY98" fmla="*/ 6709621 h 6858290"/>
              <a:gd name="connsiteX99" fmla="*/ 97901 w 12139750"/>
              <a:gd name="connsiteY99" fmla="*/ 6858007 h 6858290"/>
              <a:gd name="connsiteX100" fmla="*/ 10466 w 12139750"/>
              <a:gd name="connsiteY100" fmla="*/ 6858007 h 6858290"/>
              <a:gd name="connsiteX101" fmla="*/ 8566 w 12139750"/>
              <a:gd name="connsiteY101" fmla="*/ 6858007 h 6858290"/>
              <a:gd name="connsiteX102" fmla="*/ 4764 w 12139750"/>
              <a:gd name="connsiteY102" fmla="*/ 6838983 h 6858290"/>
              <a:gd name="connsiteX103" fmla="*/ 27573 w 12139750"/>
              <a:gd name="connsiteY103" fmla="*/ 6802838 h 6858290"/>
              <a:gd name="connsiteX104" fmla="*/ 365906 w 12139750"/>
              <a:gd name="connsiteY104" fmla="*/ 6637331 h 6858290"/>
              <a:gd name="connsiteX105" fmla="*/ 396081 w 12139750"/>
              <a:gd name="connsiteY105" fmla="*/ 6635428 h 6858290"/>
              <a:gd name="connsiteX106" fmla="*/ 5405387 w 12139750"/>
              <a:gd name="connsiteY106" fmla="*/ 6619812 h 6858290"/>
              <a:gd name="connsiteX107" fmla="*/ 5427736 w 12139750"/>
              <a:gd name="connsiteY107" fmla="*/ 6640556 h 6858290"/>
              <a:gd name="connsiteX108" fmla="*/ 5410617 w 12139750"/>
              <a:gd name="connsiteY108" fmla="*/ 6693965 h 6858290"/>
              <a:gd name="connsiteX109" fmla="*/ 5083441 w 12139750"/>
              <a:gd name="connsiteY109" fmla="*/ 6858007 h 6858290"/>
              <a:gd name="connsiteX110" fmla="*/ 5028285 w 12139750"/>
              <a:gd name="connsiteY110" fmla="*/ 6858007 h 6858290"/>
              <a:gd name="connsiteX111" fmla="*/ 5020677 w 12139750"/>
              <a:gd name="connsiteY111" fmla="*/ 6846562 h 6858290"/>
              <a:gd name="connsiteX112" fmla="*/ 5014972 w 12139750"/>
              <a:gd name="connsiteY112" fmla="*/ 6829395 h 6858290"/>
              <a:gd name="connsiteX113" fmla="*/ 5037797 w 12139750"/>
              <a:gd name="connsiteY113" fmla="*/ 6793153 h 6858290"/>
              <a:gd name="connsiteX114" fmla="*/ 5374478 w 12139750"/>
              <a:gd name="connsiteY114" fmla="*/ 6623389 h 6858290"/>
              <a:gd name="connsiteX115" fmla="*/ 5405387 w 12139750"/>
              <a:gd name="connsiteY115" fmla="*/ 6619812 h 6858290"/>
              <a:gd name="connsiteX116" fmla="*/ 939733 w 12139750"/>
              <a:gd name="connsiteY116" fmla="*/ 6619812 h 6858290"/>
              <a:gd name="connsiteX117" fmla="*/ 963599 w 12139750"/>
              <a:gd name="connsiteY117" fmla="*/ 6640556 h 6858290"/>
              <a:gd name="connsiteX118" fmla="*/ 944506 w 12139750"/>
              <a:gd name="connsiteY118" fmla="*/ 6693965 h 6858290"/>
              <a:gd name="connsiteX119" fmla="*/ 618014 w 12139750"/>
              <a:gd name="connsiteY119" fmla="*/ 6858007 h 6858290"/>
              <a:gd name="connsiteX120" fmla="*/ 562644 w 12139750"/>
              <a:gd name="connsiteY120" fmla="*/ 6858007 h 6858290"/>
              <a:gd name="connsiteX121" fmla="*/ 553097 w 12139750"/>
              <a:gd name="connsiteY121" fmla="*/ 6846562 h 6858290"/>
              <a:gd name="connsiteX122" fmla="*/ 549279 w 12139750"/>
              <a:gd name="connsiteY122" fmla="*/ 6829395 h 6858290"/>
              <a:gd name="connsiteX123" fmla="*/ 570281 w 12139750"/>
              <a:gd name="connsiteY123" fmla="*/ 6793153 h 6858290"/>
              <a:gd name="connsiteX124" fmla="*/ 910138 w 12139750"/>
              <a:gd name="connsiteY124" fmla="*/ 6623389 h 6858290"/>
              <a:gd name="connsiteX125" fmla="*/ 939733 w 12139750"/>
              <a:gd name="connsiteY125" fmla="*/ 6619812 h 6858290"/>
              <a:gd name="connsiteX126" fmla="*/ 4850593 w 12139750"/>
              <a:gd name="connsiteY126" fmla="*/ 6606634 h 6858290"/>
              <a:gd name="connsiteX127" fmla="*/ 4873679 w 12139750"/>
              <a:gd name="connsiteY127" fmla="*/ 6625946 h 6858290"/>
              <a:gd name="connsiteX128" fmla="*/ 4856545 w 12139750"/>
              <a:gd name="connsiteY128" fmla="*/ 6677443 h 6858290"/>
              <a:gd name="connsiteX129" fmla="*/ 4519612 w 12139750"/>
              <a:gd name="connsiteY129" fmla="*/ 6852914 h 6858290"/>
              <a:gd name="connsiteX130" fmla="*/ 4466313 w 12139750"/>
              <a:gd name="connsiteY130" fmla="*/ 6837655 h 6858290"/>
              <a:gd name="connsiteX131" fmla="*/ 4462507 w 12139750"/>
              <a:gd name="connsiteY131" fmla="*/ 6818582 h 6858290"/>
              <a:gd name="connsiteX132" fmla="*/ 4483446 w 12139750"/>
              <a:gd name="connsiteY132" fmla="*/ 6784251 h 6858290"/>
              <a:gd name="connsiteX133" fmla="*/ 4820371 w 12139750"/>
              <a:gd name="connsiteY133" fmla="*/ 6608780 h 6858290"/>
              <a:gd name="connsiteX134" fmla="*/ 4850593 w 12139750"/>
              <a:gd name="connsiteY134" fmla="*/ 6606634 h 6858290"/>
              <a:gd name="connsiteX135" fmla="*/ 1485698 w 12139750"/>
              <a:gd name="connsiteY135" fmla="*/ 6606634 h 6858290"/>
              <a:gd name="connsiteX136" fmla="*/ 1507827 w 12139750"/>
              <a:gd name="connsiteY136" fmla="*/ 6625946 h 6858290"/>
              <a:gd name="connsiteX137" fmla="*/ 1492599 w 12139750"/>
              <a:gd name="connsiteY137" fmla="*/ 6677443 h 6858290"/>
              <a:gd name="connsiteX138" fmla="*/ 1153761 w 12139750"/>
              <a:gd name="connsiteY138" fmla="*/ 6852914 h 6858290"/>
              <a:gd name="connsiteX139" fmla="*/ 1102364 w 12139750"/>
              <a:gd name="connsiteY139" fmla="*/ 6837655 h 6858290"/>
              <a:gd name="connsiteX140" fmla="*/ 1098557 w 12139750"/>
              <a:gd name="connsiteY140" fmla="*/ 6818582 h 6858290"/>
              <a:gd name="connsiteX141" fmla="*/ 1119496 w 12139750"/>
              <a:gd name="connsiteY141" fmla="*/ 6784251 h 6858290"/>
              <a:gd name="connsiteX142" fmla="*/ 1456431 w 12139750"/>
              <a:gd name="connsiteY142" fmla="*/ 6608780 h 6858290"/>
              <a:gd name="connsiteX143" fmla="*/ 1485698 w 12139750"/>
              <a:gd name="connsiteY143" fmla="*/ 6606634 h 6858290"/>
              <a:gd name="connsiteX144" fmla="*/ 4291129 w 12139750"/>
              <a:gd name="connsiteY144" fmla="*/ 6592973 h 6858290"/>
              <a:gd name="connsiteX145" fmla="*/ 4313276 w 12139750"/>
              <a:gd name="connsiteY145" fmla="*/ 6611309 h 6858290"/>
              <a:gd name="connsiteX146" fmla="*/ 4298036 w 12139750"/>
              <a:gd name="connsiteY146" fmla="*/ 6662744 h 6858290"/>
              <a:gd name="connsiteX147" fmla="*/ 3960866 w 12139750"/>
              <a:gd name="connsiteY147" fmla="*/ 6841814 h 6858290"/>
              <a:gd name="connsiteX148" fmla="*/ 3909428 w 12139750"/>
              <a:gd name="connsiteY148" fmla="*/ 6826574 h 6858290"/>
              <a:gd name="connsiteX149" fmla="*/ 3903714 w 12139750"/>
              <a:gd name="connsiteY149" fmla="*/ 6809429 h 6858290"/>
              <a:gd name="connsiteX150" fmla="*/ 3924671 w 12139750"/>
              <a:gd name="connsiteY150" fmla="*/ 6775139 h 6858290"/>
              <a:gd name="connsiteX151" fmla="*/ 4261839 w 12139750"/>
              <a:gd name="connsiteY151" fmla="*/ 6596069 h 6858290"/>
              <a:gd name="connsiteX152" fmla="*/ 4291129 w 12139750"/>
              <a:gd name="connsiteY152" fmla="*/ 6592973 h 6858290"/>
              <a:gd name="connsiteX153" fmla="*/ 2037015 w 12139750"/>
              <a:gd name="connsiteY153" fmla="*/ 6592973 h 6858290"/>
              <a:gd name="connsiteX154" fmla="*/ 2060596 w 12139750"/>
              <a:gd name="connsiteY154" fmla="*/ 6611309 h 6858290"/>
              <a:gd name="connsiteX155" fmla="*/ 2043445 w 12139750"/>
              <a:gd name="connsiteY155" fmla="*/ 6662744 h 6858290"/>
              <a:gd name="connsiteX156" fmla="*/ 1706255 w 12139750"/>
              <a:gd name="connsiteY156" fmla="*/ 6841814 h 6858290"/>
              <a:gd name="connsiteX157" fmla="*/ 1654819 w 12139750"/>
              <a:gd name="connsiteY157" fmla="*/ 6826574 h 6858290"/>
              <a:gd name="connsiteX158" fmla="*/ 1651009 w 12139750"/>
              <a:gd name="connsiteY158" fmla="*/ 6809429 h 6858290"/>
              <a:gd name="connsiteX159" fmla="*/ 1670059 w 12139750"/>
              <a:gd name="connsiteY159" fmla="*/ 6775139 h 6858290"/>
              <a:gd name="connsiteX160" fmla="*/ 2009154 w 12139750"/>
              <a:gd name="connsiteY160" fmla="*/ 6596069 h 6858290"/>
              <a:gd name="connsiteX161" fmla="*/ 2037015 w 12139750"/>
              <a:gd name="connsiteY161" fmla="*/ 6592973 h 6858290"/>
              <a:gd name="connsiteX162" fmla="*/ 3727788 w 12139750"/>
              <a:gd name="connsiteY162" fmla="*/ 6578033 h 6858290"/>
              <a:gd name="connsiteX163" fmla="*/ 3749713 w 12139750"/>
              <a:gd name="connsiteY163" fmla="*/ 6595376 h 6858290"/>
              <a:gd name="connsiteX164" fmla="*/ 3734461 w 12139750"/>
              <a:gd name="connsiteY164" fmla="*/ 6646690 h 6858290"/>
              <a:gd name="connsiteX165" fmla="*/ 3397031 w 12139750"/>
              <a:gd name="connsiteY165" fmla="*/ 6831042 h 6858290"/>
              <a:gd name="connsiteX166" fmla="*/ 3347460 w 12139750"/>
              <a:gd name="connsiteY166" fmla="*/ 6815837 h 6858290"/>
              <a:gd name="connsiteX167" fmla="*/ 3341740 w 12139750"/>
              <a:gd name="connsiteY167" fmla="*/ 6798733 h 6858290"/>
              <a:gd name="connsiteX168" fmla="*/ 3362712 w 12139750"/>
              <a:gd name="connsiteY168" fmla="*/ 6764523 h 6858290"/>
              <a:gd name="connsiteX169" fmla="*/ 3700145 w 12139750"/>
              <a:gd name="connsiteY169" fmla="*/ 6582072 h 6858290"/>
              <a:gd name="connsiteX170" fmla="*/ 3727788 w 12139750"/>
              <a:gd name="connsiteY170" fmla="*/ 6578033 h 6858290"/>
              <a:gd name="connsiteX171" fmla="*/ 2592701 w 12139750"/>
              <a:gd name="connsiteY171" fmla="*/ 6578033 h 6858290"/>
              <a:gd name="connsiteX172" fmla="*/ 2614625 w 12139750"/>
              <a:gd name="connsiteY172" fmla="*/ 6595376 h 6858290"/>
              <a:gd name="connsiteX173" fmla="*/ 2599374 w 12139750"/>
              <a:gd name="connsiteY173" fmla="*/ 6646690 h 6858290"/>
              <a:gd name="connsiteX174" fmla="*/ 2261929 w 12139750"/>
              <a:gd name="connsiteY174" fmla="*/ 6831042 h 6858290"/>
              <a:gd name="connsiteX175" fmla="*/ 2212361 w 12139750"/>
              <a:gd name="connsiteY175" fmla="*/ 6815837 h 6858290"/>
              <a:gd name="connsiteX176" fmla="*/ 2206641 w 12139750"/>
              <a:gd name="connsiteY176" fmla="*/ 6798733 h 6858290"/>
              <a:gd name="connsiteX177" fmla="*/ 2225706 w 12139750"/>
              <a:gd name="connsiteY177" fmla="*/ 6764523 h 6858290"/>
              <a:gd name="connsiteX178" fmla="*/ 2565057 w 12139750"/>
              <a:gd name="connsiteY178" fmla="*/ 6582072 h 6858290"/>
              <a:gd name="connsiteX179" fmla="*/ 2592701 w 12139750"/>
              <a:gd name="connsiteY179" fmla="*/ 6578033 h 6858290"/>
              <a:gd name="connsiteX180" fmla="*/ 3153212 w 12139750"/>
              <a:gd name="connsiteY180" fmla="*/ 6564138 h 6858290"/>
              <a:gd name="connsiteX181" fmla="*/ 3175071 w 12139750"/>
              <a:gd name="connsiteY181" fmla="*/ 6580749 h 6858290"/>
              <a:gd name="connsiteX182" fmla="*/ 3161765 w 12139750"/>
              <a:gd name="connsiteY182" fmla="*/ 6630106 h 6858290"/>
              <a:gd name="connsiteX183" fmla="*/ 2825349 w 12139750"/>
              <a:gd name="connsiteY183" fmla="*/ 6819941 h 6858290"/>
              <a:gd name="connsiteX184" fmla="*/ 2775933 w 12139750"/>
              <a:gd name="connsiteY184" fmla="*/ 6804754 h 6858290"/>
              <a:gd name="connsiteX185" fmla="*/ 2770229 w 12139750"/>
              <a:gd name="connsiteY185" fmla="*/ 6787669 h 6858290"/>
              <a:gd name="connsiteX186" fmla="*/ 2789238 w 12139750"/>
              <a:gd name="connsiteY186" fmla="*/ 6757295 h 6858290"/>
              <a:gd name="connsiteX187" fmla="*/ 3125653 w 12139750"/>
              <a:gd name="connsiteY187" fmla="*/ 6567460 h 6858290"/>
              <a:gd name="connsiteX188" fmla="*/ 3153212 w 12139750"/>
              <a:gd name="connsiteY188" fmla="*/ 6564138 h 6858290"/>
              <a:gd name="connsiteX189" fmla="*/ 9862101 w 12139750"/>
              <a:gd name="connsiteY189" fmla="*/ 6403755 h 6858290"/>
              <a:gd name="connsiteX190" fmla="*/ 9902911 w 12139750"/>
              <a:gd name="connsiteY190" fmla="*/ 6429975 h 6858290"/>
              <a:gd name="connsiteX191" fmla="*/ 9880000 w 12139750"/>
              <a:gd name="connsiteY191" fmla="*/ 6487052 h 6858290"/>
              <a:gd name="connsiteX192" fmla="*/ 9540159 w 12139750"/>
              <a:gd name="connsiteY192" fmla="*/ 6637356 h 6858290"/>
              <a:gd name="connsiteX193" fmla="*/ 9482882 w 12139750"/>
              <a:gd name="connsiteY193" fmla="*/ 6614525 h 6858290"/>
              <a:gd name="connsiteX194" fmla="*/ 9479064 w 12139750"/>
              <a:gd name="connsiteY194" fmla="*/ 6597402 h 6858290"/>
              <a:gd name="connsiteX195" fmla="*/ 9505793 w 12139750"/>
              <a:gd name="connsiteY195" fmla="*/ 6557447 h 6858290"/>
              <a:gd name="connsiteX196" fmla="*/ 9845634 w 12139750"/>
              <a:gd name="connsiteY196" fmla="*/ 6407144 h 6858290"/>
              <a:gd name="connsiteX197" fmla="*/ 9862101 w 12139750"/>
              <a:gd name="connsiteY197" fmla="*/ 6403755 h 6858290"/>
              <a:gd name="connsiteX198" fmla="*/ 10444610 w 12139750"/>
              <a:gd name="connsiteY198" fmla="*/ 6390314 h 6858290"/>
              <a:gd name="connsiteX199" fmla="*/ 10483665 w 12139750"/>
              <a:gd name="connsiteY199" fmla="*/ 6415894 h 6858290"/>
              <a:gd name="connsiteX200" fmla="*/ 10462740 w 12139750"/>
              <a:gd name="connsiteY200" fmla="*/ 6473334 h 6858290"/>
              <a:gd name="connsiteX201" fmla="*/ 10124143 w 12139750"/>
              <a:gd name="connsiteY201" fmla="*/ 6624595 h 6858290"/>
              <a:gd name="connsiteX202" fmla="*/ 10067076 w 12139750"/>
              <a:gd name="connsiteY202" fmla="*/ 6603534 h 6858290"/>
              <a:gd name="connsiteX203" fmla="*/ 10063272 w 12139750"/>
              <a:gd name="connsiteY203" fmla="*/ 6586301 h 6858290"/>
              <a:gd name="connsiteX204" fmla="*/ 10088001 w 12139750"/>
              <a:gd name="connsiteY204" fmla="*/ 6546093 h 6858290"/>
              <a:gd name="connsiteX205" fmla="*/ 10428500 w 12139750"/>
              <a:gd name="connsiteY205" fmla="*/ 6394832 h 6858290"/>
              <a:gd name="connsiteX206" fmla="*/ 10444610 w 12139750"/>
              <a:gd name="connsiteY206" fmla="*/ 6390314 h 6858290"/>
              <a:gd name="connsiteX207" fmla="*/ 9283606 w 12139750"/>
              <a:gd name="connsiteY207" fmla="*/ 6390314 h 6858290"/>
              <a:gd name="connsiteX208" fmla="*/ 9323493 w 12139750"/>
              <a:gd name="connsiteY208" fmla="*/ 6415894 h 6858290"/>
              <a:gd name="connsiteX209" fmla="*/ 9302553 w 12139750"/>
              <a:gd name="connsiteY209" fmla="*/ 6473334 h 6858290"/>
              <a:gd name="connsiteX210" fmla="*/ 8961805 w 12139750"/>
              <a:gd name="connsiteY210" fmla="*/ 6624595 h 6858290"/>
              <a:gd name="connsiteX211" fmla="*/ 8906600 w 12139750"/>
              <a:gd name="connsiteY211" fmla="*/ 6603534 h 6858290"/>
              <a:gd name="connsiteX212" fmla="*/ 8902793 w 12139750"/>
              <a:gd name="connsiteY212" fmla="*/ 6586301 h 6858290"/>
              <a:gd name="connsiteX213" fmla="*/ 8927540 w 12139750"/>
              <a:gd name="connsiteY213" fmla="*/ 6546093 h 6858290"/>
              <a:gd name="connsiteX214" fmla="*/ 9266384 w 12139750"/>
              <a:gd name="connsiteY214" fmla="*/ 6394832 h 6858290"/>
              <a:gd name="connsiteX215" fmla="*/ 9283606 w 12139750"/>
              <a:gd name="connsiteY215" fmla="*/ 6390314 h 6858290"/>
              <a:gd name="connsiteX216" fmla="*/ 11020686 w 12139750"/>
              <a:gd name="connsiteY216" fmla="*/ 6377294 h 6858290"/>
              <a:gd name="connsiteX217" fmla="*/ 11061795 w 12139750"/>
              <a:gd name="connsiteY217" fmla="*/ 6402947 h 6858290"/>
              <a:gd name="connsiteX218" fmla="*/ 11038867 w 12139750"/>
              <a:gd name="connsiteY218" fmla="*/ 6458052 h 6858290"/>
              <a:gd name="connsiteX219" fmla="*/ 10698772 w 12139750"/>
              <a:gd name="connsiteY219" fmla="*/ 6611968 h 6858290"/>
              <a:gd name="connsiteX220" fmla="*/ 10643363 w 12139750"/>
              <a:gd name="connsiteY220" fmla="*/ 6591066 h 6858290"/>
              <a:gd name="connsiteX221" fmla="*/ 10639542 w 12139750"/>
              <a:gd name="connsiteY221" fmla="*/ 6573964 h 6858290"/>
              <a:gd name="connsiteX222" fmla="*/ 10664380 w 12139750"/>
              <a:gd name="connsiteY222" fmla="*/ 6534060 h 6858290"/>
              <a:gd name="connsiteX223" fmla="*/ 11004475 w 12139750"/>
              <a:gd name="connsiteY223" fmla="*/ 6382045 h 6858290"/>
              <a:gd name="connsiteX224" fmla="*/ 11020686 w 12139750"/>
              <a:gd name="connsiteY224" fmla="*/ 6377294 h 6858290"/>
              <a:gd name="connsiteX225" fmla="*/ 8711111 w 12139750"/>
              <a:gd name="connsiteY225" fmla="*/ 6377294 h 6858290"/>
              <a:gd name="connsiteX226" fmla="*/ 8751951 w 12139750"/>
              <a:gd name="connsiteY226" fmla="*/ 6402947 h 6858290"/>
              <a:gd name="connsiteX227" fmla="*/ 8730934 w 12139750"/>
              <a:gd name="connsiteY227" fmla="*/ 6458052 h 6858290"/>
              <a:gd name="connsiteX228" fmla="*/ 8388928 w 12139750"/>
              <a:gd name="connsiteY228" fmla="*/ 6611968 h 6858290"/>
              <a:gd name="connsiteX229" fmla="*/ 8333519 w 12139750"/>
              <a:gd name="connsiteY229" fmla="*/ 6591066 h 6858290"/>
              <a:gd name="connsiteX230" fmla="*/ 8329698 w 12139750"/>
              <a:gd name="connsiteY230" fmla="*/ 6573964 h 6858290"/>
              <a:gd name="connsiteX231" fmla="*/ 8354536 w 12139750"/>
              <a:gd name="connsiteY231" fmla="*/ 6534060 h 6858290"/>
              <a:gd name="connsiteX232" fmla="*/ 8694631 w 12139750"/>
              <a:gd name="connsiteY232" fmla="*/ 6382045 h 6858290"/>
              <a:gd name="connsiteX233" fmla="*/ 8711111 w 12139750"/>
              <a:gd name="connsiteY233" fmla="*/ 6377294 h 6858290"/>
              <a:gd name="connsiteX234" fmla="*/ 8145353 w 12139750"/>
              <a:gd name="connsiteY234" fmla="*/ 6364557 h 6858290"/>
              <a:gd name="connsiteX235" fmla="*/ 8185240 w 12139750"/>
              <a:gd name="connsiteY235" fmla="*/ 6388309 h 6858290"/>
              <a:gd name="connsiteX236" fmla="*/ 8164300 w 12139750"/>
              <a:gd name="connsiteY236" fmla="*/ 6445244 h 6858290"/>
              <a:gd name="connsiteX237" fmla="*/ 7825456 w 12139750"/>
              <a:gd name="connsiteY237" fmla="*/ 6600868 h 6858290"/>
              <a:gd name="connsiteX238" fmla="*/ 7768347 w 12139750"/>
              <a:gd name="connsiteY238" fmla="*/ 6579991 h 6858290"/>
              <a:gd name="connsiteX239" fmla="*/ 7764540 w 12139750"/>
              <a:gd name="connsiteY239" fmla="*/ 6562911 h 6858290"/>
              <a:gd name="connsiteX240" fmla="*/ 7789287 w 12139750"/>
              <a:gd name="connsiteY240" fmla="*/ 6523056 h 6858290"/>
              <a:gd name="connsiteX241" fmla="*/ 8128131 w 12139750"/>
              <a:gd name="connsiteY241" fmla="*/ 6369331 h 6858290"/>
              <a:gd name="connsiteX242" fmla="*/ 8145353 w 12139750"/>
              <a:gd name="connsiteY242" fmla="*/ 6364557 h 6858290"/>
              <a:gd name="connsiteX243" fmla="*/ 11589455 w 12139750"/>
              <a:gd name="connsiteY243" fmla="*/ 6364556 h 6858290"/>
              <a:gd name="connsiteX244" fmla="*/ 11628568 w 12139750"/>
              <a:gd name="connsiteY244" fmla="*/ 6388309 h 6858290"/>
              <a:gd name="connsiteX245" fmla="*/ 11607613 w 12139750"/>
              <a:gd name="connsiteY245" fmla="*/ 6445244 h 6858290"/>
              <a:gd name="connsiteX246" fmla="*/ 11268518 w 12139750"/>
              <a:gd name="connsiteY246" fmla="*/ 6600868 h 6858290"/>
              <a:gd name="connsiteX247" fmla="*/ 11213272 w 12139750"/>
              <a:gd name="connsiteY247" fmla="*/ 6579991 h 6858290"/>
              <a:gd name="connsiteX248" fmla="*/ 11209462 w 12139750"/>
              <a:gd name="connsiteY248" fmla="*/ 6562911 h 6858290"/>
              <a:gd name="connsiteX249" fmla="*/ 11234227 w 12139750"/>
              <a:gd name="connsiteY249" fmla="*/ 6523056 h 6858290"/>
              <a:gd name="connsiteX250" fmla="*/ 11573322 w 12139750"/>
              <a:gd name="connsiteY250" fmla="*/ 6369331 h 6858290"/>
              <a:gd name="connsiteX251" fmla="*/ 11589455 w 12139750"/>
              <a:gd name="connsiteY251" fmla="*/ 6364556 h 6858290"/>
              <a:gd name="connsiteX252" fmla="*/ 12139750 w 12139750"/>
              <a:gd name="connsiteY252" fmla="*/ 6353181 h 6858290"/>
              <a:gd name="connsiteX253" fmla="*/ 12139750 w 12139750"/>
              <a:gd name="connsiteY253" fmla="*/ 6444739 h 6858290"/>
              <a:gd name="connsiteX254" fmla="*/ 11833573 w 12139750"/>
              <a:gd name="connsiteY254" fmla="*/ 6587799 h 6858290"/>
              <a:gd name="connsiteX255" fmla="*/ 11778423 w 12139750"/>
              <a:gd name="connsiteY255" fmla="*/ 6568724 h 6858290"/>
              <a:gd name="connsiteX256" fmla="*/ 11774620 w 12139750"/>
              <a:gd name="connsiteY256" fmla="*/ 6551557 h 6858290"/>
              <a:gd name="connsiteX257" fmla="*/ 11797441 w 12139750"/>
              <a:gd name="connsiteY257" fmla="*/ 6513408 h 6858290"/>
              <a:gd name="connsiteX258" fmla="*/ 12135947 w 12139750"/>
              <a:gd name="connsiteY258" fmla="*/ 6355088 h 6858290"/>
              <a:gd name="connsiteX259" fmla="*/ 12139750 w 12139750"/>
              <a:gd name="connsiteY259" fmla="*/ 6353181 h 6858290"/>
              <a:gd name="connsiteX260" fmla="*/ 7585725 w 12139750"/>
              <a:gd name="connsiteY260" fmla="*/ 6350302 h 6858290"/>
              <a:gd name="connsiteX261" fmla="*/ 7624838 w 12139750"/>
              <a:gd name="connsiteY261" fmla="*/ 6374174 h 6858290"/>
              <a:gd name="connsiteX262" fmla="*/ 7605787 w 12139750"/>
              <a:gd name="connsiteY262" fmla="*/ 6429488 h 6858290"/>
              <a:gd name="connsiteX263" fmla="*/ 7264788 w 12139750"/>
              <a:gd name="connsiteY263" fmla="*/ 6587800 h 6858290"/>
              <a:gd name="connsiteX264" fmla="*/ 7209542 w 12139750"/>
              <a:gd name="connsiteY264" fmla="*/ 6568726 h 6858290"/>
              <a:gd name="connsiteX265" fmla="*/ 7205732 w 12139750"/>
              <a:gd name="connsiteY265" fmla="*/ 6551559 h 6858290"/>
              <a:gd name="connsiteX266" fmla="*/ 7230497 w 12139750"/>
              <a:gd name="connsiteY266" fmla="*/ 6513412 h 6858290"/>
              <a:gd name="connsiteX267" fmla="*/ 7569592 w 12139750"/>
              <a:gd name="connsiteY267" fmla="*/ 6355100 h 6858290"/>
              <a:gd name="connsiteX268" fmla="*/ 7585725 w 12139750"/>
              <a:gd name="connsiteY268" fmla="*/ 6350302 h 6858290"/>
              <a:gd name="connsiteX269" fmla="*/ 7049044 w 12139750"/>
              <a:gd name="connsiteY269" fmla="*/ 6340183 h 6858290"/>
              <a:gd name="connsiteX270" fmla="*/ 7072381 w 12139750"/>
              <a:gd name="connsiteY270" fmla="*/ 6361190 h 6858290"/>
              <a:gd name="connsiteX271" fmla="*/ 7051425 w 12139750"/>
              <a:gd name="connsiteY271" fmla="*/ 6416574 h 6858290"/>
              <a:gd name="connsiteX272" fmla="*/ 6714236 w 12139750"/>
              <a:gd name="connsiteY272" fmla="*/ 6576995 h 6858290"/>
              <a:gd name="connsiteX273" fmla="*/ 6658990 w 12139750"/>
              <a:gd name="connsiteY273" fmla="*/ 6557897 h 6858290"/>
              <a:gd name="connsiteX274" fmla="*/ 6653275 w 12139750"/>
              <a:gd name="connsiteY274" fmla="*/ 6540709 h 6858290"/>
              <a:gd name="connsiteX275" fmla="*/ 6678040 w 12139750"/>
              <a:gd name="connsiteY275" fmla="*/ 6502514 h 6858290"/>
              <a:gd name="connsiteX276" fmla="*/ 7017135 w 12139750"/>
              <a:gd name="connsiteY276" fmla="*/ 6342093 h 6858290"/>
              <a:gd name="connsiteX277" fmla="*/ 7049044 w 12139750"/>
              <a:gd name="connsiteY277" fmla="*/ 6340183 h 6858290"/>
              <a:gd name="connsiteX278" fmla="*/ 6502912 w 12139750"/>
              <a:gd name="connsiteY278" fmla="*/ 6327426 h 6858290"/>
              <a:gd name="connsiteX279" fmla="*/ 6526266 w 12139750"/>
              <a:gd name="connsiteY279" fmla="*/ 6348277 h 6858290"/>
              <a:gd name="connsiteX280" fmla="*/ 6507201 w 12139750"/>
              <a:gd name="connsiteY280" fmla="*/ 6401351 h 6858290"/>
              <a:gd name="connsiteX281" fmla="*/ 6167854 w 12139750"/>
              <a:gd name="connsiteY281" fmla="*/ 6564366 h 6858290"/>
              <a:gd name="connsiteX282" fmla="*/ 6112568 w 12139750"/>
              <a:gd name="connsiteY282" fmla="*/ 6545411 h 6858290"/>
              <a:gd name="connsiteX283" fmla="*/ 6108755 w 12139750"/>
              <a:gd name="connsiteY283" fmla="*/ 6528351 h 6858290"/>
              <a:gd name="connsiteX284" fmla="*/ 6131632 w 12139750"/>
              <a:gd name="connsiteY284" fmla="*/ 6490441 h 6858290"/>
              <a:gd name="connsiteX285" fmla="*/ 6470979 w 12139750"/>
              <a:gd name="connsiteY285" fmla="*/ 6329321 h 6858290"/>
              <a:gd name="connsiteX286" fmla="*/ 6502912 w 12139750"/>
              <a:gd name="connsiteY286" fmla="*/ 6327426 h 6858290"/>
              <a:gd name="connsiteX287" fmla="*/ 5955853 w 12139750"/>
              <a:gd name="connsiteY287" fmla="*/ 6313176 h 6858290"/>
              <a:gd name="connsiteX288" fmla="*/ 5978253 w 12139750"/>
              <a:gd name="connsiteY288" fmla="*/ 6334131 h 6858290"/>
              <a:gd name="connsiteX289" fmla="*/ 5961095 w 12139750"/>
              <a:gd name="connsiteY289" fmla="*/ 6387471 h 6858290"/>
              <a:gd name="connsiteX290" fmla="*/ 5621756 w 12139750"/>
              <a:gd name="connsiteY290" fmla="*/ 6553206 h 6858290"/>
              <a:gd name="connsiteX291" fmla="*/ 5566471 w 12139750"/>
              <a:gd name="connsiteY291" fmla="*/ 6534156 h 6858290"/>
              <a:gd name="connsiteX292" fmla="*/ 5562659 w 12139750"/>
              <a:gd name="connsiteY292" fmla="*/ 6517011 h 6858290"/>
              <a:gd name="connsiteX293" fmla="*/ 5585535 w 12139750"/>
              <a:gd name="connsiteY293" fmla="*/ 6478911 h 6858290"/>
              <a:gd name="connsiteX294" fmla="*/ 5924873 w 12139750"/>
              <a:gd name="connsiteY294" fmla="*/ 6315081 h 6858290"/>
              <a:gd name="connsiteX295" fmla="*/ 5955853 w 12139750"/>
              <a:gd name="connsiteY295" fmla="*/ 6313176 h 6858290"/>
              <a:gd name="connsiteX296" fmla="*/ 396081 w 12139750"/>
              <a:gd name="connsiteY296" fmla="*/ 6313176 h 6858290"/>
              <a:gd name="connsiteX297" fmla="*/ 419127 w 12139750"/>
              <a:gd name="connsiteY297" fmla="*/ 6334131 h 6858290"/>
              <a:gd name="connsiteX298" fmla="*/ 400120 w 12139750"/>
              <a:gd name="connsiteY298" fmla="*/ 6387471 h 6858290"/>
              <a:gd name="connsiteX299" fmla="*/ 63687 w 12139750"/>
              <a:gd name="connsiteY299" fmla="*/ 6553206 h 6858290"/>
              <a:gd name="connsiteX300" fmla="*/ 8565 w 12139750"/>
              <a:gd name="connsiteY300" fmla="*/ 6534156 h 6858290"/>
              <a:gd name="connsiteX301" fmla="*/ 4764 w 12139750"/>
              <a:gd name="connsiteY301" fmla="*/ 6517011 h 6858290"/>
              <a:gd name="connsiteX302" fmla="*/ 27573 w 12139750"/>
              <a:gd name="connsiteY302" fmla="*/ 6478911 h 6858290"/>
              <a:gd name="connsiteX303" fmla="*/ 365906 w 12139750"/>
              <a:gd name="connsiteY303" fmla="*/ 6315081 h 6858290"/>
              <a:gd name="connsiteX304" fmla="*/ 396081 w 12139750"/>
              <a:gd name="connsiteY304" fmla="*/ 6313176 h 6858290"/>
              <a:gd name="connsiteX305" fmla="*/ 5405334 w 12139750"/>
              <a:gd name="connsiteY305" fmla="*/ 6300229 h 6858290"/>
              <a:gd name="connsiteX306" fmla="*/ 5429330 w 12139750"/>
              <a:gd name="connsiteY306" fmla="*/ 6319493 h 6858290"/>
              <a:gd name="connsiteX307" fmla="*/ 5410323 w 12139750"/>
              <a:gd name="connsiteY307" fmla="*/ 6372768 h 6858290"/>
              <a:gd name="connsiteX308" fmla="*/ 5071987 w 12139750"/>
              <a:gd name="connsiteY308" fmla="*/ 6540203 h 6858290"/>
              <a:gd name="connsiteX309" fmla="*/ 5018773 w 12139750"/>
              <a:gd name="connsiteY309" fmla="*/ 6523079 h 6858290"/>
              <a:gd name="connsiteX310" fmla="*/ 5014972 w 12139750"/>
              <a:gd name="connsiteY310" fmla="*/ 6505955 h 6858290"/>
              <a:gd name="connsiteX311" fmla="*/ 5037779 w 12139750"/>
              <a:gd name="connsiteY311" fmla="*/ 6469804 h 6858290"/>
              <a:gd name="connsiteX312" fmla="*/ 5374210 w 12139750"/>
              <a:gd name="connsiteY312" fmla="*/ 6302369 h 6858290"/>
              <a:gd name="connsiteX313" fmla="*/ 5405334 w 12139750"/>
              <a:gd name="connsiteY313" fmla="*/ 6300229 h 6858290"/>
              <a:gd name="connsiteX314" fmla="*/ 940474 w 12139750"/>
              <a:gd name="connsiteY314" fmla="*/ 6300229 h 6858290"/>
              <a:gd name="connsiteX315" fmla="*/ 963607 w 12139750"/>
              <a:gd name="connsiteY315" fmla="*/ 6319493 h 6858290"/>
              <a:gd name="connsiteX316" fmla="*/ 944528 w 12139750"/>
              <a:gd name="connsiteY316" fmla="*/ 6372768 h 6858290"/>
              <a:gd name="connsiteX317" fmla="*/ 606835 w 12139750"/>
              <a:gd name="connsiteY317" fmla="*/ 6540203 h 6858290"/>
              <a:gd name="connsiteX318" fmla="*/ 551507 w 12139750"/>
              <a:gd name="connsiteY318" fmla="*/ 6523079 h 6858290"/>
              <a:gd name="connsiteX319" fmla="*/ 547691 w 12139750"/>
              <a:gd name="connsiteY319" fmla="*/ 6505955 h 6858290"/>
              <a:gd name="connsiteX320" fmla="*/ 570586 w 12139750"/>
              <a:gd name="connsiteY320" fmla="*/ 6469804 h 6858290"/>
              <a:gd name="connsiteX321" fmla="*/ 910187 w 12139750"/>
              <a:gd name="connsiteY321" fmla="*/ 6302369 h 6858290"/>
              <a:gd name="connsiteX322" fmla="*/ 940474 w 12139750"/>
              <a:gd name="connsiteY322" fmla="*/ 6300229 h 6858290"/>
              <a:gd name="connsiteX323" fmla="*/ 4851393 w 12139750"/>
              <a:gd name="connsiteY323" fmla="*/ 6285987 h 6858290"/>
              <a:gd name="connsiteX324" fmla="*/ 4875244 w 12139750"/>
              <a:gd name="connsiteY324" fmla="*/ 6305369 h 6858290"/>
              <a:gd name="connsiteX325" fmla="*/ 4856165 w 12139750"/>
              <a:gd name="connsiteY325" fmla="*/ 6358971 h 6858290"/>
              <a:gd name="connsiteX326" fmla="*/ 4518477 w 12139750"/>
              <a:gd name="connsiteY326" fmla="*/ 6529347 h 6858290"/>
              <a:gd name="connsiteX327" fmla="*/ 4465055 w 12139750"/>
              <a:gd name="connsiteY327" fmla="*/ 6512118 h 6858290"/>
              <a:gd name="connsiteX328" fmla="*/ 4459331 w 12139750"/>
              <a:gd name="connsiteY328" fmla="*/ 6494889 h 6858290"/>
              <a:gd name="connsiteX329" fmla="*/ 4482227 w 12139750"/>
              <a:gd name="connsiteY329" fmla="*/ 6458517 h 6858290"/>
              <a:gd name="connsiteX330" fmla="*/ 4821819 w 12139750"/>
              <a:gd name="connsiteY330" fmla="*/ 6288140 h 6858290"/>
              <a:gd name="connsiteX331" fmla="*/ 4851393 w 12139750"/>
              <a:gd name="connsiteY331" fmla="*/ 6285987 h 6858290"/>
              <a:gd name="connsiteX332" fmla="*/ 1486674 w 12139750"/>
              <a:gd name="connsiteY332" fmla="*/ 6285987 h 6858290"/>
              <a:gd name="connsiteX333" fmla="*/ 1509738 w 12139750"/>
              <a:gd name="connsiteY333" fmla="*/ 6305369 h 6858290"/>
              <a:gd name="connsiteX334" fmla="*/ 1492618 w 12139750"/>
              <a:gd name="connsiteY334" fmla="*/ 6358971 h 6858290"/>
              <a:gd name="connsiteX335" fmla="*/ 1154033 w 12139750"/>
              <a:gd name="connsiteY335" fmla="*/ 6529347 h 6858290"/>
              <a:gd name="connsiteX336" fmla="*/ 1100773 w 12139750"/>
              <a:gd name="connsiteY336" fmla="*/ 6512118 h 6858290"/>
              <a:gd name="connsiteX337" fmla="*/ 1096968 w 12139750"/>
              <a:gd name="connsiteY337" fmla="*/ 6494889 h 6858290"/>
              <a:gd name="connsiteX338" fmla="*/ 1117892 w 12139750"/>
              <a:gd name="connsiteY338" fmla="*/ 6458517 h 6858290"/>
              <a:gd name="connsiteX339" fmla="*/ 1456477 w 12139750"/>
              <a:gd name="connsiteY339" fmla="*/ 6288140 h 6858290"/>
              <a:gd name="connsiteX340" fmla="*/ 1486674 w 12139750"/>
              <a:gd name="connsiteY340" fmla="*/ 6285987 h 6858290"/>
              <a:gd name="connsiteX341" fmla="*/ 4292528 w 12139750"/>
              <a:gd name="connsiteY341" fmla="*/ 6273233 h 6858290"/>
              <a:gd name="connsiteX342" fmla="*/ 4314878 w 12139750"/>
              <a:gd name="connsiteY342" fmla="*/ 6292474 h 6858290"/>
              <a:gd name="connsiteX343" fmla="*/ 4297758 w 12139750"/>
              <a:gd name="connsiteY343" fmla="*/ 6345684 h 6858290"/>
              <a:gd name="connsiteX344" fmla="*/ 3961097 w 12139750"/>
              <a:gd name="connsiteY344" fmla="*/ 6516717 h 6858290"/>
              <a:gd name="connsiteX345" fmla="*/ 3907836 w 12139750"/>
              <a:gd name="connsiteY345" fmla="*/ 6499614 h 6858290"/>
              <a:gd name="connsiteX346" fmla="*/ 3902129 w 12139750"/>
              <a:gd name="connsiteY346" fmla="*/ 6482510 h 6858290"/>
              <a:gd name="connsiteX347" fmla="*/ 3924955 w 12139750"/>
              <a:gd name="connsiteY347" fmla="*/ 6446403 h 6858290"/>
              <a:gd name="connsiteX348" fmla="*/ 4261616 w 12139750"/>
              <a:gd name="connsiteY348" fmla="*/ 6275371 h 6858290"/>
              <a:gd name="connsiteX349" fmla="*/ 4292528 w 12139750"/>
              <a:gd name="connsiteY349" fmla="*/ 6273233 h 6858290"/>
              <a:gd name="connsiteX350" fmla="*/ 2038415 w 12139750"/>
              <a:gd name="connsiteY350" fmla="*/ 6273233 h 6858290"/>
              <a:gd name="connsiteX351" fmla="*/ 2062197 w 12139750"/>
              <a:gd name="connsiteY351" fmla="*/ 6292474 h 6858290"/>
              <a:gd name="connsiteX352" fmla="*/ 2045072 w 12139750"/>
              <a:gd name="connsiteY352" fmla="*/ 6345684 h 6858290"/>
              <a:gd name="connsiteX353" fmla="*/ 1706487 w 12139750"/>
              <a:gd name="connsiteY353" fmla="*/ 6516717 h 6858290"/>
              <a:gd name="connsiteX354" fmla="*/ 1653226 w 12139750"/>
              <a:gd name="connsiteY354" fmla="*/ 6499614 h 6858290"/>
              <a:gd name="connsiteX355" fmla="*/ 1649422 w 12139750"/>
              <a:gd name="connsiteY355" fmla="*/ 6482510 h 6858290"/>
              <a:gd name="connsiteX356" fmla="*/ 1670346 w 12139750"/>
              <a:gd name="connsiteY356" fmla="*/ 6446403 h 6858290"/>
              <a:gd name="connsiteX357" fmla="*/ 2008931 w 12139750"/>
              <a:gd name="connsiteY357" fmla="*/ 6275371 h 6858290"/>
              <a:gd name="connsiteX358" fmla="*/ 2038415 w 12139750"/>
              <a:gd name="connsiteY358" fmla="*/ 6273233 h 6858290"/>
              <a:gd name="connsiteX359" fmla="*/ 3729185 w 12139750"/>
              <a:gd name="connsiteY359" fmla="*/ 6260524 h 6858290"/>
              <a:gd name="connsiteX360" fmla="*/ 3751317 w 12139750"/>
              <a:gd name="connsiteY360" fmla="*/ 6279742 h 6858290"/>
              <a:gd name="connsiteX361" fmla="*/ 3736088 w 12139750"/>
              <a:gd name="connsiteY361" fmla="*/ 6330991 h 6858290"/>
              <a:gd name="connsiteX362" fmla="*/ 3397263 w 12139750"/>
              <a:gd name="connsiteY362" fmla="*/ 6505616 h 6858290"/>
              <a:gd name="connsiteX363" fmla="*/ 3345863 w 12139750"/>
              <a:gd name="connsiteY363" fmla="*/ 6488533 h 6858290"/>
              <a:gd name="connsiteX364" fmla="*/ 3340155 w 12139750"/>
              <a:gd name="connsiteY364" fmla="*/ 6469552 h 6858290"/>
              <a:gd name="connsiteX365" fmla="*/ 3361092 w 12139750"/>
              <a:gd name="connsiteY365" fmla="*/ 6435386 h 6858290"/>
              <a:gd name="connsiteX366" fmla="*/ 3699918 w 12139750"/>
              <a:gd name="connsiteY366" fmla="*/ 6262659 h 6858290"/>
              <a:gd name="connsiteX367" fmla="*/ 3729185 w 12139750"/>
              <a:gd name="connsiteY367" fmla="*/ 6260524 h 6858290"/>
              <a:gd name="connsiteX368" fmla="*/ 2595567 w 12139750"/>
              <a:gd name="connsiteY368" fmla="*/ 6260524 h 6858290"/>
              <a:gd name="connsiteX369" fmla="*/ 2617780 w 12139750"/>
              <a:gd name="connsiteY369" fmla="*/ 6279742 h 6858290"/>
              <a:gd name="connsiteX370" fmla="*/ 2600583 w 12139750"/>
              <a:gd name="connsiteY370" fmla="*/ 6330991 h 6858290"/>
              <a:gd name="connsiteX371" fmla="*/ 2262377 w 12139750"/>
              <a:gd name="connsiteY371" fmla="*/ 6505616 h 6858290"/>
              <a:gd name="connsiteX372" fmla="*/ 2210786 w 12139750"/>
              <a:gd name="connsiteY372" fmla="*/ 6488533 h 6858290"/>
              <a:gd name="connsiteX373" fmla="*/ 2205054 w 12139750"/>
              <a:gd name="connsiteY373" fmla="*/ 6469552 h 6858290"/>
              <a:gd name="connsiteX374" fmla="*/ 2226072 w 12139750"/>
              <a:gd name="connsiteY374" fmla="*/ 6435386 h 6858290"/>
              <a:gd name="connsiteX375" fmla="*/ 2566189 w 12139750"/>
              <a:gd name="connsiteY375" fmla="*/ 6262659 h 6858290"/>
              <a:gd name="connsiteX376" fmla="*/ 2595567 w 12139750"/>
              <a:gd name="connsiteY376" fmla="*/ 6260524 h 6858290"/>
              <a:gd name="connsiteX377" fmla="*/ 3155660 w 12139750"/>
              <a:gd name="connsiteY377" fmla="*/ 6245326 h 6858290"/>
              <a:gd name="connsiteX378" fmla="*/ 3177873 w 12139750"/>
              <a:gd name="connsiteY378" fmla="*/ 6263706 h 6858290"/>
              <a:gd name="connsiteX379" fmla="*/ 3162585 w 12139750"/>
              <a:gd name="connsiteY379" fmla="*/ 6317174 h 6858290"/>
              <a:gd name="connsiteX380" fmla="*/ 2822466 w 12139750"/>
              <a:gd name="connsiteY380" fmla="*/ 6492858 h 6858290"/>
              <a:gd name="connsiteX381" fmla="*/ 2770875 w 12139750"/>
              <a:gd name="connsiteY381" fmla="*/ 6477581 h 6858290"/>
              <a:gd name="connsiteX382" fmla="*/ 2767054 w 12139750"/>
              <a:gd name="connsiteY382" fmla="*/ 6458485 h 6858290"/>
              <a:gd name="connsiteX383" fmla="*/ 2788073 w 12139750"/>
              <a:gd name="connsiteY383" fmla="*/ 6426022 h 6858290"/>
              <a:gd name="connsiteX384" fmla="*/ 3126282 w 12139750"/>
              <a:gd name="connsiteY384" fmla="*/ 6248429 h 6858290"/>
              <a:gd name="connsiteX385" fmla="*/ 3155660 w 12139750"/>
              <a:gd name="connsiteY385" fmla="*/ 6245326 h 6858290"/>
              <a:gd name="connsiteX386" fmla="*/ 9874931 w 12139750"/>
              <a:gd name="connsiteY386" fmla="*/ 6079814 h 6858290"/>
              <a:gd name="connsiteX387" fmla="*/ 9898198 w 12139750"/>
              <a:gd name="connsiteY387" fmla="*/ 6100769 h 6858290"/>
              <a:gd name="connsiteX388" fmla="*/ 9879205 w 12139750"/>
              <a:gd name="connsiteY388" fmla="*/ 6154109 h 6858290"/>
              <a:gd name="connsiteX389" fmla="*/ 9541119 w 12139750"/>
              <a:gd name="connsiteY389" fmla="*/ 6319844 h 6858290"/>
              <a:gd name="connsiteX390" fmla="*/ 9487937 w 12139750"/>
              <a:gd name="connsiteY390" fmla="*/ 6300794 h 6858290"/>
              <a:gd name="connsiteX391" fmla="*/ 9482239 w 12139750"/>
              <a:gd name="connsiteY391" fmla="*/ 6281744 h 6858290"/>
              <a:gd name="connsiteX392" fmla="*/ 9506931 w 12139750"/>
              <a:gd name="connsiteY392" fmla="*/ 6245549 h 6858290"/>
              <a:gd name="connsiteX393" fmla="*/ 9843117 w 12139750"/>
              <a:gd name="connsiteY393" fmla="*/ 6081719 h 6858290"/>
              <a:gd name="connsiteX394" fmla="*/ 9874931 w 12139750"/>
              <a:gd name="connsiteY394" fmla="*/ 6079814 h 6858290"/>
              <a:gd name="connsiteX395" fmla="*/ 10459016 w 12139750"/>
              <a:gd name="connsiteY395" fmla="*/ 6066240 h 6858290"/>
              <a:gd name="connsiteX396" fmla="*/ 10482370 w 12139750"/>
              <a:gd name="connsiteY396" fmla="*/ 6086481 h 6858290"/>
              <a:gd name="connsiteX397" fmla="*/ 10463305 w 12139750"/>
              <a:gd name="connsiteY397" fmla="*/ 6141726 h 6858290"/>
              <a:gd name="connsiteX398" fmla="*/ 10123959 w 12139750"/>
              <a:gd name="connsiteY398" fmla="*/ 6305556 h 6858290"/>
              <a:gd name="connsiteX399" fmla="*/ 10068672 w 12139750"/>
              <a:gd name="connsiteY399" fmla="*/ 6286506 h 6858290"/>
              <a:gd name="connsiteX400" fmla="*/ 10064859 w 12139750"/>
              <a:gd name="connsiteY400" fmla="*/ 6269361 h 6858290"/>
              <a:gd name="connsiteX401" fmla="*/ 10087736 w 12139750"/>
              <a:gd name="connsiteY401" fmla="*/ 6231261 h 6858290"/>
              <a:gd name="connsiteX402" fmla="*/ 10427083 w 12139750"/>
              <a:gd name="connsiteY402" fmla="*/ 6067431 h 6858290"/>
              <a:gd name="connsiteX403" fmla="*/ 10459016 w 12139750"/>
              <a:gd name="connsiteY403" fmla="*/ 6066240 h 6858290"/>
              <a:gd name="connsiteX404" fmla="*/ 9297823 w 12139750"/>
              <a:gd name="connsiteY404" fmla="*/ 6066240 h 6858290"/>
              <a:gd name="connsiteX405" fmla="*/ 9321892 w 12139750"/>
              <a:gd name="connsiteY405" fmla="*/ 6086481 h 6858290"/>
              <a:gd name="connsiteX406" fmla="*/ 9302827 w 12139750"/>
              <a:gd name="connsiteY406" fmla="*/ 6141726 h 6858290"/>
              <a:gd name="connsiteX407" fmla="*/ 8963481 w 12139750"/>
              <a:gd name="connsiteY407" fmla="*/ 6305556 h 6858290"/>
              <a:gd name="connsiteX408" fmla="*/ 8908194 w 12139750"/>
              <a:gd name="connsiteY408" fmla="*/ 6286506 h 6858290"/>
              <a:gd name="connsiteX409" fmla="*/ 8904381 w 12139750"/>
              <a:gd name="connsiteY409" fmla="*/ 6269361 h 6858290"/>
              <a:gd name="connsiteX410" fmla="*/ 8927258 w 12139750"/>
              <a:gd name="connsiteY410" fmla="*/ 6231261 h 6858290"/>
              <a:gd name="connsiteX411" fmla="*/ 9266605 w 12139750"/>
              <a:gd name="connsiteY411" fmla="*/ 6067431 h 6858290"/>
              <a:gd name="connsiteX412" fmla="*/ 9297823 w 12139750"/>
              <a:gd name="connsiteY412" fmla="*/ 6066240 h 6858290"/>
              <a:gd name="connsiteX413" fmla="*/ 11018858 w 12139750"/>
              <a:gd name="connsiteY413" fmla="*/ 6051844 h 6858290"/>
              <a:gd name="connsiteX414" fmla="*/ 11057081 w 12139750"/>
              <a:gd name="connsiteY414" fmla="*/ 6075686 h 6858290"/>
              <a:gd name="connsiteX415" fmla="*/ 11038074 w 12139750"/>
              <a:gd name="connsiteY415" fmla="*/ 6129026 h 6858290"/>
              <a:gd name="connsiteX416" fmla="*/ 10699740 w 12139750"/>
              <a:gd name="connsiteY416" fmla="*/ 6292856 h 6858290"/>
              <a:gd name="connsiteX417" fmla="*/ 10646519 w 12139750"/>
              <a:gd name="connsiteY417" fmla="*/ 6273806 h 6858290"/>
              <a:gd name="connsiteX418" fmla="*/ 10642717 w 12139750"/>
              <a:gd name="connsiteY418" fmla="*/ 6256661 h 6858290"/>
              <a:gd name="connsiteX419" fmla="*/ 10665526 w 12139750"/>
              <a:gd name="connsiteY419" fmla="*/ 6220466 h 6858290"/>
              <a:gd name="connsiteX420" fmla="*/ 11003860 w 12139750"/>
              <a:gd name="connsiteY420" fmla="*/ 6056636 h 6858290"/>
              <a:gd name="connsiteX421" fmla="*/ 11018858 w 12139750"/>
              <a:gd name="connsiteY421" fmla="*/ 6051844 h 6858290"/>
              <a:gd name="connsiteX422" fmla="*/ 8710944 w 12139750"/>
              <a:gd name="connsiteY422" fmla="*/ 6051843 h 6858290"/>
              <a:gd name="connsiteX423" fmla="*/ 8748477 w 12139750"/>
              <a:gd name="connsiteY423" fmla="*/ 6075686 h 6858290"/>
              <a:gd name="connsiteX424" fmla="*/ 8731319 w 12139750"/>
              <a:gd name="connsiteY424" fmla="*/ 6129026 h 6858290"/>
              <a:gd name="connsiteX425" fmla="*/ 8391973 w 12139750"/>
              <a:gd name="connsiteY425" fmla="*/ 6292856 h 6858290"/>
              <a:gd name="connsiteX426" fmla="*/ 8336686 w 12139750"/>
              <a:gd name="connsiteY426" fmla="*/ 6273806 h 6858290"/>
              <a:gd name="connsiteX427" fmla="*/ 8332873 w 12139750"/>
              <a:gd name="connsiteY427" fmla="*/ 6256661 h 6858290"/>
              <a:gd name="connsiteX428" fmla="*/ 8355750 w 12139750"/>
              <a:gd name="connsiteY428" fmla="*/ 6220466 h 6858290"/>
              <a:gd name="connsiteX429" fmla="*/ 8695097 w 12139750"/>
              <a:gd name="connsiteY429" fmla="*/ 6056636 h 6858290"/>
              <a:gd name="connsiteX430" fmla="*/ 8710944 w 12139750"/>
              <a:gd name="connsiteY430" fmla="*/ 6051843 h 6858290"/>
              <a:gd name="connsiteX431" fmla="*/ 11603954 w 12139750"/>
              <a:gd name="connsiteY431" fmla="*/ 6041714 h 6858290"/>
              <a:gd name="connsiteX432" fmla="*/ 11627001 w 12139750"/>
              <a:gd name="connsiteY432" fmla="*/ 6062669 h 6858290"/>
              <a:gd name="connsiteX433" fmla="*/ 11607994 w 12139750"/>
              <a:gd name="connsiteY433" fmla="*/ 6117914 h 6858290"/>
              <a:gd name="connsiteX434" fmla="*/ 11271560 w 12139750"/>
              <a:gd name="connsiteY434" fmla="*/ 6281744 h 6858290"/>
              <a:gd name="connsiteX435" fmla="*/ 11216439 w 12139750"/>
              <a:gd name="connsiteY435" fmla="*/ 6262694 h 6858290"/>
              <a:gd name="connsiteX436" fmla="*/ 11212637 w 12139750"/>
              <a:gd name="connsiteY436" fmla="*/ 6243644 h 6858290"/>
              <a:gd name="connsiteX437" fmla="*/ 11235446 w 12139750"/>
              <a:gd name="connsiteY437" fmla="*/ 6207449 h 6858290"/>
              <a:gd name="connsiteX438" fmla="*/ 11573780 w 12139750"/>
              <a:gd name="connsiteY438" fmla="*/ 6043619 h 6858290"/>
              <a:gd name="connsiteX439" fmla="*/ 11603954 w 12139750"/>
              <a:gd name="connsiteY439" fmla="*/ 6041714 h 6858290"/>
              <a:gd name="connsiteX440" fmla="*/ 8160285 w 12139750"/>
              <a:gd name="connsiteY440" fmla="*/ 6041714 h 6858290"/>
              <a:gd name="connsiteX441" fmla="*/ 8183639 w 12139750"/>
              <a:gd name="connsiteY441" fmla="*/ 6062669 h 6858290"/>
              <a:gd name="connsiteX442" fmla="*/ 8164574 w 12139750"/>
              <a:gd name="connsiteY442" fmla="*/ 6117914 h 6858290"/>
              <a:gd name="connsiteX443" fmla="*/ 7825227 w 12139750"/>
              <a:gd name="connsiteY443" fmla="*/ 6281744 h 6858290"/>
              <a:gd name="connsiteX444" fmla="*/ 7769941 w 12139750"/>
              <a:gd name="connsiteY444" fmla="*/ 6262694 h 6858290"/>
              <a:gd name="connsiteX445" fmla="*/ 7766128 w 12139750"/>
              <a:gd name="connsiteY445" fmla="*/ 6243644 h 6858290"/>
              <a:gd name="connsiteX446" fmla="*/ 7789005 w 12139750"/>
              <a:gd name="connsiteY446" fmla="*/ 6207449 h 6858290"/>
              <a:gd name="connsiteX447" fmla="*/ 8128352 w 12139750"/>
              <a:gd name="connsiteY447" fmla="*/ 6043619 h 6858290"/>
              <a:gd name="connsiteX448" fmla="*/ 8160285 w 12139750"/>
              <a:gd name="connsiteY448" fmla="*/ 6041714 h 6858290"/>
              <a:gd name="connsiteX449" fmla="*/ 12135947 w 12139750"/>
              <a:gd name="connsiteY449" fmla="*/ 6029331 h 6858290"/>
              <a:gd name="connsiteX450" fmla="*/ 12139750 w 12139750"/>
              <a:gd name="connsiteY450" fmla="*/ 6029331 h 6858290"/>
              <a:gd name="connsiteX451" fmla="*/ 12139750 w 12139750"/>
              <a:gd name="connsiteY451" fmla="*/ 6118866 h 6858290"/>
              <a:gd name="connsiteX452" fmla="*/ 11833573 w 12139750"/>
              <a:gd name="connsiteY452" fmla="*/ 6267456 h 6858290"/>
              <a:gd name="connsiteX453" fmla="*/ 11780325 w 12139750"/>
              <a:gd name="connsiteY453" fmla="*/ 6248406 h 6858290"/>
              <a:gd name="connsiteX454" fmla="*/ 11774620 w 12139750"/>
              <a:gd name="connsiteY454" fmla="*/ 6231261 h 6858290"/>
              <a:gd name="connsiteX455" fmla="*/ 11797441 w 12139750"/>
              <a:gd name="connsiteY455" fmla="*/ 6195066 h 6858290"/>
              <a:gd name="connsiteX456" fmla="*/ 7599809 w 12139750"/>
              <a:gd name="connsiteY456" fmla="*/ 6028140 h 6858290"/>
              <a:gd name="connsiteX457" fmla="*/ 7622924 w 12139750"/>
              <a:gd name="connsiteY457" fmla="*/ 6048381 h 6858290"/>
              <a:gd name="connsiteX458" fmla="*/ 7603860 w 12139750"/>
              <a:gd name="connsiteY458" fmla="*/ 6103626 h 6858290"/>
              <a:gd name="connsiteX459" fmla="*/ 7266419 w 12139750"/>
              <a:gd name="connsiteY459" fmla="*/ 6267456 h 6858290"/>
              <a:gd name="connsiteX460" fmla="*/ 7211133 w 12139750"/>
              <a:gd name="connsiteY460" fmla="*/ 6248406 h 6858290"/>
              <a:gd name="connsiteX461" fmla="*/ 7207320 w 12139750"/>
              <a:gd name="connsiteY461" fmla="*/ 6231261 h 6858290"/>
              <a:gd name="connsiteX462" fmla="*/ 7230197 w 12139750"/>
              <a:gd name="connsiteY462" fmla="*/ 6195066 h 6858290"/>
              <a:gd name="connsiteX463" fmla="*/ 7569544 w 12139750"/>
              <a:gd name="connsiteY463" fmla="*/ 6029331 h 6858290"/>
              <a:gd name="connsiteX464" fmla="*/ 7599809 w 12139750"/>
              <a:gd name="connsiteY464" fmla="*/ 6028140 h 6858290"/>
              <a:gd name="connsiteX465" fmla="*/ 7047351 w 12139750"/>
              <a:gd name="connsiteY465" fmla="*/ 6016314 h 6858290"/>
              <a:gd name="connsiteX466" fmla="*/ 7070466 w 12139750"/>
              <a:gd name="connsiteY466" fmla="*/ 6037269 h 6858290"/>
              <a:gd name="connsiteX467" fmla="*/ 7051402 w 12139750"/>
              <a:gd name="connsiteY467" fmla="*/ 6090609 h 6858290"/>
              <a:gd name="connsiteX468" fmla="*/ 6713961 w 12139750"/>
              <a:gd name="connsiteY468" fmla="*/ 6254439 h 6858290"/>
              <a:gd name="connsiteX469" fmla="*/ 6658675 w 12139750"/>
              <a:gd name="connsiteY469" fmla="*/ 6235389 h 6858290"/>
              <a:gd name="connsiteX470" fmla="*/ 6654862 w 12139750"/>
              <a:gd name="connsiteY470" fmla="*/ 6218244 h 6858290"/>
              <a:gd name="connsiteX471" fmla="*/ 6677739 w 12139750"/>
              <a:gd name="connsiteY471" fmla="*/ 6182049 h 6858290"/>
              <a:gd name="connsiteX472" fmla="*/ 7017086 w 12139750"/>
              <a:gd name="connsiteY472" fmla="*/ 6018219 h 6858290"/>
              <a:gd name="connsiteX473" fmla="*/ 7047351 w 12139750"/>
              <a:gd name="connsiteY473" fmla="*/ 6016314 h 6858290"/>
              <a:gd name="connsiteX474" fmla="*/ 6502912 w 12139750"/>
              <a:gd name="connsiteY474" fmla="*/ 6003613 h 6858290"/>
              <a:gd name="connsiteX475" fmla="*/ 6526266 w 12139750"/>
              <a:gd name="connsiteY475" fmla="*/ 6024568 h 6858290"/>
              <a:gd name="connsiteX476" fmla="*/ 6507201 w 12139750"/>
              <a:gd name="connsiteY476" fmla="*/ 6079813 h 6858290"/>
              <a:gd name="connsiteX477" fmla="*/ 6167854 w 12139750"/>
              <a:gd name="connsiteY477" fmla="*/ 6243643 h 6858290"/>
              <a:gd name="connsiteX478" fmla="*/ 6112568 w 12139750"/>
              <a:gd name="connsiteY478" fmla="*/ 6224593 h 6858290"/>
              <a:gd name="connsiteX479" fmla="*/ 6108755 w 12139750"/>
              <a:gd name="connsiteY479" fmla="*/ 6207448 h 6858290"/>
              <a:gd name="connsiteX480" fmla="*/ 6131632 w 12139750"/>
              <a:gd name="connsiteY480" fmla="*/ 6169348 h 6858290"/>
              <a:gd name="connsiteX481" fmla="*/ 6470979 w 12139750"/>
              <a:gd name="connsiteY481" fmla="*/ 6005518 h 6858290"/>
              <a:gd name="connsiteX482" fmla="*/ 6502912 w 12139750"/>
              <a:gd name="connsiteY482" fmla="*/ 6003613 h 6858290"/>
              <a:gd name="connsiteX483" fmla="*/ 5940750 w 12139750"/>
              <a:gd name="connsiteY483" fmla="*/ 5988314 h 6858290"/>
              <a:gd name="connsiteX484" fmla="*/ 5980159 w 12139750"/>
              <a:gd name="connsiteY484" fmla="*/ 6010281 h 6858290"/>
              <a:gd name="connsiteX485" fmla="*/ 5961095 w 12139750"/>
              <a:gd name="connsiteY485" fmla="*/ 6065526 h 6858290"/>
              <a:gd name="connsiteX486" fmla="*/ 5621756 w 12139750"/>
              <a:gd name="connsiteY486" fmla="*/ 6229356 h 6858290"/>
              <a:gd name="connsiteX487" fmla="*/ 5566471 w 12139750"/>
              <a:gd name="connsiteY487" fmla="*/ 6210306 h 6858290"/>
              <a:gd name="connsiteX488" fmla="*/ 5562659 w 12139750"/>
              <a:gd name="connsiteY488" fmla="*/ 6193161 h 6858290"/>
              <a:gd name="connsiteX489" fmla="*/ 5585535 w 12139750"/>
              <a:gd name="connsiteY489" fmla="*/ 6156966 h 6858290"/>
              <a:gd name="connsiteX490" fmla="*/ 5924873 w 12139750"/>
              <a:gd name="connsiteY490" fmla="*/ 5993136 h 6858290"/>
              <a:gd name="connsiteX491" fmla="*/ 5940750 w 12139750"/>
              <a:gd name="connsiteY491" fmla="*/ 5988314 h 6858290"/>
              <a:gd name="connsiteX492" fmla="*/ 380904 w 12139750"/>
              <a:gd name="connsiteY492" fmla="*/ 5988314 h 6858290"/>
              <a:gd name="connsiteX493" fmla="*/ 419127 w 12139750"/>
              <a:gd name="connsiteY493" fmla="*/ 6010281 h 6858290"/>
              <a:gd name="connsiteX494" fmla="*/ 400119 w 12139750"/>
              <a:gd name="connsiteY494" fmla="*/ 6065526 h 6858290"/>
              <a:gd name="connsiteX495" fmla="*/ 63687 w 12139750"/>
              <a:gd name="connsiteY495" fmla="*/ 6229356 h 6858290"/>
              <a:gd name="connsiteX496" fmla="*/ 8565 w 12139750"/>
              <a:gd name="connsiteY496" fmla="*/ 6210306 h 6858290"/>
              <a:gd name="connsiteX497" fmla="*/ 4764 w 12139750"/>
              <a:gd name="connsiteY497" fmla="*/ 6193161 h 6858290"/>
              <a:gd name="connsiteX498" fmla="*/ 27573 w 12139750"/>
              <a:gd name="connsiteY498" fmla="*/ 6156966 h 6858290"/>
              <a:gd name="connsiteX499" fmla="*/ 365906 w 12139750"/>
              <a:gd name="connsiteY499" fmla="*/ 5993136 h 6858290"/>
              <a:gd name="connsiteX500" fmla="*/ 380904 w 12139750"/>
              <a:gd name="connsiteY500" fmla="*/ 5988314 h 6858290"/>
              <a:gd name="connsiteX501" fmla="*/ 5406285 w 12139750"/>
              <a:gd name="connsiteY501" fmla="*/ 5978213 h 6858290"/>
              <a:gd name="connsiteX502" fmla="*/ 5429330 w 12139750"/>
              <a:gd name="connsiteY502" fmla="*/ 5999168 h 6858290"/>
              <a:gd name="connsiteX503" fmla="*/ 5410323 w 12139750"/>
              <a:gd name="connsiteY503" fmla="*/ 6052508 h 6858290"/>
              <a:gd name="connsiteX504" fmla="*/ 5071987 w 12139750"/>
              <a:gd name="connsiteY504" fmla="*/ 6218243 h 6858290"/>
              <a:gd name="connsiteX505" fmla="*/ 5018773 w 12139750"/>
              <a:gd name="connsiteY505" fmla="*/ 6199193 h 6858290"/>
              <a:gd name="connsiteX506" fmla="*/ 5014972 w 12139750"/>
              <a:gd name="connsiteY506" fmla="*/ 6180143 h 6858290"/>
              <a:gd name="connsiteX507" fmla="*/ 5037779 w 12139750"/>
              <a:gd name="connsiteY507" fmla="*/ 6143948 h 6858290"/>
              <a:gd name="connsiteX508" fmla="*/ 5376110 w 12139750"/>
              <a:gd name="connsiteY508" fmla="*/ 5980118 h 6858290"/>
              <a:gd name="connsiteX509" fmla="*/ 5406285 w 12139750"/>
              <a:gd name="connsiteY509" fmla="*/ 5978213 h 6858290"/>
              <a:gd name="connsiteX510" fmla="*/ 940179 w 12139750"/>
              <a:gd name="connsiteY510" fmla="*/ 5978213 h 6858290"/>
              <a:gd name="connsiteX511" fmla="*/ 963295 w 12139750"/>
              <a:gd name="connsiteY511" fmla="*/ 5999168 h 6858290"/>
              <a:gd name="connsiteX512" fmla="*/ 944230 w 12139750"/>
              <a:gd name="connsiteY512" fmla="*/ 6052508 h 6858290"/>
              <a:gd name="connsiteX513" fmla="*/ 606791 w 12139750"/>
              <a:gd name="connsiteY513" fmla="*/ 6218243 h 6858290"/>
              <a:gd name="connsiteX514" fmla="*/ 551504 w 12139750"/>
              <a:gd name="connsiteY514" fmla="*/ 6199193 h 6858290"/>
              <a:gd name="connsiteX515" fmla="*/ 547691 w 12139750"/>
              <a:gd name="connsiteY515" fmla="*/ 6180143 h 6858290"/>
              <a:gd name="connsiteX516" fmla="*/ 570568 w 12139750"/>
              <a:gd name="connsiteY516" fmla="*/ 6143948 h 6858290"/>
              <a:gd name="connsiteX517" fmla="*/ 909915 w 12139750"/>
              <a:gd name="connsiteY517" fmla="*/ 5980118 h 6858290"/>
              <a:gd name="connsiteX518" fmla="*/ 940179 w 12139750"/>
              <a:gd name="connsiteY518" fmla="*/ 5978213 h 6858290"/>
              <a:gd name="connsiteX519" fmla="*/ 4852107 w 12139750"/>
              <a:gd name="connsiteY519" fmla="*/ 5966227 h 6858290"/>
              <a:gd name="connsiteX520" fmla="*/ 4875244 w 12139750"/>
              <a:gd name="connsiteY520" fmla="*/ 5986468 h 6858290"/>
              <a:gd name="connsiteX521" fmla="*/ 4856165 w 12139750"/>
              <a:gd name="connsiteY521" fmla="*/ 6041713 h 6858290"/>
              <a:gd name="connsiteX522" fmla="*/ 4516568 w 12139750"/>
              <a:gd name="connsiteY522" fmla="*/ 6205543 h 6858290"/>
              <a:gd name="connsiteX523" fmla="*/ 4463148 w 12139750"/>
              <a:gd name="connsiteY523" fmla="*/ 6186493 h 6858290"/>
              <a:gd name="connsiteX524" fmla="*/ 4459331 w 12139750"/>
              <a:gd name="connsiteY524" fmla="*/ 6169348 h 6858290"/>
              <a:gd name="connsiteX525" fmla="*/ 4482227 w 12139750"/>
              <a:gd name="connsiteY525" fmla="*/ 6131248 h 6858290"/>
              <a:gd name="connsiteX526" fmla="*/ 4821819 w 12139750"/>
              <a:gd name="connsiteY526" fmla="*/ 5967418 h 6858290"/>
              <a:gd name="connsiteX527" fmla="*/ 4852107 w 12139750"/>
              <a:gd name="connsiteY527" fmla="*/ 5966227 h 6858290"/>
              <a:gd name="connsiteX528" fmla="*/ 1487950 w 12139750"/>
              <a:gd name="connsiteY528" fmla="*/ 5966227 h 6858290"/>
              <a:gd name="connsiteX529" fmla="*/ 1511303 w 12139750"/>
              <a:gd name="connsiteY529" fmla="*/ 5986468 h 6858290"/>
              <a:gd name="connsiteX530" fmla="*/ 1492239 w 12139750"/>
              <a:gd name="connsiteY530" fmla="*/ 6041713 h 6858290"/>
              <a:gd name="connsiteX531" fmla="*/ 1152893 w 12139750"/>
              <a:gd name="connsiteY531" fmla="*/ 6205543 h 6858290"/>
              <a:gd name="connsiteX532" fmla="*/ 1097606 w 12139750"/>
              <a:gd name="connsiteY532" fmla="*/ 6186493 h 6858290"/>
              <a:gd name="connsiteX533" fmla="*/ 1093793 w 12139750"/>
              <a:gd name="connsiteY533" fmla="*/ 6169348 h 6858290"/>
              <a:gd name="connsiteX534" fmla="*/ 1116671 w 12139750"/>
              <a:gd name="connsiteY534" fmla="*/ 6131248 h 6858290"/>
              <a:gd name="connsiteX535" fmla="*/ 1456017 w 12139750"/>
              <a:gd name="connsiteY535" fmla="*/ 5967418 h 6858290"/>
              <a:gd name="connsiteX536" fmla="*/ 1487950 w 12139750"/>
              <a:gd name="connsiteY536" fmla="*/ 5966227 h 6858290"/>
              <a:gd name="connsiteX537" fmla="*/ 4293424 w 12139750"/>
              <a:gd name="connsiteY537" fmla="*/ 5952822 h 6858290"/>
              <a:gd name="connsiteX538" fmla="*/ 4316472 w 12139750"/>
              <a:gd name="connsiteY538" fmla="*/ 5973803 h 6858290"/>
              <a:gd name="connsiteX539" fmla="*/ 4297464 w 12139750"/>
              <a:gd name="connsiteY539" fmla="*/ 6027210 h 6858290"/>
              <a:gd name="connsiteX540" fmla="*/ 3959151 w 12139750"/>
              <a:gd name="connsiteY540" fmla="*/ 6191244 h 6858290"/>
              <a:gd name="connsiteX541" fmla="*/ 3905929 w 12139750"/>
              <a:gd name="connsiteY541" fmla="*/ 6172170 h 6858290"/>
              <a:gd name="connsiteX542" fmla="*/ 3902129 w 12139750"/>
              <a:gd name="connsiteY542" fmla="*/ 6155004 h 6858290"/>
              <a:gd name="connsiteX543" fmla="*/ 3924936 w 12139750"/>
              <a:gd name="connsiteY543" fmla="*/ 6118764 h 6858290"/>
              <a:gd name="connsiteX544" fmla="*/ 4263250 w 12139750"/>
              <a:gd name="connsiteY544" fmla="*/ 5954730 h 6858290"/>
              <a:gd name="connsiteX545" fmla="*/ 4293424 w 12139750"/>
              <a:gd name="connsiteY545" fmla="*/ 5952822 h 6858290"/>
              <a:gd name="connsiteX546" fmla="*/ 2039813 w 12139750"/>
              <a:gd name="connsiteY546" fmla="*/ 5952822 h 6858290"/>
              <a:gd name="connsiteX547" fmla="*/ 2063798 w 12139750"/>
              <a:gd name="connsiteY547" fmla="*/ 5973803 h 6858290"/>
              <a:gd name="connsiteX548" fmla="*/ 2044799 w 12139750"/>
              <a:gd name="connsiteY548" fmla="*/ 6027210 h 6858290"/>
              <a:gd name="connsiteX549" fmla="*/ 1706714 w 12139750"/>
              <a:gd name="connsiteY549" fmla="*/ 6191244 h 6858290"/>
              <a:gd name="connsiteX550" fmla="*/ 1651633 w 12139750"/>
              <a:gd name="connsiteY550" fmla="*/ 6172170 h 6858290"/>
              <a:gd name="connsiteX551" fmla="*/ 1647834 w 12139750"/>
              <a:gd name="connsiteY551" fmla="*/ 6155004 h 6858290"/>
              <a:gd name="connsiteX552" fmla="*/ 1670626 w 12139750"/>
              <a:gd name="connsiteY552" fmla="*/ 6118764 h 6858290"/>
              <a:gd name="connsiteX553" fmla="*/ 2008712 w 12139750"/>
              <a:gd name="connsiteY553" fmla="*/ 5954730 h 6858290"/>
              <a:gd name="connsiteX554" fmla="*/ 2039813 w 12139750"/>
              <a:gd name="connsiteY554" fmla="*/ 5952822 h 6858290"/>
              <a:gd name="connsiteX555" fmla="*/ 3730406 w 12139750"/>
              <a:gd name="connsiteY555" fmla="*/ 5940113 h 6858290"/>
              <a:gd name="connsiteX556" fmla="*/ 3754477 w 12139750"/>
              <a:gd name="connsiteY556" fmla="*/ 5961068 h 6858290"/>
              <a:gd name="connsiteX557" fmla="*/ 3735413 w 12139750"/>
              <a:gd name="connsiteY557" fmla="*/ 6016313 h 6858290"/>
              <a:gd name="connsiteX558" fmla="*/ 3396079 w 12139750"/>
              <a:gd name="connsiteY558" fmla="*/ 6180143 h 6858290"/>
              <a:gd name="connsiteX559" fmla="*/ 3340792 w 12139750"/>
              <a:gd name="connsiteY559" fmla="*/ 6161093 h 6858290"/>
              <a:gd name="connsiteX560" fmla="*/ 3336978 w 12139750"/>
              <a:gd name="connsiteY560" fmla="*/ 6142043 h 6858290"/>
              <a:gd name="connsiteX561" fmla="*/ 3359858 w 12139750"/>
              <a:gd name="connsiteY561" fmla="*/ 6105848 h 6858290"/>
              <a:gd name="connsiteX562" fmla="*/ 3699190 w 12139750"/>
              <a:gd name="connsiteY562" fmla="*/ 5942018 h 6858290"/>
              <a:gd name="connsiteX563" fmla="*/ 3730406 w 12139750"/>
              <a:gd name="connsiteY563" fmla="*/ 5940113 h 6858290"/>
              <a:gd name="connsiteX564" fmla="*/ 2596908 w 12139750"/>
              <a:gd name="connsiteY564" fmla="*/ 5940113 h 6858290"/>
              <a:gd name="connsiteX565" fmla="*/ 2620975 w 12139750"/>
              <a:gd name="connsiteY565" fmla="*/ 5961068 h 6858290"/>
              <a:gd name="connsiteX566" fmla="*/ 2601911 w 12139750"/>
              <a:gd name="connsiteY566" fmla="*/ 6016313 h 6858290"/>
              <a:gd name="connsiteX567" fmla="*/ 2262565 w 12139750"/>
              <a:gd name="connsiteY567" fmla="*/ 6180143 h 6858290"/>
              <a:gd name="connsiteX568" fmla="*/ 2207278 w 12139750"/>
              <a:gd name="connsiteY568" fmla="*/ 6161093 h 6858290"/>
              <a:gd name="connsiteX569" fmla="*/ 2203466 w 12139750"/>
              <a:gd name="connsiteY569" fmla="*/ 6142043 h 6858290"/>
              <a:gd name="connsiteX570" fmla="*/ 2226343 w 12139750"/>
              <a:gd name="connsiteY570" fmla="*/ 6105848 h 6858290"/>
              <a:gd name="connsiteX571" fmla="*/ 2565688 w 12139750"/>
              <a:gd name="connsiteY571" fmla="*/ 5942018 h 6858290"/>
              <a:gd name="connsiteX572" fmla="*/ 2596908 w 12139750"/>
              <a:gd name="connsiteY572" fmla="*/ 5940113 h 6858290"/>
              <a:gd name="connsiteX573" fmla="*/ 3158037 w 12139750"/>
              <a:gd name="connsiteY573" fmla="*/ 5928127 h 6858290"/>
              <a:gd name="connsiteX574" fmla="*/ 3181391 w 12139750"/>
              <a:gd name="connsiteY574" fmla="*/ 5948368 h 6858290"/>
              <a:gd name="connsiteX575" fmla="*/ 3162327 w 12139750"/>
              <a:gd name="connsiteY575" fmla="*/ 6003613 h 6858290"/>
              <a:gd name="connsiteX576" fmla="*/ 2822979 w 12139750"/>
              <a:gd name="connsiteY576" fmla="*/ 6167443 h 6858290"/>
              <a:gd name="connsiteX577" fmla="*/ 2769600 w 12139750"/>
              <a:gd name="connsiteY577" fmla="*/ 6148393 h 6858290"/>
              <a:gd name="connsiteX578" fmla="*/ 2763879 w 12139750"/>
              <a:gd name="connsiteY578" fmla="*/ 6131248 h 6858290"/>
              <a:gd name="connsiteX579" fmla="*/ 2788663 w 12139750"/>
              <a:gd name="connsiteY579" fmla="*/ 6093148 h 6858290"/>
              <a:gd name="connsiteX580" fmla="*/ 3126104 w 12139750"/>
              <a:gd name="connsiteY580" fmla="*/ 5929318 h 6858290"/>
              <a:gd name="connsiteX581" fmla="*/ 3158037 w 12139750"/>
              <a:gd name="connsiteY581" fmla="*/ 5928127 h 6858290"/>
              <a:gd name="connsiteX582" fmla="*/ 9872849 w 12139750"/>
              <a:gd name="connsiteY582" fmla="*/ 5750963 h 6858290"/>
              <a:gd name="connsiteX583" fmla="*/ 9894995 w 12139750"/>
              <a:gd name="connsiteY583" fmla="*/ 5770251 h 6858290"/>
              <a:gd name="connsiteX584" fmla="*/ 9879755 w 12139750"/>
              <a:gd name="connsiteY584" fmla="*/ 5821686 h 6858290"/>
              <a:gd name="connsiteX585" fmla="*/ 9542565 w 12139750"/>
              <a:gd name="connsiteY585" fmla="*/ 6000756 h 6858290"/>
              <a:gd name="connsiteX586" fmla="*/ 9489224 w 12139750"/>
              <a:gd name="connsiteY586" fmla="*/ 5983611 h 6858290"/>
              <a:gd name="connsiteX587" fmla="*/ 9485414 w 12139750"/>
              <a:gd name="connsiteY587" fmla="*/ 5966466 h 6858290"/>
              <a:gd name="connsiteX588" fmla="*/ 9506369 w 12139750"/>
              <a:gd name="connsiteY588" fmla="*/ 5932176 h 6858290"/>
              <a:gd name="connsiteX589" fmla="*/ 9843559 w 12139750"/>
              <a:gd name="connsiteY589" fmla="*/ 5753106 h 6858290"/>
              <a:gd name="connsiteX590" fmla="*/ 9872849 w 12139750"/>
              <a:gd name="connsiteY590" fmla="*/ 5750963 h 6858290"/>
              <a:gd name="connsiteX591" fmla="*/ 10455469 w 12139750"/>
              <a:gd name="connsiteY591" fmla="*/ 5739858 h 6858290"/>
              <a:gd name="connsiteX592" fmla="*/ 10477615 w 12139750"/>
              <a:gd name="connsiteY592" fmla="*/ 5759170 h 6858290"/>
              <a:gd name="connsiteX593" fmla="*/ 10462375 w 12139750"/>
              <a:gd name="connsiteY593" fmla="*/ 5810667 h 6858290"/>
              <a:gd name="connsiteX594" fmla="*/ 10123280 w 12139750"/>
              <a:gd name="connsiteY594" fmla="*/ 5988044 h 6858290"/>
              <a:gd name="connsiteX595" fmla="*/ 10071844 w 12139750"/>
              <a:gd name="connsiteY595" fmla="*/ 5970879 h 6858290"/>
              <a:gd name="connsiteX596" fmla="*/ 10068034 w 12139750"/>
              <a:gd name="connsiteY596" fmla="*/ 5953713 h 6858290"/>
              <a:gd name="connsiteX597" fmla="*/ 10088989 w 12139750"/>
              <a:gd name="connsiteY597" fmla="*/ 5919382 h 6858290"/>
              <a:gd name="connsiteX598" fmla="*/ 10426179 w 12139750"/>
              <a:gd name="connsiteY598" fmla="*/ 5742004 h 6858290"/>
              <a:gd name="connsiteX599" fmla="*/ 10455469 w 12139750"/>
              <a:gd name="connsiteY599" fmla="*/ 5739858 h 6858290"/>
              <a:gd name="connsiteX600" fmla="*/ 9295014 w 12139750"/>
              <a:gd name="connsiteY600" fmla="*/ 5739858 h 6858290"/>
              <a:gd name="connsiteX601" fmla="*/ 9317143 w 12139750"/>
              <a:gd name="connsiteY601" fmla="*/ 5759170 h 6858290"/>
              <a:gd name="connsiteX602" fmla="*/ 9300011 w 12139750"/>
              <a:gd name="connsiteY602" fmla="*/ 5810667 h 6858290"/>
              <a:gd name="connsiteX603" fmla="*/ 8963076 w 12139750"/>
              <a:gd name="connsiteY603" fmla="*/ 5988044 h 6858290"/>
              <a:gd name="connsiteX604" fmla="*/ 8911679 w 12139750"/>
              <a:gd name="connsiteY604" fmla="*/ 5970879 h 6858290"/>
              <a:gd name="connsiteX605" fmla="*/ 8905968 w 12139750"/>
              <a:gd name="connsiteY605" fmla="*/ 5953713 h 6858290"/>
              <a:gd name="connsiteX606" fmla="*/ 8926907 w 12139750"/>
              <a:gd name="connsiteY606" fmla="*/ 5919382 h 6858290"/>
              <a:gd name="connsiteX607" fmla="*/ 9265746 w 12139750"/>
              <a:gd name="connsiteY607" fmla="*/ 5742004 h 6858290"/>
              <a:gd name="connsiteX608" fmla="*/ 9295014 w 12139750"/>
              <a:gd name="connsiteY608" fmla="*/ 5739858 h 6858290"/>
              <a:gd name="connsiteX609" fmla="*/ 11032399 w 12139750"/>
              <a:gd name="connsiteY609" fmla="*/ 5727762 h 6858290"/>
              <a:gd name="connsiteX610" fmla="*/ 11055480 w 12139750"/>
              <a:gd name="connsiteY610" fmla="*/ 5746031 h 6858290"/>
              <a:gd name="connsiteX611" fmla="*/ 11038348 w 12139750"/>
              <a:gd name="connsiteY611" fmla="*/ 5799178 h 6858290"/>
              <a:gd name="connsiteX612" fmla="*/ 10701413 w 12139750"/>
              <a:gd name="connsiteY612" fmla="*/ 5973803 h 6858290"/>
              <a:gd name="connsiteX613" fmla="*/ 10648112 w 12139750"/>
              <a:gd name="connsiteY613" fmla="*/ 5956720 h 6858290"/>
              <a:gd name="connsiteX614" fmla="*/ 10644305 w 12139750"/>
              <a:gd name="connsiteY614" fmla="*/ 5937739 h 6858290"/>
              <a:gd name="connsiteX615" fmla="*/ 10665244 w 12139750"/>
              <a:gd name="connsiteY615" fmla="*/ 5903573 h 6858290"/>
              <a:gd name="connsiteX616" fmla="*/ 11002180 w 12139750"/>
              <a:gd name="connsiteY616" fmla="*/ 5730846 h 6858290"/>
              <a:gd name="connsiteX617" fmla="*/ 11032399 w 12139750"/>
              <a:gd name="connsiteY617" fmla="*/ 5727762 h 6858290"/>
              <a:gd name="connsiteX618" fmla="*/ 8723506 w 12139750"/>
              <a:gd name="connsiteY618" fmla="*/ 5727762 h 6858290"/>
              <a:gd name="connsiteX619" fmla="*/ 8745635 w 12139750"/>
              <a:gd name="connsiteY619" fmla="*/ 5746031 h 6858290"/>
              <a:gd name="connsiteX620" fmla="*/ 8728503 w 12139750"/>
              <a:gd name="connsiteY620" fmla="*/ 5799178 h 6858290"/>
              <a:gd name="connsiteX621" fmla="*/ 8391568 w 12139750"/>
              <a:gd name="connsiteY621" fmla="*/ 5973803 h 6858290"/>
              <a:gd name="connsiteX622" fmla="*/ 8338267 w 12139750"/>
              <a:gd name="connsiteY622" fmla="*/ 5956720 h 6858290"/>
              <a:gd name="connsiteX623" fmla="*/ 8334460 w 12139750"/>
              <a:gd name="connsiteY623" fmla="*/ 5937739 h 6858290"/>
              <a:gd name="connsiteX624" fmla="*/ 8355399 w 12139750"/>
              <a:gd name="connsiteY624" fmla="*/ 5903573 h 6858290"/>
              <a:gd name="connsiteX625" fmla="*/ 8694238 w 12139750"/>
              <a:gd name="connsiteY625" fmla="*/ 5730846 h 6858290"/>
              <a:gd name="connsiteX626" fmla="*/ 8723506 w 12139750"/>
              <a:gd name="connsiteY626" fmla="*/ 5727762 h 6858290"/>
              <a:gd name="connsiteX627" fmla="*/ 11603271 w 12139750"/>
              <a:gd name="connsiteY627" fmla="*/ 5714468 h 6858290"/>
              <a:gd name="connsiteX628" fmla="*/ 11625400 w 12139750"/>
              <a:gd name="connsiteY628" fmla="*/ 5733802 h 6858290"/>
              <a:gd name="connsiteX629" fmla="*/ 11608268 w 12139750"/>
              <a:gd name="connsiteY629" fmla="*/ 5787271 h 6858290"/>
              <a:gd name="connsiteX630" fmla="*/ 11271333 w 12139750"/>
              <a:gd name="connsiteY630" fmla="*/ 5961045 h 6858290"/>
              <a:gd name="connsiteX631" fmla="*/ 11218032 w 12139750"/>
              <a:gd name="connsiteY631" fmla="*/ 5941949 h 6858290"/>
              <a:gd name="connsiteX632" fmla="*/ 11214225 w 12139750"/>
              <a:gd name="connsiteY632" fmla="*/ 5924762 h 6858290"/>
              <a:gd name="connsiteX633" fmla="*/ 11235164 w 12139750"/>
              <a:gd name="connsiteY633" fmla="*/ 5890389 h 6858290"/>
              <a:gd name="connsiteX634" fmla="*/ 11574003 w 12139750"/>
              <a:gd name="connsiteY634" fmla="*/ 5716616 h 6858290"/>
              <a:gd name="connsiteX635" fmla="*/ 11603271 w 12139750"/>
              <a:gd name="connsiteY635" fmla="*/ 5714468 h 6858290"/>
              <a:gd name="connsiteX636" fmla="*/ 8158886 w 12139750"/>
              <a:gd name="connsiteY636" fmla="*/ 5714468 h 6858290"/>
              <a:gd name="connsiteX637" fmla="*/ 8182036 w 12139750"/>
              <a:gd name="connsiteY637" fmla="*/ 5733802 h 6858290"/>
              <a:gd name="connsiteX638" fmla="*/ 8164852 w 12139750"/>
              <a:gd name="connsiteY638" fmla="*/ 5787271 h 6858290"/>
              <a:gd name="connsiteX639" fmla="*/ 7824994 w 12139750"/>
              <a:gd name="connsiteY639" fmla="*/ 5961045 h 6858290"/>
              <a:gd name="connsiteX640" fmla="*/ 7771533 w 12139750"/>
              <a:gd name="connsiteY640" fmla="*/ 5941949 h 6858290"/>
              <a:gd name="connsiteX641" fmla="*/ 7767715 w 12139750"/>
              <a:gd name="connsiteY641" fmla="*/ 5924762 h 6858290"/>
              <a:gd name="connsiteX642" fmla="*/ 7788717 w 12139750"/>
              <a:gd name="connsiteY642" fmla="*/ 5890389 h 6858290"/>
              <a:gd name="connsiteX643" fmla="*/ 8128575 w 12139750"/>
              <a:gd name="connsiteY643" fmla="*/ 5716616 h 6858290"/>
              <a:gd name="connsiteX644" fmla="*/ 8158886 w 12139750"/>
              <a:gd name="connsiteY644" fmla="*/ 5714468 h 6858290"/>
              <a:gd name="connsiteX645" fmla="*/ 12139750 w 12139750"/>
              <a:gd name="connsiteY645" fmla="*/ 5703893 h 6858290"/>
              <a:gd name="connsiteX646" fmla="*/ 12139750 w 12139750"/>
              <a:gd name="connsiteY646" fmla="*/ 5793652 h 6858290"/>
              <a:gd name="connsiteX647" fmla="*/ 11833309 w 12139750"/>
              <a:gd name="connsiteY647" fmla="*/ 5948344 h 6858290"/>
              <a:gd name="connsiteX648" fmla="*/ 11780015 w 12139750"/>
              <a:gd name="connsiteY648" fmla="*/ 5929246 h 6858290"/>
              <a:gd name="connsiteX649" fmla="*/ 11776208 w 12139750"/>
              <a:gd name="connsiteY649" fmla="*/ 5912058 h 6858290"/>
              <a:gd name="connsiteX650" fmla="*/ 11799048 w 12139750"/>
              <a:gd name="connsiteY650" fmla="*/ 5875772 h 6858290"/>
              <a:gd name="connsiteX651" fmla="*/ 12135943 w 12139750"/>
              <a:gd name="connsiteY651" fmla="*/ 5705803 h 6858290"/>
              <a:gd name="connsiteX652" fmla="*/ 12139750 w 12139750"/>
              <a:gd name="connsiteY652" fmla="*/ 5703893 h 6858290"/>
              <a:gd name="connsiteX653" fmla="*/ 7600201 w 12139750"/>
              <a:gd name="connsiteY653" fmla="*/ 5703365 h 6858290"/>
              <a:gd name="connsiteX654" fmla="*/ 7623265 w 12139750"/>
              <a:gd name="connsiteY654" fmla="*/ 5722723 h 6858290"/>
              <a:gd name="connsiteX655" fmla="*/ 7604243 w 12139750"/>
              <a:gd name="connsiteY655" fmla="*/ 5776258 h 6858290"/>
              <a:gd name="connsiteX656" fmla="*/ 7267560 w 12139750"/>
              <a:gd name="connsiteY656" fmla="*/ 5948334 h 6858290"/>
              <a:gd name="connsiteX657" fmla="*/ 7214299 w 12139750"/>
              <a:gd name="connsiteY657" fmla="*/ 5929214 h 6858290"/>
              <a:gd name="connsiteX658" fmla="*/ 7210495 w 12139750"/>
              <a:gd name="connsiteY658" fmla="*/ 5912007 h 6858290"/>
              <a:gd name="connsiteX659" fmla="*/ 7231419 w 12139750"/>
              <a:gd name="connsiteY659" fmla="*/ 5875680 h 6858290"/>
              <a:gd name="connsiteX660" fmla="*/ 7570004 w 12139750"/>
              <a:gd name="connsiteY660" fmla="*/ 5705516 h 6858290"/>
              <a:gd name="connsiteX661" fmla="*/ 7600201 w 12139750"/>
              <a:gd name="connsiteY661" fmla="*/ 5703365 h 6858290"/>
              <a:gd name="connsiteX662" fmla="*/ 7047645 w 12139750"/>
              <a:gd name="connsiteY662" fmla="*/ 5692216 h 6858290"/>
              <a:gd name="connsiteX663" fmla="*/ 7070778 w 12139750"/>
              <a:gd name="connsiteY663" fmla="*/ 5711480 h 6858290"/>
              <a:gd name="connsiteX664" fmla="*/ 7051700 w 12139750"/>
              <a:gd name="connsiteY664" fmla="*/ 5766658 h 6858290"/>
              <a:gd name="connsiteX665" fmla="*/ 6714006 w 12139750"/>
              <a:gd name="connsiteY665" fmla="*/ 5934092 h 6858290"/>
              <a:gd name="connsiteX666" fmla="*/ 6658677 w 12139750"/>
              <a:gd name="connsiteY666" fmla="*/ 5915066 h 6858290"/>
              <a:gd name="connsiteX667" fmla="*/ 6654862 w 12139750"/>
              <a:gd name="connsiteY667" fmla="*/ 5897942 h 6858290"/>
              <a:gd name="connsiteX668" fmla="*/ 6677756 w 12139750"/>
              <a:gd name="connsiteY668" fmla="*/ 5861791 h 6858290"/>
              <a:gd name="connsiteX669" fmla="*/ 7017358 w 12139750"/>
              <a:gd name="connsiteY669" fmla="*/ 5694356 h 6858290"/>
              <a:gd name="connsiteX670" fmla="*/ 7047645 w 12139750"/>
              <a:gd name="connsiteY670" fmla="*/ 5692216 h 6858290"/>
              <a:gd name="connsiteX671" fmla="*/ 6486856 w 12139750"/>
              <a:gd name="connsiteY671" fmla="*/ 5678743 h 6858290"/>
              <a:gd name="connsiteX672" fmla="*/ 6526266 w 12139750"/>
              <a:gd name="connsiteY672" fmla="*/ 5700683 h 6858290"/>
              <a:gd name="connsiteX673" fmla="*/ 6507201 w 12139750"/>
              <a:gd name="connsiteY673" fmla="*/ 5755860 h 6858290"/>
              <a:gd name="connsiteX674" fmla="*/ 6167854 w 12139750"/>
              <a:gd name="connsiteY674" fmla="*/ 5921392 h 6858290"/>
              <a:gd name="connsiteX675" fmla="*/ 6114474 w 12139750"/>
              <a:gd name="connsiteY675" fmla="*/ 5902366 h 6858290"/>
              <a:gd name="connsiteX676" fmla="*/ 6108755 w 12139750"/>
              <a:gd name="connsiteY676" fmla="*/ 5883339 h 6858290"/>
              <a:gd name="connsiteX677" fmla="*/ 6131632 w 12139750"/>
              <a:gd name="connsiteY677" fmla="*/ 5847188 h 6858290"/>
              <a:gd name="connsiteX678" fmla="*/ 6470979 w 12139750"/>
              <a:gd name="connsiteY678" fmla="*/ 5683559 h 6858290"/>
              <a:gd name="connsiteX679" fmla="*/ 6486856 w 12139750"/>
              <a:gd name="connsiteY679" fmla="*/ 5678743 h 6858290"/>
              <a:gd name="connsiteX680" fmla="*/ 5956806 w 12139750"/>
              <a:gd name="connsiteY680" fmla="*/ 5667777 h 6858290"/>
              <a:gd name="connsiteX681" fmla="*/ 5980159 w 12139750"/>
              <a:gd name="connsiteY681" fmla="*/ 5688018 h 6858290"/>
              <a:gd name="connsiteX682" fmla="*/ 5961095 w 12139750"/>
              <a:gd name="connsiteY682" fmla="*/ 5743263 h 6858290"/>
              <a:gd name="connsiteX683" fmla="*/ 5621756 w 12139750"/>
              <a:gd name="connsiteY683" fmla="*/ 5907093 h 6858290"/>
              <a:gd name="connsiteX684" fmla="*/ 5566471 w 12139750"/>
              <a:gd name="connsiteY684" fmla="*/ 5888043 h 6858290"/>
              <a:gd name="connsiteX685" fmla="*/ 5562659 w 12139750"/>
              <a:gd name="connsiteY685" fmla="*/ 5868993 h 6858290"/>
              <a:gd name="connsiteX686" fmla="*/ 5585535 w 12139750"/>
              <a:gd name="connsiteY686" fmla="*/ 5832798 h 6858290"/>
              <a:gd name="connsiteX687" fmla="*/ 5924873 w 12139750"/>
              <a:gd name="connsiteY687" fmla="*/ 5668968 h 6858290"/>
              <a:gd name="connsiteX688" fmla="*/ 5956806 w 12139750"/>
              <a:gd name="connsiteY688" fmla="*/ 5667777 h 6858290"/>
              <a:gd name="connsiteX689" fmla="*/ 397251 w 12139750"/>
              <a:gd name="connsiteY689" fmla="*/ 5667777 h 6858290"/>
              <a:gd name="connsiteX690" fmla="*/ 420367 w 12139750"/>
              <a:gd name="connsiteY690" fmla="*/ 5688018 h 6858290"/>
              <a:gd name="connsiteX691" fmla="*/ 401303 w 12139750"/>
              <a:gd name="connsiteY691" fmla="*/ 5743263 h 6858290"/>
              <a:gd name="connsiteX692" fmla="*/ 63863 w 12139750"/>
              <a:gd name="connsiteY692" fmla="*/ 5907093 h 6858290"/>
              <a:gd name="connsiteX693" fmla="*/ 8576 w 12139750"/>
              <a:gd name="connsiteY693" fmla="*/ 5888043 h 6858290"/>
              <a:gd name="connsiteX694" fmla="*/ 4764 w 12139750"/>
              <a:gd name="connsiteY694" fmla="*/ 5868993 h 6858290"/>
              <a:gd name="connsiteX695" fmla="*/ 27641 w 12139750"/>
              <a:gd name="connsiteY695" fmla="*/ 5832798 h 6858290"/>
              <a:gd name="connsiteX696" fmla="*/ 366987 w 12139750"/>
              <a:gd name="connsiteY696" fmla="*/ 5668968 h 6858290"/>
              <a:gd name="connsiteX697" fmla="*/ 397251 w 12139750"/>
              <a:gd name="connsiteY697" fmla="*/ 5667777 h 6858290"/>
              <a:gd name="connsiteX698" fmla="*/ 5407592 w 12139750"/>
              <a:gd name="connsiteY698" fmla="*/ 5656676 h 6858290"/>
              <a:gd name="connsiteX699" fmla="*/ 5432448 w 12139750"/>
              <a:gd name="connsiteY699" fmla="*/ 5676941 h 6858290"/>
              <a:gd name="connsiteX700" fmla="*/ 5411416 w 12139750"/>
              <a:gd name="connsiteY700" fmla="*/ 5732255 h 6858290"/>
              <a:gd name="connsiteX701" fmla="*/ 5071065 w 12139750"/>
              <a:gd name="connsiteY701" fmla="*/ 5894382 h 6858290"/>
              <a:gd name="connsiteX702" fmla="*/ 5015620 w 12139750"/>
              <a:gd name="connsiteY702" fmla="*/ 5873401 h 6858290"/>
              <a:gd name="connsiteX703" fmla="*/ 5011797 w 12139750"/>
              <a:gd name="connsiteY703" fmla="*/ 5856234 h 6858290"/>
              <a:gd name="connsiteX704" fmla="*/ 5036652 w 12139750"/>
              <a:gd name="connsiteY704" fmla="*/ 5818087 h 6858290"/>
              <a:gd name="connsiteX705" fmla="*/ 5377000 w 12139750"/>
              <a:gd name="connsiteY705" fmla="*/ 5657868 h 6858290"/>
              <a:gd name="connsiteX706" fmla="*/ 5407592 w 12139750"/>
              <a:gd name="connsiteY706" fmla="*/ 5656676 h 6858290"/>
              <a:gd name="connsiteX707" fmla="*/ 941847 w 12139750"/>
              <a:gd name="connsiteY707" fmla="*/ 5656676 h 6858290"/>
              <a:gd name="connsiteX708" fmla="*/ 965201 w 12139750"/>
              <a:gd name="connsiteY708" fmla="*/ 5676941 h 6858290"/>
              <a:gd name="connsiteX709" fmla="*/ 946137 w 12139750"/>
              <a:gd name="connsiteY709" fmla="*/ 5732255 h 6858290"/>
              <a:gd name="connsiteX710" fmla="*/ 606791 w 12139750"/>
              <a:gd name="connsiteY710" fmla="*/ 5894382 h 6858290"/>
              <a:gd name="connsiteX711" fmla="*/ 551504 w 12139750"/>
              <a:gd name="connsiteY711" fmla="*/ 5873401 h 6858290"/>
              <a:gd name="connsiteX712" fmla="*/ 547691 w 12139750"/>
              <a:gd name="connsiteY712" fmla="*/ 5856234 h 6858290"/>
              <a:gd name="connsiteX713" fmla="*/ 570568 w 12139750"/>
              <a:gd name="connsiteY713" fmla="*/ 5818087 h 6858290"/>
              <a:gd name="connsiteX714" fmla="*/ 909914 w 12139750"/>
              <a:gd name="connsiteY714" fmla="*/ 5657868 h 6858290"/>
              <a:gd name="connsiteX715" fmla="*/ 941847 w 12139750"/>
              <a:gd name="connsiteY715" fmla="*/ 5656676 h 6858290"/>
              <a:gd name="connsiteX716" fmla="*/ 4853505 w 12139750"/>
              <a:gd name="connsiteY716" fmla="*/ 5644857 h 6858290"/>
              <a:gd name="connsiteX717" fmla="*/ 4876847 w 12139750"/>
              <a:gd name="connsiteY717" fmla="*/ 5665864 h 6858290"/>
              <a:gd name="connsiteX718" fmla="*/ 4855889 w 12139750"/>
              <a:gd name="connsiteY718" fmla="*/ 5723158 h 6858290"/>
              <a:gd name="connsiteX719" fmla="*/ 4516799 w 12139750"/>
              <a:gd name="connsiteY719" fmla="*/ 5881669 h 6858290"/>
              <a:gd name="connsiteX720" fmla="*/ 4461553 w 12139750"/>
              <a:gd name="connsiteY720" fmla="*/ 5860661 h 6858290"/>
              <a:gd name="connsiteX721" fmla="*/ 4457744 w 12139750"/>
              <a:gd name="connsiteY721" fmla="*/ 5843473 h 6858290"/>
              <a:gd name="connsiteX722" fmla="*/ 4482509 w 12139750"/>
              <a:gd name="connsiteY722" fmla="*/ 5805278 h 6858290"/>
              <a:gd name="connsiteX723" fmla="*/ 4821594 w 12139750"/>
              <a:gd name="connsiteY723" fmla="*/ 5646767 h 6858290"/>
              <a:gd name="connsiteX724" fmla="*/ 4853505 w 12139750"/>
              <a:gd name="connsiteY724" fmla="*/ 5644857 h 6858290"/>
              <a:gd name="connsiteX725" fmla="*/ 1487895 w 12139750"/>
              <a:gd name="connsiteY725" fmla="*/ 5644857 h 6858290"/>
              <a:gd name="connsiteX726" fmla="*/ 1512898 w 12139750"/>
              <a:gd name="connsiteY726" fmla="*/ 5665864 h 6858290"/>
              <a:gd name="connsiteX727" fmla="*/ 1491943 w 12139750"/>
              <a:gd name="connsiteY727" fmla="*/ 5723158 h 6858290"/>
              <a:gd name="connsiteX728" fmla="*/ 1152849 w 12139750"/>
              <a:gd name="connsiteY728" fmla="*/ 5881669 h 6858290"/>
              <a:gd name="connsiteX729" fmla="*/ 1097603 w 12139750"/>
              <a:gd name="connsiteY729" fmla="*/ 5860661 h 6858290"/>
              <a:gd name="connsiteX730" fmla="*/ 1093793 w 12139750"/>
              <a:gd name="connsiteY730" fmla="*/ 5843473 h 6858290"/>
              <a:gd name="connsiteX731" fmla="*/ 1116653 w 12139750"/>
              <a:gd name="connsiteY731" fmla="*/ 5805278 h 6858290"/>
              <a:gd name="connsiteX732" fmla="*/ 1455748 w 12139750"/>
              <a:gd name="connsiteY732" fmla="*/ 5646767 h 6858290"/>
              <a:gd name="connsiteX733" fmla="*/ 1487895 w 12139750"/>
              <a:gd name="connsiteY733" fmla="*/ 5644857 h 6858290"/>
              <a:gd name="connsiteX734" fmla="*/ 4280333 w 12139750"/>
              <a:gd name="connsiteY734" fmla="*/ 5631131 h 6858290"/>
              <a:gd name="connsiteX735" fmla="*/ 4319591 w 12139750"/>
              <a:gd name="connsiteY735" fmla="*/ 5654883 h 6858290"/>
              <a:gd name="connsiteX736" fmla="*/ 4298558 w 12139750"/>
              <a:gd name="connsiteY736" fmla="*/ 5711818 h 6858290"/>
              <a:gd name="connsiteX737" fmla="*/ 3958230 w 12139750"/>
              <a:gd name="connsiteY737" fmla="*/ 5867442 h 6858290"/>
              <a:gd name="connsiteX738" fmla="*/ 3902775 w 12139750"/>
              <a:gd name="connsiteY738" fmla="*/ 5846565 h 6858290"/>
              <a:gd name="connsiteX739" fmla="*/ 3898949 w 12139750"/>
              <a:gd name="connsiteY739" fmla="*/ 5829485 h 6858290"/>
              <a:gd name="connsiteX740" fmla="*/ 3923810 w 12139750"/>
              <a:gd name="connsiteY740" fmla="*/ 5789630 h 6858290"/>
              <a:gd name="connsiteX741" fmla="*/ 4264140 w 12139750"/>
              <a:gd name="connsiteY741" fmla="*/ 5635905 h 6858290"/>
              <a:gd name="connsiteX742" fmla="*/ 4280333 w 12139750"/>
              <a:gd name="connsiteY742" fmla="*/ 5631131 h 6858290"/>
              <a:gd name="connsiteX743" fmla="*/ 2025802 w 12139750"/>
              <a:gd name="connsiteY743" fmla="*/ 5631130 h 6858290"/>
              <a:gd name="connsiteX744" fmla="*/ 2066916 w 12139750"/>
              <a:gd name="connsiteY744" fmla="*/ 5654883 h 6858290"/>
              <a:gd name="connsiteX745" fmla="*/ 2045894 w 12139750"/>
              <a:gd name="connsiteY745" fmla="*/ 5711818 h 6858290"/>
              <a:gd name="connsiteX746" fmla="*/ 1705799 w 12139750"/>
              <a:gd name="connsiteY746" fmla="*/ 5867442 h 6858290"/>
              <a:gd name="connsiteX747" fmla="*/ 1648480 w 12139750"/>
              <a:gd name="connsiteY747" fmla="*/ 5846565 h 6858290"/>
              <a:gd name="connsiteX748" fmla="*/ 1644659 w 12139750"/>
              <a:gd name="connsiteY748" fmla="*/ 5829485 h 6858290"/>
              <a:gd name="connsiteX749" fmla="*/ 1669497 w 12139750"/>
              <a:gd name="connsiteY749" fmla="*/ 5789630 h 6858290"/>
              <a:gd name="connsiteX750" fmla="*/ 2009592 w 12139750"/>
              <a:gd name="connsiteY750" fmla="*/ 5635905 h 6858290"/>
              <a:gd name="connsiteX751" fmla="*/ 2025802 w 12139750"/>
              <a:gd name="connsiteY751" fmla="*/ 5631130 h 6858290"/>
              <a:gd name="connsiteX752" fmla="*/ 3732520 w 12139750"/>
              <a:gd name="connsiteY752" fmla="*/ 5620423 h 6858290"/>
              <a:gd name="connsiteX753" fmla="*/ 3756079 w 12139750"/>
              <a:gd name="connsiteY753" fmla="*/ 5642413 h 6858290"/>
              <a:gd name="connsiteX754" fmla="*/ 3735138 w 12139750"/>
              <a:gd name="connsiteY754" fmla="*/ 5699780 h 6858290"/>
              <a:gd name="connsiteX755" fmla="*/ 3396310 w 12139750"/>
              <a:gd name="connsiteY755" fmla="*/ 5854670 h 6858290"/>
              <a:gd name="connsiteX756" fmla="*/ 3339198 w 12139750"/>
              <a:gd name="connsiteY756" fmla="*/ 5833635 h 6858290"/>
              <a:gd name="connsiteX757" fmla="*/ 3335390 w 12139750"/>
              <a:gd name="connsiteY757" fmla="*/ 5814513 h 6858290"/>
              <a:gd name="connsiteX758" fmla="*/ 3360137 w 12139750"/>
              <a:gd name="connsiteY758" fmla="*/ 5776269 h 6858290"/>
              <a:gd name="connsiteX759" fmla="*/ 3698969 w 12139750"/>
              <a:gd name="connsiteY759" fmla="*/ 5621379 h 6858290"/>
              <a:gd name="connsiteX760" fmla="*/ 3732520 w 12139750"/>
              <a:gd name="connsiteY760" fmla="*/ 5620423 h 6858290"/>
              <a:gd name="connsiteX761" fmla="*/ 2598307 w 12139750"/>
              <a:gd name="connsiteY761" fmla="*/ 5620423 h 6858290"/>
              <a:gd name="connsiteX762" fmla="*/ 2622577 w 12139750"/>
              <a:gd name="connsiteY762" fmla="*/ 5642413 h 6858290"/>
              <a:gd name="connsiteX763" fmla="*/ 2601638 w 12139750"/>
              <a:gd name="connsiteY763" fmla="*/ 5699780 h 6858290"/>
              <a:gd name="connsiteX764" fmla="*/ 2262794 w 12139750"/>
              <a:gd name="connsiteY764" fmla="*/ 5854670 h 6858290"/>
              <a:gd name="connsiteX765" fmla="*/ 2205686 w 12139750"/>
              <a:gd name="connsiteY765" fmla="*/ 5833635 h 6858290"/>
              <a:gd name="connsiteX766" fmla="*/ 2201878 w 12139750"/>
              <a:gd name="connsiteY766" fmla="*/ 5814513 h 6858290"/>
              <a:gd name="connsiteX767" fmla="*/ 2226626 w 12139750"/>
              <a:gd name="connsiteY767" fmla="*/ 5776269 h 6858290"/>
              <a:gd name="connsiteX768" fmla="*/ 2565469 w 12139750"/>
              <a:gd name="connsiteY768" fmla="*/ 5621379 h 6858290"/>
              <a:gd name="connsiteX769" fmla="*/ 2598307 w 12139750"/>
              <a:gd name="connsiteY769" fmla="*/ 5620423 h 6858290"/>
              <a:gd name="connsiteX770" fmla="*/ 3160334 w 12139750"/>
              <a:gd name="connsiteY770" fmla="*/ 5609267 h 6858290"/>
              <a:gd name="connsiteX771" fmla="*/ 3184587 w 12139750"/>
              <a:gd name="connsiteY771" fmla="*/ 5631147 h 6858290"/>
              <a:gd name="connsiteX772" fmla="*/ 3161760 w 12139750"/>
              <a:gd name="connsiteY772" fmla="*/ 5688224 h 6858290"/>
              <a:gd name="connsiteX773" fmla="*/ 2823162 w 12139750"/>
              <a:gd name="connsiteY773" fmla="*/ 5840431 h 6858290"/>
              <a:gd name="connsiteX774" fmla="*/ 2766096 w 12139750"/>
              <a:gd name="connsiteY774" fmla="*/ 5817600 h 6858290"/>
              <a:gd name="connsiteX775" fmla="*/ 2762293 w 12139750"/>
              <a:gd name="connsiteY775" fmla="*/ 5800477 h 6858290"/>
              <a:gd name="connsiteX776" fmla="*/ 2787019 w 12139750"/>
              <a:gd name="connsiteY776" fmla="*/ 5760522 h 6858290"/>
              <a:gd name="connsiteX777" fmla="*/ 3127521 w 12139750"/>
              <a:gd name="connsiteY777" fmla="*/ 5610219 h 6858290"/>
              <a:gd name="connsiteX778" fmla="*/ 3160334 w 12139750"/>
              <a:gd name="connsiteY778" fmla="*/ 5609267 h 6858290"/>
              <a:gd name="connsiteX779" fmla="*/ 9870770 w 12139750"/>
              <a:gd name="connsiteY779" fmla="*/ 5423698 h 6858290"/>
              <a:gd name="connsiteX780" fmla="*/ 9891790 w 12139750"/>
              <a:gd name="connsiteY780" fmla="*/ 5439415 h 6858290"/>
              <a:gd name="connsiteX781" fmla="*/ 9878414 w 12139750"/>
              <a:gd name="connsiteY781" fmla="*/ 5488945 h 6858290"/>
              <a:gd name="connsiteX782" fmla="*/ 9542094 w 12139750"/>
              <a:gd name="connsiteY782" fmla="*/ 5683255 h 6858290"/>
              <a:gd name="connsiteX783" fmla="*/ 9492411 w 12139750"/>
              <a:gd name="connsiteY783" fmla="*/ 5669920 h 6858290"/>
              <a:gd name="connsiteX784" fmla="*/ 9488589 w 12139750"/>
              <a:gd name="connsiteY784" fmla="*/ 5650870 h 6858290"/>
              <a:gd name="connsiteX785" fmla="*/ 9505787 w 12139750"/>
              <a:gd name="connsiteY785" fmla="*/ 5620390 h 6858290"/>
              <a:gd name="connsiteX786" fmla="*/ 9844018 w 12139750"/>
              <a:gd name="connsiteY786" fmla="*/ 5427985 h 6858290"/>
              <a:gd name="connsiteX787" fmla="*/ 9870770 w 12139750"/>
              <a:gd name="connsiteY787" fmla="*/ 5423698 h 6858290"/>
              <a:gd name="connsiteX788" fmla="*/ 10454072 w 12139750"/>
              <a:gd name="connsiteY788" fmla="*/ 5413206 h 6858290"/>
              <a:gd name="connsiteX789" fmla="*/ 10476013 w 12139750"/>
              <a:gd name="connsiteY789" fmla="*/ 5429836 h 6858290"/>
              <a:gd name="connsiteX790" fmla="*/ 10460750 w 12139750"/>
              <a:gd name="connsiteY790" fmla="*/ 5479250 h 6858290"/>
              <a:gd name="connsiteX791" fmla="*/ 10123044 w 12139750"/>
              <a:gd name="connsiteY791" fmla="*/ 5667402 h 6858290"/>
              <a:gd name="connsiteX792" fmla="*/ 10075346 w 12139750"/>
              <a:gd name="connsiteY792" fmla="*/ 5654098 h 6858290"/>
              <a:gd name="connsiteX793" fmla="*/ 10069622 w 12139750"/>
              <a:gd name="connsiteY793" fmla="*/ 5636994 h 6858290"/>
              <a:gd name="connsiteX794" fmla="*/ 10088701 w 12139750"/>
              <a:gd name="connsiteY794" fmla="*/ 5604685 h 6858290"/>
              <a:gd name="connsiteX795" fmla="*/ 10426407 w 12139750"/>
              <a:gd name="connsiteY795" fmla="*/ 5416532 h 6858290"/>
              <a:gd name="connsiteX796" fmla="*/ 10454072 w 12139750"/>
              <a:gd name="connsiteY796" fmla="*/ 5413206 h 6858290"/>
              <a:gd name="connsiteX797" fmla="*/ 9292639 w 12139750"/>
              <a:gd name="connsiteY797" fmla="*/ 5413206 h 6858290"/>
              <a:gd name="connsiteX798" fmla="*/ 9313626 w 12139750"/>
              <a:gd name="connsiteY798" fmla="*/ 5429836 h 6858290"/>
              <a:gd name="connsiteX799" fmla="*/ 9300271 w 12139750"/>
              <a:gd name="connsiteY799" fmla="*/ 5479250 h 6858290"/>
              <a:gd name="connsiteX800" fmla="*/ 8962565 w 12139750"/>
              <a:gd name="connsiteY800" fmla="*/ 5667402 h 6858290"/>
              <a:gd name="connsiteX801" fmla="*/ 8912959 w 12139750"/>
              <a:gd name="connsiteY801" fmla="*/ 5654098 h 6858290"/>
              <a:gd name="connsiteX802" fmla="*/ 8909143 w 12139750"/>
              <a:gd name="connsiteY802" fmla="*/ 5636994 h 6858290"/>
              <a:gd name="connsiteX803" fmla="*/ 8928222 w 12139750"/>
              <a:gd name="connsiteY803" fmla="*/ 5604685 h 6858290"/>
              <a:gd name="connsiteX804" fmla="*/ 9265928 w 12139750"/>
              <a:gd name="connsiteY804" fmla="*/ 5416532 h 6858290"/>
              <a:gd name="connsiteX805" fmla="*/ 9292639 w 12139750"/>
              <a:gd name="connsiteY805" fmla="*/ 5413206 h 6858290"/>
              <a:gd name="connsiteX806" fmla="*/ 11031715 w 12139750"/>
              <a:gd name="connsiteY806" fmla="*/ 5402102 h 6858290"/>
              <a:gd name="connsiteX807" fmla="*/ 11053878 w 12139750"/>
              <a:gd name="connsiteY807" fmla="*/ 5418751 h 6858290"/>
              <a:gd name="connsiteX808" fmla="*/ 11038626 w 12139750"/>
              <a:gd name="connsiteY808" fmla="*/ 5470125 h 6858290"/>
              <a:gd name="connsiteX809" fmla="*/ 10701180 w 12139750"/>
              <a:gd name="connsiteY809" fmla="*/ 5654692 h 6858290"/>
              <a:gd name="connsiteX810" fmla="*/ 10649705 w 12139750"/>
              <a:gd name="connsiteY810" fmla="*/ 5639470 h 6858290"/>
              <a:gd name="connsiteX811" fmla="*/ 10645892 w 12139750"/>
              <a:gd name="connsiteY811" fmla="*/ 5622345 h 6858290"/>
              <a:gd name="connsiteX812" fmla="*/ 10664957 w 12139750"/>
              <a:gd name="connsiteY812" fmla="*/ 5589998 h 6858290"/>
              <a:gd name="connsiteX813" fmla="*/ 11002403 w 12139750"/>
              <a:gd name="connsiteY813" fmla="*/ 5405432 h 6858290"/>
              <a:gd name="connsiteX814" fmla="*/ 11031715 w 12139750"/>
              <a:gd name="connsiteY814" fmla="*/ 5402102 h 6858290"/>
              <a:gd name="connsiteX815" fmla="*/ 8722109 w 12139750"/>
              <a:gd name="connsiteY815" fmla="*/ 5402102 h 6858290"/>
              <a:gd name="connsiteX816" fmla="*/ 8744034 w 12139750"/>
              <a:gd name="connsiteY816" fmla="*/ 5418751 h 6858290"/>
              <a:gd name="connsiteX817" fmla="*/ 8728782 w 12139750"/>
              <a:gd name="connsiteY817" fmla="*/ 5470125 h 6858290"/>
              <a:gd name="connsiteX818" fmla="*/ 8391336 w 12139750"/>
              <a:gd name="connsiteY818" fmla="*/ 5654692 h 6858290"/>
              <a:gd name="connsiteX819" fmla="*/ 8341767 w 12139750"/>
              <a:gd name="connsiteY819" fmla="*/ 5639470 h 6858290"/>
              <a:gd name="connsiteX820" fmla="*/ 8336048 w 12139750"/>
              <a:gd name="connsiteY820" fmla="*/ 5622345 h 6858290"/>
              <a:gd name="connsiteX821" fmla="*/ 8355113 w 12139750"/>
              <a:gd name="connsiteY821" fmla="*/ 5589998 h 6858290"/>
              <a:gd name="connsiteX822" fmla="*/ 8694465 w 12139750"/>
              <a:gd name="connsiteY822" fmla="*/ 5405432 h 6858290"/>
              <a:gd name="connsiteX823" fmla="*/ 8722109 w 12139750"/>
              <a:gd name="connsiteY823" fmla="*/ 5402102 h 6858290"/>
              <a:gd name="connsiteX824" fmla="*/ 11601635 w 12139750"/>
              <a:gd name="connsiteY824" fmla="*/ 5389647 h 6858290"/>
              <a:gd name="connsiteX825" fmla="*/ 11623798 w 12139750"/>
              <a:gd name="connsiteY825" fmla="*/ 5407983 h 6858290"/>
              <a:gd name="connsiteX826" fmla="*/ 11608546 w 12139750"/>
              <a:gd name="connsiteY826" fmla="*/ 5459418 h 6858290"/>
              <a:gd name="connsiteX827" fmla="*/ 11271100 w 12139750"/>
              <a:gd name="connsiteY827" fmla="*/ 5638488 h 6858290"/>
              <a:gd name="connsiteX828" fmla="*/ 11219625 w 12139750"/>
              <a:gd name="connsiteY828" fmla="*/ 5623248 h 6858290"/>
              <a:gd name="connsiteX829" fmla="*/ 11215812 w 12139750"/>
              <a:gd name="connsiteY829" fmla="*/ 5606103 h 6858290"/>
              <a:gd name="connsiteX830" fmla="*/ 11234877 w 12139750"/>
              <a:gd name="connsiteY830" fmla="*/ 5571813 h 6858290"/>
              <a:gd name="connsiteX831" fmla="*/ 11572323 w 12139750"/>
              <a:gd name="connsiteY831" fmla="*/ 5392743 h 6858290"/>
              <a:gd name="connsiteX832" fmla="*/ 11601635 w 12139750"/>
              <a:gd name="connsiteY832" fmla="*/ 5389647 h 6858290"/>
              <a:gd name="connsiteX833" fmla="*/ 8158325 w 12139750"/>
              <a:gd name="connsiteY833" fmla="*/ 5389647 h 6858290"/>
              <a:gd name="connsiteX834" fmla="*/ 8180471 w 12139750"/>
              <a:gd name="connsiteY834" fmla="*/ 5407983 h 6858290"/>
              <a:gd name="connsiteX835" fmla="*/ 8165230 w 12139750"/>
              <a:gd name="connsiteY835" fmla="*/ 5459418 h 6858290"/>
              <a:gd name="connsiteX836" fmla="*/ 7826136 w 12139750"/>
              <a:gd name="connsiteY836" fmla="*/ 5638488 h 6858290"/>
              <a:gd name="connsiteX837" fmla="*/ 7774700 w 12139750"/>
              <a:gd name="connsiteY837" fmla="*/ 5623248 h 6858290"/>
              <a:gd name="connsiteX838" fmla="*/ 7770890 w 12139750"/>
              <a:gd name="connsiteY838" fmla="*/ 5606103 h 6858290"/>
              <a:gd name="connsiteX839" fmla="*/ 7791845 w 12139750"/>
              <a:gd name="connsiteY839" fmla="*/ 5571813 h 6858290"/>
              <a:gd name="connsiteX840" fmla="*/ 8129035 w 12139750"/>
              <a:gd name="connsiteY840" fmla="*/ 5392743 h 6858290"/>
              <a:gd name="connsiteX841" fmla="*/ 8158325 w 12139750"/>
              <a:gd name="connsiteY841" fmla="*/ 5389647 h 6858290"/>
              <a:gd name="connsiteX842" fmla="*/ 12139750 w 12139750"/>
              <a:gd name="connsiteY842" fmla="*/ 5380043 h 6858290"/>
              <a:gd name="connsiteX843" fmla="*/ 12139750 w 12139750"/>
              <a:gd name="connsiteY843" fmla="*/ 5467782 h 6858290"/>
              <a:gd name="connsiteX844" fmla="*/ 11833041 w 12139750"/>
              <a:gd name="connsiteY844" fmla="*/ 5626094 h 6858290"/>
              <a:gd name="connsiteX845" fmla="*/ 11781605 w 12139750"/>
              <a:gd name="connsiteY845" fmla="*/ 5608928 h 6858290"/>
              <a:gd name="connsiteX846" fmla="*/ 11777795 w 12139750"/>
              <a:gd name="connsiteY846" fmla="*/ 5591761 h 6858290"/>
              <a:gd name="connsiteX847" fmla="*/ 11798750 w 12139750"/>
              <a:gd name="connsiteY847" fmla="*/ 5557428 h 6858290"/>
              <a:gd name="connsiteX848" fmla="*/ 12135940 w 12139750"/>
              <a:gd name="connsiteY848" fmla="*/ 5381950 h 6858290"/>
              <a:gd name="connsiteX849" fmla="*/ 12139750 w 12139750"/>
              <a:gd name="connsiteY849" fmla="*/ 5380043 h 6858290"/>
              <a:gd name="connsiteX850" fmla="*/ 7599540 w 12139750"/>
              <a:gd name="connsiteY850" fmla="*/ 5379505 h 6858290"/>
              <a:gd name="connsiteX851" fmla="*/ 7621670 w 12139750"/>
              <a:gd name="connsiteY851" fmla="*/ 5398839 h 6858290"/>
              <a:gd name="connsiteX852" fmla="*/ 7604538 w 12139750"/>
              <a:gd name="connsiteY852" fmla="*/ 5450398 h 6858290"/>
              <a:gd name="connsiteX853" fmla="*/ 7267602 w 12139750"/>
              <a:gd name="connsiteY853" fmla="*/ 5626082 h 6858290"/>
              <a:gd name="connsiteX854" fmla="*/ 7214302 w 12139750"/>
              <a:gd name="connsiteY854" fmla="*/ 5608895 h 6858290"/>
              <a:gd name="connsiteX855" fmla="*/ 7210495 w 12139750"/>
              <a:gd name="connsiteY855" fmla="*/ 5591709 h 6858290"/>
              <a:gd name="connsiteX856" fmla="*/ 7231434 w 12139750"/>
              <a:gd name="connsiteY856" fmla="*/ 5557336 h 6858290"/>
              <a:gd name="connsiteX857" fmla="*/ 7570273 w 12139750"/>
              <a:gd name="connsiteY857" fmla="*/ 5381653 h 6858290"/>
              <a:gd name="connsiteX858" fmla="*/ 7599540 w 12139750"/>
              <a:gd name="connsiteY858" fmla="*/ 5379505 h 6858290"/>
              <a:gd name="connsiteX859" fmla="*/ 7046905 w 12139750"/>
              <a:gd name="connsiteY859" fmla="*/ 5368357 h 6858290"/>
              <a:gd name="connsiteX860" fmla="*/ 7070771 w 12139750"/>
              <a:gd name="connsiteY860" fmla="*/ 5387598 h 6858290"/>
              <a:gd name="connsiteX861" fmla="*/ 7051678 w 12139750"/>
              <a:gd name="connsiteY861" fmla="*/ 5440808 h 6858290"/>
              <a:gd name="connsiteX862" fmla="*/ 6713729 w 12139750"/>
              <a:gd name="connsiteY862" fmla="*/ 5611841 h 6858290"/>
              <a:gd name="connsiteX863" fmla="*/ 6660268 w 12139750"/>
              <a:gd name="connsiteY863" fmla="*/ 5594738 h 6858290"/>
              <a:gd name="connsiteX864" fmla="*/ 6656450 w 12139750"/>
              <a:gd name="connsiteY864" fmla="*/ 5575734 h 6858290"/>
              <a:gd name="connsiteX865" fmla="*/ 6677452 w 12139750"/>
              <a:gd name="connsiteY865" fmla="*/ 5541527 h 6858290"/>
              <a:gd name="connsiteX866" fmla="*/ 7017310 w 12139750"/>
              <a:gd name="connsiteY866" fmla="*/ 5370495 h 6858290"/>
              <a:gd name="connsiteX867" fmla="*/ 7046905 w 12139750"/>
              <a:gd name="connsiteY867" fmla="*/ 5368357 h 6858290"/>
              <a:gd name="connsiteX868" fmla="*/ 6501958 w 12139750"/>
              <a:gd name="connsiteY868" fmla="*/ 5357490 h 6858290"/>
              <a:gd name="connsiteX869" fmla="*/ 6524359 w 12139750"/>
              <a:gd name="connsiteY869" fmla="*/ 5378420 h 6858290"/>
              <a:gd name="connsiteX870" fmla="*/ 6507201 w 12139750"/>
              <a:gd name="connsiteY870" fmla="*/ 5431695 h 6858290"/>
              <a:gd name="connsiteX871" fmla="*/ 6167854 w 12139750"/>
              <a:gd name="connsiteY871" fmla="*/ 5597227 h 6858290"/>
              <a:gd name="connsiteX872" fmla="*/ 6114474 w 12139750"/>
              <a:gd name="connsiteY872" fmla="*/ 5580103 h 6858290"/>
              <a:gd name="connsiteX873" fmla="*/ 6108755 w 12139750"/>
              <a:gd name="connsiteY873" fmla="*/ 5561076 h 6858290"/>
              <a:gd name="connsiteX874" fmla="*/ 6131632 w 12139750"/>
              <a:gd name="connsiteY874" fmla="*/ 5524925 h 6858290"/>
              <a:gd name="connsiteX875" fmla="*/ 6470979 w 12139750"/>
              <a:gd name="connsiteY875" fmla="*/ 5359393 h 6858290"/>
              <a:gd name="connsiteX876" fmla="*/ 6501958 w 12139750"/>
              <a:gd name="connsiteY876" fmla="*/ 5357490 h 6858290"/>
              <a:gd name="connsiteX877" fmla="*/ 5956806 w 12139750"/>
              <a:gd name="connsiteY877" fmla="*/ 5347061 h 6858290"/>
              <a:gd name="connsiteX878" fmla="*/ 5980159 w 12139750"/>
              <a:gd name="connsiteY878" fmla="*/ 5367201 h 6858290"/>
              <a:gd name="connsiteX879" fmla="*/ 5961095 w 12139750"/>
              <a:gd name="connsiteY879" fmla="*/ 5422171 h 6858290"/>
              <a:gd name="connsiteX880" fmla="*/ 5621756 w 12139750"/>
              <a:gd name="connsiteY880" fmla="*/ 5583290 h 6858290"/>
              <a:gd name="connsiteX881" fmla="*/ 5566471 w 12139750"/>
              <a:gd name="connsiteY881" fmla="*/ 5564335 h 6858290"/>
              <a:gd name="connsiteX882" fmla="*/ 5562659 w 12139750"/>
              <a:gd name="connsiteY882" fmla="*/ 5547275 h 6858290"/>
              <a:gd name="connsiteX883" fmla="*/ 5585535 w 12139750"/>
              <a:gd name="connsiteY883" fmla="*/ 5509365 h 6858290"/>
              <a:gd name="connsiteX884" fmla="*/ 5924873 w 12139750"/>
              <a:gd name="connsiteY884" fmla="*/ 5348245 h 6858290"/>
              <a:gd name="connsiteX885" fmla="*/ 5956806 w 12139750"/>
              <a:gd name="connsiteY885" fmla="*/ 5347061 h 6858290"/>
              <a:gd name="connsiteX886" fmla="*/ 398204 w 12139750"/>
              <a:gd name="connsiteY886" fmla="*/ 5347061 h 6858290"/>
              <a:gd name="connsiteX887" fmla="*/ 422273 w 12139750"/>
              <a:gd name="connsiteY887" fmla="*/ 5367201 h 6858290"/>
              <a:gd name="connsiteX888" fmla="*/ 401302 w 12139750"/>
              <a:gd name="connsiteY888" fmla="*/ 5422171 h 6858290"/>
              <a:gd name="connsiteX889" fmla="*/ 63863 w 12139750"/>
              <a:gd name="connsiteY889" fmla="*/ 5583290 h 6858290"/>
              <a:gd name="connsiteX890" fmla="*/ 8576 w 12139750"/>
              <a:gd name="connsiteY890" fmla="*/ 5564335 h 6858290"/>
              <a:gd name="connsiteX891" fmla="*/ 4763 w 12139750"/>
              <a:gd name="connsiteY891" fmla="*/ 5547275 h 6858290"/>
              <a:gd name="connsiteX892" fmla="*/ 27641 w 12139750"/>
              <a:gd name="connsiteY892" fmla="*/ 5509365 h 6858290"/>
              <a:gd name="connsiteX893" fmla="*/ 366986 w 12139750"/>
              <a:gd name="connsiteY893" fmla="*/ 5348245 h 6858290"/>
              <a:gd name="connsiteX894" fmla="*/ 398204 w 12139750"/>
              <a:gd name="connsiteY894" fmla="*/ 5347061 h 6858290"/>
              <a:gd name="connsiteX895" fmla="*/ 5409026 w 12139750"/>
              <a:gd name="connsiteY895" fmla="*/ 5334662 h 6858290"/>
              <a:gd name="connsiteX896" fmla="*/ 5432448 w 12139750"/>
              <a:gd name="connsiteY896" fmla="*/ 5356624 h 6858290"/>
              <a:gd name="connsiteX897" fmla="*/ 5411416 w 12139750"/>
              <a:gd name="connsiteY897" fmla="*/ 5412008 h 6858290"/>
              <a:gd name="connsiteX898" fmla="*/ 5071065 w 12139750"/>
              <a:gd name="connsiteY898" fmla="*/ 5570519 h 6858290"/>
              <a:gd name="connsiteX899" fmla="*/ 5015620 w 12139750"/>
              <a:gd name="connsiteY899" fmla="*/ 5549511 h 6858290"/>
              <a:gd name="connsiteX900" fmla="*/ 5011797 w 12139750"/>
              <a:gd name="connsiteY900" fmla="*/ 5532323 h 6858290"/>
              <a:gd name="connsiteX901" fmla="*/ 5036652 w 12139750"/>
              <a:gd name="connsiteY901" fmla="*/ 5494128 h 6858290"/>
              <a:gd name="connsiteX902" fmla="*/ 5377000 w 12139750"/>
              <a:gd name="connsiteY902" fmla="*/ 5335617 h 6858290"/>
              <a:gd name="connsiteX903" fmla="*/ 5409026 w 12139750"/>
              <a:gd name="connsiteY903" fmla="*/ 5334662 h 6858290"/>
              <a:gd name="connsiteX904" fmla="*/ 941871 w 12139750"/>
              <a:gd name="connsiteY904" fmla="*/ 5334662 h 6858290"/>
              <a:gd name="connsiteX905" fmla="*/ 965208 w 12139750"/>
              <a:gd name="connsiteY905" fmla="*/ 5356624 h 6858290"/>
              <a:gd name="connsiteX906" fmla="*/ 946158 w 12139750"/>
              <a:gd name="connsiteY906" fmla="*/ 5412008 h 6858290"/>
              <a:gd name="connsiteX907" fmla="*/ 605159 w 12139750"/>
              <a:gd name="connsiteY907" fmla="*/ 5570519 h 6858290"/>
              <a:gd name="connsiteX908" fmla="*/ 549913 w 12139750"/>
              <a:gd name="connsiteY908" fmla="*/ 5549511 h 6858290"/>
              <a:gd name="connsiteX909" fmla="*/ 546103 w 12139750"/>
              <a:gd name="connsiteY909" fmla="*/ 5532323 h 6858290"/>
              <a:gd name="connsiteX910" fmla="*/ 570868 w 12139750"/>
              <a:gd name="connsiteY910" fmla="*/ 5494128 h 6858290"/>
              <a:gd name="connsiteX911" fmla="*/ 909962 w 12139750"/>
              <a:gd name="connsiteY911" fmla="*/ 5335617 h 6858290"/>
              <a:gd name="connsiteX912" fmla="*/ 941871 w 12139750"/>
              <a:gd name="connsiteY912" fmla="*/ 5334662 h 6858290"/>
              <a:gd name="connsiteX913" fmla="*/ 4854192 w 12139750"/>
              <a:gd name="connsiteY913" fmla="*/ 5323799 h 6858290"/>
              <a:gd name="connsiteX914" fmla="*/ 4878448 w 12139750"/>
              <a:gd name="connsiteY914" fmla="*/ 5347462 h 6858290"/>
              <a:gd name="connsiteX915" fmla="*/ 4855617 w 12139750"/>
              <a:gd name="connsiteY915" fmla="*/ 5402917 h 6858290"/>
              <a:gd name="connsiteX916" fmla="*/ 4517030 w 12139750"/>
              <a:gd name="connsiteY916" fmla="*/ 5555894 h 6858290"/>
              <a:gd name="connsiteX917" fmla="*/ 4459961 w 12139750"/>
              <a:gd name="connsiteY917" fmla="*/ 5534860 h 6858290"/>
              <a:gd name="connsiteX918" fmla="*/ 4456156 w 12139750"/>
              <a:gd name="connsiteY918" fmla="*/ 5517650 h 6858290"/>
              <a:gd name="connsiteX919" fmla="*/ 4482788 w 12139750"/>
              <a:gd name="connsiteY919" fmla="*/ 5477493 h 6858290"/>
              <a:gd name="connsiteX920" fmla="*/ 4821375 w 12139750"/>
              <a:gd name="connsiteY920" fmla="*/ 5324516 h 6858290"/>
              <a:gd name="connsiteX921" fmla="*/ 4854192 w 12139750"/>
              <a:gd name="connsiteY921" fmla="*/ 5323799 h 6858290"/>
              <a:gd name="connsiteX922" fmla="*/ 1489585 w 12139750"/>
              <a:gd name="connsiteY922" fmla="*/ 5323799 h 6858290"/>
              <a:gd name="connsiteX923" fmla="*/ 1512904 w 12139750"/>
              <a:gd name="connsiteY923" fmla="*/ 5347462 h 6858290"/>
              <a:gd name="connsiteX924" fmla="*/ 1491964 w 12139750"/>
              <a:gd name="connsiteY924" fmla="*/ 5402917 h 6858290"/>
              <a:gd name="connsiteX925" fmla="*/ 1153121 w 12139750"/>
              <a:gd name="connsiteY925" fmla="*/ 5555894 h 6858290"/>
              <a:gd name="connsiteX926" fmla="*/ 1096012 w 12139750"/>
              <a:gd name="connsiteY926" fmla="*/ 5534860 h 6858290"/>
              <a:gd name="connsiteX927" fmla="*/ 1092205 w 12139750"/>
              <a:gd name="connsiteY927" fmla="*/ 5517650 h 6858290"/>
              <a:gd name="connsiteX928" fmla="*/ 1116952 w 12139750"/>
              <a:gd name="connsiteY928" fmla="*/ 5477493 h 6858290"/>
              <a:gd name="connsiteX929" fmla="*/ 1457699 w 12139750"/>
              <a:gd name="connsiteY929" fmla="*/ 5324516 h 6858290"/>
              <a:gd name="connsiteX930" fmla="*/ 1489585 w 12139750"/>
              <a:gd name="connsiteY930" fmla="*/ 5323799 h 6858290"/>
              <a:gd name="connsiteX931" fmla="*/ 4281187 w 12139750"/>
              <a:gd name="connsiteY931" fmla="*/ 5309975 h 6858290"/>
              <a:gd name="connsiteX932" fmla="*/ 4321192 w 12139750"/>
              <a:gd name="connsiteY932" fmla="*/ 5336228 h 6858290"/>
              <a:gd name="connsiteX933" fmla="*/ 4298281 w 12139750"/>
              <a:gd name="connsiteY933" fmla="*/ 5395283 h 6858290"/>
              <a:gd name="connsiteX934" fmla="*/ 3958460 w 12139750"/>
              <a:gd name="connsiteY934" fmla="*/ 5541968 h 6858290"/>
              <a:gd name="connsiteX935" fmla="*/ 3901183 w 12139750"/>
              <a:gd name="connsiteY935" fmla="*/ 5519108 h 6858290"/>
              <a:gd name="connsiteX936" fmla="*/ 3897363 w 12139750"/>
              <a:gd name="connsiteY936" fmla="*/ 5501963 h 6858290"/>
              <a:gd name="connsiteX937" fmla="*/ 3924095 w 12139750"/>
              <a:gd name="connsiteY937" fmla="*/ 5461958 h 6858290"/>
              <a:gd name="connsiteX938" fmla="*/ 4263914 w 12139750"/>
              <a:gd name="connsiteY938" fmla="*/ 5313368 h 6858290"/>
              <a:gd name="connsiteX939" fmla="*/ 4281187 w 12139750"/>
              <a:gd name="connsiteY939" fmla="*/ 5309975 h 6858290"/>
              <a:gd name="connsiteX940" fmla="*/ 2026929 w 12139750"/>
              <a:gd name="connsiteY940" fmla="*/ 5309974 h 6858290"/>
              <a:gd name="connsiteX941" fmla="*/ 2068518 w 12139750"/>
              <a:gd name="connsiteY941" fmla="*/ 5336228 h 6858290"/>
              <a:gd name="connsiteX942" fmla="*/ 2045620 w 12139750"/>
              <a:gd name="connsiteY942" fmla="*/ 5395283 h 6858290"/>
              <a:gd name="connsiteX943" fmla="*/ 1704121 w 12139750"/>
              <a:gd name="connsiteY943" fmla="*/ 5541968 h 6858290"/>
              <a:gd name="connsiteX944" fmla="*/ 1646887 w 12139750"/>
              <a:gd name="connsiteY944" fmla="*/ 5519108 h 6858290"/>
              <a:gd name="connsiteX945" fmla="*/ 1643071 w 12139750"/>
              <a:gd name="connsiteY945" fmla="*/ 5501963 h 6858290"/>
              <a:gd name="connsiteX946" fmla="*/ 1669781 w 12139750"/>
              <a:gd name="connsiteY946" fmla="*/ 5461958 h 6858290"/>
              <a:gd name="connsiteX947" fmla="*/ 2009371 w 12139750"/>
              <a:gd name="connsiteY947" fmla="*/ 5313368 h 6858290"/>
              <a:gd name="connsiteX948" fmla="*/ 2026929 w 12139750"/>
              <a:gd name="connsiteY948" fmla="*/ 5309974 h 6858290"/>
              <a:gd name="connsiteX949" fmla="*/ 3719254 w 12139750"/>
              <a:gd name="connsiteY949" fmla="*/ 5298899 h 6858290"/>
              <a:gd name="connsiteX950" fmla="*/ 3759233 w 12139750"/>
              <a:gd name="connsiteY950" fmla="*/ 5327064 h 6858290"/>
              <a:gd name="connsiteX951" fmla="*/ 3736338 w 12139750"/>
              <a:gd name="connsiteY951" fmla="*/ 5386196 h 6858290"/>
              <a:gd name="connsiteX952" fmla="*/ 3394855 w 12139750"/>
              <a:gd name="connsiteY952" fmla="*/ 5529255 h 6858290"/>
              <a:gd name="connsiteX953" fmla="*/ 3337618 w 12139750"/>
              <a:gd name="connsiteY953" fmla="*/ 5504458 h 6858290"/>
              <a:gd name="connsiteX954" fmla="*/ 3333805 w 12139750"/>
              <a:gd name="connsiteY954" fmla="*/ 5487291 h 6858290"/>
              <a:gd name="connsiteX955" fmla="*/ 3360512 w 12139750"/>
              <a:gd name="connsiteY955" fmla="*/ 5447234 h 6858290"/>
              <a:gd name="connsiteX956" fmla="*/ 3701998 w 12139750"/>
              <a:gd name="connsiteY956" fmla="*/ 5302267 h 6858290"/>
              <a:gd name="connsiteX957" fmla="*/ 3719254 w 12139750"/>
              <a:gd name="connsiteY957" fmla="*/ 5298899 h 6858290"/>
              <a:gd name="connsiteX958" fmla="*/ 2583547 w 12139750"/>
              <a:gd name="connsiteY958" fmla="*/ 5298899 h 6858290"/>
              <a:gd name="connsiteX959" fmla="*/ 2624178 w 12139750"/>
              <a:gd name="connsiteY959" fmla="*/ 5327064 h 6858290"/>
              <a:gd name="connsiteX960" fmla="*/ 2601368 w 12139750"/>
              <a:gd name="connsiteY960" fmla="*/ 5386196 h 6858290"/>
              <a:gd name="connsiteX961" fmla="*/ 2261117 w 12139750"/>
              <a:gd name="connsiteY961" fmla="*/ 5529255 h 6858290"/>
              <a:gd name="connsiteX962" fmla="*/ 2204092 w 12139750"/>
              <a:gd name="connsiteY962" fmla="*/ 5504458 h 6858290"/>
              <a:gd name="connsiteX963" fmla="*/ 2200290 w 12139750"/>
              <a:gd name="connsiteY963" fmla="*/ 5487291 h 6858290"/>
              <a:gd name="connsiteX964" fmla="*/ 2226902 w 12139750"/>
              <a:gd name="connsiteY964" fmla="*/ 5447234 h 6858290"/>
              <a:gd name="connsiteX965" fmla="*/ 2567153 w 12139750"/>
              <a:gd name="connsiteY965" fmla="*/ 5302267 h 6858290"/>
              <a:gd name="connsiteX966" fmla="*/ 2583547 w 12139750"/>
              <a:gd name="connsiteY966" fmla="*/ 5298899 h 6858290"/>
              <a:gd name="connsiteX967" fmla="*/ 3161733 w 12139750"/>
              <a:gd name="connsiteY967" fmla="*/ 5292230 h 6858290"/>
              <a:gd name="connsiteX968" fmla="*/ 3186189 w 12139750"/>
              <a:gd name="connsiteY968" fmla="*/ 5317405 h 6858290"/>
              <a:gd name="connsiteX969" fmla="*/ 3161496 w 12139750"/>
              <a:gd name="connsiteY969" fmla="*/ 5376305 h 6858290"/>
              <a:gd name="connsiteX970" fmla="*/ 2821486 w 12139750"/>
              <a:gd name="connsiteY970" fmla="*/ 5515005 h 6858290"/>
              <a:gd name="connsiteX971" fmla="*/ 2762605 w 12139750"/>
              <a:gd name="connsiteY971" fmla="*/ 5488405 h 6858290"/>
              <a:gd name="connsiteX972" fmla="*/ 2760704 w 12139750"/>
              <a:gd name="connsiteY972" fmla="*/ 5471305 h 6858290"/>
              <a:gd name="connsiteX973" fmla="*/ 2787294 w 12139750"/>
              <a:gd name="connsiteY973" fmla="*/ 5429505 h 6858290"/>
              <a:gd name="connsiteX974" fmla="*/ 3127304 w 12139750"/>
              <a:gd name="connsiteY974" fmla="*/ 5292705 h 6858290"/>
              <a:gd name="connsiteX975" fmla="*/ 3161733 w 12139750"/>
              <a:gd name="connsiteY975" fmla="*/ 5292230 h 6858290"/>
              <a:gd name="connsiteX976" fmla="*/ 9868289 w 12139750"/>
              <a:gd name="connsiteY976" fmla="*/ 5096095 h 6858290"/>
              <a:gd name="connsiteX977" fmla="*/ 9888974 w 12139750"/>
              <a:gd name="connsiteY977" fmla="*/ 5110082 h 6858290"/>
              <a:gd name="connsiteX978" fmla="*/ 9877562 w 12139750"/>
              <a:gd name="connsiteY978" fmla="*/ 5155597 h 6858290"/>
              <a:gd name="connsiteX979" fmla="*/ 9542804 w 12139750"/>
              <a:gd name="connsiteY979" fmla="*/ 5364209 h 6858290"/>
              <a:gd name="connsiteX980" fmla="*/ 9497155 w 12139750"/>
              <a:gd name="connsiteY980" fmla="*/ 5352831 h 6858290"/>
              <a:gd name="connsiteX981" fmla="*/ 9493351 w 12139750"/>
              <a:gd name="connsiteY981" fmla="*/ 5335762 h 6858290"/>
              <a:gd name="connsiteX982" fmla="*/ 9508567 w 12139750"/>
              <a:gd name="connsiteY982" fmla="*/ 5307315 h 6858290"/>
              <a:gd name="connsiteX983" fmla="*/ 9843325 w 12139750"/>
              <a:gd name="connsiteY983" fmla="*/ 5100599 h 6858290"/>
              <a:gd name="connsiteX984" fmla="*/ 9868289 w 12139750"/>
              <a:gd name="connsiteY984" fmla="*/ 5096095 h 6858290"/>
              <a:gd name="connsiteX985" fmla="*/ 10452111 w 12139750"/>
              <a:gd name="connsiteY985" fmla="*/ 5084390 h 6858290"/>
              <a:gd name="connsiteX986" fmla="*/ 10472844 w 12139750"/>
              <a:gd name="connsiteY986" fmla="*/ 5099443 h 6858290"/>
              <a:gd name="connsiteX987" fmla="*/ 10461405 w 12139750"/>
              <a:gd name="connsiteY987" fmla="*/ 5147230 h 6858290"/>
              <a:gd name="connsiteX988" fmla="*/ 10125860 w 12139750"/>
              <a:gd name="connsiteY988" fmla="*/ 5349847 h 6858290"/>
              <a:gd name="connsiteX989" fmla="*/ 10078197 w 12139750"/>
              <a:gd name="connsiteY989" fmla="*/ 5338378 h 6858290"/>
              <a:gd name="connsiteX990" fmla="*/ 10074384 w 12139750"/>
              <a:gd name="connsiteY990" fmla="*/ 5321175 h 6858290"/>
              <a:gd name="connsiteX991" fmla="*/ 10089636 w 12139750"/>
              <a:gd name="connsiteY991" fmla="*/ 5290591 h 6858290"/>
              <a:gd name="connsiteX992" fmla="*/ 10427088 w 12139750"/>
              <a:gd name="connsiteY992" fmla="*/ 5087974 h 6858290"/>
              <a:gd name="connsiteX993" fmla="*/ 10452111 w 12139750"/>
              <a:gd name="connsiteY993" fmla="*/ 5084390 h 6858290"/>
              <a:gd name="connsiteX994" fmla="*/ 9291418 w 12139750"/>
              <a:gd name="connsiteY994" fmla="*/ 5084390 h 6858290"/>
              <a:gd name="connsiteX995" fmla="*/ 9312374 w 12139750"/>
              <a:gd name="connsiteY995" fmla="*/ 5099443 h 6858290"/>
              <a:gd name="connsiteX996" fmla="*/ 9300944 w 12139750"/>
              <a:gd name="connsiteY996" fmla="*/ 5147230 h 6858290"/>
              <a:gd name="connsiteX997" fmla="*/ 8963754 w 12139750"/>
              <a:gd name="connsiteY997" fmla="*/ 5349847 h 6858290"/>
              <a:gd name="connsiteX998" fmla="*/ 8918033 w 12139750"/>
              <a:gd name="connsiteY998" fmla="*/ 5338378 h 6858290"/>
              <a:gd name="connsiteX999" fmla="*/ 8912318 w 12139750"/>
              <a:gd name="connsiteY999" fmla="*/ 5321175 h 6858290"/>
              <a:gd name="connsiteX1000" fmla="*/ 8929463 w 12139750"/>
              <a:gd name="connsiteY1000" fmla="*/ 5290591 h 6858290"/>
              <a:gd name="connsiteX1001" fmla="*/ 9264748 w 12139750"/>
              <a:gd name="connsiteY1001" fmla="*/ 5087974 h 6858290"/>
              <a:gd name="connsiteX1002" fmla="*/ 9291418 w 12139750"/>
              <a:gd name="connsiteY1002" fmla="*/ 5084390 h 6858290"/>
              <a:gd name="connsiteX1003" fmla="*/ 11029363 w 12139750"/>
              <a:gd name="connsiteY1003" fmla="*/ 5075090 h 6858290"/>
              <a:gd name="connsiteX1004" fmla="*/ 11050367 w 12139750"/>
              <a:gd name="connsiteY1004" fmla="*/ 5091778 h 6858290"/>
              <a:gd name="connsiteX1005" fmla="*/ 11038910 w 12139750"/>
              <a:gd name="connsiteY1005" fmla="*/ 5139458 h 6858290"/>
              <a:gd name="connsiteX1006" fmla="*/ 10700944 w 12139750"/>
              <a:gd name="connsiteY1006" fmla="*/ 5333994 h 6858290"/>
              <a:gd name="connsiteX1007" fmla="*/ 10653208 w 12139750"/>
              <a:gd name="connsiteY1007" fmla="*/ 5320643 h 6858290"/>
              <a:gd name="connsiteX1008" fmla="*/ 10647480 w 12139750"/>
              <a:gd name="connsiteY1008" fmla="*/ 5303478 h 6858290"/>
              <a:gd name="connsiteX1009" fmla="*/ 10664665 w 12139750"/>
              <a:gd name="connsiteY1009" fmla="*/ 5272963 h 6858290"/>
              <a:gd name="connsiteX1010" fmla="*/ 11002631 w 12139750"/>
              <a:gd name="connsiteY1010" fmla="*/ 5078428 h 6858290"/>
              <a:gd name="connsiteX1011" fmla="*/ 11029363 w 12139750"/>
              <a:gd name="connsiteY1011" fmla="*/ 5075090 h 6858290"/>
              <a:gd name="connsiteX1012" fmla="*/ 8719756 w 12139750"/>
              <a:gd name="connsiteY1012" fmla="*/ 5075090 h 6858290"/>
              <a:gd name="connsiteX1013" fmla="*/ 8742431 w 12139750"/>
              <a:gd name="connsiteY1013" fmla="*/ 5091778 h 6858290"/>
              <a:gd name="connsiteX1014" fmla="*/ 8729065 w 12139750"/>
              <a:gd name="connsiteY1014" fmla="*/ 5139458 h 6858290"/>
              <a:gd name="connsiteX1015" fmla="*/ 8391099 w 12139750"/>
              <a:gd name="connsiteY1015" fmla="*/ 5333994 h 6858290"/>
              <a:gd name="connsiteX1016" fmla="*/ 8343363 w 12139750"/>
              <a:gd name="connsiteY1016" fmla="*/ 5320643 h 6858290"/>
              <a:gd name="connsiteX1017" fmla="*/ 8337635 w 12139750"/>
              <a:gd name="connsiteY1017" fmla="*/ 5303478 h 6858290"/>
              <a:gd name="connsiteX1018" fmla="*/ 8356729 w 12139750"/>
              <a:gd name="connsiteY1018" fmla="*/ 5272963 h 6858290"/>
              <a:gd name="connsiteX1019" fmla="*/ 8692786 w 12139750"/>
              <a:gd name="connsiteY1019" fmla="*/ 5078428 h 6858290"/>
              <a:gd name="connsiteX1020" fmla="*/ 8719756 w 12139750"/>
              <a:gd name="connsiteY1020" fmla="*/ 5075090 h 6858290"/>
              <a:gd name="connsiteX1021" fmla="*/ 11600954 w 12139750"/>
              <a:gd name="connsiteY1021" fmla="*/ 5064224 h 6858290"/>
              <a:gd name="connsiteX1022" fmla="*/ 11622196 w 12139750"/>
              <a:gd name="connsiteY1022" fmla="*/ 5082602 h 6858290"/>
              <a:gd name="connsiteX1023" fmla="*/ 11608830 w 12139750"/>
              <a:gd name="connsiteY1023" fmla="*/ 5132248 h 6858290"/>
              <a:gd name="connsiteX1024" fmla="*/ 11270864 w 12139750"/>
              <a:gd name="connsiteY1024" fmla="*/ 5319373 h 6858290"/>
              <a:gd name="connsiteX1025" fmla="*/ 11221219 w 12139750"/>
              <a:gd name="connsiteY1025" fmla="*/ 5306007 h 6858290"/>
              <a:gd name="connsiteX1026" fmla="*/ 11217400 w 12139750"/>
              <a:gd name="connsiteY1026" fmla="*/ 5288822 h 6858290"/>
              <a:gd name="connsiteX1027" fmla="*/ 11234585 w 12139750"/>
              <a:gd name="connsiteY1027" fmla="*/ 5256362 h 6858290"/>
              <a:gd name="connsiteX1028" fmla="*/ 11572551 w 12139750"/>
              <a:gd name="connsiteY1028" fmla="*/ 5067327 h 6858290"/>
              <a:gd name="connsiteX1029" fmla="*/ 11600954 w 12139750"/>
              <a:gd name="connsiteY1029" fmla="*/ 5064224 h 6858290"/>
              <a:gd name="connsiteX1030" fmla="*/ 8155460 w 12139750"/>
              <a:gd name="connsiteY1030" fmla="*/ 5064224 h 6858290"/>
              <a:gd name="connsiteX1031" fmla="*/ 8177317 w 12139750"/>
              <a:gd name="connsiteY1031" fmla="*/ 5082602 h 6858290"/>
              <a:gd name="connsiteX1032" fmla="*/ 8162112 w 12139750"/>
              <a:gd name="connsiteY1032" fmla="*/ 5132248 h 6858290"/>
              <a:gd name="connsiteX1033" fmla="*/ 7825696 w 12139750"/>
              <a:gd name="connsiteY1033" fmla="*/ 5319373 h 6858290"/>
              <a:gd name="connsiteX1034" fmla="*/ 7776279 w 12139750"/>
              <a:gd name="connsiteY1034" fmla="*/ 5306007 h 6858290"/>
              <a:gd name="connsiteX1035" fmla="*/ 7772478 w 12139750"/>
              <a:gd name="connsiteY1035" fmla="*/ 5288822 h 6858290"/>
              <a:gd name="connsiteX1036" fmla="*/ 7791484 w 12139750"/>
              <a:gd name="connsiteY1036" fmla="*/ 5256362 h 6858290"/>
              <a:gd name="connsiteX1037" fmla="*/ 8127900 w 12139750"/>
              <a:gd name="connsiteY1037" fmla="*/ 5067327 h 6858290"/>
              <a:gd name="connsiteX1038" fmla="*/ 8155460 w 12139750"/>
              <a:gd name="connsiteY1038" fmla="*/ 5064224 h 6858290"/>
              <a:gd name="connsiteX1039" fmla="*/ 12139750 w 12139750"/>
              <a:gd name="connsiteY1039" fmla="*/ 5056192 h 6858290"/>
              <a:gd name="connsiteX1040" fmla="*/ 12139750 w 12139750"/>
              <a:gd name="connsiteY1040" fmla="*/ 5139909 h 6858290"/>
              <a:gd name="connsiteX1041" fmla="*/ 11834946 w 12139750"/>
              <a:gd name="connsiteY1041" fmla="*/ 5305441 h 6858290"/>
              <a:gd name="connsiteX1042" fmla="*/ 11783510 w 12139750"/>
              <a:gd name="connsiteY1042" fmla="*/ 5290220 h 6858290"/>
              <a:gd name="connsiteX1043" fmla="*/ 11777795 w 12139750"/>
              <a:gd name="connsiteY1043" fmla="*/ 5271193 h 6858290"/>
              <a:gd name="connsiteX1044" fmla="*/ 11798750 w 12139750"/>
              <a:gd name="connsiteY1044" fmla="*/ 5238848 h 6858290"/>
              <a:gd name="connsiteX1045" fmla="*/ 12135940 w 12139750"/>
              <a:gd name="connsiteY1045" fmla="*/ 5058094 h 6858290"/>
              <a:gd name="connsiteX1046" fmla="*/ 12139750 w 12139750"/>
              <a:gd name="connsiteY1046" fmla="*/ 5056192 h 6858290"/>
              <a:gd name="connsiteX1047" fmla="*/ 7597906 w 12139750"/>
              <a:gd name="connsiteY1047" fmla="*/ 5054684 h 6858290"/>
              <a:gd name="connsiteX1048" fmla="*/ 7620068 w 12139750"/>
              <a:gd name="connsiteY1048" fmla="*/ 5073020 h 6858290"/>
              <a:gd name="connsiteX1049" fmla="*/ 7604817 w 12139750"/>
              <a:gd name="connsiteY1049" fmla="*/ 5124455 h 6858290"/>
              <a:gd name="connsiteX1050" fmla="*/ 7267371 w 12139750"/>
              <a:gd name="connsiteY1050" fmla="*/ 5305430 h 6858290"/>
              <a:gd name="connsiteX1051" fmla="*/ 7215896 w 12139750"/>
              <a:gd name="connsiteY1051" fmla="*/ 5290190 h 6858290"/>
              <a:gd name="connsiteX1052" fmla="*/ 7212083 w 12139750"/>
              <a:gd name="connsiteY1052" fmla="*/ 5271140 h 6858290"/>
              <a:gd name="connsiteX1053" fmla="*/ 7231147 w 12139750"/>
              <a:gd name="connsiteY1053" fmla="*/ 5238755 h 6858290"/>
              <a:gd name="connsiteX1054" fmla="*/ 7568594 w 12139750"/>
              <a:gd name="connsiteY1054" fmla="*/ 5057780 h 6858290"/>
              <a:gd name="connsiteX1055" fmla="*/ 7597906 w 12139750"/>
              <a:gd name="connsiteY1055" fmla="*/ 5054684 h 6858290"/>
              <a:gd name="connsiteX1056" fmla="*/ 7046964 w 12139750"/>
              <a:gd name="connsiteY1056" fmla="*/ 5044542 h 6858290"/>
              <a:gd name="connsiteX1057" fmla="*/ 7069177 w 12139750"/>
              <a:gd name="connsiteY1057" fmla="*/ 5063876 h 6858290"/>
              <a:gd name="connsiteX1058" fmla="*/ 7051980 w 12139750"/>
              <a:gd name="connsiteY1058" fmla="*/ 5115435 h 6858290"/>
              <a:gd name="connsiteX1059" fmla="*/ 6713773 w 12139750"/>
              <a:gd name="connsiteY1059" fmla="*/ 5291119 h 6858290"/>
              <a:gd name="connsiteX1060" fmla="*/ 6660271 w 12139750"/>
              <a:gd name="connsiteY1060" fmla="*/ 5273932 h 6858290"/>
              <a:gd name="connsiteX1061" fmla="*/ 6656450 w 12139750"/>
              <a:gd name="connsiteY1061" fmla="*/ 5256746 h 6858290"/>
              <a:gd name="connsiteX1062" fmla="*/ 6677468 w 12139750"/>
              <a:gd name="connsiteY1062" fmla="*/ 5222373 h 6858290"/>
              <a:gd name="connsiteX1063" fmla="*/ 7017586 w 12139750"/>
              <a:gd name="connsiteY1063" fmla="*/ 5046690 h 6858290"/>
              <a:gd name="connsiteX1064" fmla="*/ 7046964 w 12139750"/>
              <a:gd name="connsiteY1064" fmla="*/ 5044542 h 6858290"/>
              <a:gd name="connsiteX1065" fmla="*/ 6485663 w 12139750"/>
              <a:gd name="connsiteY1065" fmla="*/ 5032630 h 6858290"/>
              <a:gd name="connsiteX1066" fmla="*/ 6523112 w 12139750"/>
              <a:gd name="connsiteY1066" fmla="*/ 5054570 h 6858290"/>
              <a:gd name="connsiteX1067" fmla="*/ 6505992 w 12139750"/>
              <a:gd name="connsiteY1067" fmla="*/ 5107845 h 6858290"/>
              <a:gd name="connsiteX1068" fmla="*/ 6167407 w 12139750"/>
              <a:gd name="connsiteY1068" fmla="*/ 5275279 h 6858290"/>
              <a:gd name="connsiteX1069" fmla="*/ 6114146 w 12139750"/>
              <a:gd name="connsiteY1069" fmla="*/ 5258155 h 6858290"/>
              <a:gd name="connsiteX1070" fmla="*/ 6110342 w 12139750"/>
              <a:gd name="connsiteY1070" fmla="*/ 5239129 h 6858290"/>
              <a:gd name="connsiteX1071" fmla="*/ 6131266 w 12139750"/>
              <a:gd name="connsiteY1071" fmla="*/ 5202978 h 6858290"/>
              <a:gd name="connsiteX1072" fmla="*/ 6469851 w 12139750"/>
              <a:gd name="connsiteY1072" fmla="*/ 5037446 h 6858290"/>
              <a:gd name="connsiteX1073" fmla="*/ 6485663 w 12139750"/>
              <a:gd name="connsiteY1073" fmla="*/ 5032630 h 6858290"/>
              <a:gd name="connsiteX1074" fmla="*/ 5956806 w 12139750"/>
              <a:gd name="connsiteY1074" fmla="*/ 5024850 h 6858290"/>
              <a:gd name="connsiteX1075" fmla="*/ 5980159 w 12139750"/>
              <a:gd name="connsiteY1075" fmla="*/ 5045115 h 6858290"/>
              <a:gd name="connsiteX1076" fmla="*/ 5961095 w 12139750"/>
              <a:gd name="connsiteY1076" fmla="*/ 5100429 h 6858290"/>
              <a:gd name="connsiteX1077" fmla="*/ 5621756 w 12139750"/>
              <a:gd name="connsiteY1077" fmla="*/ 5262556 h 6858290"/>
              <a:gd name="connsiteX1078" fmla="*/ 5566471 w 12139750"/>
              <a:gd name="connsiteY1078" fmla="*/ 5241575 h 6858290"/>
              <a:gd name="connsiteX1079" fmla="*/ 5562659 w 12139750"/>
              <a:gd name="connsiteY1079" fmla="*/ 5224408 h 6858290"/>
              <a:gd name="connsiteX1080" fmla="*/ 5585535 w 12139750"/>
              <a:gd name="connsiteY1080" fmla="*/ 5186261 h 6858290"/>
              <a:gd name="connsiteX1081" fmla="*/ 5924873 w 12139750"/>
              <a:gd name="connsiteY1081" fmla="*/ 5026042 h 6858290"/>
              <a:gd name="connsiteX1082" fmla="*/ 5956806 w 12139750"/>
              <a:gd name="connsiteY1082" fmla="*/ 5024850 h 6858290"/>
              <a:gd name="connsiteX1083" fmla="*/ 398945 w 12139750"/>
              <a:gd name="connsiteY1083" fmla="*/ 5024850 h 6858290"/>
              <a:gd name="connsiteX1084" fmla="*/ 422281 w 12139750"/>
              <a:gd name="connsiteY1084" fmla="*/ 5045115 h 6858290"/>
              <a:gd name="connsiteX1085" fmla="*/ 401326 w 12139750"/>
              <a:gd name="connsiteY1085" fmla="*/ 5100429 h 6858290"/>
              <a:gd name="connsiteX1086" fmla="*/ 62232 w 12139750"/>
              <a:gd name="connsiteY1086" fmla="*/ 5262556 h 6858290"/>
              <a:gd name="connsiteX1087" fmla="*/ 8891 w 12139750"/>
              <a:gd name="connsiteY1087" fmla="*/ 5241575 h 6858290"/>
              <a:gd name="connsiteX1088" fmla="*/ 3176 w 12139750"/>
              <a:gd name="connsiteY1088" fmla="*/ 5224408 h 6858290"/>
              <a:gd name="connsiteX1089" fmla="*/ 27941 w 12139750"/>
              <a:gd name="connsiteY1089" fmla="*/ 5186261 h 6858290"/>
              <a:gd name="connsiteX1090" fmla="*/ 367035 w 12139750"/>
              <a:gd name="connsiteY1090" fmla="*/ 5026042 h 6858290"/>
              <a:gd name="connsiteX1091" fmla="*/ 398945 w 12139750"/>
              <a:gd name="connsiteY1091" fmla="*/ 5024850 h 6858290"/>
              <a:gd name="connsiteX1092" fmla="*/ 5409053 w 12139750"/>
              <a:gd name="connsiteY1092" fmla="*/ 5014180 h 6858290"/>
              <a:gd name="connsiteX1093" fmla="*/ 5432457 w 12139750"/>
              <a:gd name="connsiteY1093" fmla="*/ 5037695 h 6858290"/>
              <a:gd name="connsiteX1094" fmla="*/ 5411441 w 12139750"/>
              <a:gd name="connsiteY1094" fmla="*/ 5092800 h 6858290"/>
              <a:gd name="connsiteX1095" fmla="*/ 5071343 w 12139750"/>
              <a:gd name="connsiteY1095" fmla="*/ 5246716 h 6858290"/>
              <a:gd name="connsiteX1096" fmla="*/ 5014031 w 12139750"/>
              <a:gd name="connsiteY1096" fmla="*/ 5225814 h 6858290"/>
              <a:gd name="connsiteX1097" fmla="*/ 5010210 w 12139750"/>
              <a:gd name="connsiteY1097" fmla="*/ 5208712 h 6858290"/>
              <a:gd name="connsiteX1098" fmla="*/ 5036956 w 12139750"/>
              <a:gd name="connsiteY1098" fmla="*/ 5168808 h 6858290"/>
              <a:gd name="connsiteX1099" fmla="*/ 5377049 w 12139750"/>
              <a:gd name="connsiteY1099" fmla="*/ 5014893 h 6858290"/>
              <a:gd name="connsiteX1100" fmla="*/ 5409053 w 12139750"/>
              <a:gd name="connsiteY1100" fmla="*/ 5014180 h 6858290"/>
              <a:gd name="connsiteX1101" fmla="*/ 942531 w 12139750"/>
              <a:gd name="connsiteY1101" fmla="*/ 5014180 h 6858290"/>
              <a:gd name="connsiteX1102" fmla="*/ 966802 w 12139750"/>
              <a:gd name="connsiteY1102" fmla="*/ 5037695 h 6858290"/>
              <a:gd name="connsiteX1103" fmla="*/ 945862 w 12139750"/>
              <a:gd name="connsiteY1103" fmla="*/ 5092800 h 6858290"/>
              <a:gd name="connsiteX1104" fmla="*/ 605115 w 12139750"/>
              <a:gd name="connsiteY1104" fmla="*/ 5246716 h 6858290"/>
              <a:gd name="connsiteX1105" fmla="*/ 549910 w 12139750"/>
              <a:gd name="connsiteY1105" fmla="*/ 5225814 h 6858290"/>
              <a:gd name="connsiteX1106" fmla="*/ 546103 w 12139750"/>
              <a:gd name="connsiteY1106" fmla="*/ 5208712 h 6858290"/>
              <a:gd name="connsiteX1107" fmla="*/ 570850 w 12139750"/>
              <a:gd name="connsiteY1107" fmla="*/ 5168808 h 6858290"/>
              <a:gd name="connsiteX1108" fmla="*/ 909693 w 12139750"/>
              <a:gd name="connsiteY1108" fmla="*/ 5014893 h 6858290"/>
              <a:gd name="connsiteX1109" fmla="*/ 942531 w 12139750"/>
              <a:gd name="connsiteY1109" fmla="*/ 5014180 h 6858290"/>
              <a:gd name="connsiteX1110" fmla="*/ 4856076 w 12139750"/>
              <a:gd name="connsiteY1110" fmla="*/ 5004632 h 6858290"/>
              <a:gd name="connsiteX1111" fmla="*/ 4879690 w 12139750"/>
              <a:gd name="connsiteY1111" fmla="*/ 5028084 h 6858290"/>
              <a:gd name="connsiteX1112" fmla="*/ 4856790 w 12139750"/>
              <a:gd name="connsiteY1112" fmla="*/ 5084939 h 6858290"/>
              <a:gd name="connsiteX1113" fmla="*/ 4517206 w 12139750"/>
              <a:gd name="connsiteY1113" fmla="*/ 5230866 h 6858290"/>
              <a:gd name="connsiteX1114" fmla="*/ 4459973 w 12139750"/>
              <a:gd name="connsiteY1114" fmla="*/ 5208124 h 6858290"/>
              <a:gd name="connsiteX1115" fmla="*/ 4456156 w 12139750"/>
              <a:gd name="connsiteY1115" fmla="*/ 5191068 h 6858290"/>
              <a:gd name="connsiteX1116" fmla="*/ 4482866 w 12139750"/>
              <a:gd name="connsiteY1116" fmla="*/ 5151269 h 6858290"/>
              <a:gd name="connsiteX1117" fmla="*/ 4822447 w 12139750"/>
              <a:gd name="connsiteY1117" fmla="*/ 5005343 h 6858290"/>
              <a:gd name="connsiteX1118" fmla="*/ 4856076 w 12139750"/>
              <a:gd name="connsiteY1118" fmla="*/ 5004632 h 6858290"/>
              <a:gd name="connsiteX1119" fmla="*/ 1491734 w 12139750"/>
              <a:gd name="connsiteY1119" fmla="*/ 5004632 h 6858290"/>
              <a:gd name="connsiteX1120" fmla="*/ 1516059 w 12139750"/>
              <a:gd name="connsiteY1120" fmla="*/ 5028084 h 6858290"/>
              <a:gd name="connsiteX1121" fmla="*/ 1493165 w 12139750"/>
              <a:gd name="connsiteY1121" fmla="*/ 5084939 h 6858290"/>
              <a:gd name="connsiteX1122" fmla="*/ 1153575 w 12139750"/>
              <a:gd name="connsiteY1122" fmla="*/ 5230866 h 6858290"/>
              <a:gd name="connsiteX1123" fmla="*/ 1094433 w 12139750"/>
              <a:gd name="connsiteY1123" fmla="*/ 5208124 h 6858290"/>
              <a:gd name="connsiteX1124" fmla="*/ 1090618 w 12139750"/>
              <a:gd name="connsiteY1124" fmla="*/ 5191068 h 6858290"/>
              <a:gd name="connsiteX1125" fmla="*/ 1117327 w 12139750"/>
              <a:gd name="connsiteY1125" fmla="*/ 5151269 h 6858290"/>
              <a:gd name="connsiteX1126" fmla="*/ 1458825 w 12139750"/>
              <a:gd name="connsiteY1126" fmla="*/ 5005343 h 6858290"/>
              <a:gd name="connsiteX1127" fmla="*/ 1491734 w 12139750"/>
              <a:gd name="connsiteY1127" fmla="*/ 5004632 h 6858290"/>
              <a:gd name="connsiteX1128" fmla="*/ 4281239 w 12139750"/>
              <a:gd name="connsiteY1128" fmla="*/ 4989344 h 6858290"/>
              <a:gd name="connsiteX1129" fmla="*/ 4322794 w 12139750"/>
              <a:gd name="connsiteY1129" fmla="*/ 5017546 h 6858290"/>
              <a:gd name="connsiteX1130" fmla="*/ 4298009 w 12139750"/>
              <a:gd name="connsiteY1130" fmla="*/ 5076755 h 6858290"/>
              <a:gd name="connsiteX1131" fmla="*/ 3958691 w 12139750"/>
              <a:gd name="connsiteY1131" fmla="*/ 5218092 h 6858290"/>
              <a:gd name="connsiteX1132" fmla="*/ 3899588 w 12139750"/>
              <a:gd name="connsiteY1132" fmla="*/ 5193262 h 6858290"/>
              <a:gd name="connsiteX1133" fmla="*/ 3895778 w 12139750"/>
              <a:gd name="connsiteY1133" fmla="*/ 5176073 h 6858290"/>
              <a:gd name="connsiteX1134" fmla="*/ 3924372 w 12139750"/>
              <a:gd name="connsiteY1134" fmla="*/ 5134054 h 6858290"/>
              <a:gd name="connsiteX1135" fmla="*/ 4263693 w 12139750"/>
              <a:gd name="connsiteY1135" fmla="*/ 4992717 h 6858290"/>
              <a:gd name="connsiteX1136" fmla="*/ 4281239 w 12139750"/>
              <a:gd name="connsiteY1136" fmla="*/ 4989344 h 6858290"/>
              <a:gd name="connsiteX1137" fmla="*/ 2028590 w 12139750"/>
              <a:gd name="connsiteY1137" fmla="*/ 4989344 h 6858290"/>
              <a:gd name="connsiteX1138" fmla="*/ 2070119 w 12139750"/>
              <a:gd name="connsiteY1138" fmla="*/ 5017546 h 6858290"/>
              <a:gd name="connsiteX1139" fmla="*/ 2045348 w 12139750"/>
              <a:gd name="connsiteY1139" fmla="*/ 5076755 h 6858290"/>
              <a:gd name="connsiteX1140" fmla="*/ 1704349 w 12139750"/>
              <a:gd name="connsiteY1140" fmla="*/ 5218092 h 6858290"/>
              <a:gd name="connsiteX1141" fmla="*/ 1645293 w 12139750"/>
              <a:gd name="connsiteY1141" fmla="*/ 5193262 h 6858290"/>
              <a:gd name="connsiteX1142" fmla="*/ 1641483 w 12139750"/>
              <a:gd name="connsiteY1142" fmla="*/ 5176073 h 6858290"/>
              <a:gd name="connsiteX1143" fmla="*/ 1670059 w 12139750"/>
              <a:gd name="connsiteY1143" fmla="*/ 5134054 h 6858290"/>
              <a:gd name="connsiteX1144" fmla="*/ 2011058 w 12139750"/>
              <a:gd name="connsiteY1144" fmla="*/ 4992717 h 6858290"/>
              <a:gd name="connsiteX1145" fmla="*/ 2028590 w 12139750"/>
              <a:gd name="connsiteY1145" fmla="*/ 4989344 h 6858290"/>
              <a:gd name="connsiteX1146" fmla="*/ 3720410 w 12139750"/>
              <a:gd name="connsiteY1146" fmla="*/ 4979833 h 6858290"/>
              <a:gd name="connsiteX1147" fmla="*/ 3762740 w 12139750"/>
              <a:gd name="connsiteY1147" fmla="*/ 5009837 h 6858290"/>
              <a:gd name="connsiteX1148" fmla="*/ 3736068 w 12139750"/>
              <a:gd name="connsiteY1148" fmla="*/ 5068892 h 6858290"/>
              <a:gd name="connsiteX1149" fmla="*/ 3395084 w 12139750"/>
              <a:gd name="connsiteY1149" fmla="*/ 5202242 h 6858290"/>
              <a:gd name="connsiteX1150" fmla="*/ 3334121 w 12139750"/>
              <a:gd name="connsiteY1150" fmla="*/ 5175572 h 6858290"/>
              <a:gd name="connsiteX1151" fmla="*/ 3332216 w 12139750"/>
              <a:gd name="connsiteY1151" fmla="*/ 5158427 h 6858290"/>
              <a:gd name="connsiteX1152" fmla="*/ 3360791 w 12139750"/>
              <a:gd name="connsiteY1152" fmla="*/ 5116517 h 6858290"/>
              <a:gd name="connsiteX1153" fmla="*/ 3701777 w 12139750"/>
              <a:gd name="connsiteY1153" fmla="*/ 4983167 h 6858290"/>
              <a:gd name="connsiteX1154" fmla="*/ 3720410 w 12139750"/>
              <a:gd name="connsiteY1154" fmla="*/ 4979833 h 6858290"/>
              <a:gd name="connsiteX1155" fmla="*/ 2585923 w 12139750"/>
              <a:gd name="connsiteY1155" fmla="*/ 4979833 h 6858290"/>
              <a:gd name="connsiteX1156" fmla="*/ 2629210 w 12139750"/>
              <a:gd name="connsiteY1156" fmla="*/ 5009837 h 6858290"/>
              <a:gd name="connsiteX1157" fmla="*/ 2602443 w 12139750"/>
              <a:gd name="connsiteY1157" fmla="*/ 5068892 h 6858290"/>
              <a:gd name="connsiteX1158" fmla="*/ 2260209 w 12139750"/>
              <a:gd name="connsiteY1158" fmla="*/ 5202242 h 6858290"/>
              <a:gd name="connsiteX1159" fmla="*/ 2199027 w 12139750"/>
              <a:gd name="connsiteY1159" fmla="*/ 5175572 h 6858290"/>
              <a:gd name="connsiteX1160" fmla="*/ 2197115 w 12139750"/>
              <a:gd name="connsiteY1160" fmla="*/ 5158427 h 6858290"/>
              <a:gd name="connsiteX1161" fmla="*/ 2225794 w 12139750"/>
              <a:gd name="connsiteY1161" fmla="*/ 5116517 h 6858290"/>
              <a:gd name="connsiteX1162" fmla="*/ 2568028 w 12139750"/>
              <a:gd name="connsiteY1162" fmla="*/ 4983167 h 6858290"/>
              <a:gd name="connsiteX1163" fmla="*/ 2585923 w 12139750"/>
              <a:gd name="connsiteY1163" fmla="*/ 4979833 h 6858290"/>
              <a:gd name="connsiteX1164" fmla="*/ 3148522 w 12139750"/>
              <a:gd name="connsiteY1164" fmla="*/ 4969036 h 6858290"/>
              <a:gd name="connsiteX1165" fmla="*/ 3190911 w 12139750"/>
              <a:gd name="connsiteY1165" fmla="*/ 5000733 h 6858290"/>
              <a:gd name="connsiteX1166" fmla="*/ 3162292 w 12139750"/>
              <a:gd name="connsiteY1166" fmla="*/ 5061858 h 6858290"/>
              <a:gd name="connsiteX1167" fmla="*/ 2820805 w 12139750"/>
              <a:gd name="connsiteY1167" fmla="*/ 5187929 h 6858290"/>
              <a:gd name="connsiteX1168" fmla="*/ 2759755 w 12139750"/>
              <a:gd name="connsiteY1168" fmla="*/ 5161187 h 6858290"/>
              <a:gd name="connsiteX1169" fmla="*/ 2755939 w 12139750"/>
              <a:gd name="connsiteY1169" fmla="*/ 5143995 h 6858290"/>
              <a:gd name="connsiteX1170" fmla="*/ 2788374 w 12139750"/>
              <a:gd name="connsiteY1170" fmla="*/ 5098151 h 6858290"/>
              <a:gd name="connsiteX1171" fmla="*/ 3129863 w 12139750"/>
              <a:gd name="connsiteY1171" fmla="*/ 4972081 h 6858290"/>
              <a:gd name="connsiteX1172" fmla="*/ 3148522 w 12139750"/>
              <a:gd name="connsiteY1172" fmla="*/ 4969036 h 6858290"/>
              <a:gd name="connsiteX1173" fmla="*/ 9865943 w 12139750"/>
              <a:gd name="connsiteY1173" fmla="*/ 4767278 h 6858290"/>
              <a:gd name="connsiteX1174" fmla="*/ 9885469 w 12139750"/>
              <a:gd name="connsiteY1174" fmla="*/ 4779687 h 6858290"/>
              <a:gd name="connsiteX1175" fmla="*/ 9875944 w 12139750"/>
              <a:gd name="connsiteY1175" fmla="*/ 4821688 h 6858290"/>
              <a:gd name="connsiteX1176" fmla="*/ 9542565 w 12139750"/>
              <a:gd name="connsiteY1176" fmla="*/ 5046968 h 6858290"/>
              <a:gd name="connsiteX1177" fmla="*/ 9500654 w 12139750"/>
              <a:gd name="connsiteY1177" fmla="*/ 5037422 h 6858290"/>
              <a:gd name="connsiteX1178" fmla="*/ 9494939 w 12139750"/>
              <a:gd name="connsiteY1178" fmla="*/ 5022149 h 6858290"/>
              <a:gd name="connsiteX1179" fmla="*/ 9508274 w 12139750"/>
              <a:gd name="connsiteY1179" fmla="*/ 4997330 h 6858290"/>
              <a:gd name="connsiteX1180" fmla="*/ 9843558 w 12139750"/>
              <a:gd name="connsiteY1180" fmla="*/ 4772051 h 6858290"/>
              <a:gd name="connsiteX1181" fmla="*/ 9865943 w 12139750"/>
              <a:gd name="connsiteY1181" fmla="*/ 4767278 h 6858290"/>
              <a:gd name="connsiteX1182" fmla="*/ 10450715 w 12139750"/>
              <a:gd name="connsiteY1182" fmla="*/ 4757980 h 6858290"/>
              <a:gd name="connsiteX1183" fmla="*/ 10471242 w 12139750"/>
              <a:gd name="connsiteY1183" fmla="*/ 4772030 h 6858290"/>
              <a:gd name="connsiteX1184" fmla="*/ 10461695 w 12139750"/>
              <a:gd name="connsiteY1184" fmla="*/ 4815845 h 6858290"/>
              <a:gd name="connsiteX1185" fmla="*/ 10125619 w 12139750"/>
              <a:gd name="connsiteY1185" fmla="*/ 5029205 h 6858290"/>
              <a:gd name="connsiteX1186" fmla="*/ 10081701 w 12139750"/>
              <a:gd name="connsiteY1186" fmla="*/ 5019680 h 6858290"/>
              <a:gd name="connsiteX1187" fmla="*/ 10075972 w 12139750"/>
              <a:gd name="connsiteY1187" fmla="*/ 5004440 h 6858290"/>
              <a:gd name="connsiteX1188" fmla="*/ 10091248 w 12139750"/>
              <a:gd name="connsiteY1188" fmla="*/ 4977770 h 6858290"/>
              <a:gd name="connsiteX1189" fmla="*/ 10427323 w 12139750"/>
              <a:gd name="connsiteY1189" fmla="*/ 4762505 h 6858290"/>
              <a:gd name="connsiteX1190" fmla="*/ 10450715 w 12139750"/>
              <a:gd name="connsiteY1190" fmla="*/ 4757980 h 6858290"/>
              <a:gd name="connsiteX1191" fmla="*/ 9287869 w 12139750"/>
              <a:gd name="connsiteY1191" fmla="*/ 4757980 h 6858290"/>
              <a:gd name="connsiteX1192" fmla="*/ 9307618 w 12139750"/>
              <a:gd name="connsiteY1192" fmla="*/ 4772030 h 6858290"/>
              <a:gd name="connsiteX1193" fmla="*/ 9298101 w 12139750"/>
              <a:gd name="connsiteY1193" fmla="*/ 4815845 h 6858290"/>
              <a:gd name="connsiteX1194" fmla="*/ 8963081 w 12139750"/>
              <a:gd name="connsiteY1194" fmla="*/ 5029205 h 6858290"/>
              <a:gd name="connsiteX1195" fmla="*/ 8919300 w 12139750"/>
              <a:gd name="connsiteY1195" fmla="*/ 5019680 h 6858290"/>
              <a:gd name="connsiteX1196" fmla="*/ 8915493 w 12139750"/>
              <a:gd name="connsiteY1196" fmla="*/ 5004440 h 6858290"/>
              <a:gd name="connsiteX1197" fmla="*/ 8928818 w 12139750"/>
              <a:gd name="connsiteY1197" fmla="*/ 4977770 h 6858290"/>
              <a:gd name="connsiteX1198" fmla="*/ 9263837 w 12139750"/>
              <a:gd name="connsiteY1198" fmla="*/ 4762505 h 6858290"/>
              <a:gd name="connsiteX1199" fmla="*/ 9287869 w 12139750"/>
              <a:gd name="connsiteY1199" fmla="*/ 4757980 h 6858290"/>
              <a:gd name="connsiteX1200" fmla="*/ 11026794 w 12139750"/>
              <a:gd name="connsiteY1200" fmla="*/ 4748711 h 6858290"/>
              <a:gd name="connsiteX1201" fmla="*/ 11047527 w 12139750"/>
              <a:gd name="connsiteY1201" fmla="*/ 4764481 h 6858290"/>
              <a:gd name="connsiteX1202" fmla="*/ 11036088 w 12139750"/>
              <a:gd name="connsiteY1202" fmla="*/ 4810357 h 6858290"/>
              <a:gd name="connsiteX1203" fmla="*/ 10700543 w 12139750"/>
              <a:gd name="connsiteY1203" fmla="*/ 5014885 h 6858290"/>
              <a:gd name="connsiteX1204" fmla="*/ 10654787 w 12139750"/>
              <a:gd name="connsiteY1204" fmla="*/ 5005328 h 6858290"/>
              <a:gd name="connsiteX1205" fmla="*/ 10649067 w 12139750"/>
              <a:gd name="connsiteY1205" fmla="*/ 4988125 h 6858290"/>
              <a:gd name="connsiteX1206" fmla="*/ 10666226 w 12139750"/>
              <a:gd name="connsiteY1206" fmla="*/ 4959452 h 6858290"/>
              <a:gd name="connsiteX1207" fmla="*/ 11001771 w 12139750"/>
              <a:gd name="connsiteY1207" fmla="*/ 4753012 h 6858290"/>
              <a:gd name="connsiteX1208" fmla="*/ 11026794 w 12139750"/>
              <a:gd name="connsiteY1208" fmla="*/ 4748711 h 6858290"/>
              <a:gd name="connsiteX1209" fmla="*/ 8717757 w 12139750"/>
              <a:gd name="connsiteY1209" fmla="*/ 4748711 h 6858290"/>
              <a:gd name="connsiteX1210" fmla="*/ 8737713 w 12139750"/>
              <a:gd name="connsiteY1210" fmla="*/ 4764481 h 6858290"/>
              <a:gd name="connsiteX1211" fmla="*/ 8728210 w 12139750"/>
              <a:gd name="connsiteY1211" fmla="*/ 4810357 h 6858290"/>
              <a:gd name="connsiteX1212" fmla="*/ 8391812 w 12139750"/>
              <a:gd name="connsiteY1212" fmla="*/ 5014885 h 6858290"/>
              <a:gd name="connsiteX1213" fmla="*/ 8346199 w 12139750"/>
              <a:gd name="connsiteY1213" fmla="*/ 5005328 h 6858290"/>
              <a:gd name="connsiteX1214" fmla="*/ 8342398 w 12139750"/>
              <a:gd name="connsiteY1214" fmla="*/ 4988125 h 6858290"/>
              <a:gd name="connsiteX1215" fmla="*/ 8357602 w 12139750"/>
              <a:gd name="connsiteY1215" fmla="*/ 4959452 h 6858290"/>
              <a:gd name="connsiteX1216" fmla="*/ 8692100 w 12139750"/>
              <a:gd name="connsiteY1216" fmla="*/ 4753012 h 6858290"/>
              <a:gd name="connsiteX1217" fmla="*/ 8717757 w 12139750"/>
              <a:gd name="connsiteY1217" fmla="*/ 4748711 h 6858290"/>
              <a:gd name="connsiteX1218" fmla="*/ 11598111 w 12139750"/>
              <a:gd name="connsiteY1218" fmla="*/ 4739890 h 6858290"/>
              <a:gd name="connsiteX1219" fmla="*/ 11619050 w 12139750"/>
              <a:gd name="connsiteY1219" fmla="*/ 4754909 h 6858290"/>
              <a:gd name="connsiteX1220" fmla="*/ 11607629 w 12139750"/>
              <a:gd name="connsiteY1220" fmla="*/ 4802589 h 6858290"/>
              <a:gd name="connsiteX1221" fmla="*/ 11270700 w 12139750"/>
              <a:gd name="connsiteY1221" fmla="*/ 4999032 h 6858290"/>
              <a:gd name="connsiteX1222" fmla="*/ 11223111 w 12139750"/>
              <a:gd name="connsiteY1222" fmla="*/ 4987588 h 6858290"/>
              <a:gd name="connsiteX1223" fmla="*/ 11217400 w 12139750"/>
              <a:gd name="connsiteY1223" fmla="*/ 4968516 h 6858290"/>
              <a:gd name="connsiteX1224" fmla="*/ 11236436 w 12139750"/>
              <a:gd name="connsiteY1224" fmla="*/ 4939908 h 6858290"/>
              <a:gd name="connsiteX1225" fmla="*/ 11571461 w 12139750"/>
              <a:gd name="connsiteY1225" fmla="*/ 4743466 h 6858290"/>
              <a:gd name="connsiteX1226" fmla="*/ 11598111 w 12139750"/>
              <a:gd name="connsiteY1226" fmla="*/ 4739890 h 6858290"/>
              <a:gd name="connsiteX1227" fmla="*/ 8154062 w 12139750"/>
              <a:gd name="connsiteY1227" fmla="*/ 4739890 h 6858290"/>
              <a:gd name="connsiteX1228" fmla="*/ 8175715 w 12139750"/>
              <a:gd name="connsiteY1228" fmla="*/ 4754909 h 6858290"/>
              <a:gd name="connsiteX1229" fmla="*/ 8162390 w 12139750"/>
              <a:gd name="connsiteY1229" fmla="*/ 4802589 h 6858290"/>
              <a:gd name="connsiteX1230" fmla="*/ 7825461 w 12139750"/>
              <a:gd name="connsiteY1230" fmla="*/ 4999032 h 6858290"/>
              <a:gd name="connsiteX1231" fmla="*/ 7777872 w 12139750"/>
              <a:gd name="connsiteY1231" fmla="*/ 4987588 h 6858290"/>
              <a:gd name="connsiteX1232" fmla="*/ 7774065 w 12139750"/>
              <a:gd name="connsiteY1232" fmla="*/ 4968516 h 6858290"/>
              <a:gd name="connsiteX1233" fmla="*/ 7791197 w 12139750"/>
              <a:gd name="connsiteY1233" fmla="*/ 4939908 h 6858290"/>
              <a:gd name="connsiteX1234" fmla="*/ 8128126 w 12139750"/>
              <a:gd name="connsiteY1234" fmla="*/ 4743466 h 6858290"/>
              <a:gd name="connsiteX1235" fmla="*/ 8154062 w 12139750"/>
              <a:gd name="connsiteY1235" fmla="*/ 4739890 h 6858290"/>
              <a:gd name="connsiteX1236" fmla="*/ 12135937 w 12139750"/>
              <a:gd name="connsiteY1236" fmla="*/ 4732342 h 6858290"/>
              <a:gd name="connsiteX1237" fmla="*/ 12139750 w 12139750"/>
              <a:gd name="connsiteY1237" fmla="*/ 4732342 h 6858290"/>
              <a:gd name="connsiteX1238" fmla="*/ 12139750 w 12139750"/>
              <a:gd name="connsiteY1238" fmla="*/ 4814057 h 6858290"/>
              <a:gd name="connsiteX1239" fmla="*/ 11834677 w 12139750"/>
              <a:gd name="connsiteY1239" fmla="*/ 4983190 h 6858290"/>
              <a:gd name="connsiteX1240" fmla="*/ 11783196 w 12139750"/>
              <a:gd name="connsiteY1240" fmla="*/ 4969887 h 6858290"/>
              <a:gd name="connsiteX1241" fmla="*/ 11779383 w 12139750"/>
              <a:gd name="connsiteY1241" fmla="*/ 4950884 h 6858290"/>
              <a:gd name="connsiteX1242" fmla="*/ 11798450 w 12139750"/>
              <a:gd name="connsiteY1242" fmla="*/ 4920478 h 6858290"/>
              <a:gd name="connsiteX1243" fmla="*/ 7597191 w 12139750"/>
              <a:gd name="connsiteY1243" fmla="*/ 4729944 h 6858290"/>
              <a:gd name="connsiteX1244" fmla="*/ 7620068 w 12139750"/>
              <a:gd name="connsiteY1244" fmla="*/ 4747524 h 6858290"/>
              <a:gd name="connsiteX1245" fmla="*/ 7604817 w 12139750"/>
              <a:gd name="connsiteY1245" fmla="*/ 4796937 h 6858290"/>
              <a:gd name="connsiteX1246" fmla="*/ 7267371 w 12139750"/>
              <a:gd name="connsiteY1246" fmla="*/ 4983189 h 6858290"/>
              <a:gd name="connsiteX1247" fmla="*/ 7217802 w 12139750"/>
              <a:gd name="connsiteY1247" fmla="*/ 4969885 h 6858290"/>
              <a:gd name="connsiteX1248" fmla="*/ 7212083 w 12139750"/>
              <a:gd name="connsiteY1248" fmla="*/ 4950880 h 6858290"/>
              <a:gd name="connsiteX1249" fmla="*/ 7231147 w 12139750"/>
              <a:gd name="connsiteY1249" fmla="*/ 4920472 h 6858290"/>
              <a:gd name="connsiteX1250" fmla="*/ 7568594 w 12139750"/>
              <a:gd name="connsiteY1250" fmla="*/ 4732319 h 6858290"/>
              <a:gd name="connsiteX1251" fmla="*/ 7597191 w 12139750"/>
              <a:gd name="connsiteY1251" fmla="*/ 4729944 h 6858290"/>
              <a:gd name="connsiteX1252" fmla="*/ 7045531 w 12139750"/>
              <a:gd name="connsiteY1252" fmla="*/ 4720682 h 6858290"/>
              <a:gd name="connsiteX1253" fmla="*/ 7069177 w 12139750"/>
              <a:gd name="connsiteY1253" fmla="*/ 4739994 h 6858290"/>
              <a:gd name="connsiteX1254" fmla="*/ 7051980 w 12139750"/>
              <a:gd name="connsiteY1254" fmla="*/ 4791491 h 6858290"/>
              <a:gd name="connsiteX1255" fmla="*/ 6713773 w 12139750"/>
              <a:gd name="connsiteY1255" fmla="*/ 4968868 h 6858290"/>
              <a:gd name="connsiteX1256" fmla="*/ 6662182 w 12139750"/>
              <a:gd name="connsiteY1256" fmla="*/ 4953610 h 6858290"/>
              <a:gd name="connsiteX1257" fmla="*/ 6656450 w 12139750"/>
              <a:gd name="connsiteY1257" fmla="*/ 4934537 h 6858290"/>
              <a:gd name="connsiteX1258" fmla="*/ 6677468 w 12139750"/>
              <a:gd name="connsiteY1258" fmla="*/ 4902113 h 6858290"/>
              <a:gd name="connsiteX1259" fmla="*/ 7017586 w 12139750"/>
              <a:gd name="connsiteY1259" fmla="*/ 4722828 h 6858290"/>
              <a:gd name="connsiteX1260" fmla="*/ 7045531 w 12139750"/>
              <a:gd name="connsiteY1260" fmla="*/ 4720682 h 6858290"/>
              <a:gd name="connsiteX1261" fmla="*/ 6500048 w 12139750"/>
              <a:gd name="connsiteY1261" fmla="*/ 4711377 h 6858290"/>
              <a:gd name="connsiteX1262" fmla="*/ 6523112 w 12139750"/>
              <a:gd name="connsiteY1262" fmla="*/ 4732307 h 6858290"/>
              <a:gd name="connsiteX1263" fmla="*/ 6505992 w 12139750"/>
              <a:gd name="connsiteY1263" fmla="*/ 4785582 h 6858290"/>
              <a:gd name="connsiteX1264" fmla="*/ 6167407 w 12139750"/>
              <a:gd name="connsiteY1264" fmla="*/ 4953016 h 6858290"/>
              <a:gd name="connsiteX1265" fmla="*/ 6114146 w 12139750"/>
              <a:gd name="connsiteY1265" fmla="*/ 4935892 h 6858290"/>
              <a:gd name="connsiteX1266" fmla="*/ 6110342 w 12139750"/>
              <a:gd name="connsiteY1266" fmla="*/ 4916866 h 6858290"/>
              <a:gd name="connsiteX1267" fmla="*/ 6131266 w 12139750"/>
              <a:gd name="connsiteY1267" fmla="*/ 4882618 h 6858290"/>
              <a:gd name="connsiteX1268" fmla="*/ 6469851 w 12139750"/>
              <a:gd name="connsiteY1268" fmla="*/ 4713280 h 6858290"/>
              <a:gd name="connsiteX1269" fmla="*/ 6500048 w 12139750"/>
              <a:gd name="connsiteY1269" fmla="*/ 4711377 h 6858290"/>
              <a:gd name="connsiteX1270" fmla="*/ 5956806 w 12139750"/>
              <a:gd name="connsiteY1270" fmla="*/ 4701881 h 6858290"/>
              <a:gd name="connsiteX1271" fmla="*/ 5980159 w 12139750"/>
              <a:gd name="connsiteY1271" fmla="*/ 4722888 h 6858290"/>
              <a:gd name="connsiteX1272" fmla="*/ 5961095 w 12139750"/>
              <a:gd name="connsiteY1272" fmla="*/ 4778272 h 6858290"/>
              <a:gd name="connsiteX1273" fmla="*/ 5621756 w 12139750"/>
              <a:gd name="connsiteY1273" fmla="*/ 4938693 h 6858290"/>
              <a:gd name="connsiteX1274" fmla="*/ 5566471 w 12139750"/>
              <a:gd name="connsiteY1274" fmla="*/ 4919595 h 6858290"/>
              <a:gd name="connsiteX1275" fmla="*/ 5562659 w 12139750"/>
              <a:gd name="connsiteY1275" fmla="*/ 4900497 h 6858290"/>
              <a:gd name="connsiteX1276" fmla="*/ 5585535 w 12139750"/>
              <a:gd name="connsiteY1276" fmla="*/ 4864212 h 6858290"/>
              <a:gd name="connsiteX1277" fmla="*/ 5924873 w 12139750"/>
              <a:gd name="connsiteY1277" fmla="*/ 4703791 h 6858290"/>
              <a:gd name="connsiteX1278" fmla="*/ 5956806 w 12139750"/>
              <a:gd name="connsiteY1278" fmla="*/ 4701881 h 6858290"/>
              <a:gd name="connsiteX1279" fmla="*/ 398944 w 12139750"/>
              <a:gd name="connsiteY1279" fmla="*/ 4701881 h 6858290"/>
              <a:gd name="connsiteX1280" fmla="*/ 422281 w 12139750"/>
              <a:gd name="connsiteY1280" fmla="*/ 4722888 h 6858290"/>
              <a:gd name="connsiteX1281" fmla="*/ 401326 w 12139750"/>
              <a:gd name="connsiteY1281" fmla="*/ 4778272 h 6858290"/>
              <a:gd name="connsiteX1282" fmla="*/ 62232 w 12139750"/>
              <a:gd name="connsiteY1282" fmla="*/ 4938693 h 6858290"/>
              <a:gd name="connsiteX1283" fmla="*/ 6986 w 12139750"/>
              <a:gd name="connsiteY1283" fmla="*/ 4919595 h 6858290"/>
              <a:gd name="connsiteX1284" fmla="*/ 3176 w 12139750"/>
              <a:gd name="connsiteY1284" fmla="*/ 4900497 h 6858290"/>
              <a:gd name="connsiteX1285" fmla="*/ 27941 w 12139750"/>
              <a:gd name="connsiteY1285" fmla="*/ 4864212 h 6858290"/>
              <a:gd name="connsiteX1286" fmla="*/ 367035 w 12139750"/>
              <a:gd name="connsiteY1286" fmla="*/ 4703791 h 6858290"/>
              <a:gd name="connsiteX1287" fmla="*/ 398944 w 12139750"/>
              <a:gd name="connsiteY1287" fmla="*/ 4701881 h 6858290"/>
              <a:gd name="connsiteX1288" fmla="*/ 5409709 w 12139750"/>
              <a:gd name="connsiteY1288" fmla="*/ 4693289 h 6858290"/>
              <a:gd name="connsiteX1289" fmla="*/ 5434051 w 12139750"/>
              <a:gd name="connsiteY1289" fmla="*/ 4715197 h 6858290"/>
              <a:gd name="connsiteX1290" fmla="*/ 5411141 w 12139750"/>
              <a:gd name="connsiteY1290" fmla="*/ 4772347 h 6858290"/>
              <a:gd name="connsiteX1291" fmla="*/ 5071298 w 12139750"/>
              <a:gd name="connsiteY1291" fmla="*/ 4922842 h 6858290"/>
              <a:gd name="connsiteX1292" fmla="*/ 5014028 w 12139750"/>
              <a:gd name="connsiteY1292" fmla="*/ 4901887 h 6858290"/>
              <a:gd name="connsiteX1293" fmla="*/ 5010210 w 12139750"/>
              <a:gd name="connsiteY1293" fmla="*/ 4882837 h 6858290"/>
              <a:gd name="connsiteX1294" fmla="*/ 5036936 w 12139750"/>
              <a:gd name="connsiteY1294" fmla="*/ 4842832 h 6858290"/>
              <a:gd name="connsiteX1295" fmla="*/ 5376776 w 12139750"/>
              <a:gd name="connsiteY1295" fmla="*/ 4694242 h 6858290"/>
              <a:gd name="connsiteX1296" fmla="*/ 5409709 w 12139750"/>
              <a:gd name="connsiteY1296" fmla="*/ 4693289 h 6858290"/>
              <a:gd name="connsiteX1297" fmla="*/ 943147 w 12139750"/>
              <a:gd name="connsiteY1297" fmla="*/ 4693289 h 6858290"/>
              <a:gd name="connsiteX1298" fmla="*/ 966774 w 12139750"/>
              <a:gd name="connsiteY1298" fmla="*/ 4715197 h 6858290"/>
              <a:gd name="connsiteX1299" fmla="*/ 945772 w 12139750"/>
              <a:gd name="connsiteY1299" fmla="*/ 4772347 h 6858290"/>
              <a:gd name="connsiteX1300" fmla="*/ 604023 w 12139750"/>
              <a:gd name="connsiteY1300" fmla="*/ 4922842 h 6858290"/>
              <a:gd name="connsiteX1301" fmla="*/ 546746 w 12139750"/>
              <a:gd name="connsiteY1301" fmla="*/ 4901887 h 6858290"/>
              <a:gd name="connsiteX1302" fmla="*/ 542928 w 12139750"/>
              <a:gd name="connsiteY1302" fmla="*/ 4882837 h 6858290"/>
              <a:gd name="connsiteX1303" fmla="*/ 569657 w 12139750"/>
              <a:gd name="connsiteY1303" fmla="*/ 4842832 h 6858290"/>
              <a:gd name="connsiteX1304" fmla="*/ 909497 w 12139750"/>
              <a:gd name="connsiteY1304" fmla="*/ 4694242 h 6858290"/>
              <a:gd name="connsiteX1305" fmla="*/ 943147 w 12139750"/>
              <a:gd name="connsiteY1305" fmla="*/ 4693289 h 6858290"/>
              <a:gd name="connsiteX1306" fmla="*/ 4840042 w 12139750"/>
              <a:gd name="connsiteY1306" fmla="*/ 4679741 h 6858290"/>
              <a:gd name="connsiteX1307" fmla="*/ 4881602 w 12139750"/>
              <a:gd name="connsiteY1307" fmla="*/ 4707760 h 6858290"/>
              <a:gd name="connsiteX1308" fmla="*/ 4856815 w 12139750"/>
              <a:gd name="connsiteY1308" fmla="*/ 4766584 h 6858290"/>
              <a:gd name="connsiteX1309" fmla="*/ 4517479 w 12139750"/>
              <a:gd name="connsiteY1309" fmla="*/ 4907004 h 6858290"/>
              <a:gd name="connsiteX1310" fmla="*/ 4458382 w 12139750"/>
              <a:gd name="connsiteY1310" fmla="*/ 4882336 h 6858290"/>
              <a:gd name="connsiteX1311" fmla="*/ 4454569 w 12139750"/>
              <a:gd name="connsiteY1311" fmla="*/ 4865258 h 6858290"/>
              <a:gd name="connsiteX1312" fmla="*/ 4483165 w 12139750"/>
              <a:gd name="connsiteY1312" fmla="*/ 4823511 h 6858290"/>
              <a:gd name="connsiteX1313" fmla="*/ 4822497 w 12139750"/>
              <a:gd name="connsiteY1313" fmla="*/ 4683092 h 6858290"/>
              <a:gd name="connsiteX1314" fmla="*/ 4840042 w 12139750"/>
              <a:gd name="connsiteY1314" fmla="*/ 4679741 h 6858290"/>
              <a:gd name="connsiteX1315" fmla="*/ 1476099 w 12139750"/>
              <a:gd name="connsiteY1315" fmla="*/ 4679741 h 6858290"/>
              <a:gd name="connsiteX1316" fmla="*/ 1517653 w 12139750"/>
              <a:gd name="connsiteY1316" fmla="*/ 4707760 h 6858290"/>
              <a:gd name="connsiteX1317" fmla="*/ 1492870 w 12139750"/>
              <a:gd name="connsiteY1317" fmla="*/ 4766584 h 6858290"/>
              <a:gd name="connsiteX1318" fmla="*/ 1151623 w 12139750"/>
              <a:gd name="connsiteY1318" fmla="*/ 4907004 h 6858290"/>
              <a:gd name="connsiteX1319" fmla="*/ 1094431 w 12139750"/>
              <a:gd name="connsiteY1319" fmla="*/ 4882336 h 6858290"/>
              <a:gd name="connsiteX1320" fmla="*/ 1090618 w 12139750"/>
              <a:gd name="connsiteY1320" fmla="*/ 4865258 h 6858290"/>
              <a:gd name="connsiteX1321" fmla="*/ 1117307 w 12139750"/>
              <a:gd name="connsiteY1321" fmla="*/ 4823511 h 6858290"/>
              <a:gd name="connsiteX1322" fmla="*/ 1458554 w 12139750"/>
              <a:gd name="connsiteY1322" fmla="*/ 4683092 h 6858290"/>
              <a:gd name="connsiteX1323" fmla="*/ 1476099 w 12139750"/>
              <a:gd name="connsiteY1323" fmla="*/ 4679741 h 6858290"/>
              <a:gd name="connsiteX1324" fmla="*/ 4282901 w 12139750"/>
              <a:gd name="connsiteY1324" fmla="*/ 4670538 h 6858290"/>
              <a:gd name="connsiteX1325" fmla="*/ 4324395 w 12139750"/>
              <a:gd name="connsiteY1325" fmla="*/ 4700274 h 6858290"/>
              <a:gd name="connsiteX1326" fmla="*/ 4297744 w 12139750"/>
              <a:gd name="connsiteY1326" fmla="*/ 4761234 h 6858290"/>
              <a:gd name="connsiteX1327" fmla="*/ 3957010 w 12139750"/>
              <a:gd name="connsiteY1327" fmla="*/ 4892679 h 6858290"/>
              <a:gd name="connsiteX1328" fmla="*/ 3897997 w 12139750"/>
              <a:gd name="connsiteY1328" fmla="*/ 4866009 h 6858290"/>
              <a:gd name="connsiteX1329" fmla="*/ 3894190 w 12139750"/>
              <a:gd name="connsiteY1329" fmla="*/ 4848864 h 6858290"/>
              <a:gd name="connsiteX1330" fmla="*/ 3924648 w 12139750"/>
              <a:gd name="connsiteY1330" fmla="*/ 4805049 h 6858290"/>
              <a:gd name="connsiteX1331" fmla="*/ 4265381 w 12139750"/>
              <a:gd name="connsiteY1331" fmla="*/ 4673604 h 6858290"/>
              <a:gd name="connsiteX1332" fmla="*/ 4282901 w 12139750"/>
              <a:gd name="connsiteY1332" fmla="*/ 4670538 h 6858290"/>
              <a:gd name="connsiteX1333" fmla="*/ 2029448 w 12139750"/>
              <a:gd name="connsiteY1333" fmla="*/ 4670538 h 6858290"/>
              <a:gd name="connsiteX1334" fmla="*/ 2071719 w 12139750"/>
              <a:gd name="connsiteY1334" fmla="*/ 4700274 h 6858290"/>
              <a:gd name="connsiteX1335" fmla="*/ 2045083 w 12139750"/>
              <a:gd name="connsiteY1335" fmla="*/ 4761234 h 6858290"/>
              <a:gd name="connsiteX1336" fmla="*/ 1704573 w 12139750"/>
              <a:gd name="connsiteY1336" fmla="*/ 4892679 h 6858290"/>
              <a:gd name="connsiteX1337" fmla="*/ 1643700 w 12139750"/>
              <a:gd name="connsiteY1337" fmla="*/ 4866009 h 6858290"/>
              <a:gd name="connsiteX1338" fmla="*/ 1639895 w 12139750"/>
              <a:gd name="connsiteY1338" fmla="*/ 4848864 h 6858290"/>
              <a:gd name="connsiteX1339" fmla="*/ 1670332 w 12139750"/>
              <a:gd name="connsiteY1339" fmla="*/ 4805049 h 6858290"/>
              <a:gd name="connsiteX1340" fmla="*/ 2010841 w 12139750"/>
              <a:gd name="connsiteY1340" fmla="*/ 4673604 h 6858290"/>
              <a:gd name="connsiteX1341" fmla="*/ 2029448 w 12139750"/>
              <a:gd name="connsiteY1341" fmla="*/ 4670538 h 6858290"/>
              <a:gd name="connsiteX1342" fmla="*/ 3720840 w 12139750"/>
              <a:gd name="connsiteY1342" fmla="*/ 4661025 h 6858290"/>
              <a:gd name="connsiteX1343" fmla="*/ 3764003 w 12139750"/>
              <a:gd name="connsiteY1343" fmla="*/ 4692550 h 6858290"/>
              <a:gd name="connsiteX1344" fmla="*/ 3735407 w 12139750"/>
              <a:gd name="connsiteY1344" fmla="*/ 4755243 h 6858290"/>
              <a:gd name="connsiteX1345" fmla="*/ 3392273 w 12139750"/>
              <a:gd name="connsiteY1345" fmla="*/ 4876830 h 6858290"/>
              <a:gd name="connsiteX1346" fmla="*/ 3331267 w 12139750"/>
              <a:gd name="connsiteY1346" fmla="*/ 4848333 h 6858290"/>
              <a:gd name="connsiteX1347" fmla="*/ 3327455 w 12139750"/>
              <a:gd name="connsiteY1347" fmla="*/ 4831235 h 6858290"/>
              <a:gd name="connsiteX1348" fmla="*/ 3359861 w 12139750"/>
              <a:gd name="connsiteY1348" fmla="*/ 4785640 h 6858290"/>
              <a:gd name="connsiteX1349" fmla="*/ 3701090 w 12139750"/>
              <a:gd name="connsiteY1349" fmla="*/ 4664053 h 6858290"/>
              <a:gd name="connsiteX1350" fmla="*/ 3720840 w 12139750"/>
              <a:gd name="connsiteY1350" fmla="*/ 4661025 h 6858290"/>
              <a:gd name="connsiteX1351" fmla="*/ 2587339 w 12139750"/>
              <a:gd name="connsiteY1351" fmla="*/ 4661025 h 6858290"/>
              <a:gd name="connsiteX1352" fmla="*/ 2630501 w 12139750"/>
              <a:gd name="connsiteY1352" fmla="*/ 4692550 h 6858290"/>
              <a:gd name="connsiteX1353" fmla="*/ 2601905 w 12139750"/>
              <a:gd name="connsiteY1353" fmla="*/ 4755243 h 6858290"/>
              <a:gd name="connsiteX1354" fmla="*/ 2258757 w 12139750"/>
              <a:gd name="connsiteY1354" fmla="*/ 4876830 h 6858290"/>
              <a:gd name="connsiteX1355" fmla="*/ 2197753 w 12139750"/>
              <a:gd name="connsiteY1355" fmla="*/ 4848333 h 6858290"/>
              <a:gd name="connsiteX1356" fmla="*/ 2193940 w 12139750"/>
              <a:gd name="connsiteY1356" fmla="*/ 4831235 h 6858290"/>
              <a:gd name="connsiteX1357" fmla="*/ 2226349 w 12139750"/>
              <a:gd name="connsiteY1357" fmla="*/ 4785640 h 6858290"/>
              <a:gd name="connsiteX1358" fmla="*/ 2567591 w 12139750"/>
              <a:gd name="connsiteY1358" fmla="*/ 4664053 h 6858290"/>
              <a:gd name="connsiteX1359" fmla="*/ 2587339 w 12139750"/>
              <a:gd name="connsiteY1359" fmla="*/ 4661025 h 6858290"/>
              <a:gd name="connsiteX1360" fmla="*/ 3149677 w 12139750"/>
              <a:gd name="connsiteY1360" fmla="*/ 4651825 h 6858290"/>
              <a:gd name="connsiteX1361" fmla="*/ 3194415 w 12139750"/>
              <a:gd name="connsiteY1361" fmla="*/ 4685090 h 6858290"/>
              <a:gd name="connsiteX1362" fmla="*/ 3162028 w 12139750"/>
              <a:gd name="connsiteY1362" fmla="*/ 4748043 h 6858290"/>
              <a:gd name="connsiteX1363" fmla="*/ 2819123 w 12139750"/>
              <a:gd name="connsiteY1363" fmla="*/ 4862503 h 6858290"/>
              <a:gd name="connsiteX1364" fmla="*/ 2756258 w 12139750"/>
              <a:gd name="connsiteY1364" fmla="*/ 4830073 h 6858290"/>
              <a:gd name="connsiteX1365" fmla="*/ 2754356 w 12139750"/>
              <a:gd name="connsiteY1365" fmla="*/ 4814812 h 6858290"/>
              <a:gd name="connsiteX1366" fmla="*/ 2788641 w 12139750"/>
              <a:gd name="connsiteY1366" fmla="*/ 4767120 h 6858290"/>
              <a:gd name="connsiteX1367" fmla="*/ 3129644 w 12139750"/>
              <a:gd name="connsiteY1367" fmla="*/ 4654567 h 6858290"/>
              <a:gd name="connsiteX1368" fmla="*/ 3149677 w 12139750"/>
              <a:gd name="connsiteY1368" fmla="*/ 4651825 h 6858290"/>
              <a:gd name="connsiteX1369" fmla="*/ 9864585 w 12139750"/>
              <a:gd name="connsiteY1369" fmla="*/ 4440631 h 6858290"/>
              <a:gd name="connsiteX1370" fmla="*/ 9882263 w 12139750"/>
              <a:gd name="connsiteY1370" fmla="*/ 4452274 h 6858290"/>
              <a:gd name="connsiteX1371" fmla="*/ 9876529 w 12139750"/>
              <a:gd name="connsiteY1371" fmla="*/ 4488393 h 6858290"/>
              <a:gd name="connsiteX1372" fmla="*/ 9540160 w 12139750"/>
              <a:gd name="connsiteY1372" fmla="*/ 4727913 h 6858290"/>
              <a:gd name="connsiteX1373" fmla="*/ 9503848 w 12139750"/>
              <a:gd name="connsiteY1373" fmla="*/ 4720309 h 6858290"/>
              <a:gd name="connsiteX1374" fmla="*/ 9498114 w 12139750"/>
              <a:gd name="connsiteY1374" fmla="*/ 4705101 h 6858290"/>
              <a:gd name="connsiteX1375" fmla="*/ 9509581 w 12139750"/>
              <a:gd name="connsiteY1375" fmla="*/ 4684191 h 6858290"/>
              <a:gd name="connsiteX1376" fmla="*/ 9844039 w 12139750"/>
              <a:gd name="connsiteY1376" fmla="*/ 4444671 h 6858290"/>
              <a:gd name="connsiteX1377" fmla="*/ 9864585 w 12139750"/>
              <a:gd name="connsiteY1377" fmla="*/ 4440631 h 6858290"/>
              <a:gd name="connsiteX1378" fmla="*/ 10447906 w 12139750"/>
              <a:gd name="connsiteY1378" fmla="*/ 4432309 h 6858290"/>
              <a:gd name="connsiteX1379" fmla="*/ 10466494 w 12139750"/>
              <a:gd name="connsiteY1379" fmla="*/ 4444705 h 6858290"/>
              <a:gd name="connsiteX1380" fmla="*/ 10458868 w 12139750"/>
              <a:gd name="connsiteY1380" fmla="*/ 4484754 h 6858290"/>
              <a:gd name="connsiteX1381" fmla="*/ 10123316 w 12139750"/>
              <a:gd name="connsiteY1381" fmla="*/ 4711694 h 6858290"/>
              <a:gd name="connsiteX1382" fmla="*/ 10083279 w 12139750"/>
              <a:gd name="connsiteY1382" fmla="*/ 4704066 h 6858290"/>
              <a:gd name="connsiteX1383" fmla="*/ 10077559 w 12139750"/>
              <a:gd name="connsiteY1383" fmla="*/ 4686903 h 6858290"/>
              <a:gd name="connsiteX1384" fmla="*/ 10090905 w 12139750"/>
              <a:gd name="connsiteY1384" fmla="*/ 4664018 h 6858290"/>
              <a:gd name="connsiteX1385" fmla="*/ 10426457 w 12139750"/>
              <a:gd name="connsiteY1385" fmla="*/ 4437077 h 6858290"/>
              <a:gd name="connsiteX1386" fmla="*/ 10447906 w 12139750"/>
              <a:gd name="connsiteY1386" fmla="*/ 4432309 h 6858290"/>
              <a:gd name="connsiteX1387" fmla="*/ 9287428 w 12139750"/>
              <a:gd name="connsiteY1387" fmla="*/ 4432309 h 6858290"/>
              <a:gd name="connsiteX1388" fmla="*/ 9306016 w 12139750"/>
              <a:gd name="connsiteY1388" fmla="*/ 4444705 h 6858290"/>
              <a:gd name="connsiteX1389" fmla="*/ 9298390 w 12139750"/>
              <a:gd name="connsiteY1389" fmla="*/ 4484754 h 6858290"/>
              <a:gd name="connsiteX1390" fmla="*/ 8962838 w 12139750"/>
              <a:gd name="connsiteY1390" fmla="*/ 4711694 h 6858290"/>
              <a:gd name="connsiteX1391" fmla="*/ 8922801 w 12139750"/>
              <a:gd name="connsiteY1391" fmla="*/ 4704066 h 6858290"/>
              <a:gd name="connsiteX1392" fmla="*/ 8917081 w 12139750"/>
              <a:gd name="connsiteY1392" fmla="*/ 4686903 h 6858290"/>
              <a:gd name="connsiteX1393" fmla="*/ 8930427 w 12139750"/>
              <a:gd name="connsiteY1393" fmla="*/ 4664018 h 6858290"/>
              <a:gd name="connsiteX1394" fmla="*/ 9265979 w 12139750"/>
              <a:gd name="connsiteY1394" fmla="*/ 4437077 h 6858290"/>
              <a:gd name="connsiteX1395" fmla="*/ 9287428 w 12139750"/>
              <a:gd name="connsiteY1395" fmla="*/ 4432309 h 6858290"/>
              <a:gd name="connsiteX1396" fmla="*/ 11026206 w 12139750"/>
              <a:gd name="connsiteY1396" fmla="*/ 4423012 h 6858290"/>
              <a:gd name="connsiteX1397" fmla="*/ 11045955 w 12139750"/>
              <a:gd name="connsiteY1397" fmla="*/ 4437046 h 6858290"/>
              <a:gd name="connsiteX1398" fmla="*/ 11036438 w 12139750"/>
              <a:gd name="connsiteY1398" fmla="*/ 4478910 h 6858290"/>
              <a:gd name="connsiteX1399" fmla="*/ 10701418 w 12139750"/>
              <a:gd name="connsiteY1399" fmla="*/ 4695840 h 6858290"/>
              <a:gd name="connsiteX1400" fmla="*/ 10657637 w 12139750"/>
              <a:gd name="connsiteY1400" fmla="*/ 4686326 h 6858290"/>
              <a:gd name="connsiteX1401" fmla="*/ 10653830 w 12139750"/>
              <a:gd name="connsiteY1401" fmla="*/ 4669200 h 6858290"/>
              <a:gd name="connsiteX1402" fmla="*/ 10667155 w 12139750"/>
              <a:gd name="connsiteY1402" fmla="*/ 4642559 h 6858290"/>
              <a:gd name="connsiteX1403" fmla="*/ 11002174 w 12139750"/>
              <a:gd name="connsiteY1403" fmla="*/ 4427531 h 6858290"/>
              <a:gd name="connsiteX1404" fmla="*/ 11026206 w 12139750"/>
              <a:gd name="connsiteY1404" fmla="*/ 4423012 h 6858290"/>
              <a:gd name="connsiteX1405" fmla="*/ 8716363 w 12139750"/>
              <a:gd name="connsiteY1405" fmla="*/ 4423012 h 6858290"/>
              <a:gd name="connsiteX1406" fmla="*/ 8736111 w 12139750"/>
              <a:gd name="connsiteY1406" fmla="*/ 4437046 h 6858290"/>
              <a:gd name="connsiteX1407" fmla="*/ 8726594 w 12139750"/>
              <a:gd name="connsiteY1407" fmla="*/ 4478910 h 6858290"/>
              <a:gd name="connsiteX1408" fmla="*/ 8391574 w 12139750"/>
              <a:gd name="connsiteY1408" fmla="*/ 4695840 h 6858290"/>
              <a:gd name="connsiteX1409" fmla="*/ 8347793 w 12139750"/>
              <a:gd name="connsiteY1409" fmla="*/ 4686326 h 6858290"/>
              <a:gd name="connsiteX1410" fmla="*/ 8343986 w 12139750"/>
              <a:gd name="connsiteY1410" fmla="*/ 4669200 h 6858290"/>
              <a:gd name="connsiteX1411" fmla="*/ 8357311 w 12139750"/>
              <a:gd name="connsiteY1411" fmla="*/ 4642559 h 6858290"/>
              <a:gd name="connsiteX1412" fmla="*/ 8692330 w 12139750"/>
              <a:gd name="connsiteY1412" fmla="*/ 4427531 h 6858290"/>
              <a:gd name="connsiteX1413" fmla="*/ 8716363 w 12139750"/>
              <a:gd name="connsiteY1413" fmla="*/ 4423012 h 6858290"/>
              <a:gd name="connsiteX1414" fmla="*/ 11596714 w 12139750"/>
              <a:gd name="connsiteY1414" fmla="*/ 4414431 h 6858290"/>
              <a:gd name="connsiteX1415" fmla="*/ 11617447 w 12139750"/>
              <a:gd name="connsiteY1415" fmla="*/ 4429399 h 6858290"/>
              <a:gd name="connsiteX1416" fmla="*/ 11606008 w 12139750"/>
              <a:gd name="connsiteY1416" fmla="*/ 4475016 h 6858290"/>
              <a:gd name="connsiteX1417" fmla="*/ 11270463 w 12139750"/>
              <a:gd name="connsiteY1417" fmla="*/ 4678388 h 6858290"/>
              <a:gd name="connsiteX1418" fmla="*/ 11224707 w 12139750"/>
              <a:gd name="connsiteY1418" fmla="*/ 4666984 h 6858290"/>
              <a:gd name="connsiteX1419" fmla="*/ 11218987 w 12139750"/>
              <a:gd name="connsiteY1419" fmla="*/ 4649878 h 6858290"/>
              <a:gd name="connsiteX1420" fmla="*/ 11236146 w 12139750"/>
              <a:gd name="connsiteY1420" fmla="*/ 4621368 h 6858290"/>
              <a:gd name="connsiteX1421" fmla="*/ 11571691 w 12139750"/>
              <a:gd name="connsiteY1421" fmla="*/ 4417995 h 6858290"/>
              <a:gd name="connsiteX1422" fmla="*/ 11596714 w 12139750"/>
              <a:gd name="connsiteY1422" fmla="*/ 4414431 h 6858290"/>
              <a:gd name="connsiteX1423" fmla="*/ 8153380 w 12139750"/>
              <a:gd name="connsiteY1423" fmla="*/ 4414431 h 6858290"/>
              <a:gd name="connsiteX1424" fmla="*/ 8174113 w 12139750"/>
              <a:gd name="connsiteY1424" fmla="*/ 4429399 h 6858290"/>
              <a:gd name="connsiteX1425" fmla="*/ 8162674 w 12139750"/>
              <a:gd name="connsiteY1425" fmla="*/ 4475016 h 6858290"/>
              <a:gd name="connsiteX1426" fmla="*/ 7825222 w 12139750"/>
              <a:gd name="connsiteY1426" fmla="*/ 4678388 h 6858290"/>
              <a:gd name="connsiteX1427" fmla="*/ 7779466 w 12139750"/>
              <a:gd name="connsiteY1427" fmla="*/ 4666984 h 6858290"/>
              <a:gd name="connsiteX1428" fmla="*/ 7775653 w 12139750"/>
              <a:gd name="connsiteY1428" fmla="*/ 4649878 h 6858290"/>
              <a:gd name="connsiteX1429" fmla="*/ 7790905 w 12139750"/>
              <a:gd name="connsiteY1429" fmla="*/ 4621368 h 6858290"/>
              <a:gd name="connsiteX1430" fmla="*/ 8128357 w 12139750"/>
              <a:gd name="connsiteY1430" fmla="*/ 4417995 h 6858290"/>
              <a:gd name="connsiteX1431" fmla="*/ 8153380 w 12139750"/>
              <a:gd name="connsiteY1431" fmla="*/ 4414431 h 6858290"/>
              <a:gd name="connsiteX1432" fmla="*/ 12139750 w 12139750"/>
              <a:gd name="connsiteY1432" fmla="*/ 4406904 h 6858290"/>
              <a:gd name="connsiteX1433" fmla="*/ 12139750 w 12139750"/>
              <a:gd name="connsiteY1433" fmla="*/ 4488819 h 6858290"/>
              <a:gd name="connsiteX1434" fmla="*/ 11834405 w 12139750"/>
              <a:gd name="connsiteY1434" fmla="*/ 4664079 h 6858290"/>
              <a:gd name="connsiteX1435" fmla="*/ 11784787 w 12139750"/>
              <a:gd name="connsiteY1435" fmla="*/ 4650744 h 6858290"/>
              <a:gd name="connsiteX1436" fmla="*/ 11780970 w 12139750"/>
              <a:gd name="connsiteY1436" fmla="*/ 4633599 h 6858290"/>
              <a:gd name="connsiteX1437" fmla="*/ 11798146 w 12139750"/>
              <a:gd name="connsiteY1437" fmla="*/ 4601214 h 6858290"/>
              <a:gd name="connsiteX1438" fmla="*/ 12135933 w 12139750"/>
              <a:gd name="connsiteY1438" fmla="*/ 4408809 h 6858290"/>
              <a:gd name="connsiteX1439" fmla="*/ 12139750 w 12139750"/>
              <a:gd name="connsiteY1439" fmla="*/ 4406904 h 6858290"/>
              <a:gd name="connsiteX1440" fmla="*/ 7595041 w 12139750"/>
              <a:gd name="connsiteY1440" fmla="*/ 4405165 h 6858290"/>
              <a:gd name="connsiteX1441" fmla="*/ 7616915 w 12139750"/>
              <a:gd name="connsiteY1441" fmla="*/ 4421853 h 6858290"/>
              <a:gd name="connsiteX1442" fmla="*/ 7603601 w 12139750"/>
              <a:gd name="connsiteY1442" fmla="*/ 4471441 h 6858290"/>
              <a:gd name="connsiteX1443" fmla="*/ 7266929 w 12139750"/>
              <a:gd name="connsiteY1443" fmla="*/ 4664069 h 6858290"/>
              <a:gd name="connsiteX1444" fmla="*/ 7219376 w 12139750"/>
              <a:gd name="connsiteY1444" fmla="*/ 4650718 h 6858290"/>
              <a:gd name="connsiteX1445" fmla="*/ 7213670 w 12139750"/>
              <a:gd name="connsiteY1445" fmla="*/ 4633553 h 6858290"/>
              <a:gd name="connsiteX1446" fmla="*/ 7230789 w 12139750"/>
              <a:gd name="connsiteY1446" fmla="*/ 4601131 h 6858290"/>
              <a:gd name="connsiteX1447" fmla="*/ 7567461 w 12139750"/>
              <a:gd name="connsiteY1447" fmla="*/ 4408503 h 6858290"/>
              <a:gd name="connsiteX1448" fmla="*/ 7595041 w 12139750"/>
              <a:gd name="connsiteY1448" fmla="*/ 4405165 h 6858290"/>
              <a:gd name="connsiteX1449" fmla="*/ 7045448 w 12139750"/>
              <a:gd name="connsiteY1449" fmla="*/ 4396577 h 6858290"/>
              <a:gd name="connsiteX1450" fmla="*/ 7067610 w 12139750"/>
              <a:gd name="connsiteY1450" fmla="*/ 4414178 h 6858290"/>
              <a:gd name="connsiteX1451" fmla="*/ 7052359 w 12139750"/>
              <a:gd name="connsiteY1451" fmla="*/ 4465552 h 6858290"/>
              <a:gd name="connsiteX1452" fmla="*/ 6714913 w 12139750"/>
              <a:gd name="connsiteY1452" fmla="*/ 4646313 h 6858290"/>
              <a:gd name="connsiteX1453" fmla="*/ 6663438 w 12139750"/>
              <a:gd name="connsiteY1453" fmla="*/ 4631091 h 6858290"/>
              <a:gd name="connsiteX1454" fmla="*/ 6659625 w 12139750"/>
              <a:gd name="connsiteY1454" fmla="*/ 4613966 h 6858290"/>
              <a:gd name="connsiteX1455" fmla="*/ 6678689 w 12139750"/>
              <a:gd name="connsiteY1455" fmla="*/ 4581620 h 6858290"/>
              <a:gd name="connsiteX1456" fmla="*/ 7016136 w 12139750"/>
              <a:gd name="connsiteY1456" fmla="*/ 4398956 h 6858290"/>
              <a:gd name="connsiteX1457" fmla="*/ 7045448 w 12139750"/>
              <a:gd name="connsiteY1457" fmla="*/ 4396577 h 6858290"/>
              <a:gd name="connsiteX1458" fmla="*/ 6484860 w 12139750"/>
              <a:gd name="connsiteY1458" fmla="*/ 4386509 h 6858290"/>
              <a:gd name="connsiteX1459" fmla="*/ 6523112 w 12139750"/>
              <a:gd name="connsiteY1459" fmla="*/ 4408422 h 6858290"/>
              <a:gd name="connsiteX1460" fmla="*/ 6505992 w 12139750"/>
              <a:gd name="connsiteY1460" fmla="*/ 4461632 h 6858290"/>
              <a:gd name="connsiteX1461" fmla="*/ 6167407 w 12139750"/>
              <a:gd name="connsiteY1461" fmla="*/ 4630765 h 6858290"/>
              <a:gd name="connsiteX1462" fmla="*/ 6114146 w 12139750"/>
              <a:gd name="connsiteY1462" fmla="*/ 4613662 h 6858290"/>
              <a:gd name="connsiteX1463" fmla="*/ 6110342 w 12139750"/>
              <a:gd name="connsiteY1463" fmla="*/ 4594658 h 6858290"/>
              <a:gd name="connsiteX1464" fmla="*/ 6131266 w 12139750"/>
              <a:gd name="connsiteY1464" fmla="*/ 4560451 h 6858290"/>
              <a:gd name="connsiteX1465" fmla="*/ 6469851 w 12139750"/>
              <a:gd name="connsiteY1465" fmla="*/ 4391319 h 6858290"/>
              <a:gd name="connsiteX1466" fmla="*/ 6484860 w 12139750"/>
              <a:gd name="connsiteY1466" fmla="*/ 4386509 h 6858290"/>
              <a:gd name="connsiteX1467" fmla="*/ 5956832 w 12139750"/>
              <a:gd name="connsiteY1467" fmla="*/ 4379618 h 6858290"/>
              <a:gd name="connsiteX1468" fmla="*/ 5980168 w 12139750"/>
              <a:gd name="connsiteY1468" fmla="*/ 4400625 h 6858290"/>
              <a:gd name="connsiteX1469" fmla="*/ 5961118 w 12139750"/>
              <a:gd name="connsiteY1469" fmla="*/ 4456009 h 6858290"/>
              <a:gd name="connsiteX1470" fmla="*/ 5622031 w 12139750"/>
              <a:gd name="connsiteY1470" fmla="*/ 4616430 h 6858290"/>
              <a:gd name="connsiteX1471" fmla="*/ 5564881 w 12139750"/>
              <a:gd name="connsiteY1471" fmla="*/ 4595422 h 6858290"/>
              <a:gd name="connsiteX1472" fmla="*/ 5561071 w 12139750"/>
              <a:gd name="connsiteY1472" fmla="*/ 4578234 h 6858290"/>
              <a:gd name="connsiteX1473" fmla="*/ 5585836 w 12139750"/>
              <a:gd name="connsiteY1473" fmla="*/ 4540039 h 6858290"/>
              <a:gd name="connsiteX1474" fmla="*/ 5924923 w 12139750"/>
              <a:gd name="connsiteY1474" fmla="*/ 4381528 h 6858290"/>
              <a:gd name="connsiteX1475" fmla="*/ 5956832 w 12139750"/>
              <a:gd name="connsiteY1475" fmla="*/ 4379618 h 6858290"/>
              <a:gd name="connsiteX1476" fmla="*/ 398944 w 12139750"/>
              <a:gd name="connsiteY1476" fmla="*/ 4379618 h 6858290"/>
              <a:gd name="connsiteX1477" fmla="*/ 422281 w 12139750"/>
              <a:gd name="connsiteY1477" fmla="*/ 4400625 h 6858290"/>
              <a:gd name="connsiteX1478" fmla="*/ 401326 w 12139750"/>
              <a:gd name="connsiteY1478" fmla="*/ 4456009 h 6858290"/>
              <a:gd name="connsiteX1479" fmla="*/ 62231 w 12139750"/>
              <a:gd name="connsiteY1479" fmla="*/ 4616430 h 6858290"/>
              <a:gd name="connsiteX1480" fmla="*/ 6986 w 12139750"/>
              <a:gd name="connsiteY1480" fmla="*/ 4595422 h 6858290"/>
              <a:gd name="connsiteX1481" fmla="*/ 3176 w 12139750"/>
              <a:gd name="connsiteY1481" fmla="*/ 4578234 h 6858290"/>
              <a:gd name="connsiteX1482" fmla="*/ 27941 w 12139750"/>
              <a:gd name="connsiteY1482" fmla="*/ 4540039 h 6858290"/>
              <a:gd name="connsiteX1483" fmla="*/ 367035 w 12139750"/>
              <a:gd name="connsiteY1483" fmla="*/ 4381528 h 6858290"/>
              <a:gd name="connsiteX1484" fmla="*/ 398944 w 12139750"/>
              <a:gd name="connsiteY1484" fmla="*/ 4379618 h 6858290"/>
              <a:gd name="connsiteX1485" fmla="*/ 5410426 w 12139750"/>
              <a:gd name="connsiteY1485" fmla="*/ 4371276 h 6858290"/>
              <a:gd name="connsiteX1486" fmla="*/ 5434051 w 12139750"/>
              <a:gd name="connsiteY1486" fmla="*/ 4394881 h 6858290"/>
              <a:gd name="connsiteX1487" fmla="*/ 5411141 w 12139750"/>
              <a:gd name="connsiteY1487" fmla="*/ 4452105 h 6858290"/>
              <a:gd name="connsiteX1488" fmla="*/ 5071298 w 12139750"/>
              <a:gd name="connsiteY1488" fmla="*/ 4598979 h 6858290"/>
              <a:gd name="connsiteX1489" fmla="*/ 5014028 w 12139750"/>
              <a:gd name="connsiteY1489" fmla="*/ 4576090 h 6858290"/>
              <a:gd name="connsiteX1490" fmla="*/ 5010210 w 12139750"/>
              <a:gd name="connsiteY1490" fmla="*/ 4558923 h 6858290"/>
              <a:gd name="connsiteX1491" fmla="*/ 5036936 w 12139750"/>
              <a:gd name="connsiteY1491" fmla="*/ 4518866 h 6858290"/>
              <a:gd name="connsiteX1492" fmla="*/ 5376776 w 12139750"/>
              <a:gd name="connsiteY1492" fmla="*/ 4371991 h 6858290"/>
              <a:gd name="connsiteX1493" fmla="*/ 5410426 w 12139750"/>
              <a:gd name="connsiteY1493" fmla="*/ 4371276 h 6858290"/>
              <a:gd name="connsiteX1494" fmla="*/ 943805 w 12139750"/>
              <a:gd name="connsiteY1494" fmla="*/ 4371276 h 6858290"/>
              <a:gd name="connsiteX1495" fmla="*/ 968368 w 12139750"/>
              <a:gd name="connsiteY1495" fmla="*/ 4394881 h 6858290"/>
              <a:gd name="connsiteX1496" fmla="*/ 945475 w 12139750"/>
              <a:gd name="connsiteY1496" fmla="*/ 4452105 h 6858290"/>
              <a:gd name="connsiteX1497" fmla="*/ 603977 w 12139750"/>
              <a:gd name="connsiteY1497" fmla="*/ 4598979 h 6858290"/>
              <a:gd name="connsiteX1498" fmla="*/ 546743 w 12139750"/>
              <a:gd name="connsiteY1498" fmla="*/ 4576090 h 6858290"/>
              <a:gd name="connsiteX1499" fmla="*/ 542927 w 12139750"/>
              <a:gd name="connsiteY1499" fmla="*/ 4558923 h 6858290"/>
              <a:gd name="connsiteX1500" fmla="*/ 569637 w 12139750"/>
              <a:gd name="connsiteY1500" fmla="*/ 4518866 h 6858290"/>
              <a:gd name="connsiteX1501" fmla="*/ 909226 w 12139750"/>
              <a:gd name="connsiteY1501" fmla="*/ 4371991 h 6858290"/>
              <a:gd name="connsiteX1502" fmla="*/ 943805 w 12139750"/>
              <a:gd name="connsiteY1502" fmla="*/ 4371276 h 6858290"/>
              <a:gd name="connsiteX1503" fmla="*/ 4841668 w 12139750"/>
              <a:gd name="connsiteY1503" fmla="*/ 4359082 h 6858290"/>
              <a:gd name="connsiteX1504" fmla="*/ 4883197 w 12139750"/>
              <a:gd name="connsiteY1504" fmla="*/ 4387173 h 6858290"/>
              <a:gd name="connsiteX1505" fmla="*/ 4856523 w 12139750"/>
              <a:gd name="connsiteY1505" fmla="*/ 4448053 h 6858290"/>
              <a:gd name="connsiteX1506" fmla="*/ 4517432 w 12139750"/>
              <a:gd name="connsiteY1506" fmla="*/ 4583129 h 6858290"/>
              <a:gd name="connsiteX1507" fmla="*/ 4456473 w 12139750"/>
              <a:gd name="connsiteY1507" fmla="*/ 4556495 h 6858290"/>
              <a:gd name="connsiteX1508" fmla="*/ 4454569 w 12139750"/>
              <a:gd name="connsiteY1508" fmla="*/ 4539372 h 6858290"/>
              <a:gd name="connsiteX1509" fmla="*/ 4483145 w 12139750"/>
              <a:gd name="connsiteY1509" fmla="*/ 4497518 h 6858290"/>
              <a:gd name="connsiteX1510" fmla="*/ 4824134 w 12139750"/>
              <a:gd name="connsiteY1510" fmla="*/ 4362441 h 6858290"/>
              <a:gd name="connsiteX1511" fmla="*/ 4841668 w 12139750"/>
              <a:gd name="connsiteY1511" fmla="*/ 4359082 h 6858290"/>
              <a:gd name="connsiteX1512" fmla="*/ 1477208 w 12139750"/>
              <a:gd name="connsiteY1512" fmla="*/ 4359082 h 6858290"/>
              <a:gd name="connsiteX1513" fmla="*/ 1517660 w 12139750"/>
              <a:gd name="connsiteY1513" fmla="*/ 4387173 h 6858290"/>
              <a:gd name="connsiteX1514" fmla="*/ 1492894 w 12139750"/>
              <a:gd name="connsiteY1514" fmla="*/ 4448053 h 6858290"/>
              <a:gd name="connsiteX1515" fmla="*/ 1151895 w 12139750"/>
              <a:gd name="connsiteY1515" fmla="*/ 4583129 h 6858290"/>
              <a:gd name="connsiteX1516" fmla="*/ 1092840 w 12139750"/>
              <a:gd name="connsiteY1516" fmla="*/ 4556495 h 6858290"/>
              <a:gd name="connsiteX1517" fmla="*/ 1089029 w 12139750"/>
              <a:gd name="connsiteY1517" fmla="*/ 4539372 h 6858290"/>
              <a:gd name="connsiteX1518" fmla="*/ 1117605 w 12139750"/>
              <a:gd name="connsiteY1518" fmla="*/ 4497518 h 6858290"/>
              <a:gd name="connsiteX1519" fmla="*/ 1458604 w 12139750"/>
              <a:gd name="connsiteY1519" fmla="*/ 4362441 h 6858290"/>
              <a:gd name="connsiteX1520" fmla="*/ 1477208 w 12139750"/>
              <a:gd name="connsiteY1520" fmla="*/ 4359082 h 6858290"/>
              <a:gd name="connsiteX1521" fmla="*/ 4284028 w 12139750"/>
              <a:gd name="connsiteY1521" fmla="*/ 4349919 h 6858290"/>
              <a:gd name="connsiteX1522" fmla="*/ 4325998 w 12139750"/>
              <a:gd name="connsiteY1522" fmla="*/ 4381660 h 6858290"/>
              <a:gd name="connsiteX1523" fmla="*/ 4297483 w 12139750"/>
              <a:gd name="connsiteY1523" fmla="*/ 4442870 h 6858290"/>
              <a:gd name="connsiteX1524" fmla="*/ 3957235 w 12139750"/>
              <a:gd name="connsiteY1524" fmla="*/ 4569116 h 6858290"/>
              <a:gd name="connsiteX1525" fmla="*/ 3896403 w 12139750"/>
              <a:gd name="connsiteY1525" fmla="*/ 4538511 h 6858290"/>
              <a:gd name="connsiteX1526" fmla="*/ 3892602 w 12139750"/>
              <a:gd name="connsiteY1526" fmla="*/ 4523208 h 6858290"/>
              <a:gd name="connsiteX1527" fmla="*/ 3924919 w 12139750"/>
              <a:gd name="connsiteY1527" fmla="*/ 4477301 h 6858290"/>
              <a:gd name="connsiteX1528" fmla="*/ 4265165 w 12139750"/>
              <a:gd name="connsiteY1528" fmla="*/ 4352968 h 6858290"/>
              <a:gd name="connsiteX1529" fmla="*/ 4284028 w 12139750"/>
              <a:gd name="connsiteY1529" fmla="*/ 4349919 h 6858290"/>
              <a:gd name="connsiteX1530" fmla="*/ 2029783 w 12139750"/>
              <a:gd name="connsiteY1530" fmla="*/ 4349919 h 6858290"/>
              <a:gd name="connsiteX1531" fmla="*/ 2073628 w 12139750"/>
              <a:gd name="connsiteY1531" fmla="*/ 4381660 h 6858290"/>
              <a:gd name="connsiteX1532" fmla="*/ 2045109 w 12139750"/>
              <a:gd name="connsiteY1532" fmla="*/ 4442870 h 6858290"/>
              <a:gd name="connsiteX1533" fmla="*/ 1702940 w 12139750"/>
              <a:gd name="connsiteY1533" fmla="*/ 4569116 h 6858290"/>
              <a:gd name="connsiteX1534" fmla="*/ 1642110 w 12139750"/>
              <a:gd name="connsiteY1534" fmla="*/ 4538511 h 6858290"/>
              <a:gd name="connsiteX1535" fmla="*/ 1638308 w 12139750"/>
              <a:gd name="connsiteY1535" fmla="*/ 4523208 h 6858290"/>
              <a:gd name="connsiteX1536" fmla="*/ 1670624 w 12139750"/>
              <a:gd name="connsiteY1536" fmla="*/ 4477301 h 6858290"/>
              <a:gd name="connsiteX1537" fmla="*/ 2010892 w 12139750"/>
              <a:gd name="connsiteY1537" fmla="*/ 4352968 h 6858290"/>
              <a:gd name="connsiteX1538" fmla="*/ 2029783 w 12139750"/>
              <a:gd name="connsiteY1538" fmla="*/ 4349919 h 6858290"/>
              <a:gd name="connsiteX1539" fmla="*/ 3722769 w 12139750"/>
              <a:gd name="connsiteY1539" fmla="*/ 4341198 h 6858290"/>
              <a:gd name="connsiteX1540" fmla="*/ 3765605 w 12139750"/>
              <a:gd name="connsiteY1540" fmla="*/ 4375585 h 6858290"/>
              <a:gd name="connsiteX1541" fmla="*/ 3733239 w 12139750"/>
              <a:gd name="connsiteY1541" fmla="*/ 4438627 h 6858290"/>
              <a:gd name="connsiteX1542" fmla="*/ 3392495 w 12139750"/>
              <a:gd name="connsiteY1542" fmla="*/ 4551340 h 6858290"/>
              <a:gd name="connsiteX1543" fmla="*/ 3329672 w 12139750"/>
              <a:gd name="connsiteY1543" fmla="*/ 4518863 h 6858290"/>
              <a:gd name="connsiteX1544" fmla="*/ 3325867 w 12139750"/>
              <a:gd name="connsiteY1544" fmla="*/ 4503580 h 6858290"/>
              <a:gd name="connsiteX1545" fmla="*/ 3360130 w 12139750"/>
              <a:gd name="connsiteY1545" fmla="*/ 4455821 h 6858290"/>
              <a:gd name="connsiteX1546" fmla="*/ 3702778 w 12139750"/>
              <a:gd name="connsiteY1546" fmla="*/ 4343108 h 6858290"/>
              <a:gd name="connsiteX1547" fmla="*/ 3722769 w 12139750"/>
              <a:gd name="connsiteY1547" fmla="*/ 4341198 h 6858290"/>
              <a:gd name="connsiteX1548" fmla="*/ 2589270 w 12139750"/>
              <a:gd name="connsiteY1548" fmla="*/ 4341198 h 6858290"/>
              <a:gd name="connsiteX1549" fmla="*/ 2632102 w 12139750"/>
              <a:gd name="connsiteY1549" fmla="*/ 4375585 h 6858290"/>
              <a:gd name="connsiteX1550" fmla="*/ 2599740 w 12139750"/>
              <a:gd name="connsiteY1550" fmla="*/ 4438627 h 6858290"/>
              <a:gd name="connsiteX1551" fmla="*/ 2258982 w 12139750"/>
              <a:gd name="connsiteY1551" fmla="*/ 4551340 h 6858290"/>
              <a:gd name="connsiteX1552" fmla="*/ 2196160 w 12139750"/>
              <a:gd name="connsiteY1552" fmla="*/ 4518863 h 6858290"/>
              <a:gd name="connsiteX1553" fmla="*/ 2192353 w 12139750"/>
              <a:gd name="connsiteY1553" fmla="*/ 4503580 h 6858290"/>
              <a:gd name="connsiteX1554" fmla="*/ 2226618 w 12139750"/>
              <a:gd name="connsiteY1554" fmla="*/ 4455821 h 6858290"/>
              <a:gd name="connsiteX1555" fmla="*/ 2569281 w 12139750"/>
              <a:gd name="connsiteY1555" fmla="*/ 4343108 h 6858290"/>
              <a:gd name="connsiteX1556" fmla="*/ 2589270 w 12139750"/>
              <a:gd name="connsiteY1556" fmla="*/ 4341198 h 6858290"/>
              <a:gd name="connsiteX1557" fmla="*/ 3152166 w 12139750"/>
              <a:gd name="connsiteY1557" fmla="*/ 4331993 h 6858290"/>
              <a:gd name="connsiteX1558" fmla="*/ 3195711 w 12139750"/>
              <a:gd name="connsiteY1558" fmla="*/ 4369821 h 6858290"/>
              <a:gd name="connsiteX1559" fmla="*/ 3161515 w 12139750"/>
              <a:gd name="connsiteY1559" fmla="*/ 4434686 h 6858290"/>
              <a:gd name="connsiteX1560" fmla="*/ 2819567 w 12139750"/>
              <a:gd name="connsiteY1560" fmla="*/ 4535799 h 6858290"/>
              <a:gd name="connsiteX1561" fmla="*/ 2753076 w 12139750"/>
              <a:gd name="connsiteY1561" fmla="*/ 4499551 h 6858290"/>
              <a:gd name="connsiteX1562" fmla="*/ 2751179 w 12139750"/>
              <a:gd name="connsiteY1562" fmla="*/ 4486196 h 6858290"/>
              <a:gd name="connsiteX1563" fmla="*/ 2789171 w 12139750"/>
              <a:gd name="connsiteY1563" fmla="*/ 4434686 h 6858290"/>
              <a:gd name="connsiteX1564" fmla="*/ 3131122 w 12139750"/>
              <a:gd name="connsiteY1564" fmla="*/ 4333573 h 6858290"/>
              <a:gd name="connsiteX1565" fmla="*/ 3152166 w 12139750"/>
              <a:gd name="connsiteY1565" fmla="*/ 4331993 h 6858290"/>
              <a:gd name="connsiteX1566" fmla="*/ 9861856 w 12139750"/>
              <a:gd name="connsiteY1566" fmla="*/ 4113368 h 6858290"/>
              <a:gd name="connsiteX1567" fmla="*/ 9877547 w 12139750"/>
              <a:gd name="connsiteY1567" fmla="*/ 4123348 h 6858290"/>
              <a:gd name="connsiteX1568" fmla="*/ 9873743 w 12139750"/>
              <a:gd name="connsiteY1568" fmla="*/ 4157568 h 6858290"/>
              <a:gd name="connsiteX1569" fmla="*/ 9540914 w 12139750"/>
              <a:gd name="connsiteY1569" fmla="*/ 4410411 h 6858290"/>
              <a:gd name="connsiteX1570" fmla="*/ 9506680 w 12139750"/>
              <a:gd name="connsiteY1570" fmla="*/ 4404708 h 6858290"/>
              <a:gd name="connsiteX1571" fmla="*/ 9502876 w 12139750"/>
              <a:gd name="connsiteY1571" fmla="*/ 4391401 h 6858290"/>
              <a:gd name="connsiteX1572" fmla="*/ 9512385 w 12139750"/>
              <a:gd name="connsiteY1572" fmla="*/ 4370489 h 6858290"/>
              <a:gd name="connsiteX1573" fmla="*/ 9843313 w 12139750"/>
              <a:gd name="connsiteY1573" fmla="*/ 4117645 h 6858290"/>
              <a:gd name="connsiteX1574" fmla="*/ 9861856 w 12139750"/>
              <a:gd name="connsiteY1574" fmla="*/ 4113368 h 6858290"/>
              <a:gd name="connsiteX1575" fmla="*/ 10446896 w 12139750"/>
              <a:gd name="connsiteY1575" fmla="*/ 4105427 h 6858290"/>
              <a:gd name="connsiteX1576" fmla="*/ 10465232 w 12139750"/>
              <a:gd name="connsiteY1576" fmla="*/ 4115397 h 6858290"/>
              <a:gd name="connsiteX1577" fmla="*/ 10459517 w 12139750"/>
              <a:gd name="connsiteY1577" fmla="*/ 4153376 h 6858290"/>
              <a:gd name="connsiteX1578" fmla="*/ 10124233 w 12139750"/>
              <a:gd name="connsiteY1578" fmla="*/ 4392647 h 6858290"/>
              <a:gd name="connsiteX1579" fmla="*/ 10088037 w 12139750"/>
              <a:gd name="connsiteY1579" fmla="*/ 4386950 h 6858290"/>
              <a:gd name="connsiteX1580" fmla="*/ 10082322 w 12139750"/>
              <a:gd name="connsiteY1580" fmla="*/ 4369859 h 6858290"/>
              <a:gd name="connsiteX1581" fmla="*/ 10093752 w 12139750"/>
              <a:gd name="connsiteY1581" fmla="*/ 4348970 h 6858290"/>
              <a:gd name="connsiteX1582" fmla="*/ 10427131 w 12139750"/>
              <a:gd name="connsiteY1582" fmla="*/ 4109700 h 6858290"/>
              <a:gd name="connsiteX1583" fmla="*/ 10446896 w 12139750"/>
              <a:gd name="connsiteY1583" fmla="*/ 4105427 h 6858290"/>
              <a:gd name="connsiteX1584" fmla="*/ 9286179 w 12139750"/>
              <a:gd name="connsiteY1584" fmla="*/ 4105427 h 6858290"/>
              <a:gd name="connsiteX1585" fmla="*/ 9302848 w 12139750"/>
              <a:gd name="connsiteY1585" fmla="*/ 4115397 h 6858290"/>
              <a:gd name="connsiteX1586" fmla="*/ 9297133 w 12139750"/>
              <a:gd name="connsiteY1586" fmla="*/ 4153376 h 6858290"/>
              <a:gd name="connsiteX1587" fmla="*/ 8963754 w 12139750"/>
              <a:gd name="connsiteY1587" fmla="*/ 4392647 h 6858290"/>
              <a:gd name="connsiteX1588" fmla="*/ 8925653 w 12139750"/>
              <a:gd name="connsiteY1588" fmla="*/ 4386950 h 6858290"/>
              <a:gd name="connsiteX1589" fmla="*/ 8921843 w 12139750"/>
              <a:gd name="connsiteY1589" fmla="*/ 4369859 h 6858290"/>
              <a:gd name="connsiteX1590" fmla="*/ 8931368 w 12139750"/>
              <a:gd name="connsiteY1590" fmla="*/ 4348970 h 6858290"/>
              <a:gd name="connsiteX1591" fmla="*/ 9266652 w 12139750"/>
              <a:gd name="connsiteY1591" fmla="*/ 4109700 h 6858290"/>
              <a:gd name="connsiteX1592" fmla="*/ 9286179 w 12139750"/>
              <a:gd name="connsiteY1592" fmla="*/ 4105427 h 6858290"/>
              <a:gd name="connsiteX1593" fmla="*/ 11024810 w 12139750"/>
              <a:gd name="connsiteY1593" fmla="*/ 4097347 h 6858290"/>
              <a:gd name="connsiteX1594" fmla="*/ 11044352 w 12139750"/>
              <a:gd name="connsiteY1594" fmla="*/ 4109742 h 6858290"/>
              <a:gd name="connsiteX1595" fmla="*/ 11036726 w 12139750"/>
              <a:gd name="connsiteY1595" fmla="*/ 4149791 h 6858290"/>
              <a:gd name="connsiteX1596" fmla="*/ 10701174 w 12139750"/>
              <a:gd name="connsiteY1596" fmla="*/ 4376731 h 6858290"/>
              <a:gd name="connsiteX1597" fmla="*/ 10659230 w 12139750"/>
              <a:gd name="connsiteY1597" fmla="*/ 4369103 h 6858290"/>
              <a:gd name="connsiteX1598" fmla="*/ 10655417 w 12139750"/>
              <a:gd name="connsiteY1598" fmla="*/ 4351940 h 6858290"/>
              <a:gd name="connsiteX1599" fmla="*/ 10668763 w 12139750"/>
              <a:gd name="connsiteY1599" fmla="*/ 4327148 h 6858290"/>
              <a:gd name="connsiteX1600" fmla="*/ 11002408 w 12139750"/>
              <a:gd name="connsiteY1600" fmla="*/ 4102114 h 6858290"/>
              <a:gd name="connsiteX1601" fmla="*/ 11024810 w 12139750"/>
              <a:gd name="connsiteY1601" fmla="*/ 4097347 h 6858290"/>
              <a:gd name="connsiteX1602" fmla="*/ 8715681 w 12139750"/>
              <a:gd name="connsiteY1602" fmla="*/ 4097347 h 6858290"/>
              <a:gd name="connsiteX1603" fmla="*/ 8734508 w 12139750"/>
              <a:gd name="connsiteY1603" fmla="*/ 4109742 h 6858290"/>
              <a:gd name="connsiteX1604" fmla="*/ 8726882 w 12139750"/>
              <a:gd name="connsiteY1604" fmla="*/ 4149791 h 6858290"/>
              <a:gd name="connsiteX1605" fmla="*/ 8391330 w 12139750"/>
              <a:gd name="connsiteY1605" fmla="*/ 4376731 h 6858290"/>
              <a:gd name="connsiteX1606" fmla="*/ 8351293 w 12139750"/>
              <a:gd name="connsiteY1606" fmla="*/ 4369103 h 6858290"/>
              <a:gd name="connsiteX1607" fmla="*/ 8345573 w 12139750"/>
              <a:gd name="connsiteY1607" fmla="*/ 4351940 h 6858290"/>
              <a:gd name="connsiteX1608" fmla="*/ 8358919 w 12139750"/>
              <a:gd name="connsiteY1608" fmla="*/ 4327148 h 6858290"/>
              <a:gd name="connsiteX1609" fmla="*/ 8692564 w 12139750"/>
              <a:gd name="connsiteY1609" fmla="*/ 4102114 h 6858290"/>
              <a:gd name="connsiteX1610" fmla="*/ 8715681 w 12139750"/>
              <a:gd name="connsiteY1610" fmla="*/ 4097347 h 6858290"/>
              <a:gd name="connsiteX1611" fmla="*/ 11596149 w 12139750"/>
              <a:gd name="connsiteY1611" fmla="*/ 4089007 h 6858290"/>
              <a:gd name="connsiteX1612" fmla="*/ 11615883 w 12139750"/>
              <a:gd name="connsiteY1612" fmla="*/ 4104009 h 6858290"/>
              <a:gd name="connsiteX1613" fmla="*/ 11606373 w 12139750"/>
              <a:gd name="connsiteY1613" fmla="*/ 4147824 h 6858290"/>
              <a:gd name="connsiteX1614" fmla="*/ 11271615 w 12139750"/>
              <a:gd name="connsiteY1614" fmla="*/ 4359279 h 6858290"/>
              <a:gd name="connsiteX1615" fmla="*/ 11227868 w 12139750"/>
              <a:gd name="connsiteY1615" fmla="*/ 4349754 h 6858290"/>
              <a:gd name="connsiteX1616" fmla="*/ 11222162 w 12139750"/>
              <a:gd name="connsiteY1616" fmla="*/ 4332609 h 6858290"/>
              <a:gd name="connsiteX1617" fmla="*/ 11237378 w 12139750"/>
              <a:gd name="connsiteY1617" fmla="*/ 4305939 h 6858290"/>
              <a:gd name="connsiteX1618" fmla="*/ 11572136 w 12139750"/>
              <a:gd name="connsiteY1618" fmla="*/ 4092579 h 6858290"/>
              <a:gd name="connsiteX1619" fmla="*/ 11596149 w 12139750"/>
              <a:gd name="connsiteY1619" fmla="*/ 4089007 h 6858290"/>
              <a:gd name="connsiteX1620" fmla="*/ 8152699 w 12139750"/>
              <a:gd name="connsiteY1620" fmla="*/ 4089007 h 6858290"/>
              <a:gd name="connsiteX1621" fmla="*/ 8172510 w 12139750"/>
              <a:gd name="connsiteY1621" fmla="*/ 4104009 h 6858290"/>
              <a:gd name="connsiteX1622" fmla="*/ 8162963 w 12139750"/>
              <a:gd name="connsiteY1622" fmla="*/ 4147824 h 6858290"/>
              <a:gd name="connsiteX1623" fmla="*/ 7824978 w 12139750"/>
              <a:gd name="connsiteY1623" fmla="*/ 4359279 h 6858290"/>
              <a:gd name="connsiteX1624" fmla="*/ 7781059 w 12139750"/>
              <a:gd name="connsiteY1624" fmla="*/ 4349754 h 6858290"/>
              <a:gd name="connsiteX1625" fmla="*/ 7777240 w 12139750"/>
              <a:gd name="connsiteY1625" fmla="*/ 4332609 h 6858290"/>
              <a:gd name="connsiteX1626" fmla="*/ 7792516 w 12139750"/>
              <a:gd name="connsiteY1626" fmla="*/ 4305939 h 6858290"/>
              <a:gd name="connsiteX1627" fmla="*/ 8128591 w 12139750"/>
              <a:gd name="connsiteY1627" fmla="*/ 4092579 h 6858290"/>
              <a:gd name="connsiteX1628" fmla="*/ 8152699 w 12139750"/>
              <a:gd name="connsiteY1628" fmla="*/ 4089007 h 6858290"/>
              <a:gd name="connsiteX1629" fmla="*/ 12139750 w 12139750"/>
              <a:gd name="connsiteY1629" fmla="*/ 4083054 h 6858290"/>
              <a:gd name="connsiteX1630" fmla="*/ 12139750 w 12139750"/>
              <a:gd name="connsiteY1630" fmla="*/ 4162969 h 6858290"/>
              <a:gd name="connsiteX1631" fmla="*/ 11834405 w 12139750"/>
              <a:gd name="connsiteY1631" fmla="*/ 4341828 h 6858290"/>
              <a:gd name="connsiteX1632" fmla="*/ 11786695 w 12139750"/>
              <a:gd name="connsiteY1632" fmla="*/ 4330411 h 6858290"/>
              <a:gd name="connsiteX1633" fmla="*/ 11780970 w 12139750"/>
              <a:gd name="connsiteY1633" fmla="*/ 4313287 h 6858290"/>
              <a:gd name="connsiteX1634" fmla="*/ 11798146 w 12139750"/>
              <a:gd name="connsiteY1634" fmla="*/ 4282843 h 6858290"/>
              <a:gd name="connsiteX1635" fmla="*/ 12135933 w 12139750"/>
              <a:gd name="connsiteY1635" fmla="*/ 4084957 h 6858290"/>
              <a:gd name="connsiteX1636" fmla="*/ 12139750 w 12139750"/>
              <a:gd name="connsiteY1636" fmla="*/ 4083054 h 6858290"/>
              <a:gd name="connsiteX1637" fmla="*/ 7594358 w 12139750"/>
              <a:gd name="connsiteY1637" fmla="*/ 4081069 h 6858290"/>
              <a:gd name="connsiteX1638" fmla="*/ 7615314 w 12139750"/>
              <a:gd name="connsiteY1638" fmla="*/ 4096071 h 6858290"/>
              <a:gd name="connsiteX1639" fmla="*/ 7603883 w 12139750"/>
              <a:gd name="connsiteY1639" fmla="*/ 4143696 h 6858290"/>
              <a:gd name="connsiteX1640" fmla="*/ 7266694 w 12139750"/>
              <a:gd name="connsiteY1640" fmla="*/ 4341816 h 6858290"/>
              <a:gd name="connsiteX1641" fmla="*/ 7219068 w 12139750"/>
              <a:gd name="connsiteY1641" fmla="*/ 4330386 h 6858290"/>
              <a:gd name="connsiteX1642" fmla="*/ 7215258 w 12139750"/>
              <a:gd name="connsiteY1642" fmla="*/ 4313241 h 6858290"/>
              <a:gd name="connsiteX1643" fmla="*/ 7232403 w 12139750"/>
              <a:gd name="connsiteY1643" fmla="*/ 4282761 h 6858290"/>
              <a:gd name="connsiteX1644" fmla="*/ 7567688 w 12139750"/>
              <a:gd name="connsiteY1644" fmla="*/ 4084641 h 6858290"/>
              <a:gd name="connsiteX1645" fmla="*/ 7594358 w 12139750"/>
              <a:gd name="connsiteY1645" fmla="*/ 4081069 h 6858290"/>
              <a:gd name="connsiteX1646" fmla="*/ 7045448 w 12139750"/>
              <a:gd name="connsiteY1646" fmla="*/ 4072718 h 6858290"/>
              <a:gd name="connsiteX1647" fmla="*/ 7067610 w 12139750"/>
              <a:gd name="connsiteY1647" fmla="*/ 4090298 h 6858290"/>
              <a:gd name="connsiteX1648" fmla="*/ 7052359 w 12139750"/>
              <a:gd name="connsiteY1648" fmla="*/ 4141612 h 6858290"/>
              <a:gd name="connsiteX1649" fmla="*/ 6714913 w 12139750"/>
              <a:gd name="connsiteY1649" fmla="*/ 4325963 h 6858290"/>
              <a:gd name="connsiteX1650" fmla="*/ 6665344 w 12139750"/>
              <a:gd name="connsiteY1650" fmla="*/ 4310759 h 6858290"/>
              <a:gd name="connsiteX1651" fmla="*/ 6659625 w 12139750"/>
              <a:gd name="connsiteY1651" fmla="*/ 4293654 h 6858290"/>
              <a:gd name="connsiteX1652" fmla="*/ 6678689 w 12139750"/>
              <a:gd name="connsiteY1652" fmla="*/ 4259445 h 6858290"/>
              <a:gd name="connsiteX1653" fmla="*/ 7016136 w 12139750"/>
              <a:gd name="connsiteY1653" fmla="*/ 4075094 h 6858290"/>
              <a:gd name="connsiteX1654" fmla="*/ 7045448 w 12139750"/>
              <a:gd name="connsiteY1654" fmla="*/ 4072718 h 6858290"/>
              <a:gd name="connsiteX1655" fmla="*/ 6500048 w 12139750"/>
              <a:gd name="connsiteY1655" fmla="*/ 4065063 h 6858290"/>
              <a:gd name="connsiteX1656" fmla="*/ 6523112 w 12139750"/>
              <a:gd name="connsiteY1656" fmla="*/ 4084421 h 6858290"/>
              <a:gd name="connsiteX1657" fmla="*/ 6505992 w 12139750"/>
              <a:gd name="connsiteY1657" fmla="*/ 4137956 h 6858290"/>
              <a:gd name="connsiteX1658" fmla="*/ 6167407 w 12139750"/>
              <a:gd name="connsiteY1658" fmla="*/ 4310032 h 6858290"/>
              <a:gd name="connsiteX1659" fmla="*/ 6114146 w 12139750"/>
              <a:gd name="connsiteY1659" fmla="*/ 4292824 h 6858290"/>
              <a:gd name="connsiteX1660" fmla="*/ 6110342 w 12139750"/>
              <a:gd name="connsiteY1660" fmla="*/ 4273705 h 6858290"/>
              <a:gd name="connsiteX1661" fmla="*/ 6131266 w 12139750"/>
              <a:gd name="connsiteY1661" fmla="*/ 4239290 h 6858290"/>
              <a:gd name="connsiteX1662" fmla="*/ 6469851 w 12139750"/>
              <a:gd name="connsiteY1662" fmla="*/ 4067214 h 6858290"/>
              <a:gd name="connsiteX1663" fmla="*/ 6500048 w 12139750"/>
              <a:gd name="connsiteY1663" fmla="*/ 4065063 h 6858290"/>
              <a:gd name="connsiteX1664" fmla="*/ 5941057 w 12139750"/>
              <a:gd name="connsiteY1664" fmla="*/ 4054783 h 6858290"/>
              <a:gd name="connsiteX1665" fmla="*/ 5980168 w 12139750"/>
              <a:gd name="connsiteY1665" fmla="*/ 4078685 h 6858290"/>
              <a:gd name="connsiteX1666" fmla="*/ 5961118 w 12139750"/>
              <a:gd name="connsiteY1666" fmla="*/ 4135978 h 6858290"/>
              <a:gd name="connsiteX1667" fmla="*/ 5622031 w 12139750"/>
              <a:gd name="connsiteY1667" fmla="*/ 4292580 h 6858290"/>
              <a:gd name="connsiteX1668" fmla="*/ 5564881 w 12139750"/>
              <a:gd name="connsiteY1668" fmla="*/ 4271572 h 6858290"/>
              <a:gd name="connsiteX1669" fmla="*/ 5561071 w 12139750"/>
              <a:gd name="connsiteY1669" fmla="*/ 4254384 h 6858290"/>
              <a:gd name="connsiteX1670" fmla="*/ 5585836 w 12139750"/>
              <a:gd name="connsiteY1670" fmla="*/ 4216189 h 6858290"/>
              <a:gd name="connsiteX1671" fmla="*/ 5924923 w 12139750"/>
              <a:gd name="connsiteY1671" fmla="*/ 4059588 h 6858290"/>
              <a:gd name="connsiteX1672" fmla="*/ 5941057 w 12139750"/>
              <a:gd name="connsiteY1672" fmla="*/ 4054783 h 6858290"/>
              <a:gd name="connsiteX1673" fmla="*/ 383168 w 12139750"/>
              <a:gd name="connsiteY1673" fmla="*/ 4054783 h 6858290"/>
              <a:gd name="connsiteX1674" fmla="*/ 422281 w 12139750"/>
              <a:gd name="connsiteY1674" fmla="*/ 4078685 h 6858290"/>
              <a:gd name="connsiteX1675" fmla="*/ 401325 w 12139750"/>
              <a:gd name="connsiteY1675" fmla="*/ 4135978 h 6858290"/>
              <a:gd name="connsiteX1676" fmla="*/ 62231 w 12139750"/>
              <a:gd name="connsiteY1676" fmla="*/ 4292580 h 6858290"/>
              <a:gd name="connsiteX1677" fmla="*/ 6986 w 12139750"/>
              <a:gd name="connsiteY1677" fmla="*/ 4271572 h 6858290"/>
              <a:gd name="connsiteX1678" fmla="*/ 3175 w 12139750"/>
              <a:gd name="connsiteY1678" fmla="*/ 4254384 h 6858290"/>
              <a:gd name="connsiteX1679" fmla="*/ 27941 w 12139750"/>
              <a:gd name="connsiteY1679" fmla="*/ 4216189 h 6858290"/>
              <a:gd name="connsiteX1680" fmla="*/ 367035 w 12139750"/>
              <a:gd name="connsiteY1680" fmla="*/ 4059588 h 6858290"/>
              <a:gd name="connsiteX1681" fmla="*/ 383168 w 12139750"/>
              <a:gd name="connsiteY1681" fmla="*/ 4054783 h 6858290"/>
              <a:gd name="connsiteX1682" fmla="*/ 5394100 w 12139750"/>
              <a:gd name="connsiteY1682" fmla="*/ 4046339 h 6858290"/>
              <a:gd name="connsiteX1683" fmla="*/ 5435653 w 12139750"/>
              <a:gd name="connsiteY1683" fmla="*/ 4072660 h 6858290"/>
              <a:gd name="connsiteX1684" fmla="*/ 5410869 w 12139750"/>
              <a:gd name="connsiteY1684" fmla="*/ 4131869 h 6858290"/>
              <a:gd name="connsiteX1685" fmla="*/ 5071527 w 12139750"/>
              <a:gd name="connsiteY1685" fmla="*/ 4275116 h 6858290"/>
              <a:gd name="connsiteX1686" fmla="*/ 5012435 w 12139750"/>
              <a:gd name="connsiteY1686" fmla="*/ 4252196 h 6858290"/>
              <a:gd name="connsiteX1687" fmla="*/ 5008622 w 12139750"/>
              <a:gd name="connsiteY1687" fmla="*/ 4235007 h 6858290"/>
              <a:gd name="connsiteX1688" fmla="*/ 5037216 w 12139750"/>
              <a:gd name="connsiteY1688" fmla="*/ 4192988 h 6858290"/>
              <a:gd name="connsiteX1689" fmla="*/ 5376554 w 12139750"/>
              <a:gd name="connsiteY1689" fmla="*/ 4049741 h 6858290"/>
              <a:gd name="connsiteX1690" fmla="*/ 5394100 w 12139750"/>
              <a:gd name="connsiteY1690" fmla="*/ 4046339 h 6858290"/>
              <a:gd name="connsiteX1691" fmla="*/ 926784 w 12139750"/>
              <a:gd name="connsiteY1691" fmla="*/ 4046338 h 6858290"/>
              <a:gd name="connsiteX1692" fmla="*/ 968368 w 12139750"/>
              <a:gd name="connsiteY1692" fmla="*/ 4072660 h 6858290"/>
              <a:gd name="connsiteX1693" fmla="*/ 945475 w 12139750"/>
              <a:gd name="connsiteY1693" fmla="*/ 4131869 h 6858290"/>
              <a:gd name="connsiteX1694" fmla="*/ 603977 w 12139750"/>
              <a:gd name="connsiteY1694" fmla="*/ 4275116 h 6858290"/>
              <a:gd name="connsiteX1695" fmla="*/ 544835 w 12139750"/>
              <a:gd name="connsiteY1695" fmla="*/ 4252196 h 6858290"/>
              <a:gd name="connsiteX1696" fmla="*/ 542927 w 12139750"/>
              <a:gd name="connsiteY1696" fmla="*/ 4235007 h 6858290"/>
              <a:gd name="connsiteX1697" fmla="*/ 569637 w 12139750"/>
              <a:gd name="connsiteY1697" fmla="*/ 4192988 h 6858290"/>
              <a:gd name="connsiteX1698" fmla="*/ 909226 w 12139750"/>
              <a:gd name="connsiteY1698" fmla="*/ 4049741 h 6858290"/>
              <a:gd name="connsiteX1699" fmla="*/ 926784 w 12139750"/>
              <a:gd name="connsiteY1699" fmla="*/ 4046338 h 6858290"/>
              <a:gd name="connsiteX1700" fmla="*/ 4823917 w 12139750"/>
              <a:gd name="connsiteY1700" fmla="*/ 4041420 h 6858290"/>
              <a:gd name="connsiteX1701" fmla="*/ 4884800 w 12139750"/>
              <a:gd name="connsiteY1701" fmla="*/ 4069841 h 6858290"/>
              <a:gd name="connsiteX1702" fmla="*/ 4856262 w 12139750"/>
              <a:gd name="connsiteY1702" fmla="*/ 4130474 h 6858290"/>
              <a:gd name="connsiteX1703" fmla="*/ 4515758 w 12139750"/>
              <a:gd name="connsiteY1703" fmla="*/ 4259317 h 6858290"/>
              <a:gd name="connsiteX1704" fmla="*/ 4454884 w 12139750"/>
              <a:gd name="connsiteY1704" fmla="*/ 4230896 h 6858290"/>
              <a:gd name="connsiteX1705" fmla="*/ 4452982 w 12139750"/>
              <a:gd name="connsiteY1705" fmla="*/ 4215738 h 6858290"/>
              <a:gd name="connsiteX1706" fmla="*/ 4483419 w 12139750"/>
              <a:gd name="connsiteY1706" fmla="*/ 4170263 h 6858290"/>
              <a:gd name="connsiteX1707" fmla="*/ 4823917 w 12139750"/>
              <a:gd name="connsiteY1707" fmla="*/ 4041420 h 6858290"/>
              <a:gd name="connsiteX1708" fmla="*/ 1458388 w 12139750"/>
              <a:gd name="connsiteY1708" fmla="*/ 4041420 h 6858290"/>
              <a:gd name="connsiteX1709" fmla="*/ 1519261 w 12139750"/>
              <a:gd name="connsiteY1709" fmla="*/ 4069841 h 6858290"/>
              <a:gd name="connsiteX1710" fmla="*/ 1492629 w 12139750"/>
              <a:gd name="connsiteY1710" fmla="*/ 4130474 h 6858290"/>
              <a:gd name="connsiteX1711" fmla="*/ 1152120 w 12139750"/>
              <a:gd name="connsiteY1711" fmla="*/ 4259317 h 6858290"/>
              <a:gd name="connsiteX1712" fmla="*/ 1091247 w 12139750"/>
              <a:gd name="connsiteY1712" fmla="*/ 4230896 h 6858290"/>
              <a:gd name="connsiteX1713" fmla="*/ 1087442 w 12139750"/>
              <a:gd name="connsiteY1713" fmla="*/ 4215738 h 6858290"/>
              <a:gd name="connsiteX1714" fmla="*/ 1117879 w 12139750"/>
              <a:gd name="connsiteY1714" fmla="*/ 4170263 h 6858290"/>
              <a:gd name="connsiteX1715" fmla="*/ 1458388 w 12139750"/>
              <a:gd name="connsiteY1715" fmla="*/ 4041420 h 6858290"/>
              <a:gd name="connsiteX1716" fmla="*/ 4286101 w 12139750"/>
              <a:gd name="connsiteY1716" fmla="*/ 4031102 h 6858290"/>
              <a:gd name="connsiteX1717" fmla="*/ 4329117 w 12139750"/>
              <a:gd name="connsiteY1717" fmla="*/ 4064321 h 6858290"/>
              <a:gd name="connsiteX1718" fmla="*/ 4298528 w 12139750"/>
              <a:gd name="connsiteY1718" fmla="*/ 4127186 h 6858290"/>
              <a:gd name="connsiteX1719" fmla="*/ 3956339 w 12139750"/>
              <a:gd name="connsiteY1719" fmla="*/ 4243391 h 6858290"/>
              <a:gd name="connsiteX1720" fmla="*/ 3893249 w 12139750"/>
              <a:gd name="connsiteY1720" fmla="*/ 4212911 h 6858290"/>
              <a:gd name="connsiteX1721" fmla="*/ 3889424 w 12139750"/>
              <a:gd name="connsiteY1721" fmla="*/ 4195766 h 6858290"/>
              <a:gd name="connsiteX1722" fmla="*/ 3923838 w 12139750"/>
              <a:gd name="connsiteY1722" fmla="*/ 4150046 h 6858290"/>
              <a:gd name="connsiteX1723" fmla="*/ 4266027 w 12139750"/>
              <a:gd name="connsiteY1723" fmla="*/ 4033841 h 6858290"/>
              <a:gd name="connsiteX1724" fmla="*/ 4286101 w 12139750"/>
              <a:gd name="connsiteY1724" fmla="*/ 4031102 h 6858290"/>
              <a:gd name="connsiteX1725" fmla="*/ 2031406 w 12139750"/>
              <a:gd name="connsiteY1725" fmla="*/ 4031102 h 6858290"/>
              <a:gd name="connsiteX1726" fmla="*/ 2075220 w 12139750"/>
              <a:gd name="connsiteY1726" fmla="*/ 4064321 h 6858290"/>
              <a:gd name="connsiteX1727" fmla="*/ 2042922 w 12139750"/>
              <a:gd name="connsiteY1727" fmla="*/ 4127186 h 6858290"/>
              <a:gd name="connsiteX1728" fmla="*/ 1702894 w 12139750"/>
              <a:gd name="connsiteY1728" fmla="*/ 4243391 h 6858290"/>
              <a:gd name="connsiteX1729" fmla="*/ 1640208 w 12139750"/>
              <a:gd name="connsiteY1729" fmla="*/ 4212911 h 6858290"/>
              <a:gd name="connsiteX1730" fmla="*/ 1638308 w 12139750"/>
              <a:gd name="connsiteY1730" fmla="*/ 4195766 h 6858290"/>
              <a:gd name="connsiteX1731" fmla="*/ 1670601 w 12139750"/>
              <a:gd name="connsiteY1731" fmla="*/ 4150046 h 6858290"/>
              <a:gd name="connsiteX1732" fmla="*/ 2012528 w 12139750"/>
              <a:gd name="connsiteY1732" fmla="*/ 4033841 h 6858290"/>
              <a:gd name="connsiteX1733" fmla="*/ 2031406 w 12139750"/>
              <a:gd name="connsiteY1733" fmla="*/ 4031102 h 6858290"/>
              <a:gd name="connsiteX1734" fmla="*/ 3725865 w 12139750"/>
              <a:gd name="connsiteY1734" fmla="*/ 4022421 h 6858290"/>
              <a:gd name="connsiteX1735" fmla="*/ 3770669 w 12139750"/>
              <a:gd name="connsiteY1735" fmla="*/ 4060194 h 6858290"/>
              <a:gd name="connsiteX1736" fmla="*/ 3734419 w 12139750"/>
              <a:gd name="connsiteY1736" fmla="*/ 4124964 h 6858290"/>
              <a:gd name="connsiteX1737" fmla="*/ 3391050 w 12139750"/>
              <a:gd name="connsiteY1737" fmla="*/ 4225929 h 6858290"/>
              <a:gd name="connsiteX1738" fmla="*/ 3326186 w 12139750"/>
              <a:gd name="connsiteY1738" fmla="*/ 4191639 h 6858290"/>
              <a:gd name="connsiteX1739" fmla="*/ 3324277 w 12139750"/>
              <a:gd name="connsiteY1739" fmla="*/ 4176399 h 6858290"/>
              <a:gd name="connsiteX1740" fmla="*/ 3362431 w 12139750"/>
              <a:gd name="connsiteY1740" fmla="*/ 4126869 h 6858290"/>
              <a:gd name="connsiteX1741" fmla="*/ 3705802 w 12139750"/>
              <a:gd name="connsiteY1741" fmla="*/ 4023999 h 6858290"/>
              <a:gd name="connsiteX1742" fmla="*/ 3725865 w 12139750"/>
              <a:gd name="connsiteY1742" fmla="*/ 4022421 h 6858290"/>
              <a:gd name="connsiteX1743" fmla="*/ 2590959 w 12139750"/>
              <a:gd name="connsiteY1743" fmla="*/ 4022421 h 6858290"/>
              <a:gd name="connsiteX1744" fmla="*/ 2635603 w 12139750"/>
              <a:gd name="connsiteY1744" fmla="*/ 4060194 h 6858290"/>
              <a:gd name="connsiteX1745" fmla="*/ 2599484 w 12139750"/>
              <a:gd name="connsiteY1745" fmla="*/ 4124964 h 6858290"/>
              <a:gd name="connsiteX1746" fmla="*/ 2257300 w 12139750"/>
              <a:gd name="connsiteY1746" fmla="*/ 4225929 h 6858290"/>
              <a:gd name="connsiteX1747" fmla="*/ 2192666 w 12139750"/>
              <a:gd name="connsiteY1747" fmla="*/ 4191639 h 6858290"/>
              <a:gd name="connsiteX1748" fmla="*/ 2190765 w 12139750"/>
              <a:gd name="connsiteY1748" fmla="*/ 4176399 h 6858290"/>
              <a:gd name="connsiteX1749" fmla="*/ 2228785 w 12139750"/>
              <a:gd name="connsiteY1749" fmla="*/ 4126869 h 6858290"/>
              <a:gd name="connsiteX1750" fmla="*/ 2570968 w 12139750"/>
              <a:gd name="connsiteY1750" fmla="*/ 4023999 h 6858290"/>
              <a:gd name="connsiteX1751" fmla="*/ 2590959 w 12139750"/>
              <a:gd name="connsiteY1751" fmla="*/ 4022421 h 6858290"/>
              <a:gd name="connsiteX1752" fmla="*/ 3155345 w 12139750"/>
              <a:gd name="connsiteY1752" fmla="*/ 4014781 h 6858290"/>
              <a:gd name="connsiteX1753" fmla="*/ 3200742 w 12139750"/>
              <a:gd name="connsiteY1753" fmla="*/ 4054161 h 6858290"/>
              <a:gd name="connsiteX1754" fmla="*/ 3160628 w 12139750"/>
              <a:gd name="connsiteY1754" fmla="*/ 4120836 h 6858290"/>
              <a:gd name="connsiteX1755" fmla="*/ 2816774 w 12139750"/>
              <a:gd name="connsiteY1755" fmla="*/ 4210371 h 6858290"/>
              <a:gd name="connsiteX1756" fmla="*/ 2749912 w 12139750"/>
              <a:gd name="connsiteY1756" fmla="*/ 4170366 h 6858290"/>
              <a:gd name="connsiteX1757" fmla="*/ 2748004 w 12139750"/>
              <a:gd name="connsiteY1757" fmla="*/ 4157031 h 6858290"/>
              <a:gd name="connsiteX1758" fmla="*/ 2788118 w 12139750"/>
              <a:gd name="connsiteY1758" fmla="*/ 4103691 h 6858290"/>
              <a:gd name="connsiteX1759" fmla="*/ 3133884 w 12139750"/>
              <a:gd name="connsiteY1759" fmla="*/ 4016061 h 6858290"/>
              <a:gd name="connsiteX1760" fmla="*/ 3155345 w 12139750"/>
              <a:gd name="connsiteY1760" fmla="*/ 4014781 h 6858290"/>
              <a:gd name="connsiteX1761" fmla="*/ 9861718 w 12139750"/>
              <a:gd name="connsiteY1761" fmla="*/ 3784929 h 6858290"/>
              <a:gd name="connsiteX1762" fmla="*/ 9876255 w 12139750"/>
              <a:gd name="connsiteY1762" fmla="*/ 3792579 h 6858290"/>
              <a:gd name="connsiteX1763" fmla="*/ 9872442 w 12139750"/>
              <a:gd name="connsiteY1763" fmla="*/ 3823182 h 6858290"/>
              <a:gd name="connsiteX1764" fmla="*/ 9540690 w 12139750"/>
              <a:gd name="connsiteY1764" fmla="*/ 4092865 h 6858290"/>
              <a:gd name="connsiteX1765" fmla="*/ 9510184 w 12139750"/>
              <a:gd name="connsiteY1765" fmla="*/ 4089040 h 6858290"/>
              <a:gd name="connsiteX1766" fmla="*/ 9504464 w 12139750"/>
              <a:gd name="connsiteY1766" fmla="*/ 4075651 h 6858290"/>
              <a:gd name="connsiteX1767" fmla="*/ 9513997 w 12139750"/>
              <a:gd name="connsiteY1767" fmla="*/ 4058438 h 6858290"/>
              <a:gd name="connsiteX1768" fmla="*/ 9845750 w 12139750"/>
              <a:gd name="connsiteY1768" fmla="*/ 3788754 h 6858290"/>
              <a:gd name="connsiteX1769" fmla="*/ 9861718 w 12139750"/>
              <a:gd name="connsiteY1769" fmla="*/ 3784929 h 6858290"/>
              <a:gd name="connsiteX1770" fmla="*/ 10445981 w 12139750"/>
              <a:gd name="connsiteY1770" fmla="*/ 3777074 h 6858290"/>
              <a:gd name="connsiteX1771" fmla="*/ 10461723 w 12139750"/>
              <a:gd name="connsiteY1771" fmla="*/ 3786867 h 6858290"/>
              <a:gd name="connsiteX1772" fmla="*/ 10457907 w 12139750"/>
              <a:gd name="connsiteY1772" fmla="*/ 3821263 h 6858290"/>
              <a:gd name="connsiteX1773" fmla="*/ 10123980 w 12139750"/>
              <a:gd name="connsiteY1773" fmla="*/ 4075410 h 6858290"/>
              <a:gd name="connsiteX1774" fmla="*/ 10089633 w 12139750"/>
              <a:gd name="connsiteY1774" fmla="*/ 4069678 h 6858290"/>
              <a:gd name="connsiteX1775" fmla="*/ 10083909 w 12139750"/>
              <a:gd name="connsiteY1775" fmla="*/ 4054391 h 6858290"/>
              <a:gd name="connsiteX1776" fmla="*/ 10093450 w 12139750"/>
              <a:gd name="connsiteY1776" fmla="*/ 4035282 h 6858290"/>
              <a:gd name="connsiteX1777" fmla="*/ 10427377 w 12139750"/>
              <a:gd name="connsiteY1777" fmla="*/ 3783045 h 6858290"/>
              <a:gd name="connsiteX1778" fmla="*/ 10445981 w 12139750"/>
              <a:gd name="connsiteY1778" fmla="*/ 3777074 h 6858290"/>
              <a:gd name="connsiteX1779" fmla="*/ 9284313 w 12139750"/>
              <a:gd name="connsiteY1779" fmla="*/ 3777074 h 6858290"/>
              <a:gd name="connsiteX1780" fmla="*/ 9300003 w 12139750"/>
              <a:gd name="connsiteY1780" fmla="*/ 3786867 h 6858290"/>
              <a:gd name="connsiteX1781" fmla="*/ 9296200 w 12139750"/>
              <a:gd name="connsiteY1781" fmla="*/ 3821263 h 6858290"/>
              <a:gd name="connsiteX1782" fmla="*/ 8963371 w 12139750"/>
              <a:gd name="connsiteY1782" fmla="*/ 4075410 h 6858290"/>
              <a:gd name="connsiteX1783" fmla="*/ 8929137 w 12139750"/>
              <a:gd name="connsiteY1783" fmla="*/ 4069678 h 6858290"/>
              <a:gd name="connsiteX1784" fmla="*/ 8923431 w 12139750"/>
              <a:gd name="connsiteY1784" fmla="*/ 4054391 h 6858290"/>
              <a:gd name="connsiteX1785" fmla="*/ 8932940 w 12139750"/>
              <a:gd name="connsiteY1785" fmla="*/ 4035282 h 6858290"/>
              <a:gd name="connsiteX1786" fmla="*/ 9265770 w 12139750"/>
              <a:gd name="connsiteY1786" fmla="*/ 3783045 h 6858290"/>
              <a:gd name="connsiteX1787" fmla="*/ 9284313 w 12139750"/>
              <a:gd name="connsiteY1787" fmla="*/ 3777074 h 6858290"/>
              <a:gd name="connsiteX1788" fmla="*/ 8714826 w 12139750"/>
              <a:gd name="connsiteY1788" fmla="*/ 3771656 h 6858290"/>
              <a:gd name="connsiteX1789" fmla="*/ 8733221 w 12139750"/>
              <a:gd name="connsiteY1789" fmla="*/ 3782349 h 6858290"/>
              <a:gd name="connsiteX1790" fmla="*/ 8725577 w 12139750"/>
              <a:gd name="connsiteY1790" fmla="*/ 3820368 h 6858290"/>
              <a:gd name="connsiteX1791" fmla="*/ 8391118 w 12139750"/>
              <a:gd name="connsiteY1791" fmla="*/ 4056086 h 6858290"/>
              <a:gd name="connsiteX1792" fmla="*/ 8352895 w 12139750"/>
              <a:gd name="connsiteY1792" fmla="*/ 4050383 h 6858290"/>
              <a:gd name="connsiteX1793" fmla="*/ 8347161 w 12139750"/>
              <a:gd name="connsiteY1793" fmla="*/ 4035176 h 6858290"/>
              <a:gd name="connsiteX1794" fmla="*/ 8358628 w 12139750"/>
              <a:gd name="connsiteY1794" fmla="*/ 4012364 h 6858290"/>
              <a:gd name="connsiteX1795" fmla="*/ 8694997 w 12139750"/>
              <a:gd name="connsiteY1795" fmla="*/ 3776646 h 6858290"/>
              <a:gd name="connsiteX1796" fmla="*/ 8714826 w 12139750"/>
              <a:gd name="connsiteY1796" fmla="*/ 3771656 h 6858290"/>
              <a:gd name="connsiteX1797" fmla="*/ 11022950 w 12139750"/>
              <a:gd name="connsiteY1797" fmla="*/ 3771656 h 6858290"/>
              <a:gd name="connsiteX1798" fmla="*/ 11041509 w 12139750"/>
              <a:gd name="connsiteY1798" fmla="*/ 3782349 h 6858290"/>
              <a:gd name="connsiteX1799" fmla="*/ 11033895 w 12139750"/>
              <a:gd name="connsiteY1799" fmla="*/ 3820368 h 6858290"/>
              <a:gd name="connsiteX1800" fmla="*/ 10700785 w 12139750"/>
              <a:gd name="connsiteY1800" fmla="*/ 4056086 h 6858290"/>
              <a:gd name="connsiteX1801" fmla="*/ 10662715 w 12139750"/>
              <a:gd name="connsiteY1801" fmla="*/ 4050383 h 6858290"/>
              <a:gd name="connsiteX1802" fmla="*/ 10657005 w 12139750"/>
              <a:gd name="connsiteY1802" fmla="*/ 4035176 h 6858290"/>
              <a:gd name="connsiteX1803" fmla="*/ 10668426 w 12139750"/>
              <a:gd name="connsiteY1803" fmla="*/ 4012364 h 6858290"/>
              <a:gd name="connsiteX1804" fmla="*/ 11001536 w 12139750"/>
              <a:gd name="connsiteY1804" fmla="*/ 3776646 h 6858290"/>
              <a:gd name="connsiteX1805" fmla="*/ 11022950 w 12139750"/>
              <a:gd name="connsiteY1805" fmla="*/ 3771656 h 6858290"/>
              <a:gd name="connsiteX1806" fmla="*/ 8151418 w 12139750"/>
              <a:gd name="connsiteY1806" fmla="*/ 3763955 h 6858290"/>
              <a:gd name="connsiteX1807" fmla="*/ 8170945 w 12139750"/>
              <a:gd name="connsiteY1807" fmla="*/ 3776310 h 6858290"/>
              <a:gd name="connsiteX1808" fmla="*/ 8161420 w 12139750"/>
              <a:gd name="connsiteY1808" fmla="*/ 3820029 h 6858290"/>
              <a:gd name="connsiteX1809" fmla="*/ 7826135 w 12139750"/>
              <a:gd name="connsiteY1809" fmla="*/ 4038624 h 6858290"/>
              <a:gd name="connsiteX1810" fmla="*/ 7784225 w 12139750"/>
              <a:gd name="connsiteY1810" fmla="*/ 4031020 h 6858290"/>
              <a:gd name="connsiteX1811" fmla="*/ 7780415 w 12139750"/>
              <a:gd name="connsiteY1811" fmla="*/ 4013913 h 6858290"/>
              <a:gd name="connsiteX1812" fmla="*/ 7793750 w 12139750"/>
              <a:gd name="connsiteY1812" fmla="*/ 3987302 h 6858290"/>
              <a:gd name="connsiteX1813" fmla="*/ 8129034 w 12139750"/>
              <a:gd name="connsiteY1813" fmla="*/ 3768707 h 6858290"/>
              <a:gd name="connsiteX1814" fmla="*/ 8151418 w 12139750"/>
              <a:gd name="connsiteY1814" fmla="*/ 3763955 h 6858290"/>
              <a:gd name="connsiteX1815" fmla="*/ 11596182 w 12139750"/>
              <a:gd name="connsiteY1815" fmla="*/ 3763955 h 6858290"/>
              <a:gd name="connsiteX1816" fmla="*/ 11614280 w 12139750"/>
              <a:gd name="connsiteY1816" fmla="*/ 3776310 h 6858290"/>
              <a:gd name="connsiteX1817" fmla="*/ 11606660 w 12139750"/>
              <a:gd name="connsiteY1817" fmla="*/ 3820029 h 6858290"/>
              <a:gd name="connsiteX1818" fmla="*/ 11271376 w 12139750"/>
              <a:gd name="connsiteY1818" fmla="*/ 4038624 h 6858290"/>
              <a:gd name="connsiteX1819" fmla="*/ 11229465 w 12139750"/>
              <a:gd name="connsiteY1819" fmla="*/ 4031020 h 6858290"/>
              <a:gd name="connsiteX1820" fmla="*/ 11223750 w 12139750"/>
              <a:gd name="connsiteY1820" fmla="*/ 4013913 h 6858290"/>
              <a:gd name="connsiteX1821" fmla="*/ 11237085 w 12139750"/>
              <a:gd name="connsiteY1821" fmla="*/ 3987302 h 6858290"/>
              <a:gd name="connsiteX1822" fmla="*/ 11572369 w 12139750"/>
              <a:gd name="connsiteY1822" fmla="*/ 3768707 h 6858290"/>
              <a:gd name="connsiteX1823" fmla="*/ 11596182 w 12139750"/>
              <a:gd name="connsiteY1823" fmla="*/ 3763955 h 6858290"/>
              <a:gd name="connsiteX1824" fmla="*/ 12139750 w 12139750"/>
              <a:gd name="connsiteY1824" fmla="*/ 3759203 h 6858290"/>
              <a:gd name="connsiteX1825" fmla="*/ 12139750 w 12139750"/>
              <a:gd name="connsiteY1825" fmla="*/ 3835137 h 6858290"/>
              <a:gd name="connsiteX1826" fmla="*/ 11835489 w 12139750"/>
              <a:gd name="connsiteY1826" fmla="*/ 4021174 h 6858290"/>
              <a:gd name="connsiteX1827" fmla="*/ 11789850 w 12139750"/>
              <a:gd name="connsiteY1827" fmla="*/ 4009784 h 6858290"/>
              <a:gd name="connsiteX1828" fmla="*/ 11784145 w 12139750"/>
              <a:gd name="connsiteY1828" fmla="*/ 3992699 h 6858290"/>
              <a:gd name="connsiteX1829" fmla="*/ 11799358 w 12139750"/>
              <a:gd name="connsiteY1829" fmla="*/ 3964224 h 6858290"/>
              <a:gd name="connsiteX1830" fmla="*/ 12135947 w 12139750"/>
              <a:gd name="connsiteY1830" fmla="*/ 3761101 h 6858290"/>
              <a:gd name="connsiteX1831" fmla="*/ 12139750 w 12139750"/>
              <a:gd name="connsiteY1831" fmla="*/ 3759203 h 6858290"/>
              <a:gd name="connsiteX1832" fmla="*/ 7593700 w 12139750"/>
              <a:gd name="connsiteY1832" fmla="*/ 3756493 h 6858290"/>
              <a:gd name="connsiteX1833" fmla="*/ 7613718 w 12139750"/>
              <a:gd name="connsiteY1833" fmla="*/ 3772173 h 6858290"/>
              <a:gd name="connsiteX1834" fmla="*/ 7604186 w 12139750"/>
              <a:gd name="connsiteY1834" fmla="*/ 3817790 h 6858290"/>
              <a:gd name="connsiteX1835" fmla="*/ 7266734 w 12139750"/>
              <a:gd name="connsiteY1835" fmla="*/ 4021162 h 6858290"/>
              <a:gd name="connsiteX1836" fmla="*/ 7220977 w 12139750"/>
              <a:gd name="connsiteY1836" fmla="*/ 4009758 h 6858290"/>
              <a:gd name="connsiteX1837" fmla="*/ 7215258 w 12139750"/>
              <a:gd name="connsiteY1837" fmla="*/ 3992652 h 6858290"/>
              <a:gd name="connsiteX1838" fmla="*/ 7232416 w 12139750"/>
              <a:gd name="connsiteY1838" fmla="*/ 3964142 h 6858290"/>
              <a:gd name="connsiteX1839" fmla="*/ 7567962 w 12139750"/>
              <a:gd name="connsiteY1839" fmla="*/ 3760769 h 6858290"/>
              <a:gd name="connsiteX1840" fmla="*/ 7593700 w 12139750"/>
              <a:gd name="connsiteY1840" fmla="*/ 3756493 h 6858290"/>
              <a:gd name="connsiteX1841" fmla="*/ 7044469 w 12139750"/>
              <a:gd name="connsiteY1841" fmla="*/ 3749140 h 6858290"/>
              <a:gd name="connsiteX1842" fmla="*/ 7065695 w 12139750"/>
              <a:gd name="connsiteY1842" fmla="*/ 3766564 h 6858290"/>
              <a:gd name="connsiteX1843" fmla="*/ 7052340 w 12139750"/>
              <a:gd name="connsiteY1843" fmla="*/ 3816209 h 6858290"/>
              <a:gd name="connsiteX1844" fmla="*/ 6714634 w 12139750"/>
              <a:gd name="connsiteY1844" fmla="*/ 4005244 h 6858290"/>
              <a:gd name="connsiteX1845" fmla="*/ 6665028 w 12139750"/>
              <a:gd name="connsiteY1845" fmla="*/ 3989968 h 6858290"/>
              <a:gd name="connsiteX1846" fmla="*/ 6661212 w 12139750"/>
              <a:gd name="connsiteY1846" fmla="*/ 3972783 h 6858290"/>
              <a:gd name="connsiteX1847" fmla="*/ 6678383 w 12139750"/>
              <a:gd name="connsiteY1847" fmla="*/ 3940323 h 6858290"/>
              <a:gd name="connsiteX1848" fmla="*/ 7016089 w 12139750"/>
              <a:gd name="connsiteY1848" fmla="*/ 3753198 h 6858290"/>
              <a:gd name="connsiteX1849" fmla="*/ 7044469 w 12139750"/>
              <a:gd name="connsiteY1849" fmla="*/ 3749140 h 6858290"/>
              <a:gd name="connsiteX1850" fmla="*/ 6500048 w 12139750"/>
              <a:gd name="connsiteY1850" fmla="*/ 3741441 h 6858290"/>
              <a:gd name="connsiteX1851" fmla="*/ 6523112 w 12139750"/>
              <a:gd name="connsiteY1851" fmla="*/ 3762447 h 6858290"/>
              <a:gd name="connsiteX1852" fmla="*/ 6505992 w 12139750"/>
              <a:gd name="connsiteY1852" fmla="*/ 3814006 h 6858290"/>
              <a:gd name="connsiteX1853" fmla="*/ 6167407 w 12139750"/>
              <a:gd name="connsiteY1853" fmla="*/ 3987780 h 6858290"/>
              <a:gd name="connsiteX1854" fmla="*/ 6114146 w 12139750"/>
              <a:gd name="connsiteY1854" fmla="*/ 3970593 h 6858290"/>
              <a:gd name="connsiteX1855" fmla="*/ 6110342 w 12139750"/>
              <a:gd name="connsiteY1855" fmla="*/ 3951497 h 6858290"/>
              <a:gd name="connsiteX1856" fmla="*/ 6131266 w 12139750"/>
              <a:gd name="connsiteY1856" fmla="*/ 3917125 h 6858290"/>
              <a:gd name="connsiteX1857" fmla="*/ 6469851 w 12139750"/>
              <a:gd name="connsiteY1857" fmla="*/ 3743351 h 6858290"/>
              <a:gd name="connsiteX1858" fmla="*/ 6500048 w 12139750"/>
              <a:gd name="connsiteY1858" fmla="*/ 3741441 h 6858290"/>
              <a:gd name="connsiteX1859" fmla="*/ 5958238 w 12139750"/>
              <a:gd name="connsiteY1859" fmla="*/ 3734460 h 6858290"/>
              <a:gd name="connsiteX1860" fmla="*/ 5983314 w 12139750"/>
              <a:gd name="connsiteY1860" fmla="*/ 3756422 h 6858290"/>
              <a:gd name="connsiteX1861" fmla="*/ 5962297 w 12139750"/>
              <a:gd name="connsiteY1861" fmla="*/ 3813715 h 6858290"/>
              <a:gd name="connsiteX1862" fmla="*/ 5622210 w 12139750"/>
              <a:gd name="connsiteY1862" fmla="*/ 3970317 h 6858290"/>
              <a:gd name="connsiteX1863" fmla="*/ 5564892 w 12139750"/>
              <a:gd name="connsiteY1863" fmla="*/ 3949309 h 6858290"/>
              <a:gd name="connsiteX1864" fmla="*/ 5561071 w 12139750"/>
              <a:gd name="connsiteY1864" fmla="*/ 3930212 h 6858290"/>
              <a:gd name="connsiteX1865" fmla="*/ 5585909 w 12139750"/>
              <a:gd name="connsiteY1865" fmla="*/ 3892016 h 6858290"/>
              <a:gd name="connsiteX1866" fmla="*/ 5925997 w 12139750"/>
              <a:gd name="connsiteY1866" fmla="*/ 3735415 h 6858290"/>
              <a:gd name="connsiteX1867" fmla="*/ 5958238 w 12139750"/>
              <a:gd name="connsiteY1867" fmla="*/ 3734460 h 6858290"/>
              <a:gd name="connsiteX1868" fmla="*/ 398944 w 12139750"/>
              <a:gd name="connsiteY1868" fmla="*/ 3734460 h 6858290"/>
              <a:gd name="connsiteX1869" fmla="*/ 422280 w 12139750"/>
              <a:gd name="connsiteY1869" fmla="*/ 3756422 h 6858290"/>
              <a:gd name="connsiteX1870" fmla="*/ 401325 w 12139750"/>
              <a:gd name="connsiteY1870" fmla="*/ 3813715 h 6858290"/>
              <a:gd name="connsiteX1871" fmla="*/ 62231 w 12139750"/>
              <a:gd name="connsiteY1871" fmla="*/ 3970317 h 6858290"/>
              <a:gd name="connsiteX1872" fmla="*/ 6986 w 12139750"/>
              <a:gd name="connsiteY1872" fmla="*/ 3949309 h 6858290"/>
              <a:gd name="connsiteX1873" fmla="*/ 3175 w 12139750"/>
              <a:gd name="connsiteY1873" fmla="*/ 3930212 h 6858290"/>
              <a:gd name="connsiteX1874" fmla="*/ 27941 w 12139750"/>
              <a:gd name="connsiteY1874" fmla="*/ 3892016 h 6858290"/>
              <a:gd name="connsiteX1875" fmla="*/ 367035 w 12139750"/>
              <a:gd name="connsiteY1875" fmla="*/ 3735415 h 6858290"/>
              <a:gd name="connsiteX1876" fmla="*/ 398944 w 12139750"/>
              <a:gd name="connsiteY1876" fmla="*/ 3734460 h 6858290"/>
              <a:gd name="connsiteX1877" fmla="*/ 5394100 w 12139750"/>
              <a:gd name="connsiteY1877" fmla="*/ 3725661 h 6858290"/>
              <a:gd name="connsiteX1878" fmla="*/ 5435653 w 12139750"/>
              <a:gd name="connsiteY1878" fmla="*/ 3753716 h 6858290"/>
              <a:gd name="connsiteX1879" fmla="*/ 5410869 w 12139750"/>
              <a:gd name="connsiteY1879" fmla="*/ 3812616 h 6858290"/>
              <a:gd name="connsiteX1880" fmla="*/ 5071527 w 12139750"/>
              <a:gd name="connsiteY1880" fmla="*/ 3951316 h 6858290"/>
              <a:gd name="connsiteX1881" fmla="*/ 5012435 w 12139750"/>
              <a:gd name="connsiteY1881" fmla="*/ 3928516 h 6858290"/>
              <a:gd name="connsiteX1882" fmla="*/ 5008622 w 12139750"/>
              <a:gd name="connsiteY1882" fmla="*/ 3911416 h 6858290"/>
              <a:gd name="connsiteX1883" fmla="*/ 5037216 w 12139750"/>
              <a:gd name="connsiteY1883" fmla="*/ 3869616 h 6858290"/>
              <a:gd name="connsiteX1884" fmla="*/ 5376554 w 12139750"/>
              <a:gd name="connsiteY1884" fmla="*/ 3729016 h 6858290"/>
              <a:gd name="connsiteX1885" fmla="*/ 5394100 w 12139750"/>
              <a:gd name="connsiteY1885" fmla="*/ 3725661 h 6858290"/>
              <a:gd name="connsiteX1886" fmla="*/ 927625 w 12139750"/>
              <a:gd name="connsiteY1886" fmla="*/ 3725661 h 6858290"/>
              <a:gd name="connsiteX1887" fmla="*/ 968374 w 12139750"/>
              <a:gd name="connsiteY1887" fmla="*/ 3753716 h 6858290"/>
              <a:gd name="connsiteX1888" fmla="*/ 945497 w 12139750"/>
              <a:gd name="connsiteY1888" fmla="*/ 3812616 h 6858290"/>
              <a:gd name="connsiteX1889" fmla="*/ 604250 w 12139750"/>
              <a:gd name="connsiteY1889" fmla="*/ 3951316 h 6858290"/>
              <a:gd name="connsiteX1890" fmla="*/ 545152 w 12139750"/>
              <a:gd name="connsiteY1890" fmla="*/ 3928516 h 6858290"/>
              <a:gd name="connsiteX1891" fmla="*/ 541339 w 12139750"/>
              <a:gd name="connsiteY1891" fmla="*/ 3911416 h 6858290"/>
              <a:gd name="connsiteX1892" fmla="*/ 569935 w 12139750"/>
              <a:gd name="connsiteY1892" fmla="*/ 3869616 h 6858290"/>
              <a:gd name="connsiteX1893" fmla="*/ 909276 w 12139750"/>
              <a:gd name="connsiteY1893" fmla="*/ 3729016 h 6858290"/>
              <a:gd name="connsiteX1894" fmla="*/ 927625 w 12139750"/>
              <a:gd name="connsiteY1894" fmla="*/ 3725661 h 6858290"/>
              <a:gd name="connsiteX1895" fmla="*/ 4842646 w 12139750"/>
              <a:gd name="connsiteY1895" fmla="*/ 3718049 h 6858290"/>
              <a:gd name="connsiteX1896" fmla="*/ 4884772 w 12139750"/>
              <a:gd name="connsiteY1896" fmla="*/ 3749574 h 6858290"/>
              <a:gd name="connsiteX1897" fmla="*/ 4856151 w 12139750"/>
              <a:gd name="connsiteY1897" fmla="*/ 3810367 h 6858290"/>
              <a:gd name="connsiteX1898" fmla="*/ 4514669 w 12139750"/>
              <a:gd name="connsiteY1898" fmla="*/ 3933854 h 6858290"/>
              <a:gd name="connsiteX1899" fmla="*/ 4453622 w 12139750"/>
              <a:gd name="connsiteY1899" fmla="*/ 3905357 h 6858290"/>
              <a:gd name="connsiteX1900" fmla="*/ 4449806 w 12139750"/>
              <a:gd name="connsiteY1900" fmla="*/ 3890159 h 6858290"/>
              <a:gd name="connsiteX1901" fmla="*/ 4482239 w 12139750"/>
              <a:gd name="connsiteY1901" fmla="*/ 3844564 h 6858290"/>
              <a:gd name="connsiteX1902" fmla="*/ 4823714 w 12139750"/>
              <a:gd name="connsiteY1902" fmla="*/ 3721077 h 6858290"/>
              <a:gd name="connsiteX1903" fmla="*/ 4842646 w 12139750"/>
              <a:gd name="connsiteY1903" fmla="*/ 3718049 h 6858290"/>
              <a:gd name="connsiteX1904" fmla="*/ 1478619 w 12139750"/>
              <a:gd name="connsiteY1904" fmla="*/ 3718049 h 6858290"/>
              <a:gd name="connsiteX1905" fmla="*/ 1520856 w 12139750"/>
              <a:gd name="connsiteY1905" fmla="*/ 3749574 h 6858290"/>
              <a:gd name="connsiteX1906" fmla="*/ 1492342 w 12139750"/>
              <a:gd name="connsiteY1906" fmla="*/ 3810367 h 6858290"/>
              <a:gd name="connsiteX1907" fmla="*/ 1152074 w 12139750"/>
              <a:gd name="connsiteY1907" fmla="*/ 3933854 h 6858290"/>
              <a:gd name="connsiteX1908" fmla="*/ 1089343 w 12139750"/>
              <a:gd name="connsiteY1908" fmla="*/ 3905357 h 6858290"/>
              <a:gd name="connsiteX1909" fmla="*/ 1087442 w 12139750"/>
              <a:gd name="connsiteY1909" fmla="*/ 3890159 h 6858290"/>
              <a:gd name="connsiteX1910" fmla="*/ 1117857 w 12139750"/>
              <a:gd name="connsiteY1910" fmla="*/ 3844564 h 6858290"/>
              <a:gd name="connsiteX1911" fmla="*/ 1460026 w 12139750"/>
              <a:gd name="connsiteY1911" fmla="*/ 3721077 h 6858290"/>
              <a:gd name="connsiteX1912" fmla="*/ 1478619 w 12139750"/>
              <a:gd name="connsiteY1912" fmla="*/ 3718049 h 6858290"/>
              <a:gd name="connsiteX1913" fmla="*/ 2033482 w 12139750"/>
              <a:gd name="connsiteY1913" fmla="*/ 3710438 h 6858290"/>
              <a:gd name="connsiteX1914" fmla="*/ 2078351 w 12139750"/>
              <a:gd name="connsiteY1914" fmla="*/ 3745431 h 6858290"/>
              <a:gd name="connsiteX1915" fmla="*/ 2043959 w 12139750"/>
              <a:gd name="connsiteY1915" fmla="*/ 3810017 h 6858290"/>
              <a:gd name="connsiteX1916" fmla="*/ 1701997 w 12139750"/>
              <a:gd name="connsiteY1916" fmla="*/ 3916393 h 6858290"/>
              <a:gd name="connsiteX1917" fmla="*/ 1637043 w 12139750"/>
              <a:gd name="connsiteY1917" fmla="*/ 3884100 h 6858290"/>
              <a:gd name="connsiteX1918" fmla="*/ 1635133 w 12139750"/>
              <a:gd name="connsiteY1918" fmla="*/ 3868904 h 6858290"/>
              <a:gd name="connsiteX1919" fmla="*/ 1669520 w 12139750"/>
              <a:gd name="connsiteY1919" fmla="*/ 3819515 h 6858290"/>
              <a:gd name="connsiteX1920" fmla="*/ 2013393 w 12139750"/>
              <a:gd name="connsiteY1920" fmla="*/ 3713139 h 6858290"/>
              <a:gd name="connsiteX1921" fmla="*/ 2033482 w 12139750"/>
              <a:gd name="connsiteY1921" fmla="*/ 3710438 h 6858290"/>
              <a:gd name="connsiteX1922" fmla="*/ 4287765 w 12139750"/>
              <a:gd name="connsiteY1922" fmla="*/ 3710438 h 6858290"/>
              <a:gd name="connsiteX1923" fmla="*/ 4330719 w 12139750"/>
              <a:gd name="connsiteY1923" fmla="*/ 3745431 h 6858290"/>
              <a:gd name="connsiteX1924" fmla="*/ 4298264 w 12139750"/>
              <a:gd name="connsiteY1924" fmla="*/ 3810017 h 6858290"/>
              <a:gd name="connsiteX1925" fmla="*/ 3954657 w 12139750"/>
              <a:gd name="connsiteY1925" fmla="*/ 3916393 h 6858290"/>
              <a:gd name="connsiteX1926" fmla="*/ 3891655 w 12139750"/>
              <a:gd name="connsiteY1926" fmla="*/ 3884100 h 6858290"/>
              <a:gd name="connsiteX1927" fmla="*/ 3887839 w 12139750"/>
              <a:gd name="connsiteY1927" fmla="*/ 3868904 h 6858290"/>
              <a:gd name="connsiteX1928" fmla="*/ 3924112 w 12139750"/>
              <a:gd name="connsiteY1928" fmla="*/ 3819515 h 6858290"/>
              <a:gd name="connsiteX1929" fmla="*/ 4267718 w 12139750"/>
              <a:gd name="connsiteY1929" fmla="*/ 3713139 h 6858290"/>
              <a:gd name="connsiteX1930" fmla="*/ 4287765 w 12139750"/>
              <a:gd name="connsiteY1930" fmla="*/ 3710438 h 6858290"/>
              <a:gd name="connsiteX1931" fmla="*/ 3726990 w 12139750"/>
              <a:gd name="connsiteY1931" fmla="*/ 3702866 h 6858290"/>
              <a:gd name="connsiteX1932" fmla="*/ 3772266 w 12139750"/>
              <a:gd name="connsiteY1932" fmla="*/ 3743256 h 6858290"/>
              <a:gd name="connsiteX1933" fmla="*/ 3734163 w 12139750"/>
              <a:gd name="connsiteY1933" fmla="*/ 3807929 h 6858290"/>
              <a:gd name="connsiteX1934" fmla="*/ 3391272 w 12139750"/>
              <a:gd name="connsiteY1934" fmla="*/ 3899232 h 6858290"/>
              <a:gd name="connsiteX1935" fmla="*/ 3324595 w 12139750"/>
              <a:gd name="connsiteY1935" fmla="*/ 3861189 h 6858290"/>
              <a:gd name="connsiteX1936" fmla="*/ 3322690 w 12139750"/>
              <a:gd name="connsiteY1936" fmla="*/ 3847874 h 6858290"/>
              <a:gd name="connsiteX1937" fmla="*/ 3362695 w 12139750"/>
              <a:gd name="connsiteY1937" fmla="*/ 3796517 h 6858290"/>
              <a:gd name="connsiteX1938" fmla="*/ 3705586 w 12139750"/>
              <a:gd name="connsiteY1938" fmla="*/ 3705214 h 6858290"/>
              <a:gd name="connsiteX1939" fmla="*/ 3726990 w 12139750"/>
              <a:gd name="connsiteY1939" fmla="*/ 3702866 h 6858290"/>
              <a:gd name="connsiteX1940" fmla="*/ 2593305 w 12139750"/>
              <a:gd name="connsiteY1940" fmla="*/ 3702866 h 6858290"/>
              <a:gd name="connsiteX1941" fmla="*/ 2638736 w 12139750"/>
              <a:gd name="connsiteY1941" fmla="*/ 3743256 h 6858290"/>
              <a:gd name="connsiteX1942" fmla="*/ 2600503 w 12139750"/>
              <a:gd name="connsiteY1942" fmla="*/ 3807929 h 6858290"/>
              <a:gd name="connsiteX1943" fmla="*/ 2256408 w 12139750"/>
              <a:gd name="connsiteY1943" fmla="*/ 3899232 h 6858290"/>
              <a:gd name="connsiteX1944" fmla="*/ 2189501 w 12139750"/>
              <a:gd name="connsiteY1944" fmla="*/ 3861189 h 6858290"/>
              <a:gd name="connsiteX1945" fmla="*/ 2187589 w 12139750"/>
              <a:gd name="connsiteY1945" fmla="*/ 3847874 h 6858290"/>
              <a:gd name="connsiteX1946" fmla="*/ 2227734 w 12139750"/>
              <a:gd name="connsiteY1946" fmla="*/ 3796517 h 6858290"/>
              <a:gd name="connsiteX1947" fmla="*/ 2571828 w 12139750"/>
              <a:gd name="connsiteY1947" fmla="*/ 3705214 h 6858290"/>
              <a:gd name="connsiteX1948" fmla="*/ 2593305 w 12139750"/>
              <a:gd name="connsiteY1948" fmla="*/ 3702866 h 6858290"/>
              <a:gd name="connsiteX1949" fmla="*/ 3135574 w 12139750"/>
              <a:gd name="connsiteY1949" fmla="*/ 3696656 h 6858290"/>
              <a:gd name="connsiteX1950" fmla="*/ 3202340 w 12139750"/>
              <a:gd name="connsiteY1950" fmla="*/ 3740471 h 6858290"/>
              <a:gd name="connsiteX1951" fmla="*/ 3160374 w 12139750"/>
              <a:gd name="connsiteY1951" fmla="*/ 3809051 h 6858290"/>
              <a:gd name="connsiteX1952" fmla="*/ 2815091 w 12139750"/>
              <a:gd name="connsiteY1952" fmla="*/ 3883346 h 6858290"/>
              <a:gd name="connsiteX1953" fmla="*/ 2746414 w 12139750"/>
              <a:gd name="connsiteY1953" fmla="*/ 3841436 h 6858290"/>
              <a:gd name="connsiteX1954" fmla="*/ 2746414 w 12139750"/>
              <a:gd name="connsiteY1954" fmla="*/ 3828101 h 6858290"/>
              <a:gd name="connsiteX1955" fmla="*/ 2790292 w 12139750"/>
              <a:gd name="connsiteY1955" fmla="*/ 3772856 h 6858290"/>
              <a:gd name="connsiteX1956" fmla="*/ 3135574 w 12139750"/>
              <a:gd name="connsiteY1956" fmla="*/ 3696656 h 6858290"/>
              <a:gd name="connsiteX1957" fmla="*/ 9858878 w 12139750"/>
              <a:gd name="connsiteY1957" fmla="*/ 3457894 h 6858290"/>
              <a:gd name="connsiteX1958" fmla="*/ 9871499 w 12139750"/>
              <a:gd name="connsiteY1958" fmla="*/ 3465507 h 6858290"/>
              <a:gd name="connsiteX1959" fmla="*/ 9869594 w 12139750"/>
              <a:gd name="connsiteY1959" fmla="*/ 3492151 h 6858290"/>
              <a:gd name="connsiteX1960" fmla="*/ 9538119 w 12139750"/>
              <a:gd name="connsiteY1960" fmla="*/ 3773816 h 6858290"/>
              <a:gd name="connsiteX1961" fmla="*/ 9511449 w 12139750"/>
              <a:gd name="connsiteY1961" fmla="*/ 3771913 h 6858290"/>
              <a:gd name="connsiteX1962" fmla="*/ 9507639 w 12139750"/>
              <a:gd name="connsiteY1962" fmla="*/ 3760494 h 6858290"/>
              <a:gd name="connsiteX1963" fmla="*/ 9513354 w 12139750"/>
              <a:gd name="connsiteY1963" fmla="*/ 3745269 h 6858290"/>
              <a:gd name="connsiteX1964" fmla="*/ 9844829 w 12139750"/>
              <a:gd name="connsiteY1964" fmla="*/ 3461700 h 6858290"/>
              <a:gd name="connsiteX1965" fmla="*/ 9858878 w 12139750"/>
              <a:gd name="connsiteY1965" fmla="*/ 3457894 h 6858290"/>
              <a:gd name="connsiteX1966" fmla="*/ 10444338 w 12139750"/>
              <a:gd name="connsiteY1966" fmla="*/ 3451145 h 6858290"/>
              <a:gd name="connsiteX1967" fmla="*/ 10458875 w 12139750"/>
              <a:gd name="connsiteY1967" fmla="*/ 3459471 h 6858290"/>
              <a:gd name="connsiteX1968" fmla="*/ 10455062 w 12139750"/>
              <a:gd name="connsiteY1968" fmla="*/ 3489921 h 6858290"/>
              <a:gd name="connsiteX1969" fmla="*/ 10123310 w 12139750"/>
              <a:gd name="connsiteY1969" fmla="*/ 3756353 h 6858290"/>
              <a:gd name="connsiteX1970" fmla="*/ 10090897 w 12139750"/>
              <a:gd name="connsiteY1970" fmla="*/ 3752547 h 6858290"/>
              <a:gd name="connsiteX1971" fmla="*/ 10087084 w 12139750"/>
              <a:gd name="connsiteY1971" fmla="*/ 3737323 h 6858290"/>
              <a:gd name="connsiteX1972" fmla="*/ 10094710 w 12139750"/>
              <a:gd name="connsiteY1972" fmla="*/ 3720195 h 6858290"/>
              <a:gd name="connsiteX1973" fmla="*/ 10428370 w 12139750"/>
              <a:gd name="connsiteY1973" fmla="*/ 3455665 h 6858290"/>
              <a:gd name="connsiteX1974" fmla="*/ 10444338 w 12139750"/>
              <a:gd name="connsiteY1974" fmla="*/ 3451145 h 6858290"/>
              <a:gd name="connsiteX1975" fmla="*/ 9282925 w 12139750"/>
              <a:gd name="connsiteY1975" fmla="*/ 3451145 h 6858290"/>
              <a:gd name="connsiteX1976" fmla="*/ 9298403 w 12139750"/>
              <a:gd name="connsiteY1976" fmla="*/ 3459471 h 6858290"/>
              <a:gd name="connsiteX1977" fmla="*/ 9294593 w 12139750"/>
              <a:gd name="connsiteY1977" fmla="*/ 3489921 h 6858290"/>
              <a:gd name="connsiteX1978" fmla="*/ 8961213 w 12139750"/>
              <a:gd name="connsiteY1978" fmla="*/ 3756353 h 6858290"/>
              <a:gd name="connsiteX1979" fmla="*/ 8930733 w 12139750"/>
              <a:gd name="connsiteY1979" fmla="*/ 3752547 h 6858290"/>
              <a:gd name="connsiteX1980" fmla="*/ 8925018 w 12139750"/>
              <a:gd name="connsiteY1980" fmla="*/ 3737323 h 6858290"/>
              <a:gd name="connsiteX1981" fmla="*/ 8934543 w 12139750"/>
              <a:gd name="connsiteY1981" fmla="*/ 3720195 h 6858290"/>
              <a:gd name="connsiteX1982" fmla="*/ 9266017 w 12139750"/>
              <a:gd name="connsiteY1982" fmla="*/ 3455665 h 6858290"/>
              <a:gd name="connsiteX1983" fmla="*/ 9282925 w 12139750"/>
              <a:gd name="connsiteY1983" fmla="*/ 3451145 h 6858290"/>
              <a:gd name="connsiteX1984" fmla="*/ 8712667 w 12139750"/>
              <a:gd name="connsiteY1984" fmla="*/ 3443688 h 6858290"/>
              <a:gd name="connsiteX1985" fmla="*/ 8730065 w 12139750"/>
              <a:gd name="connsiteY1985" fmla="*/ 3453451 h 6858290"/>
              <a:gd name="connsiteX1986" fmla="*/ 8724345 w 12139750"/>
              <a:gd name="connsiteY1986" fmla="*/ 3489646 h 6858290"/>
              <a:gd name="connsiteX1987" fmla="*/ 8390693 w 12139750"/>
              <a:gd name="connsiteY1987" fmla="*/ 3737296 h 6858290"/>
              <a:gd name="connsiteX1988" fmla="*/ 8354468 w 12139750"/>
              <a:gd name="connsiteY1988" fmla="*/ 3731581 h 6858290"/>
              <a:gd name="connsiteX1989" fmla="*/ 8348748 w 12139750"/>
              <a:gd name="connsiteY1989" fmla="*/ 3716341 h 6858290"/>
              <a:gd name="connsiteX1990" fmla="*/ 8360187 w 12139750"/>
              <a:gd name="connsiteY1990" fmla="*/ 3695386 h 6858290"/>
              <a:gd name="connsiteX1991" fmla="*/ 8693840 w 12139750"/>
              <a:gd name="connsiteY1991" fmla="*/ 3449641 h 6858290"/>
              <a:gd name="connsiteX1992" fmla="*/ 8712667 w 12139750"/>
              <a:gd name="connsiteY1992" fmla="*/ 3443688 h 6858290"/>
              <a:gd name="connsiteX1993" fmla="*/ 11022273 w 12139750"/>
              <a:gd name="connsiteY1993" fmla="*/ 3443688 h 6858290"/>
              <a:gd name="connsiteX1994" fmla="*/ 11038002 w 12139750"/>
              <a:gd name="connsiteY1994" fmla="*/ 3453451 h 6858290"/>
              <a:gd name="connsiteX1995" fmla="*/ 11034189 w 12139750"/>
              <a:gd name="connsiteY1995" fmla="*/ 3489646 h 6858290"/>
              <a:gd name="connsiteX1996" fmla="*/ 10700537 w 12139750"/>
              <a:gd name="connsiteY1996" fmla="*/ 3737296 h 6858290"/>
              <a:gd name="connsiteX1997" fmla="*/ 10664312 w 12139750"/>
              <a:gd name="connsiteY1997" fmla="*/ 3731581 h 6858290"/>
              <a:gd name="connsiteX1998" fmla="*/ 10658592 w 12139750"/>
              <a:gd name="connsiteY1998" fmla="*/ 3716341 h 6858290"/>
              <a:gd name="connsiteX1999" fmla="*/ 10670031 w 12139750"/>
              <a:gd name="connsiteY1999" fmla="*/ 3695386 h 6858290"/>
              <a:gd name="connsiteX2000" fmla="*/ 11003684 w 12139750"/>
              <a:gd name="connsiteY2000" fmla="*/ 3449641 h 6858290"/>
              <a:gd name="connsiteX2001" fmla="*/ 11022273 w 12139750"/>
              <a:gd name="connsiteY2001" fmla="*/ 3443688 h 6858290"/>
              <a:gd name="connsiteX2002" fmla="*/ 11595028 w 12139750"/>
              <a:gd name="connsiteY2002" fmla="*/ 3438528 h 6858290"/>
              <a:gd name="connsiteX2003" fmla="*/ 11614586 w 12139750"/>
              <a:gd name="connsiteY2003" fmla="*/ 3450911 h 6858290"/>
              <a:gd name="connsiteX2004" fmla="*/ 11606953 w 12139750"/>
              <a:gd name="connsiteY2004" fmla="*/ 3490916 h 6858290"/>
              <a:gd name="connsiteX2005" fmla="*/ 11271132 w 12139750"/>
              <a:gd name="connsiteY2005" fmla="*/ 3719516 h 6858290"/>
              <a:gd name="connsiteX2006" fmla="*/ 11231062 w 12139750"/>
              <a:gd name="connsiteY2006" fmla="*/ 3711896 h 6858290"/>
              <a:gd name="connsiteX2007" fmla="*/ 11225338 w 12139750"/>
              <a:gd name="connsiteY2007" fmla="*/ 3696656 h 6858290"/>
              <a:gd name="connsiteX2008" fmla="*/ 11238695 w 12139750"/>
              <a:gd name="connsiteY2008" fmla="*/ 3671891 h 6858290"/>
              <a:gd name="connsiteX2009" fmla="*/ 11572608 w 12139750"/>
              <a:gd name="connsiteY2009" fmla="*/ 3443291 h 6858290"/>
              <a:gd name="connsiteX2010" fmla="*/ 11595028 w 12139750"/>
              <a:gd name="connsiteY2010" fmla="*/ 3438528 h 6858290"/>
              <a:gd name="connsiteX2011" fmla="*/ 8149264 w 12139750"/>
              <a:gd name="connsiteY2011" fmla="*/ 3438528 h 6858290"/>
              <a:gd name="connsiteX2012" fmla="*/ 8167794 w 12139750"/>
              <a:gd name="connsiteY2012" fmla="*/ 3450911 h 6858290"/>
              <a:gd name="connsiteX2013" fmla="*/ 8160192 w 12139750"/>
              <a:gd name="connsiteY2013" fmla="*/ 3490916 h 6858290"/>
              <a:gd name="connsiteX2014" fmla="*/ 7825713 w 12139750"/>
              <a:gd name="connsiteY2014" fmla="*/ 3719516 h 6858290"/>
              <a:gd name="connsiteX2015" fmla="*/ 7785804 w 12139750"/>
              <a:gd name="connsiteY2015" fmla="*/ 3711896 h 6858290"/>
              <a:gd name="connsiteX2016" fmla="*/ 7782003 w 12139750"/>
              <a:gd name="connsiteY2016" fmla="*/ 3696656 h 6858290"/>
              <a:gd name="connsiteX2017" fmla="*/ 7793405 w 12139750"/>
              <a:gd name="connsiteY2017" fmla="*/ 3671891 h 6858290"/>
              <a:gd name="connsiteX2018" fmla="*/ 8127884 w 12139750"/>
              <a:gd name="connsiteY2018" fmla="*/ 3443291 h 6858290"/>
              <a:gd name="connsiteX2019" fmla="*/ 8149264 w 12139750"/>
              <a:gd name="connsiteY2019" fmla="*/ 3438528 h 6858290"/>
              <a:gd name="connsiteX2020" fmla="*/ 12139750 w 12139750"/>
              <a:gd name="connsiteY2020" fmla="*/ 3433766 h 6858290"/>
              <a:gd name="connsiteX2021" fmla="*/ 12139750 w 12139750"/>
              <a:gd name="connsiteY2021" fmla="*/ 3509879 h 6858290"/>
              <a:gd name="connsiteX2022" fmla="*/ 11835219 w 12139750"/>
              <a:gd name="connsiteY2022" fmla="*/ 3702065 h 6858290"/>
              <a:gd name="connsiteX2023" fmla="*/ 11789540 w 12139750"/>
              <a:gd name="connsiteY2023" fmla="*/ 3690648 h 6858290"/>
              <a:gd name="connsiteX2024" fmla="*/ 11785733 w 12139750"/>
              <a:gd name="connsiteY2024" fmla="*/ 3673522 h 6858290"/>
              <a:gd name="connsiteX2025" fmla="*/ 11800960 w 12139750"/>
              <a:gd name="connsiteY2025" fmla="*/ 3646883 h 6858290"/>
              <a:gd name="connsiteX2026" fmla="*/ 12135943 w 12139750"/>
              <a:gd name="connsiteY2026" fmla="*/ 3435669 h 6858290"/>
              <a:gd name="connsiteX2027" fmla="*/ 12139750 w 12139750"/>
              <a:gd name="connsiteY2027" fmla="*/ 3433766 h 6858290"/>
              <a:gd name="connsiteX2028" fmla="*/ 7592961 w 12139750"/>
              <a:gd name="connsiteY2028" fmla="*/ 3431781 h 6858290"/>
              <a:gd name="connsiteX2029" fmla="*/ 7613711 w 12139750"/>
              <a:gd name="connsiteY2029" fmla="*/ 3446783 h 6858290"/>
              <a:gd name="connsiteX2030" fmla="*/ 7602263 w 12139750"/>
              <a:gd name="connsiteY2030" fmla="*/ 3490598 h 6858290"/>
              <a:gd name="connsiteX2031" fmla="*/ 7266453 w 12139750"/>
              <a:gd name="connsiteY2031" fmla="*/ 3702053 h 6858290"/>
              <a:gd name="connsiteX2032" fmla="*/ 7222569 w 12139750"/>
              <a:gd name="connsiteY2032" fmla="*/ 3690623 h 6858290"/>
              <a:gd name="connsiteX2033" fmla="*/ 7216845 w 12139750"/>
              <a:gd name="connsiteY2033" fmla="*/ 3673478 h 6858290"/>
              <a:gd name="connsiteX2034" fmla="*/ 7232109 w 12139750"/>
              <a:gd name="connsiteY2034" fmla="*/ 3646808 h 6858290"/>
              <a:gd name="connsiteX2035" fmla="*/ 7567918 w 12139750"/>
              <a:gd name="connsiteY2035" fmla="*/ 3435353 h 6858290"/>
              <a:gd name="connsiteX2036" fmla="*/ 7592961 w 12139750"/>
              <a:gd name="connsiteY2036" fmla="*/ 3431781 h 6858290"/>
              <a:gd name="connsiteX2037" fmla="*/ 7042583 w 12139750"/>
              <a:gd name="connsiteY2037" fmla="*/ 3425684 h 6858290"/>
              <a:gd name="connsiteX2038" fmla="*/ 7064457 w 12139750"/>
              <a:gd name="connsiteY2038" fmla="*/ 3442391 h 6858290"/>
              <a:gd name="connsiteX2039" fmla="*/ 7051143 w 12139750"/>
              <a:gd name="connsiteY2039" fmla="*/ 3490127 h 6858290"/>
              <a:gd name="connsiteX2040" fmla="*/ 6714471 w 12139750"/>
              <a:gd name="connsiteY2040" fmla="*/ 3682981 h 6858290"/>
              <a:gd name="connsiteX2041" fmla="*/ 6665016 w 12139750"/>
              <a:gd name="connsiteY2041" fmla="*/ 3669615 h 6858290"/>
              <a:gd name="connsiteX2042" fmla="*/ 6661212 w 12139750"/>
              <a:gd name="connsiteY2042" fmla="*/ 3652430 h 6858290"/>
              <a:gd name="connsiteX2043" fmla="*/ 6678331 w 12139750"/>
              <a:gd name="connsiteY2043" fmla="*/ 3619969 h 6858290"/>
              <a:gd name="connsiteX2044" fmla="*/ 7015003 w 12139750"/>
              <a:gd name="connsiteY2044" fmla="*/ 3429025 h 6858290"/>
              <a:gd name="connsiteX2045" fmla="*/ 7042583 w 12139750"/>
              <a:gd name="connsiteY2045" fmla="*/ 3425684 h 6858290"/>
              <a:gd name="connsiteX2046" fmla="*/ 6499335 w 12139750"/>
              <a:gd name="connsiteY2046" fmla="*/ 3418940 h 6858290"/>
              <a:gd name="connsiteX2047" fmla="*/ 6523112 w 12139750"/>
              <a:gd name="connsiteY2047" fmla="*/ 3438274 h 6858290"/>
              <a:gd name="connsiteX2048" fmla="*/ 6505992 w 12139750"/>
              <a:gd name="connsiteY2048" fmla="*/ 3491743 h 6858290"/>
              <a:gd name="connsiteX2049" fmla="*/ 6167407 w 12139750"/>
              <a:gd name="connsiteY2049" fmla="*/ 3663607 h 6858290"/>
              <a:gd name="connsiteX2050" fmla="*/ 6116048 w 12139750"/>
              <a:gd name="connsiteY2050" fmla="*/ 3648330 h 6858290"/>
              <a:gd name="connsiteX2051" fmla="*/ 6110342 w 12139750"/>
              <a:gd name="connsiteY2051" fmla="*/ 3629234 h 6858290"/>
              <a:gd name="connsiteX2052" fmla="*/ 6131266 w 12139750"/>
              <a:gd name="connsiteY2052" fmla="*/ 3594862 h 6858290"/>
              <a:gd name="connsiteX2053" fmla="*/ 6469851 w 12139750"/>
              <a:gd name="connsiteY2053" fmla="*/ 3421090 h 6858290"/>
              <a:gd name="connsiteX2054" fmla="*/ 6499335 w 12139750"/>
              <a:gd name="connsiteY2054" fmla="*/ 3418940 h 6858290"/>
              <a:gd name="connsiteX2055" fmla="*/ 5958954 w 12139750"/>
              <a:gd name="connsiteY2055" fmla="*/ 3413743 h 6858290"/>
              <a:gd name="connsiteX2056" fmla="*/ 5983314 w 12139750"/>
              <a:gd name="connsiteY2056" fmla="*/ 3435593 h 6858290"/>
              <a:gd name="connsiteX2057" fmla="*/ 5962297 w 12139750"/>
              <a:gd name="connsiteY2057" fmla="*/ 3492599 h 6858290"/>
              <a:gd name="connsiteX2058" fmla="*/ 5622210 w 12139750"/>
              <a:gd name="connsiteY2058" fmla="*/ 3646514 h 6858290"/>
              <a:gd name="connsiteX2059" fmla="*/ 5564892 w 12139750"/>
              <a:gd name="connsiteY2059" fmla="*/ 3625612 h 6858290"/>
              <a:gd name="connsiteX2060" fmla="*/ 5561071 w 12139750"/>
              <a:gd name="connsiteY2060" fmla="*/ 3608510 h 6858290"/>
              <a:gd name="connsiteX2061" fmla="*/ 5585909 w 12139750"/>
              <a:gd name="connsiteY2061" fmla="*/ 3568606 h 6858290"/>
              <a:gd name="connsiteX2062" fmla="*/ 5925997 w 12139750"/>
              <a:gd name="connsiteY2062" fmla="*/ 3414692 h 6858290"/>
              <a:gd name="connsiteX2063" fmla="*/ 5958954 w 12139750"/>
              <a:gd name="connsiteY2063" fmla="*/ 3413743 h 6858290"/>
              <a:gd name="connsiteX2064" fmla="*/ 398651 w 12139750"/>
              <a:gd name="connsiteY2064" fmla="*/ 3413741 h 6858290"/>
              <a:gd name="connsiteX2065" fmla="*/ 421971 w 12139750"/>
              <a:gd name="connsiteY2065" fmla="*/ 3435593 h 6858290"/>
              <a:gd name="connsiteX2066" fmla="*/ 401031 w 12139750"/>
              <a:gd name="connsiteY2066" fmla="*/ 3492599 h 6858290"/>
              <a:gd name="connsiteX2067" fmla="*/ 62187 w 12139750"/>
              <a:gd name="connsiteY2067" fmla="*/ 3646514 h 6858290"/>
              <a:gd name="connsiteX2068" fmla="*/ 6982 w 12139750"/>
              <a:gd name="connsiteY2068" fmla="*/ 3625612 h 6858290"/>
              <a:gd name="connsiteX2069" fmla="*/ 3175 w 12139750"/>
              <a:gd name="connsiteY2069" fmla="*/ 3608510 h 6858290"/>
              <a:gd name="connsiteX2070" fmla="*/ 27922 w 12139750"/>
              <a:gd name="connsiteY2070" fmla="*/ 3568606 h 6858290"/>
              <a:gd name="connsiteX2071" fmla="*/ 366766 w 12139750"/>
              <a:gd name="connsiteY2071" fmla="*/ 3414692 h 6858290"/>
              <a:gd name="connsiteX2072" fmla="*/ 398651 w 12139750"/>
              <a:gd name="connsiteY2072" fmla="*/ 3413741 h 6858290"/>
              <a:gd name="connsiteX2073" fmla="*/ 5394960 w 12139750"/>
              <a:gd name="connsiteY2073" fmla="*/ 3403430 h 6858290"/>
              <a:gd name="connsiteX2074" fmla="*/ 5437255 w 12139750"/>
              <a:gd name="connsiteY2074" fmla="*/ 3433353 h 6858290"/>
              <a:gd name="connsiteX2075" fmla="*/ 5410604 w 12139750"/>
              <a:gd name="connsiteY2075" fmla="*/ 3492253 h 6858290"/>
              <a:gd name="connsiteX2076" fmla="*/ 5069848 w 12139750"/>
              <a:gd name="connsiteY2076" fmla="*/ 3629053 h 6858290"/>
              <a:gd name="connsiteX2077" fmla="*/ 5010843 w 12139750"/>
              <a:gd name="connsiteY2077" fmla="*/ 3602453 h 6858290"/>
              <a:gd name="connsiteX2078" fmla="*/ 5007036 w 12139750"/>
              <a:gd name="connsiteY2078" fmla="*/ 3585353 h 6858290"/>
              <a:gd name="connsiteX2079" fmla="*/ 5037490 w 12139750"/>
              <a:gd name="connsiteY2079" fmla="*/ 3543553 h 6858290"/>
              <a:gd name="connsiteX2080" fmla="*/ 5376339 w 12139750"/>
              <a:gd name="connsiteY2080" fmla="*/ 3406755 h 6858290"/>
              <a:gd name="connsiteX2081" fmla="*/ 5394960 w 12139750"/>
              <a:gd name="connsiteY2081" fmla="*/ 3403430 h 6858290"/>
              <a:gd name="connsiteX2082" fmla="*/ 928445 w 12139750"/>
              <a:gd name="connsiteY2082" fmla="*/ 3403428 h 6858290"/>
              <a:gd name="connsiteX2083" fmla="*/ 969969 w 12139750"/>
              <a:gd name="connsiteY2083" fmla="*/ 3433353 h 6858290"/>
              <a:gd name="connsiteX2084" fmla="*/ 945204 w 12139750"/>
              <a:gd name="connsiteY2084" fmla="*/ 3492253 h 6858290"/>
              <a:gd name="connsiteX2085" fmla="*/ 604205 w 12139750"/>
              <a:gd name="connsiteY2085" fmla="*/ 3629053 h 6858290"/>
              <a:gd name="connsiteX2086" fmla="*/ 543244 w 12139750"/>
              <a:gd name="connsiteY2086" fmla="*/ 3602453 h 6858290"/>
              <a:gd name="connsiteX2087" fmla="*/ 541339 w 12139750"/>
              <a:gd name="connsiteY2087" fmla="*/ 3585353 h 6858290"/>
              <a:gd name="connsiteX2088" fmla="*/ 569914 w 12139750"/>
              <a:gd name="connsiteY2088" fmla="*/ 3543553 h 6858290"/>
              <a:gd name="connsiteX2089" fmla="*/ 910913 w 12139750"/>
              <a:gd name="connsiteY2089" fmla="*/ 3406753 h 6858290"/>
              <a:gd name="connsiteX2090" fmla="*/ 928445 w 12139750"/>
              <a:gd name="connsiteY2090" fmla="*/ 3403428 h 6858290"/>
              <a:gd name="connsiteX2091" fmla="*/ 4843466 w 12139750"/>
              <a:gd name="connsiteY2091" fmla="*/ 3396591 h 6858290"/>
              <a:gd name="connsiteX2092" fmla="*/ 4886367 w 12139750"/>
              <a:gd name="connsiteY2092" fmla="*/ 3429004 h 6858290"/>
              <a:gd name="connsiteX2093" fmla="*/ 4855862 w 12139750"/>
              <a:gd name="connsiteY2093" fmla="*/ 3491868 h 6858290"/>
              <a:gd name="connsiteX2094" fmla="*/ 4514622 w 12139750"/>
              <a:gd name="connsiteY2094" fmla="*/ 3609978 h 6858290"/>
              <a:gd name="connsiteX2095" fmla="*/ 4451713 w 12139750"/>
              <a:gd name="connsiteY2095" fmla="*/ 3579498 h 6858290"/>
              <a:gd name="connsiteX2096" fmla="*/ 4449806 w 12139750"/>
              <a:gd name="connsiteY2096" fmla="*/ 3564258 h 6858290"/>
              <a:gd name="connsiteX2097" fmla="*/ 4482215 w 12139750"/>
              <a:gd name="connsiteY2097" fmla="*/ 3518538 h 6858290"/>
              <a:gd name="connsiteX2098" fmla="*/ 4823447 w 12139750"/>
              <a:gd name="connsiteY2098" fmla="*/ 3398526 h 6858290"/>
              <a:gd name="connsiteX2099" fmla="*/ 4843466 w 12139750"/>
              <a:gd name="connsiteY2099" fmla="*/ 3396591 h 6858290"/>
              <a:gd name="connsiteX2100" fmla="*/ 1478769 w 12139750"/>
              <a:gd name="connsiteY2100" fmla="*/ 3396589 h 6858290"/>
              <a:gd name="connsiteX2101" fmla="*/ 1522735 w 12139750"/>
              <a:gd name="connsiteY2101" fmla="*/ 3429004 h 6858290"/>
              <a:gd name="connsiteX2102" fmla="*/ 1492233 w 12139750"/>
              <a:gd name="connsiteY2102" fmla="*/ 3491868 h 6858290"/>
              <a:gd name="connsiteX2103" fmla="*/ 1149084 w 12139750"/>
              <a:gd name="connsiteY2103" fmla="*/ 3609978 h 6858290"/>
              <a:gd name="connsiteX2104" fmla="*/ 1088080 w 12139750"/>
              <a:gd name="connsiteY2104" fmla="*/ 3579498 h 6858290"/>
              <a:gd name="connsiteX2105" fmla="*/ 1084267 w 12139750"/>
              <a:gd name="connsiteY2105" fmla="*/ 3564258 h 6858290"/>
              <a:gd name="connsiteX2106" fmla="*/ 1116676 w 12139750"/>
              <a:gd name="connsiteY2106" fmla="*/ 3518538 h 6858290"/>
              <a:gd name="connsiteX2107" fmla="*/ 1459824 w 12139750"/>
              <a:gd name="connsiteY2107" fmla="*/ 3398524 h 6858290"/>
              <a:gd name="connsiteX2108" fmla="*/ 1478769 w 12139750"/>
              <a:gd name="connsiteY2108" fmla="*/ 3396589 h 6858290"/>
              <a:gd name="connsiteX2109" fmla="*/ 4288621 w 12139750"/>
              <a:gd name="connsiteY2109" fmla="*/ 3390094 h 6858290"/>
              <a:gd name="connsiteX2110" fmla="*/ 4332319 w 12139750"/>
              <a:gd name="connsiteY2110" fmla="*/ 3426845 h 6858290"/>
              <a:gd name="connsiteX2111" fmla="*/ 4298005 w 12139750"/>
              <a:gd name="connsiteY2111" fmla="*/ 3491709 h 6858290"/>
              <a:gd name="connsiteX2112" fmla="*/ 3954880 w 12139750"/>
              <a:gd name="connsiteY2112" fmla="*/ 3592822 h 6858290"/>
              <a:gd name="connsiteX2113" fmla="*/ 3888156 w 12139750"/>
              <a:gd name="connsiteY2113" fmla="*/ 3556574 h 6858290"/>
              <a:gd name="connsiteX2114" fmla="*/ 3886249 w 12139750"/>
              <a:gd name="connsiteY2114" fmla="*/ 3541311 h 6858290"/>
              <a:gd name="connsiteX2115" fmla="*/ 3924379 w 12139750"/>
              <a:gd name="connsiteY2115" fmla="*/ 3491709 h 6858290"/>
              <a:gd name="connsiteX2116" fmla="*/ 4267501 w 12139750"/>
              <a:gd name="connsiteY2116" fmla="*/ 3392508 h 6858290"/>
              <a:gd name="connsiteX2117" fmla="*/ 4288621 w 12139750"/>
              <a:gd name="connsiteY2117" fmla="*/ 3390094 h 6858290"/>
              <a:gd name="connsiteX2118" fmla="*/ 2035411 w 12139750"/>
              <a:gd name="connsiteY2118" fmla="*/ 3390091 h 6858290"/>
              <a:gd name="connsiteX2119" fmla="*/ 2079949 w 12139750"/>
              <a:gd name="connsiteY2119" fmla="*/ 3426845 h 6858290"/>
              <a:gd name="connsiteX2120" fmla="*/ 2043698 w 12139750"/>
              <a:gd name="connsiteY2120" fmla="*/ 3491709 h 6858290"/>
              <a:gd name="connsiteX2121" fmla="*/ 1700314 w 12139750"/>
              <a:gd name="connsiteY2121" fmla="*/ 3592822 h 6858290"/>
              <a:gd name="connsiteX2122" fmla="*/ 1635452 w 12139750"/>
              <a:gd name="connsiteY2122" fmla="*/ 3556574 h 6858290"/>
              <a:gd name="connsiteX2123" fmla="*/ 1633545 w 12139750"/>
              <a:gd name="connsiteY2123" fmla="*/ 3541311 h 6858290"/>
              <a:gd name="connsiteX2124" fmla="*/ 1671698 w 12139750"/>
              <a:gd name="connsiteY2124" fmla="*/ 3491709 h 6858290"/>
              <a:gd name="connsiteX2125" fmla="*/ 2015083 w 12139750"/>
              <a:gd name="connsiteY2125" fmla="*/ 3392506 h 6858290"/>
              <a:gd name="connsiteX2126" fmla="*/ 2035411 w 12139750"/>
              <a:gd name="connsiteY2126" fmla="*/ 3390091 h 6858290"/>
              <a:gd name="connsiteX2127" fmla="*/ 3729542 w 12139750"/>
              <a:gd name="connsiteY2127" fmla="*/ 3384855 h 6858290"/>
              <a:gd name="connsiteX2128" fmla="*/ 3773838 w 12139750"/>
              <a:gd name="connsiteY2128" fmla="*/ 3427580 h 6858290"/>
              <a:gd name="connsiteX2129" fmla="*/ 3733746 w 12139750"/>
              <a:gd name="connsiteY2129" fmla="*/ 3494046 h 6858290"/>
              <a:gd name="connsiteX2130" fmla="*/ 3388241 w 12139750"/>
              <a:gd name="connsiteY2130" fmla="*/ 3575706 h 6858290"/>
              <a:gd name="connsiteX2131" fmla="*/ 3321424 w 12139750"/>
              <a:gd name="connsiteY2131" fmla="*/ 3533926 h 6858290"/>
              <a:gd name="connsiteX2132" fmla="*/ 3319514 w 12139750"/>
              <a:gd name="connsiteY2132" fmla="*/ 3520633 h 6858290"/>
              <a:gd name="connsiteX2133" fmla="*/ 3361513 w 12139750"/>
              <a:gd name="connsiteY2133" fmla="*/ 3465560 h 6858290"/>
              <a:gd name="connsiteX2134" fmla="*/ 3707020 w 12139750"/>
              <a:gd name="connsiteY2134" fmla="*/ 3385804 h 6858290"/>
              <a:gd name="connsiteX2135" fmla="*/ 3729542 w 12139750"/>
              <a:gd name="connsiteY2135" fmla="*/ 3384855 h 6858290"/>
              <a:gd name="connsiteX2136" fmla="*/ 2596041 w 12139750"/>
              <a:gd name="connsiteY2136" fmla="*/ 3384850 h 6858290"/>
              <a:gd name="connsiteX2137" fmla="*/ 2640335 w 12139750"/>
              <a:gd name="connsiteY2137" fmla="*/ 3427579 h 6858290"/>
              <a:gd name="connsiteX2138" fmla="*/ 2598337 w 12139750"/>
              <a:gd name="connsiteY2138" fmla="*/ 3494046 h 6858290"/>
              <a:gd name="connsiteX2139" fmla="*/ 2254725 w 12139750"/>
              <a:gd name="connsiteY2139" fmla="*/ 3575706 h 6858290"/>
              <a:gd name="connsiteX2140" fmla="*/ 2187911 w 12139750"/>
              <a:gd name="connsiteY2140" fmla="*/ 3533926 h 6858290"/>
              <a:gd name="connsiteX2141" fmla="*/ 2186002 w 12139750"/>
              <a:gd name="connsiteY2141" fmla="*/ 3520633 h 6858290"/>
              <a:gd name="connsiteX2142" fmla="*/ 2227999 w 12139750"/>
              <a:gd name="connsiteY2142" fmla="*/ 3465560 h 6858290"/>
              <a:gd name="connsiteX2143" fmla="*/ 2573521 w 12139750"/>
              <a:gd name="connsiteY2143" fmla="*/ 3385799 h 6858290"/>
              <a:gd name="connsiteX2144" fmla="*/ 2596041 w 12139750"/>
              <a:gd name="connsiteY2144" fmla="*/ 3384850 h 6858290"/>
              <a:gd name="connsiteX2145" fmla="*/ 3137315 w 12139750"/>
              <a:gd name="connsiteY2145" fmla="*/ 3377575 h 6858290"/>
              <a:gd name="connsiteX2146" fmla="*/ 3205849 w 12139750"/>
              <a:gd name="connsiteY2146" fmla="*/ 3425194 h 6858290"/>
              <a:gd name="connsiteX2147" fmla="*/ 3158257 w 12139750"/>
              <a:gd name="connsiteY2147" fmla="*/ 3493773 h 6858290"/>
              <a:gd name="connsiteX2148" fmla="*/ 2813679 w 12139750"/>
              <a:gd name="connsiteY2148" fmla="*/ 3556638 h 6858290"/>
              <a:gd name="connsiteX2149" fmla="*/ 2745145 w 12139750"/>
              <a:gd name="connsiteY2149" fmla="*/ 3509013 h 6858290"/>
              <a:gd name="connsiteX2150" fmla="*/ 2743240 w 12139750"/>
              <a:gd name="connsiteY2150" fmla="*/ 3497583 h 6858290"/>
              <a:gd name="connsiteX2151" fmla="*/ 2792738 w 12139750"/>
              <a:gd name="connsiteY2151" fmla="*/ 3440433 h 6858290"/>
              <a:gd name="connsiteX2152" fmla="*/ 3137315 w 12139750"/>
              <a:gd name="connsiteY2152" fmla="*/ 3377575 h 6858290"/>
              <a:gd name="connsiteX2153" fmla="*/ 9858814 w 12139750"/>
              <a:gd name="connsiteY2153" fmla="*/ 3131368 h 6858290"/>
              <a:gd name="connsiteX2154" fmla="*/ 9870234 w 12139750"/>
              <a:gd name="connsiteY2154" fmla="*/ 3136605 h 6858290"/>
              <a:gd name="connsiteX2155" fmla="*/ 9868331 w 12139750"/>
              <a:gd name="connsiteY2155" fmla="*/ 3159443 h 6858290"/>
              <a:gd name="connsiteX2156" fmla="*/ 9539049 w 12139750"/>
              <a:gd name="connsiteY2156" fmla="*/ 3458218 h 6858290"/>
              <a:gd name="connsiteX2157" fmla="*/ 9516209 w 12139750"/>
              <a:gd name="connsiteY2157" fmla="*/ 3456315 h 6858290"/>
              <a:gd name="connsiteX2158" fmla="*/ 9512402 w 12139750"/>
              <a:gd name="connsiteY2158" fmla="*/ 3444896 h 6858290"/>
              <a:gd name="connsiteX2159" fmla="*/ 9516209 w 12139750"/>
              <a:gd name="connsiteY2159" fmla="*/ 3433477 h 6858290"/>
              <a:gd name="connsiteX2160" fmla="*/ 9847394 w 12139750"/>
              <a:gd name="connsiteY2160" fmla="*/ 3134702 h 6858290"/>
              <a:gd name="connsiteX2161" fmla="*/ 9858814 w 12139750"/>
              <a:gd name="connsiteY2161" fmla="*/ 3131368 h 6858290"/>
              <a:gd name="connsiteX2162" fmla="*/ 9282539 w 12139750"/>
              <a:gd name="connsiteY2162" fmla="*/ 3124787 h 6858290"/>
              <a:gd name="connsiteX2163" fmla="*/ 9295203 w 12139750"/>
              <a:gd name="connsiteY2163" fmla="*/ 3132178 h 6858290"/>
              <a:gd name="connsiteX2164" fmla="*/ 9293291 w 12139750"/>
              <a:gd name="connsiteY2164" fmla="*/ 3160778 h 6858290"/>
              <a:gd name="connsiteX2165" fmla="*/ 8960690 w 12139750"/>
              <a:gd name="connsiteY2165" fmla="*/ 3437250 h 6858290"/>
              <a:gd name="connsiteX2166" fmla="*/ 8932017 w 12139750"/>
              <a:gd name="connsiteY2166" fmla="*/ 3435343 h 6858290"/>
              <a:gd name="connsiteX2167" fmla="*/ 8928194 w 12139750"/>
              <a:gd name="connsiteY2167" fmla="*/ 3421997 h 6858290"/>
              <a:gd name="connsiteX2168" fmla="*/ 8935840 w 12139750"/>
              <a:gd name="connsiteY2168" fmla="*/ 3406743 h 6858290"/>
              <a:gd name="connsiteX2169" fmla="*/ 9268442 w 12139750"/>
              <a:gd name="connsiteY2169" fmla="*/ 3130267 h 6858290"/>
              <a:gd name="connsiteX2170" fmla="*/ 9282539 w 12139750"/>
              <a:gd name="connsiteY2170" fmla="*/ 3124787 h 6858290"/>
              <a:gd name="connsiteX2171" fmla="*/ 10443256 w 12139750"/>
              <a:gd name="connsiteY2171" fmla="*/ 3124763 h 6858290"/>
              <a:gd name="connsiteX2172" fmla="*/ 10457593 w 12139750"/>
              <a:gd name="connsiteY2172" fmla="*/ 3132152 h 6858290"/>
              <a:gd name="connsiteX2173" fmla="*/ 10453769 w 12139750"/>
              <a:gd name="connsiteY2173" fmla="*/ 3160755 h 6858290"/>
              <a:gd name="connsiteX2174" fmla="*/ 10121168 w 12139750"/>
              <a:gd name="connsiteY2174" fmla="*/ 3437250 h 6858290"/>
              <a:gd name="connsiteX2175" fmla="*/ 10094407 w 12139750"/>
              <a:gd name="connsiteY2175" fmla="*/ 3435343 h 6858290"/>
              <a:gd name="connsiteX2176" fmla="*/ 10088672 w 12139750"/>
              <a:gd name="connsiteY2176" fmla="*/ 3421995 h 6858290"/>
              <a:gd name="connsiteX2177" fmla="*/ 10096318 w 12139750"/>
              <a:gd name="connsiteY2177" fmla="*/ 3406741 h 6858290"/>
              <a:gd name="connsiteX2178" fmla="*/ 10428920 w 12139750"/>
              <a:gd name="connsiteY2178" fmla="*/ 3130246 h 6858290"/>
              <a:gd name="connsiteX2179" fmla="*/ 10443256 w 12139750"/>
              <a:gd name="connsiteY2179" fmla="*/ 3124763 h 6858290"/>
              <a:gd name="connsiteX2180" fmla="*/ 8711378 w 12139750"/>
              <a:gd name="connsiteY2180" fmla="*/ 3118284 h 6858290"/>
              <a:gd name="connsiteX2181" fmla="*/ 8728495 w 12139750"/>
              <a:gd name="connsiteY2181" fmla="*/ 3128067 h 6858290"/>
              <a:gd name="connsiteX2182" fmla="*/ 8722790 w 12139750"/>
              <a:gd name="connsiteY2182" fmla="*/ 3160517 h 6858290"/>
              <a:gd name="connsiteX2183" fmla="*/ 8391863 w 12139750"/>
              <a:gd name="connsiteY2183" fmla="*/ 3418193 h 6858290"/>
              <a:gd name="connsiteX2184" fmla="*/ 8357629 w 12139750"/>
              <a:gd name="connsiteY2184" fmla="*/ 3414376 h 6858290"/>
              <a:gd name="connsiteX2185" fmla="*/ 8351923 w 12139750"/>
              <a:gd name="connsiteY2185" fmla="*/ 3399106 h 6858290"/>
              <a:gd name="connsiteX2186" fmla="*/ 8361432 w 12139750"/>
              <a:gd name="connsiteY2186" fmla="*/ 3380018 h 6858290"/>
              <a:gd name="connsiteX2187" fmla="*/ 8694262 w 12139750"/>
              <a:gd name="connsiteY2187" fmla="*/ 3124249 h 6858290"/>
              <a:gd name="connsiteX2188" fmla="*/ 8711378 w 12139750"/>
              <a:gd name="connsiteY2188" fmla="*/ 3118284 h 6858290"/>
              <a:gd name="connsiteX2189" fmla="*/ 11020985 w 12139750"/>
              <a:gd name="connsiteY2189" fmla="*/ 3118259 h 6858290"/>
              <a:gd name="connsiteX2190" fmla="*/ 11036438 w 12139750"/>
              <a:gd name="connsiteY2190" fmla="*/ 3128041 h 6858290"/>
              <a:gd name="connsiteX2191" fmla="*/ 11032634 w 12139750"/>
              <a:gd name="connsiteY2191" fmla="*/ 3160492 h 6858290"/>
              <a:gd name="connsiteX2192" fmla="*/ 10699805 w 12139750"/>
              <a:gd name="connsiteY2192" fmla="*/ 3418193 h 6858290"/>
              <a:gd name="connsiteX2193" fmla="*/ 10667473 w 12139750"/>
              <a:gd name="connsiteY2193" fmla="*/ 3414376 h 6858290"/>
              <a:gd name="connsiteX2194" fmla="*/ 10661767 w 12139750"/>
              <a:gd name="connsiteY2194" fmla="*/ 3399103 h 6858290"/>
              <a:gd name="connsiteX2195" fmla="*/ 10671276 w 12139750"/>
              <a:gd name="connsiteY2195" fmla="*/ 3380016 h 6858290"/>
              <a:gd name="connsiteX2196" fmla="*/ 11004106 w 12139750"/>
              <a:gd name="connsiteY2196" fmla="*/ 3124224 h 6858290"/>
              <a:gd name="connsiteX2197" fmla="*/ 11020985 w 12139750"/>
              <a:gd name="connsiteY2197" fmla="*/ 3118259 h 6858290"/>
              <a:gd name="connsiteX2198" fmla="*/ 8147892 w 12139750"/>
              <a:gd name="connsiteY2198" fmla="*/ 3113506 h 6858290"/>
              <a:gd name="connsiteX2199" fmla="*/ 8166198 w 12139750"/>
              <a:gd name="connsiteY2199" fmla="*/ 3125150 h 6858290"/>
              <a:gd name="connsiteX2200" fmla="*/ 8160492 w 12139750"/>
              <a:gd name="connsiteY2200" fmla="*/ 3163167 h 6858290"/>
              <a:gd name="connsiteX2201" fmla="*/ 7825748 w 12139750"/>
              <a:gd name="connsiteY2201" fmla="*/ 3398864 h 6858290"/>
              <a:gd name="connsiteX2202" fmla="*/ 7787709 w 12139750"/>
              <a:gd name="connsiteY2202" fmla="*/ 3393162 h 6858290"/>
              <a:gd name="connsiteX2203" fmla="*/ 7782003 w 12139750"/>
              <a:gd name="connsiteY2203" fmla="*/ 3376054 h 6858290"/>
              <a:gd name="connsiteX2204" fmla="*/ 7795316 w 12139750"/>
              <a:gd name="connsiteY2204" fmla="*/ 3353251 h 6858290"/>
              <a:gd name="connsiteX2205" fmla="*/ 8128159 w 12139750"/>
              <a:gd name="connsiteY2205" fmla="*/ 3117545 h 6858290"/>
              <a:gd name="connsiteX2206" fmla="*/ 8147892 w 12139750"/>
              <a:gd name="connsiteY2206" fmla="*/ 3113506 h 6858290"/>
              <a:gd name="connsiteX2207" fmla="*/ 11592870 w 12139750"/>
              <a:gd name="connsiteY2207" fmla="*/ 3113497 h 6858290"/>
              <a:gd name="connsiteX2208" fmla="*/ 11611429 w 12139750"/>
              <a:gd name="connsiteY2208" fmla="*/ 3125143 h 6858290"/>
              <a:gd name="connsiteX2209" fmla="*/ 11603815 w 12139750"/>
              <a:gd name="connsiteY2209" fmla="*/ 3163160 h 6858290"/>
              <a:gd name="connsiteX2210" fmla="*/ 11270705 w 12139750"/>
              <a:gd name="connsiteY2210" fmla="*/ 3398861 h 6858290"/>
              <a:gd name="connsiteX2211" fmla="*/ 11232635 w 12139750"/>
              <a:gd name="connsiteY2211" fmla="*/ 3393157 h 6858290"/>
              <a:gd name="connsiteX2212" fmla="*/ 11226925 w 12139750"/>
              <a:gd name="connsiteY2212" fmla="*/ 3376052 h 6858290"/>
              <a:gd name="connsiteX2213" fmla="*/ 11238346 w 12139750"/>
              <a:gd name="connsiteY2213" fmla="*/ 3353249 h 6858290"/>
              <a:gd name="connsiteX2214" fmla="*/ 11571456 w 12139750"/>
              <a:gd name="connsiteY2214" fmla="*/ 3117537 h 6858290"/>
              <a:gd name="connsiteX2215" fmla="*/ 11592870 w 12139750"/>
              <a:gd name="connsiteY2215" fmla="*/ 3113497 h 6858290"/>
              <a:gd name="connsiteX2216" fmla="*/ 12139750 w 12139750"/>
              <a:gd name="connsiteY2216" fmla="*/ 3109931 h 6858290"/>
              <a:gd name="connsiteX2217" fmla="*/ 12139750 w 12139750"/>
              <a:gd name="connsiteY2217" fmla="*/ 3184058 h 6858290"/>
              <a:gd name="connsiteX2218" fmla="*/ 11835219 w 12139750"/>
              <a:gd name="connsiteY2218" fmla="*/ 3379813 h 6858290"/>
              <a:gd name="connsiteX2219" fmla="*/ 11791443 w 12139750"/>
              <a:gd name="connsiteY2219" fmla="*/ 3370310 h 6858290"/>
              <a:gd name="connsiteX2220" fmla="*/ 11785733 w 12139750"/>
              <a:gd name="connsiteY2220" fmla="*/ 3353211 h 6858290"/>
              <a:gd name="connsiteX2221" fmla="*/ 11800960 w 12139750"/>
              <a:gd name="connsiteY2221" fmla="*/ 3326605 h 6858290"/>
              <a:gd name="connsiteX2222" fmla="*/ 12135943 w 12139750"/>
              <a:gd name="connsiteY2222" fmla="*/ 3111832 h 6858290"/>
              <a:gd name="connsiteX2223" fmla="*/ 12139750 w 12139750"/>
              <a:gd name="connsiteY2223" fmla="*/ 3109931 h 6858290"/>
              <a:gd name="connsiteX2224" fmla="*/ 7592396 w 12139750"/>
              <a:gd name="connsiteY2224" fmla="*/ 3107000 h 6858290"/>
              <a:gd name="connsiteX2225" fmla="*/ 7612145 w 12139750"/>
              <a:gd name="connsiteY2225" fmla="*/ 3121034 h 6858290"/>
              <a:gd name="connsiteX2226" fmla="*/ 7602628 w 12139750"/>
              <a:gd name="connsiteY2226" fmla="*/ 3164800 h 6858290"/>
              <a:gd name="connsiteX2227" fmla="*/ 7267608 w 12139750"/>
              <a:gd name="connsiteY2227" fmla="*/ 3379811 h 6858290"/>
              <a:gd name="connsiteX2228" fmla="*/ 7223827 w 12139750"/>
              <a:gd name="connsiteY2228" fmla="*/ 3370294 h 6858290"/>
              <a:gd name="connsiteX2229" fmla="*/ 7220020 w 12139750"/>
              <a:gd name="connsiteY2229" fmla="*/ 3353176 h 6858290"/>
              <a:gd name="connsiteX2230" fmla="*/ 7233344 w 12139750"/>
              <a:gd name="connsiteY2230" fmla="*/ 3326538 h 6858290"/>
              <a:gd name="connsiteX2231" fmla="*/ 7568364 w 12139750"/>
              <a:gd name="connsiteY2231" fmla="*/ 3111519 h 6858290"/>
              <a:gd name="connsiteX2232" fmla="*/ 7592396 w 12139750"/>
              <a:gd name="connsiteY2232" fmla="*/ 3107000 h 6858290"/>
              <a:gd name="connsiteX2233" fmla="*/ 7041870 w 12139750"/>
              <a:gd name="connsiteY2233" fmla="*/ 3101853 h 6858290"/>
              <a:gd name="connsiteX2234" fmla="*/ 7064457 w 12139750"/>
              <a:gd name="connsiteY2234" fmla="*/ 3118540 h 6858290"/>
              <a:gd name="connsiteX2235" fmla="*/ 7051143 w 12139750"/>
              <a:gd name="connsiteY2235" fmla="*/ 3166221 h 6858290"/>
              <a:gd name="connsiteX2236" fmla="*/ 6714471 w 12139750"/>
              <a:gd name="connsiteY2236" fmla="*/ 3360742 h 6858290"/>
              <a:gd name="connsiteX2237" fmla="*/ 6666918 w 12139750"/>
              <a:gd name="connsiteY2237" fmla="*/ 3347395 h 6858290"/>
              <a:gd name="connsiteX2238" fmla="*/ 6661212 w 12139750"/>
              <a:gd name="connsiteY2238" fmla="*/ 3330234 h 6858290"/>
              <a:gd name="connsiteX2239" fmla="*/ 6680233 w 12139750"/>
              <a:gd name="connsiteY2239" fmla="*/ 3299719 h 6858290"/>
              <a:gd name="connsiteX2240" fmla="*/ 7015003 w 12139750"/>
              <a:gd name="connsiteY2240" fmla="*/ 3105192 h 6858290"/>
              <a:gd name="connsiteX2241" fmla="*/ 7041870 w 12139750"/>
              <a:gd name="connsiteY2241" fmla="*/ 3101853 h 6858290"/>
              <a:gd name="connsiteX2242" fmla="*/ 6499097 w 12139750"/>
              <a:gd name="connsiteY2242" fmla="*/ 3095115 h 6858290"/>
              <a:gd name="connsiteX2243" fmla="*/ 6521210 w 12139750"/>
              <a:gd name="connsiteY2243" fmla="*/ 3114451 h 6858290"/>
              <a:gd name="connsiteX2244" fmla="*/ 6505992 w 12139750"/>
              <a:gd name="connsiteY2244" fmla="*/ 3167917 h 6858290"/>
              <a:gd name="connsiteX2245" fmla="*/ 6167407 w 12139750"/>
              <a:gd name="connsiteY2245" fmla="*/ 3341686 h 6858290"/>
              <a:gd name="connsiteX2246" fmla="*/ 6116048 w 12139750"/>
              <a:gd name="connsiteY2246" fmla="*/ 3326407 h 6858290"/>
              <a:gd name="connsiteX2247" fmla="*/ 6110342 w 12139750"/>
              <a:gd name="connsiteY2247" fmla="*/ 3307313 h 6858290"/>
              <a:gd name="connsiteX2248" fmla="*/ 6131266 w 12139750"/>
              <a:gd name="connsiteY2248" fmla="*/ 3272944 h 6858290"/>
              <a:gd name="connsiteX2249" fmla="*/ 6469851 w 12139750"/>
              <a:gd name="connsiteY2249" fmla="*/ 3097266 h 6858290"/>
              <a:gd name="connsiteX2250" fmla="*/ 6499097 w 12139750"/>
              <a:gd name="connsiteY2250" fmla="*/ 3095115 h 6858290"/>
              <a:gd name="connsiteX2251" fmla="*/ 5958954 w 12139750"/>
              <a:gd name="connsiteY2251" fmla="*/ 3091506 h 6858290"/>
              <a:gd name="connsiteX2252" fmla="*/ 5983314 w 12139750"/>
              <a:gd name="connsiteY2252" fmla="*/ 3113357 h 6858290"/>
              <a:gd name="connsiteX2253" fmla="*/ 5962297 w 12139750"/>
              <a:gd name="connsiteY2253" fmla="*/ 3170362 h 6858290"/>
              <a:gd name="connsiteX2254" fmla="*/ 5620300 w 12139750"/>
              <a:gd name="connsiteY2254" fmla="*/ 3324270 h 6858290"/>
              <a:gd name="connsiteX2255" fmla="*/ 5564892 w 12139750"/>
              <a:gd name="connsiteY2255" fmla="*/ 3301471 h 6858290"/>
              <a:gd name="connsiteX2256" fmla="*/ 5561071 w 12139750"/>
              <a:gd name="connsiteY2256" fmla="*/ 3284371 h 6858290"/>
              <a:gd name="connsiteX2257" fmla="*/ 5585909 w 12139750"/>
              <a:gd name="connsiteY2257" fmla="*/ 3246366 h 6858290"/>
              <a:gd name="connsiteX2258" fmla="*/ 5925997 w 12139750"/>
              <a:gd name="connsiteY2258" fmla="*/ 3092457 h 6858290"/>
              <a:gd name="connsiteX2259" fmla="*/ 5958954 w 12139750"/>
              <a:gd name="connsiteY2259" fmla="*/ 3091506 h 6858290"/>
              <a:gd name="connsiteX2260" fmla="*/ 399603 w 12139750"/>
              <a:gd name="connsiteY2260" fmla="*/ 3091494 h 6858290"/>
              <a:gd name="connsiteX2261" fmla="*/ 423874 w 12139750"/>
              <a:gd name="connsiteY2261" fmla="*/ 3113346 h 6858290"/>
              <a:gd name="connsiteX2262" fmla="*/ 401031 w 12139750"/>
              <a:gd name="connsiteY2262" fmla="*/ 3170351 h 6858290"/>
              <a:gd name="connsiteX2263" fmla="*/ 62187 w 12139750"/>
              <a:gd name="connsiteY2263" fmla="*/ 3324262 h 6858290"/>
              <a:gd name="connsiteX2264" fmla="*/ 6982 w 12139750"/>
              <a:gd name="connsiteY2264" fmla="*/ 3301463 h 6858290"/>
              <a:gd name="connsiteX2265" fmla="*/ 3175 w 12139750"/>
              <a:gd name="connsiteY2265" fmla="*/ 3284360 h 6858290"/>
              <a:gd name="connsiteX2266" fmla="*/ 27922 w 12139750"/>
              <a:gd name="connsiteY2266" fmla="*/ 3246356 h 6858290"/>
              <a:gd name="connsiteX2267" fmla="*/ 366766 w 12139750"/>
              <a:gd name="connsiteY2267" fmla="*/ 3092445 h 6858290"/>
              <a:gd name="connsiteX2268" fmla="*/ 399603 w 12139750"/>
              <a:gd name="connsiteY2268" fmla="*/ 3091494 h 6858290"/>
              <a:gd name="connsiteX2269" fmla="*/ 5376339 w 12139750"/>
              <a:gd name="connsiteY2269" fmla="*/ 3084226 h 6858290"/>
              <a:gd name="connsiteX2270" fmla="*/ 5437255 w 12139750"/>
              <a:gd name="connsiteY2270" fmla="*/ 3110894 h 6858290"/>
              <a:gd name="connsiteX2271" fmla="*/ 5410604 w 12139750"/>
              <a:gd name="connsiteY2271" fmla="*/ 3171854 h 6858290"/>
              <a:gd name="connsiteX2272" fmla="*/ 5069848 w 12139750"/>
              <a:gd name="connsiteY2272" fmla="*/ 3305199 h 6858290"/>
              <a:gd name="connsiteX2273" fmla="*/ 5010843 w 12139750"/>
              <a:gd name="connsiteY2273" fmla="*/ 3278532 h 6858290"/>
              <a:gd name="connsiteX2274" fmla="*/ 5007036 w 12139750"/>
              <a:gd name="connsiteY2274" fmla="*/ 3261388 h 6858290"/>
              <a:gd name="connsiteX2275" fmla="*/ 5037490 w 12139750"/>
              <a:gd name="connsiteY2275" fmla="*/ 3217574 h 6858290"/>
              <a:gd name="connsiteX2276" fmla="*/ 5376339 w 12139750"/>
              <a:gd name="connsiteY2276" fmla="*/ 3084226 h 6858290"/>
              <a:gd name="connsiteX2277" fmla="*/ 910963 w 12139750"/>
              <a:gd name="connsiteY2277" fmla="*/ 3084210 h 6858290"/>
              <a:gd name="connsiteX2278" fmla="*/ 969977 w 12139750"/>
              <a:gd name="connsiteY2278" fmla="*/ 3110879 h 6858290"/>
              <a:gd name="connsiteX2279" fmla="*/ 945229 w 12139750"/>
              <a:gd name="connsiteY2279" fmla="*/ 3171840 h 6858290"/>
              <a:gd name="connsiteX2280" fmla="*/ 604476 w 12139750"/>
              <a:gd name="connsiteY2280" fmla="*/ 3305187 h 6858290"/>
              <a:gd name="connsiteX2281" fmla="*/ 543559 w 12139750"/>
              <a:gd name="connsiteY2281" fmla="*/ 3278518 h 6858290"/>
              <a:gd name="connsiteX2282" fmla="*/ 539752 w 12139750"/>
              <a:gd name="connsiteY2282" fmla="*/ 3261374 h 6858290"/>
              <a:gd name="connsiteX2283" fmla="*/ 570210 w 12139750"/>
              <a:gd name="connsiteY2283" fmla="*/ 3217559 h 6858290"/>
              <a:gd name="connsiteX2284" fmla="*/ 910963 w 12139750"/>
              <a:gd name="connsiteY2284" fmla="*/ 3084210 h 6858290"/>
              <a:gd name="connsiteX2285" fmla="*/ 4845141 w 12139750"/>
              <a:gd name="connsiteY2285" fmla="*/ 3075495 h 6858290"/>
              <a:gd name="connsiteX2286" fmla="*/ 4888279 w 12139750"/>
              <a:gd name="connsiteY2286" fmla="*/ 3110635 h 6858290"/>
              <a:gd name="connsiteX2287" fmla="*/ 4855889 w 12139750"/>
              <a:gd name="connsiteY2287" fmla="*/ 3173587 h 6858290"/>
              <a:gd name="connsiteX2288" fmla="*/ 4514891 w 12139750"/>
              <a:gd name="connsiteY2288" fmla="*/ 3286137 h 6858290"/>
              <a:gd name="connsiteX2289" fmla="*/ 4450123 w 12139750"/>
              <a:gd name="connsiteY2289" fmla="*/ 3253707 h 6858290"/>
              <a:gd name="connsiteX2290" fmla="*/ 4448219 w 12139750"/>
              <a:gd name="connsiteY2290" fmla="*/ 3238443 h 6858290"/>
              <a:gd name="connsiteX2291" fmla="*/ 4482509 w 12139750"/>
              <a:gd name="connsiteY2291" fmla="*/ 3190757 h 6858290"/>
              <a:gd name="connsiteX2292" fmla="*/ 4825403 w 12139750"/>
              <a:gd name="connsiteY2292" fmla="*/ 3078206 h 6858290"/>
              <a:gd name="connsiteX2293" fmla="*/ 4845141 w 12139750"/>
              <a:gd name="connsiteY2293" fmla="*/ 3075495 h 6858290"/>
              <a:gd name="connsiteX2294" fmla="*/ 1479596 w 12139750"/>
              <a:gd name="connsiteY2294" fmla="*/ 3075477 h 6858290"/>
              <a:gd name="connsiteX2295" fmla="*/ 1522429 w 12139750"/>
              <a:gd name="connsiteY2295" fmla="*/ 3110619 h 6858290"/>
              <a:gd name="connsiteX2296" fmla="*/ 1491970 w 12139750"/>
              <a:gd name="connsiteY2296" fmla="*/ 3173573 h 6858290"/>
              <a:gd name="connsiteX2297" fmla="*/ 1149308 w 12139750"/>
              <a:gd name="connsiteY2297" fmla="*/ 3286122 h 6858290"/>
              <a:gd name="connsiteX2298" fmla="*/ 1086486 w 12139750"/>
              <a:gd name="connsiteY2298" fmla="*/ 3253693 h 6858290"/>
              <a:gd name="connsiteX2299" fmla="*/ 1082679 w 12139750"/>
              <a:gd name="connsiteY2299" fmla="*/ 3238431 h 6858290"/>
              <a:gd name="connsiteX2300" fmla="*/ 1118849 w 12139750"/>
              <a:gd name="connsiteY2300" fmla="*/ 3190741 h 6858290"/>
              <a:gd name="connsiteX2301" fmla="*/ 1459607 w 12139750"/>
              <a:gd name="connsiteY2301" fmla="*/ 3078189 h 6858290"/>
              <a:gd name="connsiteX2302" fmla="*/ 1479596 w 12139750"/>
              <a:gd name="connsiteY2302" fmla="*/ 3075477 h 6858290"/>
              <a:gd name="connsiteX2303" fmla="*/ 4290284 w 12139750"/>
              <a:gd name="connsiteY2303" fmla="*/ 3070235 h 6858290"/>
              <a:gd name="connsiteX2304" fmla="*/ 4333921 w 12139750"/>
              <a:gd name="connsiteY2304" fmla="*/ 3109556 h 6858290"/>
              <a:gd name="connsiteX2305" fmla="*/ 4295846 w 12139750"/>
              <a:gd name="connsiteY2305" fmla="*/ 3176127 h 6858290"/>
              <a:gd name="connsiteX2306" fmla="*/ 3953199 w 12139750"/>
              <a:gd name="connsiteY2306" fmla="*/ 3267431 h 6858290"/>
              <a:gd name="connsiteX2307" fmla="*/ 3886567 w 12139750"/>
              <a:gd name="connsiteY2307" fmla="*/ 3229387 h 6858290"/>
              <a:gd name="connsiteX2308" fmla="*/ 3884663 w 12139750"/>
              <a:gd name="connsiteY2308" fmla="*/ 3216076 h 6858290"/>
              <a:gd name="connsiteX2309" fmla="*/ 3924644 w 12139750"/>
              <a:gd name="connsiteY2309" fmla="*/ 3164719 h 6858290"/>
              <a:gd name="connsiteX2310" fmla="*/ 4269194 w 12139750"/>
              <a:gd name="connsiteY2310" fmla="*/ 3071515 h 6858290"/>
              <a:gd name="connsiteX2311" fmla="*/ 4290284 w 12139750"/>
              <a:gd name="connsiteY2311" fmla="*/ 3070235 h 6858290"/>
              <a:gd name="connsiteX2312" fmla="*/ 2036269 w 12139750"/>
              <a:gd name="connsiteY2312" fmla="*/ 3070217 h 6858290"/>
              <a:gd name="connsiteX2313" fmla="*/ 2081548 w 12139750"/>
              <a:gd name="connsiteY2313" fmla="*/ 3109537 h 6858290"/>
              <a:gd name="connsiteX2314" fmla="*/ 2043442 w 12139750"/>
              <a:gd name="connsiteY2314" fmla="*/ 3176111 h 6858290"/>
              <a:gd name="connsiteX2315" fmla="*/ 1700538 w 12139750"/>
              <a:gd name="connsiteY2315" fmla="*/ 3267414 h 6858290"/>
              <a:gd name="connsiteX2316" fmla="*/ 1633862 w 12139750"/>
              <a:gd name="connsiteY2316" fmla="*/ 3229371 h 6858290"/>
              <a:gd name="connsiteX2317" fmla="*/ 1631957 w 12139750"/>
              <a:gd name="connsiteY2317" fmla="*/ 3216056 h 6858290"/>
              <a:gd name="connsiteX2318" fmla="*/ 1671963 w 12139750"/>
              <a:gd name="connsiteY2318" fmla="*/ 3164700 h 6858290"/>
              <a:gd name="connsiteX2319" fmla="*/ 2014867 w 12139750"/>
              <a:gd name="connsiteY2319" fmla="*/ 3071495 h 6858290"/>
              <a:gd name="connsiteX2320" fmla="*/ 2036269 w 12139750"/>
              <a:gd name="connsiteY2320" fmla="*/ 3070217 h 6858290"/>
              <a:gd name="connsiteX2321" fmla="*/ 3731231 w 12139750"/>
              <a:gd name="connsiteY2321" fmla="*/ 3064531 h 6858290"/>
              <a:gd name="connsiteX2322" fmla="*/ 3777341 w 12139750"/>
              <a:gd name="connsiteY2322" fmla="*/ 3109072 h 6858290"/>
              <a:gd name="connsiteX2323" fmla="*/ 3731587 w 12139750"/>
              <a:gd name="connsiteY2323" fmla="*/ 3177762 h 6858290"/>
              <a:gd name="connsiteX2324" fmla="*/ 3386556 w 12139750"/>
              <a:gd name="connsiteY2324" fmla="*/ 3250263 h 6858290"/>
              <a:gd name="connsiteX2325" fmla="*/ 3317928 w 12139750"/>
              <a:gd name="connsiteY2325" fmla="*/ 3204472 h 6858290"/>
              <a:gd name="connsiteX2326" fmla="*/ 3317928 w 12139750"/>
              <a:gd name="connsiteY2326" fmla="*/ 3193023 h 6858290"/>
              <a:gd name="connsiteX2327" fmla="*/ 3363681 w 12139750"/>
              <a:gd name="connsiteY2327" fmla="*/ 3135786 h 6858290"/>
              <a:gd name="connsiteX2328" fmla="*/ 3708711 w 12139750"/>
              <a:gd name="connsiteY2328" fmla="*/ 3065187 h 6858290"/>
              <a:gd name="connsiteX2329" fmla="*/ 3731231 w 12139750"/>
              <a:gd name="connsiteY2329" fmla="*/ 3064531 h 6858290"/>
              <a:gd name="connsiteX2330" fmla="*/ 2597729 w 12139750"/>
              <a:gd name="connsiteY2330" fmla="*/ 3064510 h 6858290"/>
              <a:gd name="connsiteX2331" fmla="*/ 2643839 w 12139750"/>
              <a:gd name="connsiteY2331" fmla="*/ 3109051 h 6858290"/>
              <a:gd name="connsiteX2332" fmla="*/ 2598086 w 12139750"/>
              <a:gd name="connsiteY2332" fmla="*/ 3177742 h 6858290"/>
              <a:gd name="connsiteX2333" fmla="*/ 2253042 w 12139750"/>
              <a:gd name="connsiteY2333" fmla="*/ 3250246 h 6858290"/>
              <a:gd name="connsiteX2334" fmla="*/ 2184414 w 12139750"/>
              <a:gd name="connsiteY2334" fmla="*/ 3204454 h 6858290"/>
              <a:gd name="connsiteX2335" fmla="*/ 2184414 w 12139750"/>
              <a:gd name="connsiteY2335" fmla="*/ 3193005 h 6858290"/>
              <a:gd name="connsiteX2336" fmla="*/ 2230166 w 12139750"/>
              <a:gd name="connsiteY2336" fmla="*/ 3135765 h 6858290"/>
              <a:gd name="connsiteX2337" fmla="*/ 2575210 w 12139750"/>
              <a:gd name="connsiteY2337" fmla="*/ 3065166 h 6858290"/>
              <a:gd name="connsiteX2338" fmla="*/ 2597729 w 12139750"/>
              <a:gd name="connsiteY2338" fmla="*/ 3064510 h 6858290"/>
              <a:gd name="connsiteX2339" fmla="*/ 3139000 w 12139750"/>
              <a:gd name="connsiteY2339" fmla="*/ 3058190 h 6858290"/>
              <a:gd name="connsiteX2340" fmla="*/ 3209346 w 12139750"/>
              <a:gd name="connsiteY2340" fmla="*/ 3111529 h 6858290"/>
              <a:gd name="connsiteX2341" fmla="*/ 3156114 w 12139750"/>
              <a:gd name="connsiteY2341" fmla="*/ 3180110 h 6858290"/>
              <a:gd name="connsiteX2342" fmla="*/ 2811998 w 12139750"/>
              <a:gd name="connsiteY2342" fmla="*/ 3231537 h 6858290"/>
              <a:gd name="connsiteX2343" fmla="*/ 2741652 w 12139750"/>
              <a:gd name="connsiteY2343" fmla="*/ 3180110 h 6858290"/>
              <a:gd name="connsiteX2344" fmla="*/ 2741652 w 12139750"/>
              <a:gd name="connsiteY2344" fmla="*/ 3170583 h 6858290"/>
              <a:gd name="connsiteX2345" fmla="*/ 2792987 w 12139750"/>
              <a:gd name="connsiteY2345" fmla="*/ 3109626 h 6858290"/>
              <a:gd name="connsiteX2346" fmla="*/ 3139000 w 12139750"/>
              <a:gd name="connsiteY2346" fmla="*/ 3058190 h 6858290"/>
              <a:gd name="connsiteX2347" fmla="*/ 9858218 w 12139750"/>
              <a:gd name="connsiteY2347" fmla="*/ 2803158 h 6858290"/>
              <a:gd name="connsiteX2348" fmla="*/ 9867044 w 12139750"/>
              <a:gd name="connsiteY2348" fmla="*/ 2807683 h 6858290"/>
              <a:gd name="connsiteX2349" fmla="*/ 9867044 w 12139750"/>
              <a:gd name="connsiteY2349" fmla="*/ 2826731 h 6858290"/>
              <a:gd name="connsiteX2350" fmla="*/ 9536890 w 12139750"/>
              <a:gd name="connsiteY2350" fmla="*/ 3139152 h 6858290"/>
              <a:gd name="connsiteX2351" fmla="*/ 9517806 w 12139750"/>
              <a:gd name="connsiteY2351" fmla="*/ 3139152 h 6858290"/>
              <a:gd name="connsiteX2352" fmla="*/ 9513989 w 12139750"/>
              <a:gd name="connsiteY2352" fmla="*/ 3129628 h 6858290"/>
              <a:gd name="connsiteX2353" fmla="*/ 9519714 w 12139750"/>
              <a:gd name="connsiteY2353" fmla="*/ 3120101 h 6858290"/>
              <a:gd name="connsiteX2354" fmla="*/ 9847960 w 12139750"/>
              <a:gd name="connsiteY2354" fmla="*/ 2805777 h 6858290"/>
              <a:gd name="connsiteX2355" fmla="*/ 9858218 w 12139750"/>
              <a:gd name="connsiteY2355" fmla="*/ 2803158 h 6858290"/>
              <a:gd name="connsiteX2356" fmla="*/ 9280452 w 12139750"/>
              <a:gd name="connsiteY2356" fmla="*/ 2798866 h 6858290"/>
              <a:gd name="connsiteX2357" fmla="*/ 9292080 w 12139750"/>
              <a:gd name="connsiteY2357" fmla="*/ 2804804 h 6858290"/>
              <a:gd name="connsiteX2358" fmla="*/ 9290182 w 12139750"/>
              <a:gd name="connsiteY2358" fmla="*/ 2829495 h 6858290"/>
              <a:gd name="connsiteX2359" fmla="*/ 8961745 w 12139750"/>
              <a:gd name="connsiteY2359" fmla="*/ 3118217 h 6858290"/>
              <a:gd name="connsiteX2360" fmla="*/ 8937064 w 12139750"/>
              <a:gd name="connsiteY2360" fmla="*/ 3116319 h 6858290"/>
              <a:gd name="connsiteX2361" fmla="*/ 8931369 w 12139750"/>
              <a:gd name="connsiteY2361" fmla="*/ 3104922 h 6858290"/>
              <a:gd name="connsiteX2362" fmla="*/ 8937064 w 12139750"/>
              <a:gd name="connsiteY2362" fmla="*/ 3091625 h 6858290"/>
              <a:gd name="connsiteX2363" fmla="*/ 9267400 w 12139750"/>
              <a:gd name="connsiteY2363" fmla="*/ 2802904 h 6858290"/>
              <a:gd name="connsiteX2364" fmla="*/ 9280452 w 12139750"/>
              <a:gd name="connsiteY2364" fmla="*/ 2798866 h 6858290"/>
              <a:gd name="connsiteX2365" fmla="*/ 10442418 w 12139750"/>
              <a:gd name="connsiteY2365" fmla="*/ 2798842 h 6858290"/>
              <a:gd name="connsiteX2366" fmla="*/ 10454106 w 12139750"/>
              <a:gd name="connsiteY2366" fmla="*/ 2804777 h 6858290"/>
              <a:gd name="connsiteX2367" fmla="*/ 10454106 w 12139750"/>
              <a:gd name="connsiteY2367" fmla="*/ 2829471 h 6858290"/>
              <a:gd name="connsiteX2368" fmla="*/ 10122059 w 12139750"/>
              <a:gd name="connsiteY2368" fmla="*/ 3118194 h 6858290"/>
              <a:gd name="connsiteX2369" fmla="*/ 10097251 w 12139750"/>
              <a:gd name="connsiteY2369" fmla="*/ 3116295 h 6858290"/>
              <a:gd name="connsiteX2370" fmla="*/ 10093434 w 12139750"/>
              <a:gd name="connsiteY2370" fmla="*/ 3104898 h 6858290"/>
              <a:gd name="connsiteX2371" fmla="*/ 10099159 w 12139750"/>
              <a:gd name="connsiteY2371" fmla="*/ 3091603 h 6858290"/>
              <a:gd name="connsiteX2372" fmla="*/ 10429298 w 12139750"/>
              <a:gd name="connsiteY2372" fmla="*/ 2802878 h 6858290"/>
              <a:gd name="connsiteX2373" fmla="*/ 10442418 w 12139750"/>
              <a:gd name="connsiteY2373" fmla="*/ 2798842 h 6858290"/>
              <a:gd name="connsiteX2374" fmla="*/ 8710745 w 12139750"/>
              <a:gd name="connsiteY2374" fmla="*/ 2792356 h 6858290"/>
              <a:gd name="connsiteX2375" fmla="*/ 8725295 w 12139750"/>
              <a:gd name="connsiteY2375" fmla="*/ 2800675 h 6858290"/>
              <a:gd name="connsiteX2376" fmla="*/ 8723387 w 12139750"/>
              <a:gd name="connsiteY2376" fmla="*/ 2831093 h 6858290"/>
              <a:gd name="connsiteX2377" fmla="*/ 8389446 w 12139750"/>
              <a:gd name="connsiteY2377" fmla="*/ 3099164 h 6858290"/>
              <a:gd name="connsiteX2378" fmla="*/ 8358914 w 12139750"/>
              <a:gd name="connsiteY2378" fmla="*/ 3095358 h 6858290"/>
              <a:gd name="connsiteX2379" fmla="*/ 8355098 w 12139750"/>
              <a:gd name="connsiteY2379" fmla="*/ 3082053 h 6858290"/>
              <a:gd name="connsiteX2380" fmla="*/ 8362731 w 12139750"/>
              <a:gd name="connsiteY2380" fmla="*/ 3064941 h 6858290"/>
              <a:gd name="connsiteX2381" fmla="*/ 8694763 w 12139750"/>
              <a:gd name="connsiteY2381" fmla="*/ 2796872 h 6858290"/>
              <a:gd name="connsiteX2382" fmla="*/ 8710745 w 12139750"/>
              <a:gd name="connsiteY2382" fmla="*/ 2792356 h 6858290"/>
              <a:gd name="connsiteX2383" fmla="*/ 11020609 w 12139750"/>
              <a:gd name="connsiteY2383" fmla="*/ 2792330 h 6858290"/>
              <a:gd name="connsiteX2384" fmla="*/ 11035147 w 12139750"/>
              <a:gd name="connsiteY2384" fmla="*/ 2800648 h 6858290"/>
              <a:gd name="connsiteX2385" fmla="*/ 11031333 w 12139750"/>
              <a:gd name="connsiteY2385" fmla="*/ 2831067 h 6858290"/>
              <a:gd name="connsiteX2386" fmla="*/ 10699581 w 12139750"/>
              <a:gd name="connsiteY2386" fmla="*/ 3099136 h 6858290"/>
              <a:gd name="connsiteX2387" fmla="*/ 10669075 w 12139750"/>
              <a:gd name="connsiteY2387" fmla="*/ 3095334 h 6858290"/>
              <a:gd name="connsiteX2388" fmla="*/ 10663355 w 12139750"/>
              <a:gd name="connsiteY2388" fmla="*/ 3082025 h 6858290"/>
              <a:gd name="connsiteX2389" fmla="*/ 10672888 w 12139750"/>
              <a:gd name="connsiteY2389" fmla="*/ 3064914 h 6858290"/>
              <a:gd name="connsiteX2390" fmla="*/ 11004641 w 12139750"/>
              <a:gd name="connsiteY2390" fmla="*/ 2796846 h 6858290"/>
              <a:gd name="connsiteX2391" fmla="*/ 11020609 w 12139750"/>
              <a:gd name="connsiteY2391" fmla="*/ 2792330 h 6858290"/>
              <a:gd name="connsiteX2392" fmla="*/ 8147926 w 12139750"/>
              <a:gd name="connsiteY2392" fmla="*/ 2787441 h 6858290"/>
              <a:gd name="connsiteX2393" fmla="*/ 8164595 w 12139750"/>
              <a:gd name="connsiteY2393" fmla="*/ 2798157 h 6858290"/>
              <a:gd name="connsiteX2394" fmla="*/ 8158880 w 12139750"/>
              <a:gd name="connsiteY2394" fmla="*/ 2834352 h 6858290"/>
              <a:gd name="connsiteX2395" fmla="*/ 7825500 w 12139750"/>
              <a:gd name="connsiteY2395" fmla="*/ 3078192 h 6858290"/>
              <a:gd name="connsiteX2396" fmla="*/ 7789305 w 12139750"/>
              <a:gd name="connsiteY2396" fmla="*/ 3072478 h 6858290"/>
              <a:gd name="connsiteX2397" fmla="*/ 7783590 w 12139750"/>
              <a:gd name="connsiteY2397" fmla="*/ 3057236 h 6858290"/>
              <a:gd name="connsiteX2398" fmla="*/ 7795020 w 12139750"/>
              <a:gd name="connsiteY2398" fmla="*/ 3036282 h 6858290"/>
              <a:gd name="connsiteX2399" fmla="*/ 8128399 w 12139750"/>
              <a:gd name="connsiteY2399" fmla="*/ 2792440 h 6858290"/>
              <a:gd name="connsiteX2400" fmla="*/ 8147926 w 12139750"/>
              <a:gd name="connsiteY2400" fmla="*/ 2787441 h 6858290"/>
              <a:gd name="connsiteX2401" fmla="*/ 11592432 w 12139750"/>
              <a:gd name="connsiteY2401" fmla="*/ 2787434 h 6858290"/>
              <a:gd name="connsiteX2402" fmla="*/ 11609830 w 12139750"/>
              <a:gd name="connsiteY2402" fmla="*/ 2798149 h 6858290"/>
              <a:gd name="connsiteX2403" fmla="*/ 11604110 w 12139750"/>
              <a:gd name="connsiteY2403" fmla="*/ 2834343 h 6858290"/>
              <a:gd name="connsiteX2404" fmla="*/ 11270458 w 12139750"/>
              <a:gd name="connsiteY2404" fmla="*/ 3078185 h 6858290"/>
              <a:gd name="connsiteX2405" fmla="*/ 11234233 w 12139750"/>
              <a:gd name="connsiteY2405" fmla="*/ 3072469 h 6858290"/>
              <a:gd name="connsiteX2406" fmla="*/ 11228513 w 12139750"/>
              <a:gd name="connsiteY2406" fmla="*/ 3057229 h 6858290"/>
              <a:gd name="connsiteX2407" fmla="*/ 11238046 w 12139750"/>
              <a:gd name="connsiteY2407" fmla="*/ 3036275 h 6858290"/>
              <a:gd name="connsiteX2408" fmla="*/ 11573605 w 12139750"/>
              <a:gd name="connsiteY2408" fmla="*/ 2792433 h 6858290"/>
              <a:gd name="connsiteX2409" fmla="*/ 11592432 w 12139750"/>
              <a:gd name="connsiteY2409" fmla="*/ 2787434 h 6858290"/>
              <a:gd name="connsiteX2410" fmla="*/ 12139750 w 12139750"/>
              <a:gd name="connsiteY2410" fmla="*/ 2786083 h 6858290"/>
              <a:gd name="connsiteX2411" fmla="*/ 12139750 w 12139750"/>
              <a:gd name="connsiteY2411" fmla="*/ 2858148 h 6858290"/>
              <a:gd name="connsiteX2412" fmla="*/ 11834946 w 12139750"/>
              <a:gd name="connsiteY2412" fmla="*/ 3059175 h 6858290"/>
              <a:gd name="connsiteX2413" fmla="*/ 11793035 w 12139750"/>
              <a:gd name="connsiteY2413" fmla="*/ 3049691 h 6858290"/>
              <a:gd name="connsiteX2414" fmla="*/ 11787320 w 12139750"/>
              <a:gd name="connsiteY2414" fmla="*/ 3032623 h 6858290"/>
              <a:gd name="connsiteX2415" fmla="*/ 11800655 w 12139750"/>
              <a:gd name="connsiteY2415" fmla="*/ 3007970 h 6858290"/>
              <a:gd name="connsiteX2416" fmla="*/ 12135940 w 12139750"/>
              <a:gd name="connsiteY2416" fmla="*/ 2787978 h 6858290"/>
              <a:gd name="connsiteX2417" fmla="*/ 12139750 w 12139750"/>
              <a:gd name="connsiteY2417" fmla="*/ 2786083 h 6858290"/>
              <a:gd name="connsiteX2418" fmla="*/ 7592452 w 12139750"/>
              <a:gd name="connsiteY2418" fmla="*/ 2782900 h 6858290"/>
              <a:gd name="connsiteX2419" fmla="*/ 7610550 w 12139750"/>
              <a:gd name="connsiteY2419" fmla="*/ 2795241 h 6858290"/>
              <a:gd name="connsiteX2420" fmla="*/ 7602930 w 12139750"/>
              <a:gd name="connsiteY2420" fmla="*/ 2837016 h 6858290"/>
              <a:gd name="connsiteX2421" fmla="*/ 7267645 w 12139750"/>
              <a:gd name="connsiteY2421" fmla="*/ 3059173 h 6858290"/>
              <a:gd name="connsiteX2422" fmla="*/ 7225735 w 12139750"/>
              <a:gd name="connsiteY2422" fmla="*/ 3049680 h 6858290"/>
              <a:gd name="connsiteX2423" fmla="*/ 7220020 w 12139750"/>
              <a:gd name="connsiteY2423" fmla="*/ 3032591 h 6858290"/>
              <a:gd name="connsiteX2424" fmla="*/ 7233355 w 12139750"/>
              <a:gd name="connsiteY2424" fmla="*/ 3007907 h 6858290"/>
              <a:gd name="connsiteX2425" fmla="*/ 7568639 w 12139750"/>
              <a:gd name="connsiteY2425" fmla="*/ 2787648 h 6858290"/>
              <a:gd name="connsiteX2426" fmla="*/ 7592452 w 12139750"/>
              <a:gd name="connsiteY2426" fmla="*/ 2782900 h 6858290"/>
              <a:gd name="connsiteX2427" fmla="*/ 7041900 w 12139750"/>
              <a:gd name="connsiteY2427" fmla="*/ 2777758 h 6858290"/>
              <a:gd name="connsiteX2428" fmla="*/ 7062856 w 12139750"/>
              <a:gd name="connsiteY2428" fmla="*/ 2792757 h 6858290"/>
              <a:gd name="connsiteX2429" fmla="*/ 7051425 w 12139750"/>
              <a:gd name="connsiteY2429" fmla="*/ 2840384 h 6858290"/>
              <a:gd name="connsiteX2430" fmla="*/ 6714236 w 12139750"/>
              <a:gd name="connsiteY2430" fmla="*/ 3038503 h 6858290"/>
              <a:gd name="connsiteX2431" fmla="*/ 6666610 w 12139750"/>
              <a:gd name="connsiteY2431" fmla="*/ 3027077 h 6858290"/>
              <a:gd name="connsiteX2432" fmla="*/ 6662800 w 12139750"/>
              <a:gd name="connsiteY2432" fmla="*/ 3009931 h 6858290"/>
              <a:gd name="connsiteX2433" fmla="*/ 6679945 w 12139750"/>
              <a:gd name="connsiteY2433" fmla="*/ 2979450 h 6858290"/>
              <a:gd name="connsiteX2434" fmla="*/ 7015230 w 12139750"/>
              <a:gd name="connsiteY2434" fmla="*/ 2781330 h 6858290"/>
              <a:gd name="connsiteX2435" fmla="*/ 7041900 w 12139750"/>
              <a:gd name="connsiteY2435" fmla="*/ 2777758 h 6858290"/>
              <a:gd name="connsiteX2436" fmla="*/ 6499388 w 12139750"/>
              <a:gd name="connsiteY2436" fmla="*/ 2774400 h 6858290"/>
              <a:gd name="connsiteX2437" fmla="*/ 6521517 w 12139750"/>
              <a:gd name="connsiteY2437" fmla="*/ 2793615 h 6858290"/>
              <a:gd name="connsiteX2438" fmla="*/ 6506288 w 12139750"/>
              <a:gd name="connsiteY2438" fmla="*/ 2844865 h 6858290"/>
              <a:gd name="connsiteX2439" fmla="*/ 6167449 w 12139750"/>
              <a:gd name="connsiteY2439" fmla="*/ 3019490 h 6858290"/>
              <a:gd name="connsiteX2440" fmla="*/ 6116053 w 12139750"/>
              <a:gd name="connsiteY2440" fmla="*/ 3002408 h 6858290"/>
              <a:gd name="connsiteX2441" fmla="*/ 6110342 w 12139750"/>
              <a:gd name="connsiteY2441" fmla="*/ 2985324 h 6858290"/>
              <a:gd name="connsiteX2442" fmla="*/ 6131281 w 12139750"/>
              <a:gd name="connsiteY2442" fmla="*/ 2951160 h 6858290"/>
              <a:gd name="connsiteX2443" fmla="*/ 6470120 w 12139750"/>
              <a:gd name="connsiteY2443" fmla="*/ 2776533 h 6858290"/>
              <a:gd name="connsiteX2444" fmla="*/ 6499388 w 12139750"/>
              <a:gd name="connsiteY2444" fmla="*/ 2774400 h 6858290"/>
              <a:gd name="connsiteX2445" fmla="*/ 5959672 w 12139750"/>
              <a:gd name="connsiteY2445" fmla="*/ 2769256 h 6858290"/>
              <a:gd name="connsiteX2446" fmla="*/ 5983314 w 12139750"/>
              <a:gd name="connsiteY2446" fmla="*/ 2791133 h 6858290"/>
              <a:gd name="connsiteX2447" fmla="*/ 5962297 w 12139750"/>
              <a:gd name="connsiteY2447" fmla="*/ 2848210 h 6858290"/>
              <a:gd name="connsiteX2448" fmla="*/ 5620300 w 12139750"/>
              <a:gd name="connsiteY2448" fmla="*/ 3000418 h 6858290"/>
              <a:gd name="connsiteX2449" fmla="*/ 5564892 w 12139750"/>
              <a:gd name="connsiteY2449" fmla="*/ 2979489 h 6858290"/>
              <a:gd name="connsiteX2450" fmla="*/ 5561071 w 12139750"/>
              <a:gd name="connsiteY2450" fmla="*/ 2960466 h 6858290"/>
              <a:gd name="connsiteX2451" fmla="*/ 5585909 w 12139750"/>
              <a:gd name="connsiteY2451" fmla="*/ 2922412 h 6858290"/>
              <a:gd name="connsiteX2452" fmla="*/ 5925997 w 12139750"/>
              <a:gd name="connsiteY2452" fmla="*/ 2770208 h 6858290"/>
              <a:gd name="connsiteX2453" fmla="*/ 5959672 w 12139750"/>
              <a:gd name="connsiteY2453" fmla="*/ 2769256 h 6858290"/>
              <a:gd name="connsiteX2454" fmla="*/ 399603 w 12139750"/>
              <a:gd name="connsiteY2454" fmla="*/ 2769241 h 6858290"/>
              <a:gd name="connsiteX2455" fmla="*/ 423874 w 12139750"/>
              <a:gd name="connsiteY2455" fmla="*/ 2791121 h 6858290"/>
              <a:gd name="connsiteX2456" fmla="*/ 401030 w 12139750"/>
              <a:gd name="connsiteY2456" fmla="*/ 2848199 h 6858290"/>
              <a:gd name="connsiteX2457" fmla="*/ 62187 w 12139750"/>
              <a:gd name="connsiteY2457" fmla="*/ 3000404 h 6858290"/>
              <a:gd name="connsiteX2458" fmla="*/ 6982 w 12139750"/>
              <a:gd name="connsiteY2458" fmla="*/ 2979476 h 6858290"/>
              <a:gd name="connsiteX2459" fmla="*/ 3175 w 12139750"/>
              <a:gd name="connsiteY2459" fmla="*/ 2960451 h 6858290"/>
              <a:gd name="connsiteX2460" fmla="*/ 27922 w 12139750"/>
              <a:gd name="connsiteY2460" fmla="*/ 2922399 h 6858290"/>
              <a:gd name="connsiteX2461" fmla="*/ 366765 w 12139750"/>
              <a:gd name="connsiteY2461" fmla="*/ 2770194 h 6858290"/>
              <a:gd name="connsiteX2462" fmla="*/ 399603 w 12139750"/>
              <a:gd name="connsiteY2462" fmla="*/ 2769241 h 6858290"/>
              <a:gd name="connsiteX2463" fmla="*/ 5396030 w 12139750"/>
              <a:gd name="connsiteY2463" fmla="*/ 2760546 h 6858290"/>
              <a:gd name="connsiteX2464" fmla="*/ 5437255 w 12139750"/>
              <a:gd name="connsiteY2464" fmla="*/ 2790586 h 6858290"/>
              <a:gd name="connsiteX2465" fmla="*/ 5410604 w 12139750"/>
              <a:gd name="connsiteY2465" fmla="*/ 2851628 h 6858290"/>
              <a:gd name="connsiteX2466" fmla="*/ 5069848 w 12139750"/>
              <a:gd name="connsiteY2466" fmla="*/ 2981344 h 6858290"/>
              <a:gd name="connsiteX2467" fmla="*/ 5008939 w 12139750"/>
              <a:gd name="connsiteY2467" fmla="*/ 2954638 h 6858290"/>
              <a:gd name="connsiteX2468" fmla="*/ 5007036 w 12139750"/>
              <a:gd name="connsiteY2468" fmla="*/ 2937469 h 6858290"/>
              <a:gd name="connsiteX2469" fmla="*/ 5037490 w 12139750"/>
              <a:gd name="connsiteY2469" fmla="*/ 2893596 h 6858290"/>
              <a:gd name="connsiteX2470" fmla="*/ 5378244 w 12139750"/>
              <a:gd name="connsiteY2470" fmla="*/ 2763882 h 6858290"/>
              <a:gd name="connsiteX2471" fmla="*/ 5396030 w 12139750"/>
              <a:gd name="connsiteY2471" fmla="*/ 2760546 h 6858290"/>
              <a:gd name="connsiteX2472" fmla="*/ 930706 w 12139750"/>
              <a:gd name="connsiteY2472" fmla="*/ 2760528 h 6858290"/>
              <a:gd name="connsiteX2473" fmla="*/ 973124 w 12139750"/>
              <a:gd name="connsiteY2473" fmla="*/ 2790570 h 6858290"/>
              <a:gd name="connsiteX2474" fmla="*/ 946396 w 12139750"/>
              <a:gd name="connsiteY2474" fmla="*/ 2851614 h 6858290"/>
              <a:gd name="connsiteX2475" fmla="*/ 604662 w 12139750"/>
              <a:gd name="connsiteY2475" fmla="*/ 2981328 h 6858290"/>
              <a:gd name="connsiteX2476" fmla="*/ 543570 w 12139750"/>
              <a:gd name="connsiteY2476" fmla="*/ 2954621 h 6858290"/>
              <a:gd name="connsiteX2477" fmla="*/ 539752 w 12139750"/>
              <a:gd name="connsiteY2477" fmla="*/ 2937453 h 6858290"/>
              <a:gd name="connsiteX2478" fmla="*/ 570298 w 12139750"/>
              <a:gd name="connsiteY2478" fmla="*/ 2893580 h 6858290"/>
              <a:gd name="connsiteX2479" fmla="*/ 912032 w 12139750"/>
              <a:gd name="connsiteY2479" fmla="*/ 2763867 h 6858290"/>
              <a:gd name="connsiteX2480" fmla="*/ 930706 w 12139750"/>
              <a:gd name="connsiteY2480" fmla="*/ 2760528 h 6858290"/>
              <a:gd name="connsiteX2481" fmla="*/ 4845194 w 12139750"/>
              <a:gd name="connsiteY2481" fmla="*/ 2755586 h 6858290"/>
              <a:gd name="connsiteX2482" fmla="*/ 4889877 w 12139750"/>
              <a:gd name="connsiteY2482" fmla="*/ 2791428 h 6858290"/>
              <a:gd name="connsiteX2483" fmla="*/ 4855631 w 12139750"/>
              <a:gd name="connsiteY2483" fmla="*/ 2856106 h 6858290"/>
              <a:gd name="connsiteX2484" fmla="*/ 4513213 w 12139750"/>
              <a:gd name="connsiteY2484" fmla="*/ 2962635 h 6858290"/>
              <a:gd name="connsiteX2485" fmla="*/ 4448533 w 12139750"/>
              <a:gd name="connsiteY2485" fmla="*/ 2928394 h 6858290"/>
              <a:gd name="connsiteX2486" fmla="*/ 4446631 w 12139750"/>
              <a:gd name="connsiteY2486" fmla="*/ 2913176 h 6858290"/>
              <a:gd name="connsiteX2487" fmla="*/ 4482777 w 12139750"/>
              <a:gd name="connsiteY2487" fmla="*/ 2863715 h 6858290"/>
              <a:gd name="connsiteX2488" fmla="*/ 4825187 w 12139750"/>
              <a:gd name="connsiteY2488" fmla="*/ 2757192 h 6858290"/>
              <a:gd name="connsiteX2489" fmla="*/ 4845194 w 12139750"/>
              <a:gd name="connsiteY2489" fmla="*/ 2755586 h 6858290"/>
              <a:gd name="connsiteX2490" fmla="*/ 1482623 w 12139750"/>
              <a:gd name="connsiteY2490" fmla="*/ 2755567 h 6858290"/>
              <a:gd name="connsiteX2491" fmla="*/ 1525577 w 12139750"/>
              <a:gd name="connsiteY2491" fmla="*/ 2791412 h 6858290"/>
              <a:gd name="connsiteX2492" fmla="*/ 1493123 w 12139750"/>
              <a:gd name="connsiteY2492" fmla="*/ 2856090 h 6858290"/>
              <a:gd name="connsiteX2493" fmla="*/ 1149495 w 12139750"/>
              <a:gd name="connsiteY2493" fmla="*/ 2962617 h 6858290"/>
              <a:gd name="connsiteX2494" fmla="*/ 1084588 w 12139750"/>
              <a:gd name="connsiteY2494" fmla="*/ 2928375 h 6858290"/>
              <a:gd name="connsiteX2495" fmla="*/ 1082679 w 12139750"/>
              <a:gd name="connsiteY2495" fmla="*/ 2913158 h 6858290"/>
              <a:gd name="connsiteX2496" fmla="*/ 1118950 w 12139750"/>
              <a:gd name="connsiteY2496" fmla="*/ 2863698 h 6858290"/>
              <a:gd name="connsiteX2497" fmla="*/ 1462578 w 12139750"/>
              <a:gd name="connsiteY2497" fmla="*/ 2757173 h 6858290"/>
              <a:gd name="connsiteX2498" fmla="*/ 1482623 w 12139750"/>
              <a:gd name="connsiteY2498" fmla="*/ 2755567 h 6858290"/>
              <a:gd name="connsiteX2499" fmla="*/ 4291651 w 12139750"/>
              <a:gd name="connsiteY2499" fmla="*/ 2750401 h 6858290"/>
              <a:gd name="connsiteX2500" fmla="*/ 4335825 w 12139750"/>
              <a:gd name="connsiteY2500" fmla="*/ 2792587 h 6858290"/>
              <a:gd name="connsiteX2501" fmla="*/ 4295846 w 12139750"/>
              <a:gd name="connsiteY2501" fmla="*/ 2859470 h 6858290"/>
              <a:gd name="connsiteX2502" fmla="*/ 3953199 w 12139750"/>
              <a:gd name="connsiteY2502" fmla="*/ 2943550 h 6858290"/>
              <a:gd name="connsiteX2503" fmla="*/ 3884663 w 12139750"/>
              <a:gd name="connsiteY2503" fmla="*/ 2901512 h 6858290"/>
              <a:gd name="connsiteX2504" fmla="*/ 3884663 w 12139750"/>
              <a:gd name="connsiteY2504" fmla="*/ 2888136 h 6858290"/>
              <a:gd name="connsiteX2505" fmla="*/ 3926546 w 12139750"/>
              <a:gd name="connsiteY2505" fmla="*/ 2834629 h 6858290"/>
              <a:gd name="connsiteX2506" fmla="*/ 4269194 w 12139750"/>
              <a:gd name="connsiteY2506" fmla="*/ 2750551 h 6858290"/>
              <a:gd name="connsiteX2507" fmla="*/ 4291651 w 12139750"/>
              <a:gd name="connsiteY2507" fmla="*/ 2750401 h 6858290"/>
              <a:gd name="connsiteX2508" fmla="*/ 2037928 w 12139750"/>
              <a:gd name="connsiteY2508" fmla="*/ 2750381 h 6858290"/>
              <a:gd name="connsiteX2509" fmla="*/ 2083145 w 12139750"/>
              <a:gd name="connsiteY2509" fmla="*/ 2792570 h 6858290"/>
              <a:gd name="connsiteX2510" fmla="*/ 2043190 w 12139750"/>
              <a:gd name="connsiteY2510" fmla="*/ 2859451 h 6858290"/>
              <a:gd name="connsiteX2511" fmla="*/ 1698856 w 12139750"/>
              <a:gd name="connsiteY2511" fmla="*/ 2943529 h 6858290"/>
              <a:gd name="connsiteX2512" fmla="*/ 1632272 w 12139750"/>
              <a:gd name="connsiteY2512" fmla="*/ 2901491 h 6858290"/>
              <a:gd name="connsiteX2513" fmla="*/ 1630369 w 12139750"/>
              <a:gd name="connsiteY2513" fmla="*/ 2888114 h 6858290"/>
              <a:gd name="connsiteX2514" fmla="*/ 1672222 w 12139750"/>
              <a:gd name="connsiteY2514" fmla="*/ 2834609 h 6858290"/>
              <a:gd name="connsiteX2515" fmla="*/ 2016556 w 12139750"/>
              <a:gd name="connsiteY2515" fmla="*/ 2750531 h 6858290"/>
              <a:gd name="connsiteX2516" fmla="*/ 2037928 w 12139750"/>
              <a:gd name="connsiteY2516" fmla="*/ 2750381 h 6858290"/>
              <a:gd name="connsiteX2517" fmla="*/ 3710449 w 12139750"/>
              <a:gd name="connsiteY2517" fmla="*/ 2745770 h 6858290"/>
              <a:gd name="connsiteX2518" fmla="*/ 3778940 w 12139750"/>
              <a:gd name="connsiteY2518" fmla="*/ 2795297 h 6858290"/>
              <a:gd name="connsiteX2519" fmla="*/ 3731377 w 12139750"/>
              <a:gd name="connsiteY2519" fmla="*/ 2863880 h 6858290"/>
              <a:gd name="connsiteX2520" fmla="*/ 3385144 w 12139750"/>
              <a:gd name="connsiteY2520" fmla="*/ 2924842 h 6858290"/>
              <a:gd name="connsiteX2521" fmla="*/ 3316656 w 12139750"/>
              <a:gd name="connsiteY2521" fmla="*/ 2875310 h 6858290"/>
              <a:gd name="connsiteX2522" fmla="*/ 3314753 w 12139750"/>
              <a:gd name="connsiteY2522" fmla="*/ 2865784 h 6858290"/>
              <a:gd name="connsiteX2523" fmla="*/ 3364218 w 12139750"/>
              <a:gd name="connsiteY2523" fmla="*/ 2806729 h 6858290"/>
              <a:gd name="connsiteX2524" fmla="*/ 3710449 w 12139750"/>
              <a:gd name="connsiteY2524" fmla="*/ 2745770 h 6858290"/>
              <a:gd name="connsiteX2525" fmla="*/ 2576948 w 12139750"/>
              <a:gd name="connsiteY2525" fmla="*/ 2745748 h 6858290"/>
              <a:gd name="connsiteX2526" fmla="*/ 2645436 w 12139750"/>
              <a:gd name="connsiteY2526" fmla="*/ 2795278 h 6858290"/>
              <a:gd name="connsiteX2527" fmla="*/ 2595972 w 12139750"/>
              <a:gd name="connsiteY2527" fmla="*/ 2863857 h 6858290"/>
              <a:gd name="connsiteX2528" fmla="*/ 2251629 w 12139750"/>
              <a:gd name="connsiteY2528" fmla="*/ 2924818 h 6858290"/>
              <a:gd name="connsiteX2529" fmla="*/ 2183141 w 12139750"/>
              <a:gd name="connsiteY2529" fmla="*/ 2875287 h 6858290"/>
              <a:gd name="connsiteX2530" fmla="*/ 2181239 w 12139750"/>
              <a:gd name="connsiteY2530" fmla="*/ 2865763 h 6858290"/>
              <a:gd name="connsiteX2531" fmla="*/ 2230702 w 12139750"/>
              <a:gd name="connsiteY2531" fmla="*/ 2806708 h 6858290"/>
              <a:gd name="connsiteX2532" fmla="*/ 2576948 w 12139750"/>
              <a:gd name="connsiteY2532" fmla="*/ 2745748 h 6858290"/>
              <a:gd name="connsiteX2533" fmla="*/ 3140489 w 12139750"/>
              <a:gd name="connsiteY2533" fmla="*/ 2739132 h 6858290"/>
              <a:gd name="connsiteX2534" fmla="*/ 3210928 w 12139750"/>
              <a:gd name="connsiteY2534" fmla="*/ 2796698 h 6858290"/>
              <a:gd name="connsiteX2535" fmla="*/ 3153815 w 12139750"/>
              <a:gd name="connsiteY2535" fmla="*/ 2867700 h 6858290"/>
              <a:gd name="connsiteX2536" fmla="*/ 2807330 w 12139750"/>
              <a:gd name="connsiteY2536" fmla="*/ 2906081 h 6858290"/>
              <a:gd name="connsiteX2537" fmla="*/ 2736892 w 12139750"/>
              <a:gd name="connsiteY2537" fmla="*/ 2848510 h 6858290"/>
              <a:gd name="connsiteX2538" fmla="*/ 2736892 w 12139750"/>
              <a:gd name="connsiteY2538" fmla="*/ 2840833 h 6858290"/>
              <a:gd name="connsiteX2539" fmla="*/ 2794004 w 12139750"/>
              <a:gd name="connsiteY2539" fmla="*/ 2777510 h 6858290"/>
              <a:gd name="connsiteX2540" fmla="*/ 3140489 w 12139750"/>
              <a:gd name="connsiteY2540" fmla="*/ 2739132 h 6858290"/>
              <a:gd name="connsiteX2541" fmla="*/ 9848939 w 12139750"/>
              <a:gd name="connsiteY2541" fmla="*/ 2478758 h 6858290"/>
              <a:gd name="connsiteX2542" fmla="*/ 9864193 w 12139750"/>
              <a:gd name="connsiteY2542" fmla="*/ 2478758 h 6858290"/>
              <a:gd name="connsiteX2543" fmla="*/ 9864193 w 12139750"/>
              <a:gd name="connsiteY2543" fmla="*/ 2494003 h 6858290"/>
              <a:gd name="connsiteX2544" fmla="*/ 9536231 w 12139750"/>
              <a:gd name="connsiteY2544" fmla="*/ 2823558 h 6858290"/>
              <a:gd name="connsiteX2545" fmla="*/ 9520977 w 12139750"/>
              <a:gd name="connsiteY2545" fmla="*/ 2823558 h 6858290"/>
              <a:gd name="connsiteX2546" fmla="*/ 9517164 w 12139750"/>
              <a:gd name="connsiteY2546" fmla="*/ 2815937 h 6858290"/>
              <a:gd name="connsiteX2547" fmla="*/ 9520977 w 12139750"/>
              <a:gd name="connsiteY2547" fmla="*/ 2808317 h 6858290"/>
              <a:gd name="connsiteX2548" fmla="*/ 9848939 w 12139750"/>
              <a:gd name="connsiteY2548" fmla="*/ 2478758 h 6858290"/>
              <a:gd name="connsiteX2549" fmla="*/ 9280068 w 12139750"/>
              <a:gd name="connsiteY2549" fmla="*/ 2470987 h 6858290"/>
              <a:gd name="connsiteX2550" fmla="*/ 9290784 w 12139750"/>
              <a:gd name="connsiteY2550" fmla="*/ 2476239 h 6858290"/>
              <a:gd name="connsiteX2551" fmla="*/ 9288879 w 12139750"/>
              <a:gd name="connsiteY2551" fmla="*/ 2497260 h 6858290"/>
              <a:gd name="connsiteX2552" fmla="*/ 8959309 w 12139750"/>
              <a:gd name="connsiteY2552" fmla="*/ 2800997 h 6858290"/>
              <a:gd name="connsiteX2553" fmla="*/ 8938354 w 12139750"/>
              <a:gd name="connsiteY2553" fmla="*/ 2800997 h 6858290"/>
              <a:gd name="connsiteX2554" fmla="*/ 8934544 w 12139750"/>
              <a:gd name="connsiteY2554" fmla="*/ 2789535 h 6858290"/>
              <a:gd name="connsiteX2555" fmla="*/ 8938354 w 12139750"/>
              <a:gd name="connsiteY2555" fmla="*/ 2778073 h 6858290"/>
              <a:gd name="connsiteX2556" fmla="*/ 9267924 w 12139750"/>
              <a:gd name="connsiteY2556" fmla="*/ 2474329 h 6858290"/>
              <a:gd name="connsiteX2557" fmla="*/ 9280068 w 12139750"/>
              <a:gd name="connsiteY2557" fmla="*/ 2470987 h 6858290"/>
              <a:gd name="connsiteX2558" fmla="*/ 10440785 w 12139750"/>
              <a:gd name="connsiteY2558" fmla="*/ 2470956 h 6858290"/>
              <a:gd name="connsiteX2559" fmla="*/ 10451262 w 12139750"/>
              <a:gd name="connsiteY2559" fmla="*/ 2476209 h 6858290"/>
              <a:gd name="connsiteX2560" fmla="*/ 10451262 w 12139750"/>
              <a:gd name="connsiteY2560" fmla="*/ 2497223 h 6858290"/>
              <a:gd name="connsiteX2561" fmla="*/ 10121692 w 12139750"/>
              <a:gd name="connsiteY2561" fmla="*/ 2800974 h 6858290"/>
              <a:gd name="connsiteX2562" fmla="*/ 10098832 w 12139750"/>
              <a:gd name="connsiteY2562" fmla="*/ 2800974 h 6858290"/>
              <a:gd name="connsiteX2563" fmla="*/ 10095022 w 12139750"/>
              <a:gd name="connsiteY2563" fmla="*/ 2789511 h 6858290"/>
              <a:gd name="connsiteX2564" fmla="*/ 10100737 w 12139750"/>
              <a:gd name="connsiteY2564" fmla="*/ 2778049 h 6858290"/>
              <a:gd name="connsiteX2565" fmla="*/ 10430307 w 12139750"/>
              <a:gd name="connsiteY2565" fmla="*/ 2474298 h 6858290"/>
              <a:gd name="connsiteX2566" fmla="*/ 10440785 w 12139750"/>
              <a:gd name="connsiteY2566" fmla="*/ 2470956 h 6858290"/>
              <a:gd name="connsiteX2567" fmla="*/ 8710792 w 12139750"/>
              <a:gd name="connsiteY2567" fmla="*/ 2467329 h 6858290"/>
              <a:gd name="connsiteX2568" fmla="*/ 8723695 w 12139750"/>
              <a:gd name="connsiteY2568" fmla="*/ 2474959 h 6858290"/>
              <a:gd name="connsiteX2569" fmla="*/ 8721783 w 12139750"/>
              <a:gd name="connsiteY2569" fmla="*/ 2501658 h 6858290"/>
              <a:gd name="connsiteX2570" fmla="*/ 8389182 w 12139750"/>
              <a:gd name="connsiteY2570" fmla="*/ 2780051 h 6858290"/>
              <a:gd name="connsiteX2571" fmla="*/ 8360509 w 12139750"/>
              <a:gd name="connsiteY2571" fmla="*/ 2778145 h 6858290"/>
              <a:gd name="connsiteX2572" fmla="*/ 8356686 w 12139750"/>
              <a:gd name="connsiteY2572" fmla="*/ 2764800 h 6858290"/>
              <a:gd name="connsiteX2573" fmla="*/ 8364332 w 12139750"/>
              <a:gd name="connsiteY2573" fmla="*/ 2749541 h 6858290"/>
              <a:gd name="connsiteX2574" fmla="*/ 8695022 w 12139750"/>
              <a:gd name="connsiteY2574" fmla="*/ 2471144 h 6858290"/>
              <a:gd name="connsiteX2575" fmla="*/ 8710792 w 12139750"/>
              <a:gd name="connsiteY2575" fmla="*/ 2467329 h 6858290"/>
              <a:gd name="connsiteX2576" fmla="*/ 11018422 w 12139750"/>
              <a:gd name="connsiteY2576" fmla="*/ 2467296 h 6858290"/>
              <a:gd name="connsiteX2577" fmla="*/ 11031984 w 12139750"/>
              <a:gd name="connsiteY2577" fmla="*/ 2474925 h 6858290"/>
              <a:gd name="connsiteX2578" fmla="*/ 11030081 w 12139750"/>
              <a:gd name="connsiteY2578" fmla="*/ 2501621 h 6858290"/>
              <a:gd name="connsiteX2579" fmla="*/ 10698888 w 12139750"/>
              <a:gd name="connsiteY2579" fmla="*/ 2780026 h 6858290"/>
              <a:gd name="connsiteX2580" fmla="*/ 10670337 w 12139750"/>
              <a:gd name="connsiteY2580" fmla="*/ 2778118 h 6858290"/>
              <a:gd name="connsiteX2581" fmla="*/ 10666530 w 12139750"/>
              <a:gd name="connsiteY2581" fmla="*/ 2764770 h 6858290"/>
              <a:gd name="connsiteX2582" fmla="*/ 10672240 w 12139750"/>
              <a:gd name="connsiteY2582" fmla="*/ 2749515 h 6858290"/>
              <a:gd name="connsiteX2583" fmla="*/ 11003433 w 12139750"/>
              <a:gd name="connsiteY2583" fmla="*/ 2471111 h 6858290"/>
              <a:gd name="connsiteX2584" fmla="*/ 11018422 w 12139750"/>
              <a:gd name="connsiteY2584" fmla="*/ 2467296 h 6858290"/>
              <a:gd name="connsiteX2585" fmla="*/ 8147250 w 12139750"/>
              <a:gd name="connsiteY2585" fmla="*/ 2462181 h 6858290"/>
              <a:gd name="connsiteX2586" fmla="*/ 8162992 w 12139750"/>
              <a:gd name="connsiteY2586" fmla="*/ 2470551 h 6858290"/>
              <a:gd name="connsiteX2587" fmla="*/ 8159176 w 12139750"/>
              <a:gd name="connsiteY2587" fmla="*/ 2506900 h 6858290"/>
              <a:gd name="connsiteX2588" fmla="*/ 7825249 w 12139750"/>
              <a:gd name="connsiteY2588" fmla="*/ 2759395 h 6858290"/>
              <a:gd name="connsiteX2589" fmla="*/ 7790902 w 12139750"/>
              <a:gd name="connsiteY2589" fmla="*/ 2755567 h 6858290"/>
              <a:gd name="connsiteX2590" fmla="*/ 7785178 w 12139750"/>
              <a:gd name="connsiteY2590" fmla="*/ 2740262 h 6858290"/>
              <a:gd name="connsiteX2591" fmla="*/ 7794719 w 12139750"/>
              <a:gd name="connsiteY2591" fmla="*/ 2719221 h 6858290"/>
              <a:gd name="connsiteX2592" fmla="*/ 8128645 w 12139750"/>
              <a:gd name="connsiteY2592" fmla="*/ 2466726 h 6858290"/>
              <a:gd name="connsiteX2593" fmla="*/ 8147250 w 12139750"/>
              <a:gd name="connsiteY2593" fmla="*/ 2462181 h 6858290"/>
              <a:gd name="connsiteX2594" fmla="*/ 11591857 w 12139750"/>
              <a:gd name="connsiteY2594" fmla="*/ 2462171 h 6858290"/>
              <a:gd name="connsiteX2595" fmla="*/ 11608260 w 12139750"/>
              <a:gd name="connsiteY2595" fmla="*/ 2470542 h 6858290"/>
              <a:gd name="connsiteX2596" fmla="*/ 11602555 w 12139750"/>
              <a:gd name="connsiteY2596" fmla="*/ 2506889 h 6858290"/>
              <a:gd name="connsiteX2597" fmla="*/ 11271628 w 12139750"/>
              <a:gd name="connsiteY2597" fmla="*/ 2759383 h 6858290"/>
              <a:gd name="connsiteX2598" fmla="*/ 11235492 w 12139750"/>
              <a:gd name="connsiteY2598" fmla="*/ 2755558 h 6858290"/>
              <a:gd name="connsiteX2599" fmla="*/ 11231688 w 12139750"/>
              <a:gd name="connsiteY2599" fmla="*/ 2740254 h 6858290"/>
              <a:gd name="connsiteX2600" fmla="*/ 11241197 w 12139750"/>
              <a:gd name="connsiteY2600" fmla="*/ 2719210 h 6858290"/>
              <a:gd name="connsiteX2601" fmla="*/ 11574027 w 12139750"/>
              <a:gd name="connsiteY2601" fmla="*/ 2466717 h 6858290"/>
              <a:gd name="connsiteX2602" fmla="*/ 11591857 w 12139750"/>
              <a:gd name="connsiteY2602" fmla="*/ 2462171 h 6858290"/>
              <a:gd name="connsiteX2603" fmla="*/ 7591001 w 12139750"/>
              <a:gd name="connsiteY2603" fmla="*/ 2459079 h 6858290"/>
              <a:gd name="connsiteX2604" fmla="*/ 7610543 w 12139750"/>
              <a:gd name="connsiteY2604" fmla="*/ 2471476 h 6858290"/>
              <a:gd name="connsiteX2605" fmla="*/ 7602917 w 12139750"/>
              <a:gd name="connsiteY2605" fmla="*/ 2511529 h 6858290"/>
              <a:gd name="connsiteX2606" fmla="*/ 7267365 w 12139750"/>
              <a:gd name="connsiteY2606" fmla="*/ 2738458 h 6858290"/>
              <a:gd name="connsiteX2607" fmla="*/ 7227327 w 12139750"/>
              <a:gd name="connsiteY2607" fmla="*/ 2730832 h 6858290"/>
              <a:gd name="connsiteX2608" fmla="*/ 7221608 w 12139750"/>
              <a:gd name="connsiteY2608" fmla="*/ 2715570 h 6858290"/>
              <a:gd name="connsiteX2609" fmla="*/ 7234954 w 12139750"/>
              <a:gd name="connsiteY2609" fmla="*/ 2690775 h 6858290"/>
              <a:gd name="connsiteX2610" fmla="*/ 7568599 w 12139750"/>
              <a:gd name="connsiteY2610" fmla="*/ 2463845 h 6858290"/>
              <a:gd name="connsiteX2611" fmla="*/ 7591001 w 12139750"/>
              <a:gd name="connsiteY2611" fmla="*/ 2459079 h 6858290"/>
              <a:gd name="connsiteX2612" fmla="*/ 12139750 w 12139750"/>
              <a:gd name="connsiteY2612" fmla="*/ 2459059 h 6858290"/>
              <a:gd name="connsiteX2613" fmla="*/ 12139750 w 12139750"/>
              <a:gd name="connsiteY2613" fmla="*/ 2529860 h 6858290"/>
              <a:gd name="connsiteX2614" fmla="*/ 11834670 w 12139750"/>
              <a:gd name="connsiteY2614" fmla="*/ 2738414 h 6858290"/>
              <a:gd name="connsiteX2615" fmla="*/ 11792721 w 12139750"/>
              <a:gd name="connsiteY2615" fmla="*/ 2730760 h 6858290"/>
              <a:gd name="connsiteX2616" fmla="*/ 11788908 w 12139750"/>
              <a:gd name="connsiteY2616" fmla="*/ 2715453 h 6858290"/>
              <a:gd name="connsiteX2617" fmla="*/ 11800349 w 12139750"/>
              <a:gd name="connsiteY2617" fmla="*/ 2690576 h 6858290"/>
              <a:gd name="connsiteX2618" fmla="*/ 12135937 w 12139750"/>
              <a:gd name="connsiteY2618" fmla="*/ 2462887 h 6858290"/>
              <a:gd name="connsiteX2619" fmla="*/ 12139750 w 12139750"/>
              <a:gd name="connsiteY2619" fmla="*/ 2459059 h 6858290"/>
              <a:gd name="connsiteX2620" fmla="*/ 7041900 w 12139750"/>
              <a:gd name="connsiteY2620" fmla="*/ 2453933 h 6858290"/>
              <a:gd name="connsiteX2621" fmla="*/ 7062856 w 12139750"/>
              <a:gd name="connsiteY2621" fmla="*/ 2468988 h 6858290"/>
              <a:gd name="connsiteX2622" fmla="*/ 7051425 w 12139750"/>
              <a:gd name="connsiteY2622" fmla="*/ 2516781 h 6858290"/>
              <a:gd name="connsiteX2623" fmla="*/ 6714236 w 12139750"/>
              <a:gd name="connsiteY2623" fmla="*/ 2719384 h 6858290"/>
              <a:gd name="connsiteX2624" fmla="*/ 6668515 w 12139750"/>
              <a:gd name="connsiteY2624" fmla="*/ 2706003 h 6858290"/>
              <a:gd name="connsiteX2625" fmla="*/ 6662800 w 12139750"/>
              <a:gd name="connsiteY2625" fmla="*/ 2688796 h 6858290"/>
              <a:gd name="connsiteX2626" fmla="*/ 6679945 w 12139750"/>
              <a:gd name="connsiteY2626" fmla="*/ 2660125 h 6858290"/>
              <a:gd name="connsiteX2627" fmla="*/ 7015230 w 12139750"/>
              <a:gd name="connsiteY2627" fmla="*/ 2457516 h 6858290"/>
              <a:gd name="connsiteX2628" fmla="*/ 7041900 w 12139750"/>
              <a:gd name="connsiteY2628" fmla="*/ 2453933 h 6858290"/>
              <a:gd name="connsiteX2629" fmla="*/ 6499365 w 12139750"/>
              <a:gd name="connsiteY2629" fmla="*/ 2450542 h 6858290"/>
              <a:gd name="connsiteX2630" fmla="*/ 6521511 w 12139750"/>
              <a:gd name="connsiteY2630" fmla="*/ 2469741 h 6858290"/>
              <a:gd name="connsiteX2631" fmla="*/ 6506270 w 12139750"/>
              <a:gd name="connsiteY2631" fmla="*/ 2520932 h 6858290"/>
              <a:gd name="connsiteX2632" fmla="*/ 6167176 w 12139750"/>
              <a:gd name="connsiteY2632" fmla="*/ 2697234 h 6858290"/>
              <a:gd name="connsiteX2633" fmla="*/ 6115740 w 12139750"/>
              <a:gd name="connsiteY2633" fmla="*/ 2680171 h 6858290"/>
              <a:gd name="connsiteX2634" fmla="*/ 6111930 w 12139750"/>
              <a:gd name="connsiteY2634" fmla="*/ 2663105 h 6858290"/>
              <a:gd name="connsiteX2635" fmla="*/ 6130980 w 12139750"/>
              <a:gd name="connsiteY2635" fmla="*/ 2628984 h 6858290"/>
              <a:gd name="connsiteX2636" fmla="*/ 6470075 w 12139750"/>
              <a:gd name="connsiteY2636" fmla="*/ 2452675 h 6858290"/>
              <a:gd name="connsiteX2637" fmla="*/ 6499365 w 12139750"/>
              <a:gd name="connsiteY2637" fmla="*/ 2450542 h 6858290"/>
              <a:gd name="connsiteX2638" fmla="*/ 5959672 w 12139750"/>
              <a:gd name="connsiteY2638" fmla="*/ 2446994 h 6858290"/>
              <a:gd name="connsiteX2639" fmla="*/ 5983314 w 12139750"/>
              <a:gd name="connsiteY2639" fmla="*/ 2468881 h 6858290"/>
              <a:gd name="connsiteX2640" fmla="*/ 5962297 w 12139750"/>
              <a:gd name="connsiteY2640" fmla="*/ 2525960 h 6858290"/>
              <a:gd name="connsiteX2641" fmla="*/ 5620300 w 12139750"/>
              <a:gd name="connsiteY2641" fmla="*/ 2676247 h 6858290"/>
              <a:gd name="connsiteX2642" fmla="*/ 5564892 w 12139750"/>
              <a:gd name="connsiteY2642" fmla="*/ 2655321 h 6858290"/>
              <a:gd name="connsiteX2643" fmla="*/ 5561071 w 12139750"/>
              <a:gd name="connsiteY2643" fmla="*/ 2638199 h 6858290"/>
              <a:gd name="connsiteX2644" fmla="*/ 5585909 w 12139750"/>
              <a:gd name="connsiteY2644" fmla="*/ 2598249 h 6858290"/>
              <a:gd name="connsiteX2645" fmla="*/ 5925997 w 12139750"/>
              <a:gd name="connsiteY2645" fmla="*/ 2447945 h 6858290"/>
              <a:gd name="connsiteX2646" fmla="*/ 5959672 w 12139750"/>
              <a:gd name="connsiteY2646" fmla="*/ 2446994 h 6858290"/>
              <a:gd name="connsiteX2647" fmla="*/ 399503 w 12139750"/>
              <a:gd name="connsiteY2647" fmla="*/ 2446979 h 6858290"/>
              <a:gd name="connsiteX2648" fmla="*/ 423846 w 12139750"/>
              <a:gd name="connsiteY2648" fmla="*/ 2468864 h 6858290"/>
              <a:gd name="connsiteX2649" fmla="*/ 400935 w 12139750"/>
              <a:gd name="connsiteY2649" fmla="*/ 2525942 h 6858290"/>
              <a:gd name="connsiteX2650" fmla="*/ 61095 w 12139750"/>
              <a:gd name="connsiteY2650" fmla="*/ 2676238 h 6858290"/>
              <a:gd name="connsiteX2651" fmla="*/ 3818 w 12139750"/>
              <a:gd name="connsiteY2651" fmla="*/ 2655311 h 6858290"/>
              <a:gd name="connsiteX2652" fmla="*/ 0 w 12139750"/>
              <a:gd name="connsiteY2652" fmla="*/ 2638187 h 6858290"/>
              <a:gd name="connsiteX2653" fmla="*/ 26729 w 12139750"/>
              <a:gd name="connsiteY2653" fmla="*/ 2598233 h 6858290"/>
              <a:gd name="connsiteX2654" fmla="*/ 366569 w 12139750"/>
              <a:gd name="connsiteY2654" fmla="*/ 2447930 h 6858290"/>
              <a:gd name="connsiteX2655" fmla="*/ 399503 w 12139750"/>
              <a:gd name="connsiteY2655" fmla="*/ 2446979 h 6858290"/>
              <a:gd name="connsiteX2656" fmla="*/ 5396620 w 12139750"/>
              <a:gd name="connsiteY2656" fmla="*/ 2440131 h 6858290"/>
              <a:gd name="connsiteX2657" fmla="*/ 5438855 w 12139750"/>
              <a:gd name="connsiteY2657" fmla="*/ 2471621 h 6858290"/>
              <a:gd name="connsiteX2658" fmla="*/ 5410341 w 12139750"/>
              <a:gd name="connsiteY2658" fmla="*/ 2532340 h 6858290"/>
              <a:gd name="connsiteX2659" fmla="*/ 5070072 w 12139750"/>
              <a:gd name="connsiteY2659" fmla="*/ 2657538 h 6858290"/>
              <a:gd name="connsiteX2660" fmla="*/ 5009249 w 12139750"/>
              <a:gd name="connsiteY2660" fmla="*/ 2629084 h 6858290"/>
              <a:gd name="connsiteX2661" fmla="*/ 5005447 w 12139750"/>
              <a:gd name="connsiteY2661" fmla="*/ 2613907 h 6858290"/>
              <a:gd name="connsiteX2662" fmla="*/ 5037761 w 12139750"/>
              <a:gd name="connsiteY2662" fmla="*/ 2568382 h 6858290"/>
              <a:gd name="connsiteX2663" fmla="*/ 5378027 w 12139750"/>
              <a:gd name="connsiteY2663" fmla="*/ 2443156 h 6858290"/>
              <a:gd name="connsiteX2664" fmla="*/ 5396620 w 12139750"/>
              <a:gd name="connsiteY2664" fmla="*/ 2440131 h 6858290"/>
              <a:gd name="connsiteX2665" fmla="*/ 930705 w 12139750"/>
              <a:gd name="connsiteY2665" fmla="*/ 2440114 h 6858290"/>
              <a:gd name="connsiteX2666" fmla="*/ 973124 w 12139750"/>
              <a:gd name="connsiteY2666" fmla="*/ 2471600 h 6858290"/>
              <a:gd name="connsiteX2667" fmla="*/ 944487 w 12139750"/>
              <a:gd name="connsiteY2667" fmla="*/ 2532315 h 6858290"/>
              <a:gd name="connsiteX2668" fmla="*/ 602753 w 12139750"/>
              <a:gd name="connsiteY2668" fmla="*/ 2657525 h 6858290"/>
              <a:gd name="connsiteX2669" fmla="*/ 541661 w 12139750"/>
              <a:gd name="connsiteY2669" fmla="*/ 2629070 h 6858290"/>
              <a:gd name="connsiteX2670" fmla="*/ 539751 w 12139750"/>
              <a:gd name="connsiteY2670" fmla="*/ 2613892 h 6858290"/>
              <a:gd name="connsiteX2671" fmla="*/ 570297 w 12139750"/>
              <a:gd name="connsiteY2671" fmla="*/ 2568362 h 6858290"/>
              <a:gd name="connsiteX2672" fmla="*/ 912032 w 12139750"/>
              <a:gd name="connsiteY2672" fmla="*/ 2443139 h 6858290"/>
              <a:gd name="connsiteX2673" fmla="*/ 930705 w 12139750"/>
              <a:gd name="connsiteY2673" fmla="*/ 2440114 h 6858290"/>
              <a:gd name="connsiteX2674" fmla="*/ 4847389 w 12139750"/>
              <a:gd name="connsiteY2674" fmla="*/ 2434959 h 6858290"/>
              <a:gd name="connsiteX2675" fmla="*/ 4891125 w 12139750"/>
              <a:gd name="connsiteY2675" fmla="*/ 2472791 h 6858290"/>
              <a:gd name="connsiteX2676" fmla="*/ 4856779 w 12139750"/>
              <a:gd name="connsiteY2676" fmla="*/ 2537664 h 6858290"/>
              <a:gd name="connsiteX2677" fmla="*/ 4513402 w 12139750"/>
              <a:gd name="connsiteY2677" fmla="*/ 2638759 h 6858290"/>
              <a:gd name="connsiteX2678" fmla="*/ 4448539 w 12139750"/>
              <a:gd name="connsiteY2678" fmla="*/ 2602516 h 6858290"/>
              <a:gd name="connsiteX2679" fmla="*/ 4446631 w 12139750"/>
              <a:gd name="connsiteY2679" fmla="*/ 2587256 h 6858290"/>
              <a:gd name="connsiteX2680" fmla="*/ 4482878 w 12139750"/>
              <a:gd name="connsiteY2680" fmla="*/ 2537664 h 6858290"/>
              <a:gd name="connsiteX2681" fmla="*/ 4826251 w 12139750"/>
              <a:gd name="connsiteY2681" fmla="*/ 2436537 h 6858290"/>
              <a:gd name="connsiteX2682" fmla="*/ 4847389 w 12139750"/>
              <a:gd name="connsiteY2682" fmla="*/ 2434959 h 6858290"/>
              <a:gd name="connsiteX2683" fmla="*/ 1482958 w 12139750"/>
              <a:gd name="connsiteY2683" fmla="*/ 2434939 h 6858290"/>
              <a:gd name="connsiteX2684" fmla="*/ 1527491 w 12139750"/>
              <a:gd name="connsiteY2684" fmla="*/ 2472769 h 6858290"/>
              <a:gd name="connsiteX2685" fmla="*/ 1491245 w 12139750"/>
              <a:gd name="connsiteY2685" fmla="*/ 2537636 h 6858290"/>
              <a:gd name="connsiteX2686" fmla="*/ 1147861 w 12139750"/>
              <a:gd name="connsiteY2686" fmla="*/ 2638743 h 6858290"/>
              <a:gd name="connsiteX2687" fmla="*/ 1082999 w 12139750"/>
              <a:gd name="connsiteY2687" fmla="*/ 2602496 h 6858290"/>
              <a:gd name="connsiteX2688" fmla="*/ 1081092 w 12139750"/>
              <a:gd name="connsiteY2688" fmla="*/ 2587234 h 6858290"/>
              <a:gd name="connsiteX2689" fmla="*/ 1119245 w 12139750"/>
              <a:gd name="connsiteY2689" fmla="*/ 2537636 h 6858290"/>
              <a:gd name="connsiteX2690" fmla="*/ 1462630 w 12139750"/>
              <a:gd name="connsiteY2690" fmla="*/ 2436519 h 6858290"/>
              <a:gd name="connsiteX2691" fmla="*/ 1482958 w 12139750"/>
              <a:gd name="connsiteY2691" fmla="*/ 2434939 h 6858290"/>
              <a:gd name="connsiteX2692" fmla="*/ 4270882 w 12139750"/>
              <a:gd name="connsiteY2692" fmla="*/ 2431445 h 6858290"/>
              <a:gd name="connsiteX2693" fmla="*/ 4339323 w 12139750"/>
              <a:gd name="connsiteY2693" fmla="*/ 2475264 h 6858290"/>
              <a:gd name="connsiteX2694" fmla="*/ 4295596 w 12139750"/>
              <a:gd name="connsiteY2694" fmla="*/ 2543855 h 6858290"/>
              <a:gd name="connsiteX2695" fmla="*/ 3951515 w 12139750"/>
              <a:gd name="connsiteY2695" fmla="*/ 2618134 h 6858290"/>
              <a:gd name="connsiteX2696" fmla="*/ 3883074 w 12139750"/>
              <a:gd name="connsiteY2696" fmla="*/ 2574330 h 6858290"/>
              <a:gd name="connsiteX2697" fmla="*/ 3883074 w 12139750"/>
              <a:gd name="connsiteY2697" fmla="*/ 2562902 h 6858290"/>
              <a:gd name="connsiteX2698" fmla="*/ 3926800 w 12139750"/>
              <a:gd name="connsiteY2698" fmla="*/ 2507657 h 6858290"/>
              <a:gd name="connsiteX2699" fmla="*/ 4270882 w 12139750"/>
              <a:gd name="connsiteY2699" fmla="*/ 2431445 h 6858290"/>
              <a:gd name="connsiteX2700" fmla="*/ 2016607 w 12139750"/>
              <a:gd name="connsiteY2700" fmla="*/ 2431425 h 6858290"/>
              <a:gd name="connsiteX2701" fmla="*/ 2085053 w 12139750"/>
              <a:gd name="connsiteY2701" fmla="*/ 2475241 h 6858290"/>
              <a:gd name="connsiteX2702" fmla="*/ 2041322 w 12139750"/>
              <a:gd name="connsiteY2702" fmla="*/ 2543824 h 6858290"/>
              <a:gd name="connsiteX2703" fmla="*/ 1697222 w 12139750"/>
              <a:gd name="connsiteY2703" fmla="*/ 2618115 h 6858290"/>
              <a:gd name="connsiteX2704" fmla="*/ 1630683 w 12139750"/>
              <a:gd name="connsiteY2704" fmla="*/ 2574302 h 6858290"/>
              <a:gd name="connsiteX2705" fmla="*/ 1628782 w 12139750"/>
              <a:gd name="connsiteY2705" fmla="*/ 2562874 h 6858290"/>
              <a:gd name="connsiteX2706" fmla="*/ 1674409 w 12139750"/>
              <a:gd name="connsiteY2706" fmla="*/ 2507628 h 6858290"/>
              <a:gd name="connsiteX2707" fmla="*/ 2016607 w 12139750"/>
              <a:gd name="connsiteY2707" fmla="*/ 2431425 h 6858290"/>
              <a:gd name="connsiteX2708" fmla="*/ 2799530 w 12139750"/>
              <a:gd name="connsiteY2708" fmla="*/ 2428905 h 6858290"/>
              <a:gd name="connsiteX2709" fmla="*/ 3148602 w 12139750"/>
              <a:gd name="connsiteY2709" fmla="*/ 2428905 h 6858290"/>
              <a:gd name="connsiteX2710" fmla="*/ 3221084 w 12139750"/>
              <a:gd name="connsiteY2710" fmla="*/ 2499561 h 6858290"/>
              <a:gd name="connsiteX2711" fmla="*/ 3148602 w 12139750"/>
              <a:gd name="connsiteY2711" fmla="*/ 2570203 h 6858290"/>
              <a:gd name="connsiteX2712" fmla="*/ 2799530 w 12139750"/>
              <a:gd name="connsiteY2712" fmla="*/ 2570203 h 6858290"/>
              <a:gd name="connsiteX2713" fmla="*/ 2728954 w 12139750"/>
              <a:gd name="connsiteY2713" fmla="*/ 2499561 h 6858290"/>
              <a:gd name="connsiteX2714" fmla="*/ 2799530 w 12139750"/>
              <a:gd name="connsiteY2714" fmla="*/ 2428905 h 6858290"/>
              <a:gd name="connsiteX2715" fmla="*/ 3713473 w 12139750"/>
              <a:gd name="connsiteY2715" fmla="*/ 2424778 h 6858290"/>
              <a:gd name="connsiteX2716" fmla="*/ 3782104 w 12139750"/>
              <a:gd name="connsiteY2716" fmla="*/ 2478123 h 6858290"/>
              <a:gd name="connsiteX2717" fmla="*/ 3730631 w 12139750"/>
              <a:gd name="connsiteY2717" fmla="*/ 2546711 h 6858290"/>
              <a:gd name="connsiteX2718" fmla="*/ 3383700 w 12139750"/>
              <a:gd name="connsiteY2718" fmla="*/ 2598132 h 6858290"/>
              <a:gd name="connsiteX2719" fmla="*/ 3315070 w 12139750"/>
              <a:gd name="connsiteY2719" fmla="*/ 2546711 h 6858290"/>
              <a:gd name="connsiteX2720" fmla="*/ 3313164 w 12139750"/>
              <a:gd name="connsiteY2720" fmla="*/ 2537188 h 6858290"/>
              <a:gd name="connsiteX2721" fmla="*/ 3366541 w 12139750"/>
              <a:gd name="connsiteY2721" fmla="*/ 2476218 h 6858290"/>
              <a:gd name="connsiteX2722" fmla="*/ 3713473 w 12139750"/>
              <a:gd name="connsiteY2722" fmla="*/ 2424778 h 6858290"/>
              <a:gd name="connsiteX2723" fmla="*/ 2578386 w 12139750"/>
              <a:gd name="connsiteY2723" fmla="*/ 2424755 h 6858290"/>
              <a:gd name="connsiteX2724" fmla="*/ 2647013 w 12139750"/>
              <a:gd name="connsiteY2724" fmla="*/ 2478098 h 6858290"/>
              <a:gd name="connsiteX2725" fmla="*/ 2595543 w 12139750"/>
              <a:gd name="connsiteY2725" fmla="*/ 2546678 h 6858290"/>
              <a:gd name="connsiteX2726" fmla="*/ 2248597 w 12139750"/>
              <a:gd name="connsiteY2726" fmla="*/ 2598110 h 6858290"/>
              <a:gd name="connsiteX2727" fmla="*/ 2179970 w 12139750"/>
              <a:gd name="connsiteY2727" fmla="*/ 2546678 h 6858290"/>
              <a:gd name="connsiteX2728" fmla="*/ 2178063 w 12139750"/>
              <a:gd name="connsiteY2728" fmla="*/ 2537153 h 6858290"/>
              <a:gd name="connsiteX2729" fmla="*/ 2231440 w 12139750"/>
              <a:gd name="connsiteY2729" fmla="*/ 2476192 h 6858290"/>
              <a:gd name="connsiteX2730" fmla="*/ 2578386 w 12139750"/>
              <a:gd name="connsiteY2730" fmla="*/ 2424755 h 6858290"/>
              <a:gd name="connsiteX2731" fmla="*/ 9856995 w 12139750"/>
              <a:gd name="connsiteY2731" fmla="*/ 2158848 h 6858290"/>
              <a:gd name="connsiteX2732" fmla="*/ 9865791 w 12139750"/>
              <a:gd name="connsiteY2732" fmla="*/ 2163134 h 6858290"/>
              <a:gd name="connsiteX2733" fmla="*/ 9869594 w 12139750"/>
              <a:gd name="connsiteY2733" fmla="*/ 2172659 h 6858290"/>
              <a:gd name="connsiteX2734" fmla="*/ 9865791 w 12139750"/>
              <a:gd name="connsiteY2734" fmla="*/ 2182184 h 6858290"/>
              <a:gd name="connsiteX2735" fmla="*/ 9536809 w 12139750"/>
              <a:gd name="connsiteY2735" fmla="*/ 2494604 h 6858290"/>
              <a:gd name="connsiteX2736" fmla="*/ 9517792 w 12139750"/>
              <a:gd name="connsiteY2736" fmla="*/ 2494604 h 6858290"/>
              <a:gd name="connsiteX2737" fmla="*/ 9519694 w 12139750"/>
              <a:gd name="connsiteY2737" fmla="*/ 2475555 h 6858290"/>
              <a:gd name="connsiteX2738" fmla="*/ 9846774 w 12139750"/>
              <a:gd name="connsiteY2738" fmla="*/ 2163134 h 6858290"/>
              <a:gd name="connsiteX2739" fmla="*/ 9856995 w 12139750"/>
              <a:gd name="connsiteY2739" fmla="*/ 2158848 h 6858290"/>
              <a:gd name="connsiteX2740" fmla="*/ 9280994 w 12139750"/>
              <a:gd name="connsiteY2740" fmla="*/ 2152757 h 6858290"/>
              <a:gd name="connsiteX2741" fmla="*/ 9292682 w 12139750"/>
              <a:gd name="connsiteY2741" fmla="*/ 2158723 h 6858290"/>
              <a:gd name="connsiteX2742" fmla="*/ 9296499 w 12139750"/>
              <a:gd name="connsiteY2742" fmla="*/ 2170175 h 6858290"/>
              <a:gd name="connsiteX2743" fmla="*/ 9290774 w 12139750"/>
              <a:gd name="connsiteY2743" fmla="*/ 2183535 h 6858290"/>
              <a:gd name="connsiteX2744" fmla="*/ 8960635 w 12139750"/>
              <a:gd name="connsiteY2744" fmla="*/ 2475567 h 6858290"/>
              <a:gd name="connsiteX2745" fmla="*/ 8935827 w 12139750"/>
              <a:gd name="connsiteY2745" fmla="*/ 2473653 h 6858290"/>
              <a:gd name="connsiteX2746" fmla="*/ 8935827 w 12139750"/>
              <a:gd name="connsiteY2746" fmla="*/ 2448839 h 6858290"/>
              <a:gd name="connsiteX2747" fmla="*/ 9267874 w 12139750"/>
              <a:gd name="connsiteY2747" fmla="*/ 2156814 h 6858290"/>
              <a:gd name="connsiteX2748" fmla="*/ 9280994 w 12139750"/>
              <a:gd name="connsiteY2748" fmla="*/ 2152757 h 6858290"/>
              <a:gd name="connsiteX2749" fmla="*/ 10441167 w 12139750"/>
              <a:gd name="connsiteY2749" fmla="*/ 2152737 h 6858290"/>
              <a:gd name="connsiteX2750" fmla="*/ 10452845 w 12139750"/>
              <a:gd name="connsiteY2750" fmla="*/ 2158701 h 6858290"/>
              <a:gd name="connsiteX2751" fmla="*/ 10458565 w 12139750"/>
              <a:gd name="connsiteY2751" fmla="*/ 2170154 h 6858290"/>
              <a:gd name="connsiteX2752" fmla="*/ 10452845 w 12139750"/>
              <a:gd name="connsiteY2752" fmla="*/ 2183515 h 6858290"/>
              <a:gd name="connsiteX2753" fmla="*/ 10121085 w 12139750"/>
              <a:gd name="connsiteY2753" fmla="*/ 2475541 h 6858290"/>
              <a:gd name="connsiteX2754" fmla="*/ 10096299 w 12139750"/>
              <a:gd name="connsiteY2754" fmla="*/ 2473632 h 6858290"/>
              <a:gd name="connsiteX2755" fmla="*/ 10098205 w 12139750"/>
              <a:gd name="connsiteY2755" fmla="*/ 2448819 h 6858290"/>
              <a:gd name="connsiteX2756" fmla="*/ 10428058 w 12139750"/>
              <a:gd name="connsiteY2756" fmla="*/ 2156792 h 6858290"/>
              <a:gd name="connsiteX2757" fmla="*/ 10441167 w 12139750"/>
              <a:gd name="connsiteY2757" fmla="*/ 2152737 h 6858290"/>
              <a:gd name="connsiteX2758" fmla="*/ 8711083 w 12139750"/>
              <a:gd name="connsiteY2758" fmla="*/ 2147846 h 6858290"/>
              <a:gd name="connsiteX2759" fmla="*/ 8725621 w 12139750"/>
              <a:gd name="connsiteY2759" fmla="*/ 2156214 h 6858290"/>
              <a:gd name="connsiteX2760" fmla="*/ 8731341 w 12139750"/>
              <a:gd name="connsiteY2760" fmla="*/ 2169603 h 6858290"/>
              <a:gd name="connsiteX2761" fmla="*/ 8723715 w 12139750"/>
              <a:gd name="connsiteY2761" fmla="*/ 2186815 h 6858290"/>
              <a:gd name="connsiteX2762" fmla="*/ 8390055 w 12139750"/>
              <a:gd name="connsiteY2762" fmla="*/ 2454587 h 6858290"/>
              <a:gd name="connsiteX2763" fmla="*/ 8359549 w 12139750"/>
              <a:gd name="connsiteY2763" fmla="*/ 2450760 h 6858290"/>
              <a:gd name="connsiteX2764" fmla="*/ 8363363 w 12139750"/>
              <a:gd name="connsiteY2764" fmla="*/ 2420157 h 6858290"/>
              <a:gd name="connsiteX2765" fmla="*/ 8695115 w 12139750"/>
              <a:gd name="connsiteY2765" fmla="*/ 2152388 h 6858290"/>
              <a:gd name="connsiteX2766" fmla="*/ 8711083 w 12139750"/>
              <a:gd name="connsiteY2766" fmla="*/ 2147846 h 6858290"/>
              <a:gd name="connsiteX2767" fmla="*/ 11019424 w 12139750"/>
              <a:gd name="connsiteY2767" fmla="*/ 2147822 h 6858290"/>
              <a:gd name="connsiteX2768" fmla="*/ 11033901 w 12139750"/>
              <a:gd name="connsiteY2768" fmla="*/ 2156190 h 6858290"/>
              <a:gd name="connsiteX2769" fmla="*/ 11039597 w 12139750"/>
              <a:gd name="connsiteY2769" fmla="*/ 2169578 h 6858290"/>
              <a:gd name="connsiteX2770" fmla="*/ 11030104 w 12139750"/>
              <a:gd name="connsiteY2770" fmla="*/ 2186792 h 6858290"/>
              <a:gd name="connsiteX2771" fmla="*/ 10699740 w 12139750"/>
              <a:gd name="connsiteY2771" fmla="*/ 2454563 h 6858290"/>
              <a:gd name="connsiteX2772" fmla="*/ 10669362 w 12139750"/>
              <a:gd name="connsiteY2772" fmla="*/ 2450738 h 6858290"/>
              <a:gd name="connsiteX2773" fmla="*/ 10673159 w 12139750"/>
              <a:gd name="connsiteY2773" fmla="*/ 2420136 h 6858290"/>
              <a:gd name="connsiteX2774" fmla="*/ 11003523 w 12139750"/>
              <a:gd name="connsiteY2774" fmla="*/ 2152364 h 6858290"/>
              <a:gd name="connsiteX2775" fmla="*/ 11019424 w 12139750"/>
              <a:gd name="connsiteY2775" fmla="*/ 2147822 h 6858290"/>
              <a:gd name="connsiteX2776" fmla="*/ 8148561 w 12139750"/>
              <a:gd name="connsiteY2776" fmla="*/ 2143310 h 6858290"/>
              <a:gd name="connsiteX2777" fmla="*/ 8165230 w 12139750"/>
              <a:gd name="connsiteY2777" fmla="*/ 2153323 h 6858290"/>
              <a:gd name="connsiteX2778" fmla="*/ 8170945 w 12139750"/>
              <a:gd name="connsiteY2778" fmla="*/ 2168580 h 6858290"/>
              <a:gd name="connsiteX2779" fmla="*/ 8159515 w 12139750"/>
              <a:gd name="connsiteY2779" fmla="*/ 2189556 h 6858290"/>
              <a:gd name="connsiteX2780" fmla="*/ 7826135 w 12139750"/>
              <a:gd name="connsiteY2780" fmla="*/ 2433651 h 6858290"/>
              <a:gd name="connsiteX2781" fmla="*/ 7789940 w 12139750"/>
              <a:gd name="connsiteY2781" fmla="*/ 2427930 h 6858290"/>
              <a:gd name="connsiteX2782" fmla="*/ 7795655 w 12139750"/>
              <a:gd name="connsiteY2782" fmla="*/ 2391692 h 6858290"/>
              <a:gd name="connsiteX2783" fmla="*/ 8129034 w 12139750"/>
              <a:gd name="connsiteY2783" fmla="*/ 2147602 h 6858290"/>
              <a:gd name="connsiteX2784" fmla="*/ 8148561 w 12139750"/>
              <a:gd name="connsiteY2784" fmla="*/ 2143310 h 6858290"/>
              <a:gd name="connsiteX2785" fmla="*/ 11593070 w 12139750"/>
              <a:gd name="connsiteY2785" fmla="*/ 2143308 h 6858290"/>
              <a:gd name="connsiteX2786" fmla="*/ 11610468 w 12139750"/>
              <a:gd name="connsiteY2786" fmla="*/ 2153320 h 6858290"/>
              <a:gd name="connsiteX2787" fmla="*/ 11614281 w 12139750"/>
              <a:gd name="connsiteY2787" fmla="*/ 2168577 h 6858290"/>
              <a:gd name="connsiteX2788" fmla="*/ 11604748 w 12139750"/>
              <a:gd name="connsiteY2788" fmla="*/ 2189556 h 6858290"/>
              <a:gd name="connsiteX2789" fmla="*/ 11271096 w 12139750"/>
              <a:gd name="connsiteY2789" fmla="*/ 2433649 h 6858290"/>
              <a:gd name="connsiteX2790" fmla="*/ 11232964 w 12139750"/>
              <a:gd name="connsiteY2790" fmla="*/ 2427928 h 6858290"/>
              <a:gd name="connsiteX2791" fmla="*/ 11238684 w 12139750"/>
              <a:gd name="connsiteY2791" fmla="*/ 2391689 h 6858290"/>
              <a:gd name="connsiteX2792" fmla="*/ 11574243 w 12139750"/>
              <a:gd name="connsiteY2792" fmla="*/ 2147600 h 6858290"/>
              <a:gd name="connsiteX2793" fmla="*/ 11593070 w 12139750"/>
              <a:gd name="connsiteY2793" fmla="*/ 2143308 h 6858290"/>
              <a:gd name="connsiteX2794" fmla="*/ 12139750 w 12139750"/>
              <a:gd name="connsiteY2794" fmla="*/ 2139967 h 6858290"/>
              <a:gd name="connsiteX2795" fmla="*/ 12139750 w 12139750"/>
              <a:gd name="connsiteY2795" fmla="*/ 2212438 h 6858290"/>
              <a:gd name="connsiteX2796" fmla="*/ 11835489 w 12139750"/>
              <a:gd name="connsiteY2796" fmla="*/ 2414592 h 6858290"/>
              <a:gd name="connsiteX2797" fmla="*/ 11793653 w 12139750"/>
              <a:gd name="connsiteY2797" fmla="*/ 2406965 h 6858290"/>
              <a:gd name="connsiteX2798" fmla="*/ 11801260 w 12139750"/>
              <a:gd name="connsiteY2798" fmla="*/ 2363100 h 6858290"/>
              <a:gd name="connsiteX2799" fmla="*/ 12135947 w 12139750"/>
              <a:gd name="connsiteY2799" fmla="*/ 2141874 h 6858290"/>
              <a:gd name="connsiteX2800" fmla="*/ 12139750 w 12139750"/>
              <a:gd name="connsiteY2800" fmla="*/ 2139967 h 6858290"/>
              <a:gd name="connsiteX2801" fmla="*/ 7591500 w 12139750"/>
              <a:gd name="connsiteY2801" fmla="*/ 2137042 h 6858290"/>
              <a:gd name="connsiteX2802" fmla="*/ 7609598 w 12139750"/>
              <a:gd name="connsiteY2802" fmla="*/ 2151126 h 6858290"/>
              <a:gd name="connsiteX2803" fmla="*/ 7615313 w 12139750"/>
              <a:gd name="connsiteY2803" fmla="*/ 2168310 h 6858290"/>
              <a:gd name="connsiteX2804" fmla="*/ 7601978 w 12139750"/>
              <a:gd name="connsiteY2804" fmla="*/ 2193129 h 6858290"/>
              <a:gd name="connsiteX2805" fmla="*/ 7266693 w 12139750"/>
              <a:gd name="connsiteY2805" fmla="*/ 2414586 h 6858290"/>
              <a:gd name="connsiteX2806" fmla="*/ 7224783 w 12139750"/>
              <a:gd name="connsiteY2806" fmla="*/ 2406948 h 6858290"/>
              <a:gd name="connsiteX2807" fmla="*/ 7232403 w 12139750"/>
              <a:gd name="connsiteY2807" fmla="*/ 2363036 h 6858290"/>
              <a:gd name="connsiteX2808" fmla="*/ 7567687 w 12139750"/>
              <a:gd name="connsiteY2808" fmla="*/ 2141577 h 6858290"/>
              <a:gd name="connsiteX2809" fmla="*/ 7591500 w 12139750"/>
              <a:gd name="connsiteY2809" fmla="*/ 2137042 h 6858290"/>
              <a:gd name="connsiteX2810" fmla="*/ 7042453 w 12139750"/>
              <a:gd name="connsiteY2810" fmla="*/ 2131898 h 6858290"/>
              <a:gd name="connsiteX2811" fmla="*/ 7063473 w 12139750"/>
              <a:gd name="connsiteY2811" fmla="*/ 2148647 h 6858290"/>
              <a:gd name="connsiteX2812" fmla="*/ 7069206 w 12139750"/>
              <a:gd name="connsiteY2812" fmla="*/ 2165871 h 6858290"/>
              <a:gd name="connsiteX2813" fmla="*/ 7052008 w 12139750"/>
              <a:gd name="connsiteY2813" fmla="*/ 2196489 h 6858290"/>
              <a:gd name="connsiteX2814" fmla="*/ 6713777 w 12139750"/>
              <a:gd name="connsiteY2814" fmla="*/ 2395511 h 6858290"/>
              <a:gd name="connsiteX2815" fmla="*/ 6666004 w 12139750"/>
              <a:gd name="connsiteY2815" fmla="*/ 2382111 h 6858290"/>
              <a:gd name="connsiteX2816" fmla="*/ 6679381 w 12139750"/>
              <a:gd name="connsiteY2816" fmla="*/ 2334271 h 6858290"/>
              <a:gd name="connsiteX2817" fmla="*/ 7015700 w 12139750"/>
              <a:gd name="connsiteY2817" fmla="*/ 2135246 h 6858290"/>
              <a:gd name="connsiteX2818" fmla="*/ 7042453 w 12139750"/>
              <a:gd name="connsiteY2818" fmla="*/ 2131898 h 6858290"/>
              <a:gd name="connsiteX2819" fmla="*/ 6500021 w 12139750"/>
              <a:gd name="connsiteY2819" fmla="*/ 2128305 h 6858290"/>
              <a:gd name="connsiteX2820" fmla="*/ 6522150 w 12139750"/>
              <a:gd name="connsiteY2820" fmla="*/ 2147621 h 6858290"/>
              <a:gd name="connsiteX2821" fmla="*/ 6527861 w 12139750"/>
              <a:gd name="connsiteY2821" fmla="*/ 2164788 h 6858290"/>
              <a:gd name="connsiteX2822" fmla="*/ 6506921 w 12139750"/>
              <a:gd name="connsiteY2822" fmla="*/ 2199117 h 6858290"/>
              <a:gd name="connsiteX2823" fmla="*/ 6168083 w 12139750"/>
              <a:gd name="connsiteY2823" fmla="*/ 2374582 h 6858290"/>
              <a:gd name="connsiteX2824" fmla="*/ 6116686 w 12139750"/>
              <a:gd name="connsiteY2824" fmla="*/ 2359325 h 6858290"/>
              <a:gd name="connsiteX2825" fmla="*/ 6131914 w 12139750"/>
              <a:gd name="connsiteY2825" fmla="*/ 2305910 h 6858290"/>
              <a:gd name="connsiteX2826" fmla="*/ 6470753 w 12139750"/>
              <a:gd name="connsiteY2826" fmla="*/ 2130452 h 6858290"/>
              <a:gd name="connsiteX2827" fmla="*/ 6500021 w 12139750"/>
              <a:gd name="connsiteY2827" fmla="*/ 2128305 h 6858290"/>
              <a:gd name="connsiteX2828" fmla="*/ 5959154 w 12139750"/>
              <a:gd name="connsiteY2828" fmla="*/ 2123129 h 6858290"/>
              <a:gd name="connsiteX2829" fmla="*/ 5982710 w 12139750"/>
              <a:gd name="connsiteY2829" fmla="*/ 2145011 h 6858290"/>
              <a:gd name="connsiteX2830" fmla="*/ 5986518 w 12139750"/>
              <a:gd name="connsiteY2830" fmla="*/ 2164036 h 6858290"/>
              <a:gd name="connsiteX2831" fmla="*/ 5961771 w 12139750"/>
              <a:gd name="connsiteY2831" fmla="*/ 2202088 h 6858290"/>
              <a:gd name="connsiteX2832" fmla="*/ 5621031 w 12139750"/>
              <a:gd name="connsiteY2832" fmla="*/ 2354289 h 6858290"/>
              <a:gd name="connsiteX2833" fmla="*/ 5565827 w 12139750"/>
              <a:gd name="connsiteY2833" fmla="*/ 2333361 h 6858290"/>
              <a:gd name="connsiteX2834" fmla="*/ 5586767 w 12139750"/>
              <a:gd name="connsiteY2834" fmla="*/ 2276282 h 6858290"/>
              <a:gd name="connsiteX2835" fmla="*/ 5925602 w 12139750"/>
              <a:gd name="connsiteY2835" fmla="*/ 2124078 h 6858290"/>
              <a:gd name="connsiteX2836" fmla="*/ 5959154 w 12139750"/>
              <a:gd name="connsiteY2836" fmla="*/ 2123129 h 6858290"/>
              <a:gd name="connsiteX2837" fmla="*/ 398983 w 12139750"/>
              <a:gd name="connsiteY2837" fmla="*/ 2123125 h 6858290"/>
              <a:gd name="connsiteX2838" fmla="*/ 423236 w 12139750"/>
              <a:gd name="connsiteY2838" fmla="*/ 2145008 h 6858290"/>
              <a:gd name="connsiteX2839" fmla="*/ 427040 w 12139750"/>
              <a:gd name="connsiteY2839" fmla="*/ 2164035 h 6858290"/>
              <a:gd name="connsiteX2840" fmla="*/ 402311 w 12139750"/>
              <a:gd name="connsiteY2840" fmla="*/ 2202084 h 6858290"/>
              <a:gd name="connsiteX2841" fmla="*/ 61813 w 12139750"/>
              <a:gd name="connsiteY2841" fmla="*/ 2354287 h 6858290"/>
              <a:gd name="connsiteX2842" fmla="*/ 6649 w 12139750"/>
              <a:gd name="connsiteY2842" fmla="*/ 2333359 h 6858290"/>
              <a:gd name="connsiteX2843" fmla="*/ 27573 w 12139750"/>
              <a:gd name="connsiteY2843" fmla="*/ 2276282 h 6858290"/>
              <a:gd name="connsiteX2844" fmla="*/ 366169 w 12139750"/>
              <a:gd name="connsiteY2844" fmla="*/ 2124076 h 6858290"/>
              <a:gd name="connsiteX2845" fmla="*/ 398983 w 12139750"/>
              <a:gd name="connsiteY2845" fmla="*/ 2123125 h 6858290"/>
              <a:gd name="connsiteX2846" fmla="*/ 5396847 w 12139750"/>
              <a:gd name="connsiteY2846" fmla="*/ 2116229 h 6858290"/>
              <a:gd name="connsiteX2847" fmla="*/ 5438190 w 12139750"/>
              <a:gd name="connsiteY2847" fmla="*/ 2145804 h 6858290"/>
              <a:gd name="connsiteX2848" fmla="*/ 5442009 w 12139750"/>
              <a:gd name="connsiteY2848" fmla="*/ 2162858 h 6858290"/>
              <a:gd name="connsiteX2849" fmla="*/ 5411464 w 12139750"/>
              <a:gd name="connsiteY2849" fmla="*/ 2206436 h 6858290"/>
              <a:gd name="connsiteX2850" fmla="*/ 5069728 w 12139750"/>
              <a:gd name="connsiteY2850" fmla="*/ 2335278 h 6858290"/>
              <a:gd name="connsiteX2851" fmla="*/ 5008642 w 12139750"/>
              <a:gd name="connsiteY2851" fmla="*/ 2308745 h 6858290"/>
              <a:gd name="connsiteX2852" fmla="*/ 5037275 w 12139750"/>
              <a:gd name="connsiteY2852" fmla="*/ 2248119 h 6858290"/>
              <a:gd name="connsiteX2853" fmla="*/ 5379009 w 12139750"/>
              <a:gd name="connsiteY2853" fmla="*/ 2119278 h 6858290"/>
              <a:gd name="connsiteX2854" fmla="*/ 5396847 w 12139750"/>
              <a:gd name="connsiteY2854" fmla="*/ 2116229 h 6858290"/>
              <a:gd name="connsiteX2855" fmla="*/ 930370 w 12139750"/>
              <a:gd name="connsiteY2855" fmla="*/ 2116224 h 6858290"/>
              <a:gd name="connsiteX2856" fmla="*/ 972820 w 12139750"/>
              <a:gd name="connsiteY2856" fmla="*/ 2145802 h 6858290"/>
              <a:gd name="connsiteX2857" fmla="*/ 974730 w 12139750"/>
              <a:gd name="connsiteY2857" fmla="*/ 2162856 h 6858290"/>
              <a:gd name="connsiteX2858" fmla="*/ 944162 w 12139750"/>
              <a:gd name="connsiteY2858" fmla="*/ 2206434 h 6858290"/>
              <a:gd name="connsiteX2859" fmla="*/ 602179 w 12139750"/>
              <a:gd name="connsiteY2859" fmla="*/ 2335276 h 6858290"/>
              <a:gd name="connsiteX2860" fmla="*/ 542953 w 12139750"/>
              <a:gd name="connsiteY2860" fmla="*/ 2308745 h 6858290"/>
              <a:gd name="connsiteX2861" fmla="*/ 569700 w 12139750"/>
              <a:gd name="connsiteY2861" fmla="*/ 2248116 h 6858290"/>
              <a:gd name="connsiteX2862" fmla="*/ 911683 w 12139750"/>
              <a:gd name="connsiteY2862" fmla="*/ 2119276 h 6858290"/>
              <a:gd name="connsiteX2863" fmla="*/ 930370 w 12139750"/>
              <a:gd name="connsiteY2863" fmla="*/ 2116224 h 6858290"/>
              <a:gd name="connsiteX2864" fmla="*/ 4845975 w 12139750"/>
              <a:gd name="connsiteY2864" fmla="*/ 2110281 h 6858290"/>
              <a:gd name="connsiteX2865" fmla="*/ 4890814 w 12139750"/>
              <a:gd name="connsiteY2865" fmla="*/ 2147142 h 6858290"/>
              <a:gd name="connsiteX2866" fmla="*/ 4892723 w 12139750"/>
              <a:gd name="connsiteY2866" fmla="*/ 2162340 h 6858290"/>
              <a:gd name="connsiteX2867" fmla="*/ 4856445 w 12139750"/>
              <a:gd name="connsiteY2867" fmla="*/ 2209828 h 6858290"/>
              <a:gd name="connsiteX2868" fmla="*/ 4512821 w 12139750"/>
              <a:gd name="connsiteY2868" fmla="*/ 2316199 h 6858290"/>
              <a:gd name="connsiteX2869" fmla="*/ 4449824 w 12139750"/>
              <a:gd name="connsiteY2869" fmla="*/ 2283899 h 6858290"/>
              <a:gd name="connsiteX2870" fmla="*/ 4482278 w 12139750"/>
              <a:gd name="connsiteY2870" fmla="*/ 2219324 h 6858290"/>
              <a:gd name="connsiteX2871" fmla="*/ 4825898 w 12139750"/>
              <a:gd name="connsiteY2871" fmla="*/ 2112951 h 6858290"/>
              <a:gd name="connsiteX2872" fmla="*/ 4845975 w 12139750"/>
              <a:gd name="connsiteY2872" fmla="*/ 2110281 h 6858290"/>
              <a:gd name="connsiteX2873" fmla="*/ 1482447 w 12139750"/>
              <a:gd name="connsiteY2873" fmla="*/ 2110278 h 6858290"/>
              <a:gd name="connsiteX2874" fmla="*/ 1525280 w 12139750"/>
              <a:gd name="connsiteY2874" fmla="*/ 2147139 h 6858290"/>
              <a:gd name="connsiteX2875" fmla="*/ 1527184 w 12139750"/>
              <a:gd name="connsiteY2875" fmla="*/ 2162337 h 6858290"/>
              <a:gd name="connsiteX2876" fmla="*/ 1492917 w 12139750"/>
              <a:gd name="connsiteY2876" fmla="*/ 2209825 h 6858290"/>
              <a:gd name="connsiteX2877" fmla="*/ 1150255 w 12139750"/>
              <a:gd name="connsiteY2877" fmla="*/ 2316198 h 6858290"/>
              <a:gd name="connsiteX2878" fmla="*/ 1085530 w 12139750"/>
              <a:gd name="connsiteY2878" fmla="*/ 2283899 h 6858290"/>
              <a:gd name="connsiteX2879" fmla="*/ 1119796 w 12139750"/>
              <a:gd name="connsiteY2879" fmla="*/ 2219322 h 6858290"/>
              <a:gd name="connsiteX2880" fmla="*/ 1462458 w 12139750"/>
              <a:gd name="connsiteY2880" fmla="*/ 2112949 h 6858290"/>
              <a:gd name="connsiteX2881" fmla="*/ 1482447 w 12139750"/>
              <a:gd name="connsiteY2881" fmla="*/ 2110278 h 6858290"/>
              <a:gd name="connsiteX2882" fmla="*/ 4292467 w 12139750"/>
              <a:gd name="connsiteY2882" fmla="*/ 2106615 h 6858290"/>
              <a:gd name="connsiteX2883" fmla="*/ 4338673 w 12139750"/>
              <a:gd name="connsiteY2883" fmla="*/ 2147679 h 6858290"/>
              <a:gd name="connsiteX2884" fmla="*/ 4338673 w 12139750"/>
              <a:gd name="connsiteY2884" fmla="*/ 2160953 h 6858290"/>
              <a:gd name="connsiteX2885" fmla="*/ 4296646 w 12139750"/>
              <a:gd name="connsiteY2885" fmla="*/ 2214045 h 6858290"/>
              <a:gd name="connsiteX2886" fmla="*/ 3952805 w 12139750"/>
              <a:gd name="connsiteY2886" fmla="*/ 2297470 h 6858290"/>
              <a:gd name="connsiteX2887" fmla="*/ 3884033 w 12139750"/>
              <a:gd name="connsiteY2887" fmla="*/ 2257656 h 6858290"/>
              <a:gd name="connsiteX2888" fmla="*/ 3926060 w 12139750"/>
              <a:gd name="connsiteY2888" fmla="*/ 2191291 h 6858290"/>
              <a:gd name="connsiteX2889" fmla="*/ 4269902 w 12139750"/>
              <a:gd name="connsiteY2889" fmla="*/ 2107861 h 6858290"/>
              <a:gd name="connsiteX2890" fmla="*/ 4292467 w 12139750"/>
              <a:gd name="connsiteY2890" fmla="*/ 2106615 h 6858290"/>
              <a:gd name="connsiteX2891" fmla="*/ 2038710 w 12139750"/>
              <a:gd name="connsiteY2891" fmla="*/ 2106612 h 6858290"/>
              <a:gd name="connsiteX2892" fmla="*/ 2084082 w 12139750"/>
              <a:gd name="connsiteY2892" fmla="*/ 2147677 h 6858290"/>
              <a:gd name="connsiteX2893" fmla="*/ 2085991 w 12139750"/>
              <a:gd name="connsiteY2893" fmla="*/ 2160951 h 6858290"/>
              <a:gd name="connsiteX2894" fmla="*/ 2043989 w 12139750"/>
              <a:gd name="connsiteY2894" fmla="*/ 2214042 h 6858290"/>
              <a:gd name="connsiteX2895" fmla="*/ 1698467 w 12139750"/>
              <a:gd name="connsiteY2895" fmla="*/ 2297470 h 6858290"/>
              <a:gd name="connsiteX2896" fmla="*/ 1631654 w 12139750"/>
              <a:gd name="connsiteY2896" fmla="*/ 2257654 h 6858290"/>
              <a:gd name="connsiteX2897" fmla="*/ 1671742 w 12139750"/>
              <a:gd name="connsiteY2897" fmla="*/ 2191289 h 6858290"/>
              <a:gd name="connsiteX2898" fmla="*/ 2017264 w 12139750"/>
              <a:gd name="connsiteY2898" fmla="*/ 2107857 h 6858290"/>
              <a:gd name="connsiteX2899" fmla="*/ 2038710 w 12139750"/>
              <a:gd name="connsiteY2899" fmla="*/ 2106612 h 6858290"/>
              <a:gd name="connsiteX2900" fmla="*/ 3734742 w 12139750"/>
              <a:gd name="connsiteY2900" fmla="*/ 2101215 h 6858290"/>
              <a:gd name="connsiteX2901" fmla="*/ 3779871 w 12139750"/>
              <a:gd name="connsiteY2901" fmla="*/ 2149168 h 6858290"/>
              <a:gd name="connsiteX2902" fmla="*/ 3779871 w 12139750"/>
              <a:gd name="connsiteY2902" fmla="*/ 2158693 h 6858290"/>
              <a:gd name="connsiteX2903" fmla="*/ 3732116 w 12139750"/>
              <a:gd name="connsiteY2903" fmla="*/ 2217746 h 6858290"/>
              <a:gd name="connsiteX2904" fmla="*/ 3384469 w 12139750"/>
              <a:gd name="connsiteY2904" fmla="*/ 2278704 h 6858290"/>
              <a:gd name="connsiteX2905" fmla="*/ 3315701 w 12139750"/>
              <a:gd name="connsiteY2905" fmla="*/ 2231081 h 6858290"/>
              <a:gd name="connsiteX2906" fmla="*/ 3363456 w 12139750"/>
              <a:gd name="connsiteY2906" fmla="*/ 2160598 h 6858290"/>
              <a:gd name="connsiteX2907" fmla="*/ 3711103 w 12139750"/>
              <a:gd name="connsiteY2907" fmla="*/ 2101543 h 6858290"/>
              <a:gd name="connsiteX2908" fmla="*/ 3734742 w 12139750"/>
              <a:gd name="connsiteY2908" fmla="*/ 2101215 h 6858290"/>
              <a:gd name="connsiteX2909" fmla="*/ 2601252 w 12139750"/>
              <a:gd name="connsiteY2909" fmla="*/ 2101212 h 6858290"/>
              <a:gd name="connsiteX2910" fmla="*/ 2646380 w 12139750"/>
              <a:gd name="connsiteY2910" fmla="*/ 2149163 h 6858290"/>
              <a:gd name="connsiteX2911" fmla="*/ 2646380 w 12139750"/>
              <a:gd name="connsiteY2911" fmla="*/ 2158690 h 6858290"/>
              <a:gd name="connsiteX2912" fmla="*/ 2596716 w 12139750"/>
              <a:gd name="connsiteY2912" fmla="*/ 2217744 h 6858290"/>
              <a:gd name="connsiteX2913" fmla="*/ 2250972 w 12139750"/>
              <a:gd name="connsiteY2913" fmla="*/ 2278703 h 6858290"/>
              <a:gd name="connsiteX2914" fmla="*/ 2182206 w 12139750"/>
              <a:gd name="connsiteY2914" fmla="*/ 2231079 h 6858290"/>
              <a:gd name="connsiteX2915" fmla="*/ 2229960 w 12139750"/>
              <a:gd name="connsiteY2915" fmla="*/ 2160595 h 6858290"/>
              <a:gd name="connsiteX2916" fmla="*/ 2577613 w 12139750"/>
              <a:gd name="connsiteY2916" fmla="*/ 2101540 h 6858290"/>
              <a:gd name="connsiteX2917" fmla="*/ 2601252 w 12139750"/>
              <a:gd name="connsiteY2917" fmla="*/ 2101212 h 6858290"/>
              <a:gd name="connsiteX2918" fmla="*/ 3141099 w 12139750"/>
              <a:gd name="connsiteY2918" fmla="*/ 2094548 h 6858290"/>
              <a:gd name="connsiteX2919" fmla="*/ 3211538 w 12139750"/>
              <a:gd name="connsiteY2919" fmla="*/ 2151594 h 6858290"/>
              <a:gd name="connsiteX2920" fmla="*/ 3211538 w 12139750"/>
              <a:gd name="connsiteY2920" fmla="*/ 2159200 h 6858290"/>
              <a:gd name="connsiteX2921" fmla="*/ 3156330 w 12139750"/>
              <a:gd name="connsiteY2921" fmla="*/ 2221949 h 6858290"/>
              <a:gd name="connsiteX2922" fmla="*/ 2807941 w 12139750"/>
              <a:gd name="connsiteY2922" fmla="*/ 2259980 h 6858290"/>
              <a:gd name="connsiteX2923" fmla="*/ 2737501 w 12139750"/>
              <a:gd name="connsiteY2923" fmla="*/ 2202934 h 6858290"/>
              <a:gd name="connsiteX2924" fmla="*/ 2794614 w 12139750"/>
              <a:gd name="connsiteY2924" fmla="*/ 2132575 h 6858290"/>
              <a:gd name="connsiteX2925" fmla="*/ 3141099 w 12139750"/>
              <a:gd name="connsiteY2925" fmla="*/ 2094548 h 6858290"/>
              <a:gd name="connsiteX2926" fmla="*/ 9859129 w 12139750"/>
              <a:gd name="connsiteY2926" fmla="*/ 1839997 h 6858290"/>
              <a:gd name="connsiteX2927" fmla="*/ 9870549 w 12139750"/>
              <a:gd name="connsiteY2927" fmla="*/ 1845944 h 6858290"/>
              <a:gd name="connsiteX2928" fmla="*/ 9874356 w 12139750"/>
              <a:gd name="connsiteY2928" fmla="*/ 1857363 h 6858290"/>
              <a:gd name="connsiteX2929" fmla="*/ 9868646 w 12139750"/>
              <a:gd name="connsiteY2929" fmla="*/ 1868782 h 6858290"/>
              <a:gd name="connsiteX2930" fmla="*/ 9539364 w 12139750"/>
              <a:gd name="connsiteY2930" fmla="*/ 2165681 h 6858290"/>
              <a:gd name="connsiteX2931" fmla="*/ 9516524 w 12139750"/>
              <a:gd name="connsiteY2931" fmla="*/ 2165681 h 6858290"/>
              <a:gd name="connsiteX2932" fmla="*/ 9516524 w 12139750"/>
              <a:gd name="connsiteY2932" fmla="*/ 2142843 h 6858290"/>
              <a:gd name="connsiteX2933" fmla="*/ 9847709 w 12139750"/>
              <a:gd name="connsiteY2933" fmla="*/ 1844041 h 6858290"/>
              <a:gd name="connsiteX2934" fmla="*/ 9859129 w 12139750"/>
              <a:gd name="connsiteY2934" fmla="*/ 1839997 h 6858290"/>
              <a:gd name="connsiteX2935" fmla="*/ 9281354 w 12139750"/>
              <a:gd name="connsiteY2935" fmla="*/ 1833512 h 6858290"/>
              <a:gd name="connsiteX2936" fmla="*/ 9293964 w 12139750"/>
              <a:gd name="connsiteY2936" fmla="*/ 1841846 h 6858290"/>
              <a:gd name="connsiteX2937" fmla="*/ 9299674 w 12139750"/>
              <a:gd name="connsiteY2937" fmla="*/ 1853277 h 6858290"/>
              <a:gd name="connsiteX2938" fmla="*/ 9292060 w 12139750"/>
              <a:gd name="connsiteY2938" fmla="*/ 1868517 h 6858290"/>
              <a:gd name="connsiteX2939" fmla="*/ 8960867 w 12139750"/>
              <a:gd name="connsiteY2939" fmla="*/ 2146642 h 6858290"/>
              <a:gd name="connsiteX2940" fmla="*/ 8932316 w 12139750"/>
              <a:gd name="connsiteY2940" fmla="*/ 2144739 h 6858290"/>
              <a:gd name="connsiteX2941" fmla="*/ 8936123 w 12139750"/>
              <a:gd name="connsiteY2941" fmla="*/ 2116162 h 6858290"/>
              <a:gd name="connsiteX2942" fmla="*/ 9267316 w 12139750"/>
              <a:gd name="connsiteY2942" fmla="*/ 1838036 h 6858290"/>
              <a:gd name="connsiteX2943" fmla="*/ 9281354 w 12139750"/>
              <a:gd name="connsiteY2943" fmla="*/ 1833512 h 6858290"/>
              <a:gd name="connsiteX2944" fmla="*/ 10443580 w 12139750"/>
              <a:gd name="connsiteY2944" fmla="*/ 1833487 h 6858290"/>
              <a:gd name="connsiteX2945" fmla="*/ 10457916 w 12139750"/>
              <a:gd name="connsiteY2945" fmla="*/ 1841822 h 6858290"/>
              <a:gd name="connsiteX2946" fmla="*/ 10461739 w 12139750"/>
              <a:gd name="connsiteY2946" fmla="*/ 1853252 h 6858290"/>
              <a:gd name="connsiteX2947" fmla="*/ 10454093 w 12139750"/>
              <a:gd name="connsiteY2947" fmla="*/ 1868492 h 6858290"/>
              <a:gd name="connsiteX2948" fmla="*/ 10121491 w 12139750"/>
              <a:gd name="connsiteY2948" fmla="*/ 2146621 h 6858290"/>
              <a:gd name="connsiteX2949" fmla="*/ 10094730 w 12139750"/>
              <a:gd name="connsiteY2949" fmla="*/ 2144715 h 6858290"/>
              <a:gd name="connsiteX2950" fmla="*/ 10096642 w 12139750"/>
              <a:gd name="connsiteY2950" fmla="*/ 2116141 h 6858290"/>
              <a:gd name="connsiteX2951" fmla="*/ 10429243 w 12139750"/>
              <a:gd name="connsiteY2951" fmla="*/ 1838012 h 6858290"/>
              <a:gd name="connsiteX2952" fmla="*/ 10443580 w 12139750"/>
              <a:gd name="connsiteY2952" fmla="*/ 1833487 h 6858290"/>
              <a:gd name="connsiteX2953" fmla="*/ 8711664 w 12139750"/>
              <a:gd name="connsiteY2953" fmla="*/ 1828739 h 6858290"/>
              <a:gd name="connsiteX2954" fmla="*/ 8727194 w 12139750"/>
              <a:gd name="connsiteY2954" fmla="*/ 1837048 h 6858290"/>
              <a:gd name="connsiteX2955" fmla="*/ 8732928 w 12139750"/>
              <a:gd name="connsiteY2955" fmla="*/ 1852242 h 6858290"/>
              <a:gd name="connsiteX2956" fmla="*/ 8723371 w 12139750"/>
              <a:gd name="connsiteY2956" fmla="*/ 1871234 h 6858290"/>
              <a:gd name="connsiteX2957" fmla="*/ 8390798 w 12139750"/>
              <a:gd name="connsiteY2957" fmla="*/ 2127610 h 6858290"/>
              <a:gd name="connsiteX2958" fmla="*/ 8356393 w 12139750"/>
              <a:gd name="connsiteY2958" fmla="*/ 2123813 h 6858290"/>
              <a:gd name="connsiteX2959" fmla="*/ 8360216 w 12139750"/>
              <a:gd name="connsiteY2959" fmla="*/ 2089634 h 6858290"/>
              <a:gd name="connsiteX2960" fmla="*/ 8694701 w 12139750"/>
              <a:gd name="connsiteY2960" fmla="*/ 1833250 h 6858290"/>
              <a:gd name="connsiteX2961" fmla="*/ 8711664 w 12139750"/>
              <a:gd name="connsiteY2961" fmla="*/ 1828739 h 6858290"/>
              <a:gd name="connsiteX2962" fmla="*/ 11021508 w 12139750"/>
              <a:gd name="connsiteY2962" fmla="*/ 1828712 h 6858290"/>
              <a:gd name="connsiteX2963" fmla="*/ 11037038 w 12139750"/>
              <a:gd name="connsiteY2963" fmla="*/ 1837021 h 6858290"/>
              <a:gd name="connsiteX2964" fmla="*/ 11042772 w 12139750"/>
              <a:gd name="connsiteY2964" fmla="*/ 1852214 h 6858290"/>
              <a:gd name="connsiteX2965" fmla="*/ 11033215 w 12139750"/>
              <a:gd name="connsiteY2965" fmla="*/ 1871206 h 6858290"/>
              <a:gd name="connsiteX2966" fmla="*/ 10698730 w 12139750"/>
              <a:gd name="connsiteY2966" fmla="*/ 2127592 h 6858290"/>
              <a:gd name="connsiteX2967" fmla="*/ 10666237 w 12139750"/>
              <a:gd name="connsiteY2967" fmla="*/ 2123794 h 6858290"/>
              <a:gd name="connsiteX2968" fmla="*/ 10670060 w 12139750"/>
              <a:gd name="connsiteY2968" fmla="*/ 2089609 h 6858290"/>
              <a:gd name="connsiteX2969" fmla="*/ 11004545 w 12139750"/>
              <a:gd name="connsiteY2969" fmla="*/ 1833223 h 6858290"/>
              <a:gd name="connsiteX2970" fmla="*/ 11021508 w 12139750"/>
              <a:gd name="connsiteY2970" fmla="*/ 1828712 h 6858290"/>
              <a:gd name="connsiteX2971" fmla="*/ 8148424 w 12139750"/>
              <a:gd name="connsiteY2971" fmla="*/ 1822231 h 6858290"/>
              <a:gd name="connsiteX2972" fmla="*/ 8166804 w 12139750"/>
              <a:gd name="connsiteY2972" fmla="*/ 1832924 h 6858290"/>
              <a:gd name="connsiteX2973" fmla="*/ 8172533 w 12139750"/>
              <a:gd name="connsiteY2973" fmla="*/ 1850033 h 6858290"/>
              <a:gd name="connsiteX2974" fmla="*/ 8161075 w 12139750"/>
              <a:gd name="connsiteY2974" fmla="*/ 1872844 h 6858290"/>
              <a:gd name="connsiteX2975" fmla="*/ 7824980 w 12139750"/>
              <a:gd name="connsiteY2975" fmla="*/ 2108561 h 6858290"/>
              <a:gd name="connsiteX2976" fmla="*/ 7786788 w 12139750"/>
              <a:gd name="connsiteY2976" fmla="*/ 2100956 h 6858290"/>
              <a:gd name="connsiteX2977" fmla="*/ 7792517 w 12139750"/>
              <a:gd name="connsiteY2977" fmla="*/ 2062938 h 6858290"/>
              <a:gd name="connsiteX2978" fmla="*/ 8128611 w 12139750"/>
              <a:gd name="connsiteY2978" fmla="*/ 1827221 h 6858290"/>
              <a:gd name="connsiteX2979" fmla="*/ 8148424 w 12139750"/>
              <a:gd name="connsiteY2979" fmla="*/ 1822231 h 6858290"/>
              <a:gd name="connsiteX2980" fmla="*/ 11593502 w 12139750"/>
              <a:gd name="connsiteY2980" fmla="*/ 1822227 h 6858290"/>
              <a:gd name="connsiteX2981" fmla="*/ 11612061 w 12139750"/>
              <a:gd name="connsiteY2981" fmla="*/ 1832920 h 6858290"/>
              <a:gd name="connsiteX2982" fmla="*/ 11615868 w 12139750"/>
              <a:gd name="connsiteY2982" fmla="*/ 1850029 h 6858290"/>
              <a:gd name="connsiteX2983" fmla="*/ 11604447 w 12139750"/>
              <a:gd name="connsiteY2983" fmla="*/ 1872840 h 6858290"/>
              <a:gd name="connsiteX2984" fmla="*/ 11271337 w 12139750"/>
              <a:gd name="connsiteY2984" fmla="*/ 2108557 h 6858290"/>
              <a:gd name="connsiteX2985" fmla="*/ 11233267 w 12139750"/>
              <a:gd name="connsiteY2985" fmla="*/ 2100952 h 6858290"/>
              <a:gd name="connsiteX2986" fmla="*/ 11238978 w 12139750"/>
              <a:gd name="connsiteY2986" fmla="*/ 2062934 h 6858290"/>
              <a:gd name="connsiteX2987" fmla="*/ 11572088 w 12139750"/>
              <a:gd name="connsiteY2987" fmla="*/ 1827217 h 6858290"/>
              <a:gd name="connsiteX2988" fmla="*/ 11593502 w 12139750"/>
              <a:gd name="connsiteY2988" fmla="*/ 1822227 h 6858290"/>
              <a:gd name="connsiteX2989" fmla="*/ 12139750 w 12139750"/>
              <a:gd name="connsiteY2989" fmla="*/ 1819296 h 6858290"/>
              <a:gd name="connsiteX2990" fmla="*/ 12139750 w 12139750"/>
              <a:gd name="connsiteY2990" fmla="*/ 1893845 h 6858290"/>
              <a:gd name="connsiteX2991" fmla="*/ 11834405 w 12139750"/>
              <a:gd name="connsiteY2991" fmla="*/ 2090726 h 6858290"/>
              <a:gd name="connsiteX2992" fmla="*/ 11790512 w 12139750"/>
              <a:gd name="connsiteY2992" fmla="*/ 2081169 h 6858290"/>
              <a:gd name="connsiteX2993" fmla="*/ 11800054 w 12139750"/>
              <a:gd name="connsiteY2993" fmla="*/ 2037205 h 6858290"/>
              <a:gd name="connsiteX2994" fmla="*/ 12135933 w 12139750"/>
              <a:gd name="connsiteY2994" fmla="*/ 1821208 h 6858290"/>
              <a:gd name="connsiteX2995" fmla="*/ 12139750 w 12139750"/>
              <a:gd name="connsiteY2995" fmla="*/ 1819296 h 6858290"/>
              <a:gd name="connsiteX2996" fmla="*/ 7591461 w 12139750"/>
              <a:gd name="connsiteY2996" fmla="*/ 1816389 h 6858290"/>
              <a:gd name="connsiteX2997" fmla="*/ 7611195 w 12139750"/>
              <a:gd name="connsiteY2997" fmla="*/ 1830500 h 6858290"/>
              <a:gd name="connsiteX2998" fmla="*/ 7616901 w 12139750"/>
              <a:gd name="connsiteY2998" fmla="*/ 1847721 h 6858290"/>
              <a:gd name="connsiteX2999" fmla="*/ 7601685 w 12139750"/>
              <a:gd name="connsiteY2999" fmla="*/ 1874509 h 6858290"/>
              <a:gd name="connsiteX3000" fmla="*/ 7266927 w 12139750"/>
              <a:gd name="connsiteY3000" fmla="*/ 2090722 h 6858290"/>
              <a:gd name="connsiteX3001" fmla="*/ 7223180 w 12139750"/>
              <a:gd name="connsiteY3001" fmla="*/ 2081155 h 6858290"/>
              <a:gd name="connsiteX3002" fmla="*/ 7232690 w 12139750"/>
              <a:gd name="connsiteY3002" fmla="*/ 2037147 h 6858290"/>
              <a:gd name="connsiteX3003" fmla="*/ 7567448 w 12139750"/>
              <a:gd name="connsiteY3003" fmla="*/ 1820933 h 6858290"/>
              <a:gd name="connsiteX3004" fmla="*/ 7591461 w 12139750"/>
              <a:gd name="connsiteY3004" fmla="*/ 1816389 h 6858290"/>
              <a:gd name="connsiteX3005" fmla="*/ 7042453 w 12139750"/>
              <a:gd name="connsiteY3005" fmla="*/ 1811445 h 6858290"/>
              <a:gd name="connsiteX3006" fmla="*/ 7063473 w 12139750"/>
              <a:gd name="connsiteY3006" fmla="*/ 1827876 h 6858290"/>
              <a:gd name="connsiteX3007" fmla="*/ 7069206 w 12139750"/>
              <a:gd name="connsiteY3007" fmla="*/ 1845021 h 6858290"/>
              <a:gd name="connsiteX3008" fmla="*/ 7052008 w 12139750"/>
              <a:gd name="connsiteY3008" fmla="*/ 1875501 h 6858290"/>
              <a:gd name="connsiteX3009" fmla="*/ 6713777 w 12139750"/>
              <a:gd name="connsiteY3009" fmla="*/ 2071714 h 6858290"/>
              <a:gd name="connsiteX3010" fmla="*/ 6666004 w 12139750"/>
              <a:gd name="connsiteY3010" fmla="*/ 2058379 h 6858290"/>
              <a:gd name="connsiteX3011" fmla="*/ 6679381 w 12139750"/>
              <a:gd name="connsiteY3011" fmla="*/ 2010756 h 6858290"/>
              <a:gd name="connsiteX3012" fmla="*/ 7015700 w 12139750"/>
              <a:gd name="connsiteY3012" fmla="*/ 1816445 h 6858290"/>
              <a:gd name="connsiteX3013" fmla="*/ 7042453 w 12139750"/>
              <a:gd name="connsiteY3013" fmla="*/ 1811445 h 6858290"/>
              <a:gd name="connsiteX3014" fmla="*/ 6499936 w 12139750"/>
              <a:gd name="connsiteY3014" fmla="*/ 1806065 h 6858290"/>
              <a:gd name="connsiteX3015" fmla="*/ 6522132 w 12139750"/>
              <a:gd name="connsiteY3015" fmla="*/ 1825400 h 6858290"/>
              <a:gd name="connsiteX3016" fmla="*/ 6527860 w 12139750"/>
              <a:gd name="connsiteY3016" fmla="*/ 1842587 h 6858290"/>
              <a:gd name="connsiteX3017" fmla="*/ 6506857 w 12139750"/>
              <a:gd name="connsiteY3017" fmla="*/ 1876960 h 6858290"/>
              <a:gd name="connsiteX3018" fmla="*/ 6166999 w 12139750"/>
              <a:gd name="connsiteY3018" fmla="*/ 2052641 h 6858290"/>
              <a:gd name="connsiteX3019" fmla="*/ 6115448 w 12139750"/>
              <a:gd name="connsiteY3019" fmla="*/ 2035456 h 6858290"/>
              <a:gd name="connsiteX3020" fmla="*/ 6130722 w 12139750"/>
              <a:gd name="connsiteY3020" fmla="*/ 1983897 h 6858290"/>
              <a:gd name="connsiteX3021" fmla="*/ 6470580 w 12139750"/>
              <a:gd name="connsiteY3021" fmla="*/ 1808213 h 6858290"/>
              <a:gd name="connsiteX3022" fmla="*/ 6499936 w 12139750"/>
              <a:gd name="connsiteY3022" fmla="*/ 1806065 h 6858290"/>
              <a:gd name="connsiteX3023" fmla="*/ 5958440 w 12139750"/>
              <a:gd name="connsiteY3023" fmla="*/ 1800931 h 6858290"/>
              <a:gd name="connsiteX3024" fmla="*/ 5982710 w 12139750"/>
              <a:gd name="connsiteY3024" fmla="*/ 1822950 h 6858290"/>
              <a:gd name="connsiteX3025" fmla="*/ 5986518 w 12139750"/>
              <a:gd name="connsiteY3025" fmla="*/ 1840183 h 6858290"/>
              <a:gd name="connsiteX3026" fmla="*/ 5961771 w 12139750"/>
              <a:gd name="connsiteY3026" fmla="*/ 1878478 h 6858290"/>
              <a:gd name="connsiteX3027" fmla="*/ 5622934 w 12139750"/>
              <a:gd name="connsiteY3027" fmla="*/ 2033566 h 6858290"/>
              <a:gd name="connsiteX3028" fmla="*/ 5565827 w 12139750"/>
              <a:gd name="connsiteY3028" fmla="*/ 2012506 h 6858290"/>
              <a:gd name="connsiteX3029" fmla="*/ 5586767 w 12139750"/>
              <a:gd name="connsiteY3029" fmla="*/ 1955065 h 6858290"/>
              <a:gd name="connsiteX3030" fmla="*/ 5925602 w 12139750"/>
              <a:gd name="connsiteY3030" fmla="*/ 1801889 h 6858290"/>
              <a:gd name="connsiteX3031" fmla="*/ 5958440 w 12139750"/>
              <a:gd name="connsiteY3031" fmla="*/ 1800931 h 6858290"/>
              <a:gd name="connsiteX3032" fmla="*/ 398962 w 12139750"/>
              <a:gd name="connsiteY3032" fmla="*/ 1800922 h 6858290"/>
              <a:gd name="connsiteX3033" fmla="*/ 423233 w 12139750"/>
              <a:gd name="connsiteY3033" fmla="*/ 1822941 h 6858290"/>
              <a:gd name="connsiteX3034" fmla="*/ 427041 w 12139750"/>
              <a:gd name="connsiteY3034" fmla="*/ 1840174 h 6858290"/>
              <a:gd name="connsiteX3035" fmla="*/ 400390 w 12139750"/>
              <a:gd name="connsiteY3035" fmla="*/ 1878468 h 6858290"/>
              <a:gd name="connsiteX3036" fmla="*/ 61546 w 12139750"/>
              <a:gd name="connsiteY3036" fmla="*/ 2033558 h 6858290"/>
              <a:gd name="connsiteX3037" fmla="*/ 6342 w 12139750"/>
              <a:gd name="connsiteY3037" fmla="*/ 2012496 h 6858290"/>
              <a:gd name="connsiteX3038" fmla="*/ 27281 w 12139750"/>
              <a:gd name="connsiteY3038" fmla="*/ 1955055 h 6858290"/>
              <a:gd name="connsiteX3039" fmla="*/ 366125 w 12139750"/>
              <a:gd name="connsiteY3039" fmla="*/ 1801879 h 6858290"/>
              <a:gd name="connsiteX3040" fmla="*/ 398962 w 12139750"/>
              <a:gd name="connsiteY3040" fmla="*/ 1800922 h 6858290"/>
              <a:gd name="connsiteX3041" fmla="*/ 5395741 w 12139750"/>
              <a:gd name="connsiteY3041" fmla="*/ 1792156 h 6858290"/>
              <a:gd name="connsiteX3042" fmla="*/ 5438189 w 12139750"/>
              <a:gd name="connsiteY3042" fmla="*/ 1822160 h 6858290"/>
              <a:gd name="connsiteX3043" fmla="*/ 5442010 w 12139750"/>
              <a:gd name="connsiteY3043" fmla="*/ 1839306 h 6858290"/>
              <a:gd name="connsiteX3044" fmla="*/ 5411443 w 12139750"/>
              <a:gd name="connsiteY3044" fmla="*/ 1883121 h 6858290"/>
              <a:gd name="connsiteX3045" fmla="*/ 5069457 w 12139750"/>
              <a:gd name="connsiteY3045" fmla="*/ 2014565 h 6858290"/>
              <a:gd name="connsiteX3046" fmla="*/ 5010238 w 12139750"/>
              <a:gd name="connsiteY3046" fmla="*/ 1989801 h 6858290"/>
              <a:gd name="connsiteX3047" fmla="*/ 5036982 w 12139750"/>
              <a:gd name="connsiteY3047" fmla="*/ 1928841 h 6858290"/>
              <a:gd name="connsiteX3048" fmla="*/ 5377053 w 12139750"/>
              <a:gd name="connsiteY3048" fmla="*/ 1795490 h 6858290"/>
              <a:gd name="connsiteX3049" fmla="*/ 5395741 w 12139750"/>
              <a:gd name="connsiteY3049" fmla="*/ 1792156 h 6858290"/>
              <a:gd name="connsiteX3050" fmla="*/ 929266 w 12139750"/>
              <a:gd name="connsiteY3050" fmla="*/ 1792145 h 6858290"/>
              <a:gd name="connsiteX3051" fmla="*/ 970909 w 12139750"/>
              <a:gd name="connsiteY3051" fmla="*/ 1822149 h 6858290"/>
              <a:gd name="connsiteX3052" fmla="*/ 974730 w 12139750"/>
              <a:gd name="connsiteY3052" fmla="*/ 1839294 h 6858290"/>
              <a:gd name="connsiteX3053" fmla="*/ 946072 w 12139750"/>
              <a:gd name="connsiteY3053" fmla="*/ 1883109 h 6858290"/>
              <a:gd name="connsiteX3054" fmla="*/ 604089 w 12139750"/>
              <a:gd name="connsiteY3054" fmla="*/ 2014554 h 6858290"/>
              <a:gd name="connsiteX3055" fmla="*/ 542953 w 12139750"/>
              <a:gd name="connsiteY3055" fmla="*/ 1989789 h 6858290"/>
              <a:gd name="connsiteX3056" fmla="*/ 569700 w 12139750"/>
              <a:gd name="connsiteY3056" fmla="*/ 1928829 h 6858290"/>
              <a:gd name="connsiteX3057" fmla="*/ 911683 w 12139750"/>
              <a:gd name="connsiteY3057" fmla="*/ 1795478 h 6858290"/>
              <a:gd name="connsiteX3058" fmla="*/ 929266 w 12139750"/>
              <a:gd name="connsiteY3058" fmla="*/ 1792145 h 6858290"/>
              <a:gd name="connsiteX3059" fmla="*/ 4845291 w 12139750"/>
              <a:gd name="connsiteY3059" fmla="*/ 1786421 h 6858290"/>
              <a:gd name="connsiteX3060" fmla="*/ 4889232 w 12139750"/>
              <a:gd name="connsiteY3060" fmla="*/ 1819733 h 6858290"/>
              <a:gd name="connsiteX3061" fmla="*/ 4891138 w 12139750"/>
              <a:gd name="connsiteY3061" fmla="*/ 1836927 h 6858290"/>
              <a:gd name="connsiteX3062" fmla="*/ 4856840 w 12139750"/>
              <a:gd name="connsiteY3062" fmla="*/ 1884687 h 6858290"/>
              <a:gd name="connsiteX3063" fmla="*/ 4515847 w 12139750"/>
              <a:gd name="connsiteY3063" fmla="*/ 1997399 h 6858290"/>
              <a:gd name="connsiteX3064" fmla="*/ 4451077 w 12139750"/>
              <a:gd name="connsiteY3064" fmla="*/ 1964923 h 6858290"/>
              <a:gd name="connsiteX3065" fmla="*/ 4483463 w 12139750"/>
              <a:gd name="connsiteY3065" fmla="*/ 1901881 h 6858290"/>
              <a:gd name="connsiteX3066" fmla="*/ 4826356 w 12139750"/>
              <a:gd name="connsiteY3066" fmla="*/ 1789167 h 6858290"/>
              <a:gd name="connsiteX3067" fmla="*/ 4845291 w 12139750"/>
              <a:gd name="connsiteY3067" fmla="*/ 1786421 h 6858290"/>
              <a:gd name="connsiteX3068" fmla="*/ 1480544 w 12139750"/>
              <a:gd name="connsiteY3068" fmla="*/ 1786407 h 6858290"/>
              <a:gd name="connsiteX3069" fmla="*/ 1523376 w 12139750"/>
              <a:gd name="connsiteY3069" fmla="*/ 1819719 h 6858290"/>
              <a:gd name="connsiteX3070" fmla="*/ 1527184 w 12139750"/>
              <a:gd name="connsiteY3070" fmla="*/ 1836913 h 6858290"/>
              <a:gd name="connsiteX3071" fmla="*/ 1492918 w 12139750"/>
              <a:gd name="connsiteY3071" fmla="*/ 1884672 h 6858290"/>
              <a:gd name="connsiteX3072" fmla="*/ 1150255 w 12139750"/>
              <a:gd name="connsiteY3072" fmla="*/ 1997385 h 6858290"/>
              <a:gd name="connsiteX3073" fmla="*/ 1087434 w 12139750"/>
              <a:gd name="connsiteY3073" fmla="*/ 1964908 h 6858290"/>
              <a:gd name="connsiteX3074" fmla="*/ 1119796 w 12139750"/>
              <a:gd name="connsiteY3074" fmla="*/ 1901866 h 6858290"/>
              <a:gd name="connsiteX3075" fmla="*/ 1460555 w 12139750"/>
              <a:gd name="connsiteY3075" fmla="*/ 1789153 h 6858290"/>
              <a:gd name="connsiteX3076" fmla="*/ 1480544 w 12139750"/>
              <a:gd name="connsiteY3076" fmla="*/ 1786407 h 6858290"/>
              <a:gd name="connsiteX3077" fmla="*/ 4289928 w 12139750"/>
              <a:gd name="connsiteY3077" fmla="*/ 1779643 h 6858290"/>
              <a:gd name="connsiteX3078" fmla="*/ 4333596 w 12139750"/>
              <a:gd name="connsiteY3078" fmla="*/ 1819260 h 6858290"/>
              <a:gd name="connsiteX3079" fmla="*/ 4335502 w 12139750"/>
              <a:gd name="connsiteY3079" fmla="*/ 1834591 h 6858290"/>
              <a:gd name="connsiteX3080" fmla="*/ 4295494 w 12139750"/>
              <a:gd name="connsiteY3080" fmla="*/ 1886336 h 6858290"/>
              <a:gd name="connsiteX3081" fmla="*/ 3952611 w 12139750"/>
              <a:gd name="connsiteY3081" fmla="*/ 1978325 h 6858290"/>
              <a:gd name="connsiteX3082" fmla="*/ 3885933 w 12139750"/>
              <a:gd name="connsiteY3082" fmla="*/ 1939996 h 6858290"/>
              <a:gd name="connsiteX3083" fmla="*/ 3924035 w 12139750"/>
              <a:gd name="connsiteY3083" fmla="*/ 1872921 h 6858290"/>
              <a:gd name="connsiteX3084" fmla="*/ 4268823 w 12139750"/>
              <a:gd name="connsiteY3084" fmla="*/ 1780930 h 6858290"/>
              <a:gd name="connsiteX3085" fmla="*/ 4289928 w 12139750"/>
              <a:gd name="connsiteY3085" fmla="*/ 1779643 h 6858290"/>
              <a:gd name="connsiteX3086" fmla="*/ 2035631 w 12139750"/>
              <a:gd name="connsiteY3086" fmla="*/ 1779626 h 6858290"/>
              <a:gd name="connsiteX3087" fmla="*/ 2080910 w 12139750"/>
              <a:gd name="connsiteY3087" fmla="*/ 1819243 h 6858290"/>
              <a:gd name="connsiteX3088" fmla="*/ 2082815 w 12139750"/>
              <a:gd name="connsiteY3088" fmla="*/ 1834574 h 6858290"/>
              <a:gd name="connsiteX3089" fmla="*/ 2042805 w 12139750"/>
              <a:gd name="connsiteY3089" fmla="*/ 1886319 h 6858290"/>
              <a:gd name="connsiteX3090" fmla="*/ 1699901 w 12139750"/>
              <a:gd name="connsiteY3090" fmla="*/ 1978307 h 6858290"/>
              <a:gd name="connsiteX3091" fmla="*/ 1633225 w 12139750"/>
              <a:gd name="connsiteY3091" fmla="*/ 1939979 h 6858290"/>
              <a:gd name="connsiteX3092" fmla="*/ 1671326 w 12139750"/>
              <a:gd name="connsiteY3092" fmla="*/ 1872903 h 6858290"/>
              <a:gd name="connsiteX3093" fmla="*/ 2014230 w 12139750"/>
              <a:gd name="connsiteY3093" fmla="*/ 1780914 h 6858290"/>
              <a:gd name="connsiteX3094" fmla="*/ 2035631 w 12139750"/>
              <a:gd name="connsiteY3094" fmla="*/ 1779626 h 6858290"/>
              <a:gd name="connsiteX3095" fmla="*/ 3732186 w 12139750"/>
              <a:gd name="connsiteY3095" fmla="*/ 1775478 h 6858290"/>
              <a:gd name="connsiteX3096" fmla="*/ 3778298 w 12139750"/>
              <a:gd name="connsiteY3096" fmla="*/ 1820020 h 6858290"/>
              <a:gd name="connsiteX3097" fmla="*/ 3778298 w 12139750"/>
              <a:gd name="connsiteY3097" fmla="*/ 1831468 h 6858290"/>
              <a:gd name="connsiteX3098" fmla="*/ 3732542 w 12139750"/>
              <a:gd name="connsiteY3098" fmla="*/ 1888710 h 6858290"/>
              <a:gd name="connsiteX3099" fmla="*/ 3387515 w 12139750"/>
              <a:gd name="connsiteY3099" fmla="*/ 1959308 h 6858290"/>
              <a:gd name="connsiteX3100" fmla="*/ 3318884 w 12139750"/>
              <a:gd name="connsiteY3100" fmla="*/ 1915423 h 6858290"/>
              <a:gd name="connsiteX3101" fmla="*/ 3364636 w 12139750"/>
              <a:gd name="connsiteY3101" fmla="*/ 1846733 h 6858290"/>
              <a:gd name="connsiteX3102" fmla="*/ 3709666 w 12139750"/>
              <a:gd name="connsiteY3102" fmla="*/ 1776134 h 6858290"/>
              <a:gd name="connsiteX3103" fmla="*/ 3732186 w 12139750"/>
              <a:gd name="connsiteY3103" fmla="*/ 1775478 h 6858290"/>
              <a:gd name="connsiteX3104" fmla="*/ 2597096 w 12139750"/>
              <a:gd name="connsiteY3104" fmla="*/ 1775459 h 6858290"/>
              <a:gd name="connsiteX3105" fmla="*/ 2643205 w 12139750"/>
              <a:gd name="connsiteY3105" fmla="*/ 1820000 h 6858290"/>
              <a:gd name="connsiteX3106" fmla="*/ 2643205 w 12139750"/>
              <a:gd name="connsiteY3106" fmla="*/ 1831449 h 6858290"/>
              <a:gd name="connsiteX3107" fmla="*/ 2597454 w 12139750"/>
              <a:gd name="connsiteY3107" fmla="*/ 1888690 h 6858290"/>
              <a:gd name="connsiteX3108" fmla="*/ 2252409 w 12139750"/>
              <a:gd name="connsiteY3108" fmla="*/ 1959288 h 6858290"/>
              <a:gd name="connsiteX3109" fmla="*/ 2183781 w 12139750"/>
              <a:gd name="connsiteY3109" fmla="*/ 1915403 h 6858290"/>
              <a:gd name="connsiteX3110" fmla="*/ 2229533 w 12139750"/>
              <a:gd name="connsiteY3110" fmla="*/ 1846713 h 6858290"/>
              <a:gd name="connsiteX3111" fmla="*/ 2574577 w 12139750"/>
              <a:gd name="connsiteY3111" fmla="*/ 1776115 h 6858290"/>
              <a:gd name="connsiteX3112" fmla="*/ 2597096 w 12139750"/>
              <a:gd name="connsiteY3112" fmla="*/ 1775459 h 6858290"/>
              <a:gd name="connsiteX3113" fmla="*/ 3139439 w 12139750"/>
              <a:gd name="connsiteY3113" fmla="*/ 1767857 h 6858290"/>
              <a:gd name="connsiteX3114" fmla="*/ 3209972 w 12139750"/>
              <a:gd name="connsiteY3114" fmla="*/ 1819203 h 6858290"/>
              <a:gd name="connsiteX3115" fmla="*/ 3209972 w 12139750"/>
              <a:gd name="connsiteY3115" fmla="*/ 1828711 h 6858290"/>
              <a:gd name="connsiteX3116" fmla="*/ 3156597 w 12139750"/>
              <a:gd name="connsiteY3116" fmla="*/ 1889566 h 6858290"/>
              <a:gd name="connsiteX3117" fmla="*/ 2811555 w 12139750"/>
              <a:gd name="connsiteY3117" fmla="*/ 1939010 h 6858290"/>
              <a:gd name="connsiteX3118" fmla="*/ 2741022 w 12139750"/>
              <a:gd name="connsiteY3118" fmla="*/ 1887665 h 6858290"/>
              <a:gd name="connsiteX3119" fmla="*/ 2792492 w 12139750"/>
              <a:gd name="connsiteY3119" fmla="*/ 1819203 h 6858290"/>
              <a:gd name="connsiteX3120" fmla="*/ 3139439 w 12139750"/>
              <a:gd name="connsiteY3120" fmla="*/ 1767857 h 6858290"/>
              <a:gd name="connsiteX3121" fmla="*/ 9859195 w 12139750"/>
              <a:gd name="connsiteY3121" fmla="*/ 1522734 h 6858290"/>
              <a:gd name="connsiteX3122" fmla="*/ 9871816 w 12139750"/>
              <a:gd name="connsiteY3122" fmla="*/ 1530346 h 6858290"/>
              <a:gd name="connsiteX3123" fmla="*/ 9877531 w 12139750"/>
              <a:gd name="connsiteY3123" fmla="*/ 1541765 h 6858290"/>
              <a:gd name="connsiteX3124" fmla="*/ 9869911 w 12139750"/>
              <a:gd name="connsiteY3124" fmla="*/ 1556990 h 6858290"/>
              <a:gd name="connsiteX3125" fmla="*/ 9538436 w 12139750"/>
              <a:gd name="connsiteY3125" fmla="*/ 1838657 h 6858290"/>
              <a:gd name="connsiteX3126" fmla="*/ 9511766 w 12139750"/>
              <a:gd name="connsiteY3126" fmla="*/ 1836754 h 6858290"/>
              <a:gd name="connsiteX3127" fmla="*/ 9513671 w 12139750"/>
              <a:gd name="connsiteY3127" fmla="*/ 1810110 h 6858290"/>
              <a:gd name="connsiteX3128" fmla="*/ 9845146 w 12139750"/>
              <a:gd name="connsiteY3128" fmla="*/ 1526540 h 6858290"/>
              <a:gd name="connsiteX3129" fmla="*/ 9859195 w 12139750"/>
              <a:gd name="connsiteY3129" fmla="*/ 1522734 h 6858290"/>
              <a:gd name="connsiteX3130" fmla="*/ 9283544 w 12139750"/>
              <a:gd name="connsiteY3130" fmla="*/ 1516005 h 6858290"/>
              <a:gd name="connsiteX3131" fmla="*/ 9299036 w 12139750"/>
              <a:gd name="connsiteY3131" fmla="*/ 1524331 h 6858290"/>
              <a:gd name="connsiteX3132" fmla="*/ 9302849 w 12139750"/>
              <a:gd name="connsiteY3132" fmla="*/ 1537653 h 6858290"/>
              <a:gd name="connsiteX3133" fmla="*/ 9295223 w 12139750"/>
              <a:gd name="connsiteY3133" fmla="*/ 1554780 h 6858290"/>
              <a:gd name="connsiteX3134" fmla="*/ 8961563 w 12139750"/>
              <a:gd name="connsiteY3134" fmla="*/ 1821217 h 6858290"/>
              <a:gd name="connsiteX3135" fmla="*/ 8931057 w 12139750"/>
              <a:gd name="connsiteY3135" fmla="*/ 1817411 h 6858290"/>
              <a:gd name="connsiteX3136" fmla="*/ 8934871 w 12139750"/>
              <a:gd name="connsiteY3136" fmla="*/ 1785058 h 6858290"/>
              <a:gd name="connsiteX3137" fmla="*/ 9266623 w 12139750"/>
              <a:gd name="connsiteY3137" fmla="*/ 1520524 h 6858290"/>
              <a:gd name="connsiteX3138" fmla="*/ 9283544 w 12139750"/>
              <a:gd name="connsiteY3138" fmla="*/ 1516005 h 6858290"/>
              <a:gd name="connsiteX3139" fmla="*/ 10444673 w 12139750"/>
              <a:gd name="connsiteY3139" fmla="*/ 1515983 h 6858290"/>
              <a:gd name="connsiteX3140" fmla="*/ 10459199 w 12139750"/>
              <a:gd name="connsiteY3140" fmla="*/ 1524309 h 6858290"/>
              <a:gd name="connsiteX3141" fmla="*/ 10464914 w 12139750"/>
              <a:gd name="connsiteY3141" fmla="*/ 1537630 h 6858290"/>
              <a:gd name="connsiteX3142" fmla="*/ 10455389 w 12139750"/>
              <a:gd name="connsiteY3142" fmla="*/ 1554759 h 6858290"/>
              <a:gd name="connsiteX3143" fmla="*/ 10123915 w 12139750"/>
              <a:gd name="connsiteY3143" fmla="*/ 1821192 h 6858290"/>
              <a:gd name="connsiteX3144" fmla="*/ 10091529 w 12139750"/>
              <a:gd name="connsiteY3144" fmla="*/ 1817385 h 6858290"/>
              <a:gd name="connsiteX3145" fmla="*/ 10095339 w 12139750"/>
              <a:gd name="connsiteY3145" fmla="*/ 1785033 h 6858290"/>
              <a:gd name="connsiteX3146" fmla="*/ 10428719 w 12139750"/>
              <a:gd name="connsiteY3146" fmla="*/ 1520503 h 6858290"/>
              <a:gd name="connsiteX3147" fmla="*/ 10444673 w 12139750"/>
              <a:gd name="connsiteY3147" fmla="*/ 1515983 h 6858290"/>
              <a:gd name="connsiteX3148" fmla="*/ 8713305 w 12139750"/>
              <a:gd name="connsiteY3148" fmla="*/ 1508547 h 6858290"/>
              <a:gd name="connsiteX3149" fmla="*/ 8730703 w 12139750"/>
              <a:gd name="connsiteY3149" fmla="*/ 1518310 h 6858290"/>
              <a:gd name="connsiteX3150" fmla="*/ 8734516 w 12139750"/>
              <a:gd name="connsiteY3150" fmla="*/ 1533551 h 6858290"/>
              <a:gd name="connsiteX3151" fmla="*/ 8724983 w 12139750"/>
              <a:gd name="connsiteY3151" fmla="*/ 1554506 h 6858290"/>
              <a:gd name="connsiteX3152" fmla="*/ 8391331 w 12139750"/>
              <a:gd name="connsiteY3152" fmla="*/ 1802160 h 6858290"/>
              <a:gd name="connsiteX3153" fmla="*/ 8355106 w 12139750"/>
              <a:gd name="connsiteY3153" fmla="*/ 1796444 h 6858290"/>
              <a:gd name="connsiteX3154" fmla="*/ 8360826 w 12139750"/>
              <a:gd name="connsiteY3154" fmla="*/ 1760249 h 6858290"/>
              <a:gd name="connsiteX3155" fmla="*/ 8694478 w 12139750"/>
              <a:gd name="connsiteY3155" fmla="*/ 1514500 h 6858290"/>
              <a:gd name="connsiteX3156" fmla="*/ 8713305 w 12139750"/>
              <a:gd name="connsiteY3156" fmla="*/ 1508547 h 6858290"/>
              <a:gd name="connsiteX3157" fmla="*/ 11022911 w 12139750"/>
              <a:gd name="connsiteY3157" fmla="*/ 1508523 h 6858290"/>
              <a:gd name="connsiteX3158" fmla="*/ 11038640 w 12139750"/>
              <a:gd name="connsiteY3158" fmla="*/ 1518286 h 6858290"/>
              <a:gd name="connsiteX3159" fmla="*/ 11044360 w 12139750"/>
              <a:gd name="connsiteY3159" fmla="*/ 1533526 h 6858290"/>
              <a:gd name="connsiteX3160" fmla="*/ 11034827 w 12139750"/>
              <a:gd name="connsiteY3160" fmla="*/ 1554481 h 6858290"/>
              <a:gd name="connsiteX3161" fmla="*/ 10701175 w 12139750"/>
              <a:gd name="connsiteY3161" fmla="*/ 1802131 h 6858290"/>
              <a:gd name="connsiteX3162" fmla="*/ 10664950 w 12139750"/>
              <a:gd name="connsiteY3162" fmla="*/ 1796416 h 6858290"/>
              <a:gd name="connsiteX3163" fmla="*/ 10670670 w 12139750"/>
              <a:gd name="connsiteY3163" fmla="*/ 1760221 h 6858290"/>
              <a:gd name="connsiteX3164" fmla="*/ 11004322 w 12139750"/>
              <a:gd name="connsiteY3164" fmla="*/ 1514476 h 6858290"/>
              <a:gd name="connsiteX3165" fmla="*/ 11022911 w 12139750"/>
              <a:gd name="connsiteY3165" fmla="*/ 1508523 h 6858290"/>
              <a:gd name="connsiteX3166" fmla="*/ 8149812 w 12139750"/>
              <a:gd name="connsiteY3166" fmla="*/ 1501800 h 6858290"/>
              <a:gd name="connsiteX3167" fmla="*/ 8168401 w 12139750"/>
              <a:gd name="connsiteY3167" fmla="*/ 1514182 h 6858290"/>
              <a:gd name="connsiteX3168" fmla="*/ 8174121 w 12139750"/>
              <a:gd name="connsiteY3168" fmla="*/ 1531327 h 6858290"/>
              <a:gd name="connsiteX3169" fmla="*/ 8160775 w 12139750"/>
              <a:gd name="connsiteY3169" fmla="*/ 1554187 h 6858290"/>
              <a:gd name="connsiteX3170" fmla="*/ 7825223 w 12139750"/>
              <a:gd name="connsiteY3170" fmla="*/ 1782791 h 6858290"/>
              <a:gd name="connsiteX3171" fmla="*/ 7785185 w 12139750"/>
              <a:gd name="connsiteY3171" fmla="*/ 1775171 h 6858290"/>
              <a:gd name="connsiteX3172" fmla="*/ 7792812 w 12139750"/>
              <a:gd name="connsiteY3172" fmla="*/ 1735166 h 6858290"/>
              <a:gd name="connsiteX3173" fmla="*/ 8128364 w 12139750"/>
              <a:gd name="connsiteY3173" fmla="*/ 1506563 h 6858290"/>
              <a:gd name="connsiteX3174" fmla="*/ 8149812 w 12139750"/>
              <a:gd name="connsiteY3174" fmla="*/ 1501800 h 6858290"/>
              <a:gd name="connsiteX3175" fmla="*/ 11594174 w 12139750"/>
              <a:gd name="connsiteY3175" fmla="*/ 1501795 h 6858290"/>
              <a:gd name="connsiteX3176" fmla="*/ 11613654 w 12139750"/>
              <a:gd name="connsiteY3176" fmla="*/ 1514178 h 6858290"/>
              <a:gd name="connsiteX3177" fmla="*/ 11617455 w 12139750"/>
              <a:gd name="connsiteY3177" fmla="*/ 1531323 h 6858290"/>
              <a:gd name="connsiteX3178" fmla="*/ 11606052 w 12139750"/>
              <a:gd name="connsiteY3178" fmla="*/ 1554183 h 6858290"/>
              <a:gd name="connsiteX3179" fmla="*/ 11271574 w 12139750"/>
              <a:gd name="connsiteY3179" fmla="*/ 1782786 h 6858290"/>
              <a:gd name="connsiteX3180" fmla="*/ 11231664 w 12139750"/>
              <a:gd name="connsiteY3180" fmla="*/ 1775166 h 6858290"/>
              <a:gd name="connsiteX3181" fmla="*/ 11239266 w 12139750"/>
              <a:gd name="connsiteY3181" fmla="*/ 1735161 h 6858290"/>
              <a:gd name="connsiteX3182" fmla="*/ 11571844 w 12139750"/>
              <a:gd name="connsiteY3182" fmla="*/ 1506558 h 6858290"/>
              <a:gd name="connsiteX3183" fmla="*/ 11594174 w 12139750"/>
              <a:gd name="connsiteY3183" fmla="*/ 1501795 h 6858290"/>
              <a:gd name="connsiteX3184" fmla="*/ 12139750 w 12139750"/>
              <a:gd name="connsiteY3184" fmla="*/ 1497031 h 6858290"/>
              <a:gd name="connsiteX3185" fmla="*/ 12139750 w 12139750"/>
              <a:gd name="connsiteY3185" fmla="*/ 1573231 h 6858290"/>
              <a:gd name="connsiteX3186" fmla="*/ 11834677 w 12139750"/>
              <a:gd name="connsiteY3186" fmla="*/ 1763733 h 6858290"/>
              <a:gd name="connsiteX3187" fmla="*/ 11788917 w 12139750"/>
              <a:gd name="connsiteY3187" fmla="*/ 1754208 h 6858290"/>
              <a:gd name="connsiteX3188" fmla="*/ 11800357 w 12139750"/>
              <a:gd name="connsiteY3188" fmla="*/ 1710392 h 6858290"/>
              <a:gd name="connsiteX3189" fmla="*/ 12135937 w 12139750"/>
              <a:gd name="connsiteY3189" fmla="*/ 1498936 h 6858290"/>
              <a:gd name="connsiteX3190" fmla="*/ 12139750 w 12139750"/>
              <a:gd name="connsiteY3190" fmla="*/ 1497031 h 6858290"/>
              <a:gd name="connsiteX3191" fmla="*/ 7592412 w 12139750"/>
              <a:gd name="connsiteY3191" fmla="*/ 1496614 h 6858290"/>
              <a:gd name="connsiteX3192" fmla="*/ 7613097 w 12139750"/>
              <a:gd name="connsiteY3192" fmla="*/ 1511548 h 6858290"/>
              <a:gd name="connsiteX3193" fmla="*/ 7616901 w 12139750"/>
              <a:gd name="connsiteY3193" fmla="*/ 1528616 h 6858290"/>
              <a:gd name="connsiteX3194" fmla="*/ 7601685 w 12139750"/>
              <a:gd name="connsiteY3194" fmla="*/ 1555168 h 6858290"/>
              <a:gd name="connsiteX3195" fmla="*/ 7266927 w 12139750"/>
              <a:gd name="connsiteY3195" fmla="*/ 1763784 h 6858290"/>
              <a:gd name="connsiteX3196" fmla="*/ 7223180 w 12139750"/>
              <a:gd name="connsiteY3196" fmla="*/ 1754301 h 6858290"/>
              <a:gd name="connsiteX3197" fmla="*/ 7232690 w 12139750"/>
              <a:gd name="connsiteY3197" fmla="*/ 1710681 h 6858290"/>
              <a:gd name="connsiteX3198" fmla="*/ 7567448 w 12139750"/>
              <a:gd name="connsiteY3198" fmla="*/ 1500170 h 6858290"/>
              <a:gd name="connsiteX3199" fmla="*/ 7592412 w 12139750"/>
              <a:gd name="connsiteY3199" fmla="*/ 1496614 h 6858290"/>
              <a:gd name="connsiteX3200" fmla="*/ 7043429 w 12139750"/>
              <a:gd name="connsiteY3200" fmla="*/ 1490543 h 6858290"/>
              <a:gd name="connsiteX3201" fmla="*/ 7065387 w 12139750"/>
              <a:gd name="connsiteY3201" fmla="*/ 1507250 h 6858290"/>
              <a:gd name="connsiteX3202" fmla="*/ 7069206 w 12139750"/>
              <a:gd name="connsiteY3202" fmla="*/ 1524435 h 6858290"/>
              <a:gd name="connsiteX3203" fmla="*/ 7052021 w 12139750"/>
              <a:gd name="connsiteY3203" fmla="*/ 1554987 h 6858290"/>
              <a:gd name="connsiteX3204" fmla="*/ 6714055 w 12139750"/>
              <a:gd name="connsiteY3204" fmla="*/ 1747844 h 6858290"/>
              <a:gd name="connsiteX3205" fmla="*/ 6664410 w 12139750"/>
              <a:gd name="connsiteY3205" fmla="*/ 1734477 h 6858290"/>
              <a:gd name="connsiteX3206" fmla="*/ 6677776 w 12139750"/>
              <a:gd name="connsiteY3206" fmla="*/ 1684830 h 6858290"/>
              <a:gd name="connsiteX3207" fmla="*/ 7015742 w 12139750"/>
              <a:gd name="connsiteY3207" fmla="*/ 1493885 h 6858290"/>
              <a:gd name="connsiteX3208" fmla="*/ 7043429 w 12139750"/>
              <a:gd name="connsiteY3208" fmla="*/ 1490543 h 6858290"/>
              <a:gd name="connsiteX3209" fmla="*/ 6500175 w 12139750"/>
              <a:gd name="connsiteY3209" fmla="*/ 1483801 h 6858290"/>
              <a:gd name="connsiteX3210" fmla="*/ 6524041 w 12139750"/>
              <a:gd name="connsiteY3210" fmla="*/ 1503135 h 6858290"/>
              <a:gd name="connsiteX3211" fmla="*/ 6527860 w 12139750"/>
              <a:gd name="connsiteY3211" fmla="*/ 1520321 h 6858290"/>
              <a:gd name="connsiteX3212" fmla="*/ 6506857 w 12139750"/>
              <a:gd name="connsiteY3212" fmla="*/ 1554694 h 6858290"/>
              <a:gd name="connsiteX3213" fmla="*/ 6166999 w 12139750"/>
              <a:gd name="connsiteY3213" fmla="*/ 1728470 h 6858290"/>
              <a:gd name="connsiteX3214" fmla="*/ 6113538 w 12139750"/>
              <a:gd name="connsiteY3214" fmla="*/ 1711284 h 6858290"/>
              <a:gd name="connsiteX3215" fmla="*/ 6130722 w 12139750"/>
              <a:gd name="connsiteY3215" fmla="*/ 1659723 h 6858290"/>
              <a:gd name="connsiteX3216" fmla="*/ 6470580 w 12139750"/>
              <a:gd name="connsiteY3216" fmla="*/ 1485949 h 6858290"/>
              <a:gd name="connsiteX3217" fmla="*/ 6500175 w 12139750"/>
              <a:gd name="connsiteY3217" fmla="*/ 1483801 h 6858290"/>
              <a:gd name="connsiteX3218" fmla="*/ 5958440 w 12139750"/>
              <a:gd name="connsiteY3218" fmla="*/ 1477068 h 6858290"/>
              <a:gd name="connsiteX3219" fmla="*/ 5982710 w 12139750"/>
              <a:gd name="connsiteY3219" fmla="*/ 1499058 h 6858290"/>
              <a:gd name="connsiteX3220" fmla="*/ 5986518 w 12139750"/>
              <a:gd name="connsiteY3220" fmla="*/ 1516267 h 6858290"/>
              <a:gd name="connsiteX3221" fmla="*/ 5961771 w 12139750"/>
              <a:gd name="connsiteY3221" fmla="*/ 1556424 h 6858290"/>
              <a:gd name="connsiteX3222" fmla="*/ 5622934 w 12139750"/>
              <a:gd name="connsiteY3222" fmla="*/ 1711317 h 6858290"/>
              <a:gd name="connsiteX3223" fmla="*/ 5565827 w 12139750"/>
              <a:gd name="connsiteY3223" fmla="*/ 1690282 h 6858290"/>
              <a:gd name="connsiteX3224" fmla="*/ 5586767 w 12139750"/>
              <a:gd name="connsiteY3224" fmla="*/ 1632914 h 6858290"/>
              <a:gd name="connsiteX3225" fmla="*/ 5925602 w 12139750"/>
              <a:gd name="connsiteY3225" fmla="*/ 1478023 h 6858290"/>
              <a:gd name="connsiteX3226" fmla="*/ 5958440 w 12139750"/>
              <a:gd name="connsiteY3226" fmla="*/ 1477068 h 6858290"/>
              <a:gd name="connsiteX3227" fmla="*/ 398249 w 12139750"/>
              <a:gd name="connsiteY3227" fmla="*/ 1477059 h 6858290"/>
              <a:gd name="connsiteX3228" fmla="*/ 423234 w 12139750"/>
              <a:gd name="connsiteY3228" fmla="*/ 1499048 h 6858290"/>
              <a:gd name="connsiteX3229" fmla="*/ 427041 w 12139750"/>
              <a:gd name="connsiteY3229" fmla="*/ 1516259 h 6858290"/>
              <a:gd name="connsiteX3230" fmla="*/ 402294 w 12139750"/>
              <a:gd name="connsiteY3230" fmla="*/ 1556416 h 6858290"/>
              <a:gd name="connsiteX3231" fmla="*/ 61547 w 12139750"/>
              <a:gd name="connsiteY3231" fmla="*/ 1711307 h 6858290"/>
              <a:gd name="connsiteX3232" fmla="*/ 6342 w 12139750"/>
              <a:gd name="connsiteY3232" fmla="*/ 1690272 h 6858290"/>
              <a:gd name="connsiteX3233" fmla="*/ 27282 w 12139750"/>
              <a:gd name="connsiteY3233" fmla="*/ 1632905 h 6858290"/>
              <a:gd name="connsiteX3234" fmla="*/ 366125 w 12139750"/>
              <a:gd name="connsiteY3234" fmla="*/ 1478015 h 6858290"/>
              <a:gd name="connsiteX3235" fmla="*/ 398249 w 12139750"/>
              <a:gd name="connsiteY3235" fmla="*/ 1477059 h 6858290"/>
              <a:gd name="connsiteX3236" fmla="*/ 5394603 w 12139750"/>
              <a:gd name="connsiteY3236" fmla="*/ 1468287 h 6858290"/>
              <a:gd name="connsiteX3237" fmla="*/ 5436930 w 12139750"/>
              <a:gd name="connsiteY3237" fmla="*/ 1498212 h 6858290"/>
              <a:gd name="connsiteX3238" fmla="*/ 5438835 w 12139750"/>
              <a:gd name="connsiteY3238" fmla="*/ 1515311 h 6858290"/>
              <a:gd name="connsiteX3239" fmla="*/ 5410261 w 12139750"/>
              <a:gd name="connsiteY3239" fmla="*/ 1557113 h 6858290"/>
              <a:gd name="connsiteX3240" fmla="*/ 5069259 w 12139750"/>
              <a:gd name="connsiteY3240" fmla="*/ 1693914 h 6858290"/>
              <a:gd name="connsiteX3241" fmla="*/ 5010210 w 12139750"/>
              <a:gd name="connsiteY3241" fmla="*/ 1667314 h 6858290"/>
              <a:gd name="connsiteX3242" fmla="*/ 5036877 w 12139750"/>
              <a:gd name="connsiteY3242" fmla="*/ 1608413 h 6858290"/>
              <a:gd name="connsiteX3243" fmla="*/ 5375970 w 12139750"/>
              <a:gd name="connsiteY3243" fmla="*/ 1471613 h 6858290"/>
              <a:gd name="connsiteX3244" fmla="*/ 5394603 w 12139750"/>
              <a:gd name="connsiteY3244" fmla="*/ 1468287 h 6858290"/>
              <a:gd name="connsiteX3245" fmla="*/ 929397 w 12139750"/>
              <a:gd name="connsiteY3245" fmla="*/ 1468276 h 6858290"/>
              <a:gd name="connsiteX3246" fmla="*/ 970920 w 12139750"/>
              <a:gd name="connsiteY3246" fmla="*/ 1498200 h 6858290"/>
              <a:gd name="connsiteX3247" fmla="*/ 974730 w 12139750"/>
              <a:gd name="connsiteY3247" fmla="*/ 1515301 h 6858290"/>
              <a:gd name="connsiteX3248" fmla="*/ 946155 w 12139750"/>
              <a:gd name="connsiteY3248" fmla="*/ 1557101 h 6858290"/>
              <a:gd name="connsiteX3249" fmla="*/ 605156 w 12139750"/>
              <a:gd name="connsiteY3249" fmla="*/ 1693902 h 6858290"/>
              <a:gd name="connsiteX3250" fmla="*/ 546100 w 12139750"/>
              <a:gd name="connsiteY3250" fmla="*/ 1667301 h 6858290"/>
              <a:gd name="connsiteX3251" fmla="*/ 570866 w 12139750"/>
              <a:gd name="connsiteY3251" fmla="*/ 1608401 h 6858290"/>
              <a:gd name="connsiteX3252" fmla="*/ 911865 w 12139750"/>
              <a:gd name="connsiteY3252" fmla="*/ 1471601 h 6858290"/>
              <a:gd name="connsiteX3253" fmla="*/ 929397 w 12139750"/>
              <a:gd name="connsiteY3253" fmla="*/ 1468276 h 6858290"/>
              <a:gd name="connsiteX3254" fmla="*/ 4844457 w 12139750"/>
              <a:gd name="connsiteY3254" fmla="*/ 1461448 h 6858290"/>
              <a:gd name="connsiteX3255" fmla="*/ 4887326 w 12139750"/>
              <a:gd name="connsiteY3255" fmla="*/ 1493862 h 6858290"/>
              <a:gd name="connsiteX3256" fmla="*/ 4891138 w 12139750"/>
              <a:gd name="connsiteY3256" fmla="*/ 1511006 h 6858290"/>
              <a:gd name="connsiteX3257" fmla="*/ 4856840 w 12139750"/>
              <a:gd name="connsiteY3257" fmla="*/ 1556728 h 6858290"/>
              <a:gd name="connsiteX3258" fmla="*/ 4515847 w 12139750"/>
              <a:gd name="connsiteY3258" fmla="*/ 1674839 h 6858290"/>
              <a:gd name="connsiteX3259" fmla="*/ 4452982 w 12139750"/>
              <a:gd name="connsiteY3259" fmla="*/ 1644358 h 6858290"/>
              <a:gd name="connsiteX3260" fmla="*/ 4483463 w 12139750"/>
              <a:gd name="connsiteY3260" fmla="*/ 1583397 h 6858290"/>
              <a:gd name="connsiteX3261" fmla="*/ 4824450 w 12139750"/>
              <a:gd name="connsiteY3261" fmla="*/ 1463382 h 6858290"/>
              <a:gd name="connsiteX3262" fmla="*/ 4844457 w 12139750"/>
              <a:gd name="connsiteY3262" fmla="*/ 1461448 h 6858290"/>
              <a:gd name="connsiteX3263" fmla="*/ 1479724 w 12139750"/>
              <a:gd name="connsiteY3263" fmla="*/ 1461434 h 6858290"/>
              <a:gd name="connsiteX3264" fmla="*/ 1523689 w 12139750"/>
              <a:gd name="connsiteY3264" fmla="*/ 1493848 h 6858290"/>
              <a:gd name="connsiteX3265" fmla="*/ 1525596 w 12139750"/>
              <a:gd name="connsiteY3265" fmla="*/ 1510993 h 6858290"/>
              <a:gd name="connsiteX3266" fmla="*/ 1493187 w 12139750"/>
              <a:gd name="connsiteY3266" fmla="*/ 1556713 h 6858290"/>
              <a:gd name="connsiteX3267" fmla="*/ 1150039 w 12139750"/>
              <a:gd name="connsiteY3267" fmla="*/ 1674825 h 6858290"/>
              <a:gd name="connsiteX3268" fmla="*/ 1089034 w 12139750"/>
              <a:gd name="connsiteY3268" fmla="*/ 1644344 h 6858290"/>
              <a:gd name="connsiteX3269" fmla="*/ 1117630 w 12139750"/>
              <a:gd name="connsiteY3269" fmla="*/ 1583384 h 6858290"/>
              <a:gd name="connsiteX3270" fmla="*/ 1460779 w 12139750"/>
              <a:gd name="connsiteY3270" fmla="*/ 1463368 h 6858290"/>
              <a:gd name="connsiteX3271" fmla="*/ 1479724 w 12139750"/>
              <a:gd name="connsiteY3271" fmla="*/ 1461434 h 6858290"/>
              <a:gd name="connsiteX3272" fmla="*/ 4287991 w 12139750"/>
              <a:gd name="connsiteY3272" fmla="*/ 1454950 h 6858290"/>
              <a:gd name="connsiteX3273" fmla="*/ 4331690 w 12139750"/>
              <a:gd name="connsiteY3273" fmla="*/ 1491704 h 6858290"/>
              <a:gd name="connsiteX3274" fmla="*/ 4335502 w 12139750"/>
              <a:gd name="connsiteY3274" fmla="*/ 1506966 h 6858290"/>
              <a:gd name="connsiteX3275" fmla="*/ 4297375 w 12139750"/>
              <a:gd name="connsiteY3275" fmla="*/ 1558477 h 6858290"/>
              <a:gd name="connsiteX3276" fmla="*/ 3954252 w 12139750"/>
              <a:gd name="connsiteY3276" fmla="*/ 1657683 h 6858290"/>
              <a:gd name="connsiteX3277" fmla="*/ 3887526 w 12139750"/>
              <a:gd name="connsiteY3277" fmla="*/ 1621435 h 6858290"/>
              <a:gd name="connsiteX3278" fmla="*/ 3923748 w 12139750"/>
              <a:gd name="connsiteY3278" fmla="*/ 1556569 h 6858290"/>
              <a:gd name="connsiteX3279" fmla="*/ 4266871 w 12139750"/>
              <a:gd name="connsiteY3279" fmla="*/ 1457365 h 6858290"/>
              <a:gd name="connsiteX3280" fmla="*/ 4287991 w 12139750"/>
              <a:gd name="connsiteY3280" fmla="*/ 1454950 h 6858290"/>
              <a:gd name="connsiteX3281" fmla="*/ 2034947 w 12139750"/>
              <a:gd name="connsiteY3281" fmla="*/ 1454934 h 6858290"/>
              <a:gd name="connsiteX3282" fmla="*/ 2079328 w 12139750"/>
              <a:gd name="connsiteY3282" fmla="*/ 1491688 h 6858290"/>
              <a:gd name="connsiteX3283" fmla="*/ 2081229 w 12139750"/>
              <a:gd name="connsiteY3283" fmla="*/ 1506950 h 6858290"/>
              <a:gd name="connsiteX3284" fmla="*/ 2043205 w 12139750"/>
              <a:gd name="connsiteY3284" fmla="*/ 1558461 h 6858290"/>
              <a:gd name="connsiteX3285" fmla="*/ 1701020 w 12139750"/>
              <a:gd name="connsiteY3285" fmla="*/ 1657667 h 6858290"/>
              <a:gd name="connsiteX3286" fmla="*/ 1636385 w 12139750"/>
              <a:gd name="connsiteY3286" fmla="*/ 1621418 h 6858290"/>
              <a:gd name="connsiteX3287" fmla="*/ 1672505 w 12139750"/>
              <a:gd name="connsiteY3287" fmla="*/ 1556553 h 6858290"/>
              <a:gd name="connsiteX3288" fmla="*/ 2014689 w 12139750"/>
              <a:gd name="connsiteY3288" fmla="*/ 1457348 h 6858290"/>
              <a:gd name="connsiteX3289" fmla="*/ 2034947 w 12139750"/>
              <a:gd name="connsiteY3289" fmla="*/ 1454934 h 6858290"/>
              <a:gd name="connsiteX3290" fmla="*/ 3729077 w 12139750"/>
              <a:gd name="connsiteY3290" fmla="*/ 1449679 h 6858290"/>
              <a:gd name="connsiteX3291" fmla="*/ 3773220 w 12139750"/>
              <a:gd name="connsiteY3291" fmla="*/ 1490538 h 6858290"/>
              <a:gd name="connsiteX3292" fmla="*/ 3775123 w 12139750"/>
              <a:gd name="connsiteY3292" fmla="*/ 1503831 h 6858290"/>
              <a:gd name="connsiteX3293" fmla="*/ 3733267 w 12139750"/>
              <a:gd name="connsiteY3293" fmla="*/ 1558905 h 6858290"/>
              <a:gd name="connsiteX3294" fmla="*/ 3388946 w 12139750"/>
              <a:gd name="connsiteY3294" fmla="*/ 1638666 h 6858290"/>
              <a:gd name="connsiteX3295" fmla="*/ 3322361 w 12139750"/>
              <a:gd name="connsiteY3295" fmla="*/ 1598786 h 6858290"/>
              <a:gd name="connsiteX3296" fmla="*/ 3362311 w 12139750"/>
              <a:gd name="connsiteY3296" fmla="*/ 1530418 h 6858290"/>
              <a:gd name="connsiteX3297" fmla="*/ 3706634 w 12139750"/>
              <a:gd name="connsiteY3297" fmla="*/ 1450658 h 6858290"/>
              <a:gd name="connsiteX3298" fmla="*/ 3729077 w 12139750"/>
              <a:gd name="connsiteY3298" fmla="*/ 1449679 h 6858290"/>
              <a:gd name="connsiteX3299" fmla="*/ 2595306 w 12139750"/>
              <a:gd name="connsiteY3299" fmla="*/ 1449661 h 6858290"/>
              <a:gd name="connsiteX3300" fmla="*/ 2639715 w 12139750"/>
              <a:gd name="connsiteY3300" fmla="*/ 1490520 h 6858290"/>
              <a:gd name="connsiteX3301" fmla="*/ 2641617 w 12139750"/>
              <a:gd name="connsiteY3301" fmla="*/ 1503814 h 6858290"/>
              <a:gd name="connsiteX3302" fmla="*/ 2597862 w 12139750"/>
              <a:gd name="connsiteY3302" fmla="*/ 1558887 h 6858290"/>
              <a:gd name="connsiteX3303" fmla="*/ 2255431 w 12139750"/>
              <a:gd name="connsiteY3303" fmla="*/ 1638648 h 6858290"/>
              <a:gd name="connsiteX3304" fmla="*/ 2188847 w 12139750"/>
              <a:gd name="connsiteY3304" fmla="*/ 1598767 h 6858290"/>
              <a:gd name="connsiteX3305" fmla="*/ 2228797 w 12139750"/>
              <a:gd name="connsiteY3305" fmla="*/ 1530401 h 6858290"/>
              <a:gd name="connsiteX3306" fmla="*/ 2573131 w 12139750"/>
              <a:gd name="connsiteY3306" fmla="*/ 1450640 h 6858290"/>
              <a:gd name="connsiteX3307" fmla="*/ 2595306 w 12139750"/>
              <a:gd name="connsiteY3307" fmla="*/ 1449661 h 6858290"/>
              <a:gd name="connsiteX3308" fmla="*/ 3137756 w 12139750"/>
              <a:gd name="connsiteY3308" fmla="*/ 1442427 h 6858290"/>
              <a:gd name="connsiteX3309" fmla="*/ 3206475 w 12139750"/>
              <a:gd name="connsiteY3309" fmla="*/ 1490052 h 6858290"/>
              <a:gd name="connsiteX3310" fmla="*/ 3208386 w 12139750"/>
              <a:gd name="connsiteY3310" fmla="*/ 1499576 h 6858290"/>
              <a:gd name="connsiteX3311" fmla="*/ 3158755 w 12139750"/>
              <a:gd name="connsiteY3311" fmla="*/ 1558632 h 6858290"/>
              <a:gd name="connsiteX3312" fmla="*/ 2813246 w 12139750"/>
              <a:gd name="connsiteY3312" fmla="*/ 1621498 h 6858290"/>
              <a:gd name="connsiteX3313" fmla="*/ 2744525 w 12139750"/>
              <a:gd name="connsiteY3313" fmla="*/ 1573872 h 6858290"/>
              <a:gd name="connsiteX3314" fmla="*/ 2792248 w 12139750"/>
              <a:gd name="connsiteY3314" fmla="*/ 1505291 h 6858290"/>
              <a:gd name="connsiteX3315" fmla="*/ 3137756 w 12139750"/>
              <a:gd name="connsiteY3315" fmla="*/ 1442427 h 6858290"/>
              <a:gd name="connsiteX3316" fmla="*/ 9860829 w 12139750"/>
              <a:gd name="connsiteY3316" fmla="*/ 1204612 h 6858290"/>
              <a:gd name="connsiteX3317" fmla="*/ 9875319 w 12139750"/>
              <a:gd name="connsiteY3317" fmla="*/ 1211306 h 6858290"/>
              <a:gd name="connsiteX3318" fmla="*/ 9879119 w 12139750"/>
              <a:gd name="connsiteY3318" fmla="*/ 1226607 h 6858290"/>
              <a:gd name="connsiteX3319" fmla="*/ 9871518 w 12139750"/>
              <a:gd name="connsiteY3319" fmla="*/ 1243820 h 6858290"/>
              <a:gd name="connsiteX3320" fmla="*/ 9540880 w 12139750"/>
              <a:gd name="connsiteY3320" fmla="*/ 1511592 h 6858290"/>
              <a:gd name="connsiteX3321" fmla="*/ 9510477 w 12139750"/>
              <a:gd name="connsiteY3321" fmla="*/ 1509680 h 6858290"/>
              <a:gd name="connsiteX3322" fmla="*/ 9514277 w 12139750"/>
              <a:gd name="connsiteY3322" fmla="*/ 1479077 h 6858290"/>
              <a:gd name="connsiteX3323" fmla="*/ 9844915 w 12139750"/>
              <a:gd name="connsiteY3323" fmla="*/ 1209393 h 6858290"/>
              <a:gd name="connsiteX3324" fmla="*/ 9860829 w 12139750"/>
              <a:gd name="connsiteY3324" fmla="*/ 1204612 h 6858290"/>
              <a:gd name="connsiteX3325" fmla="*/ 9284557 w 12139750"/>
              <a:gd name="connsiteY3325" fmla="*/ 1198509 h 6858290"/>
              <a:gd name="connsiteX3326" fmla="*/ 9300299 w 12139750"/>
              <a:gd name="connsiteY3326" fmla="*/ 1206835 h 6858290"/>
              <a:gd name="connsiteX3327" fmla="*/ 9306023 w 12139750"/>
              <a:gd name="connsiteY3327" fmla="*/ 1222058 h 6858290"/>
              <a:gd name="connsiteX3328" fmla="*/ 9296482 w 12139750"/>
              <a:gd name="connsiteY3328" fmla="*/ 1242988 h 6858290"/>
              <a:gd name="connsiteX3329" fmla="*/ 8962556 w 12139750"/>
              <a:gd name="connsiteY3329" fmla="*/ 1494190 h 6858290"/>
              <a:gd name="connsiteX3330" fmla="*/ 8928209 w 12139750"/>
              <a:gd name="connsiteY3330" fmla="*/ 1490384 h 6858290"/>
              <a:gd name="connsiteX3331" fmla="*/ 8932025 w 12139750"/>
              <a:gd name="connsiteY3331" fmla="*/ 1454228 h 6858290"/>
              <a:gd name="connsiteX3332" fmla="*/ 9265952 w 12139750"/>
              <a:gd name="connsiteY3332" fmla="*/ 1203029 h 6858290"/>
              <a:gd name="connsiteX3333" fmla="*/ 9284557 w 12139750"/>
              <a:gd name="connsiteY3333" fmla="*/ 1198509 h 6858290"/>
              <a:gd name="connsiteX3334" fmla="*/ 10445106 w 12139750"/>
              <a:gd name="connsiteY3334" fmla="*/ 1198483 h 6858290"/>
              <a:gd name="connsiteX3335" fmla="*/ 10460796 w 12139750"/>
              <a:gd name="connsiteY3335" fmla="*/ 1206809 h 6858290"/>
              <a:gd name="connsiteX3336" fmla="*/ 10466502 w 12139750"/>
              <a:gd name="connsiteY3336" fmla="*/ 1222033 h 6858290"/>
              <a:gd name="connsiteX3337" fmla="*/ 10456993 w 12139750"/>
              <a:gd name="connsiteY3337" fmla="*/ 1242967 h 6858290"/>
              <a:gd name="connsiteX3338" fmla="*/ 10124163 w 12139750"/>
              <a:gd name="connsiteY3338" fmla="*/ 1494166 h 6858290"/>
              <a:gd name="connsiteX3339" fmla="*/ 10089930 w 12139750"/>
              <a:gd name="connsiteY3339" fmla="*/ 1490360 h 6858290"/>
              <a:gd name="connsiteX3340" fmla="*/ 10093733 w 12139750"/>
              <a:gd name="connsiteY3340" fmla="*/ 1454203 h 6858290"/>
              <a:gd name="connsiteX3341" fmla="*/ 10426563 w 12139750"/>
              <a:gd name="connsiteY3341" fmla="*/ 1203003 h 6858290"/>
              <a:gd name="connsiteX3342" fmla="*/ 10445106 w 12139750"/>
              <a:gd name="connsiteY3342" fmla="*/ 1198483 h 6858290"/>
              <a:gd name="connsiteX3343" fmla="*/ 8713976 w 12139750"/>
              <a:gd name="connsiteY3343" fmla="*/ 1190406 h 6858290"/>
              <a:gd name="connsiteX3344" fmla="*/ 8732297 w 12139750"/>
              <a:gd name="connsiteY3344" fmla="*/ 1201099 h 6858290"/>
              <a:gd name="connsiteX3345" fmla="*/ 8736104 w 12139750"/>
              <a:gd name="connsiteY3345" fmla="*/ 1218208 h 6858290"/>
              <a:gd name="connsiteX3346" fmla="*/ 8724683 w 12139750"/>
              <a:gd name="connsiteY3346" fmla="*/ 1241015 h 6858290"/>
              <a:gd name="connsiteX3347" fmla="*/ 8391573 w 12139750"/>
              <a:gd name="connsiteY3347" fmla="*/ 1476736 h 6858290"/>
              <a:gd name="connsiteX3348" fmla="*/ 8353503 w 12139750"/>
              <a:gd name="connsiteY3348" fmla="*/ 1469132 h 6858290"/>
              <a:gd name="connsiteX3349" fmla="*/ 8359214 w 12139750"/>
              <a:gd name="connsiteY3349" fmla="*/ 1431112 h 6858290"/>
              <a:gd name="connsiteX3350" fmla="*/ 8694227 w 12139750"/>
              <a:gd name="connsiteY3350" fmla="*/ 1195396 h 6858290"/>
              <a:gd name="connsiteX3351" fmla="*/ 8713976 w 12139750"/>
              <a:gd name="connsiteY3351" fmla="*/ 1190406 h 6858290"/>
              <a:gd name="connsiteX3352" fmla="*/ 11023582 w 12139750"/>
              <a:gd name="connsiteY3352" fmla="*/ 1190378 h 6858290"/>
              <a:gd name="connsiteX3353" fmla="*/ 11042141 w 12139750"/>
              <a:gd name="connsiteY3353" fmla="*/ 1201071 h 6858290"/>
              <a:gd name="connsiteX3354" fmla="*/ 11045948 w 12139750"/>
              <a:gd name="connsiteY3354" fmla="*/ 1218180 h 6858290"/>
              <a:gd name="connsiteX3355" fmla="*/ 11034527 w 12139750"/>
              <a:gd name="connsiteY3355" fmla="*/ 1240991 h 6858290"/>
              <a:gd name="connsiteX3356" fmla="*/ 10701417 w 12139750"/>
              <a:gd name="connsiteY3356" fmla="*/ 1476710 h 6858290"/>
              <a:gd name="connsiteX3357" fmla="*/ 10663347 w 12139750"/>
              <a:gd name="connsiteY3357" fmla="*/ 1469106 h 6858290"/>
              <a:gd name="connsiteX3358" fmla="*/ 10669058 w 12139750"/>
              <a:gd name="connsiteY3358" fmla="*/ 1431087 h 6858290"/>
              <a:gd name="connsiteX3359" fmla="*/ 11002168 w 12139750"/>
              <a:gd name="connsiteY3359" fmla="*/ 1195368 h 6858290"/>
              <a:gd name="connsiteX3360" fmla="*/ 11023582 w 12139750"/>
              <a:gd name="connsiteY3360" fmla="*/ 1190378 h 6858290"/>
              <a:gd name="connsiteX3361" fmla="*/ 8150486 w 12139750"/>
              <a:gd name="connsiteY3361" fmla="*/ 1182942 h 6858290"/>
              <a:gd name="connsiteX3362" fmla="*/ 8169997 w 12139750"/>
              <a:gd name="connsiteY3362" fmla="*/ 1196960 h 6858290"/>
              <a:gd name="connsiteX3363" fmla="*/ 8175708 w 12139750"/>
              <a:gd name="connsiteY3363" fmla="*/ 1212168 h 6858290"/>
              <a:gd name="connsiteX3364" fmla="*/ 8160480 w 12139750"/>
              <a:gd name="connsiteY3364" fmla="*/ 1238776 h 6858290"/>
              <a:gd name="connsiteX3365" fmla="*/ 7825460 w 12139750"/>
              <a:gd name="connsiteY3365" fmla="*/ 1457373 h 6858290"/>
              <a:gd name="connsiteX3366" fmla="*/ 7783582 w 12139750"/>
              <a:gd name="connsiteY3366" fmla="*/ 1449769 h 6858290"/>
              <a:gd name="connsiteX3367" fmla="*/ 7793100 w 12139750"/>
              <a:gd name="connsiteY3367" fmla="*/ 1407952 h 6858290"/>
              <a:gd name="connsiteX3368" fmla="*/ 8128120 w 12139750"/>
              <a:gd name="connsiteY3368" fmla="*/ 1187458 h 6858290"/>
              <a:gd name="connsiteX3369" fmla="*/ 8150486 w 12139750"/>
              <a:gd name="connsiteY3369" fmla="*/ 1182942 h 6858290"/>
              <a:gd name="connsiteX3370" fmla="*/ 11595229 w 12139750"/>
              <a:gd name="connsiteY3370" fmla="*/ 1182937 h 6858290"/>
              <a:gd name="connsiteX3371" fmla="*/ 11613327 w 12139750"/>
              <a:gd name="connsiteY3371" fmla="*/ 1196955 h 6858290"/>
              <a:gd name="connsiteX3372" fmla="*/ 11619042 w 12139750"/>
              <a:gd name="connsiteY3372" fmla="*/ 1212161 h 6858290"/>
              <a:gd name="connsiteX3373" fmla="*/ 11605707 w 12139750"/>
              <a:gd name="connsiteY3373" fmla="*/ 1238770 h 6858290"/>
              <a:gd name="connsiteX3374" fmla="*/ 11270423 w 12139750"/>
              <a:gd name="connsiteY3374" fmla="*/ 1457367 h 6858290"/>
              <a:gd name="connsiteX3375" fmla="*/ 11228512 w 12139750"/>
              <a:gd name="connsiteY3375" fmla="*/ 1449763 h 6858290"/>
              <a:gd name="connsiteX3376" fmla="*/ 11236132 w 12139750"/>
              <a:gd name="connsiteY3376" fmla="*/ 1407946 h 6858290"/>
              <a:gd name="connsiteX3377" fmla="*/ 11571416 w 12139750"/>
              <a:gd name="connsiteY3377" fmla="*/ 1187451 h 6858290"/>
              <a:gd name="connsiteX3378" fmla="*/ 11595229 w 12139750"/>
              <a:gd name="connsiteY3378" fmla="*/ 1182937 h 6858290"/>
              <a:gd name="connsiteX3379" fmla="*/ 12139750 w 12139750"/>
              <a:gd name="connsiteY3379" fmla="*/ 1177944 h 6858290"/>
              <a:gd name="connsiteX3380" fmla="*/ 12139750 w 12139750"/>
              <a:gd name="connsiteY3380" fmla="*/ 1255774 h 6858290"/>
              <a:gd name="connsiteX3381" fmla="*/ 11834677 w 12139750"/>
              <a:gd name="connsiteY3381" fmla="*/ 1439913 h 6858290"/>
              <a:gd name="connsiteX3382" fmla="*/ 11788917 w 12139750"/>
              <a:gd name="connsiteY3382" fmla="*/ 1428524 h 6858290"/>
              <a:gd name="connsiteX3383" fmla="*/ 11798450 w 12139750"/>
              <a:gd name="connsiteY3383" fmla="*/ 1382965 h 6858290"/>
              <a:gd name="connsiteX3384" fmla="*/ 12135937 w 12139750"/>
              <a:gd name="connsiteY3384" fmla="*/ 1179842 h 6858290"/>
              <a:gd name="connsiteX3385" fmla="*/ 12139750 w 12139750"/>
              <a:gd name="connsiteY3385" fmla="*/ 1177944 h 6858290"/>
              <a:gd name="connsiteX3386" fmla="*/ 7594338 w 12139750"/>
              <a:gd name="connsiteY3386" fmla="*/ 1175955 h 6858290"/>
              <a:gd name="connsiteX3387" fmla="*/ 7614356 w 12139750"/>
              <a:gd name="connsiteY3387" fmla="*/ 1190924 h 6858290"/>
              <a:gd name="connsiteX3388" fmla="*/ 7620076 w 12139750"/>
              <a:gd name="connsiteY3388" fmla="*/ 1208030 h 6858290"/>
              <a:gd name="connsiteX3389" fmla="*/ 7604824 w 12139750"/>
              <a:gd name="connsiteY3389" fmla="*/ 1236536 h 6858290"/>
              <a:gd name="connsiteX3390" fmla="*/ 7267372 w 12139750"/>
              <a:gd name="connsiteY3390" fmla="*/ 1439910 h 6858290"/>
              <a:gd name="connsiteX3391" fmla="*/ 7221615 w 12139750"/>
              <a:gd name="connsiteY3391" fmla="*/ 1428505 h 6858290"/>
              <a:gd name="connsiteX3392" fmla="*/ 7233054 w 12139750"/>
              <a:gd name="connsiteY3392" fmla="*/ 1382889 h 6858290"/>
              <a:gd name="connsiteX3393" fmla="*/ 7568600 w 12139750"/>
              <a:gd name="connsiteY3393" fmla="*/ 1179519 h 6858290"/>
              <a:gd name="connsiteX3394" fmla="*/ 7594338 w 12139750"/>
              <a:gd name="connsiteY3394" fmla="*/ 1175955 h 6858290"/>
              <a:gd name="connsiteX3395" fmla="*/ 7043844 w 12139750"/>
              <a:gd name="connsiteY3395" fmla="*/ 1168289 h 6858290"/>
              <a:gd name="connsiteX3396" fmla="*/ 7065070 w 12139750"/>
              <a:gd name="connsiteY3396" fmla="*/ 1185018 h 6858290"/>
              <a:gd name="connsiteX3397" fmla="*/ 7070794 w 12139750"/>
              <a:gd name="connsiteY3397" fmla="*/ 1204137 h 6858290"/>
              <a:gd name="connsiteX3398" fmla="*/ 7051714 w 12139750"/>
              <a:gd name="connsiteY3398" fmla="*/ 1234720 h 6858290"/>
              <a:gd name="connsiteX3399" fmla="*/ 6714009 w 12139750"/>
              <a:gd name="connsiteY3399" fmla="*/ 1423981 h 6858290"/>
              <a:gd name="connsiteX3400" fmla="*/ 6664402 w 12139750"/>
              <a:gd name="connsiteY3400" fmla="*/ 1410601 h 6858290"/>
              <a:gd name="connsiteX3401" fmla="*/ 6677758 w 12139750"/>
              <a:gd name="connsiteY3401" fmla="*/ 1360894 h 6858290"/>
              <a:gd name="connsiteX3402" fmla="*/ 7015463 w 12139750"/>
              <a:gd name="connsiteY3402" fmla="*/ 1171635 h 6858290"/>
              <a:gd name="connsiteX3403" fmla="*/ 7043844 w 12139750"/>
              <a:gd name="connsiteY3403" fmla="*/ 1168289 h 6858290"/>
              <a:gd name="connsiteX3404" fmla="*/ 6500891 w 12139750"/>
              <a:gd name="connsiteY3404" fmla="*/ 1161548 h 6858290"/>
              <a:gd name="connsiteX3405" fmla="*/ 6524041 w 12139750"/>
              <a:gd name="connsiteY3405" fmla="*/ 1180908 h 6858290"/>
              <a:gd name="connsiteX3406" fmla="*/ 6527860 w 12139750"/>
              <a:gd name="connsiteY3406" fmla="*/ 1198115 h 6858290"/>
              <a:gd name="connsiteX3407" fmla="*/ 6506857 w 12139750"/>
              <a:gd name="connsiteY3407" fmla="*/ 1234440 h 6858290"/>
              <a:gd name="connsiteX3408" fmla="*/ 6166999 w 12139750"/>
              <a:gd name="connsiteY3408" fmla="*/ 1406519 h 6858290"/>
              <a:gd name="connsiteX3409" fmla="*/ 6113538 w 12139750"/>
              <a:gd name="connsiteY3409" fmla="*/ 1389310 h 6858290"/>
              <a:gd name="connsiteX3410" fmla="*/ 6130722 w 12139750"/>
              <a:gd name="connsiteY3410" fmla="*/ 1335774 h 6858290"/>
              <a:gd name="connsiteX3411" fmla="*/ 6470580 w 12139750"/>
              <a:gd name="connsiteY3411" fmla="*/ 1163700 h 6858290"/>
              <a:gd name="connsiteX3412" fmla="*/ 6500891 w 12139750"/>
              <a:gd name="connsiteY3412" fmla="*/ 1161548 h 6858290"/>
              <a:gd name="connsiteX3413" fmla="*/ 5957727 w 12139750"/>
              <a:gd name="connsiteY3413" fmla="*/ 1155628 h 6858290"/>
              <a:gd name="connsiteX3414" fmla="*/ 5982710 w 12139750"/>
              <a:gd name="connsiteY3414" fmla="*/ 1178193 h 6858290"/>
              <a:gd name="connsiteX3415" fmla="*/ 5986518 w 12139750"/>
              <a:gd name="connsiteY3415" fmla="*/ 1195296 h 6858290"/>
              <a:gd name="connsiteX3416" fmla="*/ 5961771 w 12139750"/>
              <a:gd name="connsiteY3416" fmla="*/ 1233296 h 6858290"/>
              <a:gd name="connsiteX3417" fmla="*/ 5622934 w 12139750"/>
              <a:gd name="connsiteY3417" fmla="*/ 1389114 h 6858290"/>
              <a:gd name="connsiteX3418" fmla="*/ 5565827 w 12139750"/>
              <a:gd name="connsiteY3418" fmla="*/ 1368212 h 6858290"/>
              <a:gd name="connsiteX3419" fmla="*/ 5586767 w 12139750"/>
              <a:gd name="connsiteY3419" fmla="*/ 1313104 h 6858290"/>
              <a:gd name="connsiteX3420" fmla="*/ 5925602 w 12139750"/>
              <a:gd name="connsiteY3420" fmla="*/ 1157291 h 6858290"/>
              <a:gd name="connsiteX3421" fmla="*/ 5957727 w 12139750"/>
              <a:gd name="connsiteY3421" fmla="*/ 1155628 h 6858290"/>
              <a:gd name="connsiteX3422" fmla="*/ 398307 w 12139750"/>
              <a:gd name="connsiteY3422" fmla="*/ 1155617 h 6858290"/>
              <a:gd name="connsiteX3423" fmla="*/ 421644 w 12139750"/>
              <a:gd name="connsiteY3423" fmla="*/ 1178183 h 6858290"/>
              <a:gd name="connsiteX3424" fmla="*/ 425454 w 12139750"/>
              <a:gd name="connsiteY3424" fmla="*/ 1195284 h 6858290"/>
              <a:gd name="connsiteX3425" fmla="*/ 402594 w 12139750"/>
              <a:gd name="connsiteY3425" fmla="*/ 1233286 h 6858290"/>
              <a:gd name="connsiteX3426" fmla="*/ 61595 w 12139750"/>
              <a:gd name="connsiteY3426" fmla="*/ 1389103 h 6858290"/>
              <a:gd name="connsiteX3427" fmla="*/ 6349 w 12139750"/>
              <a:gd name="connsiteY3427" fmla="*/ 1368201 h 6858290"/>
              <a:gd name="connsiteX3428" fmla="*/ 27304 w 12139750"/>
              <a:gd name="connsiteY3428" fmla="*/ 1313094 h 6858290"/>
              <a:gd name="connsiteX3429" fmla="*/ 366398 w 12139750"/>
              <a:gd name="connsiteY3429" fmla="*/ 1157280 h 6858290"/>
              <a:gd name="connsiteX3430" fmla="*/ 398307 w 12139750"/>
              <a:gd name="connsiteY3430" fmla="*/ 1155617 h 6858290"/>
              <a:gd name="connsiteX3431" fmla="*/ 5393468 w 12139750"/>
              <a:gd name="connsiteY3431" fmla="*/ 1144402 h 6858290"/>
              <a:gd name="connsiteX3432" fmla="*/ 5435021 w 12139750"/>
              <a:gd name="connsiteY3432" fmla="*/ 1172421 h 6858290"/>
              <a:gd name="connsiteX3433" fmla="*/ 5438834 w 12139750"/>
              <a:gd name="connsiteY3433" fmla="*/ 1189500 h 6858290"/>
              <a:gd name="connsiteX3434" fmla="*/ 5410239 w 12139750"/>
              <a:gd name="connsiteY3434" fmla="*/ 1231244 h 6858290"/>
              <a:gd name="connsiteX3435" fmla="*/ 5070896 w 12139750"/>
              <a:gd name="connsiteY3435" fmla="*/ 1371665 h 6858290"/>
              <a:gd name="connsiteX3436" fmla="*/ 5011805 w 12139750"/>
              <a:gd name="connsiteY3436" fmla="*/ 1346995 h 6858290"/>
              <a:gd name="connsiteX3437" fmla="*/ 5036586 w 12139750"/>
              <a:gd name="connsiteY3437" fmla="*/ 1288169 h 6858290"/>
              <a:gd name="connsiteX3438" fmla="*/ 5375924 w 12139750"/>
              <a:gd name="connsiteY3438" fmla="*/ 1147752 h 6858290"/>
              <a:gd name="connsiteX3439" fmla="*/ 5393468 w 12139750"/>
              <a:gd name="connsiteY3439" fmla="*/ 1144402 h 6858290"/>
              <a:gd name="connsiteX3440" fmla="*/ 929385 w 12139750"/>
              <a:gd name="connsiteY3440" fmla="*/ 1144389 h 6858290"/>
              <a:gd name="connsiteX3441" fmla="*/ 969330 w 12139750"/>
              <a:gd name="connsiteY3441" fmla="*/ 1172407 h 6858290"/>
              <a:gd name="connsiteX3442" fmla="*/ 973143 w 12139750"/>
              <a:gd name="connsiteY3442" fmla="*/ 1189486 h 6858290"/>
              <a:gd name="connsiteX3443" fmla="*/ 946453 w 12139750"/>
              <a:gd name="connsiteY3443" fmla="*/ 1231231 h 6858290"/>
              <a:gd name="connsiteX3444" fmla="*/ 605206 w 12139750"/>
              <a:gd name="connsiteY3444" fmla="*/ 1371652 h 6858290"/>
              <a:gd name="connsiteX3445" fmla="*/ 546108 w 12139750"/>
              <a:gd name="connsiteY3445" fmla="*/ 1346983 h 6858290"/>
              <a:gd name="connsiteX3446" fmla="*/ 570891 w 12139750"/>
              <a:gd name="connsiteY3446" fmla="*/ 1288158 h 6858290"/>
              <a:gd name="connsiteX3447" fmla="*/ 912138 w 12139750"/>
              <a:gd name="connsiteY3447" fmla="*/ 1147739 h 6858290"/>
              <a:gd name="connsiteX3448" fmla="*/ 929385 w 12139750"/>
              <a:gd name="connsiteY3448" fmla="*/ 1144389 h 6858290"/>
              <a:gd name="connsiteX3449" fmla="*/ 4842182 w 12139750"/>
              <a:gd name="connsiteY3449" fmla="*/ 1136797 h 6858290"/>
              <a:gd name="connsiteX3450" fmla="*/ 4884158 w 12139750"/>
              <a:gd name="connsiteY3450" fmla="*/ 1168322 h 6858290"/>
              <a:gd name="connsiteX3451" fmla="*/ 4887962 w 12139750"/>
              <a:gd name="connsiteY3451" fmla="*/ 1185422 h 6858290"/>
              <a:gd name="connsiteX3452" fmla="*/ 4855639 w 12139750"/>
              <a:gd name="connsiteY3452" fmla="*/ 1231014 h 6858290"/>
              <a:gd name="connsiteX3453" fmla="*/ 4515380 w 12139750"/>
              <a:gd name="connsiteY3453" fmla="*/ 1354501 h 6858290"/>
              <a:gd name="connsiteX3454" fmla="*/ 4454549 w 12139750"/>
              <a:gd name="connsiteY3454" fmla="*/ 1326004 h 6858290"/>
              <a:gd name="connsiteX3455" fmla="*/ 4483062 w 12139750"/>
              <a:gd name="connsiteY3455" fmla="*/ 1263308 h 6858290"/>
              <a:gd name="connsiteX3456" fmla="*/ 4823320 w 12139750"/>
              <a:gd name="connsiteY3456" fmla="*/ 1139825 h 6858290"/>
              <a:gd name="connsiteX3457" fmla="*/ 4842182 w 12139750"/>
              <a:gd name="connsiteY3457" fmla="*/ 1136797 h 6858290"/>
              <a:gd name="connsiteX3458" fmla="*/ 1478252 w 12139750"/>
              <a:gd name="connsiteY3458" fmla="*/ 1136782 h 6858290"/>
              <a:gd name="connsiteX3459" fmla="*/ 1520519 w 12139750"/>
              <a:gd name="connsiteY3459" fmla="*/ 1168307 h 6858290"/>
              <a:gd name="connsiteX3460" fmla="*/ 1522421 w 12139750"/>
              <a:gd name="connsiteY3460" fmla="*/ 1185406 h 6858290"/>
              <a:gd name="connsiteX3461" fmla="*/ 1491984 w 12139750"/>
              <a:gd name="connsiteY3461" fmla="*/ 1231000 h 6858290"/>
              <a:gd name="connsiteX3462" fmla="*/ 1151475 w 12139750"/>
              <a:gd name="connsiteY3462" fmla="*/ 1354486 h 6858290"/>
              <a:gd name="connsiteX3463" fmla="*/ 1088700 w 12139750"/>
              <a:gd name="connsiteY3463" fmla="*/ 1325989 h 6858290"/>
              <a:gd name="connsiteX3464" fmla="*/ 1117234 w 12139750"/>
              <a:gd name="connsiteY3464" fmla="*/ 1263296 h 6858290"/>
              <a:gd name="connsiteX3465" fmla="*/ 1459646 w 12139750"/>
              <a:gd name="connsiteY3465" fmla="*/ 1139810 h 6858290"/>
              <a:gd name="connsiteX3466" fmla="*/ 1478252 w 12139750"/>
              <a:gd name="connsiteY3466" fmla="*/ 1136782 h 6858290"/>
              <a:gd name="connsiteX3467" fmla="*/ 4287305 w 12139750"/>
              <a:gd name="connsiteY3467" fmla="*/ 1129713 h 6858290"/>
              <a:gd name="connsiteX3468" fmla="*/ 4330109 w 12139750"/>
              <a:gd name="connsiteY3468" fmla="*/ 1165826 h 6858290"/>
              <a:gd name="connsiteX3469" fmla="*/ 4333914 w 12139750"/>
              <a:gd name="connsiteY3469" fmla="*/ 1181045 h 6858290"/>
              <a:gd name="connsiteX3470" fmla="*/ 4297769 w 12139750"/>
              <a:gd name="connsiteY3470" fmla="*/ 1228599 h 6858290"/>
              <a:gd name="connsiteX3471" fmla="*/ 3955368 w 12139750"/>
              <a:gd name="connsiteY3471" fmla="*/ 1337029 h 6858290"/>
              <a:gd name="connsiteX3472" fmla="*/ 3890686 w 12139750"/>
              <a:gd name="connsiteY3472" fmla="*/ 1302787 h 6858290"/>
              <a:gd name="connsiteX3473" fmla="*/ 3924929 w 12139750"/>
              <a:gd name="connsiteY3473" fmla="*/ 1240012 h 6858290"/>
              <a:gd name="connsiteX3474" fmla="*/ 4267332 w 12139750"/>
              <a:gd name="connsiteY3474" fmla="*/ 1131585 h 6858290"/>
              <a:gd name="connsiteX3475" fmla="*/ 4287305 w 12139750"/>
              <a:gd name="connsiteY3475" fmla="*/ 1129713 h 6858290"/>
              <a:gd name="connsiteX3476" fmla="*/ 2033027 w 12139750"/>
              <a:gd name="connsiteY3476" fmla="*/ 1129695 h 6858290"/>
              <a:gd name="connsiteX3477" fmla="*/ 2077737 w 12139750"/>
              <a:gd name="connsiteY3477" fmla="*/ 1165808 h 6858290"/>
              <a:gd name="connsiteX3478" fmla="*/ 2079642 w 12139750"/>
              <a:gd name="connsiteY3478" fmla="*/ 1181027 h 6858290"/>
              <a:gd name="connsiteX3479" fmla="*/ 2043467 w 12139750"/>
              <a:gd name="connsiteY3479" fmla="*/ 1228582 h 6858290"/>
              <a:gd name="connsiteX3480" fmla="*/ 1702708 w 12139750"/>
              <a:gd name="connsiteY3480" fmla="*/ 1337012 h 6858290"/>
              <a:gd name="connsiteX3481" fmla="*/ 1637983 w 12139750"/>
              <a:gd name="connsiteY3481" fmla="*/ 1302771 h 6858290"/>
              <a:gd name="connsiteX3482" fmla="*/ 1670346 w 12139750"/>
              <a:gd name="connsiteY3482" fmla="*/ 1239996 h 6858290"/>
              <a:gd name="connsiteX3483" fmla="*/ 2013008 w 12139750"/>
              <a:gd name="connsiteY3483" fmla="*/ 1131568 h 6858290"/>
              <a:gd name="connsiteX3484" fmla="*/ 2033027 w 12139750"/>
              <a:gd name="connsiteY3484" fmla="*/ 1129695 h 6858290"/>
              <a:gd name="connsiteX3485" fmla="*/ 3726351 w 12139750"/>
              <a:gd name="connsiteY3485" fmla="*/ 1122417 h 6858290"/>
              <a:gd name="connsiteX3486" fmla="*/ 3771628 w 12139750"/>
              <a:gd name="connsiteY3486" fmla="*/ 1162034 h 6858290"/>
              <a:gd name="connsiteX3487" fmla="*/ 3773536 w 12139750"/>
              <a:gd name="connsiteY3487" fmla="*/ 1175449 h 6858290"/>
              <a:gd name="connsiteX3488" fmla="*/ 3733526 w 12139750"/>
              <a:gd name="connsiteY3488" fmla="*/ 1229108 h 6858290"/>
              <a:gd name="connsiteX3489" fmla="*/ 3390639 w 12139750"/>
              <a:gd name="connsiteY3489" fmla="*/ 1321097 h 6858290"/>
              <a:gd name="connsiteX3490" fmla="*/ 3323960 w 12139750"/>
              <a:gd name="connsiteY3490" fmla="*/ 1282766 h 6858290"/>
              <a:gd name="connsiteX3491" fmla="*/ 3362059 w 12139750"/>
              <a:gd name="connsiteY3491" fmla="*/ 1215695 h 6858290"/>
              <a:gd name="connsiteX3492" fmla="*/ 3704953 w 12139750"/>
              <a:gd name="connsiteY3492" fmla="*/ 1123705 h 6858290"/>
              <a:gd name="connsiteX3493" fmla="*/ 3726351 w 12139750"/>
              <a:gd name="connsiteY3493" fmla="*/ 1122417 h 6858290"/>
              <a:gd name="connsiteX3494" fmla="*/ 2592851 w 12139750"/>
              <a:gd name="connsiteY3494" fmla="*/ 1122397 h 6858290"/>
              <a:gd name="connsiteX3495" fmla="*/ 2638126 w 12139750"/>
              <a:gd name="connsiteY3495" fmla="*/ 1162013 h 6858290"/>
              <a:gd name="connsiteX3496" fmla="*/ 2640031 w 12139750"/>
              <a:gd name="connsiteY3496" fmla="*/ 1175429 h 6858290"/>
              <a:gd name="connsiteX3497" fmla="*/ 2600026 w 12139750"/>
              <a:gd name="connsiteY3497" fmla="*/ 1229089 h 6858290"/>
              <a:gd name="connsiteX3498" fmla="*/ 2257122 w 12139750"/>
              <a:gd name="connsiteY3498" fmla="*/ 1321078 h 6858290"/>
              <a:gd name="connsiteX3499" fmla="*/ 2190445 w 12139750"/>
              <a:gd name="connsiteY3499" fmla="*/ 1282749 h 6858290"/>
              <a:gd name="connsiteX3500" fmla="*/ 2228546 w 12139750"/>
              <a:gd name="connsiteY3500" fmla="*/ 1215674 h 6858290"/>
              <a:gd name="connsiteX3501" fmla="*/ 2571449 w 12139750"/>
              <a:gd name="connsiteY3501" fmla="*/ 1123685 h 6858290"/>
              <a:gd name="connsiteX3502" fmla="*/ 2592851 w 12139750"/>
              <a:gd name="connsiteY3502" fmla="*/ 1122397 h 6858290"/>
              <a:gd name="connsiteX3503" fmla="*/ 3157611 w 12139750"/>
              <a:gd name="connsiteY3503" fmla="*/ 1116357 h 6858290"/>
              <a:gd name="connsiteX3504" fmla="*/ 3201720 w 12139750"/>
              <a:gd name="connsiteY3504" fmla="*/ 1159220 h 6858290"/>
              <a:gd name="connsiteX3505" fmla="*/ 3203622 w 12139750"/>
              <a:gd name="connsiteY3505" fmla="*/ 1172555 h 6858290"/>
              <a:gd name="connsiteX3506" fmla="*/ 3159900 w 12139750"/>
              <a:gd name="connsiteY3506" fmla="*/ 1227799 h 6858290"/>
              <a:gd name="connsiteX3507" fmla="*/ 2815798 w 12139750"/>
              <a:gd name="connsiteY3507" fmla="*/ 1303997 h 6858290"/>
              <a:gd name="connsiteX3508" fmla="*/ 2747356 w 12139750"/>
              <a:gd name="connsiteY3508" fmla="*/ 1260182 h 6858290"/>
              <a:gd name="connsiteX3509" fmla="*/ 2791085 w 12139750"/>
              <a:gd name="connsiteY3509" fmla="*/ 1191605 h 6858290"/>
              <a:gd name="connsiteX3510" fmla="*/ 3135178 w 12139750"/>
              <a:gd name="connsiteY3510" fmla="*/ 1117309 h 6858290"/>
              <a:gd name="connsiteX3511" fmla="*/ 3157611 w 12139750"/>
              <a:gd name="connsiteY3511" fmla="*/ 1116357 h 6858290"/>
              <a:gd name="connsiteX3512" fmla="*/ 9862398 w 12139750"/>
              <a:gd name="connsiteY3512" fmla="*/ 887331 h 6858290"/>
              <a:gd name="connsiteX3513" fmla="*/ 9878153 w 12139750"/>
              <a:gd name="connsiteY3513" fmla="*/ 895649 h 6858290"/>
              <a:gd name="connsiteX3514" fmla="*/ 9883882 w 12139750"/>
              <a:gd name="connsiteY3514" fmla="*/ 910857 h 6858290"/>
              <a:gd name="connsiteX3515" fmla="*/ 9874333 w 12139750"/>
              <a:gd name="connsiteY3515" fmla="*/ 929868 h 6858290"/>
              <a:gd name="connsiteX3516" fmla="*/ 9540128 w 12139750"/>
              <a:gd name="connsiteY3516" fmla="*/ 1184614 h 6858290"/>
              <a:gd name="connsiteX3517" fmla="*/ 9505753 w 12139750"/>
              <a:gd name="connsiteY3517" fmla="*/ 1178911 h 6858290"/>
              <a:gd name="connsiteX3518" fmla="*/ 9511482 w 12139750"/>
              <a:gd name="connsiteY3518" fmla="*/ 1144691 h 6858290"/>
              <a:gd name="connsiteX3519" fmla="*/ 9843777 w 12139750"/>
              <a:gd name="connsiteY3519" fmla="*/ 891846 h 6858290"/>
              <a:gd name="connsiteX3520" fmla="*/ 9862398 w 12139750"/>
              <a:gd name="connsiteY3520" fmla="*/ 887331 h 6858290"/>
              <a:gd name="connsiteX3521" fmla="*/ 9285227 w 12139750"/>
              <a:gd name="connsiteY3521" fmla="*/ 879270 h 6858290"/>
              <a:gd name="connsiteX3522" fmla="*/ 9301896 w 12139750"/>
              <a:gd name="connsiteY3522" fmla="*/ 890009 h 6858290"/>
              <a:gd name="connsiteX3523" fmla="*/ 9307611 w 12139750"/>
              <a:gd name="connsiteY3523" fmla="*/ 905281 h 6858290"/>
              <a:gd name="connsiteX3524" fmla="*/ 9296181 w 12139750"/>
              <a:gd name="connsiteY3524" fmla="*/ 928189 h 6858290"/>
              <a:gd name="connsiteX3525" fmla="*/ 8962802 w 12139750"/>
              <a:gd name="connsiteY3525" fmla="*/ 1168731 h 6858290"/>
              <a:gd name="connsiteX3526" fmla="*/ 8924701 w 12139750"/>
              <a:gd name="connsiteY3526" fmla="*/ 1161095 h 6858290"/>
              <a:gd name="connsiteX3527" fmla="*/ 8930416 w 12139750"/>
              <a:gd name="connsiteY3527" fmla="*/ 1124823 h 6858290"/>
              <a:gd name="connsiteX3528" fmla="*/ 9265700 w 12139750"/>
              <a:gd name="connsiteY3528" fmla="*/ 884282 h 6858290"/>
              <a:gd name="connsiteX3529" fmla="*/ 9285227 w 12139750"/>
              <a:gd name="connsiteY3529" fmla="*/ 879270 h 6858290"/>
              <a:gd name="connsiteX3530" fmla="*/ 10445943 w 12139750"/>
              <a:gd name="connsiteY3530" fmla="*/ 879249 h 6858290"/>
              <a:gd name="connsiteX3531" fmla="*/ 10464279 w 12139750"/>
              <a:gd name="connsiteY3531" fmla="*/ 889987 h 6858290"/>
              <a:gd name="connsiteX3532" fmla="*/ 10468089 w 12139750"/>
              <a:gd name="connsiteY3532" fmla="*/ 905259 h 6858290"/>
              <a:gd name="connsiteX3533" fmla="*/ 10458564 w 12139750"/>
              <a:gd name="connsiteY3533" fmla="*/ 928168 h 6858290"/>
              <a:gd name="connsiteX3534" fmla="*/ 10123280 w 12139750"/>
              <a:gd name="connsiteY3534" fmla="*/ 1168705 h 6858290"/>
              <a:gd name="connsiteX3535" fmla="*/ 10087084 w 12139750"/>
              <a:gd name="connsiteY3535" fmla="*/ 1161069 h 6858290"/>
              <a:gd name="connsiteX3536" fmla="*/ 10092799 w 12139750"/>
              <a:gd name="connsiteY3536" fmla="*/ 1124797 h 6858290"/>
              <a:gd name="connsiteX3537" fmla="*/ 10426178 w 12139750"/>
              <a:gd name="connsiteY3537" fmla="*/ 884260 h 6858290"/>
              <a:gd name="connsiteX3538" fmla="*/ 10445943 w 12139750"/>
              <a:gd name="connsiteY3538" fmla="*/ 879249 h 6858290"/>
              <a:gd name="connsiteX3539" fmla="*/ 8716319 w 12139750"/>
              <a:gd name="connsiteY3539" fmla="*/ 870617 h 6858290"/>
              <a:gd name="connsiteX3540" fmla="*/ 8735146 w 12139750"/>
              <a:gd name="connsiteY3540" fmla="*/ 883981 h 6858290"/>
              <a:gd name="connsiteX3541" fmla="*/ 8740866 w 12139750"/>
              <a:gd name="connsiteY3541" fmla="*/ 899254 h 6858290"/>
              <a:gd name="connsiteX3542" fmla="*/ 8727520 w 12139750"/>
              <a:gd name="connsiteY3542" fmla="*/ 924073 h 6858290"/>
              <a:gd name="connsiteX3543" fmla="*/ 8391968 w 12139750"/>
              <a:gd name="connsiteY3543" fmla="*/ 1151267 h 6858290"/>
              <a:gd name="connsiteX3544" fmla="*/ 8351931 w 12139750"/>
              <a:gd name="connsiteY3544" fmla="*/ 1141721 h 6858290"/>
              <a:gd name="connsiteX3545" fmla="*/ 8359557 w 12139750"/>
              <a:gd name="connsiteY3545" fmla="*/ 1101629 h 6858290"/>
              <a:gd name="connsiteX3546" fmla="*/ 8693202 w 12139750"/>
              <a:gd name="connsiteY3546" fmla="*/ 874435 h 6858290"/>
              <a:gd name="connsiteX3547" fmla="*/ 8716319 w 12139750"/>
              <a:gd name="connsiteY3547" fmla="*/ 870617 h 6858290"/>
              <a:gd name="connsiteX3548" fmla="*/ 11024254 w 12139750"/>
              <a:gd name="connsiteY3548" fmla="*/ 870594 h 6858290"/>
              <a:gd name="connsiteX3549" fmla="*/ 11043734 w 12139750"/>
              <a:gd name="connsiteY3549" fmla="*/ 883958 h 6858290"/>
              <a:gd name="connsiteX3550" fmla="*/ 11047535 w 12139750"/>
              <a:gd name="connsiteY3550" fmla="*/ 899231 h 6858290"/>
              <a:gd name="connsiteX3551" fmla="*/ 11036132 w 12139750"/>
              <a:gd name="connsiteY3551" fmla="*/ 924050 h 6858290"/>
              <a:gd name="connsiteX3552" fmla="*/ 10701654 w 12139750"/>
              <a:gd name="connsiteY3552" fmla="*/ 1151239 h 6858290"/>
              <a:gd name="connsiteX3553" fmla="*/ 10659844 w 12139750"/>
              <a:gd name="connsiteY3553" fmla="*/ 1141693 h 6858290"/>
              <a:gd name="connsiteX3554" fmla="*/ 10669346 w 12139750"/>
              <a:gd name="connsiteY3554" fmla="*/ 1101601 h 6858290"/>
              <a:gd name="connsiteX3555" fmla="*/ 11001924 w 12139750"/>
              <a:gd name="connsiteY3555" fmla="*/ 874412 h 6858290"/>
              <a:gd name="connsiteX3556" fmla="*/ 11024254 w 12139750"/>
              <a:gd name="connsiteY3556" fmla="*/ 870594 h 6858290"/>
              <a:gd name="connsiteX3557" fmla="*/ 8152171 w 12139750"/>
              <a:gd name="connsiteY3557" fmla="*/ 862274 h 6858290"/>
              <a:gd name="connsiteX3558" fmla="*/ 8171905 w 12139750"/>
              <a:gd name="connsiteY3558" fmla="*/ 876324 h 6858290"/>
              <a:gd name="connsiteX3559" fmla="*/ 8175709 w 12139750"/>
              <a:gd name="connsiteY3559" fmla="*/ 893468 h 6858290"/>
              <a:gd name="connsiteX3560" fmla="*/ 8162395 w 12139750"/>
              <a:gd name="connsiteY3560" fmla="*/ 920138 h 6858290"/>
              <a:gd name="connsiteX3561" fmla="*/ 7825735 w 12139750"/>
              <a:gd name="connsiteY3561" fmla="*/ 1133503 h 6858290"/>
              <a:gd name="connsiteX3562" fmla="*/ 7781988 w 12139750"/>
              <a:gd name="connsiteY3562" fmla="*/ 1123978 h 6858290"/>
              <a:gd name="connsiteX3563" fmla="*/ 7791498 w 12139750"/>
              <a:gd name="connsiteY3563" fmla="*/ 1078258 h 6858290"/>
              <a:gd name="connsiteX3564" fmla="*/ 8128158 w 12139750"/>
              <a:gd name="connsiteY3564" fmla="*/ 866799 h 6858290"/>
              <a:gd name="connsiteX3565" fmla="*/ 8152171 w 12139750"/>
              <a:gd name="connsiteY3565" fmla="*/ 862274 h 6858290"/>
              <a:gd name="connsiteX3566" fmla="*/ 11596678 w 12139750"/>
              <a:gd name="connsiteY3566" fmla="*/ 862268 h 6858290"/>
              <a:gd name="connsiteX3567" fmla="*/ 11616489 w 12139750"/>
              <a:gd name="connsiteY3567" fmla="*/ 876317 h 6858290"/>
              <a:gd name="connsiteX3568" fmla="*/ 11622218 w 12139750"/>
              <a:gd name="connsiteY3568" fmla="*/ 893462 h 6858290"/>
              <a:gd name="connsiteX3569" fmla="*/ 11606942 w 12139750"/>
              <a:gd name="connsiteY3569" fmla="*/ 920132 h 6858290"/>
              <a:gd name="connsiteX3570" fmla="*/ 11270867 w 12139750"/>
              <a:gd name="connsiteY3570" fmla="*/ 1133497 h 6858290"/>
              <a:gd name="connsiteX3571" fmla="*/ 11226948 w 12139750"/>
              <a:gd name="connsiteY3571" fmla="*/ 1123971 h 6858290"/>
              <a:gd name="connsiteX3572" fmla="*/ 11236495 w 12139750"/>
              <a:gd name="connsiteY3572" fmla="*/ 1078251 h 6858290"/>
              <a:gd name="connsiteX3573" fmla="*/ 11572571 w 12139750"/>
              <a:gd name="connsiteY3573" fmla="*/ 866793 h 6858290"/>
              <a:gd name="connsiteX3574" fmla="*/ 11596678 w 12139750"/>
              <a:gd name="connsiteY3574" fmla="*/ 862268 h 6858290"/>
              <a:gd name="connsiteX3575" fmla="*/ 12139750 w 12139750"/>
              <a:gd name="connsiteY3575" fmla="*/ 857266 h 6858290"/>
              <a:gd name="connsiteX3576" fmla="*/ 12139750 w 12139750"/>
              <a:gd name="connsiteY3576" fmla="*/ 935278 h 6858290"/>
              <a:gd name="connsiteX3577" fmla="*/ 11834946 w 12139750"/>
              <a:gd name="connsiteY3577" fmla="*/ 1116043 h 6858290"/>
              <a:gd name="connsiteX3578" fmla="*/ 11787320 w 12139750"/>
              <a:gd name="connsiteY3578" fmla="*/ 1104626 h 6858290"/>
              <a:gd name="connsiteX3579" fmla="*/ 11798750 w 12139750"/>
              <a:gd name="connsiteY3579" fmla="*/ 1057058 h 6858290"/>
              <a:gd name="connsiteX3580" fmla="*/ 12135940 w 12139750"/>
              <a:gd name="connsiteY3580" fmla="*/ 859168 h 6858290"/>
              <a:gd name="connsiteX3581" fmla="*/ 12139750 w 12139750"/>
              <a:gd name="connsiteY3581" fmla="*/ 857266 h 6858290"/>
              <a:gd name="connsiteX3582" fmla="*/ 7595013 w 12139750"/>
              <a:gd name="connsiteY3582" fmla="*/ 854170 h 6858290"/>
              <a:gd name="connsiteX3583" fmla="*/ 7615952 w 12139750"/>
              <a:gd name="connsiteY3583" fmla="*/ 870582 h 6858290"/>
              <a:gd name="connsiteX3584" fmla="*/ 7621663 w 12139750"/>
              <a:gd name="connsiteY3584" fmla="*/ 887708 h 6858290"/>
              <a:gd name="connsiteX3585" fmla="*/ 7604531 w 12139750"/>
              <a:gd name="connsiteY3585" fmla="*/ 918153 h 6858290"/>
              <a:gd name="connsiteX3586" fmla="*/ 7267601 w 12139750"/>
              <a:gd name="connsiteY3586" fmla="*/ 1116053 h 6858290"/>
              <a:gd name="connsiteX3587" fmla="*/ 7220013 w 12139750"/>
              <a:gd name="connsiteY3587" fmla="*/ 1104635 h 6858290"/>
              <a:gd name="connsiteX3588" fmla="*/ 7233337 w 12139750"/>
              <a:gd name="connsiteY3588" fmla="*/ 1057064 h 6858290"/>
              <a:gd name="connsiteX3589" fmla="*/ 7568363 w 12139750"/>
              <a:gd name="connsiteY3589" fmla="*/ 859165 h 6858290"/>
              <a:gd name="connsiteX3590" fmla="*/ 7595013 w 12139750"/>
              <a:gd name="connsiteY3590" fmla="*/ 854170 h 6858290"/>
              <a:gd name="connsiteX3591" fmla="*/ 7044817 w 12139750"/>
              <a:gd name="connsiteY3591" fmla="*/ 846270 h 6858290"/>
              <a:gd name="connsiteX3592" fmla="*/ 7066980 w 12139750"/>
              <a:gd name="connsiteY3592" fmla="*/ 864693 h 6858290"/>
              <a:gd name="connsiteX3593" fmla="*/ 7070793 w 12139750"/>
              <a:gd name="connsiteY3593" fmla="*/ 881918 h 6858290"/>
              <a:gd name="connsiteX3594" fmla="*/ 7051728 w 12139750"/>
              <a:gd name="connsiteY3594" fmla="*/ 914456 h 6858290"/>
              <a:gd name="connsiteX3595" fmla="*/ 6714282 w 12139750"/>
              <a:gd name="connsiteY3595" fmla="*/ 1100119 h 6858290"/>
              <a:gd name="connsiteX3596" fmla="*/ 6664714 w 12139750"/>
              <a:gd name="connsiteY3596" fmla="*/ 1084808 h 6858290"/>
              <a:gd name="connsiteX3597" fmla="*/ 6678059 w 12139750"/>
              <a:gd name="connsiteY3597" fmla="*/ 1035038 h 6858290"/>
              <a:gd name="connsiteX3598" fmla="*/ 7015505 w 12139750"/>
              <a:gd name="connsiteY3598" fmla="*/ 849380 h 6858290"/>
              <a:gd name="connsiteX3599" fmla="*/ 7044817 w 12139750"/>
              <a:gd name="connsiteY3599" fmla="*/ 846270 h 6858290"/>
              <a:gd name="connsiteX3600" fmla="*/ 6485646 w 12139750"/>
              <a:gd name="connsiteY3600" fmla="*/ 836909 h 6858290"/>
              <a:gd name="connsiteX3601" fmla="*/ 6524041 w 12139750"/>
              <a:gd name="connsiteY3601" fmla="*/ 858929 h 6858290"/>
              <a:gd name="connsiteX3602" fmla="*/ 6527860 w 12139750"/>
              <a:gd name="connsiteY3602" fmla="*/ 876115 h 6858290"/>
              <a:gd name="connsiteX3603" fmla="*/ 6506857 w 12139750"/>
              <a:gd name="connsiteY3603" fmla="*/ 912398 h 6858290"/>
              <a:gd name="connsiteX3604" fmla="*/ 6166999 w 12139750"/>
              <a:gd name="connsiteY3604" fmla="*/ 1082357 h 6858290"/>
              <a:gd name="connsiteX3605" fmla="*/ 6113538 w 12139750"/>
              <a:gd name="connsiteY3605" fmla="*/ 1065171 h 6858290"/>
              <a:gd name="connsiteX3606" fmla="*/ 6130722 w 12139750"/>
              <a:gd name="connsiteY3606" fmla="*/ 1011697 h 6858290"/>
              <a:gd name="connsiteX3607" fmla="*/ 6470580 w 12139750"/>
              <a:gd name="connsiteY3607" fmla="*/ 841743 h 6858290"/>
              <a:gd name="connsiteX3608" fmla="*/ 6485646 w 12139750"/>
              <a:gd name="connsiteY3608" fmla="*/ 836909 h 6858290"/>
              <a:gd name="connsiteX3609" fmla="*/ 5957785 w 12139750"/>
              <a:gd name="connsiteY3609" fmla="*/ 832476 h 6858290"/>
              <a:gd name="connsiteX3610" fmla="*/ 5981120 w 12139750"/>
              <a:gd name="connsiteY3610" fmla="*/ 854301 h 6858290"/>
              <a:gd name="connsiteX3611" fmla="*/ 5984930 w 12139750"/>
              <a:gd name="connsiteY3611" fmla="*/ 871381 h 6858290"/>
              <a:gd name="connsiteX3612" fmla="*/ 5962070 w 12139750"/>
              <a:gd name="connsiteY3612" fmla="*/ 909338 h 6858290"/>
              <a:gd name="connsiteX3613" fmla="*/ 5622984 w 12139750"/>
              <a:gd name="connsiteY3613" fmla="*/ 1066863 h 6858290"/>
              <a:gd name="connsiteX3614" fmla="*/ 5565833 w 12139750"/>
              <a:gd name="connsiteY3614" fmla="*/ 1045982 h 6858290"/>
              <a:gd name="connsiteX3615" fmla="*/ 5586789 w 12139750"/>
              <a:gd name="connsiteY3615" fmla="*/ 990945 h 6858290"/>
              <a:gd name="connsiteX3616" fmla="*/ 5925877 w 12139750"/>
              <a:gd name="connsiteY3616" fmla="*/ 833424 h 6858290"/>
              <a:gd name="connsiteX3617" fmla="*/ 5957785 w 12139750"/>
              <a:gd name="connsiteY3617" fmla="*/ 832476 h 6858290"/>
              <a:gd name="connsiteX3618" fmla="*/ 398307 w 12139750"/>
              <a:gd name="connsiteY3618" fmla="*/ 832466 h 6858290"/>
              <a:gd name="connsiteX3619" fmla="*/ 421644 w 12139750"/>
              <a:gd name="connsiteY3619" fmla="*/ 854291 h 6858290"/>
              <a:gd name="connsiteX3620" fmla="*/ 425454 w 12139750"/>
              <a:gd name="connsiteY3620" fmla="*/ 871371 h 6858290"/>
              <a:gd name="connsiteX3621" fmla="*/ 400689 w 12139750"/>
              <a:gd name="connsiteY3621" fmla="*/ 909328 h 6858290"/>
              <a:gd name="connsiteX3622" fmla="*/ 61595 w 12139750"/>
              <a:gd name="connsiteY3622" fmla="*/ 1066852 h 6858290"/>
              <a:gd name="connsiteX3623" fmla="*/ 6349 w 12139750"/>
              <a:gd name="connsiteY3623" fmla="*/ 1045972 h 6858290"/>
              <a:gd name="connsiteX3624" fmla="*/ 27304 w 12139750"/>
              <a:gd name="connsiteY3624" fmla="*/ 990935 h 6858290"/>
              <a:gd name="connsiteX3625" fmla="*/ 366398 w 12139750"/>
              <a:gd name="connsiteY3625" fmla="*/ 833414 h 6858290"/>
              <a:gd name="connsiteX3626" fmla="*/ 398307 w 12139750"/>
              <a:gd name="connsiteY3626" fmla="*/ 832466 h 6858290"/>
              <a:gd name="connsiteX3627" fmla="*/ 5410477 w 12139750"/>
              <a:gd name="connsiteY3627" fmla="*/ 824774 h 6858290"/>
              <a:gd name="connsiteX3628" fmla="*/ 5435021 w 12139750"/>
              <a:gd name="connsiteY3628" fmla="*/ 848257 h 6858290"/>
              <a:gd name="connsiteX3629" fmla="*/ 5438834 w 12139750"/>
              <a:gd name="connsiteY3629" fmla="*/ 865335 h 6858290"/>
              <a:gd name="connsiteX3630" fmla="*/ 5410239 w 12139750"/>
              <a:gd name="connsiteY3630" fmla="*/ 907081 h 6858290"/>
              <a:gd name="connsiteX3631" fmla="*/ 5070896 w 12139750"/>
              <a:gd name="connsiteY3631" fmla="*/ 1049397 h 6858290"/>
              <a:gd name="connsiteX3632" fmla="*/ 5011805 w 12139750"/>
              <a:gd name="connsiteY3632" fmla="*/ 1024730 h 6858290"/>
              <a:gd name="connsiteX3633" fmla="*/ 5034678 w 12139750"/>
              <a:gd name="connsiteY3633" fmla="*/ 967803 h 6858290"/>
              <a:gd name="connsiteX3634" fmla="*/ 5375924 w 12139750"/>
              <a:gd name="connsiteY3634" fmla="*/ 825486 h 6858290"/>
              <a:gd name="connsiteX3635" fmla="*/ 5410477 w 12139750"/>
              <a:gd name="connsiteY3635" fmla="*/ 824774 h 6858290"/>
              <a:gd name="connsiteX3636" fmla="*/ 944785 w 12139750"/>
              <a:gd name="connsiteY3636" fmla="*/ 824762 h 6858290"/>
              <a:gd name="connsiteX3637" fmla="*/ 969330 w 12139750"/>
              <a:gd name="connsiteY3637" fmla="*/ 848245 h 6858290"/>
              <a:gd name="connsiteX3638" fmla="*/ 973143 w 12139750"/>
              <a:gd name="connsiteY3638" fmla="*/ 865323 h 6858290"/>
              <a:gd name="connsiteX3639" fmla="*/ 946453 w 12139750"/>
              <a:gd name="connsiteY3639" fmla="*/ 907069 h 6858290"/>
              <a:gd name="connsiteX3640" fmla="*/ 605206 w 12139750"/>
              <a:gd name="connsiteY3640" fmla="*/ 1049386 h 6858290"/>
              <a:gd name="connsiteX3641" fmla="*/ 546108 w 12139750"/>
              <a:gd name="connsiteY3641" fmla="*/ 1024718 h 6858290"/>
              <a:gd name="connsiteX3642" fmla="*/ 570891 w 12139750"/>
              <a:gd name="connsiteY3642" fmla="*/ 967791 h 6858290"/>
              <a:gd name="connsiteX3643" fmla="*/ 910231 w 12139750"/>
              <a:gd name="connsiteY3643" fmla="*/ 825474 h 6858290"/>
              <a:gd name="connsiteX3644" fmla="*/ 944785 w 12139750"/>
              <a:gd name="connsiteY3644" fmla="*/ 824762 h 6858290"/>
              <a:gd name="connsiteX3645" fmla="*/ 4842165 w 12139750"/>
              <a:gd name="connsiteY3645" fmla="*/ 812941 h 6858290"/>
              <a:gd name="connsiteX3646" fmla="*/ 4884469 w 12139750"/>
              <a:gd name="connsiteY3646" fmla="*/ 842717 h 6858290"/>
              <a:gd name="connsiteX3647" fmla="*/ 4886373 w 12139750"/>
              <a:gd name="connsiteY3647" fmla="*/ 859885 h 6858290"/>
              <a:gd name="connsiteX3648" fmla="*/ 4855912 w 12139750"/>
              <a:gd name="connsiteY3648" fmla="*/ 903759 h 6858290"/>
              <a:gd name="connsiteX3649" fmla="*/ 4515162 w 12139750"/>
              <a:gd name="connsiteY3649" fmla="*/ 1033473 h 6858290"/>
              <a:gd name="connsiteX3650" fmla="*/ 4454246 w 12139750"/>
              <a:gd name="connsiteY3650" fmla="*/ 1006767 h 6858290"/>
              <a:gd name="connsiteX3651" fmla="*/ 4482802 w 12139750"/>
              <a:gd name="connsiteY3651" fmla="*/ 945725 h 6858290"/>
              <a:gd name="connsiteX3652" fmla="*/ 4823545 w 12139750"/>
              <a:gd name="connsiteY3652" fmla="*/ 816011 h 6858290"/>
              <a:gd name="connsiteX3653" fmla="*/ 4842165 w 12139750"/>
              <a:gd name="connsiteY3653" fmla="*/ 812941 h 6858290"/>
              <a:gd name="connsiteX3654" fmla="*/ 1476350 w 12139750"/>
              <a:gd name="connsiteY3654" fmla="*/ 812927 h 6858290"/>
              <a:gd name="connsiteX3655" fmla="*/ 1518617 w 12139750"/>
              <a:gd name="connsiteY3655" fmla="*/ 842703 h 6858290"/>
              <a:gd name="connsiteX3656" fmla="*/ 1522421 w 12139750"/>
              <a:gd name="connsiteY3656" fmla="*/ 859871 h 6858290"/>
              <a:gd name="connsiteX3657" fmla="*/ 1491985 w 12139750"/>
              <a:gd name="connsiteY3657" fmla="*/ 903745 h 6858290"/>
              <a:gd name="connsiteX3658" fmla="*/ 1151475 w 12139750"/>
              <a:gd name="connsiteY3658" fmla="*/ 1033459 h 6858290"/>
              <a:gd name="connsiteX3659" fmla="*/ 1090602 w 12139750"/>
              <a:gd name="connsiteY3659" fmla="*/ 1006753 h 6858290"/>
              <a:gd name="connsiteX3660" fmla="*/ 1117234 w 12139750"/>
              <a:gd name="connsiteY3660" fmla="*/ 945711 h 6858290"/>
              <a:gd name="connsiteX3661" fmla="*/ 1457744 w 12139750"/>
              <a:gd name="connsiteY3661" fmla="*/ 815997 h 6858290"/>
              <a:gd name="connsiteX3662" fmla="*/ 1476350 w 12139750"/>
              <a:gd name="connsiteY3662" fmla="*/ 812927 h 6858290"/>
              <a:gd name="connsiteX3663" fmla="*/ 4285653 w 12139750"/>
              <a:gd name="connsiteY3663" fmla="*/ 804258 h 6858290"/>
              <a:gd name="connsiteX3664" fmla="*/ 4328517 w 12139750"/>
              <a:gd name="connsiteY3664" fmla="*/ 838596 h 6858290"/>
              <a:gd name="connsiteX3665" fmla="*/ 4332326 w 12139750"/>
              <a:gd name="connsiteY3665" fmla="*/ 853857 h 6858290"/>
              <a:gd name="connsiteX3666" fmla="*/ 4298036 w 12139750"/>
              <a:gd name="connsiteY3666" fmla="*/ 901549 h 6858290"/>
              <a:gd name="connsiteX3667" fmla="*/ 3957054 w 12139750"/>
              <a:gd name="connsiteY3667" fmla="*/ 1017917 h 6858290"/>
              <a:gd name="connsiteX3668" fmla="*/ 3894188 w 12139750"/>
              <a:gd name="connsiteY3668" fmla="*/ 985486 h 6858290"/>
              <a:gd name="connsiteX3669" fmla="*/ 3924670 w 12139750"/>
              <a:gd name="connsiteY3669" fmla="*/ 922533 h 6858290"/>
              <a:gd name="connsiteX3670" fmla="*/ 4265648 w 12139750"/>
              <a:gd name="connsiteY3670" fmla="*/ 806166 h 6858290"/>
              <a:gd name="connsiteX3671" fmla="*/ 4285653 w 12139750"/>
              <a:gd name="connsiteY3671" fmla="*/ 804258 h 6858290"/>
              <a:gd name="connsiteX3672" fmla="*/ 2032209 w 12139750"/>
              <a:gd name="connsiteY3672" fmla="*/ 804242 h 6858290"/>
              <a:gd name="connsiteX3673" fmla="*/ 2076149 w 12139750"/>
              <a:gd name="connsiteY3673" fmla="*/ 838580 h 6858290"/>
              <a:gd name="connsiteX3674" fmla="*/ 2078054 w 12139750"/>
              <a:gd name="connsiteY3674" fmla="*/ 853842 h 6858290"/>
              <a:gd name="connsiteX3675" fmla="*/ 2043758 w 12139750"/>
              <a:gd name="connsiteY3675" fmla="*/ 901533 h 6858290"/>
              <a:gd name="connsiteX3676" fmla="*/ 1702759 w 12139750"/>
              <a:gd name="connsiteY3676" fmla="*/ 1017901 h 6858290"/>
              <a:gd name="connsiteX3677" fmla="*/ 1639894 w 12139750"/>
              <a:gd name="connsiteY3677" fmla="*/ 985471 h 6858290"/>
              <a:gd name="connsiteX3678" fmla="*/ 1670374 w 12139750"/>
              <a:gd name="connsiteY3678" fmla="*/ 922518 h 6858290"/>
              <a:gd name="connsiteX3679" fmla="*/ 2013278 w 12139750"/>
              <a:gd name="connsiteY3679" fmla="*/ 806150 h 6858290"/>
              <a:gd name="connsiteX3680" fmla="*/ 2032209 w 12139750"/>
              <a:gd name="connsiteY3680" fmla="*/ 804242 h 6858290"/>
              <a:gd name="connsiteX3681" fmla="*/ 3725237 w 12139750"/>
              <a:gd name="connsiteY3681" fmla="*/ 796620 h 6858290"/>
              <a:gd name="connsiteX3682" fmla="*/ 3770041 w 12139750"/>
              <a:gd name="connsiteY3682" fmla="*/ 832569 h 6858290"/>
              <a:gd name="connsiteX3683" fmla="*/ 3771946 w 12139750"/>
              <a:gd name="connsiteY3683" fmla="*/ 847831 h 6858290"/>
              <a:gd name="connsiteX3684" fmla="*/ 3733792 w 12139750"/>
              <a:gd name="connsiteY3684" fmla="*/ 897434 h 6858290"/>
              <a:gd name="connsiteX3685" fmla="*/ 3390422 w 12139750"/>
              <a:gd name="connsiteY3685" fmla="*/ 1000454 h 6858290"/>
              <a:gd name="connsiteX3686" fmla="*/ 3325558 w 12139750"/>
              <a:gd name="connsiteY3686" fmla="*/ 964206 h 6858290"/>
              <a:gd name="connsiteX3687" fmla="*/ 3361805 w 12139750"/>
              <a:gd name="connsiteY3687" fmla="*/ 899342 h 6858290"/>
              <a:gd name="connsiteX3688" fmla="*/ 3705176 w 12139750"/>
              <a:gd name="connsiteY3688" fmla="*/ 798229 h 6858290"/>
              <a:gd name="connsiteX3689" fmla="*/ 3725237 w 12139750"/>
              <a:gd name="connsiteY3689" fmla="*/ 796620 h 6858290"/>
              <a:gd name="connsiteX3690" fmla="*/ 2591734 w 12139750"/>
              <a:gd name="connsiteY3690" fmla="*/ 796602 h 6858290"/>
              <a:gd name="connsiteX3691" fmla="*/ 2636535 w 12139750"/>
              <a:gd name="connsiteY3691" fmla="*/ 832551 h 6858290"/>
              <a:gd name="connsiteX3692" fmla="*/ 2638443 w 12139750"/>
              <a:gd name="connsiteY3692" fmla="*/ 847814 h 6858290"/>
              <a:gd name="connsiteX3693" fmla="*/ 2600289 w 12139750"/>
              <a:gd name="connsiteY3693" fmla="*/ 897416 h 6858290"/>
              <a:gd name="connsiteX3694" fmla="*/ 2256905 w 12139750"/>
              <a:gd name="connsiteY3694" fmla="*/ 1000437 h 6858290"/>
              <a:gd name="connsiteX3695" fmla="*/ 2192043 w 12139750"/>
              <a:gd name="connsiteY3695" fmla="*/ 964189 h 6858290"/>
              <a:gd name="connsiteX3696" fmla="*/ 2228290 w 12139750"/>
              <a:gd name="connsiteY3696" fmla="*/ 899324 h 6858290"/>
              <a:gd name="connsiteX3697" fmla="*/ 2571674 w 12139750"/>
              <a:gd name="connsiteY3697" fmla="*/ 798211 h 6858290"/>
              <a:gd name="connsiteX3698" fmla="*/ 2591734 w 12139750"/>
              <a:gd name="connsiteY3698" fmla="*/ 796602 h 6858290"/>
              <a:gd name="connsiteX3699" fmla="*/ 3154889 w 12139750"/>
              <a:gd name="connsiteY3699" fmla="*/ 787711 h 6858290"/>
              <a:gd name="connsiteX3700" fmla="*/ 3200131 w 12139750"/>
              <a:gd name="connsiteY3700" fmla="*/ 828698 h 6858290"/>
              <a:gd name="connsiteX3701" fmla="*/ 3202035 w 12139750"/>
              <a:gd name="connsiteY3701" fmla="*/ 842033 h 6858290"/>
              <a:gd name="connsiteX3702" fmla="*/ 3160154 w 12139750"/>
              <a:gd name="connsiteY3702" fmla="*/ 895372 h 6858290"/>
              <a:gd name="connsiteX3703" fmla="*/ 2817485 w 12139750"/>
              <a:gd name="connsiteY3703" fmla="*/ 983002 h 6858290"/>
              <a:gd name="connsiteX3704" fmla="*/ 2750856 w 12139750"/>
              <a:gd name="connsiteY3704" fmla="*/ 944903 h 6858290"/>
              <a:gd name="connsiteX3705" fmla="*/ 2788928 w 12139750"/>
              <a:gd name="connsiteY3705" fmla="*/ 878228 h 6858290"/>
              <a:gd name="connsiteX3706" fmla="*/ 3133501 w 12139750"/>
              <a:gd name="connsiteY3706" fmla="*/ 788693 h 6858290"/>
              <a:gd name="connsiteX3707" fmla="*/ 3154889 w 12139750"/>
              <a:gd name="connsiteY3707" fmla="*/ 787711 h 6858290"/>
              <a:gd name="connsiteX3708" fmla="*/ 9863739 w 12139750"/>
              <a:gd name="connsiteY3708" fmla="*/ 570068 h 6858290"/>
              <a:gd name="connsiteX3709" fmla="*/ 9881347 w 12139750"/>
              <a:gd name="connsiteY3709" fmla="*/ 580048 h 6858290"/>
              <a:gd name="connsiteX3710" fmla="*/ 9887057 w 12139750"/>
              <a:gd name="connsiteY3710" fmla="*/ 597157 h 6858290"/>
              <a:gd name="connsiteX3711" fmla="*/ 9875636 w 12139750"/>
              <a:gd name="connsiteY3711" fmla="*/ 618067 h 6858290"/>
              <a:gd name="connsiteX3712" fmla="*/ 9540623 w 12139750"/>
              <a:gd name="connsiteY3712" fmla="*/ 857587 h 6858290"/>
              <a:gd name="connsiteX3713" fmla="*/ 9504456 w 12139750"/>
              <a:gd name="connsiteY3713" fmla="*/ 849984 h 6858290"/>
              <a:gd name="connsiteX3714" fmla="*/ 9510167 w 12139750"/>
              <a:gd name="connsiteY3714" fmla="*/ 811965 h 6858290"/>
              <a:gd name="connsiteX3715" fmla="*/ 9843277 w 12139750"/>
              <a:gd name="connsiteY3715" fmla="*/ 574345 h 6858290"/>
              <a:gd name="connsiteX3716" fmla="*/ 9863739 w 12139750"/>
              <a:gd name="connsiteY3716" fmla="*/ 570068 h 6858290"/>
              <a:gd name="connsiteX3717" fmla="*/ 9288066 w 12139750"/>
              <a:gd name="connsiteY3717" fmla="*/ 561743 h 6858290"/>
              <a:gd name="connsiteX3718" fmla="*/ 9306654 w 12139750"/>
              <a:gd name="connsiteY3718" fmla="*/ 574308 h 6858290"/>
              <a:gd name="connsiteX3719" fmla="*/ 9312374 w 12139750"/>
              <a:gd name="connsiteY3719" fmla="*/ 589483 h 6858290"/>
              <a:gd name="connsiteX3720" fmla="*/ 9299028 w 12139750"/>
              <a:gd name="connsiteY3720" fmla="*/ 614140 h 6858290"/>
              <a:gd name="connsiteX3721" fmla="*/ 8963476 w 12139750"/>
              <a:gd name="connsiteY3721" fmla="*/ 839853 h 6858290"/>
              <a:gd name="connsiteX3722" fmla="*/ 8923439 w 12139750"/>
              <a:gd name="connsiteY3722" fmla="*/ 832266 h 6858290"/>
              <a:gd name="connsiteX3723" fmla="*/ 8931065 w 12139750"/>
              <a:gd name="connsiteY3723" fmla="*/ 792434 h 6858290"/>
              <a:gd name="connsiteX3724" fmla="*/ 9266617 w 12139750"/>
              <a:gd name="connsiteY3724" fmla="*/ 564825 h 6858290"/>
              <a:gd name="connsiteX3725" fmla="*/ 9288066 w 12139750"/>
              <a:gd name="connsiteY3725" fmla="*/ 561743 h 6858290"/>
              <a:gd name="connsiteX3726" fmla="*/ 10448544 w 12139750"/>
              <a:gd name="connsiteY3726" fmla="*/ 561719 h 6858290"/>
              <a:gd name="connsiteX3727" fmla="*/ 10467132 w 12139750"/>
              <a:gd name="connsiteY3727" fmla="*/ 574285 h 6858290"/>
              <a:gd name="connsiteX3728" fmla="*/ 10472852 w 12139750"/>
              <a:gd name="connsiteY3728" fmla="*/ 589459 h 6858290"/>
              <a:gd name="connsiteX3729" fmla="*/ 10459506 w 12139750"/>
              <a:gd name="connsiteY3729" fmla="*/ 614117 h 6858290"/>
              <a:gd name="connsiteX3730" fmla="*/ 10123954 w 12139750"/>
              <a:gd name="connsiteY3730" fmla="*/ 839831 h 6858290"/>
              <a:gd name="connsiteX3731" fmla="*/ 10083917 w 12139750"/>
              <a:gd name="connsiteY3731" fmla="*/ 832244 h 6858290"/>
              <a:gd name="connsiteX3732" fmla="*/ 10091543 w 12139750"/>
              <a:gd name="connsiteY3732" fmla="*/ 792412 h 6858290"/>
              <a:gd name="connsiteX3733" fmla="*/ 10427095 w 12139750"/>
              <a:gd name="connsiteY3733" fmla="*/ 564801 h 6858290"/>
              <a:gd name="connsiteX3734" fmla="*/ 10448544 w 12139750"/>
              <a:gd name="connsiteY3734" fmla="*/ 561719 h 6858290"/>
              <a:gd name="connsiteX3735" fmla="*/ 8716914 w 12139750"/>
              <a:gd name="connsiteY3735" fmla="*/ 552708 h 6858290"/>
              <a:gd name="connsiteX3736" fmla="*/ 8736725 w 12139750"/>
              <a:gd name="connsiteY3736" fmla="*/ 566742 h 6858290"/>
              <a:gd name="connsiteX3737" fmla="*/ 8742454 w 12139750"/>
              <a:gd name="connsiteY3737" fmla="*/ 583868 h 6858290"/>
              <a:gd name="connsiteX3738" fmla="*/ 8727178 w 12139750"/>
              <a:gd name="connsiteY3738" fmla="*/ 608605 h 6858290"/>
              <a:gd name="connsiteX3739" fmla="*/ 8391103 w 12139750"/>
              <a:gd name="connsiteY3739" fmla="*/ 825535 h 6858290"/>
              <a:gd name="connsiteX3740" fmla="*/ 8347184 w 12139750"/>
              <a:gd name="connsiteY3740" fmla="*/ 816021 h 6858290"/>
              <a:gd name="connsiteX3741" fmla="*/ 8356731 w 12139750"/>
              <a:gd name="connsiteY3741" fmla="*/ 772254 h 6858290"/>
              <a:gd name="connsiteX3742" fmla="*/ 8692807 w 12139750"/>
              <a:gd name="connsiteY3742" fmla="*/ 557227 h 6858290"/>
              <a:gd name="connsiteX3743" fmla="*/ 8716914 w 12139750"/>
              <a:gd name="connsiteY3743" fmla="*/ 552708 h 6858290"/>
              <a:gd name="connsiteX3744" fmla="*/ 11026758 w 12139750"/>
              <a:gd name="connsiteY3744" fmla="*/ 552682 h 6858290"/>
              <a:gd name="connsiteX3745" fmla="*/ 11046569 w 12139750"/>
              <a:gd name="connsiteY3745" fmla="*/ 566716 h 6858290"/>
              <a:gd name="connsiteX3746" fmla="*/ 11052298 w 12139750"/>
              <a:gd name="connsiteY3746" fmla="*/ 583843 h 6858290"/>
              <a:gd name="connsiteX3747" fmla="*/ 11037022 w 12139750"/>
              <a:gd name="connsiteY3747" fmla="*/ 608580 h 6858290"/>
              <a:gd name="connsiteX3748" fmla="*/ 10700947 w 12139750"/>
              <a:gd name="connsiteY3748" fmla="*/ 825511 h 6858290"/>
              <a:gd name="connsiteX3749" fmla="*/ 10657028 w 12139750"/>
              <a:gd name="connsiteY3749" fmla="*/ 815996 h 6858290"/>
              <a:gd name="connsiteX3750" fmla="*/ 10666575 w 12139750"/>
              <a:gd name="connsiteY3750" fmla="*/ 772230 h 6858290"/>
              <a:gd name="connsiteX3751" fmla="*/ 11002651 w 12139750"/>
              <a:gd name="connsiteY3751" fmla="*/ 557202 h 6858290"/>
              <a:gd name="connsiteX3752" fmla="*/ 11026758 w 12139750"/>
              <a:gd name="connsiteY3752" fmla="*/ 552682 h 6858290"/>
              <a:gd name="connsiteX3753" fmla="*/ 8152845 w 12139750"/>
              <a:gd name="connsiteY3753" fmla="*/ 544127 h 6858290"/>
              <a:gd name="connsiteX3754" fmla="*/ 8173498 w 12139750"/>
              <a:gd name="connsiteY3754" fmla="*/ 559095 h 6858290"/>
              <a:gd name="connsiteX3755" fmla="*/ 8177296 w 12139750"/>
              <a:gd name="connsiteY3755" fmla="*/ 576201 h 6858290"/>
              <a:gd name="connsiteX3756" fmla="*/ 8162103 w 12139750"/>
              <a:gd name="connsiteY3756" fmla="*/ 604711 h 6858290"/>
              <a:gd name="connsiteX3757" fmla="*/ 7825963 w 12139750"/>
              <a:gd name="connsiteY3757" fmla="*/ 808083 h 6858290"/>
              <a:gd name="connsiteX3758" fmla="*/ 7780385 w 12139750"/>
              <a:gd name="connsiteY3758" fmla="*/ 796679 h 6858290"/>
              <a:gd name="connsiteX3759" fmla="*/ 7791780 w 12139750"/>
              <a:gd name="connsiteY3759" fmla="*/ 751063 h 6858290"/>
              <a:gd name="connsiteX3760" fmla="*/ 8127919 w 12139750"/>
              <a:gd name="connsiteY3760" fmla="*/ 547691 h 6858290"/>
              <a:gd name="connsiteX3761" fmla="*/ 8152845 w 12139750"/>
              <a:gd name="connsiteY3761" fmla="*/ 544127 h 6858290"/>
              <a:gd name="connsiteX3762" fmla="*/ 11598067 w 12139750"/>
              <a:gd name="connsiteY3762" fmla="*/ 544120 h 6858290"/>
              <a:gd name="connsiteX3763" fmla="*/ 11618085 w 12139750"/>
              <a:gd name="connsiteY3763" fmla="*/ 559088 h 6858290"/>
              <a:gd name="connsiteX3764" fmla="*/ 11623805 w 12139750"/>
              <a:gd name="connsiteY3764" fmla="*/ 576194 h 6858290"/>
              <a:gd name="connsiteX3765" fmla="*/ 11606646 w 12139750"/>
              <a:gd name="connsiteY3765" fmla="*/ 604704 h 6858290"/>
              <a:gd name="connsiteX3766" fmla="*/ 11271101 w 12139750"/>
              <a:gd name="connsiteY3766" fmla="*/ 808077 h 6858290"/>
              <a:gd name="connsiteX3767" fmla="*/ 11225345 w 12139750"/>
              <a:gd name="connsiteY3767" fmla="*/ 796673 h 6858290"/>
              <a:gd name="connsiteX3768" fmla="*/ 11236784 w 12139750"/>
              <a:gd name="connsiteY3768" fmla="*/ 751056 h 6858290"/>
              <a:gd name="connsiteX3769" fmla="*/ 11572329 w 12139750"/>
              <a:gd name="connsiteY3769" fmla="*/ 547684 h 6858290"/>
              <a:gd name="connsiteX3770" fmla="*/ 11598067 w 12139750"/>
              <a:gd name="connsiteY3770" fmla="*/ 544120 h 6858290"/>
              <a:gd name="connsiteX3771" fmla="*/ 12139750 w 12139750"/>
              <a:gd name="connsiteY3771" fmla="*/ 535003 h 6858290"/>
              <a:gd name="connsiteX3772" fmla="*/ 12139750 w 12139750"/>
              <a:gd name="connsiteY3772" fmla="*/ 616918 h 6858290"/>
              <a:gd name="connsiteX3773" fmla="*/ 11835212 w 12139750"/>
              <a:gd name="connsiteY3773" fmla="*/ 792178 h 6858290"/>
              <a:gd name="connsiteX3774" fmla="*/ 11785725 w 12139750"/>
              <a:gd name="connsiteY3774" fmla="*/ 778843 h 6858290"/>
              <a:gd name="connsiteX3775" fmla="*/ 11799048 w 12139750"/>
              <a:gd name="connsiteY3775" fmla="*/ 729313 h 6858290"/>
              <a:gd name="connsiteX3776" fmla="*/ 12135943 w 12139750"/>
              <a:gd name="connsiteY3776" fmla="*/ 536908 h 6858290"/>
              <a:gd name="connsiteX3777" fmla="*/ 12139750 w 12139750"/>
              <a:gd name="connsiteY3777" fmla="*/ 535003 h 6858290"/>
              <a:gd name="connsiteX3778" fmla="*/ 7595886 w 12139750"/>
              <a:gd name="connsiteY3778" fmla="*/ 534825 h 6858290"/>
              <a:gd name="connsiteX3779" fmla="*/ 7617844 w 12139750"/>
              <a:gd name="connsiteY3779" fmla="*/ 551417 h 6858290"/>
              <a:gd name="connsiteX3780" fmla="*/ 7621663 w 12139750"/>
              <a:gd name="connsiteY3780" fmla="*/ 568482 h 6858290"/>
              <a:gd name="connsiteX3781" fmla="*/ 7604478 w 12139750"/>
              <a:gd name="connsiteY3781" fmla="*/ 600717 h 6858290"/>
              <a:gd name="connsiteX3782" fmla="*/ 7266512 w 12139750"/>
              <a:gd name="connsiteY3782" fmla="*/ 792231 h 6858290"/>
              <a:gd name="connsiteX3783" fmla="*/ 7218776 w 12139750"/>
              <a:gd name="connsiteY3783" fmla="*/ 778957 h 6858290"/>
              <a:gd name="connsiteX3784" fmla="*/ 7230233 w 12139750"/>
              <a:gd name="connsiteY3784" fmla="*/ 729657 h 6858290"/>
              <a:gd name="connsiteX3785" fmla="*/ 7568199 w 12139750"/>
              <a:gd name="connsiteY3785" fmla="*/ 538144 h 6858290"/>
              <a:gd name="connsiteX3786" fmla="*/ 7595886 w 12139750"/>
              <a:gd name="connsiteY3786" fmla="*/ 534825 h 6858290"/>
              <a:gd name="connsiteX3787" fmla="*/ 7044520 w 12139750"/>
              <a:gd name="connsiteY3787" fmla="*/ 526281 h 6858290"/>
              <a:gd name="connsiteX3788" fmla="*/ 7066666 w 12139750"/>
              <a:gd name="connsiteY3788" fmla="*/ 543903 h 6858290"/>
              <a:gd name="connsiteX3789" fmla="*/ 7072381 w 12139750"/>
              <a:gd name="connsiteY3789" fmla="*/ 562953 h 6858290"/>
              <a:gd name="connsiteX3790" fmla="*/ 7051425 w 12139750"/>
              <a:gd name="connsiteY3790" fmla="*/ 595337 h 6858290"/>
              <a:gd name="connsiteX3791" fmla="*/ 6714236 w 12139750"/>
              <a:gd name="connsiteY3791" fmla="*/ 776312 h 6858290"/>
              <a:gd name="connsiteX3792" fmla="*/ 6662800 w 12139750"/>
              <a:gd name="connsiteY3792" fmla="*/ 761072 h 6858290"/>
              <a:gd name="connsiteX3793" fmla="*/ 6678040 w 12139750"/>
              <a:gd name="connsiteY3793" fmla="*/ 709637 h 6858290"/>
              <a:gd name="connsiteX3794" fmla="*/ 7015230 w 12139750"/>
              <a:gd name="connsiteY3794" fmla="*/ 528663 h 6858290"/>
              <a:gd name="connsiteX3795" fmla="*/ 7044520 w 12139750"/>
              <a:gd name="connsiteY3795" fmla="*/ 526281 h 6858290"/>
              <a:gd name="connsiteX3796" fmla="*/ 6500891 w 12139750"/>
              <a:gd name="connsiteY3796" fmla="*/ 517214 h 6858290"/>
              <a:gd name="connsiteX3797" fmla="*/ 6524041 w 12139750"/>
              <a:gd name="connsiteY3797" fmla="*/ 538118 h 6858290"/>
              <a:gd name="connsiteX3798" fmla="*/ 6527860 w 12139750"/>
              <a:gd name="connsiteY3798" fmla="*/ 555221 h 6858290"/>
              <a:gd name="connsiteX3799" fmla="*/ 6506857 w 12139750"/>
              <a:gd name="connsiteY3799" fmla="*/ 591328 h 6858290"/>
              <a:gd name="connsiteX3800" fmla="*/ 6166999 w 12139750"/>
              <a:gd name="connsiteY3800" fmla="*/ 760460 h 6858290"/>
              <a:gd name="connsiteX3801" fmla="*/ 6113538 w 12139750"/>
              <a:gd name="connsiteY3801" fmla="*/ 743357 h 6858290"/>
              <a:gd name="connsiteX3802" fmla="*/ 6130722 w 12139750"/>
              <a:gd name="connsiteY3802" fmla="*/ 690147 h 6858290"/>
              <a:gd name="connsiteX3803" fmla="*/ 6470580 w 12139750"/>
              <a:gd name="connsiteY3803" fmla="*/ 519114 h 6858290"/>
              <a:gd name="connsiteX3804" fmla="*/ 6500891 w 12139750"/>
              <a:gd name="connsiteY3804" fmla="*/ 517214 h 6858290"/>
              <a:gd name="connsiteX3805" fmla="*/ 5942009 w 12139750"/>
              <a:gd name="connsiteY3805" fmla="*/ 506693 h 6858290"/>
              <a:gd name="connsiteX3806" fmla="*/ 5981120 w 12139750"/>
              <a:gd name="connsiteY3806" fmla="*/ 530416 h 6858290"/>
              <a:gd name="connsiteX3807" fmla="*/ 5984930 w 12139750"/>
              <a:gd name="connsiteY3807" fmla="*/ 547475 h 6858290"/>
              <a:gd name="connsiteX3808" fmla="*/ 5962070 w 12139750"/>
              <a:gd name="connsiteY3808" fmla="*/ 585386 h 6858290"/>
              <a:gd name="connsiteX3809" fmla="*/ 5622984 w 12139750"/>
              <a:gd name="connsiteY3809" fmla="*/ 744609 h 6858290"/>
              <a:gd name="connsiteX3810" fmla="*/ 5565833 w 12139750"/>
              <a:gd name="connsiteY3810" fmla="*/ 723759 h 6858290"/>
              <a:gd name="connsiteX3811" fmla="*/ 5586789 w 12139750"/>
              <a:gd name="connsiteY3811" fmla="*/ 668789 h 6858290"/>
              <a:gd name="connsiteX3812" fmla="*/ 5925877 w 12139750"/>
              <a:gd name="connsiteY3812" fmla="*/ 511460 h 6858290"/>
              <a:gd name="connsiteX3813" fmla="*/ 5942009 w 12139750"/>
              <a:gd name="connsiteY3813" fmla="*/ 506693 h 6858290"/>
              <a:gd name="connsiteX3814" fmla="*/ 382532 w 12139750"/>
              <a:gd name="connsiteY3814" fmla="*/ 506681 h 6858290"/>
              <a:gd name="connsiteX3815" fmla="*/ 421644 w 12139750"/>
              <a:gd name="connsiteY3815" fmla="*/ 530405 h 6858290"/>
              <a:gd name="connsiteX3816" fmla="*/ 425454 w 12139750"/>
              <a:gd name="connsiteY3816" fmla="*/ 547464 h 6858290"/>
              <a:gd name="connsiteX3817" fmla="*/ 400689 w 12139750"/>
              <a:gd name="connsiteY3817" fmla="*/ 585374 h 6858290"/>
              <a:gd name="connsiteX3818" fmla="*/ 61595 w 12139750"/>
              <a:gd name="connsiteY3818" fmla="*/ 744598 h 6858290"/>
              <a:gd name="connsiteX3819" fmla="*/ 6349 w 12139750"/>
              <a:gd name="connsiteY3819" fmla="*/ 723747 h 6858290"/>
              <a:gd name="connsiteX3820" fmla="*/ 27305 w 12139750"/>
              <a:gd name="connsiteY3820" fmla="*/ 668777 h 6858290"/>
              <a:gd name="connsiteX3821" fmla="*/ 366399 w 12139750"/>
              <a:gd name="connsiteY3821" fmla="*/ 511449 h 6858290"/>
              <a:gd name="connsiteX3822" fmla="*/ 382532 w 12139750"/>
              <a:gd name="connsiteY3822" fmla="*/ 506681 h 6858290"/>
              <a:gd name="connsiteX3823" fmla="*/ 5409823 w 12139750"/>
              <a:gd name="connsiteY3823" fmla="*/ 500973 h 6858290"/>
              <a:gd name="connsiteX3824" fmla="*/ 5433432 w 12139750"/>
              <a:gd name="connsiteY3824" fmla="*/ 524577 h 6858290"/>
              <a:gd name="connsiteX3825" fmla="*/ 5437247 w 12139750"/>
              <a:gd name="connsiteY3825" fmla="*/ 541744 h 6858290"/>
              <a:gd name="connsiteX3826" fmla="*/ 5410538 w 12139750"/>
              <a:gd name="connsiteY3826" fmla="*/ 581801 h 6858290"/>
              <a:gd name="connsiteX3827" fmla="*/ 5070946 w 12139750"/>
              <a:gd name="connsiteY3827" fmla="*/ 728676 h 6858290"/>
              <a:gd name="connsiteX3828" fmla="*/ 5011810 w 12139750"/>
              <a:gd name="connsiteY3828" fmla="*/ 705786 h 6858290"/>
              <a:gd name="connsiteX3829" fmla="*/ 5034702 w 12139750"/>
              <a:gd name="connsiteY3829" fmla="*/ 648562 h 6858290"/>
              <a:gd name="connsiteX3830" fmla="*/ 5376199 w 12139750"/>
              <a:gd name="connsiteY3830" fmla="*/ 501688 h 6858290"/>
              <a:gd name="connsiteX3831" fmla="*/ 5409823 w 12139750"/>
              <a:gd name="connsiteY3831" fmla="*/ 500973 h 6858290"/>
              <a:gd name="connsiteX3832" fmla="*/ 943575 w 12139750"/>
              <a:gd name="connsiteY3832" fmla="*/ 500959 h 6858290"/>
              <a:gd name="connsiteX3833" fmla="*/ 968066 w 12139750"/>
              <a:gd name="connsiteY3833" fmla="*/ 524564 h 6858290"/>
              <a:gd name="connsiteX3834" fmla="*/ 969968 w 12139750"/>
              <a:gd name="connsiteY3834" fmla="*/ 541731 h 6858290"/>
              <a:gd name="connsiteX3835" fmla="*/ 945239 w 12139750"/>
              <a:gd name="connsiteY3835" fmla="*/ 581788 h 6858290"/>
              <a:gd name="connsiteX3836" fmla="*/ 604741 w 12139750"/>
              <a:gd name="connsiteY3836" fmla="*/ 728662 h 6858290"/>
              <a:gd name="connsiteX3837" fmla="*/ 547674 w 12139750"/>
              <a:gd name="connsiteY3837" fmla="*/ 705773 h 6858290"/>
              <a:gd name="connsiteX3838" fmla="*/ 570501 w 12139750"/>
              <a:gd name="connsiteY3838" fmla="*/ 648549 h 6858290"/>
              <a:gd name="connsiteX3839" fmla="*/ 909097 w 12139750"/>
              <a:gd name="connsiteY3839" fmla="*/ 501674 h 6858290"/>
              <a:gd name="connsiteX3840" fmla="*/ 943575 w 12139750"/>
              <a:gd name="connsiteY3840" fmla="*/ 500959 h 6858290"/>
              <a:gd name="connsiteX3841" fmla="*/ 4841065 w 12139750"/>
              <a:gd name="connsiteY3841" fmla="*/ 488779 h 6858290"/>
              <a:gd name="connsiteX3842" fmla="*/ 4882566 w 12139750"/>
              <a:gd name="connsiteY3842" fmla="*/ 516870 h 6858290"/>
              <a:gd name="connsiteX3843" fmla="*/ 4886373 w 12139750"/>
              <a:gd name="connsiteY3843" fmla="*/ 533993 h 6858290"/>
              <a:gd name="connsiteX3844" fmla="*/ 4855912 w 12139750"/>
              <a:gd name="connsiteY3844" fmla="*/ 577749 h 6858290"/>
              <a:gd name="connsiteX3845" fmla="*/ 4517068 w 12139750"/>
              <a:gd name="connsiteY3845" fmla="*/ 712825 h 6858290"/>
              <a:gd name="connsiteX3846" fmla="*/ 4456150 w 12139750"/>
              <a:gd name="connsiteY3846" fmla="*/ 686191 h 6858290"/>
              <a:gd name="connsiteX3847" fmla="*/ 4482802 w 12139750"/>
              <a:gd name="connsiteY3847" fmla="*/ 627214 h 6858290"/>
              <a:gd name="connsiteX3848" fmla="*/ 4823545 w 12139750"/>
              <a:gd name="connsiteY3848" fmla="*/ 492138 h 6858290"/>
              <a:gd name="connsiteX3849" fmla="*/ 4841065 w 12139750"/>
              <a:gd name="connsiteY3849" fmla="*/ 488779 h 6858290"/>
              <a:gd name="connsiteX3850" fmla="*/ 1475768 w 12139750"/>
              <a:gd name="connsiteY3850" fmla="*/ 488763 h 6858290"/>
              <a:gd name="connsiteX3851" fmla="*/ 1517023 w 12139750"/>
              <a:gd name="connsiteY3851" fmla="*/ 516854 h 6858290"/>
              <a:gd name="connsiteX3852" fmla="*/ 1520833 w 12139750"/>
              <a:gd name="connsiteY3852" fmla="*/ 533977 h 6858290"/>
              <a:gd name="connsiteX3853" fmla="*/ 1492258 w 12139750"/>
              <a:gd name="connsiteY3853" fmla="*/ 577734 h 6858290"/>
              <a:gd name="connsiteX3854" fmla="*/ 1151259 w 12139750"/>
              <a:gd name="connsiteY3854" fmla="*/ 712810 h 6858290"/>
              <a:gd name="connsiteX3855" fmla="*/ 1092203 w 12139750"/>
              <a:gd name="connsiteY3855" fmla="*/ 686175 h 6858290"/>
              <a:gd name="connsiteX3856" fmla="*/ 1116969 w 12139750"/>
              <a:gd name="connsiteY3856" fmla="*/ 627198 h 6858290"/>
              <a:gd name="connsiteX3857" fmla="*/ 1457968 w 12139750"/>
              <a:gd name="connsiteY3857" fmla="*/ 492122 h 6858290"/>
              <a:gd name="connsiteX3858" fmla="*/ 1475768 w 12139750"/>
              <a:gd name="connsiteY3858" fmla="*/ 488763 h 6858290"/>
              <a:gd name="connsiteX3859" fmla="*/ 4284536 w 12139750"/>
              <a:gd name="connsiteY3859" fmla="*/ 479572 h 6858290"/>
              <a:gd name="connsiteX3860" fmla="*/ 4326924 w 12139750"/>
              <a:gd name="connsiteY3860" fmla="*/ 511096 h 6858290"/>
              <a:gd name="connsiteX3861" fmla="*/ 4330739 w 12139750"/>
              <a:gd name="connsiteY3861" fmla="*/ 528194 h 6858290"/>
              <a:gd name="connsiteX3862" fmla="*/ 4298308 w 12139750"/>
              <a:gd name="connsiteY3862" fmla="*/ 571889 h 6858290"/>
              <a:gd name="connsiteX3863" fmla="*/ 3956841 w 12139750"/>
              <a:gd name="connsiteY3863" fmla="*/ 695376 h 6858290"/>
              <a:gd name="connsiteX3864" fmla="*/ 3895790 w 12139750"/>
              <a:gd name="connsiteY3864" fmla="*/ 666879 h 6858290"/>
              <a:gd name="connsiteX3865" fmla="*/ 3924406 w 12139750"/>
              <a:gd name="connsiteY3865" fmla="*/ 606085 h 6858290"/>
              <a:gd name="connsiteX3866" fmla="*/ 4265875 w 12139750"/>
              <a:gd name="connsiteY3866" fmla="*/ 482599 h 6858290"/>
              <a:gd name="connsiteX3867" fmla="*/ 4284536 w 12139750"/>
              <a:gd name="connsiteY3867" fmla="*/ 479572 h 6858290"/>
              <a:gd name="connsiteX3868" fmla="*/ 2030557 w 12139750"/>
              <a:gd name="connsiteY3868" fmla="*/ 479554 h 6858290"/>
              <a:gd name="connsiteX3869" fmla="*/ 2074559 w 12139750"/>
              <a:gd name="connsiteY3869" fmla="*/ 511078 h 6858290"/>
              <a:gd name="connsiteX3870" fmla="*/ 2076466 w 12139750"/>
              <a:gd name="connsiteY3870" fmla="*/ 528177 h 6858290"/>
              <a:gd name="connsiteX3871" fmla="*/ 2045939 w 12139750"/>
              <a:gd name="connsiteY3871" fmla="*/ 571872 h 6858290"/>
              <a:gd name="connsiteX3872" fmla="*/ 1702543 w 12139750"/>
              <a:gd name="connsiteY3872" fmla="*/ 695358 h 6858290"/>
              <a:gd name="connsiteX3873" fmla="*/ 1641495 w 12139750"/>
              <a:gd name="connsiteY3873" fmla="*/ 666862 h 6858290"/>
              <a:gd name="connsiteX3874" fmla="*/ 1670112 w 12139750"/>
              <a:gd name="connsiteY3874" fmla="*/ 606068 h 6858290"/>
              <a:gd name="connsiteX3875" fmla="*/ 2011599 w 12139750"/>
              <a:gd name="connsiteY3875" fmla="*/ 482582 h 6858290"/>
              <a:gd name="connsiteX3876" fmla="*/ 2030557 w 12139750"/>
              <a:gd name="connsiteY3876" fmla="*/ 479554 h 6858290"/>
              <a:gd name="connsiteX3877" fmla="*/ 3723550 w 12139750"/>
              <a:gd name="connsiteY3877" fmla="*/ 470402 h 6858290"/>
              <a:gd name="connsiteX3878" fmla="*/ 3766538 w 12139750"/>
              <a:gd name="connsiteY3878" fmla="*/ 505544 h 6858290"/>
              <a:gd name="connsiteX3879" fmla="*/ 3770359 w 12139750"/>
              <a:gd name="connsiteY3879" fmla="*/ 520805 h 6858290"/>
              <a:gd name="connsiteX3880" fmla="*/ 3734059 w 12139750"/>
              <a:gd name="connsiteY3880" fmla="*/ 568497 h 6858290"/>
              <a:gd name="connsiteX3881" fmla="*/ 3392114 w 12139750"/>
              <a:gd name="connsiteY3881" fmla="*/ 681049 h 6858290"/>
              <a:gd name="connsiteX3882" fmla="*/ 3329067 w 12139750"/>
              <a:gd name="connsiteY3882" fmla="*/ 648619 h 6858290"/>
              <a:gd name="connsiteX3883" fmla="*/ 3359634 w 12139750"/>
              <a:gd name="connsiteY3883" fmla="*/ 585666 h 6858290"/>
              <a:gd name="connsiteX3884" fmla="*/ 3703492 w 12139750"/>
              <a:gd name="connsiteY3884" fmla="*/ 473114 h 6858290"/>
              <a:gd name="connsiteX3885" fmla="*/ 3723550 w 12139750"/>
              <a:gd name="connsiteY3885" fmla="*/ 470402 h 6858290"/>
              <a:gd name="connsiteX3886" fmla="*/ 2590051 w 12139750"/>
              <a:gd name="connsiteY3886" fmla="*/ 470381 h 6858290"/>
              <a:gd name="connsiteX3887" fmla="*/ 2633035 w 12139750"/>
              <a:gd name="connsiteY3887" fmla="*/ 505524 h 6858290"/>
              <a:gd name="connsiteX3888" fmla="*/ 2636856 w 12139750"/>
              <a:gd name="connsiteY3888" fmla="*/ 520785 h 6858290"/>
              <a:gd name="connsiteX3889" fmla="*/ 2600558 w 12139750"/>
              <a:gd name="connsiteY3889" fmla="*/ 568477 h 6858290"/>
              <a:gd name="connsiteX3890" fmla="*/ 2258596 w 12139750"/>
              <a:gd name="connsiteY3890" fmla="*/ 681030 h 6858290"/>
              <a:gd name="connsiteX3891" fmla="*/ 2195553 w 12139750"/>
              <a:gd name="connsiteY3891" fmla="*/ 648599 h 6858290"/>
              <a:gd name="connsiteX3892" fmla="*/ 2226119 w 12139750"/>
              <a:gd name="connsiteY3892" fmla="*/ 585646 h 6858290"/>
              <a:gd name="connsiteX3893" fmla="*/ 2569992 w 12139750"/>
              <a:gd name="connsiteY3893" fmla="*/ 473094 h 6858290"/>
              <a:gd name="connsiteX3894" fmla="*/ 2590051 w 12139750"/>
              <a:gd name="connsiteY3894" fmla="*/ 470381 h 6858290"/>
              <a:gd name="connsiteX3895" fmla="*/ 3153226 w 12139750"/>
              <a:gd name="connsiteY3895" fmla="*/ 461689 h 6858290"/>
              <a:gd name="connsiteX3896" fmla="*/ 3196952 w 12139750"/>
              <a:gd name="connsiteY3896" fmla="*/ 499516 h 6858290"/>
              <a:gd name="connsiteX3897" fmla="*/ 3198860 w 12139750"/>
              <a:gd name="connsiteY3897" fmla="*/ 512871 h 6858290"/>
              <a:gd name="connsiteX3898" fmla="*/ 3162613 w 12139750"/>
              <a:gd name="connsiteY3898" fmla="*/ 564381 h 6858290"/>
              <a:gd name="connsiteX3899" fmla="*/ 2819230 w 12139750"/>
              <a:gd name="connsiteY3899" fmla="*/ 665493 h 6858290"/>
              <a:gd name="connsiteX3900" fmla="*/ 2754365 w 12139750"/>
              <a:gd name="connsiteY3900" fmla="*/ 629246 h 6858290"/>
              <a:gd name="connsiteX3901" fmla="*/ 2788707 w 12139750"/>
              <a:gd name="connsiteY3901" fmla="*/ 564381 h 6858290"/>
              <a:gd name="connsiteX3902" fmla="*/ 3132091 w 12139750"/>
              <a:gd name="connsiteY3902" fmla="*/ 463269 h 6858290"/>
              <a:gd name="connsiteX3903" fmla="*/ 3153226 w 12139750"/>
              <a:gd name="connsiteY3903" fmla="*/ 461689 h 6858290"/>
              <a:gd name="connsiteX3904" fmla="*/ 9865382 w 12139750"/>
              <a:gd name="connsiteY3904" fmla="*/ 251073 h 6858290"/>
              <a:gd name="connsiteX3905" fmla="*/ 9884846 w 12139750"/>
              <a:gd name="connsiteY3905" fmla="*/ 265137 h 6858290"/>
              <a:gd name="connsiteX3906" fmla="*/ 9888644 w 12139750"/>
              <a:gd name="connsiteY3906" fmla="*/ 280394 h 6858290"/>
              <a:gd name="connsiteX3907" fmla="*/ 9875351 w 12139750"/>
              <a:gd name="connsiteY3907" fmla="*/ 305186 h 6858290"/>
              <a:gd name="connsiteX3908" fmla="*/ 9543036 w 12139750"/>
              <a:gd name="connsiteY3908" fmla="*/ 530219 h 6858290"/>
              <a:gd name="connsiteX3909" fmla="*/ 9501259 w 12139750"/>
              <a:gd name="connsiteY3909" fmla="*/ 520684 h 6858290"/>
              <a:gd name="connsiteX3910" fmla="*/ 9508855 w 12139750"/>
              <a:gd name="connsiteY3910" fmla="*/ 480636 h 6858290"/>
              <a:gd name="connsiteX3911" fmla="*/ 9843069 w 12139750"/>
              <a:gd name="connsiteY3911" fmla="*/ 255602 h 6858290"/>
              <a:gd name="connsiteX3912" fmla="*/ 9865382 w 12139750"/>
              <a:gd name="connsiteY3912" fmla="*/ 251073 h 6858290"/>
              <a:gd name="connsiteX3913" fmla="*/ 9288660 w 12139750"/>
              <a:gd name="connsiteY3913" fmla="*/ 242274 h 6858290"/>
              <a:gd name="connsiteX3914" fmla="*/ 9308232 w 12139750"/>
              <a:gd name="connsiteY3914" fmla="*/ 255594 h 6858290"/>
              <a:gd name="connsiteX3915" fmla="*/ 9313961 w 12139750"/>
              <a:gd name="connsiteY3915" fmla="*/ 272720 h 6858290"/>
              <a:gd name="connsiteX3916" fmla="*/ 9298685 w 12139750"/>
              <a:gd name="connsiteY3916" fmla="*/ 299361 h 6858290"/>
              <a:gd name="connsiteX3917" fmla="*/ 8962610 w 12139750"/>
              <a:gd name="connsiteY3917" fmla="*/ 514388 h 6858290"/>
              <a:gd name="connsiteX3918" fmla="*/ 8918691 w 12139750"/>
              <a:gd name="connsiteY3918" fmla="*/ 504873 h 6858290"/>
              <a:gd name="connsiteX3919" fmla="*/ 8928238 w 12139750"/>
              <a:gd name="connsiteY3919" fmla="*/ 461107 h 6858290"/>
              <a:gd name="connsiteX3920" fmla="*/ 9266223 w 12139750"/>
              <a:gd name="connsiteY3920" fmla="*/ 246080 h 6858290"/>
              <a:gd name="connsiteX3921" fmla="*/ 9288660 w 12139750"/>
              <a:gd name="connsiteY3921" fmla="*/ 242274 h 6858290"/>
              <a:gd name="connsiteX3922" fmla="*/ 10450170 w 12139750"/>
              <a:gd name="connsiteY3922" fmla="*/ 242248 h 6858290"/>
              <a:gd name="connsiteX3923" fmla="*/ 10470633 w 12139750"/>
              <a:gd name="connsiteY3923" fmla="*/ 255569 h 6858290"/>
              <a:gd name="connsiteX3924" fmla="*/ 10474440 w 12139750"/>
              <a:gd name="connsiteY3924" fmla="*/ 272695 h 6858290"/>
              <a:gd name="connsiteX3925" fmla="*/ 10461115 w 12139750"/>
              <a:gd name="connsiteY3925" fmla="*/ 299335 h 6858290"/>
              <a:gd name="connsiteX3926" fmla="*/ 10124192 w 12139750"/>
              <a:gd name="connsiteY3926" fmla="*/ 514363 h 6858290"/>
              <a:gd name="connsiteX3927" fmla="*/ 10082315 w 12139750"/>
              <a:gd name="connsiteY3927" fmla="*/ 504848 h 6858290"/>
              <a:gd name="connsiteX3928" fmla="*/ 10091832 w 12139750"/>
              <a:gd name="connsiteY3928" fmla="*/ 461082 h 6858290"/>
              <a:gd name="connsiteX3929" fmla="*/ 10426852 w 12139750"/>
              <a:gd name="connsiteY3929" fmla="*/ 246054 h 6858290"/>
              <a:gd name="connsiteX3930" fmla="*/ 10450170 w 12139750"/>
              <a:gd name="connsiteY3930" fmla="*/ 242248 h 6858290"/>
              <a:gd name="connsiteX3931" fmla="*/ 8718303 w 12139750"/>
              <a:gd name="connsiteY3931" fmla="*/ 233007 h 6858290"/>
              <a:gd name="connsiteX3932" fmla="*/ 8738321 w 12139750"/>
              <a:gd name="connsiteY3932" fmla="*/ 248042 h 6858290"/>
              <a:gd name="connsiteX3933" fmla="*/ 8744041 w 12139750"/>
              <a:gd name="connsiteY3933" fmla="*/ 265226 h 6858290"/>
              <a:gd name="connsiteX3934" fmla="*/ 8728789 w 12139750"/>
              <a:gd name="connsiteY3934" fmla="*/ 293865 h 6858290"/>
              <a:gd name="connsiteX3935" fmla="*/ 8391337 w 12139750"/>
              <a:gd name="connsiteY3935" fmla="*/ 500068 h 6858290"/>
              <a:gd name="connsiteX3936" fmla="*/ 8345581 w 12139750"/>
              <a:gd name="connsiteY3936" fmla="*/ 488612 h 6858290"/>
              <a:gd name="connsiteX3937" fmla="*/ 8357020 w 12139750"/>
              <a:gd name="connsiteY3937" fmla="*/ 442790 h 6858290"/>
              <a:gd name="connsiteX3938" fmla="*/ 8692565 w 12139750"/>
              <a:gd name="connsiteY3938" fmla="*/ 236587 h 6858290"/>
              <a:gd name="connsiteX3939" fmla="*/ 8718303 w 12139750"/>
              <a:gd name="connsiteY3939" fmla="*/ 233007 h 6858290"/>
              <a:gd name="connsiteX3940" fmla="*/ 11027432 w 12139750"/>
              <a:gd name="connsiteY3940" fmla="*/ 232979 h 6858290"/>
              <a:gd name="connsiteX3941" fmla="*/ 11048165 w 12139750"/>
              <a:gd name="connsiteY3941" fmla="*/ 248015 h 6858290"/>
              <a:gd name="connsiteX3942" fmla="*/ 11053885 w 12139750"/>
              <a:gd name="connsiteY3942" fmla="*/ 265198 h 6858290"/>
              <a:gd name="connsiteX3943" fmla="*/ 11036726 w 12139750"/>
              <a:gd name="connsiteY3943" fmla="*/ 293838 h 6858290"/>
              <a:gd name="connsiteX3944" fmla="*/ 10701181 w 12139750"/>
              <a:gd name="connsiteY3944" fmla="*/ 500041 h 6858290"/>
              <a:gd name="connsiteX3945" fmla="*/ 10655425 w 12139750"/>
              <a:gd name="connsiteY3945" fmla="*/ 488585 h 6858290"/>
              <a:gd name="connsiteX3946" fmla="*/ 10666864 w 12139750"/>
              <a:gd name="connsiteY3946" fmla="*/ 442762 h 6858290"/>
              <a:gd name="connsiteX3947" fmla="*/ 11002409 w 12139750"/>
              <a:gd name="connsiteY3947" fmla="*/ 236559 h 6858290"/>
              <a:gd name="connsiteX3948" fmla="*/ 11027432 w 12139750"/>
              <a:gd name="connsiteY3948" fmla="*/ 232979 h 6858290"/>
              <a:gd name="connsiteX3949" fmla="*/ 8154912 w 12139750"/>
              <a:gd name="connsiteY3949" fmla="*/ 223468 h 6858290"/>
              <a:gd name="connsiteX3950" fmla="*/ 8176649 w 12139750"/>
              <a:gd name="connsiteY3950" fmla="*/ 238470 h 6858290"/>
              <a:gd name="connsiteX3951" fmla="*/ 8180471 w 12139750"/>
              <a:gd name="connsiteY3951" fmla="*/ 257520 h 6858290"/>
              <a:gd name="connsiteX3952" fmla="*/ 8163273 w 12139750"/>
              <a:gd name="connsiteY3952" fmla="*/ 288000 h 6858290"/>
              <a:gd name="connsiteX3953" fmla="*/ 7825042 w 12139750"/>
              <a:gd name="connsiteY3953" fmla="*/ 484214 h 6858290"/>
              <a:gd name="connsiteX3954" fmla="*/ 7777269 w 12139750"/>
              <a:gd name="connsiteY3954" fmla="*/ 470879 h 6858290"/>
              <a:gd name="connsiteX3955" fmla="*/ 7790646 w 12139750"/>
              <a:gd name="connsiteY3955" fmla="*/ 423255 h 6858290"/>
              <a:gd name="connsiteX3956" fmla="*/ 8128876 w 12139750"/>
              <a:gd name="connsiteY3956" fmla="*/ 227040 h 6858290"/>
              <a:gd name="connsiteX3957" fmla="*/ 8154912 w 12139750"/>
              <a:gd name="connsiteY3957" fmla="*/ 223468 h 6858290"/>
              <a:gd name="connsiteX3958" fmla="*/ 11598743 w 12139750"/>
              <a:gd name="connsiteY3958" fmla="*/ 223460 h 6858290"/>
              <a:gd name="connsiteX3959" fmla="*/ 11619682 w 12139750"/>
              <a:gd name="connsiteY3959" fmla="*/ 238461 h 6858290"/>
              <a:gd name="connsiteX3960" fmla="*/ 11625393 w 12139750"/>
              <a:gd name="connsiteY3960" fmla="*/ 257511 h 6858290"/>
              <a:gd name="connsiteX3961" fmla="*/ 11608261 w 12139750"/>
              <a:gd name="connsiteY3961" fmla="*/ 287991 h 6858290"/>
              <a:gd name="connsiteX3962" fmla="*/ 11271332 w 12139750"/>
              <a:gd name="connsiteY3962" fmla="*/ 484206 h 6858290"/>
              <a:gd name="connsiteX3963" fmla="*/ 11223743 w 12139750"/>
              <a:gd name="connsiteY3963" fmla="*/ 470871 h 6858290"/>
              <a:gd name="connsiteX3964" fmla="*/ 11237068 w 12139750"/>
              <a:gd name="connsiteY3964" fmla="*/ 423246 h 6858290"/>
              <a:gd name="connsiteX3965" fmla="*/ 11572093 w 12139750"/>
              <a:gd name="connsiteY3965" fmla="*/ 227031 h 6858290"/>
              <a:gd name="connsiteX3966" fmla="*/ 11598743 w 12139750"/>
              <a:gd name="connsiteY3966" fmla="*/ 223460 h 6858290"/>
              <a:gd name="connsiteX3967" fmla="*/ 12139750 w 12139750"/>
              <a:gd name="connsiteY3967" fmla="*/ 215916 h 6858290"/>
              <a:gd name="connsiteX3968" fmla="*/ 12139750 w 12139750"/>
              <a:gd name="connsiteY3968" fmla="*/ 297535 h 6858290"/>
              <a:gd name="connsiteX3969" fmla="*/ 11835475 w 12139750"/>
              <a:gd name="connsiteY3969" fmla="*/ 466465 h 6858290"/>
              <a:gd name="connsiteX3970" fmla="*/ 11784129 w 12139750"/>
              <a:gd name="connsiteY3970" fmla="*/ 453179 h 6858290"/>
              <a:gd name="connsiteX3971" fmla="*/ 11799342 w 12139750"/>
              <a:gd name="connsiteY3971" fmla="*/ 403828 h 6858290"/>
              <a:gd name="connsiteX3972" fmla="*/ 12135947 w 12139750"/>
              <a:gd name="connsiteY3972" fmla="*/ 217814 h 6858290"/>
              <a:gd name="connsiteX3973" fmla="*/ 12139750 w 12139750"/>
              <a:gd name="connsiteY3973" fmla="*/ 215916 h 6858290"/>
              <a:gd name="connsiteX3974" fmla="*/ 7596540 w 12139750"/>
              <a:gd name="connsiteY3974" fmla="*/ 214167 h 6858290"/>
              <a:gd name="connsiteX3975" fmla="*/ 7619435 w 12139750"/>
              <a:gd name="connsiteY3975" fmla="*/ 230796 h 6858290"/>
              <a:gd name="connsiteX3976" fmla="*/ 7623251 w 12139750"/>
              <a:gd name="connsiteY3976" fmla="*/ 247901 h 6858290"/>
              <a:gd name="connsiteX3977" fmla="*/ 7604171 w 12139750"/>
              <a:gd name="connsiteY3977" fmla="*/ 280210 h 6858290"/>
              <a:gd name="connsiteX3978" fmla="*/ 7266466 w 12139750"/>
              <a:gd name="connsiteY3978" fmla="*/ 466461 h 6858290"/>
              <a:gd name="connsiteX3979" fmla="*/ 7216859 w 12139750"/>
              <a:gd name="connsiteY3979" fmla="*/ 453158 h 6858290"/>
              <a:gd name="connsiteX3980" fmla="*/ 7230215 w 12139750"/>
              <a:gd name="connsiteY3980" fmla="*/ 403744 h 6858290"/>
              <a:gd name="connsiteX3981" fmla="*/ 7567920 w 12139750"/>
              <a:gd name="connsiteY3981" fmla="*/ 217493 h 6858290"/>
              <a:gd name="connsiteX3982" fmla="*/ 7596540 w 12139750"/>
              <a:gd name="connsiteY3982" fmla="*/ 214167 h 6858290"/>
              <a:gd name="connsiteX3983" fmla="*/ 7044758 w 12139750"/>
              <a:gd name="connsiteY3983" fmla="*/ 204259 h 6858290"/>
              <a:gd name="connsiteX3984" fmla="*/ 7068571 w 12139750"/>
              <a:gd name="connsiteY3984" fmla="*/ 223547 h 6858290"/>
              <a:gd name="connsiteX3985" fmla="*/ 7072381 w 12139750"/>
              <a:gd name="connsiteY3985" fmla="*/ 240692 h 6858290"/>
              <a:gd name="connsiteX3986" fmla="*/ 7051425 w 12139750"/>
              <a:gd name="connsiteY3986" fmla="*/ 274982 h 6858290"/>
              <a:gd name="connsiteX3987" fmla="*/ 6714236 w 12139750"/>
              <a:gd name="connsiteY3987" fmla="*/ 452146 h 6858290"/>
              <a:gd name="connsiteX3988" fmla="*/ 6662800 w 12139750"/>
              <a:gd name="connsiteY3988" fmla="*/ 436906 h 6858290"/>
              <a:gd name="connsiteX3989" fmla="*/ 6678040 w 12139750"/>
              <a:gd name="connsiteY3989" fmla="*/ 385472 h 6858290"/>
              <a:gd name="connsiteX3990" fmla="*/ 7015230 w 12139750"/>
              <a:gd name="connsiteY3990" fmla="*/ 206402 h 6858290"/>
              <a:gd name="connsiteX3991" fmla="*/ 7044758 w 12139750"/>
              <a:gd name="connsiteY3991" fmla="*/ 204259 h 6858290"/>
              <a:gd name="connsiteX3992" fmla="*/ 6500891 w 12139750"/>
              <a:gd name="connsiteY3992" fmla="*/ 194963 h 6858290"/>
              <a:gd name="connsiteX3993" fmla="*/ 6524041 w 12139750"/>
              <a:gd name="connsiteY3993" fmla="*/ 215892 h 6858290"/>
              <a:gd name="connsiteX3994" fmla="*/ 6527860 w 12139750"/>
              <a:gd name="connsiteY3994" fmla="*/ 233016 h 6858290"/>
              <a:gd name="connsiteX3995" fmla="*/ 6506857 w 12139750"/>
              <a:gd name="connsiteY3995" fmla="*/ 269166 h 6858290"/>
              <a:gd name="connsiteX3996" fmla="*/ 6166999 w 12139750"/>
              <a:gd name="connsiteY3996" fmla="*/ 436601 h 6858290"/>
              <a:gd name="connsiteX3997" fmla="*/ 6113538 w 12139750"/>
              <a:gd name="connsiteY3997" fmla="*/ 419477 h 6858290"/>
              <a:gd name="connsiteX3998" fmla="*/ 6130722 w 12139750"/>
              <a:gd name="connsiteY3998" fmla="*/ 366202 h 6858290"/>
              <a:gd name="connsiteX3999" fmla="*/ 6470580 w 12139750"/>
              <a:gd name="connsiteY3999" fmla="*/ 196865 h 6858290"/>
              <a:gd name="connsiteX4000" fmla="*/ 6500891 w 12139750"/>
              <a:gd name="connsiteY4000" fmla="*/ 194963 h 6858290"/>
              <a:gd name="connsiteX4001" fmla="*/ 5957785 w 12139750"/>
              <a:gd name="connsiteY4001" fmla="*/ 186367 h 6858290"/>
              <a:gd name="connsiteX4002" fmla="*/ 5981120 w 12139750"/>
              <a:gd name="connsiteY4002" fmla="*/ 208192 h 6858290"/>
              <a:gd name="connsiteX4003" fmla="*/ 5984930 w 12139750"/>
              <a:gd name="connsiteY4003" fmla="*/ 225273 h 6858290"/>
              <a:gd name="connsiteX4004" fmla="*/ 5962070 w 12139750"/>
              <a:gd name="connsiteY4004" fmla="*/ 263230 h 6858290"/>
              <a:gd name="connsiteX4005" fmla="*/ 5622984 w 12139750"/>
              <a:gd name="connsiteY4005" fmla="*/ 420750 h 6858290"/>
              <a:gd name="connsiteX4006" fmla="*/ 5567739 w 12139750"/>
              <a:gd name="connsiteY4006" fmla="*/ 401772 h 6858290"/>
              <a:gd name="connsiteX4007" fmla="*/ 5586789 w 12139750"/>
              <a:gd name="connsiteY4007" fmla="*/ 346734 h 6858290"/>
              <a:gd name="connsiteX4008" fmla="*/ 5925877 w 12139750"/>
              <a:gd name="connsiteY4008" fmla="*/ 187316 h 6858290"/>
              <a:gd name="connsiteX4009" fmla="*/ 5957785 w 12139750"/>
              <a:gd name="connsiteY4009" fmla="*/ 186367 h 6858290"/>
              <a:gd name="connsiteX4010" fmla="*/ 398308 w 12139750"/>
              <a:gd name="connsiteY4010" fmla="*/ 186354 h 6858290"/>
              <a:gd name="connsiteX4011" fmla="*/ 421644 w 12139750"/>
              <a:gd name="connsiteY4011" fmla="*/ 208179 h 6858290"/>
              <a:gd name="connsiteX4012" fmla="*/ 425454 w 12139750"/>
              <a:gd name="connsiteY4012" fmla="*/ 225260 h 6858290"/>
              <a:gd name="connsiteX4013" fmla="*/ 400689 w 12139750"/>
              <a:gd name="connsiteY4013" fmla="*/ 263217 h 6858290"/>
              <a:gd name="connsiteX4014" fmla="*/ 61595 w 12139750"/>
              <a:gd name="connsiteY4014" fmla="*/ 420738 h 6858290"/>
              <a:gd name="connsiteX4015" fmla="*/ 6349 w 12139750"/>
              <a:gd name="connsiteY4015" fmla="*/ 401759 h 6858290"/>
              <a:gd name="connsiteX4016" fmla="*/ 27305 w 12139750"/>
              <a:gd name="connsiteY4016" fmla="*/ 346722 h 6858290"/>
              <a:gd name="connsiteX4017" fmla="*/ 366399 w 12139750"/>
              <a:gd name="connsiteY4017" fmla="*/ 187303 h 6858290"/>
              <a:gd name="connsiteX4018" fmla="*/ 398308 w 12139750"/>
              <a:gd name="connsiteY4018" fmla="*/ 186354 h 6858290"/>
              <a:gd name="connsiteX4019" fmla="*/ 5409190 w 12139750"/>
              <a:gd name="connsiteY4019" fmla="*/ 176874 h 6858290"/>
              <a:gd name="connsiteX4020" fmla="*/ 5433442 w 12139750"/>
              <a:gd name="connsiteY4020" fmla="*/ 198782 h 6858290"/>
              <a:gd name="connsiteX4021" fmla="*/ 5437247 w 12139750"/>
              <a:gd name="connsiteY4021" fmla="*/ 217832 h 6858290"/>
              <a:gd name="connsiteX4022" fmla="*/ 5410617 w 12139750"/>
              <a:gd name="connsiteY4022" fmla="*/ 255932 h 6858290"/>
              <a:gd name="connsiteX4023" fmla="*/ 5072019 w 12139750"/>
              <a:gd name="connsiteY4023" fmla="*/ 406426 h 6858290"/>
              <a:gd name="connsiteX4024" fmla="*/ 5014958 w 12139750"/>
              <a:gd name="connsiteY4024" fmla="*/ 385471 h 6858290"/>
              <a:gd name="connsiteX4025" fmla="*/ 5035880 w 12139750"/>
              <a:gd name="connsiteY4025" fmla="*/ 328321 h 6858290"/>
              <a:gd name="connsiteX4026" fmla="*/ 5376377 w 12139750"/>
              <a:gd name="connsiteY4026" fmla="*/ 177827 h 6858290"/>
              <a:gd name="connsiteX4027" fmla="*/ 5409190 w 12139750"/>
              <a:gd name="connsiteY4027" fmla="*/ 176874 h 6858290"/>
              <a:gd name="connsiteX4028" fmla="*/ 942624 w 12139750"/>
              <a:gd name="connsiteY4028" fmla="*/ 176859 h 6858290"/>
              <a:gd name="connsiteX4029" fmla="*/ 966164 w 12139750"/>
              <a:gd name="connsiteY4029" fmla="*/ 198766 h 6858290"/>
              <a:gd name="connsiteX4030" fmla="*/ 969968 w 12139750"/>
              <a:gd name="connsiteY4030" fmla="*/ 217816 h 6858290"/>
              <a:gd name="connsiteX4031" fmla="*/ 945239 w 12139750"/>
              <a:gd name="connsiteY4031" fmla="*/ 255916 h 6858290"/>
              <a:gd name="connsiteX4032" fmla="*/ 604741 w 12139750"/>
              <a:gd name="connsiteY4032" fmla="*/ 406411 h 6858290"/>
              <a:gd name="connsiteX4033" fmla="*/ 547674 w 12139750"/>
              <a:gd name="connsiteY4033" fmla="*/ 385456 h 6858290"/>
              <a:gd name="connsiteX4034" fmla="*/ 570501 w 12139750"/>
              <a:gd name="connsiteY4034" fmla="*/ 328306 h 6858290"/>
              <a:gd name="connsiteX4035" fmla="*/ 909097 w 12139750"/>
              <a:gd name="connsiteY4035" fmla="*/ 177812 h 6858290"/>
              <a:gd name="connsiteX4036" fmla="*/ 942624 w 12139750"/>
              <a:gd name="connsiteY4036" fmla="*/ 176859 h 6858290"/>
              <a:gd name="connsiteX4037" fmla="*/ 4856423 w 12139750"/>
              <a:gd name="connsiteY4037" fmla="*/ 167564 h 6858290"/>
              <a:gd name="connsiteX4038" fmla="*/ 4880971 w 12139750"/>
              <a:gd name="connsiteY4038" fmla="*/ 191077 h 6858290"/>
              <a:gd name="connsiteX4039" fmla="*/ 4884786 w 12139750"/>
              <a:gd name="connsiteY4039" fmla="*/ 208176 h 6858290"/>
              <a:gd name="connsiteX4040" fmla="*/ 4856184 w 12139750"/>
              <a:gd name="connsiteY4040" fmla="*/ 249976 h 6858290"/>
              <a:gd name="connsiteX4041" fmla="*/ 4516851 w 12139750"/>
              <a:gd name="connsiteY4041" fmla="*/ 390576 h 6858290"/>
              <a:gd name="connsiteX4042" fmla="*/ 4457750 w 12139750"/>
              <a:gd name="connsiteY4042" fmla="*/ 367776 h 6858290"/>
              <a:gd name="connsiteX4043" fmla="*/ 4482534 w 12139750"/>
              <a:gd name="connsiteY4043" fmla="*/ 308876 h 6858290"/>
              <a:gd name="connsiteX4044" fmla="*/ 4821864 w 12139750"/>
              <a:gd name="connsiteY4044" fmla="*/ 168277 h 6858290"/>
              <a:gd name="connsiteX4045" fmla="*/ 4856423 w 12139750"/>
              <a:gd name="connsiteY4045" fmla="*/ 167564 h 6858290"/>
              <a:gd name="connsiteX4046" fmla="*/ 1492476 w 12139750"/>
              <a:gd name="connsiteY4046" fmla="*/ 167547 h 6858290"/>
              <a:gd name="connsiteX4047" fmla="*/ 1517021 w 12139750"/>
              <a:gd name="connsiteY4047" fmla="*/ 191059 h 6858290"/>
              <a:gd name="connsiteX4048" fmla="*/ 1520833 w 12139750"/>
              <a:gd name="connsiteY4048" fmla="*/ 208159 h 6858290"/>
              <a:gd name="connsiteX4049" fmla="*/ 1492237 w 12139750"/>
              <a:gd name="connsiteY4049" fmla="*/ 249959 h 6858290"/>
              <a:gd name="connsiteX4050" fmla="*/ 1150990 w 12139750"/>
              <a:gd name="connsiteY4050" fmla="*/ 390559 h 6858290"/>
              <a:gd name="connsiteX4051" fmla="*/ 1093798 w 12139750"/>
              <a:gd name="connsiteY4051" fmla="*/ 367759 h 6858290"/>
              <a:gd name="connsiteX4052" fmla="*/ 1116675 w 12139750"/>
              <a:gd name="connsiteY4052" fmla="*/ 308859 h 6858290"/>
              <a:gd name="connsiteX4053" fmla="*/ 1457922 w 12139750"/>
              <a:gd name="connsiteY4053" fmla="*/ 168259 h 6858290"/>
              <a:gd name="connsiteX4054" fmla="*/ 1492476 w 12139750"/>
              <a:gd name="connsiteY4054" fmla="*/ 167547 h 6858290"/>
              <a:gd name="connsiteX4055" fmla="*/ 4266102 w 12139750"/>
              <a:gd name="connsiteY4055" fmla="*/ 156882 h 6858290"/>
              <a:gd name="connsiteX4056" fmla="*/ 4325330 w 12139750"/>
              <a:gd name="connsiteY4056" fmla="*/ 183588 h 6858290"/>
              <a:gd name="connsiteX4057" fmla="*/ 4329151 w 12139750"/>
              <a:gd name="connsiteY4057" fmla="*/ 200756 h 6858290"/>
              <a:gd name="connsiteX4058" fmla="*/ 4298581 w 12139750"/>
              <a:gd name="connsiteY4058" fmla="*/ 244630 h 6858290"/>
              <a:gd name="connsiteX4059" fmla="*/ 3956620 w 12139750"/>
              <a:gd name="connsiteY4059" fmla="*/ 376251 h 6858290"/>
              <a:gd name="connsiteX4060" fmla="*/ 3897391 w 12139750"/>
              <a:gd name="connsiteY4060" fmla="*/ 349546 h 6858290"/>
              <a:gd name="connsiteX4061" fmla="*/ 3924139 w 12139750"/>
              <a:gd name="connsiteY4061" fmla="*/ 290411 h 6858290"/>
              <a:gd name="connsiteX4062" fmla="*/ 4266102 w 12139750"/>
              <a:gd name="connsiteY4062" fmla="*/ 156882 h 6858290"/>
              <a:gd name="connsiteX4063" fmla="*/ 2010467 w 12139750"/>
              <a:gd name="connsiteY4063" fmla="*/ 156862 h 6858290"/>
              <a:gd name="connsiteX4064" fmla="*/ 2071389 w 12139750"/>
              <a:gd name="connsiteY4064" fmla="*/ 183568 h 6858290"/>
              <a:gd name="connsiteX4065" fmla="*/ 2073291 w 12139750"/>
              <a:gd name="connsiteY4065" fmla="*/ 200736 h 6858290"/>
              <a:gd name="connsiteX4066" fmla="*/ 2044733 w 12139750"/>
              <a:gd name="connsiteY4066" fmla="*/ 244610 h 6858290"/>
              <a:gd name="connsiteX4067" fmla="*/ 1703979 w 12139750"/>
              <a:gd name="connsiteY4067" fmla="*/ 376232 h 6858290"/>
              <a:gd name="connsiteX4068" fmla="*/ 1643062 w 12139750"/>
              <a:gd name="connsiteY4068" fmla="*/ 349526 h 6858290"/>
              <a:gd name="connsiteX4069" fmla="*/ 1669713 w 12139750"/>
              <a:gd name="connsiteY4069" fmla="*/ 290392 h 6858290"/>
              <a:gd name="connsiteX4070" fmla="*/ 2010467 w 12139750"/>
              <a:gd name="connsiteY4070" fmla="*/ 156862 h 6858290"/>
              <a:gd name="connsiteX4071" fmla="*/ 3720655 w 12139750"/>
              <a:gd name="connsiteY4071" fmla="*/ 144611 h 6858290"/>
              <a:gd name="connsiteX4072" fmla="*/ 3763695 w 12139750"/>
              <a:gd name="connsiteY4072" fmla="*/ 176135 h 6858290"/>
              <a:gd name="connsiteX4073" fmla="*/ 3765597 w 12139750"/>
              <a:gd name="connsiteY4073" fmla="*/ 193233 h 6858290"/>
              <a:gd name="connsiteX4074" fmla="*/ 3735180 w 12139750"/>
              <a:gd name="connsiteY4074" fmla="*/ 238828 h 6858290"/>
              <a:gd name="connsiteX4075" fmla="*/ 3393026 w 12139750"/>
              <a:gd name="connsiteY4075" fmla="*/ 360415 h 6858290"/>
              <a:gd name="connsiteX4076" fmla="*/ 3332194 w 12139750"/>
              <a:gd name="connsiteY4076" fmla="*/ 331918 h 6858290"/>
              <a:gd name="connsiteX4077" fmla="*/ 3360709 w 12139750"/>
              <a:gd name="connsiteY4077" fmla="*/ 271125 h 6858290"/>
              <a:gd name="connsiteX4078" fmla="*/ 3700965 w 12139750"/>
              <a:gd name="connsiteY4078" fmla="*/ 147639 h 6858290"/>
              <a:gd name="connsiteX4079" fmla="*/ 3720655 w 12139750"/>
              <a:gd name="connsiteY4079" fmla="*/ 144611 h 6858290"/>
              <a:gd name="connsiteX4080" fmla="*/ 2586993 w 12139750"/>
              <a:gd name="connsiteY4080" fmla="*/ 144589 h 6858290"/>
              <a:gd name="connsiteX4081" fmla="*/ 2630185 w 12139750"/>
              <a:gd name="connsiteY4081" fmla="*/ 176114 h 6858290"/>
              <a:gd name="connsiteX4082" fmla="*/ 2632093 w 12139750"/>
              <a:gd name="connsiteY4082" fmla="*/ 193212 h 6858290"/>
              <a:gd name="connsiteX4083" fmla="*/ 2601569 w 12139750"/>
              <a:gd name="connsiteY4083" fmla="*/ 238807 h 6858290"/>
              <a:gd name="connsiteX4084" fmla="*/ 2258175 w 12139750"/>
              <a:gd name="connsiteY4084" fmla="*/ 360394 h 6858290"/>
              <a:gd name="connsiteX4085" fmla="*/ 2197127 w 12139750"/>
              <a:gd name="connsiteY4085" fmla="*/ 331897 h 6858290"/>
              <a:gd name="connsiteX4086" fmla="*/ 2225743 w 12139750"/>
              <a:gd name="connsiteY4086" fmla="*/ 271103 h 6858290"/>
              <a:gd name="connsiteX4087" fmla="*/ 2567230 w 12139750"/>
              <a:gd name="connsiteY4087" fmla="*/ 147617 h 6858290"/>
              <a:gd name="connsiteX4088" fmla="*/ 2586993 w 12139750"/>
              <a:gd name="connsiteY4088" fmla="*/ 144589 h 6858290"/>
              <a:gd name="connsiteX4089" fmla="*/ 3149046 w 12139750"/>
              <a:gd name="connsiteY4089" fmla="*/ 135364 h 6858290"/>
              <a:gd name="connsiteX4090" fmla="*/ 3191880 w 12139750"/>
              <a:gd name="connsiteY4090" fmla="*/ 168396 h 6858290"/>
              <a:gd name="connsiteX4091" fmla="*/ 3195686 w 12139750"/>
              <a:gd name="connsiteY4091" fmla="*/ 185444 h 6858290"/>
              <a:gd name="connsiteX4092" fmla="*/ 3161419 w 12139750"/>
              <a:gd name="connsiteY4092" fmla="*/ 232802 h 6858290"/>
              <a:gd name="connsiteX4093" fmla="*/ 2818756 w 12139750"/>
              <a:gd name="connsiteY4093" fmla="*/ 344567 h 6858290"/>
              <a:gd name="connsiteX4094" fmla="*/ 2755934 w 12139750"/>
              <a:gd name="connsiteY4094" fmla="*/ 314258 h 6858290"/>
              <a:gd name="connsiteX4095" fmla="*/ 2788294 w 12139750"/>
              <a:gd name="connsiteY4095" fmla="*/ 249851 h 6858290"/>
              <a:gd name="connsiteX4096" fmla="*/ 3129057 w 12139750"/>
              <a:gd name="connsiteY4096" fmla="*/ 138087 h 6858290"/>
              <a:gd name="connsiteX4097" fmla="*/ 3149046 w 12139750"/>
              <a:gd name="connsiteY4097" fmla="*/ 135364 h 6858290"/>
              <a:gd name="connsiteX4098" fmla="*/ 9144187 w 12139750"/>
              <a:gd name="connsiteY4098" fmla="*/ 30 h 6858290"/>
              <a:gd name="connsiteX4099" fmla="*/ 9275861 w 12139750"/>
              <a:gd name="connsiteY4099" fmla="*/ 30 h 6858290"/>
              <a:gd name="connsiteX4100" fmla="*/ 8962897 w 12139750"/>
              <a:gd name="connsiteY4100" fmla="*/ 187323 h 6858290"/>
              <a:gd name="connsiteX4101" fmla="*/ 8917098 w 12139750"/>
              <a:gd name="connsiteY4101" fmla="*/ 175856 h 6858290"/>
              <a:gd name="connsiteX4102" fmla="*/ 8928547 w 12139750"/>
              <a:gd name="connsiteY4102" fmla="*/ 129989 h 6858290"/>
              <a:gd name="connsiteX4103" fmla="*/ 9144187 w 12139750"/>
              <a:gd name="connsiteY4103" fmla="*/ 30 h 6858290"/>
              <a:gd name="connsiteX4104" fmla="*/ 8549535 w 12139750"/>
              <a:gd name="connsiteY4104" fmla="*/ 29 h 6858290"/>
              <a:gd name="connsiteX4105" fmla="*/ 8688477 w 12139750"/>
              <a:gd name="connsiteY4105" fmla="*/ 29 h 6858290"/>
              <a:gd name="connsiteX4106" fmla="*/ 8391560 w 12139750"/>
              <a:gd name="connsiteY4106" fmla="*/ 173083 h 6858290"/>
              <a:gd name="connsiteX4107" fmla="*/ 8343977 w 12139750"/>
              <a:gd name="connsiteY4107" fmla="*/ 159771 h 6858290"/>
              <a:gd name="connsiteX4108" fmla="*/ 8357300 w 12139750"/>
              <a:gd name="connsiteY4108" fmla="*/ 112230 h 6858290"/>
              <a:gd name="connsiteX4109" fmla="*/ 8549535 w 12139750"/>
              <a:gd name="connsiteY4109" fmla="*/ 29 h 6858290"/>
              <a:gd name="connsiteX4110" fmla="*/ 7958714 w 12139750"/>
              <a:gd name="connsiteY4110" fmla="*/ 29 h 6858290"/>
              <a:gd name="connsiteX4111" fmla="*/ 8107445 w 12139750"/>
              <a:gd name="connsiteY4111" fmla="*/ 29 h 6858290"/>
              <a:gd name="connsiteX4112" fmla="*/ 7825239 w 12139750"/>
              <a:gd name="connsiteY4112" fmla="*/ 158743 h 6858290"/>
              <a:gd name="connsiteX4113" fmla="*/ 7775662 w 12139750"/>
              <a:gd name="connsiteY4113" fmla="*/ 145357 h 6858290"/>
              <a:gd name="connsiteX4114" fmla="*/ 7790916 w 12139750"/>
              <a:gd name="connsiteY4114" fmla="*/ 95640 h 6858290"/>
              <a:gd name="connsiteX4115" fmla="*/ 7958714 w 12139750"/>
              <a:gd name="connsiteY4115" fmla="*/ 29 h 6858290"/>
              <a:gd name="connsiteX4116" fmla="*/ 7373861 w 12139750"/>
              <a:gd name="connsiteY4116" fmla="*/ 29 h 6858290"/>
              <a:gd name="connsiteX4117" fmla="*/ 7534349 w 12139750"/>
              <a:gd name="connsiteY4117" fmla="*/ 29 h 6858290"/>
              <a:gd name="connsiteX4118" fmla="*/ 7266870 w 12139750"/>
              <a:gd name="connsiteY4118" fmla="*/ 142904 h 6858290"/>
              <a:gd name="connsiteX4119" fmla="*/ 7215285 w 12139750"/>
              <a:gd name="connsiteY4119" fmla="*/ 127664 h 6858290"/>
              <a:gd name="connsiteX4120" fmla="*/ 7230569 w 12139750"/>
              <a:gd name="connsiteY4120" fmla="*/ 76229 h 6858290"/>
              <a:gd name="connsiteX4121" fmla="*/ 7373861 w 12139750"/>
              <a:gd name="connsiteY4121" fmla="*/ 29 h 6858290"/>
              <a:gd name="connsiteX4122" fmla="*/ 6792947 w 12139750"/>
              <a:gd name="connsiteY4122" fmla="*/ 29 h 6858290"/>
              <a:gd name="connsiteX4123" fmla="*/ 6962841 w 12139750"/>
              <a:gd name="connsiteY4123" fmla="*/ 29 h 6858290"/>
              <a:gd name="connsiteX4124" fmla="*/ 6714681 w 12139750"/>
              <a:gd name="connsiteY4124" fmla="*/ 130160 h 6858290"/>
              <a:gd name="connsiteX4125" fmla="*/ 6661231 w 12139750"/>
              <a:gd name="connsiteY4125" fmla="*/ 112937 h 6858290"/>
              <a:gd name="connsiteX4126" fmla="*/ 6678412 w 12139750"/>
              <a:gd name="connsiteY4126" fmla="*/ 59354 h 6858290"/>
              <a:gd name="connsiteX4127" fmla="*/ 6792947 w 12139750"/>
              <a:gd name="connsiteY4127" fmla="*/ 29 h 6858290"/>
              <a:gd name="connsiteX4128" fmla="*/ 6214724 w 12139750"/>
              <a:gd name="connsiteY4128" fmla="*/ 29 h 6858290"/>
              <a:gd name="connsiteX4129" fmla="*/ 6396096 w 12139750"/>
              <a:gd name="connsiteY4129" fmla="*/ 29 h 6858290"/>
              <a:gd name="connsiteX4130" fmla="*/ 6166995 w 12139750"/>
              <a:gd name="connsiteY4130" fmla="*/ 114329 h 6858290"/>
              <a:gd name="connsiteX4131" fmla="*/ 6113538 w 12139750"/>
              <a:gd name="connsiteY4131" fmla="*/ 95279 h 6858290"/>
              <a:gd name="connsiteX4132" fmla="*/ 6130720 w 12139750"/>
              <a:gd name="connsiteY4132" fmla="*/ 41939 h 6858290"/>
              <a:gd name="connsiteX4133" fmla="*/ 6214724 w 12139750"/>
              <a:gd name="connsiteY4133" fmla="*/ 29 h 6858290"/>
              <a:gd name="connsiteX4134" fmla="*/ 5637626 w 12139750"/>
              <a:gd name="connsiteY4134" fmla="*/ 29 h 6858290"/>
              <a:gd name="connsiteX4135" fmla="*/ 5829356 w 12139750"/>
              <a:gd name="connsiteY4135" fmla="*/ 29 h 6858290"/>
              <a:gd name="connsiteX4136" fmla="*/ 5622440 w 12139750"/>
              <a:gd name="connsiteY4136" fmla="*/ 99958 h 6858290"/>
              <a:gd name="connsiteX4137" fmla="*/ 5567388 w 12139750"/>
              <a:gd name="connsiteY4137" fmla="*/ 80741 h 6858290"/>
              <a:gd name="connsiteX4138" fmla="*/ 5586371 w 12139750"/>
              <a:gd name="connsiteY4138" fmla="*/ 25011 h 6858290"/>
              <a:gd name="connsiteX4139" fmla="*/ 5637626 w 12139750"/>
              <a:gd name="connsiteY4139" fmla="*/ 29 h 6858290"/>
              <a:gd name="connsiteX4140" fmla="*/ 5050991 w 12139750"/>
              <a:gd name="connsiteY4140" fmla="*/ 29 h 6858290"/>
              <a:gd name="connsiteX4141" fmla="*/ 5257856 w 12139750"/>
              <a:gd name="connsiteY4141" fmla="*/ 29 h 6858290"/>
              <a:gd name="connsiteX4142" fmla="*/ 5071865 w 12139750"/>
              <a:gd name="connsiteY4142" fmla="*/ 83849 h 6858290"/>
              <a:gd name="connsiteX4143" fmla="*/ 5014936 w 12139750"/>
              <a:gd name="connsiteY4143" fmla="*/ 62894 h 6858290"/>
              <a:gd name="connsiteX4144" fmla="*/ 5037707 w 12139750"/>
              <a:gd name="connsiteY4144" fmla="*/ 7649 h 6858290"/>
              <a:gd name="connsiteX4145" fmla="*/ 5050991 w 12139750"/>
              <a:gd name="connsiteY4145" fmla="*/ 29 h 6858290"/>
              <a:gd name="connsiteX4146" fmla="*/ 4468137 w 12139750"/>
              <a:gd name="connsiteY4146" fmla="*/ 29 h 6858290"/>
              <a:gd name="connsiteX4147" fmla="*/ 4678410 w 12139750"/>
              <a:gd name="connsiteY4147" fmla="*/ 29 h 6858290"/>
              <a:gd name="connsiteX4148" fmla="*/ 4517388 w 12139750"/>
              <a:gd name="connsiteY4148" fmla="*/ 71353 h 6858290"/>
              <a:gd name="connsiteX4149" fmla="*/ 4460559 w 12139750"/>
              <a:gd name="connsiteY4149" fmla="*/ 48221 h 6858290"/>
              <a:gd name="connsiteX4150" fmla="*/ 4468137 w 12139750"/>
              <a:gd name="connsiteY4150" fmla="*/ 29 h 6858290"/>
              <a:gd name="connsiteX4151" fmla="*/ 3898004 w 12139750"/>
              <a:gd name="connsiteY4151" fmla="*/ 29 h 6858290"/>
              <a:gd name="connsiteX4152" fmla="*/ 4092633 w 12139750"/>
              <a:gd name="connsiteY4152" fmla="*/ 29 h 6858290"/>
              <a:gd name="connsiteX4153" fmla="*/ 3959064 w 12139750"/>
              <a:gd name="connsiteY4153" fmla="*/ 55545 h 6858290"/>
              <a:gd name="connsiteX4154" fmla="*/ 3899911 w 12139750"/>
              <a:gd name="connsiteY4154" fmla="*/ 30658 h 6858290"/>
              <a:gd name="connsiteX4155" fmla="*/ 3898004 w 12139750"/>
              <a:gd name="connsiteY4155" fmla="*/ 29 h 6858290"/>
              <a:gd name="connsiteX4156" fmla="*/ 3332214 w 12139750"/>
              <a:gd name="connsiteY4156" fmla="*/ 29 h 6858290"/>
              <a:gd name="connsiteX4157" fmla="*/ 3497315 w 12139750"/>
              <a:gd name="connsiteY4157" fmla="*/ 29 h 6858290"/>
              <a:gd name="connsiteX4158" fmla="*/ 3394843 w 12139750"/>
              <a:gd name="connsiteY4158" fmla="*/ 41670 h 6858290"/>
              <a:gd name="connsiteX4159" fmla="*/ 3334112 w 12139750"/>
              <a:gd name="connsiteY4159" fmla="*/ 15171 h 6858290"/>
              <a:gd name="connsiteX4160" fmla="*/ 3332214 w 12139750"/>
              <a:gd name="connsiteY4160" fmla="*/ 29 h 6858290"/>
              <a:gd name="connsiteX4161" fmla="*/ 2760704 w 12139750"/>
              <a:gd name="connsiteY4161" fmla="*/ 28 h 6858290"/>
              <a:gd name="connsiteX4162" fmla="*/ 2890879 w 12139750"/>
              <a:gd name="connsiteY4162" fmla="*/ 28 h 6858290"/>
              <a:gd name="connsiteX4163" fmla="*/ 2821076 w 12139750"/>
              <a:gd name="connsiteY4163" fmla="*/ 27192 h 6858290"/>
              <a:gd name="connsiteX4164" fmla="*/ 2760704 w 12139750"/>
              <a:gd name="connsiteY4164" fmla="*/ 28 h 6858290"/>
              <a:gd name="connsiteX4165" fmla="*/ 11404328 w 12139750"/>
              <a:gd name="connsiteY4165" fmla="*/ 19 h 6858290"/>
              <a:gd name="connsiteX4166" fmla="*/ 11552367 w 12139750"/>
              <a:gd name="connsiteY4166" fmla="*/ 19 h 6858290"/>
              <a:gd name="connsiteX4167" fmla="*/ 11271473 w 12139750"/>
              <a:gd name="connsiteY4167" fmla="*/ 158733 h 6858290"/>
              <a:gd name="connsiteX4168" fmla="*/ 11222127 w 12139750"/>
              <a:gd name="connsiteY4168" fmla="*/ 145347 h 6858290"/>
              <a:gd name="connsiteX4169" fmla="*/ 11235412 w 12139750"/>
              <a:gd name="connsiteY4169" fmla="*/ 95630 h 6858290"/>
              <a:gd name="connsiteX4170" fmla="*/ 11404328 w 12139750"/>
              <a:gd name="connsiteY4170" fmla="*/ 19 h 6858290"/>
              <a:gd name="connsiteX4171" fmla="*/ 11942099 w 12139750"/>
              <a:gd name="connsiteY4171" fmla="*/ 17 h 6858290"/>
              <a:gd name="connsiteX4172" fmla="*/ 12100062 w 12139750"/>
              <a:gd name="connsiteY4172" fmla="*/ 17 h 6858290"/>
              <a:gd name="connsiteX4173" fmla="*/ 11835521 w 12139750"/>
              <a:gd name="connsiteY4173" fmla="*/ 142892 h 6858290"/>
              <a:gd name="connsiteX4174" fmla="*/ 11784136 w 12139750"/>
              <a:gd name="connsiteY4174" fmla="*/ 127652 h 6858290"/>
              <a:gd name="connsiteX4175" fmla="*/ 11799361 w 12139750"/>
              <a:gd name="connsiteY4175" fmla="*/ 76217 h 6858290"/>
              <a:gd name="connsiteX4176" fmla="*/ 11942099 w 12139750"/>
              <a:gd name="connsiteY4176" fmla="*/ 17 h 6858290"/>
              <a:gd name="connsiteX4177" fmla="*/ 76928 w 12139750"/>
              <a:gd name="connsiteY4177" fmla="*/ 14 h 6858290"/>
              <a:gd name="connsiteX4178" fmla="*/ 271465 w 12139750"/>
              <a:gd name="connsiteY4178" fmla="*/ 14 h 6858290"/>
              <a:gd name="connsiteX4179" fmla="*/ 63577 w 12139750"/>
              <a:gd name="connsiteY4179" fmla="*/ 99944 h 6858290"/>
              <a:gd name="connsiteX4180" fmla="*/ 8268 w 12139750"/>
              <a:gd name="connsiteY4180" fmla="*/ 80727 h 6858290"/>
              <a:gd name="connsiteX4181" fmla="*/ 27340 w 12139750"/>
              <a:gd name="connsiteY4181" fmla="*/ 24997 h 6858290"/>
              <a:gd name="connsiteX4182" fmla="*/ 76928 w 12139750"/>
              <a:gd name="connsiteY4182" fmla="*/ 14 h 6858290"/>
              <a:gd name="connsiteX4183" fmla="*/ 583733 w 12139750"/>
              <a:gd name="connsiteY4183" fmla="*/ 12 h 6858290"/>
              <a:gd name="connsiteX4184" fmla="*/ 792167 w 12139750"/>
              <a:gd name="connsiteY4184" fmla="*/ 12 h 6858290"/>
              <a:gd name="connsiteX4185" fmla="*/ 604767 w 12139750"/>
              <a:gd name="connsiteY4185" fmla="*/ 83832 h 6858290"/>
              <a:gd name="connsiteX4186" fmla="*/ 549312 w 12139750"/>
              <a:gd name="connsiteY4186" fmla="*/ 62877 h 6858290"/>
              <a:gd name="connsiteX4187" fmla="*/ 570347 w 12139750"/>
              <a:gd name="connsiteY4187" fmla="*/ 7632 h 6858290"/>
              <a:gd name="connsiteX4188" fmla="*/ 583733 w 12139750"/>
              <a:gd name="connsiteY4188" fmla="*/ 12 h 6858290"/>
              <a:gd name="connsiteX4189" fmla="*/ 1102307 w 12139750"/>
              <a:gd name="connsiteY4189" fmla="*/ 10 h 6858290"/>
              <a:gd name="connsiteX4190" fmla="*/ 1312869 w 12139750"/>
              <a:gd name="connsiteY4190" fmla="*/ 10 h 6858290"/>
              <a:gd name="connsiteX4191" fmla="*/ 1153525 w 12139750"/>
              <a:gd name="connsiteY4191" fmla="*/ 71334 h 6858290"/>
              <a:gd name="connsiteX4192" fmla="*/ 1094719 w 12139750"/>
              <a:gd name="connsiteY4192" fmla="*/ 48202 h 6858290"/>
              <a:gd name="connsiteX4193" fmla="*/ 1102307 w 12139750"/>
              <a:gd name="connsiteY4193" fmla="*/ 10 h 6858290"/>
              <a:gd name="connsiteX4194" fmla="*/ 1643393 w 12139750"/>
              <a:gd name="connsiteY4194" fmla="*/ 7 h 6858290"/>
              <a:gd name="connsiteX4195" fmla="*/ 1838335 w 12139750"/>
              <a:gd name="connsiteY4195" fmla="*/ 7 h 6858290"/>
              <a:gd name="connsiteX4196" fmla="*/ 1704551 w 12139750"/>
              <a:gd name="connsiteY4196" fmla="*/ 55524 h 6858290"/>
              <a:gd name="connsiteX4197" fmla="*/ 1645304 w 12139750"/>
              <a:gd name="connsiteY4197" fmla="*/ 30637 h 6858290"/>
              <a:gd name="connsiteX4198" fmla="*/ 1643393 w 12139750"/>
              <a:gd name="connsiteY4198" fmla="*/ 7 h 6858290"/>
              <a:gd name="connsiteX4199" fmla="*/ 2197113 w 12139750"/>
              <a:gd name="connsiteY4199" fmla="*/ 5 h 6858290"/>
              <a:gd name="connsiteX4200" fmla="*/ 2363803 w 12139750"/>
              <a:gd name="connsiteY4200" fmla="*/ 5 h 6858290"/>
              <a:gd name="connsiteX4201" fmla="*/ 2260340 w 12139750"/>
              <a:gd name="connsiteY4201" fmla="*/ 41647 h 6858290"/>
              <a:gd name="connsiteX4202" fmla="*/ 2199030 w 12139750"/>
              <a:gd name="connsiteY4202" fmla="*/ 15147 h 6858290"/>
              <a:gd name="connsiteX4203" fmla="*/ 2197113 w 12139750"/>
              <a:gd name="connsiteY4203" fmla="*/ 5 h 6858290"/>
              <a:gd name="connsiteX4204" fmla="*/ 9742489 w 12139750"/>
              <a:gd name="connsiteY4204" fmla="*/ 4 h 6858290"/>
              <a:gd name="connsiteX4205" fmla="*/ 9866419 w 12139750"/>
              <a:gd name="connsiteY4205" fmla="*/ 4 h 6858290"/>
              <a:gd name="connsiteX4206" fmla="*/ 9542293 w 12139750"/>
              <a:gd name="connsiteY4206" fmla="*/ 201631 h 6858290"/>
              <a:gd name="connsiteX4207" fmla="*/ 9496534 w 12139750"/>
              <a:gd name="connsiteY4207" fmla="*/ 192120 h 6858290"/>
              <a:gd name="connsiteX4208" fmla="*/ 9507974 w 12139750"/>
              <a:gd name="connsiteY4208" fmla="*/ 146469 h 6858290"/>
              <a:gd name="connsiteX4209" fmla="*/ 9742489 w 12139750"/>
              <a:gd name="connsiteY4209" fmla="*/ 4 h 6858290"/>
              <a:gd name="connsiteX4210" fmla="*/ 10304665 w 12139750"/>
              <a:gd name="connsiteY4210" fmla="*/ 2 h 6858290"/>
              <a:gd name="connsiteX4211" fmla="*/ 10436339 w 12139750"/>
              <a:gd name="connsiteY4211" fmla="*/ 2 h 6858290"/>
              <a:gd name="connsiteX4212" fmla="*/ 10125283 w 12139750"/>
              <a:gd name="connsiteY4212" fmla="*/ 187296 h 6858290"/>
              <a:gd name="connsiteX4213" fmla="*/ 10077576 w 12139750"/>
              <a:gd name="connsiteY4213" fmla="*/ 175829 h 6858290"/>
              <a:gd name="connsiteX4214" fmla="*/ 10089025 w 12139750"/>
              <a:gd name="connsiteY4214" fmla="*/ 129961 h 6858290"/>
              <a:gd name="connsiteX4215" fmla="*/ 10304665 w 12139750"/>
              <a:gd name="connsiteY4215" fmla="*/ 2 h 6858290"/>
              <a:gd name="connsiteX4216" fmla="*/ 10857477 w 12139750"/>
              <a:gd name="connsiteY4216" fmla="*/ 0 h 6858290"/>
              <a:gd name="connsiteX4217" fmla="*/ 10998322 w 12139750"/>
              <a:gd name="connsiteY4217" fmla="*/ 0 h 6858290"/>
              <a:gd name="connsiteX4218" fmla="*/ 10701405 w 12139750"/>
              <a:gd name="connsiteY4218" fmla="*/ 173054 h 6858290"/>
              <a:gd name="connsiteX4219" fmla="*/ 10653822 w 12139750"/>
              <a:gd name="connsiteY4219" fmla="*/ 159742 h 6858290"/>
              <a:gd name="connsiteX4220" fmla="*/ 10665241 w 12139750"/>
              <a:gd name="connsiteY4220" fmla="*/ 112200 h 6858290"/>
              <a:gd name="connsiteX4221" fmla="*/ 10857477 w 12139750"/>
              <a:gd name="connsiteY4221" fmla="*/ 0 h 6858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</a:cxnLst>
            <a:rect l="l" t="t" r="r" b="b"/>
            <a:pathLst>
              <a:path w="12139750" h="6858290">
                <a:moveTo>
                  <a:pt x="9863865" y="6730848"/>
                </a:moveTo>
                <a:cubicBezTo>
                  <a:pt x="9882230" y="6731206"/>
                  <a:pt x="9898990" y="6742279"/>
                  <a:pt x="9906123" y="6760852"/>
                </a:cubicBezTo>
                <a:cubicBezTo>
                  <a:pt x="9915632" y="6783712"/>
                  <a:pt x="9904221" y="6810382"/>
                  <a:pt x="9879496" y="6819907"/>
                </a:cubicBezTo>
                <a:cubicBezTo>
                  <a:pt x="9879496" y="6819907"/>
                  <a:pt x="9879496" y="6819907"/>
                  <a:pt x="9782500" y="6858007"/>
                </a:cubicBezTo>
                <a:cubicBezTo>
                  <a:pt x="9782500" y="6858007"/>
                  <a:pt x="9782500" y="6858007"/>
                  <a:pt x="9531452" y="6858007"/>
                </a:cubicBezTo>
                <a:cubicBezTo>
                  <a:pt x="9531452" y="6858007"/>
                  <a:pt x="9531452" y="6858007"/>
                  <a:pt x="9845262" y="6734182"/>
                </a:cubicBezTo>
                <a:cubicBezTo>
                  <a:pt x="9851443" y="6731801"/>
                  <a:pt x="9857743" y="6730729"/>
                  <a:pt x="9863865" y="6730848"/>
                </a:cubicBezTo>
                <a:close/>
                <a:moveTo>
                  <a:pt x="10445577" y="6718092"/>
                </a:moveTo>
                <a:cubicBezTo>
                  <a:pt x="10463182" y="6718359"/>
                  <a:pt x="10479983" y="6729028"/>
                  <a:pt x="10487132" y="6746099"/>
                </a:cubicBezTo>
                <a:cubicBezTo>
                  <a:pt x="10496665" y="6768860"/>
                  <a:pt x="10485226" y="6795414"/>
                  <a:pt x="10462348" y="6804898"/>
                </a:cubicBezTo>
                <a:cubicBezTo>
                  <a:pt x="10462348" y="6804898"/>
                  <a:pt x="10462348" y="6804898"/>
                  <a:pt x="10328892" y="6858007"/>
                </a:cubicBezTo>
                <a:cubicBezTo>
                  <a:pt x="10328892" y="6858007"/>
                  <a:pt x="10328892" y="6858007"/>
                  <a:pt x="10088672" y="6858007"/>
                </a:cubicBezTo>
                <a:cubicBezTo>
                  <a:pt x="10088672" y="6858007"/>
                  <a:pt x="10088672" y="6858007"/>
                  <a:pt x="10428031" y="6721441"/>
                </a:cubicBezTo>
                <a:cubicBezTo>
                  <a:pt x="10433751" y="6719070"/>
                  <a:pt x="10439708" y="6718003"/>
                  <a:pt x="10445577" y="6718092"/>
                </a:cubicBezTo>
                <a:close/>
                <a:moveTo>
                  <a:pt x="9285099" y="6718092"/>
                </a:moveTo>
                <a:cubicBezTo>
                  <a:pt x="9302704" y="6718359"/>
                  <a:pt x="9319505" y="6729028"/>
                  <a:pt x="9326654" y="6746099"/>
                </a:cubicBezTo>
                <a:cubicBezTo>
                  <a:pt x="9336187" y="6768860"/>
                  <a:pt x="9324748" y="6795414"/>
                  <a:pt x="9301870" y="6804898"/>
                </a:cubicBezTo>
                <a:cubicBezTo>
                  <a:pt x="9301870" y="6804898"/>
                  <a:pt x="9301870" y="6804898"/>
                  <a:pt x="9168414" y="6858007"/>
                </a:cubicBezTo>
                <a:cubicBezTo>
                  <a:pt x="9168414" y="6858007"/>
                  <a:pt x="9168414" y="6858007"/>
                  <a:pt x="8928194" y="6858007"/>
                </a:cubicBezTo>
                <a:cubicBezTo>
                  <a:pt x="8928194" y="6858007"/>
                  <a:pt x="8928194" y="6858007"/>
                  <a:pt x="9267553" y="6721441"/>
                </a:cubicBezTo>
                <a:cubicBezTo>
                  <a:pt x="9273273" y="6719070"/>
                  <a:pt x="9279230" y="6718003"/>
                  <a:pt x="9285099" y="6718092"/>
                </a:cubicBezTo>
                <a:close/>
                <a:moveTo>
                  <a:pt x="11021925" y="6702243"/>
                </a:moveTo>
                <a:cubicBezTo>
                  <a:pt x="11039503" y="6702511"/>
                  <a:pt x="11056279" y="6713227"/>
                  <a:pt x="11063417" y="6730372"/>
                </a:cubicBezTo>
                <a:cubicBezTo>
                  <a:pt x="11072935" y="6753232"/>
                  <a:pt x="11061513" y="6779902"/>
                  <a:pt x="11038670" y="6789427"/>
                </a:cubicBezTo>
                <a:cubicBezTo>
                  <a:pt x="11038670" y="6789427"/>
                  <a:pt x="11038670" y="6789427"/>
                  <a:pt x="10873058" y="6858007"/>
                </a:cubicBezTo>
                <a:cubicBezTo>
                  <a:pt x="10873058" y="6858007"/>
                  <a:pt x="10873058" y="6858007"/>
                  <a:pt x="10652242" y="6858007"/>
                </a:cubicBezTo>
                <a:cubicBezTo>
                  <a:pt x="10656049" y="6854197"/>
                  <a:pt x="10659856" y="6852292"/>
                  <a:pt x="10665567" y="6850387"/>
                </a:cubicBezTo>
                <a:cubicBezTo>
                  <a:pt x="10665567" y="6850387"/>
                  <a:pt x="10665567" y="6850387"/>
                  <a:pt x="11004406" y="6705607"/>
                </a:cubicBezTo>
                <a:cubicBezTo>
                  <a:pt x="11010117" y="6703225"/>
                  <a:pt x="11016065" y="6702154"/>
                  <a:pt x="11021925" y="6702243"/>
                </a:cubicBezTo>
                <a:close/>
                <a:moveTo>
                  <a:pt x="8712081" y="6702243"/>
                </a:moveTo>
                <a:cubicBezTo>
                  <a:pt x="8729659" y="6702511"/>
                  <a:pt x="8746435" y="6713227"/>
                  <a:pt x="8753573" y="6730372"/>
                </a:cubicBezTo>
                <a:cubicBezTo>
                  <a:pt x="8763091" y="6753232"/>
                  <a:pt x="8753573" y="6779902"/>
                  <a:pt x="8730730" y="6789427"/>
                </a:cubicBezTo>
                <a:cubicBezTo>
                  <a:pt x="8730730" y="6789427"/>
                  <a:pt x="8730730" y="6789427"/>
                  <a:pt x="8565118" y="6858007"/>
                </a:cubicBezTo>
                <a:cubicBezTo>
                  <a:pt x="8565118" y="6858007"/>
                  <a:pt x="8565118" y="6858007"/>
                  <a:pt x="8342398" y="6858007"/>
                </a:cubicBezTo>
                <a:cubicBezTo>
                  <a:pt x="8346205" y="6854197"/>
                  <a:pt x="8350012" y="6852292"/>
                  <a:pt x="8355723" y="6850387"/>
                </a:cubicBezTo>
                <a:cubicBezTo>
                  <a:pt x="8355723" y="6850387"/>
                  <a:pt x="8355723" y="6850387"/>
                  <a:pt x="8694562" y="6705607"/>
                </a:cubicBezTo>
                <a:cubicBezTo>
                  <a:pt x="8700273" y="6703226"/>
                  <a:pt x="8706221" y="6702154"/>
                  <a:pt x="8712081" y="6702243"/>
                </a:cubicBezTo>
                <a:close/>
                <a:moveTo>
                  <a:pt x="11608144" y="6692160"/>
                </a:moveTo>
                <a:cubicBezTo>
                  <a:pt x="11618391" y="6696194"/>
                  <a:pt x="11626970" y="6704261"/>
                  <a:pt x="11631736" y="6715650"/>
                </a:cubicBezTo>
                <a:cubicBezTo>
                  <a:pt x="11641268" y="6738427"/>
                  <a:pt x="11631736" y="6763102"/>
                  <a:pt x="11608859" y="6772593"/>
                </a:cubicBezTo>
                <a:cubicBezTo>
                  <a:pt x="11608859" y="6772593"/>
                  <a:pt x="11608859" y="6772593"/>
                  <a:pt x="11412495" y="6858007"/>
                </a:cubicBezTo>
                <a:cubicBezTo>
                  <a:pt x="11412495" y="6858007"/>
                  <a:pt x="11412495" y="6858007"/>
                  <a:pt x="11214225" y="6858007"/>
                </a:cubicBezTo>
                <a:cubicBezTo>
                  <a:pt x="11219944" y="6850415"/>
                  <a:pt x="11225664" y="6844721"/>
                  <a:pt x="11235196" y="6840924"/>
                </a:cubicBezTo>
                <a:cubicBezTo>
                  <a:pt x="11235196" y="6840924"/>
                  <a:pt x="11235196" y="6840924"/>
                  <a:pt x="11574543" y="6692872"/>
                </a:cubicBezTo>
                <a:cubicBezTo>
                  <a:pt x="11585982" y="6688127"/>
                  <a:pt x="11597897" y="6688127"/>
                  <a:pt x="11608144" y="6692160"/>
                </a:cubicBezTo>
                <a:close/>
                <a:moveTo>
                  <a:pt x="8162632" y="6692160"/>
                </a:moveTo>
                <a:cubicBezTo>
                  <a:pt x="8173079" y="6696194"/>
                  <a:pt x="8182101" y="6704261"/>
                  <a:pt x="8186849" y="6715650"/>
                </a:cubicBezTo>
                <a:cubicBezTo>
                  <a:pt x="8196346" y="6738427"/>
                  <a:pt x="8186849" y="6763102"/>
                  <a:pt x="8164057" y="6772593"/>
                </a:cubicBezTo>
                <a:cubicBezTo>
                  <a:pt x="8164057" y="6772593"/>
                  <a:pt x="8164057" y="6772593"/>
                  <a:pt x="7966524" y="6858007"/>
                </a:cubicBezTo>
                <a:cubicBezTo>
                  <a:pt x="7966524" y="6858007"/>
                  <a:pt x="7966524" y="6858007"/>
                  <a:pt x="7770890" y="6858007"/>
                </a:cubicBezTo>
                <a:cubicBezTo>
                  <a:pt x="7774688" y="6850415"/>
                  <a:pt x="7782286" y="6844721"/>
                  <a:pt x="7789883" y="6840924"/>
                </a:cubicBezTo>
                <a:cubicBezTo>
                  <a:pt x="7789883" y="6840924"/>
                  <a:pt x="7789883" y="6840924"/>
                  <a:pt x="8129868" y="6692872"/>
                </a:cubicBezTo>
                <a:cubicBezTo>
                  <a:pt x="8140315" y="6688127"/>
                  <a:pt x="8152186" y="6688127"/>
                  <a:pt x="8162632" y="6692160"/>
                </a:cubicBezTo>
                <a:close/>
                <a:moveTo>
                  <a:pt x="7602161" y="6677681"/>
                </a:moveTo>
                <a:cubicBezTo>
                  <a:pt x="7612631" y="6681497"/>
                  <a:pt x="7621673" y="6689130"/>
                  <a:pt x="7626432" y="6699625"/>
                </a:cubicBezTo>
                <a:cubicBezTo>
                  <a:pt x="7635950" y="6720616"/>
                  <a:pt x="7626432" y="6747331"/>
                  <a:pt x="7605492" y="6756872"/>
                </a:cubicBezTo>
                <a:cubicBezTo>
                  <a:pt x="7605492" y="6756872"/>
                  <a:pt x="7605492" y="6756872"/>
                  <a:pt x="7378961" y="6858007"/>
                </a:cubicBezTo>
                <a:cubicBezTo>
                  <a:pt x="7378961" y="6858007"/>
                  <a:pt x="7378961" y="6858007"/>
                  <a:pt x="7205732" y="6858007"/>
                </a:cubicBezTo>
                <a:cubicBezTo>
                  <a:pt x="7209539" y="6846558"/>
                  <a:pt x="7219057" y="6837017"/>
                  <a:pt x="7230479" y="6831292"/>
                </a:cubicBezTo>
                <a:cubicBezTo>
                  <a:pt x="7230479" y="6831292"/>
                  <a:pt x="7230479" y="6831292"/>
                  <a:pt x="7569323" y="6678635"/>
                </a:cubicBezTo>
                <a:cubicBezTo>
                  <a:pt x="7579793" y="6673864"/>
                  <a:pt x="7591691" y="6673864"/>
                  <a:pt x="7602161" y="6677681"/>
                </a:cubicBezTo>
                <a:close/>
                <a:moveTo>
                  <a:pt x="12139750" y="6677032"/>
                </a:moveTo>
                <a:cubicBezTo>
                  <a:pt x="12139750" y="6677032"/>
                  <a:pt x="12139750" y="6677032"/>
                  <a:pt x="12139750" y="6770377"/>
                </a:cubicBezTo>
                <a:cubicBezTo>
                  <a:pt x="12139750" y="6770377"/>
                  <a:pt x="12139750" y="6770377"/>
                  <a:pt x="12139750" y="6858007"/>
                </a:cubicBezTo>
                <a:cubicBezTo>
                  <a:pt x="12139750" y="6858007"/>
                  <a:pt x="12139750" y="6858007"/>
                  <a:pt x="11945775" y="6858007"/>
                </a:cubicBezTo>
                <a:cubicBezTo>
                  <a:pt x="11945775" y="6858007"/>
                  <a:pt x="11945775" y="6858007"/>
                  <a:pt x="11774620" y="6858007"/>
                </a:cubicBezTo>
                <a:cubicBezTo>
                  <a:pt x="11778423" y="6846577"/>
                  <a:pt x="11786030" y="6837052"/>
                  <a:pt x="11797441" y="6831337"/>
                </a:cubicBezTo>
                <a:lnTo>
                  <a:pt x="12137848" y="6678937"/>
                </a:lnTo>
                <a:cubicBezTo>
                  <a:pt x="12137848" y="6678937"/>
                  <a:pt x="12139750" y="6677032"/>
                  <a:pt x="12139750" y="6677032"/>
                </a:cubicBezTo>
                <a:close/>
                <a:moveTo>
                  <a:pt x="7049044" y="6663353"/>
                </a:moveTo>
                <a:cubicBezTo>
                  <a:pt x="7059045" y="6667151"/>
                  <a:pt x="7067618" y="6674747"/>
                  <a:pt x="7072381" y="6685192"/>
                </a:cubicBezTo>
                <a:cubicBezTo>
                  <a:pt x="7081906" y="6706082"/>
                  <a:pt x="7074286" y="6730770"/>
                  <a:pt x="7051425" y="6742164"/>
                </a:cubicBezTo>
                <a:cubicBezTo>
                  <a:pt x="7051425" y="6742164"/>
                  <a:pt x="7051425" y="6742164"/>
                  <a:pt x="6798057" y="6858007"/>
                </a:cubicBezTo>
                <a:cubicBezTo>
                  <a:pt x="6798057" y="6858007"/>
                  <a:pt x="6798057" y="6858007"/>
                  <a:pt x="6653275" y="6858007"/>
                </a:cubicBezTo>
                <a:cubicBezTo>
                  <a:pt x="6653275" y="6842815"/>
                  <a:pt x="6662800" y="6829521"/>
                  <a:pt x="6678040" y="6821925"/>
                </a:cubicBezTo>
                <a:cubicBezTo>
                  <a:pt x="6678040" y="6821925"/>
                  <a:pt x="6678040" y="6821925"/>
                  <a:pt x="7017135" y="6664302"/>
                </a:cubicBezTo>
                <a:cubicBezTo>
                  <a:pt x="7027613" y="6659555"/>
                  <a:pt x="7039043" y="6659555"/>
                  <a:pt x="7049044" y="6663353"/>
                </a:cubicBezTo>
                <a:close/>
                <a:moveTo>
                  <a:pt x="6502912" y="6648865"/>
                </a:moveTo>
                <a:cubicBezTo>
                  <a:pt x="6512921" y="6652443"/>
                  <a:pt x="6521500" y="6659597"/>
                  <a:pt x="6526266" y="6669136"/>
                </a:cubicBezTo>
                <a:cubicBezTo>
                  <a:pt x="6535798" y="6690121"/>
                  <a:pt x="6528172" y="6714923"/>
                  <a:pt x="6507201" y="6724462"/>
                </a:cubicBezTo>
                <a:cubicBezTo>
                  <a:pt x="6507201" y="6724462"/>
                  <a:pt x="6507201" y="6724462"/>
                  <a:pt x="6226954" y="6858007"/>
                </a:cubicBezTo>
                <a:cubicBezTo>
                  <a:pt x="6226954" y="6858007"/>
                  <a:pt x="6226954" y="6858007"/>
                  <a:pt x="6108755" y="6858007"/>
                </a:cubicBezTo>
                <a:cubicBezTo>
                  <a:pt x="6108755" y="6856099"/>
                  <a:pt x="6108755" y="6852284"/>
                  <a:pt x="6108755" y="6850376"/>
                </a:cubicBezTo>
                <a:cubicBezTo>
                  <a:pt x="6108755" y="6835114"/>
                  <a:pt x="6118287" y="6819851"/>
                  <a:pt x="6131632" y="6812220"/>
                </a:cubicBezTo>
                <a:cubicBezTo>
                  <a:pt x="6131632" y="6812220"/>
                  <a:pt x="6131632" y="6812220"/>
                  <a:pt x="6470979" y="6650058"/>
                </a:cubicBezTo>
                <a:cubicBezTo>
                  <a:pt x="6481464" y="6645288"/>
                  <a:pt x="6492903" y="6645288"/>
                  <a:pt x="6502912" y="6648865"/>
                </a:cubicBezTo>
                <a:close/>
                <a:moveTo>
                  <a:pt x="5955433" y="6635428"/>
                </a:moveTo>
                <a:cubicBezTo>
                  <a:pt x="5965211" y="6638757"/>
                  <a:pt x="5973796" y="6645891"/>
                  <a:pt x="5978566" y="6656354"/>
                </a:cubicBezTo>
                <a:cubicBezTo>
                  <a:pt x="5988105" y="6675378"/>
                  <a:pt x="5980473" y="6700109"/>
                  <a:pt x="5961395" y="6709621"/>
                </a:cubicBezTo>
                <a:cubicBezTo>
                  <a:pt x="5961395" y="6709621"/>
                  <a:pt x="5961395" y="6709621"/>
                  <a:pt x="5656142" y="6858007"/>
                </a:cubicBezTo>
                <a:cubicBezTo>
                  <a:pt x="5656142" y="6858007"/>
                  <a:pt x="5656142" y="6858007"/>
                  <a:pt x="5568382" y="6858007"/>
                </a:cubicBezTo>
                <a:cubicBezTo>
                  <a:pt x="5568382" y="6858007"/>
                  <a:pt x="5568382" y="6858007"/>
                  <a:pt x="5566474" y="6858007"/>
                </a:cubicBezTo>
                <a:cubicBezTo>
                  <a:pt x="5564566" y="6852300"/>
                  <a:pt x="5562659" y="6844691"/>
                  <a:pt x="5562659" y="6838983"/>
                </a:cubicBezTo>
                <a:cubicBezTo>
                  <a:pt x="5562659" y="6823764"/>
                  <a:pt x="5572198" y="6810448"/>
                  <a:pt x="5585552" y="6802838"/>
                </a:cubicBezTo>
                <a:cubicBezTo>
                  <a:pt x="5585552" y="6802838"/>
                  <a:pt x="5585552" y="6802838"/>
                  <a:pt x="5925146" y="6637331"/>
                </a:cubicBezTo>
                <a:cubicBezTo>
                  <a:pt x="5934685" y="6632575"/>
                  <a:pt x="5945655" y="6632099"/>
                  <a:pt x="5955433" y="6635428"/>
                </a:cubicBezTo>
                <a:close/>
                <a:moveTo>
                  <a:pt x="396081" y="6635428"/>
                </a:moveTo>
                <a:cubicBezTo>
                  <a:pt x="405822" y="6638757"/>
                  <a:pt x="414376" y="6645891"/>
                  <a:pt x="419127" y="6656354"/>
                </a:cubicBezTo>
                <a:cubicBezTo>
                  <a:pt x="428631" y="6675378"/>
                  <a:pt x="421028" y="6700109"/>
                  <a:pt x="400120" y="6709621"/>
                </a:cubicBezTo>
                <a:cubicBezTo>
                  <a:pt x="400120" y="6709621"/>
                  <a:pt x="400120" y="6709621"/>
                  <a:pt x="97901" y="6858007"/>
                </a:cubicBezTo>
                <a:cubicBezTo>
                  <a:pt x="97901" y="6858007"/>
                  <a:pt x="97901" y="6858007"/>
                  <a:pt x="10466" y="6858007"/>
                </a:cubicBezTo>
                <a:cubicBezTo>
                  <a:pt x="10466" y="6858007"/>
                  <a:pt x="8566" y="6858007"/>
                  <a:pt x="8566" y="6858007"/>
                </a:cubicBezTo>
                <a:cubicBezTo>
                  <a:pt x="6665" y="6852300"/>
                  <a:pt x="4764" y="6844691"/>
                  <a:pt x="4764" y="6838983"/>
                </a:cubicBezTo>
                <a:cubicBezTo>
                  <a:pt x="4764" y="6823764"/>
                  <a:pt x="12367" y="6810448"/>
                  <a:pt x="27573" y="6802838"/>
                </a:cubicBezTo>
                <a:cubicBezTo>
                  <a:pt x="27573" y="6802838"/>
                  <a:pt x="27573" y="6802838"/>
                  <a:pt x="365906" y="6637331"/>
                </a:cubicBezTo>
                <a:cubicBezTo>
                  <a:pt x="375410" y="6632575"/>
                  <a:pt x="386339" y="6632099"/>
                  <a:pt x="396081" y="6635428"/>
                </a:cubicBezTo>
                <a:close/>
                <a:moveTo>
                  <a:pt x="5405387" y="6619812"/>
                </a:moveTo>
                <a:cubicBezTo>
                  <a:pt x="5414897" y="6622912"/>
                  <a:pt x="5422981" y="6630065"/>
                  <a:pt x="5427736" y="6640556"/>
                </a:cubicBezTo>
                <a:cubicBezTo>
                  <a:pt x="5437247" y="6659630"/>
                  <a:pt x="5429639" y="6682520"/>
                  <a:pt x="5410617" y="6693965"/>
                </a:cubicBezTo>
                <a:cubicBezTo>
                  <a:pt x="5410617" y="6693965"/>
                  <a:pt x="5410617" y="6693965"/>
                  <a:pt x="5083441" y="6858007"/>
                </a:cubicBezTo>
                <a:cubicBezTo>
                  <a:pt x="5083441" y="6858007"/>
                  <a:pt x="5083441" y="6858007"/>
                  <a:pt x="5028285" y="6858007"/>
                </a:cubicBezTo>
                <a:cubicBezTo>
                  <a:pt x="5024482" y="6856100"/>
                  <a:pt x="5022579" y="6852285"/>
                  <a:pt x="5020677" y="6846562"/>
                </a:cubicBezTo>
                <a:cubicBezTo>
                  <a:pt x="5016874" y="6840840"/>
                  <a:pt x="5014972" y="6835118"/>
                  <a:pt x="5014972" y="6829395"/>
                </a:cubicBezTo>
                <a:cubicBezTo>
                  <a:pt x="5014972" y="6814136"/>
                  <a:pt x="5024482" y="6800783"/>
                  <a:pt x="5037797" y="6793153"/>
                </a:cubicBezTo>
                <a:cubicBezTo>
                  <a:pt x="5037797" y="6793153"/>
                  <a:pt x="5037797" y="6793153"/>
                  <a:pt x="5374478" y="6623389"/>
                </a:cubicBezTo>
                <a:cubicBezTo>
                  <a:pt x="5384938" y="6617666"/>
                  <a:pt x="5395876" y="6616713"/>
                  <a:pt x="5405387" y="6619812"/>
                </a:cubicBezTo>
                <a:close/>
                <a:moveTo>
                  <a:pt x="939733" y="6619812"/>
                </a:moveTo>
                <a:cubicBezTo>
                  <a:pt x="949279" y="6622912"/>
                  <a:pt x="957871" y="6630065"/>
                  <a:pt x="963599" y="6640556"/>
                </a:cubicBezTo>
                <a:cubicBezTo>
                  <a:pt x="973146" y="6659630"/>
                  <a:pt x="965508" y="6682520"/>
                  <a:pt x="944506" y="6693965"/>
                </a:cubicBezTo>
                <a:cubicBezTo>
                  <a:pt x="944506" y="6693965"/>
                  <a:pt x="944506" y="6693965"/>
                  <a:pt x="618014" y="6858007"/>
                </a:cubicBezTo>
                <a:cubicBezTo>
                  <a:pt x="618014" y="6858007"/>
                  <a:pt x="618014" y="6858007"/>
                  <a:pt x="562644" y="6858007"/>
                </a:cubicBezTo>
                <a:cubicBezTo>
                  <a:pt x="558825" y="6856100"/>
                  <a:pt x="555007" y="6852285"/>
                  <a:pt x="553097" y="6846562"/>
                </a:cubicBezTo>
                <a:cubicBezTo>
                  <a:pt x="549279" y="6840840"/>
                  <a:pt x="549279" y="6835118"/>
                  <a:pt x="549279" y="6829395"/>
                </a:cubicBezTo>
                <a:cubicBezTo>
                  <a:pt x="549279" y="6814136"/>
                  <a:pt x="556916" y="6800783"/>
                  <a:pt x="570281" y="6793153"/>
                </a:cubicBezTo>
                <a:cubicBezTo>
                  <a:pt x="570281" y="6793153"/>
                  <a:pt x="570281" y="6793153"/>
                  <a:pt x="910138" y="6623389"/>
                </a:cubicBezTo>
                <a:cubicBezTo>
                  <a:pt x="919685" y="6617666"/>
                  <a:pt x="930186" y="6616712"/>
                  <a:pt x="939733" y="6619812"/>
                </a:cubicBezTo>
                <a:close/>
                <a:moveTo>
                  <a:pt x="4850593" y="6606634"/>
                </a:moveTo>
                <a:cubicBezTo>
                  <a:pt x="4860352" y="6609734"/>
                  <a:pt x="4868919" y="6616409"/>
                  <a:pt x="4873679" y="6625946"/>
                </a:cubicBezTo>
                <a:cubicBezTo>
                  <a:pt x="4883197" y="6645019"/>
                  <a:pt x="4875583" y="6667906"/>
                  <a:pt x="4856545" y="6677443"/>
                </a:cubicBezTo>
                <a:cubicBezTo>
                  <a:pt x="4856545" y="6677443"/>
                  <a:pt x="4856545" y="6677443"/>
                  <a:pt x="4519612" y="6852914"/>
                </a:cubicBezTo>
                <a:cubicBezTo>
                  <a:pt x="4500578" y="6864357"/>
                  <a:pt x="4477736" y="6856728"/>
                  <a:pt x="4466313" y="6837655"/>
                </a:cubicBezTo>
                <a:cubicBezTo>
                  <a:pt x="4464410" y="6831933"/>
                  <a:pt x="4462507" y="6824304"/>
                  <a:pt x="4462507" y="6818582"/>
                </a:cubicBezTo>
                <a:cubicBezTo>
                  <a:pt x="4462507" y="6805231"/>
                  <a:pt x="4470122" y="6791880"/>
                  <a:pt x="4483446" y="6784251"/>
                </a:cubicBezTo>
                <a:cubicBezTo>
                  <a:pt x="4483446" y="6784251"/>
                  <a:pt x="4483446" y="6784251"/>
                  <a:pt x="4820371" y="6608780"/>
                </a:cubicBezTo>
                <a:cubicBezTo>
                  <a:pt x="4829888" y="6604012"/>
                  <a:pt x="4840837" y="6603535"/>
                  <a:pt x="4850593" y="6606634"/>
                </a:cubicBezTo>
                <a:close/>
                <a:moveTo>
                  <a:pt x="1485698" y="6606634"/>
                </a:moveTo>
                <a:cubicBezTo>
                  <a:pt x="1494978" y="6609734"/>
                  <a:pt x="1503069" y="6616409"/>
                  <a:pt x="1507827" y="6625946"/>
                </a:cubicBezTo>
                <a:cubicBezTo>
                  <a:pt x="1519249" y="6645019"/>
                  <a:pt x="1511635" y="6667906"/>
                  <a:pt x="1492599" y="6677443"/>
                </a:cubicBezTo>
                <a:cubicBezTo>
                  <a:pt x="1492599" y="6677443"/>
                  <a:pt x="1492599" y="6677443"/>
                  <a:pt x="1153761" y="6852914"/>
                </a:cubicBezTo>
                <a:cubicBezTo>
                  <a:pt x="1134725" y="6864357"/>
                  <a:pt x="1111882" y="6856728"/>
                  <a:pt x="1102364" y="6837655"/>
                </a:cubicBezTo>
                <a:cubicBezTo>
                  <a:pt x="1098557" y="6831933"/>
                  <a:pt x="1098557" y="6824304"/>
                  <a:pt x="1098557" y="6818582"/>
                </a:cubicBezTo>
                <a:cubicBezTo>
                  <a:pt x="1098557" y="6805231"/>
                  <a:pt x="1106171" y="6791880"/>
                  <a:pt x="1119496" y="6784251"/>
                </a:cubicBezTo>
                <a:cubicBezTo>
                  <a:pt x="1119496" y="6784251"/>
                  <a:pt x="1119496" y="6784251"/>
                  <a:pt x="1456431" y="6608780"/>
                </a:cubicBezTo>
                <a:cubicBezTo>
                  <a:pt x="1465949" y="6604012"/>
                  <a:pt x="1476418" y="6603535"/>
                  <a:pt x="1485698" y="6606634"/>
                </a:cubicBezTo>
                <a:close/>
                <a:moveTo>
                  <a:pt x="4291129" y="6592973"/>
                </a:moveTo>
                <a:cubicBezTo>
                  <a:pt x="4300416" y="6595593"/>
                  <a:pt x="4308513" y="6601784"/>
                  <a:pt x="4313276" y="6611309"/>
                </a:cubicBezTo>
                <a:cubicBezTo>
                  <a:pt x="4322801" y="6630359"/>
                  <a:pt x="4317086" y="6653219"/>
                  <a:pt x="4298036" y="6662744"/>
                </a:cubicBezTo>
                <a:cubicBezTo>
                  <a:pt x="4298036" y="6662744"/>
                  <a:pt x="4298036" y="6662744"/>
                  <a:pt x="3960866" y="6841814"/>
                </a:cubicBezTo>
                <a:cubicBezTo>
                  <a:pt x="3941816" y="6853244"/>
                  <a:pt x="3918955" y="6845624"/>
                  <a:pt x="3909428" y="6826574"/>
                </a:cubicBezTo>
                <a:cubicBezTo>
                  <a:pt x="3905618" y="6820859"/>
                  <a:pt x="3903714" y="6815144"/>
                  <a:pt x="3903714" y="6809429"/>
                </a:cubicBezTo>
                <a:cubicBezTo>
                  <a:pt x="3903714" y="6796094"/>
                  <a:pt x="3911332" y="6782759"/>
                  <a:pt x="3924671" y="6775139"/>
                </a:cubicBezTo>
                <a:cubicBezTo>
                  <a:pt x="3924671" y="6775139"/>
                  <a:pt x="3924671" y="6775139"/>
                  <a:pt x="4261839" y="6596069"/>
                </a:cubicBezTo>
                <a:cubicBezTo>
                  <a:pt x="4271364" y="6591306"/>
                  <a:pt x="4281843" y="6590354"/>
                  <a:pt x="4291129" y="6592973"/>
                </a:cubicBezTo>
                <a:close/>
                <a:moveTo>
                  <a:pt x="2037015" y="6592973"/>
                </a:moveTo>
                <a:cubicBezTo>
                  <a:pt x="2046302" y="6595592"/>
                  <a:pt x="2054881" y="6601784"/>
                  <a:pt x="2060596" y="6611309"/>
                </a:cubicBezTo>
                <a:cubicBezTo>
                  <a:pt x="2070120" y="6630359"/>
                  <a:pt x="2062500" y="6653219"/>
                  <a:pt x="2043445" y="6662744"/>
                </a:cubicBezTo>
                <a:cubicBezTo>
                  <a:pt x="2043445" y="6662744"/>
                  <a:pt x="2043445" y="6662744"/>
                  <a:pt x="1706255" y="6841814"/>
                </a:cubicBezTo>
                <a:cubicBezTo>
                  <a:pt x="1687205" y="6853244"/>
                  <a:pt x="1664344" y="6845624"/>
                  <a:pt x="1654819" y="6826574"/>
                </a:cubicBezTo>
                <a:cubicBezTo>
                  <a:pt x="1652914" y="6820859"/>
                  <a:pt x="1651009" y="6815144"/>
                  <a:pt x="1651009" y="6809429"/>
                </a:cubicBezTo>
                <a:cubicBezTo>
                  <a:pt x="1651009" y="6796094"/>
                  <a:pt x="1658629" y="6782759"/>
                  <a:pt x="1670059" y="6775139"/>
                </a:cubicBezTo>
                <a:cubicBezTo>
                  <a:pt x="1670059" y="6775139"/>
                  <a:pt x="1670059" y="6775139"/>
                  <a:pt x="2009154" y="6596069"/>
                </a:cubicBezTo>
                <a:cubicBezTo>
                  <a:pt x="2017727" y="6591306"/>
                  <a:pt x="2027728" y="6590354"/>
                  <a:pt x="2037015" y="6592973"/>
                </a:cubicBezTo>
                <a:close/>
                <a:moveTo>
                  <a:pt x="3727788" y="6578033"/>
                </a:moveTo>
                <a:cubicBezTo>
                  <a:pt x="3736845" y="6580647"/>
                  <a:pt x="3744949" y="6586823"/>
                  <a:pt x="3749713" y="6595376"/>
                </a:cubicBezTo>
                <a:cubicBezTo>
                  <a:pt x="3759249" y="6614381"/>
                  <a:pt x="3753527" y="6635287"/>
                  <a:pt x="3734461" y="6646690"/>
                </a:cubicBezTo>
                <a:cubicBezTo>
                  <a:pt x="3734461" y="6646690"/>
                  <a:pt x="3734461" y="6646690"/>
                  <a:pt x="3397031" y="6831042"/>
                </a:cubicBezTo>
                <a:cubicBezTo>
                  <a:pt x="3379871" y="6840544"/>
                  <a:pt x="3356993" y="6832942"/>
                  <a:pt x="3347460" y="6815837"/>
                </a:cubicBezTo>
                <a:cubicBezTo>
                  <a:pt x="3343648" y="6810136"/>
                  <a:pt x="3341740" y="6804434"/>
                  <a:pt x="3341740" y="6798733"/>
                </a:cubicBezTo>
                <a:cubicBezTo>
                  <a:pt x="3341740" y="6785429"/>
                  <a:pt x="3349368" y="6772125"/>
                  <a:pt x="3362712" y="6764523"/>
                </a:cubicBezTo>
                <a:cubicBezTo>
                  <a:pt x="3362712" y="6764523"/>
                  <a:pt x="3362712" y="6764523"/>
                  <a:pt x="3700145" y="6582072"/>
                </a:cubicBezTo>
                <a:cubicBezTo>
                  <a:pt x="3708725" y="6576370"/>
                  <a:pt x="3718734" y="6575420"/>
                  <a:pt x="3727788" y="6578033"/>
                </a:cubicBezTo>
                <a:close/>
                <a:moveTo>
                  <a:pt x="2592701" y="6578033"/>
                </a:moveTo>
                <a:cubicBezTo>
                  <a:pt x="2601758" y="6580646"/>
                  <a:pt x="2609859" y="6586823"/>
                  <a:pt x="2614625" y="6595376"/>
                </a:cubicBezTo>
                <a:cubicBezTo>
                  <a:pt x="2624159" y="6614381"/>
                  <a:pt x="2618440" y="6635287"/>
                  <a:pt x="2599374" y="6646690"/>
                </a:cubicBezTo>
                <a:cubicBezTo>
                  <a:pt x="2599374" y="6646690"/>
                  <a:pt x="2599374" y="6646690"/>
                  <a:pt x="2261929" y="6831042"/>
                </a:cubicBezTo>
                <a:cubicBezTo>
                  <a:pt x="2244771" y="6840544"/>
                  <a:pt x="2221893" y="6832942"/>
                  <a:pt x="2212361" y="6815837"/>
                </a:cubicBezTo>
                <a:cubicBezTo>
                  <a:pt x="2208548" y="6810136"/>
                  <a:pt x="2206641" y="6804434"/>
                  <a:pt x="2206641" y="6798733"/>
                </a:cubicBezTo>
                <a:cubicBezTo>
                  <a:pt x="2206641" y="6785429"/>
                  <a:pt x="2214267" y="6772125"/>
                  <a:pt x="2225706" y="6764523"/>
                </a:cubicBezTo>
                <a:cubicBezTo>
                  <a:pt x="2225706" y="6764523"/>
                  <a:pt x="2225706" y="6764523"/>
                  <a:pt x="2565057" y="6582072"/>
                </a:cubicBezTo>
                <a:cubicBezTo>
                  <a:pt x="2573637" y="6576370"/>
                  <a:pt x="2583646" y="6575420"/>
                  <a:pt x="2592701" y="6578033"/>
                </a:cubicBezTo>
                <a:close/>
                <a:moveTo>
                  <a:pt x="3153212" y="6564138"/>
                </a:moveTo>
                <a:cubicBezTo>
                  <a:pt x="3162242" y="6566511"/>
                  <a:pt x="3170318" y="6572206"/>
                  <a:pt x="3175071" y="6580749"/>
                </a:cubicBezTo>
                <a:cubicBezTo>
                  <a:pt x="3184575" y="6599732"/>
                  <a:pt x="3178875" y="6620614"/>
                  <a:pt x="3161765" y="6630106"/>
                </a:cubicBezTo>
                <a:cubicBezTo>
                  <a:pt x="3161765" y="6630106"/>
                  <a:pt x="3161765" y="6630106"/>
                  <a:pt x="2825349" y="6819941"/>
                </a:cubicBezTo>
                <a:cubicBezTo>
                  <a:pt x="2808242" y="6829432"/>
                  <a:pt x="2785435" y="6823737"/>
                  <a:pt x="2775933" y="6804754"/>
                </a:cubicBezTo>
                <a:cubicBezTo>
                  <a:pt x="2772130" y="6799059"/>
                  <a:pt x="2770229" y="6793364"/>
                  <a:pt x="2770229" y="6787669"/>
                </a:cubicBezTo>
                <a:cubicBezTo>
                  <a:pt x="2770229" y="6774380"/>
                  <a:pt x="2777830" y="6762990"/>
                  <a:pt x="2789238" y="6757295"/>
                </a:cubicBezTo>
                <a:cubicBezTo>
                  <a:pt x="2789238" y="6757295"/>
                  <a:pt x="2789238" y="6757295"/>
                  <a:pt x="3125653" y="6567460"/>
                </a:cubicBezTo>
                <a:cubicBezTo>
                  <a:pt x="3134208" y="6562715"/>
                  <a:pt x="3144188" y="6561765"/>
                  <a:pt x="3153212" y="6564138"/>
                </a:cubicBezTo>
                <a:close/>
                <a:moveTo>
                  <a:pt x="9862101" y="6403755"/>
                </a:moveTo>
                <a:cubicBezTo>
                  <a:pt x="9878927" y="6403933"/>
                  <a:pt x="9895752" y="6414278"/>
                  <a:pt x="9902911" y="6429975"/>
                </a:cubicBezTo>
                <a:cubicBezTo>
                  <a:pt x="9912457" y="6452806"/>
                  <a:pt x="9902911" y="6477539"/>
                  <a:pt x="9880000" y="6487052"/>
                </a:cubicBezTo>
                <a:lnTo>
                  <a:pt x="9540159" y="6637356"/>
                </a:lnTo>
                <a:cubicBezTo>
                  <a:pt x="9517248" y="6646869"/>
                  <a:pt x="9492429" y="6635453"/>
                  <a:pt x="9482882" y="6614525"/>
                </a:cubicBezTo>
                <a:cubicBezTo>
                  <a:pt x="9479064" y="6608817"/>
                  <a:pt x="9479064" y="6603109"/>
                  <a:pt x="9479064" y="6597402"/>
                </a:cubicBezTo>
                <a:cubicBezTo>
                  <a:pt x="9479064" y="6580278"/>
                  <a:pt x="9488610" y="6565058"/>
                  <a:pt x="9505793" y="6557447"/>
                </a:cubicBezTo>
                <a:cubicBezTo>
                  <a:pt x="9505793" y="6557447"/>
                  <a:pt x="9505793" y="6557447"/>
                  <a:pt x="9845634" y="6407144"/>
                </a:cubicBezTo>
                <a:cubicBezTo>
                  <a:pt x="9850884" y="6404766"/>
                  <a:pt x="9856493" y="6403695"/>
                  <a:pt x="9862101" y="6403755"/>
                </a:cubicBezTo>
                <a:close/>
                <a:moveTo>
                  <a:pt x="10444610" y="6390314"/>
                </a:moveTo>
                <a:cubicBezTo>
                  <a:pt x="10460838" y="6389686"/>
                  <a:pt x="10476531" y="6400097"/>
                  <a:pt x="10483665" y="6415894"/>
                </a:cubicBezTo>
                <a:cubicBezTo>
                  <a:pt x="10495078" y="6436955"/>
                  <a:pt x="10483665" y="6463761"/>
                  <a:pt x="10462740" y="6473334"/>
                </a:cubicBezTo>
                <a:cubicBezTo>
                  <a:pt x="10462740" y="6473334"/>
                  <a:pt x="10462740" y="6473334"/>
                  <a:pt x="10124143" y="6624595"/>
                </a:cubicBezTo>
                <a:cubicBezTo>
                  <a:pt x="10101317" y="6634169"/>
                  <a:pt x="10076588" y="6624595"/>
                  <a:pt x="10067076" y="6603534"/>
                </a:cubicBezTo>
                <a:cubicBezTo>
                  <a:pt x="10065174" y="6597790"/>
                  <a:pt x="10063272" y="6592045"/>
                  <a:pt x="10063272" y="6586301"/>
                </a:cubicBezTo>
                <a:cubicBezTo>
                  <a:pt x="10063272" y="6569069"/>
                  <a:pt x="10072783" y="6553752"/>
                  <a:pt x="10088001" y="6546093"/>
                </a:cubicBezTo>
                <a:cubicBezTo>
                  <a:pt x="10088001" y="6546093"/>
                  <a:pt x="10088001" y="6546093"/>
                  <a:pt x="10428500" y="6394832"/>
                </a:cubicBezTo>
                <a:cubicBezTo>
                  <a:pt x="10433731" y="6391960"/>
                  <a:pt x="10439200" y="6390524"/>
                  <a:pt x="10444610" y="6390314"/>
                </a:cubicBezTo>
                <a:close/>
                <a:moveTo>
                  <a:pt x="9283606" y="6390314"/>
                </a:moveTo>
                <a:cubicBezTo>
                  <a:pt x="9300650" y="6389686"/>
                  <a:pt x="9316354" y="6400097"/>
                  <a:pt x="9323493" y="6415894"/>
                </a:cubicBezTo>
                <a:cubicBezTo>
                  <a:pt x="9333011" y="6436955"/>
                  <a:pt x="9323493" y="6463761"/>
                  <a:pt x="9302553" y="6473334"/>
                </a:cubicBezTo>
                <a:cubicBezTo>
                  <a:pt x="9302553" y="6473334"/>
                  <a:pt x="9302553" y="6473334"/>
                  <a:pt x="8961805" y="6624595"/>
                </a:cubicBezTo>
                <a:cubicBezTo>
                  <a:pt x="8940865" y="6634169"/>
                  <a:pt x="8916118" y="6624595"/>
                  <a:pt x="8906600" y="6603534"/>
                </a:cubicBezTo>
                <a:cubicBezTo>
                  <a:pt x="8902793" y="6597790"/>
                  <a:pt x="8902793" y="6592045"/>
                  <a:pt x="8902793" y="6586301"/>
                </a:cubicBezTo>
                <a:cubicBezTo>
                  <a:pt x="8902793" y="6569069"/>
                  <a:pt x="8912311" y="6553752"/>
                  <a:pt x="8927540" y="6546093"/>
                </a:cubicBezTo>
                <a:cubicBezTo>
                  <a:pt x="8927540" y="6546093"/>
                  <a:pt x="8927540" y="6546093"/>
                  <a:pt x="9266384" y="6394832"/>
                </a:cubicBezTo>
                <a:cubicBezTo>
                  <a:pt x="9272095" y="6391960"/>
                  <a:pt x="9277925" y="6390524"/>
                  <a:pt x="9283606" y="6390314"/>
                </a:cubicBezTo>
                <a:close/>
                <a:moveTo>
                  <a:pt x="11020686" y="6377294"/>
                </a:moveTo>
                <a:cubicBezTo>
                  <a:pt x="11037076" y="6376226"/>
                  <a:pt x="11053197" y="6385845"/>
                  <a:pt x="11061795" y="6402947"/>
                </a:cubicBezTo>
                <a:cubicBezTo>
                  <a:pt x="11071348" y="6423849"/>
                  <a:pt x="11061795" y="6448552"/>
                  <a:pt x="11038867" y="6458052"/>
                </a:cubicBezTo>
                <a:cubicBezTo>
                  <a:pt x="11038867" y="6458052"/>
                  <a:pt x="11038867" y="6458052"/>
                  <a:pt x="10698772" y="6611968"/>
                </a:cubicBezTo>
                <a:cubicBezTo>
                  <a:pt x="10677755" y="6621469"/>
                  <a:pt x="10652917" y="6611968"/>
                  <a:pt x="10643363" y="6591066"/>
                </a:cubicBezTo>
                <a:cubicBezTo>
                  <a:pt x="10639542" y="6585365"/>
                  <a:pt x="10639542" y="6579665"/>
                  <a:pt x="10639542" y="6573964"/>
                </a:cubicBezTo>
                <a:cubicBezTo>
                  <a:pt x="10639542" y="6556862"/>
                  <a:pt x="10647185" y="6541661"/>
                  <a:pt x="10664380" y="6534060"/>
                </a:cubicBezTo>
                <a:cubicBezTo>
                  <a:pt x="10664380" y="6534060"/>
                  <a:pt x="10664380" y="6534060"/>
                  <a:pt x="11004475" y="6382045"/>
                </a:cubicBezTo>
                <a:cubicBezTo>
                  <a:pt x="11009729" y="6379195"/>
                  <a:pt x="11015223" y="6377651"/>
                  <a:pt x="11020686" y="6377294"/>
                </a:cubicBezTo>
                <a:close/>
                <a:moveTo>
                  <a:pt x="8711111" y="6377294"/>
                </a:moveTo>
                <a:cubicBezTo>
                  <a:pt x="8727949" y="6376226"/>
                  <a:pt x="8744786" y="6385845"/>
                  <a:pt x="8751951" y="6402947"/>
                </a:cubicBezTo>
                <a:cubicBezTo>
                  <a:pt x="8761504" y="6423849"/>
                  <a:pt x="8751951" y="6448552"/>
                  <a:pt x="8730934" y="6458052"/>
                </a:cubicBezTo>
                <a:cubicBezTo>
                  <a:pt x="8730934" y="6458052"/>
                  <a:pt x="8730934" y="6458052"/>
                  <a:pt x="8388928" y="6611968"/>
                </a:cubicBezTo>
                <a:cubicBezTo>
                  <a:pt x="8367911" y="6621469"/>
                  <a:pt x="8343073" y="6611968"/>
                  <a:pt x="8333519" y="6591066"/>
                </a:cubicBezTo>
                <a:cubicBezTo>
                  <a:pt x="8329698" y="6585365"/>
                  <a:pt x="8329698" y="6579665"/>
                  <a:pt x="8329698" y="6573964"/>
                </a:cubicBezTo>
                <a:cubicBezTo>
                  <a:pt x="8329698" y="6556862"/>
                  <a:pt x="8339251" y="6541661"/>
                  <a:pt x="8354536" y="6534060"/>
                </a:cubicBezTo>
                <a:cubicBezTo>
                  <a:pt x="8354536" y="6534060"/>
                  <a:pt x="8354536" y="6534060"/>
                  <a:pt x="8694631" y="6382045"/>
                </a:cubicBezTo>
                <a:cubicBezTo>
                  <a:pt x="8699885" y="6379195"/>
                  <a:pt x="8705498" y="6377651"/>
                  <a:pt x="8711111" y="6377294"/>
                </a:cubicBezTo>
                <a:close/>
                <a:moveTo>
                  <a:pt x="8145353" y="6364557"/>
                </a:moveTo>
                <a:cubicBezTo>
                  <a:pt x="8162396" y="6363400"/>
                  <a:pt x="8178101" y="6372652"/>
                  <a:pt x="8185240" y="6388309"/>
                </a:cubicBezTo>
                <a:cubicBezTo>
                  <a:pt x="8194758" y="6411083"/>
                  <a:pt x="8185240" y="6435755"/>
                  <a:pt x="8164300" y="6445244"/>
                </a:cubicBezTo>
                <a:cubicBezTo>
                  <a:pt x="8164300" y="6445244"/>
                  <a:pt x="8164300" y="6445244"/>
                  <a:pt x="7825456" y="6600868"/>
                </a:cubicBezTo>
                <a:cubicBezTo>
                  <a:pt x="7804516" y="6610357"/>
                  <a:pt x="7779769" y="6600868"/>
                  <a:pt x="7768347" y="6579991"/>
                </a:cubicBezTo>
                <a:cubicBezTo>
                  <a:pt x="7766443" y="6574298"/>
                  <a:pt x="7764540" y="6568604"/>
                  <a:pt x="7764540" y="6562911"/>
                </a:cubicBezTo>
                <a:cubicBezTo>
                  <a:pt x="7764540" y="6545830"/>
                  <a:pt x="7774058" y="6530647"/>
                  <a:pt x="7789287" y="6523056"/>
                </a:cubicBezTo>
                <a:cubicBezTo>
                  <a:pt x="7789287" y="6523056"/>
                  <a:pt x="7789287" y="6523056"/>
                  <a:pt x="8128131" y="6369331"/>
                </a:cubicBezTo>
                <a:cubicBezTo>
                  <a:pt x="8133842" y="6366484"/>
                  <a:pt x="8139672" y="6364942"/>
                  <a:pt x="8145353" y="6364557"/>
                </a:cubicBezTo>
                <a:close/>
                <a:moveTo>
                  <a:pt x="11589455" y="6364556"/>
                </a:moveTo>
                <a:cubicBezTo>
                  <a:pt x="11605707" y="6363400"/>
                  <a:pt x="11621424" y="6372652"/>
                  <a:pt x="11628568" y="6388309"/>
                </a:cubicBezTo>
                <a:cubicBezTo>
                  <a:pt x="11638093" y="6411083"/>
                  <a:pt x="11630473" y="6435755"/>
                  <a:pt x="11607613" y="6445244"/>
                </a:cubicBezTo>
                <a:cubicBezTo>
                  <a:pt x="11607613" y="6445244"/>
                  <a:pt x="11607613" y="6445244"/>
                  <a:pt x="11268518" y="6600868"/>
                </a:cubicBezTo>
                <a:cubicBezTo>
                  <a:pt x="11247563" y="6610357"/>
                  <a:pt x="11222797" y="6600868"/>
                  <a:pt x="11213272" y="6579991"/>
                </a:cubicBezTo>
                <a:cubicBezTo>
                  <a:pt x="11211367" y="6574298"/>
                  <a:pt x="11209462" y="6568604"/>
                  <a:pt x="11209462" y="6562911"/>
                </a:cubicBezTo>
                <a:cubicBezTo>
                  <a:pt x="11209462" y="6545830"/>
                  <a:pt x="11218987" y="6530647"/>
                  <a:pt x="11234227" y="6523056"/>
                </a:cubicBezTo>
                <a:cubicBezTo>
                  <a:pt x="11234227" y="6523056"/>
                  <a:pt x="11234227" y="6523056"/>
                  <a:pt x="11573322" y="6369331"/>
                </a:cubicBezTo>
                <a:cubicBezTo>
                  <a:pt x="11578561" y="6366484"/>
                  <a:pt x="11584038" y="6364942"/>
                  <a:pt x="11589455" y="6364556"/>
                </a:cubicBezTo>
                <a:close/>
                <a:moveTo>
                  <a:pt x="12139750" y="6353181"/>
                </a:moveTo>
                <a:cubicBezTo>
                  <a:pt x="12139750" y="6353181"/>
                  <a:pt x="12139750" y="6353181"/>
                  <a:pt x="12139750" y="6444739"/>
                </a:cubicBezTo>
                <a:cubicBezTo>
                  <a:pt x="12139750" y="6444739"/>
                  <a:pt x="12139750" y="6444739"/>
                  <a:pt x="11833573" y="6587799"/>
                </a:cubicBezTo>
                <a:cubicBezTo>
                  <a:pt x="11812654" y="6599244"/>
                  <a:pt x="11787932" y="6589706"/>
                  <a:pt x="11778423" y="6568724"/>
                </a:cubicBezTo>
                <a:cubicBezTo>
                  <a:pt x="11774620" y="6563002"/>
                  <a:pt x="11774620" y="6557280"/>
                  <a:pt x="11774620" y="6551557"/>
                </a:cubicBezTo>
                <a:cubicBezTo>
                  <a:pt x="11774620" y="6534390"/>
                  <a:pt x="11782227" y="6519130"/>
                  <a:pt x="11797441" y="6513408"/>
                </a:cubicBezTo>
                <a:lnTo>
                  <a:pt x="12135947" y="6355088"/>
                </a:lnTo>
                <a:cubicBezTo>
                  <a:pt x="12137848" y="6353181"/>
                  <a:pt x="12139750" y="6353181"/>
                  <a:pt x="12139750" y="6353181"/>
                </a:cubicBezTo>
                <a:close/>
                <a:moveTo>
                  <a:pt x="7585725" y="6350302"/>
                </a:moveTo>
                <a:cubicBezTo>
                  <a:pt x="7601977" y="6349140"/>
                  <a:pt x="7617694" y="6358438"/>
                  <a:pt x="7624838" y="6374174"/>
                </a:cubicBezTo>
                <a:cubicBezTo>
                  <a:pt x="7634363" y="6395155"/>
                  <a:pt x="7624838" y="6419951"/>
                  <a:pt x="7605787" y="6429488"/>
                </a:cubicBezTo>
                <a:cubicBezTo>
                  <a:pt x="7605787" y="6429488"/>
                  <a:pt x="7605787" y="6429488"/>
                  <a:pt x="7264788" y="6587800"/>
                </a:cubicBezTo>
                <a:cubicBezTo>
                  <a:pt x="7243832" y="6599244"/>
                  <a:pt x="7219067" y="6589707"/>
                  <a:pt x="7209542" y="6568726"/>
                </a:cubicBezTo>
                <a:cubicBezTo>
                  <a:pt x="7207637" y="6563004"/>
                  <a:pt x="7205732" y="6557282"/>
                  <a:pt x="7205732" y="6551559"/>
                </a:cubicBezTo>
                <a:cubicBezTo>
                  <a:pt x="7205732" y="6534393"/>
                  <a:pt x="7215257" y="6519134"/>
                  <a:pt x="7230497" y="6513412"/>
                </a:cubicBezTo>
                <a:cubicBezTo>
                  <a:pt x="7230497" y="6513412"/>
                  <a:pt x="7230497" y="6513412"/>
                  <a:pt x="7569592" y="6355100"/>
                </a:cubicBezTo>
                <a:cubicBezTo>
                  <a:pt x="7574831" y="6352239"/>
                  <a:pt x="7580308" y="6350689"/>
                  <a:pt x="7585725" y="6350302"/>
                </a:cubicBezTo>
                <a:close/>
                <a:moveTo>
                  <a:pt x="7049044" y="6340183"/>
                </a:moveTo>
                <a:cubicBezTo>
                  <a:pt x="7059045" y="6343525"/>
                  <a:pt x="7067618" y="6350687"/>
                  <a:pt x="7072381" y="6361190"/>
                </a:cubicBezTo>
                <a:cubicBezTo>
                  <a:pt x="7081906" y="6382198"/>
                  <a:pt x="7072381" y="6407025"/>
                  <a:pt x="7051425" y="6416574"/>
                </a:cubicBezTo>
                <a:cubicBezTo>
                  <a:pt x="7051425" y="6416574"/>
                  <a:pt x="7051425" y="6416574"/>
                  <a:pt x="6714236" y="6576995"/>
                </a:cubicBezTo>
                <a:cubicBezTo>
                  <a:pt x="6693280" y="6586544"/>
                  <a:pt x="6668515" y="6578905"/>
                  <a:pt x="6658990" y="6557897"/>
                </a:cubicBezTo>
                <a:cubicBezTo>
                  <a:pt x="6655180" y="6552168"/>
                  <a:pt x="6653275" y="6546438"/>
                  <a:pt x="6653275" y="6540709"/>
                </a:cubicBezTo>
                <a:cubicBezTo>
                  <a:pt x="6653275" y="6523521"/>
                  <a:pt x="6662800" y="6510153"/>
                  <a:pt x="6678040" y="6502514"/>
                </a:cubicBezTo>
                <a:cubicBezTo>
                  <a:pt x="6678040" y="6502514"/>
                  <a:pt x="6678040" y="6502514"/>
                  <a:pt x="7017135" y="6342093"/>
                </a:cubicBezTo>
                <a:cubicBezTo>
                  <a:pt x="7027612" y="6337318"/>
                  <a:pt x="7039043" y="6336841"/>
                  <a:pt x="7049044" y="6340183"/>
                </a:cubicBezTo>
                <a:close/>
                <a:moveTo>
                  <a:pt x="6502912" y="6327426"/>
                </a:moveTo>
                <a:cubicBezTo>
                  <a:pt x="6512921" y="6330743"/>
                  <a:pt x="6521500" y="6337851"/>
                  <a:pt x="6526266" y="6348277"/>
                </a:cubicBezTo>
                <a:cubicBezTo>
                  <a:pt x="6535798" y="6367232"/>
                  <a:pt x="6528172" y="6391874"/>
                  <a:pt x="6507201" y="6401351"/>
                </a:cubicBezTo>
                <a:cubicBezTo>
                  <a:pt x="6507201" y="6401351"/>
                  <a:pt x="6507201" y="6401351"/>
                  <a:pt x="6167854" y="6564366"/>
                </a:cubicBezTo>
                <a:cubicBezTo>
                  <a:pt x="6146884" y="6573844"/>
                  <a:pt x="6122100" y="6566262"/>
                  <a:pt x="6112568" y="6545411"/>
                </a:cubicBezTo>
                <a:cubicBezTo>
                  <a:pt x="6110661" y="6539724"/>
                  <a:pt x="6108755" y="6534038"/>
                  <a:pt x="6108755" y="6528351"/>
                </a:cubicBezTo>
                <a:cubicBezTo>
                  <a:pt x="6108755" y="6513187"/>
                  <a:pt x="6118287" y="6498023"/>
                  <a:pt x="6131632" y="6490441"/>
                </a:cubicBezTo>
                <a:cubicBezTo>
                  <a:pt x="6131632" y="6490441"/>
                  <a:pt x="6131632" y="6490441"/>
                  <a:pt x="6470979" y="6329321"/>
                </a:cubicBezTo>
                <a:cubicBezTo>
                  <a:pt x="6481464" y="6324583"/>
                  <a:pt x="6492903" y="6324109"/>
                  <a:pt x="6502912" y="6327426"/>
                </a:cubicBezTo>
                <a:close/>
                <a:moveTo>
                  <a:pt x="5955853" y="6313176"/>
                </a:moveTo>
                <a:cubicBezTo>
                  <a:pt x="5965385" y="6316510"/>
                  <a:pt x="5973487" y="6323653"/>
                  <a:pt x="5978253" y="6334131"/>
                </a:cubicBezTo>
                <a:cubicBezTo>
                  <a:pt x="5989691" y="6353181"/>
                  <a:pt x="5980159" y="6377946"/>
                  <a:pt x="5961095" y="6387471"/>
                </a:cubicBezTo>
                <a:cubicBezTo>
                  <a:pt x="5961095" y="6387471"/>
                  <a:pt x="5961095" y="6387471"/>
                  <a:pt x="5621756" y="6553206"/>
                </a:cubicBezTo>
                <a:cubicBezTo>
                  <a:pt x="5600786" y="6562731"/>
                  <a:pt x="5576003" y="6553206"/>
                  <a:pt x="5566471" y="6534156"/>
                </a:cubicBezTo>
                <a:cubicBezTo>
                  <a:pt x="5564565" y="6528441"/>
                  <a:pt x="5562659" y="6522726"/>
                  <a:pt x="5562659" y="6517011"/>
                </a:cubicBezTo>
                <a:cubicBezTo>
                  <a:pt x="5562659" y="6501771"/>
                  <a:pt x="5572190" y="6486531"/>
                  <a:pt x="5585535" y="6478911"/>
                </a:cubicBezTo>
                <a:cubicBezTo>
                  <a:pt x="5585535" y="6478911"/>
                  <a:pt x="5585535" y="6478911"/>
                  <a:pt x="5924873" y="6315081"/>
                </a:cubicBezTo>
                <a:cubicBezTo>
                  <a:pt x="5935358" y="6310318"/>
                  <a:pt x="5946322" y="6309842"/>
                  <a:pt x="5955853" y="6313176"/>
                </a:cubicBezTo>
                <a:close/>
                <a:moveTo>
                  <a:pt x="396081" y="6313176"/>
                </a:moveTo>
                <a:cubicBezTo>
                  <a:pt x="405822" y="6316509"/>
                  <a:pt x="414375" y="6323653"/>
                  <a:pt x="419127" y="6334131"/>
                </a:cubicBezTo>
                <a:cubicBezTo>
                  <a:pt x="428631" y="6353181"/>
                  <a:pt x="421028" y="6377946"/>
                  <a:pt x="400120" y="6387471"/>
                </a:cubicBezTo>
                <a:cubicBezTo>
                  <a:pt x="400120" y="6387471"/>
                  <a:pt x="400120" y="6387471"/>
                  <a:pt x="63687" y="6553206"/>
                </a:cubicBezTo>
                <a:cubicBezTo>
                  <a:pt x="42779" y="6562731"/>
                  <a:pt x="18069" y="6553206"/>
                  <a:pt x="8565" y="6534156"/>
                </a:cubicBezTo>
                <a:cubicBezTo>
                  <a:pt x="6665" y="6528441"/>
                  <a:pt x="4764" y="6522726"/>
                  <a:pt x="4764" y="6517011"/>
                </a:cubicBezTo>
                <a:cubicBezTo>
                  <a:pt x="4764" y="6501771"/>
                  <a:pt x="12367" y="6486531"/>
                  <a:pt x="27573" y="6478911"/>
                </a:cubicBezTo>
                <a:cubicBezTo>
                  <a:pt x="27573" y="6478911"/>
                  <a:pt x="27573" y="6478911"/>
                  <a:pt x="365906" y="6315081"/>
                </a:cubicBezTo>
                <a:cubicBezTo>
                  <a:pt x="375410" y="6310318"/>
                  <a:pt x="386339" y="6309842"/>
                  <a:pt x="396081" y="6313176"/>
                </a:cubicBezTo>
                <a:close/>
                <a:moveTo>
                  <a:pt x="5405334" y="6300229"/>
                </a:moveTo>
                <a:cubicBezTo>
                  <a:pt x="5415075" y="6303320"/>
                  <a:pt x="5423629" y="6309980"/>
                  <a:pt x="5429330" y="6319493"/>
                </a:cubicBezTo>
                <a:cubicBezTo>
                  <a:pt x="5438834" y="6340422"/>
                  <a:pt x="5431231" y="6363255"/>
                  <a:pt x="5410323" y="6372768"/>
                </a:cubicBezTo>
                <a:cubicBezTo>
                  <a:pt x="5410323" y="6372768"/>
                  <a:pt x="5410323" y="6372768"/>
                  <a:pt x="5071987" y="6540203"/>
                </a:cubicBezTo>
                <a:cubicBezTo>
                  <a:pt x="5052982" y="6551619"/>
                  <a:pt x="5028276" y="6542105"/>
                  <a:pt x="5018773" y="6523079"/>
                </a:cubicBezTo>
                <a:cubicBezTo>
                  <a:pt x="5016873" y="6517371"/>
                  <a:pt x="5014972" y="6511663"/>
                  <a:pt x="5014972" y="6505955"/>
                </a:cubicBezTo>
                <a:cubicBezTo>
                  <a:pt x="5014972" y="6490733"/>
                  <a:pt x="5022575" y="6475512"/>
                  <a:pt x="5037779" y="6469804"/>
                </a:cubicBezTo>
                <a:cubicBezTo>
                  <a:pt x="5037779" y="6469804"/>
                  <a:pt x="5037779" y="6469804"/>
                  <a:pt x="5374210" y="6302369"/>
                </a:cubicBezTo>
                <a:cubicBezTo>
                  <a:pt x="5384664" y="6297613"/>
                  <a:pt x="5395593" y="6297137"/>
                  <a:pt x="5405334" y="6300229"/>
                </a:cubicBezTo>
                <a:close/>
                <a:moveTo>
                  <a:pt x="940474" y="6300229"/>
                </a:moveTo>
                <a:cubicBezTo>
                  <a:pt x="950252" y="6303320"/>
                  <a:pt x="958837" y="6309980"/>
                  <a:pt x="963607" y="6319493"/>
                </a:cubicBezTo>
                <a:cubicBezTo>
                  <a:pt x="973147" y="6340422"/>
                  <a:pt x="965515" y="6363255"/>
                  <a:pt x="944528" y="6372768"/>
                </a:cubicBezTo>
                <a:cubicBezTo>
                  <a:pt x="944528" y="6372768"/>
                  <a:pt x="944528" y="6372768"/>
                  <a:pt x="606835" y="6540203"/>
                </a:cubicBezTo>
                <a:cubicBezTo>
                  <a:pt x="585849" y="6551619"/>
                  <a:pt x="562954" y="6542105"/>
                  <a:pt x="551507" y="6523079"/>
                </a:cubicBezTo>
                <a:cubicBezTo>
                  <a:pt x="549599" y="6517371"/>
                  <a:pt x="547691" y="6511663"/>
                  <a:pt x="547691" y="6505955"/>
                </a:cubicBezTo>
                <a:cubicBezTo>
                  <a:pt x="547691" y="6490733"/>
                  <a:pt x="557231" y="6475512"/>
                  <a:pt x="570586" y="6469804"/>
                </a:cubicBezTo>
                <a:cubicBezTo>
                  <a:pt x="570586" y="6469804"/>
                  <a:pt x="570586" y="6469804"/>
                  <a:pt x="910187" y="6302369"/>
                </a:cubicBezTo>
                <a:cubicBezTo>
                  <a:pt x="919726" y="6297613"/>
                  <a:pt x="930696" y="6297137"/>
                  <a:pt x="940474" y="6300229"/>
                </a:cubicBezTo>
                <a:close/>
                <a:moveTo>
                  <a:pt x="4851393" y="6285987"/>
                </a:moveTo>
                <a:cubicBezTo>
                  <a:pt x="4860933" y="6289098"/>
                  <a:pt x="4869519" y="6295798"/>
                  <a:pt x="4875244" y="6305369"/>
                </a:cubicBezTo>
                <a:cubicBezTo>
                  <a:pt x="4884786" y="6324513"/>
                  <a:pt x="4877153" y="6349399"/>
                  <a:pt x="4856165" y="6358971"/>
                </a:cubicBezTo>
                <a:cubicBezTo>
                  <a:pt x="4856165" y="6358971"/>
                  <a:pt x="4856165" y="6358971"/>
                  <a:pt x="4518477" y="6529347"/>
                </a:cubicBezTo>
                <a:cubicBezTo>
                  <a:pt x="4497490" y="6538919"/>
                  <a:pt x="4474595" y="6531261"/>
                  <a:pt x="4465055" y="6512118"/>
                </a:cubicBezTo>
                <a:cubicBezTo>
                  <a:pt x="4461240" y="6506375"/>
                  <a:pt x="4459331" y="6500632"/>
                  <a:pt x="4459331" y="6494889"/>
                </a:cubicBezTo>
                <a:cubicBezTo>
                  <a:pt x="4459331" y="6479574"/>
                  <a:pt x="4468871" y="6466174"/>
                  <a:pt x="4482227" y="6458517"/>
                </a:cubicBezTo>
                <a:cubicBezTo>
                  <a:pt x="4482227" y="6458517"/>
                  <a:pt x="4482227" y="6458517"/>
                  <a:pt x="4821819" y="6288140"/>
                </a:cubicBezTo>
                <a:cubicBezTo>
                  <a:pt x="4831358" y="6283355"/>
                  <a:pt x="4841851" y="6282876"/>
                  <a:pt x="4851393" y="6285987"/>
                </a:cubicBezTo>
                <a:close/>
                <a:moveTo>
                  <a:pt x="1486674" y="6285987"/>
                </a:moveTo>
                <a:cubicBezTo>
                  <a:pt x="1496423" y="6289098"/>
                  <a:pt x="1504982" y="6295798"/>
                  <a:pt x="1509738" y="6305369"/>
                </a:cubicBezTo>
                <a:cubicBezTo>
                  <a:pt x="1519249" y="6324513"/>
                  <a:pt x="1511640" y="6349399"/>
                  <a:pt x="1492618" y="6358971"/>
                </a:cubicBezTo>
                <a:cubicBezTo>
                  <a:pt x="1492618" y="6358971"/>
                  <a:pt x="1492618" y="6358971"/>
                  <a:pt x="1154033" y="6529347"/>
                </a:cubicBezTo>
                <a:cubicBezTo>
                  <a:pt x="1135012" y="6538919"/>
                  <a:pt x="1110284" y="6531261"/>
                  <a:pt x="1100773" y="6512118"/>
                </a:cubicBezTo>
                <a:cubicBezTo>
                  <a:pt x="1098871" y="6506375"/>
                  <a:pt x="1096968" y="6500632"/>
                  <a:pt x="1096968" y="6494889"/>
                </a:cubicBezTo>
                <a:cubicBezTo>
                  <a:pt x="1096968" y="6479574"/>
                  <a:pt x="1104577" y="6466174"/>
                  <a:pt x="1117892" y="6458517"/>
                </a:cubicBezTo>
                <a:cubicBezTo>
                  <a:pt x="1117892" y="6458517"/>
                  <a:pt x="1117892" y="6458517"/>
                  <a:pt x="1456477" y="6288140"/>
                </a:cubicBezTo>
                <a:cubicBezTo>
                  <a:pt x="1465988" y="6283355"/>
                  <a:pt x="1476926" y="6282876"/>
                  <a:pt x="1486674" y="6285987"/>
                </a:cubicBezTo>
                <a:close/>
                <a:moveTo>
                  <a:pt x="4292528" y="6273233"/>
                </a:moveTo>
                <a:cubicBezTo>
                  <a:pt x="4302039" y="6276321"/>
                  <a:pt x="4310122" y="6282972"/>
                  <a:pt x="4314878" y="6292474"/>
                </a:cubicBezTo>
                <a:cubicBezTo>
                  <a:pt x="4324389" y="6311478"/>
                  <a:pt x="4316781" y="6334282"/>
                  <a:pt x="4297758" y="6345684"/>
                </a:cubicBezTo>
                <a:cubicBezTo>
                  <a:pt x="4297758" y="6345684"/>
                  <a:pt x="4297758" y="6345684"/>
                  <a:pt x="3961097" y="6516717"/>
                </a:cubicBezTo>
                <a:cubicBezTo>
                  <a:pt x="3940170" y="6526219"/>
                  <a:pt x="3917344" y="6518617"/>
                  <a:pt x="3907836" y="6499614"/>
                </a:cubicBezTo>
                <a:cubicBezTo>
                  <a:pt x="3904028" y="6493913"/>
                  <a:pt x="3902129" y="6488211"/>
                  <a:pt x="3902129" y="6482510"/>
                </a:cubicBezTo>
                <a:cubicBezTo>
                  <a:pt x="3902129" y="6467307"/>
                  <a:pt x="3911639" y="6454005"/>
                  <a:pt x="3924955" y="6446403"/>
                </a:cubicBezTo>
                <a:cubicBezTo>
                  <a:pt x="3924955" y="6446403"/>
                  <a:pt x="3924955" y="6446403"/>
                  <a:pt x="4261616" y="6275371"/>
                </a:cubicBezTo>
                <a:cubicBezTo>
                  <a:pt x="4272078" y="6270620"/>
                  <a:pt x="4283016" y="6270145"/>
                  <a:pt x="4292528" y="6273233"/>
                </a:cubicBezTo>
                <a:close/>
                <a:moveTo>
                  <a:pt x="2038415" y="6273233"/>
                </a:moveTo>
                <a:cubicBezTo>
                  <a:pt x="2047926" y="6276321"/>
                  <a:pt x="2056491" y="6282972"/>
                  <a:pt x="2062197" y="6292474"/>
                </a:cubicBezTo>
                <a:cubicBezTo>
                  <a:pt x="2071708" y="6311478"/>
                  <a:pt x="2064099" y="6334282"/>
                  <a:pt x="2045072" y="6345684"/>
                </a:cubicBezTo>
                <a:cubicBezTo>
                  <a:pt x="2045072" y="6345684"/>
                  <a:pt x="2045072" y="6345684"/>
                  <a:pt x="1706487" y="6516717"/>
                </a:cubicBezTo>
                <a:cubicBezTo>
                  <a:pt x="1687465" y="6526219"/>
                  <a:pt x="1662737" y="6518617"/>
                  <a:pt x="1653226" y="6499614"/>
                </a:cubicBezTo>
                <a:cubicBezTo>
                  <a:pt x="1651324" y="6493913"/>
                  <a:pt x="1649422" y="6488211"/>
                  <a:pt x="1649422" y="6482510"/>
                </a:cubicBezTo>
                <a:cubicBezTo>
                  <a:pt x="1649422" y="6467307"/>
                  <a:pt x="1657031" y="6454005"/>
                  <a:pt x="1670346" y="6446403"/>
                </a:cubicBezTo>
                <a:cubicBezTo>
                  <a:pt x="1670346" y="6446403"/>
                  <a:pt x="1670346" y="6446403"/>
                  <a:pt x="2008931" y="6275371"/>
                </a:cubicBezTo>
                <a:cubicBezTo>
                  <a:pt x="2018442" y="6270620"/>
                  <a:pt x="2028904" y="6270145"/>
                  <a:pt x="2038415" y="6273233"/>
                </a:cubicBezTo>
                <a:close/>
                <a:moveTo>
                  <a:pt x="3729185" y="6260524"/>
                </a:moveTo>
                <a:cubicBezTo>
                  <a:pt x="3738466" y="6263608"/>
                  <a:pt x="3746556" y="6270252"/>
                  <a:pt x="3751317" y="6279742"/>
                </a:cubicBezTo>
                <a:cubicBezTo>
                  <a:pt x="3760834" y="6298723"/>
                  <a:pt x="3755123" y="6321500"/>
                  <a:pt x="3736088" y="6330991"/>
                </a:cubicBezTo>
                <a:cubicBezTo>
                  <a:pt x="3736088" y="6330991"/>
                  <a:pt x="3736088" y="6330991"/>
                  <a:pt x="3397263" y="6505616"/>
                </a:cubicBezTo>
                <a:cubicBezTo>
                  <a:pt x="3378225" y="6515107"/>
                  <a:pt x="3355382" y="6507514"/>
                  <a:pt x="3345863" y="6488533"/>
                </a:cubicBezTo>
                <a:cubicBezTo>
                  <a:pt x="3342056" y="6482839"/>
                  <a:pt x="3340155" y="6477145"/>
                  <a:pt x="3340155" y="6469552"/>
                </a:cubicBezTo>
                <a:cubicBezTo>
                  <a:pt x="3340155" y="6456266"/>
                  <a:pt x="3347767" y="6442979"/>
                  <a:pt x="3361092" y="6435386"/>
                </a:cubicBezTo>
                <a:cubicBezTo>
                  <a:pt x="3361092" y="6435386"/>
                  <a:pt x="3361092" y="6435386"/>
                  <a:pt x="3699918" y="6262659"/>
                </a:cubicBezTo>
                <a:cubicBezTo>
                  <a:pt x="3709435" y="6257914"/>
                  <a:pt x="3719905" y="6257440"/>
                  <a:pt x="3729185" y="6260524"/>
                </a:cubicBezTo>
                <a:close/>
                <a:moveTo>
                  <a:pt x="2595567" y="6260524"/>
                </a:moveTo>
                <a:cubicBezTo>
                  <a:pt x="2604882" y="6263608"/>
                  <a:pt x="2613003" y="6270252"/>
                  <a:pt x="2617780" y="6279742"/>
                </a:cubicBezTo>
                <a:cubicBezTo>
                  <a:pt x="2627334" y="6298723"/>
                  <a:pt x="2621602" y="6321500"/>
                  <a:pt x="2600583" y="6330991"/>
                </a:cubicBezTo>
                <a:cubicBezTo>
                  <a:pt x="2600583" y="6330991"/>
                  <a:pt x="2600583" y="6330991"/>
                  <a:pt x="2262377" y="6505616"/>
                </a:cubicBezTo>
                <a:cubicBezTo>
                  <a:pt x="2243270" y="6515107"/>
                  <a:pt x="2220340" y="6507514"/>
                  <a:pt x="2210786" y="6488533"/>
                </a:cubicBezTo>
                <a:cubicBezTo>
                  <a:pt x="2206965" y="6482839"/>
                  <a:pt x="2205054" y="6477145"/>
                  <a:pt x="2205054" y="6469552"/>
                </a:cubicBezTo>
                <a:cubicBezTo>
                  <a:pt x="2205054" y="6456266"/>
                  <a:pt x="2212697" y="6442979"/>
                  <a:pt x="2226072" y="6435386"/>
                </a:cubicBezTo>
                <a:cubicBezTo>
                  <a:pt x="2226072" y="6435386"/>
                  <a:pt x="2226072" y="6435386"/>
                  <a:pt x="2566189" y="6262659"/>
                </a:cubicBezTo>
                <a:cubicBezTo>
                  <a:pt x="2575744" y="6257914"/>
                  <a:pt x="2586253" y="6257440"/>
                  <a:pt x="2595567" y="6260524"/>
                </a:cubicBezTo>
                <a:close/>
                <a:moveTo>
                  <a:pt x="3155660" y="6245326"/>
                </a:moveTo>
                <a:cubicBezTo>
                  <a:pt x="3164974" y="6247952"/>
                  <a:pt x="3173095" y="6254158"/>
                  <a:pt x="3177873" y="6263706"/>
                </a:cubicBezTo>
                <a:cubicBezTo>
                  <a:pt x="3189335" y="6282802"/>
                  <a:pt x="3181695" y="6305717"/>
                  <a:pt x="3162585" y="6317174"/>
                </a:cubicBezTo>
                <a:cubicBezTo>
                  <a:pt x="3162585" y="6317174"/>
                  <a:pt x="3162585" y="6317174"/>
                  <a:pt x="2822466" y="6492858"/>
                </a:cubicBezTo>
                <a:cubicBezTo>
                  <a:pt x="2805270" y="6502406"/>
                  <a:pt x="2780429" y="6496677"/>
                  <a:pt x="2770875" y="6477581"/>
                </a:cubicBezTo>
                <a:cubicBezTo>
                  <a:pt x="2768965" y="6471852"/>
                  <a:pt x="2767054" y="6466123"/>
                  <a:pt x="2767054" y="6458485"/>
                </a:cubicBezTo>
                <a:cubicBezTo>
                  <a:pt x="2767054" y="6445118"/>
                  <a:pt x="2774696" y="6431751"/>
                  <a:pt x="2788073" y="6426022"/>
                </a:cubicBezTo>
                <a:cubicBezTo>
                  <a:pt x="2788073" y="6426022"/>
                  <a:pt x="2788073" y="6426022"/>
                  <a:pt x="3126282" y="6248429"/>
                </a:cubicBezTo>
                <a:cubicBezTo>
                  <a:pt x="3135835" y="6243655"/>
                  <a:pt x="3146344" y="6242700"/>
                  <a:pt x="3155660" y="6245326"/>
                </a:cubicBezTo>
                <a:close/>
                <a:moveTo>
                  <a:pt x="9874931" y="6079814"/>
                </a:moveTo>
                <a:cubicBezTo>
                  <a:pt x="9884903" y="6083147"/>
                  <a:pt x="9893450" y="6090291"/>
                  <a:pt x="9898198" y="6100769"/>
                </a:cubicBezTo>
                <a:cubicBezTo>
                  <a:pt x="9907695" y="6119819"/>
                  <a:pt x="9900098" y="6144584"/>
                  <a:pt x="9879205" y="6154109"/>
                </a:cubicBezTo>
                <a:cubicBezTo>
                  <a:pt x="9879205" y="6154109"/>
                  <a:pt x="9879205" y="6154109"/>
                  <a:pt x="9541119" y="6319844"/>
                </a:cubicBezTo>
                <a:cubicBezTo>
                  <a:pt x="9522125" y="6329369"/>
                  <a:pt x="9497434" y="6319844"/>
                  <a:pt x="9487937" y="6300794"/>
                </a:cubicBezTo>
                <a:cubicBezTo>
                  <a:pt x="9484138" y="6295079"/>
                  <a:pt x="9482239" y="6287459"/>
                  <a:pt x="9482239" y="6281744"/>
                </a:cubicBezTo>
                <a:cubicBezTo>
                  <a:pt x="9482239" y="6266504"/>
                  <a:pt x="9491736" y="6253169"/>
                  <a:pt x="9506931" y="6245549"/>
                </a:cubicBezTo>
                <a:cubicBezTo>
                  <a:pt x="9506931" y="6245549"/>
                  <a:pt x="9506931" y="6245549"/>
                  <a:pt x="9843117" y="6081719"/>
                </a:cubicBezTo>
                <a:cubicBezTo>
                  <a:pt x="9853563" y="6076956"/>
                  <a:pt x="9864959" y="6076480"/>
                  <a:pt x="9874931" y="6079814"/>
                </a:cubicBezTo>
                <a:close/>
                <a:moveTo>
                  <a:pt x="10459016" y="6066240"/>
                </a:moveTo>
                <a:cubicBezTo>
                  <a:pt x="10469025" y="6069812"/>
                  <a:pt x="10477604" y="6076956"/>
                  <a:pt x="10482370" y="6086481"/>
                </a:cubicBezTo>
                <a:cubicBezTo>
                  <a:pt x="10491902" y="6107436"/>
                  <a:pt x="10484276" y="6132201"/>
                  <a:pt x="10463305" y="6141726"/>
                </a:cubicBezTo>
                <a:cubicBezTo>
                  <a:pt x="10463305" y="6141726"/>
                  <a:pt x="10463305" y="6141726"/>
                  <a:pt x="10123959" y="6305556"/>
                </a:cubicBezTo>
                <a:cubicBezTo>
                  <a:pt x="10102988" y="6315081"/>
                  <a:pt x="10080111" y="6307461"/>
                  <a:pt x="10068672" y="6286506"/>
                </a:cubicBezTo>
                <a:cubicBezTo>
                  <a:pt x="10066765" y="6280791"/>
                  <a:pt x="10064859" y="6275076"/>
                  <a:pt x="10064859" y="6269361"/>
                </a:cubicBezTo>
                <a:cubicBezTo>
                  <a:pt x="10064859" y="6254121"/>
                  <a:pt x="10074391" y="6238881"/>
                  <a:pt x="10087736" y="6231261"/>
                </a:cubicBezTo>
                <a:cubicBezTo>
                  <a:pt x="10087736" y="6231261"/>
                  <a:pt x="10087736" y="6231261"/>
                  <a:pt x="10427083" y="6067431"/>
                </a:cubicBezTo>
                <a:cubicBezTo>
                  <a:pt x="10437569" y="6062668"/>
                  <a:pt x="10449007" y="6062668"/>
                  <a:pt x="10459016" y="6066240"/>
                </a:cubicBezTo>
                <a:close/>
                <a:moveTo>
                  <a:pt x="9297823" y="6066240"/>
                </a:moveTo>
                <a:cubicBezTo>
                  <a:pt x="9307593" y="6069812"/>
                  <a:pt x="9316173" y="6076956"/>
                  <a:pt x="9321892" y="6086481"/>
                </a:cubicBezTo>
                <a:cubicBezTo>
                  <a:pt x="9331424" y="6107436"/>
                  <a:pt x="9321892" y="6132201"/>
                  <a:pt x="9302827" y="6141726"/>
                </a:cubicBezTo>
                <a:cubicBezTo>
                  <a:pt x="9302827" y="6141726"/>
                  <a:pt x="9302827" y="6141726"/>
                  <a:pt x="8963481" y="6305556"/>
                </a:cubicBezTo>
                <a:cubicBezTo>
                  <a:pt x="8942510" y="6315081"/>
                  <a:pt x="8917726" y="6307461"/>
                  <a:pt x="8908194" y="6286506"/>
                </a:cubicBezTo>
                <a:cubicBezTo>
                  <a:pt x="8906287" y="6280791"/>
                  <a:pt x="8904381" y="6275076"/>
                  <a:pt x="8904381" y="6269361"/>
                </a:cubicBezTo>
                <a:cubicBezTo>
                  <a:pt x="8904381" y="6254121"/>
                  <a:pt x="8912007" y="6238881"/>
                  <a:pt x="8927258" y="6231261"/>
                </a:cubicBezTo>
                <a:cubicBezTo>
                  <a:pt x="8927258" y="6231261"/>
                  <a:pt x="8927258" y="6231261"/>
                  <a:pt x="9266605" y="6067431"/>
                </a:cubicBezTo>
                <a:cubicBezTo>
                  <a:pt x="9277090" y="6062668"/>
                  <a:pt x="9288052" y="6062668"/>
                  <a:pt x="9297823" y="6066240"/>
                </a:cubicBezTo>
                <a:close/>
                <a:moveTo>
                  <a:pt x="11018858" y="6051844"/>
                </a:moveTo>
                <a:cubicBezTo>
                  <a:pt x="11034272" y="6050683"/>
                  <a:pt x="11049953" y="6059970"/>
                  <a:pt x="11057081" y="6075686"/>
                </a:cubicBezTo>
                <a:cubicBezTo>
                  <a:pt x="11066585" y="6094736"/>
                  <a:pt x="11058982" y="6119501"/>
                  <a:pt x="11038074" y="6129026"/>
                </a:cubicBezTo>
                <a:cubicBezTo>
                  <a:pt x="11038074" y="6129026"/>
                  <a:pt x="11038074" y="6129026"/>
                  <a:pt x="10699740" y="6292856"/>
                </a:cubicBezTo>
                <a:cubicBezTo>
                  <a:pt x="10680732" y="6302381"/>
                  <a:pt x="10656022" y="6294761"/>
                  <a:pt x="10646519" y="6273806"/>
                </a:cubicBezTo>
                <a:cubicBezTo>
                  <a:pt x="10642717" y="6268091"/>
                  <a:pt x="10642717" y="6262376"/>
                  <a:pt x="10642717" y="6256661"/>
                </a:cubicBezTo>
                <a:cubicBezTo>
                  <a:pt x="10642717" y="6241421"/>
                  <a:pt x="10650320" y="6226181"/>
                  <a:pt x="10665526" y="6220466"/>
                </a:cubicBezTo>
                <a:cubicBezTo>
                  <a:pt x="10665526" y="6220466"/>
                  <a:pt x="10665526" y="6220466"/>
                  <a:pt x="11003860" y="6056636"/>
                </a:cubicBezTo>
                <a:cubicBezTo>
                  <a:pt x="11008612" y="6053778"/>
                  <a:pt x="11013720" y="6052230"/>
                  <a:pt x="11018858" y="6051844"/>
                </a:cubicBezTo>
                <a:close/>
                <a:moveTo>
                  <a:pt x="8710944" y="6051843"/>
                </a:moveTo>
                <a:cubicBezTo>
                  <a:pt x="8726672" y="6050683"/>
                  <a:pt x="8741328" y="6059970"/>
                  <a:pt x="8748477" y="6075686"/>
                </a:cubicBezTo>
                <a:cubicBezTo>
                  <a:pt x="8759916" y="6094736"/>
                  <a:pt x="8750384" y="6119501"/>
                  <a:pt x="8731319" y="6129026"/>
                </a:cubicBezTo>
                <a:cubicBezTo>
                  <a:pt x="8731319" y="6129026"/>
                  <a:pt x="8731319" y="6129026"/>
                  <a:pt x="8391973" y="6292856"/>
                </a:cubicBezTo>
                <a:cubicBezTo>
                  <a:pt x="8371002" y="6302381"/>
                  <a:pt x="8346218" y="6294761"/>
                  <a:pt x="8336686" y="6273806"/>
                </a:cubicBezTo>
                <a:cubicBezTo>
                  <a:pt x="8334779" y="6268091"/>
                  <a:pt x="8332873" y="6262376"/>
                  <a:pt x="8332873" y="6256661"/>
                </a:cubicBezTo>
                <a:cubicBezTo>
                  <a:pt x="8332873" y="6241421"/>
                  <a:pt x="8340499" y="6226181"/>
                  <a:pt x="8355750" y="6220466"/>
                </a:cubicBezTo>
                <a:cubicBezTo>
                  <a:pt x="8355750" y="6220466"/>
                  <a:pt x="8355750" y="6220466"/>
                  <a:pt x="8695097" y="6056636"/>
                </a:cubicBezTo>
                <a:cubicBezTo>
                  <a:pt x="8700340" y="6053778"/>
                  <a:pt x="8705702" y="6052230"/>
                  <a:pt x="8710944" y="6051843"/>
                </a:cubicBezTo>
                <a:close/>
                <a:moveTo>
                  <a:pt x="11603954" y="6041714"/>
                </a:moveTo>
                <a:cubicBezTo>
                  <a:pt x="11613696" y="6045048"/>
                  <a:pt x="11622249" y="6052191"/>
                  <a:pt x="11627001" y="6062669"/>
                </a:cubicBezTo>
                <a:cubicBezTo>
                  <a:pt x="11636505" y="6083624"/>
                  <a:pt x="11628902" y="6106484"/>
                  <a:pt x="11607994" y="6117914"/>
                </a:cubicBezTo>
                <a:cubicBezTo>
                  <a:pt x="11607994" y="6117914"/>
                  <a:pt x="11607994" y="6117914"/>
                  <a:pt x="11271560" y="6281744"/>
                </a:cubicBezTo>
                <a:cubicBezTo>
                  <a:pt x="11250652" y="6291269"/>
                  <a:pt x="11225942" y="6281744"/>
                  <a:pt x="11216439" y="6262694"/>
                </a:cubicBezTo>
                <a:cubicBezTo>
                  <a:pt x="11212637" y="6256979"/>
                  <a:pt x="11212637" y="6251264"/>
                  <a:pt x="11212637" y="6243644"/>
                </a:cubicBezTo>
                <a:cubicBezTo>
                  <a:pt x="11212637" y="6228404"/>
                  <a:pt x="11220240" y="6215069"/>
                  <a:pt x="11235446" y="6207449"/>
                </a:cubicBezTo>
                <a:cubicBezTo>
                  <a:pt x="11235446" y="6207449"/>
                  <a:pt x="11235446" y="6207449"/>
                  <a:pt x="11573780" y="6043619"/>
                </a:cubicBezTo>
                <a:cubicBezTo>
                  <a:pt x="11583284" y="6038856"/>
                  <a:pt x="11594213" y="6038380"/>
                  <a:pt x="11603954" y="6041714"/>
                </a:cubicBezTo>
                <a:close/>
                <a:moveTo>
                  <a:pt x="8160285" y="6041714"/>
                </a:moveTo>
                <a:cubicBezTo>
                  <a:pt x="8170294" y="6045048"/>
                  <a:pt x="8178872" y="6052191"/>
                  <a:pt x="8183639" y="6062669"/>
                </a:cubicBezTo>
                <a:cubicBezTo>
                  <a:pt x="8193171" y="6083624"/>
                  <a:pt x="8183639" y="6106484"/>
                  <a:pt x="8164574" y="6117914"/>
                </a:cubicBezTo>
                <a:cubicBezTo>
                  <a:pt x="8164574" y="6117914"/>
                  <a:pt x="8164574" y="6117914"/>
                  <a:pt x="7825227" y="6281744"/>
                </a:cubicBezTo>
                <a:cubicBezTo>
                  <a:pt x="7804257" y="6291269"/>
                  <a:pt x="7781379" y="6281744"/>
                  <a:pt x="7769941" y="6262694"/>
                </a:cubicBezTo>
                <a:cubicBezTo>
                  <a:pt x="7768034" y="6256979"/>
                  <a:pt x="7766128" y="6251264"/>
                  <a:pt x="7766128" y="6243644"/>
                </a:cubicBezTo>
                <a:cubicBezTo>
                  <a:pt x="7766128" y="6228404"/>
                  <a:pt x="7775660" y="6215069"/>
                  <a:pt x="7789005" y="6207449"/>
                </a:cubicBezTo>
                <a:cubicBezTo>
                  <a:pt x="7789005" y="6207449"/>
                  <a:pt x="7789005" y="6207449"/>
                  <a:pt x="8128352" y="6043619"/>
                </a:cubicBezTo>
                <a:cubicBezTo>
                  <a:pt x="8138837" y="6038856"/>
                  <a:pt x="8150276" y="6038380"/>
                  <a:pt x="8160285" y="6041714"/>
                </a:cubicBezTo>
                <a:close/>
                <a:moveTo>
                  <a:pt x="12135947" y="6029331"/>
                </a:moveTo>
                <a:cubicBezTo>
                  <a:pt x="12137848" y="6029331"/>
                  <a:pt x="12139750" y="6029331"/>
                  <a:pt x="12139750" y="6029331"/>
                </a:cubicBezTo>
                <a:cubicBezTo>
                  <a:pt x="12139750" y="6029331"/>
                  <a:pt x="12139750" y="6029331"/>
                  <a:pt x="12139750" y="6118866"/>
                </a:cubicBezTo>
                <a:cubicBezTo>
                  <a:pt x="12139750" y="6118866"/>
                  <a:pt x="12139750" y="6118866"/>
                  <a:pt x="11833573" y="6267456"/>
                </a:cubicBezTo>
                <a:cubicBezTo>
                  <a:pt x="11814556" y="6276981"/>
                  <a:pt x="11789834" y="6269361"/>
                  <a:pt x="11780325" y="6248406"/>
                </a:cubicBezTo>
                <a:cubicBezTo>
                  <a:pt x="11776522" y="6242691"/>
                  <a:pt x="11774620" y="6236976"/>
                  <a:pt x="11774620" y="6231261"/>
                </a:cubicBezTo>
                <a:cubicBezTo>
                  <a:pt x="11774620" y="6216021"/>
                  <a:pt x="11784129" y="6200781"/>
                  <a:pt x="11797441" y="6195066"/>
                </a:cubicBezTo>
                <a:close/>
                <a:moveTo>
                  <a:pt x="7599809" y="6028140"/>
                </a:moveTo>
                <a:cubicBezTo>
                  <a:pt x="7609579" y="6031712"/>
                  <a:pt x="7618158" y="6038856"/>
                  <a:pt x="7622924" y="6048381"/>
                </a:cubicBezTo>
                <a:cubicBezTo>
                  <a:pt x="7634363" y="6069336"/>
                  <a:pt x="7624831" y="6094101"/>
                  <a:pt x="7603860" y="6103626"/>
                </a:cubicBezTo>
                <a:cubicBezTo>
                  <a:pt x="7603860" y="6103626"/>
                  <a:pt x="7603860" y="6103626"/>
                  <a:pt x="7266419" y="6267456"/>
                </a:cubicBezTo>
                <a:cubicBezTo>
                  <a:pt x="7245449" y="6276981"/>
                  <a:pt x="7220665" y="6269361"/>
                  <a:pt x="7211133" y="6248406"/>
                </a:cubicBezTo>
                <a:cubicBezTo>
                  <a:pt x="7209226" y="6242691"/>
                  <a:pt x="7207320" y="6236976"/>
                  <a:pt x="7207320" y="6231261"/>
                </a:cubicBezTo>
                <a:cubicBezTo>
                  <a:pt x="7207320" y="6216021"/>
                  <a:pt x="7214946" y="6200781"/>
                  <a:pt x="7230197" y="6195066"/>
                </a:cubicBezTo>
                <a:cubicBezTo>
                  <a:pt x="7230197" y="6195066"/>
                  <a:pt x="7230197" y="6195066"/>
                  <a:pt x="7569544" y="6029331"/>
                </a:cubicBezTo>
                <a:cubicBezTo>
                  <a:pt x="7579076" y="6024568"/>
                  <a:pt x="7590038" y="6024568"/>
                  <a:pt x="7599809" y="6028140"/>
                </a:cubicBezTo>
                <a:close/>
                <a:moveTo>
                  <a:pt x="7047351" y="6016314"/>
                </a:moveTo>
                <a:cubicBezTo>
                  <a:pt x="7057121" y="6019648"/>
                  <a:pt x="7065700" y="6026791"/>
                  <a:pt x="7070466" y="6037269"/>
                </a:cubicBezTo>
                <a:cubicBezTo>
                  <a:pt x="7081905" y="6056319"/>
                  <a:pt x="7072373" y="6081084"/>
                  <a:pt x="7051402" y="6090609"/>
                </a:cubicBezTo>
                <a:cubicBezTo>
                  <a:pt x="7051402" y="6090609"/>
                  <a:pt x="7051402" y="6090609"/>
                  <a:pt x="6713961" y="6254439"/>
                </a:cubicBezTo>
                <a:cubicBezTo>
                  <a:pt x="6692991" y="6265869"/>
                  <a:pt x="6668207" y="6256344"/>
                  <a:pt x="6658675" y="6235389"/>
                </a:cubicBezTo>
                <a:cubicBezTo>
                  <a:pt x="6656768" y="6229674"/>
                  <a:pt x="6654862" y="6223959"/>
                  <a:pt x="6654862" y="6218244"/>
                </a:cubicBezTo>
                <a:cubicBezTo>
                  <a:pt x="6654862" y="6203004"/>
                  <a:pt x="6662488" y="6189669"/>
                  <a:pt x="6677739" y="6182049"/>
                </a:cubicBezTo>
                <a:cubicBezTo>
                  <a:pt x="6677739" y="6182049"/>
                  <a:pt x="6677739" y="6182049"/>
                  <a:pt x="7017086" y="6018219"/>
                </a:cubicBezTo>
                <a:cubicBezTo>
                  <a:pt x="7026618" y="6013456"/>
                  <a:pt x="7037580" y="6012980"/>
                  <a:pt x="7047351" y="6016314"/>
                </a:cubicBezTo>
                <a:close/>
                <a:moveTo>
                  <a:pt x="6502912" y="6003613"/>
                </a:moveTo>
                <a:cubicBezTo>
                  <a:pt x="6512921" y="6006947"/>
                  <a:pt x="6521499" y="6014090"/>
                  <a:pt x="6526266" y="6024568"/>
                </a:cubicBezTo>
                <a:cubicBezTo>
                  <a:pt x="6535798" y="6045523"/>
                  <a:pt x="6526266" y="6070288"/>
                  <a:pt x="6507201" y="6079813"/>
                </a:cubicBezTo>
                <a:cubicBezTo>
                  <a:pt x="6507201" y="6079813"/>
                  <a:pt x="6507201" y="6079813"/>
                  <a:pt x="6167854" y="6243643"/>
                </a:cubicBezTo>
                <a:cubicBezTo>
                  <a:pt x="6146884" y="6253168"/>
                  <a:pt x="6124006" y="6243643"/>
                  <a:pt x="6112568" y="6224593"/>
                </a:cubicBezTo>
                <a:cubicBezTo>
                  <a:pt x="6110661" y="6218878"/>
                  <a:pt x="6108755" y="6213163"/>
                  <a:pt x="6108755" y="6207448"/>
                </a:cubicBezTo>
                <a:cubicBezTo>
                  <a:pt x="6108755" y="6192208"/>
                  <a:pt x="6118287" y="6176968"/>
                  <a:pt x="6131632" y="6169348"/>
                </a:cubicBezTo>
                <a:cubicBezTo>
                  <a:pt x="6131632" y="6169348"/>
                  <a:pt x="6131632" y="6169348"/>
                  <a:pt x="6470979" y="6005518"/>
                </a:cubicBezTo>
                <a:cubicBezTo>
                  <a:pt x="6481464" y="6000755"/>
                  <a:pt x="6492903" y="6000279"/>
                  <a:pt x="6502912" y="6003613"/>
                </a:cubicBezTo>
                <a:close/>
                <a:moveTo>
                  <a:pt x="5940750" y="5988314"/>
                </a:moveTo>
                <a:cubicBezTo>
                  <a:pt x="5956568" y="5987064"/>
                  <a:pt x="5971580" y="5995993"/>
                  <a:pt x="5980159" y="6010281"/>
                </a:cubicBezTo>
                <a:cubicBezTo>
                  <a:pt x="5989691" y="6031236"/>
                  <a:pt x="5980159" y="6056001"/>
                  <a:pt x="5961095" y="6065526"/>
                </a:cubicBezTo>
                <a:cubicBezTo>
                  <a:pt x="5961095" y="6065526"/>
                  <a:pt x="5961095" y="6065526"/>
                  <a:pt x="5621756" y="6229356"/>
                </a:cubicBezTo>
                <a:cubicBezTo>
                  <a:pt x="5600786" y="6238881"/>
                  <a:pt x="5576003" y="6231261"/>
                  <a:pt x="5566471" y="6210306"/>
                </a:cubicBezTo>
                <a:cubicBezTo>
                  <a:pt x="5564565" y="6204591"/>
                  <a:pt x="5562659" y="6198876"/>
                  <a:pt x="5562659" y="6193161"/>
                </a:cubicBezTo>
                <a:cubicBezTo>
                  <a:pt x="5562659" y="6177921"/>
                  <a:pt x="5570284" y="6162681"/>
                  <a:pt x="5585535" y="6156966"/>
                </a:cubicBezTo>
                <a:cubicBezTo>
                  <a:pt x="5585535" y="6156966"/>
                  <a:pt x="5585535" y="6156966"/>
                  <a:pt x="5924873" y="5993136"/>
                </a:cubicBezTo>
                <a:cubicBezTo>
                  <a:pt x="5930116" y="5990278"/>
                  <a:pt x="5935479" y="5988730"/>
                  <a:pt x="5940750" y="5988314"/>
                </a:cubicBezTo>
                <a:close/>
                <a:moveTo>
                  <a:pt x="380904" y="5988314"/>
                </a:moveTo>
                <a:cubicBezTo>
                  <a:pt x="396318" y="5987064"/>
                  <a:pt x="411999" y="5995993"/>
                  <a:pt x="419127" y="6010281"/>
                </a:cubicBezTo>
                <a:cubicBezTo>
                  <a:pt x="428631" y="6031236"/>
                  <a:pt x="421028" y="6056001"/>
                  <a:pt x="400119" y="6065526"/>
                </a:cubicBezTo>
                <a:cubicBezTo>
                  <a:pt x="400119" y="6065526"/>
                  <a:pt x="400119" y="6065526"/>
                  <a:pt x="63687" y="6229356"/>
                </a:cubicBezTo>
                <a:cubicBezTo>
                  <a:pt x="42779" y="6238881"/>
                  <a:pt x="18069" y="6231261"/>
                  <a:pt x="8565" y="6210306"/>
                </a:cubicBezTo>
                <a:cubicBezTo>
                  <a:pt x="6664" y="6204591"/>
                  <a:pt x="4764" y="6198876"/>
                  <a:pt x="4764" y="6193161"/>
                </a:cubicBezTo>
                <a:cubicBezTo>
                  <a:pt x="4764" y="6177921"/>
                  <a:pt x="12367" y="6162681"/>
                  <a:pt x="27573" y="6156966"/>
                </a:cubicBezTo>
                <a:cubicBezTo>
                  <a:pt x="27573" y="6156966"/>
                  <a:pt x="27573" y="6156966"/>
                  <a:pt x="365906" y="5993136"/>
                </a:cubicBezTo>
                <a:cubicBezTo>
                  <a:pt x="370658" y="5990278"/>
                  <a:pt x="375766" y="5988730"/>
                  <a:pt x="380904" y="5988314"/>
                </a:cubicBezTo>
                <a:close/>
                <a:moveTo>
                  <a:pt x="5406285" y="5978213"/>
                </a:moveTo>
                <a:cubicBezTo>
                  <a:pt x="5416026" y="5981547"/>
                  <a:pt x="5424578" y="5988690"/>
                  <a:pt x="5429330" y="5999168"/>
                </a:cubicBezTo>
                <a:cubicBezTo>
                  <a:pt x="5438834" y="6018218"/>
                  <a:pt x="5431231" y="6042983"/>
                  <a:pt x="5410323" y="6052508"/>
                </a:cubicBezTo>
                <a:cubicBezTo>
                  <a:pt x="5410323" y="6052508"/>
                  <a:pt x="5410323" y="6052508"/>
                  <a:pt x="5071987" y="6218243"/>
                </a:cubicBezTo>
                <a:cubicBezTo>
                  <a:pt x="5052982" y="6227768"/>
                  <a:pt x="5028276" y="6218243"/>
                  <a:pt x="5018773" y="6199193"/>
                </a:cubicBezTo>
                <a:cubicBezTo>
                  <a:pt x="5014972" y="6193478"/>
                  <a:pt x="5014972" y="6185858"/>
                  <a:pt x="5014972" y="6180143"/>
                </a:cubicBezTo>
                <a:cubicBezTo>
                  <a:pt x="5014972" y="6164903"/>
                  <a:pt x="5022575" y="6151568"/>
                  <a:pt x="5037779" y="6143948"/>
                </a:cubicBezTo>
                <a:cubicBezTo>
                  <a:pt x="5037779" y="6143948"/>
                  <a:pt x="5037779" y="6143948"/>
                  <a:pt x="5376110" y="5980118"/>
                </a:cubicBezTo>
                <a:cubicBezTo>
                  <a:pt x="5385614" y="5975355"/>
                  <a:pt x="5396543" y="5974879"/>
                  <a:pt x="5406285" y="5978213"/>
                </a:cubicBezTo>
                <a:close/>
                <a:moveTo>
                  <a:pt x="940179" y="5978213"/>
                </a:moveTo>
                <a:cubicBezTo>
                  <a:pt x="949950" y="5981546"/>
                  <a:pt x="958529" y="5988690"/>
                  <a:pt x="963295" y="5999168"/>
                </a:cubicBezTo>
                <a:cubicBezTo>
                  <a:pt x="974733" y="6018218"/>
                  <a:pt x="965201" y="6042983"/>
                  <a:pt x="944230" y="6052508"/>
                </a:cubicBezTo>
                <a:cubicBezTo>
                  <a:pt x="944230" y="6052508"/>
                  <a:pt x="944230" y="6052508"/>
                  <a:pt x="606791" y="6218243"/>
                </a:cubicBezTo>
                <a:cubicBezTo>
                  <a:pt x="585820" y="6227768"/>
                  <a:pt x="561036" y="6218243"/>
                  <a:pt x="551504" y="6199193"/>
                </a:cubicBezTo>
                <a:cubicBezTo>
                  <a:pt x="549598" y="6193478"/>
                  <a:pt x="547691" y="6185858"/>
                  <a:pt x="547691" y="6180143"/>
                </a:cubicBezTo>
                <a:cubicBezTo>
                  <a:pt x="547691" y="6164903"/>
                  <a:pt x="555317" y="6151568"/>
                  <a:pt x="570568" y="6143948"/>
                </a:cubicBezTo>
                <a:cubicBezTo>
                  <a:pt x="570568" y="6143948"/>
                  <a:pt x="570568" y="6143948"/>
                  <a:pt x="909915" y="5980118"/>
                </a:cubicBezTo>
                <a:cubicBezTo>
                  <a:pt x="919447" y="5975355"/>
                  <a:pt x="930409" y="5974879"/>
                  <a:pt x="940179" y="5978213"/>
                </a:cubicBezTo>
                <a:close/>
                <a:moveTo>
                  <a:pt x="4852107" y="5966227"/>
                </a:moveTo>
                <a:cubicBezTo>
                  <a:pt x="4861889" y="5969799"/>
                  <a:pt x="4870476" y="5976943"/>
                  <a:pt x="4875244" y="5986468"/>
                </a:cubicBezTo>
                <a:cubicBezTo>
                  <a:pt x="4884786" y="6007423"/>
                  <a:pt x="4877153" y="6032188"/>
                  <a:pt x="4856165" y="6041713"/>
                </a:cubicBezTo>
                <a:cubicBezTo>
                  <a:pt x="4856165" y="6041713"/>
                  <a:pt x="4856165" y="6041713"/>
                  <a:pt x="4516568" y="6205543"/>
                </a:cubicBezTo>
                <a:cubicBezTo>
                  <a:pt x="4497490" y="6215068"/>
                  <a:pt x="4472687" y="6207448"/>
                  <a:pt x="4463148" y="6186493"/>
                </a:cubicBezTo>
                <a:cubicBezTo>
                  <a:pt x="4459331" y="6180778"/>
                  <a:pt x="4459331" y="6175063"/>
                  <a:pt x="4459331" y="6169348"/>
                </a:cubicBezTo>
                <a:cubicBezTo>
                  <a:pt x="4459331" y="6154108"/>
                  <a:pt x="4466963" y="6138868"/>
                  <a:pt x="4482227" y="6131248"/>
                </a:cubicBezTo>
                <a:cubicBezTo>
                  <a:pt x="4482227" y="6131248"/>
                  <a:pt x="4482227" y="6131248"/>
                  <a:pt x="4821819" y="5967418"/>
                </a:cubicBezTo>
                <a:cubicBezTo>
                  <a:pt x="4831358" y="5962655"/>
                  <a:pt x="4842329" y="5962655"/>
                  <a:pt x="4852107" y="5966227"/>
                </a:cubicBezTo>
                <a:close/>
                <a:moveTo>
                  <a:pt x="1487950" y="5966227"/>
                </a:moveTo>
                <a:cubicBezTo>
                  <a:pt x="1497958" y="5969799"/>
                  <a:pt x="1506537" y="5976943"/>
                  <a:pt x="1511303" y="5986468"/>
                </a:cubicBezTo>
                <a:cubicBezTo>
                  <a:pt x="1520836" y="6007423"/>
                  <a:pt x="1513210" y="6032188"/>
                  <a:pt x="1492239" y="6041713"/>
                </a:cubicBezTo>
                <a:cubicBezTo>
                  <a:pt x="1492239" y="6041713"/>
                  <a:pt x="1492239" y="6041713"/>
                  <a:pt x="1152893" y="6205543"/>
                </a:cubicBezTo>
                <a:cubicBezTo>
                  <a:pt x="1131922" y="6215068"/>
                  <a:pt x="1109045" y="6207448"/>
                  <a:pt x="1097606" y="6186493"/>
                </a:cubicBezTo>
                <a:cubicBezTo>
                  <a:pt x="1095700" y="6180778"/>
                  <a:pt x="1093793" y="6175063"/>
                  <a:pt x="1093793" y="6169348"/>
                </a:cubicBezTo>
                <a:cubicBezTo>
                  <a:pt x="1093793" y="6154108"/>
                  <a:pt x="1103326" y="6138868"/>
                  <a:pt x="1116671" y="6131248"/>
                </a:cubicBezTo>
                <a:cubicBezTo>
                  <a:pt x="1116671" y="6131248"/>
                  <a:pt x="1116671" y="6131248"/>
                  <a:pt x="1456017" y="5967418"/>
                </a:cubicBezTo>
                <a:cubicBezTo>
                  <a:pt x="1466502" y="5962655"/>
                  <a:pt x="1477941" y="5962655"/>
                  <a:pt x="1487950" y="5966227"/>
                </a:cubicBezTo>
                <a:close/>
                <a:moveTo>
                  <a:pt x="4293424" y="5952822"/>
                </a:moveTo>
                <a:cubicBezTo>
                  <a:pt x="4303166" y="5956160"/>
                  <a:pt x="4311720" y="5963313"/>
                  <a:pt x="4316472" y="5973803"/>
                </a:cubicBezTo>
                <a:cubicBezTo>
                  <a:pt x="4325976" y="5992877"/>
                  <a:pt x="4318373" y="6017673"/>
                  <a:pt x="4297464" y="6027210"/>
                </a:cubicBezTo>
                <a:cubicBezTo>
                  <a:pt x="4297464" y="6027210"/>
                  <a:pt x="4297464" y="6027210"/>
                  <a:pt x="3959151" y="6191244"/>
                </a:cubicBezTo>
                <a:cubicBezTo>
                  <a:pt x="3940144" y="6200781"/>
                  <a:pt x="3915433" y="6193151"/>
                  <a:pt x="3905929" y="6172170"/>
                </a:cubicBezTo>
                <a:cubicBezTo>
                  <a:pt x="3902129" y="6166448"/>
                  <a:pt x="3902129" y="6160726"/>
                  <a:pt x="3902129" y="6155004"/>
                </a:cubicBezTo>
                <a:cubicBezTo>
                  <a:pt x="3902129" y="6139745"/>
                  <a:pt x="3909731" y="6124486"/>
                  <a:pt x="3924936" y="6118764"/>
                </a:cubicBezTo>
                <a:cubicBezTo>
                  <a:pt x="3924936" y="6118764"/>
                  <a:pt x="3924936" y="6118764"/>
                  <a:pt x="4263250" y="5954730"/>
                </a:cubicBezTo>
                <a:cubicBezTo>
                  <a:pt x="4272755" y="5949961"/>
                  <a:pt x="4283683" y="5949484"/>
                  <a:pt x="4293424" y="5952822"/>
                </a:cubicBezTo>
                <a:close/>
                <a:moveTo>
                  <a:pt x="2039813" y="5952822"/>
                </a:moveTo>
                <a:cubicBezTo>
                  <a:pt x="2049553" y="5956160"/>
                  <a:pt x="2058100" y="5963313"/>
                  <a:pt x="2063798" y="5973803"/>
                </a:cubicBezTo>
                <a:cubicBezTo>
                  <a:pt x="2073294" y="5992877"/>
                  <a:pt x="2063798" y="6017673"/>
                  <a:pt x="2044799" y="6027210"/>
                </a:cubicBezTo>
                <a:cubicBezTo>
                  <a:pt x="2044799" y="6027210"/>
                  <a:pt x="2044799" y="6027210"/>
                  <a:pt x="1706714" y="6191244"/>
                </a:cubicBezTo>
                <a:cubicBezTo>
                  <a:pt x="1685821" y="6200781"/>
                  <a:pt x="1661129" y="6193151"/>
                  <a:pt x="1651633" y="6172170"/>
                </a:cubicBezTo>
                <a:cubicBezTo>
                  <a:pt x="1649733" y="6166448"/>
                  <a:pt x="1647834" y="6160726"/>
                  <a:pt x="1647834" y="6155004"/>
                </a:cubicBezTo>
                <a:cubicBezTo>
                  <a:pt x="1647834" y="6139745"/>
                  <a:pt x="1655431" y="6124486"/>
                  <a:pt x="1670626" y="6118764"/>
                </a:cubicBezTo>
                <a:cubicBezTo>
                  <a:pt x="1670626" y="6118764"/>
                  <a:pt x="1670626" y="6118764"/>
                  <a:pt x="2008712" y="5954730"/>
                </a:cubicBezTo>
                <a:cubicBezTo>
                  <a:pt x="2019158" y="5949961"/>
                  <a:pt x="2030079" y="5949484"/>
                  <a:pt x="2039813" y="5952822"/>
                </a:cubicBezTo>
                <a:close/>
                <a:moveTo>
                  <a:pt x="3730406" y="5940113"/>
                </a:moveTo>
                <a:cubicBezTo>
                  <a:pt x="3740180" y="5943447"/>
                  <a:pt x="3748760" y="5950590"/>
                  <a:pt x="3754477" y="5961068"/>
                </a:cubicBezTo>
                <a:cubicBezTo>
                  <a:pt x="3764010" y="5982023"/>
                  <a:pt x="3754477" y="6004883"/>
                  <a:pt x="3735413" y="6016313"/>
                </a:cubicBezTo>
                <a:cubicBezTo>
                  <a:pt x="3735413" y="6016313"/>
                  <a:pt x="3735413" y="6016313"/>
                  <a:pt x="3396079" y="6180143"/>
                </a:cubicBezTo>
                <a:cubicBezTo>
                  <a:pt x="3375108" y="6189668"/>
                  <a:pt x="3350324" y="6180143"/>
                  <a:pt x="3340792" y="6161093"/>
                </a:cubicBezTo>
                <a:cubicBezTo>
                  <a:pt x="3338885" y="6155378"/>
                  <a:pt x="3336978" y="6149663"/>
                  <a:pt x="3336978" y="6142043"/>
                </a:cubicBezTo>
                <a:cubicBezTo>
                  <a:pt x="3336978" y="6126803"/>
                  <a:pt x="3346510" y="6113468"/>
                  <a:pt x="3359858" y="6105848"/>
                </a:cubicBezTo>
                <a:cubicBezTo>
                  <a:pt x="3359858" y="6105848"/>
                  <a:pt x="3359858" y="6105848"/>
                  <a:pt x="3699190" y="5942018"/>
                </a:cubicBezTo>
                <a:cubicBezTo>
                  <a:pt x="3709675" y="5937255"/>
                  <a:pt x="3720636" y="5936779"/>
                  <a:pt x="3730406" y="5940113"/>
                </a:cubicBezTo>
                <a:close/>
                <a:moveTo>
                  <a:pt x="2596908" y="5940113"/>
                </a:moveTo>
                <a:cubicBezTo>
                  <a:pt x="2606678" y="5943447"/>
                  <a:pt x="2615256" y="5950590"/>
                  <a:pt x="2620975" y="5961068"/>
                </a:cubicBezTo>
                <a:cubicBezTo>
                  <a:pt x="2630507" y="5982023"/>
                  <a:pt x="2620975" y="6004883"/>
                  <a:pt x="2601911" y="6016313"/>
                </a:cubicBezTo>
                <a:cubicBezTo>
                  <a:pt x="2601911" y="6016313"/>
                  <a:pt x="2601911" y="6016313"/>
                  <a:pt x="2262565" y="6180143"/>
                </a:cubicBezTo>
                <a:cubicBezTo>
                  <a:pt x="2241595" y="6189668"/>
                  <a:pt x="2216811" y="6180143"/>
                  <a:pt x="2207278" y="6161093"/>
                </a:cubicBezTo>
                <a:cubicBezTo>
                  <a:pt x="2205372" y="6155378"/>
                  <a:pt x="2203466" y="6149663"/>
                  <a:pt x="2203466" y="6142043"/>
                </a:cubicBezTo>
                <a:cubicBezTo>
                  <a:pt x="2203466" y="6126803"/>
                  <a:pt x="2211092" y="6113468"/>
                  <a:pt x="2226343" y="6105848"/>
                </a:cubicBezTo>
                <a:cubicBezTo>
                  <a:pt x="2226343" y="6105848"/>
                  <a:pt x="2226343" y="6105848"/>
                  <a:pt x="2565688" y="5942018"/>
                </a:cubicBezTo>
                <a:cubicBezTo>
                  <a:pt x="2576174" y="5937255"/>
                  <a:pt x="2587136" y="5936779"/>
                  <a:pt x="2596908" y="5940113"/>
                </a:cubicBezTo>
                <a:close/>
                <a:moveTo>
                  <a:pt x="3158037" y="5928127"/>
                </a:moveTo>
                <a:cubicBezTo>
                  <a:pt x="3168045" y="5931699"/>
                  <a:pt x="3176626" y="5938843"/>
                  <a:pt x="3181391" y="5948368"/>
                </a:cubicBezTo>
                <a:cubicBezTo>
                  <a:pt x="3190925" y="5969323"/>
                  <a:pt x="3183297" y="5994088"/>
                  <a:pt x="3162327" y="6003613"/>
                </a:cubicBezTo>
                <a:cubicBezTo>
                  <a:pt x="3162327" y="6003613"/>
                  <a:pt x="3162327" y="6003613"/>
                  <a:pt x="2822979" y="6167443"/>
                </a:cubicBezTo>
                <a:cubicBezTo>
                  <a:pt x="2803914" y="6176968"/>
                  <a:pt x="2779130" y="6169348"/>
                  <a:pt x="2769600" y="6148393"/>
                </a:cubicBezTo>
                <a:cubicBezTo>
                  <a:pt x="2765787" y="6142678"/>
                  <a:pt x="2763879" y="6136963"/>
                  <a:pt x="2763879" y="6131248"/>
                </a:cubicBezTo>
                <a:cubicBezTo>
                  <a:pt x="2763879" y="6116008"/>
                  <a:pt x="2773411" y="6100768"/>
                  <a:pt x="2788663" y="6093148"/>
                </a:cubicBezTo>
                <a:cubicBezTo>
                  <a:pt x="2788663" y="6093148"/>
                  <a:pt x="2788663" y="6093148"/>
                  <a:pt x="3126104" y="5929318"/>
                </a:cubicBezTo>
                <a:cubicBezTo>
                  <a:pt x="3136589" y="5924555"/>
                  <a:pt x="3148027" y="5924555"/>
                  <a:pt x="3158037" y="5928127"/>
                </a:cubicBezTo>
                <a:close/>
                <a:moveTo>
                  <a:pt x="9872849" y="5750963"/>
                </a:moveTo>
                <a:cubicBezTo>
                  <a:pt x="9882136" y="5754058"/>
                  <a:pt x="9890232" y="5760726"/>
                  <a:pt x="9894995" y="5770251"/>
                </a:cubicBezTo>
                <a:cubicBezTo>
                  <a:pt x="9904520" y="5787396"/>
                  <a:pt x="9898805" y="5810256"/>
                  <a:pt x="9879755" y="5821686"/>
                </a:cubicBezTo>
                <a:cubicBezTo>
                  <a:pt x="9879755" y="5821686"/>
                  <a:pt x="9879755" y="5821686"/>
                  <a:pt x="9542565" y="6000756"/>
                </a:cubicBezTo>
                <a:cubicBezTo>
                  <a:pt x="9523515" y="6010281"/>
                  <a:pt x="9500654" y="6002661"/>
                  <a:pt x="9489224" y="5983611"/>
                </a:cubicBezTo>
                <a:cubicBezTo>
                  <a:pt x="9487319" y="5977896"/>
                  <a:pt x="9485414" y="5972181"/>
                  <a:pt x="9485414" y="5966466"/>
                </a:cubicBezTo>
                <a:cubicBezTo>
                  <a:pt x="9485414" y="5953131"/>
                  <a:pt x="9493034" y="5939796"/>
                  <a:pt x="9506369" y="5932176"/>
                </a:cubicBezTo>
                <a:cubicBezTo>
                  <a:pt x="9506369" y="5932176"/>
                  <a:pt x="9506369" y="5932176"/>
                  <a:pt x="9843559" y="5753106"/>
                </a:cubicBezTo>
                <a:cubicBezTo>
                  <a:pt x="9853084" y="5748343"/>
                  <a:pt x="9863562" y="5747867"/>
                  <a:pt x="9872849" y="5750963"/>
                </a:cubicBezTo>
                <a:close/>
                <a:moveTo>
                  <a:pt x="10455469" y="5739858"/>
                </a:moveTo>
                <a:cubicBezTo>
                  <a:pt x="10464756" y="5742958"/>
                  <a:pt x="10472852" y="5749633"/>
                  <a:pt x="10477615" y="5759170"/>
                </a:cubicBezTo>
                <a:cubicBezTo>
                  <a:pt x="10487140" y="5776335"/>
                  <a:pt x="10481425" y="5801130"/>
                  <a:pt x="10462375" y="5810667"/>
                </a:cubicBezTo>
                <a:cubicBezTo>
                  <a:pt x="10462375" y="5810667"/>
                  <a:pt x="10462375" y="5810667"/>
                  <a:pt x="10123280" y="5988044"/>
                </a:cubicBezTo>
                <a:cubicBezTo>
                  <a:pt x="10104230" y="5997581"/>
                  <a:pt x="10081369" y="5989952"/>
                  <a:pt x="10071844" y="5970879"/>
                </a:cubicBezTo>
                <a:cubicBezTo>
                  <a:pt x="10068034" y="5965157"/>
                  <a:pt x="10068034" y="5959435"/>
                  <a:pt x="10068034" y="5953713"/>
                </a:cubicBezTo>
                <a:cubicBezTo>
                  <a:pt x="10068034" y="5938455"/>
                  <a:pt x="10075654" y="5925104"/>
                  <a:pt x="10088989" y="5919382"/>
                </a:cubicBezTo>
                <a:cubicBezTo>
                  <a:pt x="10088989" y="5919382"/>
                  <a:pt x="10088989" y="5919382"/>
                  <a:pt x="10426179" y="5742004"/>
                </a:cubicBezTo>
                <a:cubicBezTo>
                  <a:pt x="10435704" y="5737236"/>
                  <a:pt x="10446182" y="5736759"/>
                  <a:pt x="10455469" y="5739858"/>
                </a:cubicBezTo>
                <a:close/>
                <a:moveTo>
                  <a:pt x="9295014" y="5739858"/>
                </a:moveTo>
                <a:cubicBezTo>
                  <a:pt x="9304294" y="5742958"/>
                  <a:pt x="9312384" y="5749633"/>
                  <a:pt x="9317143" y="5759170"/>
                </a:cubicBezTo>
                <a:cubicBezTo>
                  <a:pt x="9326661" y="5776335"/>
                  <a:pt x="9319047" y="5801130"/>
                  <a:pt x="9300011" y="5810667"/>
                </a:cubicBezTo>
                <a:cubicBezTo>
                  <a:pt x="9300011" y="5810667"/>
                  <a:pt x="9300011" y="5810667"/>
                  <a:pt x="8963076" y="5988044"/>
                </a:cubicBezTo>
                <a:cubicBezTo>
                  <a:pt x="8944040" y="5997581"/>
                  <a:pt x="8921197" y="5989952"/>
                  <a:pt x="8911679" y="5970879"/>
                </a:cubicBezTo>
                <a:cubicBezTo>
                  <a:pt x="8907872" y="5965157"/>
                  <a:pt x="8905968" y="5959435"/>
                  <a:pt x="8905968" y="5953713"/>
                </a:cubicBezTo>
                <a:cubicBezTo>
                  <a:pt x="8905968" y="5938455"/>
                  <a:pt x="8913582" y="5925104"/>
                  <a:pt x="8926907" y="5919382"/>
                </a:cubicBezTo>
                <a:cubicBezTo>
                  <a:pt x="8926907" y="5919382"/>
                  <a:pt x="8926907" y="5919382"/>
                  <a:pt x="9265746" y="5742004"/>
                </a:cubicBezTo>
                <a:cubicBezTo>
                  <a:pt x="9275264" y="5737236"/>
                  <a:pt x="9285734" y="5736759"/>
                  <a:pt x="9295014" y="5739858"/>
                </a:cubicBezTo>
                <a:close/>
                <a:moveTo>
                  <a:pt x="11032399" y="5727762"/>
                </a:moveTo>
                <a:cubicBezTo>
                  <a:pt x="11042155" y="5730372"/>
                  <a:pt x="11050721" y="5736541"/>
                  <a:pt x="11055480" y="5746031"/>
                </a:cubicBezTo>
                <a:cubicBezTo>
                  <a:pt x="11064998" y="5766910"/>
                  <a:pt x="11057384" y="5789687"/>
                  <a:pt x="11038348" y="5799178"/>
                </a:cubicBezTo>
                <a:cubicBezTo>
                  <a:pt x="11038348" y="5799178"/>
                  <a:pt x="11038348" y="5799178"/>
                  <a:pt x="10701413" y="5973803"/>
                </a:cubicBezTo>
                <a:cubicBezTo>
                  <a:pt x="10682377" y="5983294"/>
                  <a:pt x="10657630" y="5975701"/>
                  <a:pt x="10648112" y="5956720"/>
                </a:cubicBezTo>
                <a:cubicBezTo>
                  <a:pt x="10646209" y="5951026"/>
                  <a:pt x="10644305" y="5945332"/>
                  <a:pt x="10644305" y="5937739"/>
                </a:cubicBezTo>
                <a:cubicBezTo>
                  <a:pt x="10644305" y="5924453"/>
                  <a:pt x="10651919" y="5911166"/>
                  <a:pt x="10665244" y="5903573"/>
                </a:cubicBezTo>
                <a:cubicBezTo>
                  <a:pt x="10665244" y="5903573"/>
                  <a:pt x="10665244" y="5903573"/>
                  <a:pt x="11002180" y="5730846"/>
                </a:cubicBezTo>
                <a:cubicBezTo>
                  <a:pt x="11011697" y="5726101"/>
                  <a:pt x="11022643" y="5725152"/>
                  <a:pt x="11032399" y="5727762"/>
                </a:cubicBezTo>
                <a:close/>
                <a:moveTo>
                  <a:pt x="8723506" y="5727762"/>
                </a:moveTo>
                <a:cubicBezTo>
                  <a:pt x="8732786" y="5730372"/>
                  <a:pt x="8740876" y="5736541"/>
                  <a:pt x="8745635" y="5746031"/>
                </a:cubicBezTo>
                <a:cubicBezTo>
                  <a:pt x="8755153" y="5766910"/>
                  <a:pt x="8747539" y="5789687"/>
                  <a:pt x="8728503" y="5799178"/>
                </a:cubicBezTo>
                <a:cubicBezTo>
                  <a:pt x="8728503" y="5799178"/>
                  <a:pt x="8728503" y="5799178"/>
                  <a:pt x="8391568" y="5973803"/>
                </a:cubicBezTo>
                <a:cubicBezTo>
                  <a:pt x="8372532" y="5983294"/>
                  <a:pt x="8349689" y="5975701"/>
                  <a:pt x="8338267" y="5956720"/>
                </a:cubicBezTo>
                <a:cubicBezTo>
                  <a:pt x="8336363" y="5951026"/>
                  <a:pt x="8334460" y="5945332"/>
                  <a:pt x="8334460" y="5937739"/>
                </a:cubicBezTo>
                <a:cubicBezTo>
                  <a:pt x="8334460" y="5924453"/>
                  <a:pt x="8342074" y="5911166"/>
                  <a:pt x="8355399" y="5903573"/>
                </a:cubicBezTo>
                <a:cubicBezTo>
                  <a:pt x="8355399" y="5903573"/>
                  <a:pt x="8355399" y="5903573"/>
                  <a:pt x="8694238" y="5730846"/>
                </a:cubicBezTo>
                <a:cubicBezTo>
                  <a:pt x="8703756" y="5726101"/>
                  <a:pt x="8714226" y="5725152"/>
                  <a:pt x="8723506" y="5727762"/>
                </a:cubicBezTo>
                <a:close/>
                <a:moveTo>
                  <a:pt x="11603271" y="5714468"/>
                </a:moveTo>
                <a:cubicBezTo>
                  <a:pt x="11612551" y="5717571"/>
                  <a:pt x="11620641" y="5724254"/>
                  <a:pt x="11625400" y="5733802"/>
                </a:cubicBezTo>
                <a:cubicBezTo>
                  <a:pt x="11634918" y="5754808"/>
                  <a:pt x="11627304" y="5777723"/>
                  <a:pt x="11608268" y="5787271"/>
                </a:cubicBezTo>
                <a:cubicBezTo>
                  <a:pt x="11608268" y="5787271"/>
                  <a:pt x="11608268" y="5787271"/>
                  <a:pt x="11271333" y="5961045"/>
                </a:cubicBezTo>
                <a:cubicBezTo>
                  <a:pt x="11252297" y="5970593"/>
                  <a:pt x="11227550" y="5962954"/>
                  <a:pt x="11218032" y="5941949"/>
                </a:cubicBezTo>
                <a:cubicBezTo>
                  <a:pt x="11214225" y="5936220"/>
                  <a:pt x="11214225" y="5930491"/>
                  <a:pt x="11214225" y="5924762"/>
                </a:cubicBezTo>
                <a:cubicBezTo>
                  <a:pt x="11214225" y="5911395"/>
                  <a:pt x="11221839" y="5896118"/>
                  <a:pt x="11235164" y="5890389"/>
                </a:cubicBezTo>
                <a:cubicBezTo>
                  <a:pt x="11235164" y="5890389"/>
                  <a:pt x="11235164" y="5890389"/>
                  <a:pt x="11574003" y="5716616"/>
                </a:cubicBezTo>
                <a:cubicBezTo>
                  <a:pt x="11583521" y="5711842"/>
                  <a:pt x="11593991" y="5711364"/>
                  <a:pt x="11603271" y="5714468"/>
                </a:cubicBezTo>
                <a:close/>
                <a:moveTo>
                  <a:pt x="8158886" y="5714468"/>
                </a:moveTo>
                <a:cubicBezTo>
                  <a:pt x="8168671" y="5717571"/>
                  <a:pt x="8177263" y="5724254"/>
                  <a:pt x="8182036" y="5733802"/>
                </a:cubicBezTo>
                <a:cubicBezTo>
                  <a:pt x="8191583" y="5754808"/>
                  <a:pt x="8183946" y="5777723"/>
                  <a:pt x="8164852" y="5787271"/>
                </a:cubicBezTo>
                <a:cubicBezTo>
                  <a:pt x="8164852" y="5787271"/>
                  <a:pt x="8164852" y="5787271"/>
                  <a:pt x="7824994" y="5961045"/>
                </a:cubicBezTo>
                <a:cubicBezTo>
                  <a:pt x="7805901" y="5970593"/>
                  <a:pt x="7782989" y="5962954"/>
                  <a:pt x="7771533" y="5941949"/>
                </a:cubicBezTo>
                <a:cubicBezTo>
                  <a:pt x="7769624" y="5936220"/>
                  <a:pt x="7767715" y="5930491"/>
                  <a:pt x="7767715" y="5924762"/>
                </a:cubicBezTo>
                <a:cubicBezTo>
                  <a:pt x="7767715" y="5911395"/>
                  <a:pt x="7775352" y="5896118"/>
                  <a:pt x="7788717" y="5890389"/>
                </a:cubicBezTo>
                <a:cubicBezTo>
                  <a:pt x="7788717" y="5890389"/>
                  <a:pt x="7788717" y="5890389"/>
                  <a:pt x="8128575" y="5716616"/>
                </a:cubicBezTo>
                <a:cubicBezTo>
                  <a:pt x="8138122" y="5711842"/>
                  <a:pt x="8149101" y="5711364"/>
                  <a:pt x="8158886" y="5714468"/>
                </a:cubicBezTo>
                <a:close/>
                <a:moveTo>
                  <a:pt x="12139750" y="5703893"/>
                </a:moveTo>
                <a:cubicBezTo>
                  <a:pt x="12139750" y="5703893"/>
                  <a:pt x="12139750" y="5703893"/>
                  <a:pt x="12139750" y="5793652"/>
                </a:cubicBezTo>
                <a:cubicBezTo>
                  <a:pt x="12139750" y="5793652"/>
                  <a:pt x="12139750" y="5793652"/>
                  <a:pt x="11833309" y="5948344"/>
                </a:cubicBezTo>
                <a:cubicBezTo>
                  <a:pt x="11814275" y="5957893"/>
                  <a:pt x="11789532" y="5950254"/>
                  <a:pt x="11780015" y="5929246"/>
                </a:cubicBezTo>
                <a:cubicBezTo>
                  <a:pt x="11778111" y="5923517"/>
                  <a:pt x="11776208" y="5917787"/>
                  <a:pt x="11776208" y="5912058"/>
                </a:cubicBezTo>
                <a:cubicBezTo>
                  <a:pt x="11776208" y="5896780"/>
                  <a:pt x="11783821" y="5883412"/>
                  <a:pt x="11799048" y="5875772"/>
                </a:cubicBezTo>
                <a:lnTo>
                  <a:pt x="12135943" y="5705803"/>
                </a:lnTo>
                <a:cubicBezTo>
                  <a:pt x="12137847" y="5705803"/>
                  <a:pt x="12139750" y="5705803"/>
                  <a:pt x="12139750" y="5703893"/>
                </a:cubicBezTo>
                <a:close/>
                <a:moveTo>
                  <a:pt x="7600201" y="5703365"/>
                </a:moveTo>
                <a:cubicBezTo>
                  <a:pt x="7609950" y="5706472"/>
                  <a:pt x="7618510" y="5713164"/>
                  <a:pt x="7623265" y="5722723"/>
                </a:cubicBezTo>
                <a:cubicBezTo>
                  <a:pt x="7632776" y="5743755"/>
                  <a:pt x="7625167" y="5766698"/>
                  <a:pt x="7604243" y="5776258"/>
                </a:cubicBezTo>
                <a:cubicBezTo>
                  <a:pt x="7604243" y="5776258"/>
                  <a:pt x="7604243" y="5776258"/>
                  <a:pt x="7267560" y="5948334"/>
                </a:cubicBezTo>
                <a:cubicBezTo>
                  <a:pt x="7246636" y="5957894"/>
                  <a:pt x="7223810" y="5950246"/>
                  <a:pt x="7214299" y="5929214"/>
                </a:cubicBezTo>
                <a:cubicBezTo>
                  <a:pt x="7210495" y="5923479"/>
                  <a:pt x="7210495" y="5917743"/>
                  <a:pt x="7210495" y="5912007"/>
                </a:cubicBezTo>
                <a:cubicBezTo>
                  <a:pt x="7210495" y="5896711"/>
                  <a:pt x="7218103" y="5883327"/>
                  <a:pt x="7231419" y="5875680"/>
                </a:cubicBezTo>
                <a:cubicBezTo>
                  <a:pt x="7231419" y="5875680"/>
                  <a:pt x="7231419" y="5875680"/>
                  <a:pt x="7570004" y="5705516"/>
                </a:cubicBezTo>
                <a:cubicBezTo>
                  <a:pt x="7579515" y="5700736"/>
                  <a:pt x="7590452" y="5700258"/>
                  <a:pt x="7600201" y="5703365"/>
                </a:cubicBezTo>
                <a:close/>
                <a:moveTo>
                  <a:pt x="7047645" y="5692216"/>
                </a:moveTo>
                <a:cubicBezTo>
                  <a:pt x="7057423" y="5695307"/>
                  <a:pt x="7066009" y="5701967"/>
                  <a:pt x="7070778" y="5711480"/>
                </a:cubicBezTo>
                <a:cubicBezTo>
                  <a:pt x="7080318" y="5732409"/>
                  <a:pt x="7072686" y="5757144"/>
                  <a:pt x="7051700" y="5766658"/>
                </a:cubicBezTo>
                <a:cubicBezTo>
                  <a:pt x="7051700" y="5766658"/>
                  <a:pt x="7051700" y="5766658"/>
                  <a:pt x="6714006" y="5934092"/>
                </a:cubicBezTo>
                <a:cubicBezTo>
                  <a:pt x="6693019" y="5943606"/>
                  <a:pt x="6670125" y="5934092"/>
                  <a:pt x="6658677" y="5915066"/>
                </a:cubicBezTo>
                <a:cubicBezTo>
                  <a:pt x="6656770" y="5909358"/>
                  <a:pt x="6654862" y="5903650"/>
                  <a:pt x="6654862" y="5897942"/>
                </a:cubicBezTo>
                <a:cubicBezTo>
                  <a:pt x="6654862" y="5882720"/>
                  <a:pt x="6664401" y="5867499"/>
                  <a:pt x="6677756" y="5861791"/>
                </a:cubicBezTo>
                <a:cubicBezTo>
                  <a:pt x="6677756" y="5861791"/>
                  <a:pt x="6677756" y="5861791"/>
                  <a:pt x="7017358" y="5694356"/>
                </a:cubicBezTo>
                <a:cubicBezTo>
                  <a:pt x="7026897" y="5689600"/>
                  <a:pt x="7037868" y="5689124"/>
                  <a:pt x="7047645" y="5692216"/>
                </a:cubicBezTo>
                <a:close/>
                <a:moveTo>
                  <a:pt x="6486856" y="5678743"/>
                </a:moveTo>
                <a:cubicBezTo>
                  <a:pt x="6502673" y="5677494"/>
                  <a:pt x="6517686" y="5686413"/>
                  <a:pt x="6526266" y="5700683"/>
                </a:cubicBezTo>
                <a:cubicBezTo>
                  <a:pt x="6535798" y="5721612"/>
                  <a:pt x="6526266" y="5746347"/>
                  <a:pt x="6507201" y="5755860"/>
                </a:cubicBezTo>
                <a:cubicBezTo>
                  <a:pt x="6507201" y="5755860"/>
                  <a:pt x="6507201" y="5755860"/>
                  <a:pt x="6167854" y="5921392"/>
                </a:cubicBezTo>
                <a:cubicBezTo>
                  <a:pt x="6146884" y="5930906"/>
                  <a:pt x="6124006" y="5921392"/>
                  <a:pt x="6114474" y="5902366"/>
                </a:cubicBezTo>
                <a:cubicBezTo>
                  <a:pt x="6110661" y="5896658"/>
                  <a:pt x="6108755" y="5890950"/>
                  <a:pt x="6108755" y="5883339"/>
                </a:cubicBezTo>
                <a:cubicBezTo>
                  <a:pt x="6108755" y="5870020"/>
                  <a:pt x="6118287" y="5854799"/>
                  <a:pt x="6131632" y="5847188"/>
                </a:cubicBezTo>
                <a:cubicBezTo>
                  <a:pt x="6131632" y="5847188"/>
                  <a:pt x="6131632" y="5847188"/>
                  <a:pt x="6470979" y="5683559"/>
                </a:cubicBezTo>
                <a:cubicBezTo>
                  <a:pt x="6476222" y="5680705"/>
                  <a:pt x="6481583" y="5679159"/>
                  <a:pt x="6486856" y="5678743"/>
                </a:cubicBezTo>
                <a:close/>
                <a:moveTo>
                  <a:pt x="5956806" y="5667777"/>
                </a:moveTo>
                <a:cubicBezTo>
                  <a:pt x="5966814" y="5671349"/>
                  <a:pt x="5975394" y="5678493"/>
                  <a:pt x="5980159" y="5688018"/>
                </a:cubicBezTo>
                <a:cubicBezTo>
                  <a:pt x="5989691" y="5708973"/>
                  <a:pt x="5980159" y="5733738"/>
                  <a:pt x="5961095" y="5743263"/>
                </a:cubicBezTo>
                <a:cubicBezTo>
                  <a:pt x="5961095" y="5743263"/>
                  <a:pt x="5961095" y="5743263"/>
                  <a:pt x="5621756" y="5907093"/>
                </a:cubicBezTo>
                <a:cubicBezTo>
                  <a:pt x="5600786" y="5916618"/>
                  <a:pt x="5576003" y="5907093"/>
                  <a:pt x="5566471" y="5888043"/>
                </a:cubicBezTo>
                <a:cubicBezTo>
                  <a:pt x="5564565" y="5882328"/>
                  <a:pt x="5562659" y="5874708"/>
                  <a:pt x="5562659" y="5868993"/>
                </a:cubicBezTo>
                <a:cubicBezTo>
                  <a:pt x="5562659" y="5853753"/>
                  <a:pt x="5570284" y="5840418"/>
                  <a:pt x="5585535" y="5832798"/>
                </a:cubicBezTo>
                <a:cubicBezTo>
                  <a:pt x="5585535" y="5832798"/>
                  <a:pt x="5585535" y="5832798"/>
                  <a:pt x="5924873" y="5668968"/>
                </a:cubicBezTo>
                <a:cubicBezTo>
                  <a:pt x="5935358" y="5664205"/>
                  <a:pt x="5946797" y="5664205"/>
                  <a:pt x="5956806" y="5667777"/>
                </a:cubicBezTo>
                <a:close/>
                <a:moveTo>
                  <a:pt x="397251" y="5667777"/>
                </a:moveTo>
                <a:cubicBezTo>
                  <a:pt x="407022" y="5671349"/>
                  <a:pt x="415601" y="5678493"/>
                  <a:pt x="420367" y="5688018"/>
                </a:cubicBezTo>
                <a:cubicBezTo>
                  <a:pt x="431806" y="5708973"/>
                  <a:pt x="422273" y="5733738"/>
                  <a:pt x="401303" y="5743263"/>
                </a:cubicBezTo>
                <a:cubicBezTo>
                  <a:pt x="401303" y="5743263"/>
                  <a:pt x="401303" y="5743263"/>
                  <a:pt x="63863" y="5907093"/>
                </a:cubicBezTo>
                <a:cubicBezTo>
                  <a:pt x="42892" y="5916618"/>
                  <a:pt x="18108" y="5907093"/>
                  <a:pt x="8576" y="5888043"/>
                </a:cubicBezTo>
                <a:cubicBezTo>
                  <a:pt x="4764" y="5882328"/>
                  <a:pt x="4764" y="5874708"/>
                  <a:pt x="4764" y="5868993"/>
                </a:cubicBezTo>
                <a:cubicBezTo>
                  <a:pt x="4764" y="5853753"/>
                  <a:pt x="12389" y="5840418"/>
                  <a:pt x="27641" y="5832798"/>
                </a:cubicBezTo>
                <a:cubicBezTo>
                  <a:pt x="27641" y="5832798"/>
                  <a:pt x="27641" y="5832798"/>
                  <a:pt x="366987" y="5668968"/>
                </a:cubicBezTo>
                <a:cubicBezTo>
                  <a:pt x="376519" y="5664205"/>
                  <a:pt x="387481" y="5664205"/>
                  <a:pt x="397251" y="5667777"/>
                </a:cubicBezTo>
                <a:close/>
                <a:moveTo>
                  <a:pt x="5407592" y="5656676"/>
                </a:moveTo>
                <a:cubicBezTo>
                  <a:pt x="5417631" y="5660252"/>
                  <a:pt x="5426713" y="5667405"/>
                  <a:pt x="5432448" y="5676941"/>
                </a:cubicBezTo>
                <a:cubicBezTo>
                  <a:pt x="5442009" y="5697922"/>
                  <a:pt x="5432448" y="5722718"/>
                  <a:pt x="5411416" y="5732255"/>
                </a:cubicBezTo>
                <a:cubicBezTo>
                  <a:pt x="5411416" y="5732255"/>
                  <a:pt x="5411416" y="5732255"/>
                  <a:pt x="5071065" y="5894382"/>
                </a:cubicBezTo>
                <a:cubicBezTo>
                  <a:pt x="5050035" y="5903919"/>
                  <a:pt x="5025180" y="5894382"/>
                  <a:pt x="5015620" y="5873401"/>
                </a:cubicBezTo>
                <a:cubicBezTo>
                  <a:pt x="5013708" y="5867679"/>
                  <a:pt x="5011797" y="5861957"/>
                  <a:pt x="5011797" y="5856234"/>
                </a:cubicBezTo>
                <a:cubicBezTo>
                  <a:pt x="5011797" y="5840975"/>
                  <a:pt x="5021357" y="5825716"/>
                  <a:pt x="5036652" y="5818087"/>
                </a:cubicBezTo>
                <a:cubicBezTo>
                  <a:pt x="5036652" y="5818087"/>
                  <a:pt x="5036652" y="5818087"/>
                  <a:pt x="5377000" y="5657868"/>
                </a:cubicBezTo>
                <a:cubicBezTo>
                  <a:pt x="5386560" y="5653099"/>
                  <a:pt x="5397554" y="5653099"/>
                  <a:pt x="5407592" y="5656676"/>
                </a:cubicBezTo>
                <a:close/>
                <a:moveTo>
                  <a:pt x="941847" y="5656676"/>
                </a:moveTo>
                <a:cubicBezTo>
                  <a:pt x="951856" y="5660252"/>
                  <a:pt x="960435" y="5667405"/>
                  <a:pt x="965201" y="5676941"/>
                </a:cubicBezTo>
                <a:cubicBezTo>
                  <a:pt x="974733" y="5697922"/>
                  <a:pt x="965201" y="5722718"/>
                  <a:pt x="946137" y="5732255"/>
                </a:cubicBezTo>
                <a:cubicBezTo>
                  <a:pt x="946137" y="5732255"/>
                  <a:pt x="946137" y="5732255"/>
                  <a:pt x="606791" y="5894382"/>
                </a:cubicBezTo>
                <a:cubicBezTo>
                  <a:pt x="585820" y="5903919"/>
                  <a:pt x="561036" y="5894382"/>
                  <a:pt x="551504" y="5873401"/>
                </a:cubicBezTo>
                <a:cubicBezTo>
                  <a:pt x="547691" y="5867679"/>
                  <a:pt x="547691" y="5861957"/>
                  <a:pt x="547691" y="5856234"/>
                </a:cubicBezTo>
                <a:cubicBezTo>
                  <a:pt x="547691" y="5840975"/>
                  <a:pt x="555317" y="5825716"/>
                  <a:pt x="570568" y="5818087"/>
                </a:cubicBezTo>
                <a:cubicBezTo>
                  <a:pt x="570568" y="5818087"/>
                  <a:pt x="570568" y="5818087"/>
                  <a:pt x="909914" y="5657868"/>
                </a:cubicBezTo>
                <a:cubicBezTo>
                  <a:pt x="920400" y="5653099"/>
                  <a:pt x="931838" y="5653099"/>
                  <a:pt x="941847" y="5656676"/>
                </a:cubicBezTo>
                <a:close/>
                <a:moveTo>
                  <a:pt x="4853505" y="5644857"/>
                </a:moveTo>
                <a:cubicBezTo>
                  <a:pt x="4863509" y="5648199"/>
                  <a:pt x="4872084" y="5655361"/>
                  <a:pt x="4876847" y="5665864"/>
                </a:cubicBezTo>
                <a:cubicBezTo>
                  <a:pt x="4886373" y="5686872"/>
                  <a:pt x="4876847" y="5711699"/>
                  <a:pt x="4855889" y="5723158"/>
                </a:cubicBezTo>
                <a:cubicBezTo>
                  <a:pt x="4855889" y="5723158"/>
                  <a:pt x="4855889" y="5723158"/>
                  <a:pt x="4516799" y="5881669"/>
                </a:cubicBezTo>
                <a:cubicBezTo>
                  <a:pt x="4495845" y="5891218"/>
                  <a:pt x="4471079" y="5881669"/>
                  <a:pt x="4461553" y="5860661"/>
                </a:cubicBezTo>
                <a:cubicBezTo>
                  <a:pt x="4459649" y="5854932"/>
                  <a:pt x="4457744" y="5849203"/>
                  <a:pt x="4457744" y="5843473"/>
                </a:cubicBezTo>
                <a:cubicBezTo>
                  <a:pt x="4457744" y="5828195"/>
                  <a:pt x="4467269" y="5812917"/>
                  <a:pt x="4482509" y="5805278"/>
                </a:cubicBezTo>
                <a:cubicBezTo>
                  <a:pt x="4482509" y="5805278"/>
                  <a:pt x="4482509" y="5805278"/>
                  <a:pt x="4821594" y="5646767"/>
                </a:cubicBezTo>
                <a:cubicBezTo>
                  <a:pt x="4832072" y="5641992"/>
                  <a:pt x="4843504" y="5641515"/>
                  <a:pt x="4853505" y="5644857"/>
                </a:cubicBezTo>
                <a:close/>
                <a:moveTo>
                  <a:pt x="1487895" y="5644857"/>
                </a:moveTo>
                <a:cubicBezTo>
                  <a:pt x="1498134" y="5648199"/>
                  <a:pt x="1507183" y="5655361"/>
                  <a:pt x="1512898" y="5665864"/>
                </a:cubicBezTo>
                <a:cubicBezTo>
                  <a:pt x="1522423" y="5686872"/>
                  <a:pt x="1512898" y="5711699"/>
                  <a:pt x="1491943" y="5723158"/>
                </a:cubicBezTo>
                <a:cubicBezTo>
                  <a:pt x="1491943" y="5723158"/>
                  <a:pt x="1491943" y="5723158"/>
                  <a:pt x="1152849" y="5881669"/>
                </a:cubicBezTo>
                <a:cubicBezTo>
                  <a:pt x="1131894" y="5891218"/>
                  <a:pt x="1107128" y="5881669"/>
                  <a:pt x="1097603" y="5860661"/>
                </a:cubicBezTo>
                <a:cubicBezTo>
                  <a:pt x="1093793" y="5854932"/>
                  <a:pt x="1093793" y="5849203"/>
                  <a:pt x="1093793" y="5843473"/>
                </a:cubicBezTo>
                <a:cubicBezTo>
                  <a:pt x="1093793" y="5828195"/>
                  <a:pt x="1101413" y="5812917"/>
                  <a:pt x="1116653" y="5805278"/>
                </a:cubicBezTo>
                <a:cubicBezTo>
                  <a:pt x="1116653" y="5805278"/>
                  <a:pt x="1116653" y="5805278"/>
                  <a:pt x="1455748" y="5646767"/>
                </a:cubicBezTo>
                <a:cubicBezTo>
                  <a:pt x="1466225" y="5641992"/>
                  <a:pt x="1477655" y="5641515"/>
                  <a:pt x="1487895" y="5644857"/>
                </a:cubicBezTo>
                <a:close/>
                <a:moveTo>
                  <a:pt x="4280333" y="5631131"/>
                </a:moveTo>
                <a:cubicBezTo>
                  <a:pt x="4296645" y="5629974"/>
                  <a:pt x="4312420" y="5639226"/>
                  <a:pt x="4319591" y="5654883"/>
                </a:cubicBezTo>
                <a:cubicBezTo>
                  <a:pt x="4329151" y="5677657"/>
                  <a:pt x="4319591" y="5702329"/>
                  <a:pt x="4298558" y="5711818"/>
                </a:cubicBezTo>
                <a:cubicBezTo>
                  <a:pt x="4298558" y="5711818"/>
                  <a:pt x="4298558" y="5711818"/>
                  <a:pt x="3958230" y="5867442"/>
                </a:cubicBezTo>
                <a:cubicBezTo>
                  <a:pt x="3937192" y="5876931"/>
                  <a:pt x="3912337" y="5867442"/>
                  <a:pt x="3902775" y="5846565"/>
                </a:cubicBezTo>
                <a:cubicBezTo>
                  <a:pt x="3898949" y="5840872"/>
                  <a:pt x="3898949" y="5835178"/>
                  <a:pt x="3898949" y="5829485"/>
                </a:cubicBezTo>
                <a:cubicBezTo>
                  <a:pt x="3898949" y="5812404"/>
                  <a:pt x="3906601" y="5797221"/>
                  <a:pt x="3923810" y="5789630"/>
                </a:cubicBezTo>
                <a:cubicBezTo>
                  <a:pt x="3923810" y="5789630"/>
                  <a:pt x="3923810" y="5789630"/>
                  <a:pt x="4264140" y="5635905"/>
                </a:cubicBezTo>
                <a:cubicBezTo>
                  <a:pt x="4269397" y="5633058"/>
                  <a:pt x="4274895" y="5631516"/>
                  <a:pt x="4280333" y="5631131"/>
                </a:cubicBezTo>
                <a:close/>
                <a:moveTo>
                  <a:pt x="2025802" y="5631130"/>
                </a:moveTo>
                <a:cubicBezTo>
                  <a:pt x="2042192" y="5629974"/>
                  <a:pt x="2058318" y="5639226"/>
                  <a:pt x="2066916" y="5654883"/>
                </a:cubicBezTo>
                <a:cubicBezTo>
                  <a:pt x="2076469" y="5677657"/>
                  <a:pt x="2066916" y="5702329"/>
                  <a:pt x="2045894" y="5711818"/>
                </a:cubicBezTo>
                <a:cubicBezTo>
                  <a:pt x="2045894" y="5711818"/>
                  <a:pt x="2045894" y="5711818"/>
                  <a:pt x="1705799" y="5867442"/>
                </a:cubicBezTo>
                <a:cubicBezTo>
                  <a:pt x="1682871" y="5876931"/>
                  <a:pt x="1658033" y="5867442"/>
                  <a:pt x="1648480" y="5846565"/>
                </a:cubicBezTo>
                <a:cubicBezTo>
                  <a:pt x="1646569" y="5840872"/>
                  <a:pt x="1644659" y="5835178"/>
                  <a:pt x="1644659" y="5829485"/>
                </a:cubicBezTo>
                <a:cubicBezTo>
                  <a:pt x="1644659" y="5812404"/>
                  <a:pt x="1654212" y="5797221"/>
                  <a:pt x="1669497" y="5789630"/>
                </a:cubicBezTo>
                <a:cubicBezTo>
                  <a:pt x="1669497" y="5789630"/>
                  <a:pt x="1669497" y="5789630"/>
                  <a:pt x="2009592" y="5635905"/>
                </a:cubicBezTo>
                <a:cubicBezTo>
                  <a:pt x="2014846" y="5633058"/>
                  <a:pt x="2020339" y="5631516"/>
                  <a:pt x="2025802" y="5631130"/>
                </a:cubicBezTo>
                <a:close/>
                <a:moveTo>
                  <a:pt x="3732520" y="5620423"/>
                </a:moveTo>
                <a:cubicBezTo>
                  <a:pt x="3742752" y="5624247"/>
                  <a:pt x="3751319" y="5631896"/>
                  <a:pt x="3756079" y="5642413"/>
                </a:cubicBezTo>
                <a:cubicBezTo>
                  <a:pt x="3765597" y="5665360"/>
                  <a:pt x="3756079" y="5690219"/>
                  <a:pt x="3735138" y="5699780"/>
                </a:cubicBezTo>
                <a:cubicBezTo>
                  <a:pt x="3735138" y="5699780"/>
                  <a:pt x="3735138" y="5699780"/>
                  <a:pt x="3396310" y="5854670"/>
                </a:cubicBezTo>
                <a:cubicBezTo>
                  <a:pt x="3373463" y="5864231"/>
                  <a:pt x="3348715" y="5854670"/>
                  <a:pt x="3339198" y="5833635"/>
                </a:cubicBezTo>
                <a:cubicBezTo>
                  <a:pt x="3337294" y="5827899"/>
                  <a:pt x="3335390" y="5820250"/>
                  <a:pt x="3335390" y="5814513"/>
                </a:cubicBezTo>
                <a:cubicBezTo>
                  <a:pt x="3335390" y="5799215"/>
                  <a:pt x="3344909" y="5783918"/>
                  <a:pt x="3360137" y="5776269"/>
                </a:cubicBezTo>
                <a:cubicBezTo>
                  <a:pt x="3360137" y="5776269"/>
                  <a:pt x="3360137" y="5776269"/>
                  <a:pt x="3698969" y="5621379"/>
                </a:cubicBezTo>
                <a:cubicBezTo>
                  <a:pt x="3710391" y="5616598"/>
                  <a:pt x="3722287" y="5616598"/>
                  <a:pt x="3732520" y="5620423"/>
                </a:cubicBezTo>
                <a:close/>
                <a:moveTo>
                  <a:pt x="2598307" y="5620423"/>
                </a:moveTo>
                <a:cubicBezTo>
                  <a:pt x="2608779" y="5624247"/>
                  <a:pt x="2617818" y="5631896"/>
                  <a:pt x="2622577" y="5642413"/>
                </a:cubicBezTo>
                <a:cubicBezTo>
                  <a:pt x="2632096" y="5665360"/>
                  <a:pt x="2622577" y="5690219"/>
                  <a:pt x="2601638" y="5699780"/>
                </a:cubicBezTo>
                <a:cubicBezTo>
                  <a:pt x="2601638" y="5699780"/>
                  <a:pt x="2601638" y="5699780"/>
                  <a:pt x="2262794" y="5854670"/>
                </a:cubicBezTo>
                <a:cubicBezTo>
                  <a:pt x="2239951" y="5864231"/>
                  <a:pt x="2215204" y="5854670"/>
                  <a:pt x="2205686" y="5833635"/>
                </a:cubicBezTo>
                <a:cubicBezTo>
                  <a:pt x="2203782" y="5827899"/>
                  <a:pt x="2201878" y="5820250"/>
                  <a:pt x="2201878" y="5814513"/>
                </a:cubicBezTo>
                <a:cubicBezTo>
                  <a:pt x="2201878" y="5799215"/>
                  <a:pt x="2211397" y="5783918"/>
                  <a:pt x="2226626" y="5776269"/>
                </a:cubicBezTo>
                <a:cubicBezTo>
                  <a:pt x="2226626" y="5776269"/>
                  <a:pt x="2226626" y="5776269"/>
                  <a:pt x="2565469" y="5621379"/>
                </a:cubicBezTo>
                <a:cubicBezTo>
                  <a:pt x="2575938" y="5616598"/>
                  <a:pt x="2587837" y="5616598"/>
                  <a:pt x="2598307" y="5620423"/>
                </a:cubicBezTo>
                <a:close/>
                <a:moveTo>
                  <a:pt x="3160334" y="5609267"/>
                </a:moveTo>
                <a:cubicBezTo>
                  <a:pt x="3170795" y="5613073"/>
                  <a:pt x="3179834" y="5620683"/>
                  <a:pt x="3184587" y="5631147"/>
                </a:cubicBezTo>
                <a:cubicBezTo>
                  <a:pt x="3194099" y="5653978"/>
                  <a:pt x="3184587" y="5678712"/>
                  <a:pt x="3161760" y="5688224"/>
                </a:cubicBezTo>
                <a:cubicBezTo>
                  <a:pt x="3161760" y="5688224"/>
                  <a:pt x="3161760" y="5688224"/>
                  <a:pt x="2823162" y="5840431"/>
                </a:cubicBezTo>
                <a:cubicBezTo>
                  <a:pt x="2800335" y="5849944"/>
                  <a:pt x="2775606" y="5840431"/>
                  <a:pt x="2766096" y="5817600"/>
                </a:cubicBezTo>
                <a:cubicBezTo>
                  <a:pt x="2764193" y="5811892"/>
                  <a:pt x="2762293" y="5806184"/>
                  <a:pt x="2762293" y="5800477"/>
                </a:cubicBezTo>
                <a:cubicBezTo>
                  <a:pt x="2762293" y="5783353"/>
                  <a:pt x="2771799" y="5768133"/>
                  <a:pt x="2787019" y="5760522"/>
                </a:cubicBezTo>
                <a:cubicBezTo>
                  <a:pt x="2787019" y="5760522"/>
                  <a:pt x="2787019" y="5760522"/>
                  <a:pt x="3127521" y="5610219"/>
                </a:cubicBezTo>
                <a:cubicBezTo>
                  <a:pt x="3137984" y="5605462"/>
                  <a:pt x="3149873" y="5605462"/>
                  <a:pt x="3160334" y="5609267"/>
                </a:cubicBezTo>
                <a:close/>
                <a:moveTo>
                  <a:pt x="9870770" y="5423698"/>
                </a:moveTo>
                <a:cubicBezTo>
                  <a:pt x="9879370" y="5426080"/>
                  <a:pt x="9887013" y="5431795"/>
                  <a:pt x="9891790" y="5439415"/>
                </a:cubicBezTo>
                <a:cubicBezTo>
                  <a:pt x="9901345" y="5456560"/>
                  <a:pt x="9895612" y="5479420"/>
                  <a:pt x="9878414" y="5488945"/>
                </a:cubicBezTo>
                <a:cubicBezTo>
                  <a:pt x="9878414" y="5488945"/>
                  <a:pt x="9878414" y="5488945"/>
                  <a:pt x="9542094" y="5683255"/>
                </a:cubicBezTo>
                <a:cubicBezTo>
                  <a:pt x="9524896" y="5692780"/>
                  <a:pt x="9501965" y="5687065"/>
                  <a:pt x="9492411" y="5669920"/>
                </a:cubicBezTo>
                <a:cubicBezTo>
                  <a:pt x="9490500" y="5664205"/>
                  <a:pt x="9488589" y="5658490"/>
                  <a:pt x="9488589" y="5650870"/>
                </a:cubicBezTo>
                <a:cubicBezTo>
                  <a:pt x="9488589" y="5639440"/>
                  <a:pt x="9494322" y="5628010"/>
                  <a:pt x="9505787" y="5620390"/>
                </a:cubicBezTo>
                <a:cubicBezTo>
                  <a:pt x="9505787" y="5620390"/>
                  <a:pt x="9505787" y="5620390"/>
                  <a:pt x="9844018" y="5427985"/>
                </a:cubicBezTo>
                <a:cubicBezTo>
                  <a:pt x="9852617" y="5422270"/>
                  <a:pt x="9862172" y="5421317"/>
                  <a:pt x="9870770" y="5423698"/>
                </a:cubicBezTo>
                <a:close/>
                <a:moveTo>
                  <a:pt x="10454072" y="5413206"/>
                </a:moveTo>
                <a:cubicBezTo>
                  <a:pt x="10463135" y="5415582"/>
                  <a:pt x="10471244" y="5421284"/>
                  <a:pt x="10476013" y="5429836"/>
                </a:cubicBezTo>
                <a:cubicBezTo>
                  <a:pt x="10485553" y="5446941"/>
                  <a:pt x="10479829" y="5469747"/>
                  <a:pt x="10460750" y="5479250"/>
                </a:cubicBezTo>
                <a:cubicBezTo>
                  <a:pt x="10460750" y="5479250"/>
                  <a:pt x="10460750" y="5479250"/>
                  <a:pt x="10123044" y="5667402"/>
                </a:cubicBezTo>
                <a:cubicBezTo>
                  <a:pt x="10105873" y="5676905"/>
                  <a:pt x="10084886" y="5671203"/>
                  <a:pt x="10075346" y="5654098"/>
                </a:cubicBezTo>
                <a:cubicBezTo>
                  <a:pt x="10071530" y="5648397"/>
                  <a:pt x="10069622" y="5642695"/>
                  <a:pt x="10069622" y="5636994"/>
                </a:cubicBezTo>
                <a:cubicBezTo>
                  <a:pt x="10069622" y="5623690"/>
                  <a:pt x="10077254" y="5610386"/>
                  <a:pt x="10088701" y="5604685"/>
                </a:cubicBezTo>
                <a:cubicBezTo>
                  <a:pt x="10088701" y="5604685"/>
                  <a:pt x="10088701" y="5604685"/>
                  <a:pt x="10426407" y="5416532"/>
                </a:cubicBezTo>
                <a:cubicBezTo>
                  <a:pt x="10434993" y="5411781"/>
                  <a:pt x="10445009" y="5410831"/>
                  <a:pt x="10454072" y="5413206"/>
                </a:cubicBezTo>
                <a:close/>
                <a:moveTo>
                  <a:pt x="9292639" y="5413206"/>
                </a:moveTo>
                <a:cubicBezTo>
                  <a:pt x="9301225" y="5415582"/>
                  <a:pt x="9308857" y="5421284"/>
                  <a:pt x="9313626" y="5429836"/>
                </a:cubicBezTo>
                <a:cubicBezTo>
                  <a:pt x="9325074" y="5446941"/>
                  <a:pt x="9317442" y="5469747"/>
                  <a:pt x="9300271" y="5479250"/>
                </a:cubicBezTo>
                <a:cubicBezTo>
                  <a:pt x="9300271" y="5479250"/>
                  <a:pt x="9300271" y="5479250"/>
                  <a:pt x="8962565" y="5667402"/>
                </a:cubicBezTo>
                <a:cubicBezTo>
                  <a:pt x="8945394" y="5676905"/>
                  <a:pt x="8922499" y="5671203"/>
                  <a:pt x="8912959" y="5654098"/>
                </a:cubicBezTo>
                <a:cubicBezTo>
                  <a:pt x="8911051" y="5648397"/>
                  <a:pt x="8909143" y="5642695"/>
                  <a:pt x="8909143" y="5636994"/>
                </a:cubicBezTo>
                <a:cubicBezTo>
                  <a:pt x="8909143" y="5623690"/>
                  <a:pt x="8914867" y="5610386"/>
                  <a:pt x="8928222" y="5604685"/>
                </a:cubicBezTo>
                <a:cubicBezTo>
                  <a:pt x="8928222" y="5604685"/>
                  <a:pt x="8928222" y="5604685"/>
                  <a:pt x="9265928" y="5416532"/>
                </a:cubicBezTo>
                <a:cubicBezTo>
                  <a:pt x="9274513" y="5411781"/>
                  <a:pt x="9284053" y="5410831"/>
                  <a:pt x="9292639" y="5413206"/>
                </a:cubicBezTo>
                <a:close/>
                <a:moveTo>
                  <a:pt x="11031715" y="5402102"/>
                </a:moveTo>
                <a:cubicBezTo>
                  <a:pt x="11041009" y="5404480"/>
                  <a:pt x="11049111" y="5410188"/>
                  <a:pt x="11053878" y="5418751"/>
                </a:cubicBezTo>
                <a:cubicBezTo>
                  <a:pt x="11063410" y="5437778"/>
                  <a:pt x="11055784" y="5460611"/>
                  <a:pt x="11038626" y="5470125"/>
                </a:cubicBezTo>
                <a:cubicBezTo>
                  <a:pt x="11038626" y="5470125"/>
                  <a:pt x="11038626" y="5470125"/>
                  <a:pt x="10701180" y="5654692"/>
                </a:cubicBezTo>
                <a:cubicBezTo>
                  <a:pt x="10682115" y="5664206"/>
                  <a:pt x="10661144" y="5658498"/>
                  <a:pt x="10649705" y="5639470"/>
                </a:cubicBezTo>
                <a:cubicBezTo>
                  <a:pt x="10647798" y="5633762"/>
                  <a:pt x="10645892" y="5628053"/>
                  <a:pt x="10645892" y="5622345"/>
                </a:cubicBezTo>
                <a:cubicBezTo>
                  <a:pt x="10645892" y="5609026"/>
                  <a:pt x="10653518" y="5595707"/>
                  <a:pt x="10664957" y="5589998"/>
                </a:cubicBezTo>
                <a:cubicBezTo>
                  <a:pt x="10664957" y="5589998"/>
                  <a:pt x="10664957" y="5589998"/>
                  <a:pt x="11002403" y="5405432"/>
                </a:cubicBezTo>
                <a:cubicBezTo>
                  <a:pt x="11011936" y="5400675"/>
                  <a:pt x="11022421" y="5399723"/>
                  <a:pt x="11031715" y="5402102"/>
                </a:cubicBezTo>
                <a:close/>
                <a:moveTo>
                  <a:pt x="8722109" y="5402102"/>
                </a:moveTo>
                <a:cubicBezTo>
                  <a:pt x="8731165" y="5404480"/>
                  <a:pt x="8739267" y="5410189"/>
                  <a:pt x="8744034" y="5418751"/>
                </a:cubicBezTo>
                <a:cubicBezTo>
                  <a:pt x="8753566" y="5437778"/>
                  <a:pt x="8747847" y="5460611"/>
                  <a:pt x="8728782" y="5470125"/>
                </a:cubicBezTo>
                <a:cubicBezTo>
                  <a:pt x="8728782" y="5470125"/>
                  <a:pt x="8728782" y="5470125"/>
                  <a:pt x="8391336" y="5654692"/>
                </a:cubicBezTo>
                <a:cubicBezTo>
                  <a:pt x="8374177" y="5664206"/>
                  <a:pt x="8351300" y="5658498"/>
                  <a:pt x="8341767" y="5639470"/>
                </a:cubicBezTo>
                <a:cubicBezTo>
                  <a:pt x="8337954" y="5633762"/>
                  <a:pt x="8336048" y="5628053"/>
                  <a:pt x="8336048" y="5622345"/>
                </a:cubicBezTo>
                <a:cubicBezTo>
                  <a:pt x="8336048" y="5609026"/>
                  <a:pt x="8343674" y="5595707"/>
                  <a:pt x="8355113" y="5589998"/>
                </a:cubicBezTo>
                <a:cubicBezTo>
                  <a:pt x="8355113" y="5589998"/>
                  <a:pt x="8355113" y="5589998"/>
                  <a:pt x="8694465" y="5405432"/>
                </a:cubicBezTo>
                <a:cubicBezTo>
                  <a:pt x="8703045" y="5400675"/>
                  <a:pt x="8713054" y="5399723"/>
                  <a:pt x="8722109" y="5402102"/>
                </a:cubicBezTo>
                <a:close/>
                <a:moveTo>
                  <a:pt x="11601635" y="5389647"/>
                </a:moveTo>
                <a:cubicBezTo>
                  <a:pt x="11610929" y="5392266"/>
                  <a:pt x="11619031" y="5398458"/>
                  <a:pt x="11623798" y="5407983"/>
                </a:cubicBezTo>
                <a:cubicBezTo>
                  <a:pt x="11633330" y="5427033"/>
                  <a:pt x="11627611" y="5449893"/>
                  <a:pt x="11608546" y="5459418"/>
                </a:cubicBezTo>
                <a:cubicBezTo>
                  <a:pt x="11608546" y="5459418"/>
                  <a:pt x="11608546" y="5459418"/>
                  <a:pt x="11271100" y="5638488"/>
                </a:cubicBezTo>
                <a:cubicBezTo>
                  <a:pt x="11252035" y="5649918"/>
                  <a:pt x="11229157" y="5642298"/>
                  <a:pt x="11219625" y="5623248"/>
                </a:cubicBezTo>
                <a:cubicBezTo>
                  <a:pt x="11215812" y="5617533"/>
                  <a:pt x="11215812" y="5611818"/>
                  <a:pt x="11215812" y="5606103"/>
                </a:cubicBezTo>
                <a:cubicBezTo>
                  <a:pt x="11215812" y="5592768"/>
                  <a:pt x="11221531" y="5579433"/>
                  <a:pt x="11234877" y="5571813"/>
                </a:cubicBezTo>
                <a:cubicBezTo>
                  <a:pt x="11234877" y="5571813"/>
                  <a:pt x="11234877" y="5571813"/>
                  <a:pt x="11572323" y="5392743"/>
                </a:cubicBezTo>
                <a:cubicBezTo>
                  <a:pt x="11581856" y="5387980"/>
                  <a:pt x="11592341" y="5387028"/>
                  <a:pt x="11601635" y="5389647"/>
                </a:cubicBezTo>
                <a:close/>
                <a:moveTo>
                  <a:pt x="8158325" y="5389647"/>
                </a:moveTo>
                <a:cubicBezTo>
                  <a:pt x="8167612" y="5392267"/>
                  <a:pt x="8175708" y="5398458"/>
                  <a:pt x="8180471" y="5407983"/>
                </a:cubicBezTo>
                <a:cubicBezTo>
                  <a:pt x="8189996" y="5427033"/>
                  <a:pt x="8182376" y="5449893"/>
                  <a:pt x="8165230" y="5459418"/>
                </a:cubicBezTo>
                <a:cubicBezTo>
                  <a:pt x="8165230" y="5459418"/>
                  <a:pt x="8165230" y="5459418"/>
                  <a:pt x="7826136" y="5638488"/>
                </a:cubicBezTo>
                <a:cubicBezTo>
                  <a:pt x="7808990" y="5649918"/>
                  <a:pt x="7786130" y="5642298"/>
                  <a:pt x="7774700" y="5623248"/>
                </a:cubicBezTo>
                <a:cubicBezTo>
                  <a:pt x="7772795" y="5617533"/>
                  <a:pt x="7770890" y="5611818"/>
                  <a:pt x="7770890" y="5606103"/>
                </a:cubicBezTo>
                <a:cubicBezTo>
                  <a:pt x="7770890" y="5592768"/>
                  <a:pt x="7778510" y="5579433"/>
                  <a:pt x="7791845" y="5571813"/>
                </a:cubicBezTo>
                <a:cubicBezTo>
                  <a:pt x="7791845" y="5571813"/>
                  <a:pt x="7791845" y="5571813"/>
                  <a:pt x="8129035" y="5392743"/>
                </a:cubicBezTo>
                <a:cubicBezTo>
                  <a:pt x="8138560" y="5387980"/>
                  <a:pt x="8149038" y="5387028"/>
                  <a:pt x="8158325" y="5389647"/>
                </a:cubicBezTo>
                <a:close/>
                <a:moveTo>
                  <a:pt x="12139750" y="5380043"/>
                </a:moveTo>
                <a:cubicBezTo>
                  <a:pt x="12139750" y="5380043"/>
                  <a:pt x="12139750" y="5380043"/>
                  <a:pt x="12139750" y="5467782"/>
                </a:cubicBezTo>
                <a:cubicBezTo>
                  <a:pt x="12139750" y="5467782"/>
                  <a:pt x="12139750" y="5467782"/>
                  <a:pt x="11833041" y="5626094"/>
                </a:cubicBezTo>
                <a:cubicBezTo>
                  <a:pt x="11813991" y="5635631"/>
                  <a:pt x="11791130" y="5628001"/>
                  <a:pt x="11781605" y="5608928"/>
                </a:cubicBezTo>
                <a:cubicBezTo>
                  <a:pt x="11777795" y="5603205"/>
                  <a:pt x="11777795" y="5597483"/>
                  <a:pt x="11777795" y="5591761"/>
                </a:cubicBezTo>
                <a:cubicBezTo>
                  <a:pt x="11777795" y="5578410"/>
                  <a:pt x="11785415" y="5565058"/>
                  <a:pt x="11798750" y="5557428"/>
                </a:cubicBezTo>
                <a:lnTo>
                  <a:pt x="12135940" y="5381950"/>
                </a:lnTo>
                <a:cubicBezTo>
                  <a:pt x="12137845" y="5381950"/>
                  <a:pt x="12139750" y="5380043"/>
                  <a:pt x="12139750" y="5380043"/>
                </a:cubicBezTo>
                <a:close/>
                <a:moveTo>
                  <a:pt x="7599540" y="5379505"/>
                </a:moveTo>
                <a:cubicBezTo>
                  <a:pt x="7608821" y="5382608"/>
                  <a:pt x="7616911" y="5389291"/>
                  <a:pt x="7621670" y="5398839"/>
                </a:cubicBezTo>
                <a:cubicBezTo>
                  <a:pt x="7631188" y="5417935"/>
                  <a:pt x="7623573" y="5440850"/>
                  <a:pt x="7604538" y="5450398"/>
                </a:cubicBezTo>
                <a:cubicBezTo>
                  <a:pt x="7604538" y="5450398"/>
                  <a:pt x="7604538" y="5450398"/>
                  <a:pt x="7267602" y="5626082"/>
                </a:cubicBezTo>
                <a:cubicBezTo>
                  <a:pt x="7248567" y="5635630"/>
                  <a:pt x="7225723" y="5627991"/>
                  <a:pt x="7214302" y="5608895"/>
                </a:cubicBezTo>
                <a:cubicBezTo>
                  <a:pt x="7212398" y="5603167"/>
                  <a:pt x="7210495" y="5597438"/>
                  <a:pt x="7210495" y="5591709"/>
                </a:cubicBezTo>
                <a:cubicBezTo>
                  <a:pt x="7210495" y="5578342"/>
                  <a:pt x="7218109" y="5564975"/>
                  <a:pt x="7231434" y="5557336"/>
                </a:cubicBezTo>
                <a:cubicBezTo>
                  <a:pt x="7231434" y="5557336"/>
                  <a:pt x="7231434" y="5557336"/>
                  <a:pt x="7570273" y="5381653"/>
                </a:cubicBezTo>
                <a:cubicBezTo>
                  <a:pt x="7579791" y="5376879"/>
                  <a:pt x="7590261" y="5376401"/>
                  <a:pt x="7599540" y="5379505"/>
                </a:cubicBezTo>
                <a:close/>
                <a:moveTo>
                  <a:pt x="7046905" y="5368357"/>
                </a:moveTo>
                <a:cubicBezTo>
                  <a:pt x="7056451" y="5371445"/>
                  <a:pt x="7065043" y="5378096"/>
                  <a:pt x="7070771" y="5387598"/>
                </a:cubicBezTo>
                <a:cubicBezTo>
                  <a:pt x="7080318" y="5406602"/>
                  <a:pt x="7072681" y="5431306"/>
                  <a:pt x="7051678" y="5440808"/>
                </a:cubicBezTo>
                <a:cubicBezTo>
                  <a:pt x="7051678" y="5440808"/>
                  <a:pt x="7051678" y="5440808"/>
                  <a:pt x="6713729" y="5611841"/>
                </a:cubicBezTo>
                <a:cubicBezTo>
                  <a:pt x="6694636" y="5621343"/>
                  <a:pt x="6669815" y="5613741"/>
                  <a:pt x="6660268" y="5594738"/>
                </a:cubicBezTo>
                <a:cubicBezTo>
                  <a:pt x="6656450" y="5589037"/>
                  <a:pt x="6656450" y="5581435"/>
                  <a:pt x="6656450" y="5575734"/>
                </a:cubicBezTo>
                <a:cubicBezTo>
                  <a:pt x="6656450" y="5562431"/>
                  <a:pt x="6664087" y="5547229"/>
                  <a:pt x="6677452" y="5541527"/>
                </a:cubicBezTo>
                <a:cubicBezTo>
                  <a:pt x="6677452" y="5541527"/>
                  <a:pt x="6677452" y="5541527"/>
                  <a:pt x="7017310" y="5370495"/>
                </a:cubicBezTo>
                <a:cubicBezTo>
                  <a:pt x="7026857" y="5365744"/>
                  <a:pt x="7037358" y="5365269"/>
                  <a:pt x="7046905" y="5368357"/>
                </a:cubicBezTo>
                <a:close/>
                <a:moveTo>
                  <a:pt x="6501958" y="5357490"/>
                </a:moveTo>
                <a:cubicBezTo>
                  <a:pt x="6511491" y="5360820"/>
                  <a:pt x="6519593" y="5367955"/>
                  <a:pt x="6524359" y="5378420"/>
                </a:cubicBezTo>
                <a:cubicBezTo>
                  <a:pt x="6535798" y="5397446"/>
                  <a:pt x="6526266" y="5422181"/>
                  <a:pt x="6507201" y="5431695"/>
                </a:cubicBezTo>
                <a:cubicBezTo>
                  <a:pt x="6507201" y="5431695"/>
                  <a:pt x="6507201" y="5431695"/>
                  <a:pt x="6167854" y="5597227"/>
                </a:cubicBezTo>
                <a:cubicBezTo>
                  <a:pt x="6148790" y="5608643"/>
                  <a:pt x="6124006" y="5599129"/>
                  <a:pt x="6114474" y="5580103"/>
                </a:cubicBezTo>
                <a:cubicBezTo>
                  <a:pt x="6110661" y="5574395"/>
                  <a:pt x="6108755" y="5568687"/>
                  <a:pt x="6108755" y="5561076"/>
                </a:cubicBezTo>
                <a:cubicBezTo>
                  <a:pt x="6108755" y="5547757"/>
                  <a:pt x="6118287" y="5532536"/>
                  <a:pt x="6131632" y="5524925"/>
                </a:cubicBezTo>
                <a:cubicBezTo>
                  <a:pt x="6131632" y="5524925"/>
                  <a:pt x="6131632" y="5524925"/>
                  <a:pt x="6470979" y="5359393"/>
                </a:cubicBezTo>
                <a:cubicBezTo>
                  <a:pt x="6481464" y="5354637"/>
                  <a:pt x="6492426" y="5354161"/>
                  <a:pt x="6501958" y="5357490"/>
                </a:cubicBezTo>
                <a:close/>
                <a:moveTo>
                  <a:pt x="5956806" y="5347061"/>
                </a:moveTo>
                <a:cubicBezTo>
                  <a:pt x="5966814" y="5350615"/>
                  <a:pt x="5975394" y="5357723"/>
                  <a:pt x="5980159" y="5367201"/>
                </a:cubicBezTo>
                <a:cubicBezTo>
                  <a:pt x="5989691" y="5388051"/>
                  <a:pt x="5980159" y="5412693"/>
                  <a:pt x="5961095" y="5422171"/>
                </a:cubicBezTo>
                <a:cubicBezTo>
                  <a:pt x="5961095" y="5422171"/>
                  <a:pt x="5961095" y="5422171"/>
                  <a:pt x="5621756" y="5583290"/>
                </a:cubicBezTo>
                <a:cubicBezTo>
                  <a:pt x="5600786" y="5592768"/>
                  <a:pt x="5576003" y="5585186"/>
                  <a:pt x="5566471" y="5564335"/>
                </a:cubicBezTo>
                <a:cubicBezTo>
                  <a:pt x="5562659" y="5558648"/>
                  <a:pt x="5562659" y="5552962"/>
                  <a:pt x="5562659" y="5547275"/>
                </a:cubicBezTo>
                <a:cubicBezTo>
                  <a:pt x="5562659" y="5532111"/>
                  <a:pt x="5570284" y="5516947"/>
                  <a:pt x="5585535" y="5509365"/>
                </a:cubicBezTo>
                <a:cubicBezTo>
                  <a:pt x="5585535" y="5509365"/>
                  <a:pt x="5585535" y="5509365"/>
                  <a:pt x="5924873" y="5348245"/>
                </a:cubicBezTo>
                <a:cubicBezTo>
                  <a:pt x="5935358" y="5343507"/>
                  <a:pt x="5946797" y="5343507"/>
                  <a:pt x="5956806" y="5347061"/>
                </a:cubicBezTo>
                <a:close/>
                <a:moveTo>
                  <a:pt x="398204" y="5347061"/>
                </a:moveTo>
                <a:cubicBezTo>
                  <a:pt x="407975" y="5350615"/>
                  <a:pt x="416554" y="5357723"/>
                  <a:pt x="422273" y="5367201"/>
                </a:cubicBezTo>
                <a:cubicBezTo>
                  <a:pt x="431805" y="5388051"/>
                  <a:pt x="422273" y="5412693"/>
                  <a:pt x="401302" y="5422171"/>
                </a:cubicBezTo>
                <a:cubicBezTo>
                  <a:pt x="401302" y="5422171"/>
                  <a:pt x="401302" y="5422171"/>
                  <a:pt x="63863" y="5583290"/>
                </a:cubicBezTo>
                <a:cubicBezTo>
                  <a:pt x="42892" y="5592768"/>
                  <a:pt x="18108" y="5585186"/>
                  <a:pt x="8576" y="5564335"/>
                </a:cubicBezTo>
                <a:cubicBezTo>
                  <a:pt x="4763" y="5558648"/>
                  <a:pt x="4763" y="5552962"/>
                  <a:pt x="4763" y="5547275"/>
                </a:cubicBezTo>
                <a:cubicBezTo>
                  <a:pt x="4763" y="5532111"/>
                  <a:pt x="12389" y="5516947"/>
                  <a:pt x="27641" y="5509365"/>
                </a:cubicBezTo>
                <a:cubicBezTo>
                  <a:pt x="27641" y="5509365"/>
                  <a:pt x="27641" y="5509365"/>
                  <a:pt x="366986" y="5348245"/>
                </a:cubicBezTo>
                <a:cubicBezTo>
                  <a:pt x="377472" y="5343507"/>
                  <a:pt x="388434" y="5343507"/>
                  <a:pt x="398204" y="5347061"/>
                </a:cubicBezTo>
                <a:close/>
                <a:moveTo>
                  <a:pt x="5409026" y="5334662"/>
                </a:moveTo>
                <a:cubicBezTo>
                  <a:pt x="5419064" y="5338481"/>
                  <a:pt x="5427669" y="5346121"/>
                  <a:pt x="5432448" y="5356624"/>
                </a:cubicBezTo>
                <a:cubicBezTo>
                  <a:pt x="5442009" y="5377632"/>
                  <a:pt x="5432448" y="5402459"/>
                  <a:pt x="5411416" y="5412008"/>
                </a:cubicBezTo>
                <a:cubicBezTo>
                  <a:pt x="5411416" y="5412008"/>
                  <a:pt x="5411416" y="5412008"/>
                  <a:pt x="5071065" y="5570519"/>
                </a:cubicBezTo>
                <a:cubicBezTo>
                  <a:pt x="5050035" y="5580068"/>
                  <a:pt x="5025180" y="5570519"/>
                  <a:pt x="5015620" y="5549511"/>
                </a:cubicBezTo>
                <a:cubicBezTo>
                  <a:pt x="5011797" y="5543782"/>
                  <a:pt x="5011797" y="5538053"/>
                  <a:pt x="5011797" y="5532323"/>
                </a:cubicBezTo>
                <a:cubicBezTo>
                  <a:pt x="5011797" y="5515135"/>
                  <a:pt x="5021357" y="5499857"/>
                  <a:pt x="5036652" y="5494128"/>
                </a:cubicBezTo>
                <a:cubicBezTo>
                  <a:pt x="5036652" y="5494128"/>
                  <a:pt x="5036652" y="5494128"/>
                  <a:pt x="5377000" y="5335617"/>
                </a:cubicBezTo>
                <a:cubicBezTo>
                  <a:pt x="5387516" y="5330842"/>
                  <a:pt x="5398989" y="5330842"/>
                  <a:pt x="5409026" y="5334662"/>
                </a:cubicBezTo>
                <a:close/>
                <a:moveTo>
                  <a:pt x="941871" y="5334662"/>
                </a:moveTo>
                <a:cubicBezTo>
                  <a:pt x="951873" y="5338481"/>
                  <a:pt x="960445" y="5346121"/>
                  <a:pt x="965208" y="5356624"/>
                </a:cubicBezTo>
                <a:cubicBezTo>
                  <a:pt x="974733" y="5377632"/>
                  <a:pt x="967113" y="5402459"/>
                  <a:pt x="946158" y="5412008"/>
                </a:cubicBezTo>
                <a:cubicBezTo>
                  <a:pt x="946158" y="5412008"/>
                  <a:pt x="946158" y="5412008"/>
                  <a:pt x="605159" y="5570519"/>
                </a:cubicBezTo>
                <a:cubicBezTo>
                  <a:pt x="584203" y="5580068"/>
                  <a:pt x="559438" y="5570519"/>
                  <a:pt x="549913" y="5549511"/>
                </a:cubicBezTo>
                <a:cubicBezTo>
                  <a:pt x="548008" y="5543782"/>
                  <a:pt x="546103" y="5538053"/>
                  <a:pt x="546103" y="5532323"/>
                </a:cubicBezTo>
                <a:cubicBezTo>
                  <a:pt x="546103" y="5515135"/>
                  <a:pt x="555628" y="5499857"/>
                  <a:pt x="570868" y="5494128"/>
                </a:cubicBezTo>
                <a:cubicBezTo>
                  <a:pt x="570868" y="5494128"/>
                  <a:pt x="570868" y="5494128"/>
                  <a:pt x="909962" y="5335617"/>
                </a:cubicBezTo>
                <a:cubicBezTo>
                  <a:pt x="920440" y="5330842"/>
                  <a:pt x="931870" y="5330842"/>
                  <a:pt x="941871" y="5334662"/>
                </a:cubicBezTo>
                <a:close/>
                <a:moveTo>
                  <a:pt x="4854192" y="5323799"/>
                </a:moveTo>
                <a:cubicBezTo>
                  <a:pt x="4864654" y="5327862"/>
                  <a:pt x="4873693" y="5335989"/>
                  <a:pt x="4878448" y="5347462"/>
                </a:cubicBezTo>
                <a:cubicBezTo>
                  <a:pt x="4887962" y="5368497"/>
                  <a:pt x="4878448" y="5393356"/>
                  <a:pt x="4855617" y="5402917"/>
                </a:cubicBezTo>
                <a:cubicBezTo>
                  <a:pt x="4855617" y="5402917"/>
                  <a:pt x="4855617" y="5402917"/>
                  <a:pt x="4517030" y="5555894"/>
                </a:cubicBezTo>
                <a:cubicBezTo>
                  <a:pt x="4496104" y="5567368"/>
                  <a:pt x="4471375" y="5557807"/>
                  <a:pt x="4459961" y="5534860"/>
                </a:cubicBezTo>
                <a:cubicBezTo>
                  <a:pt x="4458059" y="5529123"/>
                  <a:pt x="4456156" y="5523387"/>
                  <a:pt x="4456156" y="5517650"/>
                </a:cubicBezTo>
                <a:cubicBezTo>
                  <a:pt x="4456156" y="5500440"/>
                  <a:pt x="4465668" y="5485142"/>
                  <a:pt x="4482788" y="5477493"/>
                </a:cubicBezTo>
                <a:cubicBezTo>
                  <a:pt x="4482788" y="5477493"/>
                  <a:pt x="4482788" y="5477493"/>
                  <a:pt x="4821375" y="5324516"/>
                </a:cubicBezTo>
                <a:cubicBezTo>
                  <a:pt x="4831836" y="5319735"/>
                  <a:pt x="4843727" y="5319735"/>
                  <a:pt x="4854192" y="5323799"/>
                </a:cubicBezTo>
                <a:close/>
                <a:moveTo>
                  <a:pt x="1489585" y="5323799"/>
                </a:moveTo>
                <a:cubicBezTo>
                  <a:pt x="1499579" y="5327862"/>
                  <a:pt x="1508145" y="5335989"/>
                  <a:pt x="1512904" y="5347462"/>
                </a:cubicBezTo>
                <a:cubicBezTo>
                  <a:pt x="1522422" y="5368497"/>
                  <a:pt x="1512904" y="5393356"/>
                  <a:pt x="1491964" y="5402917"/>
                </a:cubicBezTo>
                <a:cubicBezTo>
                  <a:pt x="1491964" y="5402917"/>
                  <a:pt x="1491964" y="5402917"/>
                  <a:pt x="1153121" y="5555894"/>
                </a:cubicBezTo>
                <a:cubicBezTo>
                  <a:pt x="1130277" y="5567368"/>
                  <a:pt x="1105530" y="5557807"/>
                  <a:pt x="1096012" y="5534860"/>
                </a:cubicBezTo>
                <a:cubicBezTo>
                  <a:pt x="1094109" y="5529123"/>
                  <a:pt x="1092205" y="5523387"/>
                  <a:pt x="1092205" y="5517650"/>
                </a:cubicBezTo>
                <a:cubicBezTo>
                  <a:pt x="1092205" y="5500440"/>
                  <a:pt x="1101723" y="5485142"/>
                  <a:pt x="1116952" y="5477493"/>
                </a:cubicBezTo>
                <a:cubicBezTo>
                  <a:pt x="1116952" y="5477493"/>
                  <a:pt x="1116952" y="5477493"/>
                  <a:pt x="1457699" y="5324516"/>
                </a:cubicBezTo>
                <a:cubicBezTo>
                  <a:pt x="1468169" y="5319735"/>
                  <a:pt x="1479591" y="5319735"/>
                  <a:pt x="1489585" y="5323799"/>
                </a:cubicBezTo>
                <a:close/>
                <a:moveTo>
                  <a:pt x="4281187" y="5309975"/>
                </a:moveTo>
                <a:cubicBezTo>
                  <a:pt x="4298281" y="5310153"/>
                  <a:pt x="4314033" y="5320512"/>
                  <a:pt x="4321192" y="5336228"/>
                </a:cubicBezTo>
                <a:cubicBezTo>
                  <a:pt x="4330738" y="5359088"/>
                  <a:pt x="4321192" y="5383853"/>
                  <a:pt x="4298281" y="5395283"/>
                </a:cubicBezTo>
                <a:cubicBezTo>
                  <a:pt x="4298281" y="5395283"/>
                  <a:pt x="4298281" y="5395283"/>
                  <a:pt x="3958460" y="5541968"/>
                </a:cubicBezTo>
                <a:cubicBezTo>
                  <a:pt x="3935549" y="5551493"/>
                  <a:pt x="3910729" y="5541968"/>
                  <a:pt x="3901183" y="5519108"/>
                </a:cubicBezTo>
                <a:cubicBezTo>
                  <a:pt x="3897363" y="5513393"/>
                  <a:pt x="3897363" y="5507678"/>
                  <a:pt x="3897363" y="5501963"/>
                </a:cubicBezTo>
                <a:cubicBezTo>
                  <a:pt x="3897363" y="5484818"/>
                  <a:pt x="3906908" y="5469578"/>
                  <a:pt x="3924095" y="5461958"/>
                </a:cubicBezTo>
                <a:cubicBezTo>
                  <a:pt x="3924095" y="5461958"/>
                  <a:pt x="3924095" y="5461958"/>
                  <a:pt x="4263914" y="5313368"/>
                </a:cubicBezTo>
                <a:cubicBezTo>
                  <a:pt x="4269641" y="5310987"/>
                  <a:pt x="4275488" y="5309915"/>
                  <a:pt x="4281187" y="5309975"/>
                </a:cubicBezTo>
                <a:close/>
                <a:moveTo>
                  <a:pt x="2026929" y="5309974"/>
                </a:moveTo>
                <a:cubicBezTo>
                  <a:pt x="2044546" y="5310153"/>
                  <a:pt x="2061364" y="5320511"/>
                  <a:pt x="2068518" y="5336228"/>
                </a:cubicBezTo>
                <a:cubicBezTo>
                  <a:pt x="2078057" y="5359088"/>
                  <a:pt x="2066610" y="5383853"/>
                  <a:pt x="2045620" y="5395283"/>
                </a:cubicBezTo>
                <a:cubicBezTo>
                  <a:pt x="2045620" y="5395283"/>
                  <a:pt x="2045620" y="5395283"/>
                  <a:pt x="1704121" y="5541968"/>
                </a:cubicBezTo>
                <a:cubicBezTo>
                  <a:pt x="1683136" y="5551493"/>
                  <a:pt x="1656426" y="5541968"/>
                  <a:pt x="1646887" y="5519108"/>
                </a:cubicBezTo>
                <a:cubicBezTo>
                  <a:pt x="1644979" y="5513393"/>
                  <a:pt x="1643071" y="5507678"/>
                  <a:pt x="1643071" y="5501963"/>
                </a:cubicBezTo>
                <a:cubicBezTo>
                  <a:pt x="1643071" y="5484818"/>
                  <a:pt x="1652611" y="5469578"/>
                  <a:pt x="1669781" y="5461958"/>
                </a:cubicBezTo>
                <a:cubicBezTo>
                  <a:pt x="1669781" y="5461958"/>
                  <a:pt x="1669781" y="5461958"/>
                  <a:pt x="2009371" y="5313368"/>
                </a:cubicBezTo>
                <a:cubicBezTo>
                  <a:pt x="2015094" y="5310986"/>
                  <a:pt x="2021056" y="5309915"/>
                  <a:pt x="2026929" y="5309974"/>
                </a:cubicBezTo>
                <a:close/>
                <a:moveTo>
                  <a:pt x="3719254" y="5298899"/>
                </a:moveTo>
                <a:cubicBezTo>
                  <a:pt x="3736338" y="5299168"/>
                  <a:pt x="3752077" y="5309897"/>
                  <a:pt x="3759233" y="5327064"/>
                </a:cubicBezTo>
                <a:cubicBezTo>
                  <a:pt x="3768773" y="5349954"/>
                  <a:pt x="3759233" y="5376658"/>
                  <a:pt x="3736338" y="5386196"/>
                </a:cubicBezTo>
                <a:cubicBezTo>
                  <a:pt x="3736338" y="5386196"/>
                  <a:pt x="3736338" y="5386196"/>
                  <a:pt x="3394855" y="5529255"/>
                </a:cubicBezTo>
                <a:cubicBezTo>
                  <a:pt x="3371961" y="5538793"/>
                  <a:pt x="3347156" y="5527348"/>
                  <a:pt x="3337618" y="5504458"/>
                </a:cubicBezTo>
                <a:cubicBezTo>
                  <a:pt x="3333805" y="5498736"/>
                  <a:pt x="3333805" y="5493014"/>
                  <a:pt x="3333805" y="5487291"/>
                </a:cubicBezTo>
                <a:cubicBezTo>
                  <a:pt x="3333805" y="5470124"/>
                  <a:pt x="3343343" y="5454864"/>
                  <a:pt x="3360512" y="5447234"/>
                </a:cubicBezTo>
                <a:cubicBezTo>
                  <a:pt x="3360512" y="5447234"/>
                  <a:pt x="3360512" y="5447234"/>
                  <a:pt x="3701998" y="5302267"/>
                </a:cubicBezTo>
                <a:cubicBezTo>
                  <a:pt x="3707720" y="5299883"/>
                  <a:pt x="3713563" y="5298810"/>
                  <a:pt x="3719254" y="5298899"/>
                </a:cubicBezTo>
                <a:close/>
                <a:moveTo>
                  <a:pt x="2583547" y="5298899"/>
                </a:moveTo>
                <a:cubicBezTo>
                  <a:pt x="2600298" y="5299168"/>
                  <a:pt x="2617051" y="5309897"/>
                  <a:pt x="2624178" y="5327064"/>
                </a:cubicBezTo>
                <a:cubicBezTo>
                  <a:pt x="2633682" y="5349954"/>
                  <a:pt x="2624178" y="5376658"/>
                  <a:pt x="2601368" y="5386196"/>
                </a:cubicBezTo>
                <a:cubicBezTo>
                  <a:pt x="2601368" y="5386196"/>
                  <a:pt x="2601368" y="5386196"/>
                  <a:pt x="2261117" y="5529255"/>
                </a:cubicBezTo>
                <a:cubicBezTo>
                  <a:pt x="2238307" y="5538793"/>
                  <a:pt x="2213596" y="5527348"/>
                  <a:pt x="2204092" y="5504458"/>
                </a:cubicBezTo>
                <a:cubicBezTo>
                  <a:pt x="2200290" y="5498736"/>
                  <a:pt x="2200290" y="5493014"/>
                  <a:pt x="2200290" y="5487291"/>
                </a:cubicBezTo>
                <a:cubicBezTo>
                  <a:pt x="2200290" y="5470124"/>
                  <a:pt x="2209794" y="5454864"/>
                  <a:pt x="2226902" y="5447234"/>
                </a:cubicBezTo>
                <a:cubicBezTo>
                  <a:pt x="2226902" y="5447234"/>
                  <a:pt x="2226902" y="5447234"/>
                  <a:pt x="2567153" y="5302267"/>
                </a:cubicBezTo>
                <a:cubicBezTo>
                  <a:pt x="2572380" y="5299883"/>
                  <a:pt x="2577964" y="5298810"/>
                  <a:pt x="2583547" y="5298899"/>
                </a:cubicBezTo>
                <a:close/>
                <a:moveTo>
                  <a:pt x="3161733" y="5292230"/>
                </a:moveTo>
                <a:cubicBezTo>
                  <a:pt x="3172419" y="5296505"/>
                  <a:pt x="3181440" y="5305055"/>
                  <a:pt x="3186189" y="5317405"/>
                </a:cubicBezTo>
                <a:cubicBezTo>
                  <a:pt x="3195686" y="5340205"/>
                  <a:pt x="3184291" y="5366805"/>
                  <a:pt x="3161496" y="5376305"/>
                </a:cubicBezTo>
                <a:cubicBezTo>
                  <a:pt x="3161496" y="5376305"/>
                  <a:pt x="3161496" y="5376305"/>
                  <a:pt x="2821486" y="5515005"/>
                </a:cubicBezTo>
                <a:cubicBezTo>
                  <a:pt x="2798693" y="5524505"/>
                  <a:pt x="2772099" y="5513105"/>
                  <a:pt x="2762605" y="5488405"/>
                </a:cubicBezTo>
                <a:cubicBezTo>
                  <a:pt x="2760704" y="5484605"/>
                  <a:pt x="2760704" y="5477005"/>
                  <a:pt x="2760704" y="5471305"/>
                </a:cubicBezTo>
                <a:cubicBezTo>
                  <a:pt x="2760704" y="5454205"/>
                  <a:pt x="2770200" y="5437105"/>
                  <a:pt x="2787294" y="5429505"/>
                </a:cubicBezTo>
                <a:cubicBezTo>
                  <a:pt x="2787294" y="5429505"/>
                  <a:pt x="2787294" y="5429505"/>
                  <a:pt x="3127304" y="5292705"/>
                </a:cubicBezTo>
                <a:cubicBezTo>
                  <a:pt x="3138702" y="5287955"/>
                  <a:pt x="3151048" y="5287955"/>
                  <a:pt x="3161733" y="5292230"/>
                </a:cubicBezTo>
                <a:close/>
                <a:moveTo>
                  <a:pt x="9868289" y="5096095"/>
                </a:moveTo>
                <a:cubicBezTo>
                  <a:pt x="9876611" y="5097754"/>
                  <a:pt x="9884219" y="5102496"/>
                  <a:pt x="9888974" y="5110082"/>
                </a:cubicBezTo>
                <a:cubicBezTo>
                  <a:pt x="9896582" y="5125253"/>
                  <a:pt x="9892778" y="5146115"/>
                  <a:pt x="9877562" y="5155597"/>
                </a:cubicBezTo>
                <a:cubicBezTo>
                  <a:pt x="9877562" y="5155597"/>
                  <a:pt x="9877562" y="5155597"/>
                  <a:pt x="9542804" y="5364209"/>
                </a:cubicBezTo>
                <a:cubicBezTo>
                  <a:pt x="9527588" y="5373692"/>
                  <a:pt x="9506665" y="5368002"/>
                  <a:pt x="9497155" y="5352831"/>
                </a:cubicBezTo>
                <a:cubicBezTo>
                  <a:pt x="9493351" y="5347141"/>
                  <a:pt x="9493351" y="5341452"/>
                  <a:pt x="9493351" y="5335762"/>
                </a:cubicBezTo>
                <a:cubicBezTo>
                  <a:pt x="9493351" y="5324383"/>
                  <a:pt x="9497155" y="5314901"/>
                  <a:pt x="9508567" y="5307315"/>
                </a:cubicBezTo>
                <a:cubicBezTo>
                  <a:pt x="9508567" y="5307315"/>
                  <a:pt x="9508567" y="5307315"/>
                  <a:pt x="9843325" y="5100599"/>
                </a:cubicBezTo>
                <a:cubicBezTo>
                  <a:pt x="9850933" y="5095858"/>
                  <a:pt x="9859968" y="5094436"/>
                  <a:pt x="9868289" y="5096095"/>
                </a:cubicBezTo>
                <a:close/>
                <a:moveTo>
                  <a:pt x="10452111" y="5084390"/>
                </a:moveTo>
                <a:cubicBezTo>
                  <a:pt x="10460452" y="5086541"/>
                  <a:pt x="10468078" y="5091797"/>
                  <a:pt x="10472844" y="5099443"/>
                </a:cubicBezTo>
                <a:cubicBezTo>
                  <a:pt x="10482377" y="5116646"/>
                  <a:pt x="10476657" y="5137673"/>
                  <a:pt x="10461405" y="5147230"/>
                </a:cubicBezTo>
                <a:cubicBezTo>
                  <a:pt x="10461405" y="5147230"/>
                  <a:pt x="10461405" y="5147230"/>
                  <a:pt x="10125860" y="5349847"/>
                </a:cubicBezTo>
                <a:cubicBezTo>
                  <a:pt x="10108701" y="5359405"/>
                  <a:pt x="10087730" y="5353670"/>
                  <a:pt x="10078197" y="5338378"/>
                </a:cubicBezTo>
                <a:cubicBezTo>
                  <a:pt x="10074384" y="5332644"/>
                  <a:pt x="10074384" y="5326910"/>
                  <a:pt x="10074384" y="5321175"/>
                </a:cubicBezTo>
                <a:cubicBezTo>
                  <a:pt x="10074384" y="5309706"/>
                  <a:pt x="10080104" y="5298237"/>
                  <a:pt x="10089636" y="5290591"/>
                </a:cubicBezTo>
                <a:cubicBezTo>
                  <a:pt x="10089636" y="5290591"/>
                  <a:pt x="10089636" y="5290591"/>
                  <a:pt x="10427088" y="5087974"/>
                </a:cubicBezTo>
                <a:cubicBezTo>
                  <a:pt x="10434714" y="5083196"/>
                  <a:pt x="10443770" y="5082240"/>
                  <a:pt x="10452111" y="5084390"/>
                </a:cubicBezTo>
                <a:close/>
                <a:moveTo>
                  <a:pt x="9291418" y="5084390"/>
                </a:moveTo>
                <a:cubicBezTo>
                  <a:pt x="9299991" y="5086541"/>
                  <a:pt x="9307611" y="5091797"/>
                  <a:pt x="9312374" y="5099443"/>
                </a:cubicBezTo>
                <a:cubicBezTo>
                  <a:pt x="9321899" y="5116646"/>
                  <a:pt x="9316184" y="5137673"/>
                  <a:pt x="9300944" y="5147230"/>
                </a:cubicBezTo>
                <a:cubicBezTo>
                  <a:pt x="9300944" y="5147230"/>
                  <a:pt x="9300944" y="5147230"/>
                  <a:pt x="8963754" y="5349847"/>
                </a:cubicBezTo>
                <a:cubicBezTo>
                  <a:pt x="8948514" y="5359405"/>
                  <a:pt x="8927558" y="5353670"/>
                  <a:pt x="8918033" y="5338378"/>
                </a:cubicBezTo>
                <a:cubicBezTo>
                  <a:pt x="8914223" y="5332644"/>
                  <a:pt x="8912318" y="5326910"/>
                  <a:pt x="8912318" y="5321175"/>
                </a:cubicBezTo>
                <a:cubicBezTo>
                  <a:pt x="8912318" y="5309706"/>
                  <a:pt x="8918033" y="5298237"/>
                  <a:pt x="8929463" y="5290591"/>
                </a:cubicBezTo>
                <a:cubicBezTo>
                  <a:pt x="8929463" y="5290591"/>
                  <a:pt x="8929463" y="5290591"/>
                  <a:pt x="9264748" y="5087974"/>
                </a:cubicBezTo>
                <a:cubicBezTo>
                  <a:pt x="9273320" y="5083196"/>
                  <a:pt x="9282846" y="5082240"/>
                  <a:pt x="9291418" y="5084390"/>
                </a:cubicBezTo>
                <a:close/>
                <a:moveTo>
                  <a:pt x="11029363" y="5075090"/>
                </a:moveTo>
                <a:cubicBezTo>
                  <a:pt x="11037955" y="5077474"/>
                  <a:pt x="11045593" y="5083196"/>
                  <a:pt x="11050367" y="5091778"/>
                </a:cubicBezTo>
                <a:cubicBezTo>
                  <a:pt x="11061823" y="5107036"/>
                  <a:pt x="11056095" y="5129922"/>
                  <a:pt x="11038910" y="5139458"/>
                </a:cubicBezTo>
                <a:cubicBezTo>
                  <a:pt x="11038910" y="5139458"/>
                  <a:pt x="11038910" y="5139458"/>
                  <a:pt x="10700944" y="5333994"/>
                </a:cubicBezTo>
                <a:cubicBezTo>
                  <a:pt x="10683759" y="5343530"/>
                  <a:pt x="10662755" y="5337808"/>
                  <a:pt x="10653208" y="5320643"/>
                </a:cubicBezTo>
                <a:cubicBezTo>
                  <a:pt x="10649389" y="5314922"/>
                  <a:pt x="10647480" y="5309200"/>
                  <a:pt x="10647480" y="5303478"/>
                </a:cubicBezTo>
                <a:cubicBezTo>
                  <a:pt x="10647480" y="5292035"/>
                  <a:pt x="10655118" y="5280592"/>
                  <a:pt x="10664665" y="5272963"/>
                </a:cubicBezTo>
                <a:cubicBezTo>
                  <a:pt x="10664665" y="5272963"/>
                  <a:pt x="10664665" y="5272963"/>
                  <a:pt x="11002631" y="5078428"/>
                </a:cubicBezTo>
                <a:cubicBezTo>
                  <a:pt x="11011223" y="5073660"/>
                  <a:pt x="11020770" y="5072706"/>
                  <a:pt x="11029363" y="5075090"/>
                </a:cubicBezTo>
                <a:close/>
                <a:moveTo>
                  <a:pt x="8719756" y="5075090"/>
                </a:moveTo>
                <a:cubicBezTo>
                  <a:pt x="8728587" y="5077474"/>
                  <a:pt x="8736703" y="5083196"/>
                  <a:pt x="8742431" y="5091778"/>
                </a:cubicBezTo>
                <a:cubicBezTo>
                  <a:pt x="8751978" y="5107036"/>
                  <a:pt x="8746250" y="5129922"/>
                  <a:pt x="8729065" y="5139458"/>
                </a:cubicBezTo>
                <a:cubicBezTo>
                  <a:pt x="8729065" y="5139458"/>
                  <a:pt x="8729065" y="5139458"/>
                  <a:pt x="8391099" y="5333994"/>
                </a:cubicBezTo>
                <a:cubicBezTo>
                  <a:pt x="8373914" y="5343530"/>
                  <a:pt x="8352910" y="5337808"/>
                  <a:pt x="8343363" y="5320643"/>
                </a:cubicBezTo>
                <a:cubicBezTo>
                  <a:pt x="8339544" y="5314922"/>
                  <a:pt x="8337635" y="5309200"/>
                  <a:pt x="8337635" y="5303478"/>
                </a:cubicBezTo>
                <a:cubicBezTo>
                  <a:pt x="8337635" y="5292035"/>
                  <a:pt x="8345273" y="5280592"/>
                  <a:pt x="8356729" y="5272963"/>
                </a:cubicBezTo>
                <a:cubicBezTo>
                  <a:pt x="8356729" y="5272963"/>
                  <a:pt x="8356729" y="5272963"/>
                  <a:pt x="8692786" y="5078428"/>
                </a:cubicBezTo>
                <a:cubicBezTo>
                  <a:pt x="8701378" y="5073660"/>
                  <a:pt x="8710925" y="5072706"/>
                  <a:pt x="8719756" y="5075090"/>
                </a:cubicBezTo>
                <a:close/>
                <a:moveTo>
                  <a:pt x="11600954" y="5064224"/>
                </a:moveTo>
                <a:cubicBezTo>
                  <a:pt x="11609785" y="5066850"/>
                  <a:pt x="11617423" y="5073055"/>
                  <a:pt x="11622196" y="5082602"/>
                </a:cubicBezTo>
                <a:cubicBezTo>
                  <a:pt x="11631743" y="5099787"/>
                  <a:pt x="11626015" y="5120791"/>
                  <a:pt x="11608830" y="5132248"/>
                </a:cubicBezTo>
                <a:cubicBezTo>
                  <a:pt x="11608830" y="5132248"/>
                  <a:pt x="11608830" y="5132248"/>
                  <a:pt x="11270864" y="5319373"/>
                </a:cubicBezTo>
                <a:cubicBezTo>
                  <a:pt x="11253679" y="5330830"/>
                  <a:pt x="11230766" y="5323192"/>
                  <a:pt x="11221219" y="5306007"/>
                </a:cubicBezTo>
                <a:cubicBezTo>
                  <a:pt x="11217400" y="5300279"/>
                  <a:pt x="11217400" y="5294550"/>
                  <a:pt x="11217400" y="5288822"/>
                </a:cubicBezTo>
                <a:cubicBezTo>
                  <a:pt x="11217400" y="5275456"/>
                  <a:pt x="11223128" y="5262090"/>
                  <a:pt x="11234585" y="5256362"/>
                </a:cubicBezTo>
                <a:cubicBezTo>
                  <a:pt x="11234585" y="5256362"/>
                  <a:pt x="11234585" y="5256362"/>
                  <a:pt x="11572551" y="5067327"/>
                </a:cubicBezTo>
                <a:cubicBezTo>
                  <a:pt x="11582098" y="5062553"/>
                  <a:pt x="11592123" y="5061599"/>
                  <a:pt x="11600954" y="5064224"/>
                </a:cubicBezTo>
                <a:close/>
                <a:moveTo>
                  <a:pt x="8155460" y="5064224"/>
                </a:moveTo>
                <a:cubicBezTo>
                  <a:pt x="8164488" y="5066850"/>
                  <a:pt x="8172566" y="5073055"/>
                  <a:pt x="8177317" y="5082602"/>
                </a:cubicBezTo>
                <a:cubicBezTo>
                  <a:pt x="8186821" y="5099787"/>
                  <a:pt x="8181119" y="5120791"/>
                  <a:pt x="8162112" y="5132248"/>
                </a:cubicBezTo>
                <a:cubicBezTo>
                  <a:pt x="8162112" y="5132248"/>
                  <a:pt x="8162112" y="5132248"/>
                  <a:pt x="7825696" y="5319373"/>
                </a:cubicBezTo>
                <a:cubicBezTo>
                  <a:pt x="7808590" y="5330830"/>
                  <a:pt x="7787683" y="5323192"/>
                  <a:pt x="7776279" y="5306007"/>
                </a:cubicBezTo>
                <a:cubicBezTo>
                  <a:pt x="7774378" y="5300279"/>
                  <a:pt x="7772478" y="5294550"/>
                  <a:pt x="7772478" y="5288822"/>
                </a:cubicBezTo>
                <a:cubicBezTo>
                  <a:pt x="7772478" y="5275456"/>
                  <a:pt x="7780080" y="5262090"/>
                  <a:pt x="7791484" y="5256362"/>
                </a:cubicBezTo>
                <a:cubicBezTo>
                  <a:pt x="7791484" y="5256362"/>
                  <a:pt x="7791484" y="5256362"/>
                  <a:pt x="8127900" y="5067327"/>
                </a:cubicBezTo>
                <a:cubicBezTo>
                  <a:pt x="8136453" y="5062553"/>
                  <a:pt x="8146432" y="5061599"/>
                  <a:pt x="8155460" y="5064224"/>
                </a:cubicBezTo>
                <a:close/>
                <a:moveTo>
                  <a:pt x="12139750" y="5056192"/>
                </a:moveTo>
                <a:cubicBezTo>
                  <a:pt x="12139750" y="5056192"/>
                  <a:pt x="12139750" y="5056192"/>
                  <a:pt x="12139750" y="5139909"/>
                </a:cubicBezTo>
                <a:cubicBezTo>
                  <a:pt x="12139750" y="5139909"/>
                  <a:pt x="12139750" y="5139909"/>
                  <a:pt x="11834946" y="5305441"/>
                </a:cubicBezTo>
                <a:cubicBezTo>
                  <a:pt x="11815896" y="5314955"/>
                  <a:pt x="11793035" y="5307344"/>
                  <a:pt x="11783510" y="5290220"/>
                </a:cubicBezTo>
                <a:cubicBezTo>
                  <a:pt x="11779700" y="5284512"/>
                  <a:pt x="11777795" y="5276901"/>
                  <a:pt x="11777795" y="5271193"/>
                </a:cubicBezTo>
                <a:cubicBezTo>
                  <a:pt x="11777795" y="5257875"/>
                  <a:pt x="11785415" y="5244556"/>
                  <a:pt x="11798750" y="5238848"/>
                </a:cubicBezTo>
                <a:lnTo>
                  <a:pt x="12135940" y="5058094"/>
                </a:lnTo>
                <a:cubicBezTo>
                  <a:pt x="12137845" y="5056192"/>
                  <a:pt x="12137845" y="5056192"/>
                  <a:pt x="12139750" y="5056192"/>
                </a:cubicBezTo>
                <a:close/>
                <a:moveTo>
                  <a:pt x="7597906" y="5054684"/>
                </a:moveTo>
                <a:cubicBezTo>
                  <a:pt x="7607200" y="5057304"/>
                  <a:pt x="7615302" y="5063495"/>
                  <a:pt x="7620068" y="5073020"/>
                </a:cubicBezTo>
                <a:cubicBezTo>
                  <a:pt x="7629601" y="5090165"/>
                  <a:pt x="7623881" y="5113025"/>
                  <a:pt x="7604817" y="5124455"/>
                </a:cubicBezTo>
                <a:cubicBezTo>
                  <a:pt x="7604817" y="5124455"/>
                  <a:pt x="7604817" y="5124455"/>
                  <a:pt x="7267371" y="5305430"/>
                </a:cubicBezTo>
                <a:cubicBezTo>
                  <a:pt x="7248306" y="5314955"/>
                  <a:pt x="7225428" y="5307335"/>
                  <a:pt x="7215896" y="5290190"/>
                </a:cubicBezTo>
                <a:cubicBezTo>
                  <a:pt x="7213989" y="5284475"/>
                  <a:pt x="7212083" y="5276855"/>
                  <a:pt x="7212083" y="5271140"/>
                </a:cubicBezTo>
                <a:cubicBezTo>
                  <a:pt x="7212083" y="5257805"/>
                  <a:pt x="7219709" y="5244470"/>
                  <a:pt x="7231147" y="5238755"/>
                </a:cubicBezTo>
                <a:cubicBezTo>
                  <a:pt x="7231147" y="5238755"/>
                  <a:pt x="7231147" y="5238755"/>
                  <a:pt x="7568594" y="5057780"/>
                </a:cubicBezTo>
                <a:cubicBezTo>
                  <a:pt x="7578126" y="5053017"/>
                  <a:pt x="7588612" y="5052065"/>
                  <a:pt x="7597906" y="5054684"/>
                </a:cubicBezTo>
                <a:close/>
                <a:moveTo>
                  <a:pt x="7046964" y="5044542"/>
                </a:moveTo>
                <a:cubicBezTo>
                  <a:pt x="7056279" y="5047645"/>
                  <a:pt x="7064400" y="5054328"/>
                  <a:pt x="7069177" y="5063876"/>
                </a:cubicBezTo>
                <a:cubicBezTo>
                  <a:pt x="7078731" y="5082972"/>
                  <a:pt x="7071088" y="5105887"/>
                  <a:pt x="7051980" y="5115435"/>
                </a:cubicBezTo>
                <a:cubicBezTo>
                  <a:pt x="7051980" y="5115435"/>
                  <a:pt x="7051980" y="5115435"/>
                  <a:pt x="6713773" y="5291119"/>
                </a:cubicBezTo>
                <a:cubicBezTo>
                  <a:pt x="6694665" y="5300667"/>
                  <a:pt x="6669825" y="5293028"/>
                  <a:pt x="6660271" y="5273932"/>
                </a:cubicBezTo>
                <a:cubicBezTo>
                  <a:pt x="6658361" y="5268204"/>
                  <a:pt x="6656450" y="5262475"/>
                  <a:pt x="6656450" y="5256746"/>
                </a:cubicBezTo>
                <a:cubicBezTo>
                  <a:pt x="6656450" y="5241469"/>
                  <a:pt x="6664093" y="5228102"/>
                  <a:pt x="6677468" y="5222373"/>
                </a:cubicBezTo>
                <a:cubicBezTo>
                  <a:pt x="6677468" y="5222373"/>
                  <a:pt x="6677468" y="5222373"/>
                  <a:pt x="7017586" y="5046690"/>
                </a:cubicBezTo>
                <a:cubicBezTo>
                  <a:pt x="7027140" y="5041916"/>
                  <a:pt x="7037649" y="5041438"/>
                  <a:pt x="7046964" y="5044542"/>
                </a:cubicBezTo>
                <a:close/>
                <a:moveTo>
                  <a:pt x="6485663" y="5032630"/>
                </a:moveTo>
                <a:cubicBezTo>
                  <a:pt x="6501356" y="5031381"/>
                  <a:pt x="6515979" y="5040300"/>
                  <a:pt x="6523112" y="5054570"/>
                </a:cubicBezTo>
                <a:cubicBezTo>
                  <a:pt x="6532623" y="5075499"/>
                  <a:pt x="6525014" y="5098331"/>
                  <a:pt x="6505992" y="5107845"/>
                </a:cubicBezTo>
                <a:cubicBezTo>
                  <a:pt x="6505992" y="5107845"/>
                  <a:pt x="6505992" y="5107845"/>
                  <a:pt x="6167407" y="5275279"/>
                </a:cubicBezTo>
                <a:cubicBezTo>
                  <a:pt x="6148385" y="5284793"/>
                  <a:pt x="6123657" y="5277182"/>
                  <a:pt x="6114146" y="5258155"/>
                </a:cubicBezTo>
                <a:cubicBezTo>
                  <a:pt x="6110342" y="5252447"/>
                  <a:pt x="6110342" y="5246739"/>
                  <a:pt x="6110342" y="5239129"/>
                </a:cubicBezTo>
                <a:cubicBezTo>
                  <a:pt x="6110342" y="5225810"/>
                  <a:pt x="6117950" y="5210589"/>
                  <a:pt x="6131266" y="5202978"/>
                </a:cubicBezTo>
                <a:cubicBezTo>
                  <a:pt x="6131266" y="5202978"/>
                  <a:pt x="6131266" y="5202978"/>
                  <a:pt x="6469851" y="5037446"/>
                </a:cubicBezTo>
                <a:cubicBezTo>
                  <a:pt x="6475082" y="5034592"/>
                  <a:pt x="6480432" y="5033046"/>
                  <a:pt x="6485663" y="5032630"/>
                </a:cubicBezTo>
                <a:close/>
                <a:moveTo>
                  <a:pt x="5956806" y="5024850"/>
                </a:moveTo>
                <a:cubicBezTo>
                  <a:pt x="5966814" y="5028426"/>
                  <a:pt x="5975394" y="5035579"/>
                  <a:pt x="5980159" y="5045115"/>
                </a:cubicBezTo>
                <a:cubicBezTo>
                  <a:pt x="5989691" y="5066096"/>
                  <a:pt x="5980159" y="5090892"/>
                  <a:pt x="5961095" y="5100429"/>
                </a:cubicBezTo>
                <a:cubicBezTo>
                  <a:pt x="5961095" y="5100429"/>
                  <a:pt x="5961095" y="5100429"/>
                  <a:pt x="5621756" y="5262556"/>
                </a:cubicBezTo>
                <a:cubicBezTo>
                  <a:pt x="5600786" y="5272093"/>
                  <a:pt x="5576003" y="5262556"/>
                  <a:pt x="5566471" y="5241575"/>
                </a:cubicBezTo>
                <a:cubicBezTo>
                  <a:pt x="5562659" y="5235853"/>
                  <a:pt x="5562659" y="5230131"/>
                  <a:pt x="5562659" y="5224408"/>
                </a:cubicBezTo>
                <a:cubicBezTo>
                  <a:pt x="5562659" y="5209149"/>
                  <a:pt x="5570284" y="5193890"/>
                  <a:pt x="5585535" y="5186261"/>
                </a:cubicBezTo>
                <a:cubicBezTo>
                  <a:pt x="5585535" y="5186261"/>
                  <a:pt x="5585535" y="5186261"/>
                  <a:pt x="5924873" y="5026042"/>
                </a:cubicBezTo>
                <a:cubicBezTo>
                  <a:pt x="5935358" y="5021273"/>
                  <a:pt x="5946797" y="5021273"/>
                  <a:pt x="5956806" y="5024850"/>
                </a:cubicBezTo>
                <a:close/>
                <a:moveTo>
                  <a:pt x="398945" y="5024850"/>
                </a:moveTo>
                <a:cubicBezTo>
                  <a:pt x="408946" y="5028426"/>
                  <a:pt x="417519" y="5035578"/>
                  <a:pt x="422281" y="5045115"/>
                </a:cubicBezTo>
                <a:cubicBezTo>
                  <a:pt x="431806" y="5066096"/>
                  <a:pt x="422281" y="5090892"/>
                  <a:pt x="401326" y="5100429"/>
                </a:cubicBezTo>
                <a:cubicBezTo>
                  <a:pt x="401326" y="5100429"/>
                  <a:pt x="401326" y="5100429"/>
                  <a:pt x="62232" y="5262556"/>
                </a:cubicBezTo>
                <a:cubicBezTo>
                  <a:pt x="43182" y="5272093"/>
                  <a:pt x="18416" y="5262556"/>
                  <a:pt x="8891" y="5241575"/>
                </a:cubicBezTo>
                <a:cubicBezTo>
                  <a:pt x="5081" y="5235853"/>
                  <a:pt x="3176" y="5230131"/>
                  <a:pt x="3176" y="5224408"/>
                </a:cubicBezTo>
                <a:cubicBezTo>
                  <a:pt x="3176" y="5209149"/>
                  <a:pt x="12701" y="5193890"/>
                  <a:pt x="27941" y="5186261"/>
                </a:cubicBezTo>
                <a:cubicBezTo>
                  <a:pt x="27941" y="5186261"/>
                  <a:pt x="27941" y="5186261"/>
                  <a:pt x="367035" y="5026042"/>
                </a:cubicBezTo>
                <a:cubicBezTo>
                  <a:pt x="377513" y="5021273"/>
                  <a:pt x="388943" y="5021273"/>
                  <a:pt x="398945" y="5024850"/>
                </a:cubicBezTo>
                <a:close/>
                <a:moveTo>
                  <a:pt x="5409053" y="5014180"/>
                </a:moveTo>
                <a:cubicBezTo>
                  <a:pt x="5419083" y="5018218"/>
                  <a:pt x="5427680" y="5026294"/>
                  <a:pt x="5432457" y="5037695"/>
                </a:cubicBezTo>
                <a:cubicBezTo>
                  <a:pt x="5442010" y="5058597"/>
                  <a:pt x="5434368" y="5083300"/>
                  <a:pt x="5411441" y="5092800"/>
                </a:cubicBezTo>
                <a:cubicBezTo>
                  <a:pt x="5411441" y="5092800"/>
                  <a:pt x="5411441" y="5092800"/>
                  <a:pt x="5071343" y="5246716"/>
                </a:cubicBezTo>
                <a:cubicBezTo>
                  <a:pt x="5050329" y="5256217"/>
                  <a:pt x="5025493" y="5246716"/>
                  <a:pt x="5014031" y="5225814"/>
                </a:cubicBezTo>
                <a:cubicBezTo>
                  <a:pt x="5012121" y="5220113"/>
                  <a:pt x="5010210" y="5214413"/>
                  <a:pt x="5010210" y="5208712"/>
                </a:cubicBezTo>
                <a:cubicBezTo>
                  <a:pt x="5010210" y="5191610"/>
                  <a:pt x="5019763" y="5176409"/>
                  <a:pt x="5036956" y="5168808"/>
                </a:cubicBezTo>
                <a:cubicBezTo>
                  <a:pt x="5036956" y="5168808"/>
                  <a:pt x="5036956" y="5168808"/>
                  <a:pt x="5377049" y="5014893"/>
                </a:cubicBezTo>
                <a:cubicBezTo>
                  <a:pt x="5387558" y="5010142"/>
                  <a:pt x="5399021" y="5010142"/>
                  <a:pt x="5409053" y="5014180"/>
                </a:cubicBezTo>
                <a:close/>
                <a:moveTo>
                  <a:pt x="942531" y="5014180"/>
                </a:moveTo>
                <a:cubicBezTo>
                  <a:pt x="953000" y="5018218"/>
                  <a:pt x="962043" y="5026294"/>
                  <a:pt x="966802" y="5037695"/>
                </a:cubicBezTo>
                <a:cubicBezTo>
                  <a:pt x="976320" y="5058597"/>
                  <a:pt x="966802" y="5083300"/>
                  <a:pt x="945862" y="5092800"/>
                </a:cubicBezTo>
                <a:cubicBezTo>
                  <a:pt x="945862" y="5092800"/>
                  <a:pt x="945862" y="5092800"/>
                  <a:pt x="605115" y="5246716"/>
                </a:cubicBezTo>
                <a:cubicBezTo>
                  <a:pt x="584175" y="5256217"/>
                  <a:pt x="559428" y="5246716"/>
                  <a:pt x="549910" y="5225814"/>
                </a:cubicBezTo>
                <a:cubicBezTo>
                  <a:pt x="546103" y="5220113"/>
                  <a:pt x="546103" y="5214413"/>
                  <a:pt x="546103" y="5208712"/>
                </a:cubicBezTo>
                <a:cubicBezTo>
                  <a:pt x="546103" y="5191610"/>
                  <a:pt x="555621" y="5176409"/>
                  <a:pt x="570850" y="5168808"/>
                </a:cubicBezTo>
                <a:cubicBezTo>
                  <a:pt x="570850" y="5168808"/>
                  <a:pt x="570850" y="5168808"/>
                  <a:pt x="909693" y="5014893"/>
                </a:cubicBezTo>
                <a:cubicBezTo>
                  <a:pt x="920163" y="5010142"/>
                  <a:pt x="932061" y="5010142"/>
                  <a:pt x="942531" y="5014180"/>
                </a:cubicBezTo>
                <a:close/>
                <a:moveTo>
                  <a:pt x="4856076" y="5004632"/>
                </a:moveTo>
                <a:cubicBezTo>
                  <a:pt x="4866332" y="5008659"/>
                  <a:pt x="4874919" y="5016714"/>
                  <a:pt x="4879690" y="5028084"/>
                </a:cubicBezTo>
                <a:cubicBezTo>
                  <a:pt x="4891138" y="5050826"/>
                  <a:pt x="4879690" y="5075463"/>
                  <a:pt x="4856790" y="5084939"/>
                </a:cubicBezTo>
                <a:cubicBezTo>
                  <a:pt x="4856790" y="5084939"/>
                  <a:pt x="4856790" y="5084939"/>
                  <a:pt x="4517206" y="5230866"/>
                </a:cubicBezTo>
                <a:cubicBezTo>
                  <a:pt x="4494314" y="5240342"/>
                  <a:pt x="4469511" y="5230866"/>
                  <a:pt x="4459973" y="5208124"/>
                </a:cubicBezTo>
                <a:cubicBezTo>
                  <a:pt x="4456156" y="5202439"/>
                  <a:pt x="4456156" y="5196753"/>
                  <a:pt x="4456156" y="5191068"/>
                </a:cubicBezTo>
                <a:cubicBezTo>
                  <a:pt x="4456156" y="5174011"/>
                  <a:pt x="4465695" y="5158850"/>
                  <a:pt x="4482866" y="5151269"/>
                </a:cubicBezTo>
                <a:cubicBezTo>
                  <a:pt x="4482866" y="5151269"/>
                  <a:pt x="4482866" y="5151269"/>
                  <a:pt x="4822447" y="5005343"/>
                </a:cubicBezTo>
                <a:cubicBezTo>
                  <a:pt x="4833892" y="5000605"/>
                  <a:pt x="4845819" y="5000605"/>
                  <a:pt x="4856076" y="5004632"/>
                </a:cubicBezTo>
                <a:close/>
                <a:moveTo>
                  <a:pt x="1491734" y="5004632"/>
                </a:moveTo>
                <a:cubicBezTo>
                  <a:pt x="1502228" y="5008659"/>
                  <a:pt x="1511290" y="5016713"/>
                  <a:pt x="1516059" y="5028084"/>
                </a:cubicBezTo>
                <a:cubicBezTo>
                  <a:pt x="1525598" y="5050826"/>
                  <a:pt x="1516059" y="5075463"/>
                  <a:pt x="1493165" y="5084939"/>
                </a:cubicBezTo>
                <a:cubicBezTo>
                  <a:pt x="1493165" y="5084939"/>
                  <a:pt x="1493165" y="5084939"/>
                  <a:pt x="1153575" y="5230866"/>
                </a:cubicBezTo>
                <a:cubicBezTo>
                  <a:pt x="1130682" y="5240342"/>
                  <a:pt x="1103972" y="5230866"/>
                  <a:pt x="1094433" y="5208124"/>
                </a:cubicBezTo>
                <a:cubicBezTo>
                  <a:pt x="1092526" y="5202439"/>
                  <a:pt x="1090618" y="5196753"/>
                  <a:pt x="1090618" y="5191068"/>
                </a:cubicBezTo>
                <a:cubicBezTo>
                  <a:pt x="1090618" y="5174011"/>
                  <a:pt x="1102065" y="5158850"/>
                  <a:pt x="1117327" y="5151269"/>
                </a:cubicBezTo>
                <a:cubicBezTo>
                  <a:pt x="1117327" y="5151269"/>
                  <a:pt x="1117327" y="5151269"/>
                  <a:pt x="1458825" y="5005343"/>
                </a:cubicBezTo>
                <a:cubicBezTo>
                  <a:pt x="1469318" y="5000605"/>
                  <a:pt x="1481242" y="5000605"/>
                  <a:pt x="1491734" y="5004632"/>
                </a:cubicBezTo>
                <a:close/>
                <a:moveTo>
                  <a:pt x="4281239" y="4989344"/>
                </a:moveTo>
                <a:cubicBezTo>
                  <a:pt x="4298844" y="4989613"/>
                  <a:pt x="4315645" y="5000357"/>
                  <a:pt x="4322794" y="5017546"/>
                </a:cubicBezTo>
                <a:cubicBezTo>
                  <a:pt x="4332326" y="5040466"/>
                  <a:pt x="4320887" y="5067205"/>
                  <a:pt x="4298009" y="5076755"/>
                </a:cubicBezTo>
                <a:cubicBezTo>
                  <a:pt x="4298009" y="5076755"/>
                  <a:pt x="4298009" y="5076755"/>
                  <a:pt x="3958691" y="5218092"/>
                </a:cubicBezTo>
                <a:cubicBezTo>
                  <a:pt x="3933907" y="5227642"/>
                  <a:pt x="3909122" y="5216182"/>
                  <a:pt x="3899588" y="5193262"/>
                </a:cubicBezTo>
                <a:cubicBezTo>
                  <a:pt x="3895778" y="5187533"/>
                  <a:pt x="3895778" y="5181803"/>
                  <a:pt x="3895778" y="5176073"/>
                </a:cubicBezTo>
                <a:cubicBezTo>
                  <a:pt x="3895778" y="5156973"/>
                  <a:pt x="3905310" y="5141694"/>
                  <a:pt x="3924372" y="5134054"/>
                </a:cubicBezTo>
                <a:cubicBezTo>
                  <a:pt x="3924372" y="5134054"/>
                  <a:pt x="3924372" y="5134054"/>
                  <a:pt x="4263693" y="4992717"/>
                </a:cubicBezTo>
                <a:cubicBezTo>
                  <a:pt x="4269413" y="4990329"/>
                  <a:pt x="4275372" y="4989255"/>
                  <a:pt x="4281239" y="4989344"/>
                </a:cubicBezTo>
                <a:close/>
                <a:moveTo>
                  <a:pt x="2028590" y="4989344"/>
                </a:moveTo>
                <a:cubicBezTo>
                  <a:pt x="2046182" y="4989613"/>
                  <a:pt x="2062975" y="5000357"/>
                  <a:pt x="2070119" y="5017546"/>
                </a:cubicBezTo>
                <a:cubicBezTo>
                  <a:pt x="2079644" y="5040466"/>
                  <a:pt x="2068213" y="5067205"/>
                  <a:pt x="2045348" y="5076755"/>
                </a:cubicBezTo>
                <a:cubicBezTo>
                  <a:pt x="2045348" y="5076755"/>
                  <a:pt x="2045348" y="5076755"/>
                  <a:pt x="1704349" y="5218092"/>
                </a:cubicBezTo>
                <a:cubicBezTo>
                  <a:pt x="1681489" y="5227642"/>
                  <a:pt x="1654818" y="5216182"/>
                  <a:pt x="1645293" y="5193262"/>
                </a:cubicBezTo>
                <a:cubicBezTo>
                  <a:pt x="1643388" y="5187533"/>
                  <a:pt x="1641483" y="5181803"/>
                  <a:pt x="1641483" y="5176073"/>
                </a:cubicBezTo>
                <a:cubicBezTo>
                  <a:pt x="1641483" y="5156973"/>
                  <a:pt x="1652914" y="5141694"/>
                  <a:pt x="1670059" y="5134054"/>
                </a:cubicBezTo>
                <a:cubicBezTo>
                  <a:pt x="1670059" y="5134054"/>
                  <a:pt x="1670059" y="5134054"/>
                  <a:pt x="2011058" y="4992717"/>
                </a:cubicBezTo>
                <a:cubicBezTo>
                  <a:pt x="2016773" y="4990329"/>
                  <a:pt x="2022726" y="4989255"/>
                  <a:pt x="2028590" y="4989344"/>
                </a:cubicBezTo>
                <a:close/>
                <a:moveTo>
                  <a:pt x="3720410" y="4979833"/>
                </a:moveTo>
                <a:cubicBezTo>
                  <a:pt x="3738805" y="4980190"/>
                  <a:pt x="3755596" y="4991263"/>
                  <a:pt x="3762740" y="5009837"/>
                </a:cubicBezTo>
                <a:cubicBezTo>
                  <a:pt x="3770359" y="5032697"/>
                  <a:pt x="3758930" y="5059367"/>
                  <a:pt x="3736068" y="5068892"/>
                </a:cubicBezTo>
                <a:cubicBezTo>
                  <a:pt x="3736068" y="5068892"/>
                  <a:pt x="3736068" y="5068892"/>
                  <a:pt x="3395084" y="5202242"/>
                </a:cubicBezTo>
                <a:cubicBezTo>
                  <a:pt x="3370317" y="5211767"/>
                  <a:pt x="3343646" y="5200337"/>
                  <a:pt x="3334121" y="5175572"/>
                </a:cubicBezTo>
                <a:cubicBezTo>
                  <a:pt x="3332216" y="5169857"/>
                  <a:pt x="3332216" y="5164142"/>
                  <a:pt x="3332216" y="5158427"/>
                </a:cubicBezTo>
                <a:cubicBezTo>
                  <a:pt x="3332216" y="5141282"/>
                  <a:pt x="3343646" y="5122232"/>
                  <a:pt x="3360791" y="5116517"/>
                </a:cubicBezTo>
                <a:cubicBezTo>
                  <a:pt x="3360791" y="5116517"/>
                  <a:pt x="3360791" y="5116517"/>
                  <a:pt x="3701777" y="4983167"/>
                </a:cubicBezTo>
                <a:cubicBezTo>
                  <a:pt x="3707968" y="4980786"/>
                  <a:pt x="3714279" y="4979714"/>
                  <a:pt x="3720410" y="4979833"/>
                </a:cubicBezTo>
                <a:close/>
                <a:moveTo>
                  <a:pt x="2585923" y="4979833"/>
                </a:moveTo>
                <a:cubicBezTo>
                  <a:pt x="2604116" y="4980190"/>
                  <a:pt x="2622041" y="4991263"/>
                  <a:pt x="2629210" y="5009837"/>
                </a:cubicBezTo>
                <a:cubicBezTo>
                  <a:pt x="2636858" y="5032697"/>
                  <a:pt x="2625386" y="5059367"/>
                  <a:pt x="2602443" y="5068892"/>
                </a:cubicBezTo>
                <a:cubicBezTo>
                  <a:pt x="2602443" y="5068892"/>
                  <a:pt x="2602443" y="5068892"/>
                  <a:pt x="2260209" y="5202242"/>
                </a:cubicBezTo>
                <a:cubicBezTo>
                  <a:pt x="2235354" y="5211767"/>
                  <a:pt x="2208587" y="5200337"/>
                  <a:pt x="2199027" y="5175572"/>
                </a:cubicBezTo>
                <a:cubicBezTo>
                  <a:pt x="2197115" y="5169857"/>
                  <a:pt x="2197115" y="5164142"/>
                  <a:pt x="2197115" y="5158427"/>
                </a:cubicBezTo>
                <a:cubicBezTo>
                  <a:pt x="2197115" y="5141282"/>
                  <a:pt x="2206675" y="5122232"/>
                  <a:pt x="2225794" y="5116517"/>
                </a:cubicBezTo>
                <a:cubicBezTo>
                  <a:pt x="2225794" y="5116517"/>
                  <a:pt x="2225794" y="5116517"/>
                  <a:pt x="2568028" y="4983167"/>
                </a:cubicBezTo>
                <a:cubicBezTo>
                  <a:pt x="2573765" y="4980785"/>
                  <a:pt x="2579858" y="4979714"/>
                  <a:pt x="2585923" y="4979833"/>
                </a:cubicBezTo>
                <a:close/>
                <a:moveTo>
                  <a:pt x="3148522" y="4969036"/>
                </a:moveTo>
                <a:cubicBezTo>
                  <a:pt x="3166944" y="4969932"/>
                  <a:pt x="3183757" y="4982109"/>
                  <a:pt x="3190911" y="5000733"/>
                </a:cubicBezTo>
                <a:cubicBezTo>
                  <a:pt x="3200449" y="5025565"/>
                  <a:pt x="3187093" y="5052307"/>
                  <a:pt x="3162292" y="5061858"/>
                </a:cubicBezTo>
                <a:cubicBezTo>
                  <a:pt x="3162292" y="5061858"/>
                  <a:pt x="3162292" y="5061858"/>
                  <a:pt x="2820805" y="5187929"/>
                </a:cubicBezTo>
                <a:cubicBezTo>
                  <a:pt x="2796004" y="5197480"/>
                  <a:pt x="2769295" y="5184109"/>
                  <a:pt x="2759755" y="5161187"/>
                </a:cubicBezTo>
                <a:cubicBezTo>
                  <a:pt x="2757848" y="5155456"/>
                  <a:pt x="2755939" y="5149726"/>
                  <a:pt x="2755939" y="5143995"/>
                </a:cubicBezTo>
                <a:cubicBezTo>
                  <a:pt x="2755939" y="5124894"/>
                  <a:pt x="2767389" y="5105792"/>
                  <a:pt x="2788374" y="5098151"/>
                </a:cubicBezTo>
                <a:cubicBezTo>
                  <a:pt x="2788374" y="5098151"/>
                  <a:pt x="2788374" y="5098151"/>
                  <a:pt x="3129863" y="4972081"/>
                </a:cubicBezTo>
                <a:cubicBezTo>
                  <a:pt x="3136062" y="4969693"/>
                  <a:pt x="3142380" y="4968738"/>
                  <a:pt x="3148522" y="4969036"/>
                </a:cubicBezTo>
                <a:close/>
                <a:moveTo>
                  <a:pt x="9865943" y="4767278"/>
                </a:moveTo>
                <a:cubicBezTo>
                  <a:pt x="9873563" y="4768710"/>
                  <a:pt x="9880707" y="4773005"/>
                  <a:pt x="9885469" y="4779687"/>
                </a:cubicBezTo>
                <a:cubicBezTo>
                  <a:pt x="9894994" y="4794960"/>
                  <a:pt x="9891184" y="4812143"/>
                  <a:pt x="9875944" y="4821688"/>
                </a:cubicBezTo>
                <a:cubicBezTo>
                  <a:pt x="9875944" y="4821688"/>
                  <a:pt x="9875944" y="4821688"/>
                  <a:pt x="9542565" y="5046968"/>
                </a:cubicBezTo>
                <a:cubicBezTo>
                  <a:pt x="9527324" y="5054605"/>
                  <a:pt x="9510179" y="5052696"/>
                  <a:pt x="9500654" y="5037422"/>
                </a:cubicBezTo>
                <a:cubicBezTo>
                  <a:pt x="9496844" y="5033604"/>
                  <a:pt x="9494939" y="5027877"/>
                  <a:pt x="9494939" y="5022149"/>
                </a:cubicBezTo>
                <a:cubicBezTo>
                  <a:pt x="9494939" y="5012603"/>
                  <a:pt x="9500654" y="5003058"/>
                  <a:pt x="9508274" y="4997330"/>
                </a:cubicBezTo>
                <a:cubicBezTo>
                  <a:pt x="9508274" y="4997330"/>
                  <a:pt x="9508274" y="4997330"/>
                  <a:pt x="9843558" y="4772051"/>
                </a:cubicBezTo>
                <a:cubicBezTo>
                  <a:pt x="9850226" y="4767278"/>
                  <a:pt x="9858322" y="4765846"/>
                  <a:pt x="9865943" y="4767278"/>
                </a:cubicBezTo>
                <a:close/>
                <a:moveTo>
                  <a:pt x="10450715" y="4757980"/>
                </a:moveTo>
                <a:cubicBezTo>
                  <a:pt x="10458830" y="4759647"/>
                  <a:pt x="10466468" y="4764410"/>
                  <a:pt x="10471242" y="4772030"/>
                </a:cubicBezTo>
                <a:cubicBezTo>
                  <a:pt x="10480790" y="4787270"/>
                  <a:pt x="10475061" y="4806320"/>
                  <a:pt x="10461695" y="4815845"/>
                </a:cubicBezTo>
                <a:cubicBezTo>
                  <a:pt x="10461695" y="4815845"/>
                  <a:pt x="10461695" y="4815845"/>
                  <a:pt x="10125619" y="5029205"/>
                </a:cubicBezTo>
                <a:cubicBezTo>
                  <a:pt x="10110343" y="5038730"/>
                  <a:pt x="10091248" y="5034920"/>
                  <a:pt x="10081701" y="5019680"/>
                </a:cubicBezTo>
                <a:cubicBezTo>
                  <a:pt x="10077882" y="5015870"/>
                  <a:pt x="10075972" y="5010155"/>
                  <a:pt x="10075972" y="5004440"/>
                </a:cubicBezTo>
                <a:cubicBezTo>
                  <a:pt x="10075972" y="4993010"/>
                  <a:pt x="10081701" y="4983485"/>
                  <a:pt x="10091248" y="4977770"/>
                </a:cubicBezTo>
                <a:cubicBezTo>
                  <a:pt x="10091248" y="4977770"/>
                  <a:pt x="10091248" y="4977770"/>
                  <a:pt x="10427323" y="4762505"/>
                </a:cubicBezTo>
                <a:cubicBezTo>
                  <a:pt x="10434006" y="4757742"/>
                  <a:pt x="10442599" y="4756314"/>
                  <a:pt x="10450715" y="4757980"/>
                </a:cubicBezTo>
                <a:close/>
                <a:moveTo>
                  <a:pt x="9287869" y="4757980"/>
                </a:moveTo>
                <a:cubicBezTo>
                  <a:pt x="9295721" y="4759647"/>
                  <a:pt x="9302859" y="4764410"/>
                  <a:pt x="9307618" y="4772030"/>
                </a:cubicBezTo>
                <a:cubicBezTo>
                  <a:pt x="9317136" y="4787270"/>
                  <a:pt x="9313329" y="4806320"/>
                  <a:pt x="9298101" y="4815845"/>
                </a:cubicBezTo>
                <a:cubicBezTo>
                  <a:pt x="9298101" y="4815845"/>
                  <a:pt x="9298101" y="4815845"/>
                  <a:pt x="8963081" y="5029205"/>
                </a:cubicBezTo>
                <a:cubicBezTo>
                  <a:pt x="8949756" y="5038730"/>
                  <a:pt x="8928818" y="5034920"/>
                  <a:pt x="8919300" y="5019680"/>
                </a:cubicBezTo>
                <a:cubicBezTo>
                  <a:pt x="8917397" y="5015870"/>
                  <a:pt x="8915493" y="5010155"/>
                  <a:pt x="8915493" y="5004440"/>
                </a:cubicBezTo>
                <a:cubicBezTo>
                  <a:pt x="8915493" y="4993010"/>
                  <a:pt x="8919300" y="4983485"/>
                  <a:pt x="8928818" y="4977770"/>
                </a:cubicBezTo>
                <a:cubicBezTo>
                  <a:pt x="8928818" y="4977770"/>
                  <a:pt x="8928818" y="4977770"/>
                  <a:pt x="9263837" y="4762505"/>
                </a:cubicBezTo>
                <a:cubicBezTo>
                  <a:pt x="9271451" y="4757742"/>
                  <a:pt x="9280017" y="4756314"/>
                  <a:pt x="9287869" y="4757980"/>
                </a:cubicBezTo>
                <a:close/>
                <a:moveTo>
                  <a:pt x="11026794" y="4748711"/>
                </a:moveTo>
                <a:cubicBezTo>
                  <a:pt x="11035135" y="4750623"/>
                  <a:pt x="11042761" y="4755879"/>
                  <a:pt x="11047527" y="4764481"/>
                </a:cubicBezTo>
                <a:cubicBezTo>
                  <a:pt x="11057060" y="4779773"/>
                  <a:pt x="11053247" y="4800799"/>
                  <a:pt x="11036088" y="4810357"/>
                </a:cubicBezTo>
                <a:cubicBezTo>
                  <a:pt x="11036088" y="4810357"/>
                  <a:pt x="11036088" y="4810357"/>
                  <a:pt x="10700543" y="5014885"/>
                </a:cubicBezTo>
                <a:cubicBezTo>
                  <a:pt x="10685291" y="5024443"/>
                  <a:pt x="10664319" y="5020620"/>
                  <a:pt x="10654787" y="5005328"/>
                </a:cubicBezTo>
                <a:cubicBezTo>
                  <a:pt x="10650974" y="4999593"/>
                  <a:pt x="10649067" y="4993859"/>
                  <a:pt x="10649067" y="4988125"/>
                </a:cubicBezTo>
                <a:cubicBezTo>
                  <a:pt x="10649067" y="4976656"/>
                  <a:pt x="10654787" y="4965187"/>
                  <a:pt x="10666226" y="4959452"/>
                </a:cubicBezTo>
                <a:cubicBezTo>
                  <a:pt x="10666226" y="4959452"/>
                  <a:pt x="10666226" y="4959452"/>
                  <a:pt x="11001771" y="4753012"/>
                </a:cubicBezTo>
                <a:cubicBezTo>
                  <a:pt x="11009397" y="4748234"/>
                  <a:pt x="11018453" y="4746800"/>
                  <a:pt x="11026794" y="4748711"/>
                </a:cubicBezTo>
                <a:close/>
                <a:moveTo>
                  <a:pt x="8717757" y="4748711"/>
                </a:moveTo>
                <a:cubicBezTo>
                  <a:pt x="8725835" y="4750623"/>
                  <a:pt x="8732962" y="4755880"/>
                  <a:pt x="8737713" y="4764481"/>
                </a:cubicBezTo>
                <a:cubicBezTo>
                  <a:pt x="8747216" y="4779773"/>
                  <a:pt x="8743415" y="4800799"/>
                  <a:pt x="8728210" y="4810357"/>
                </a:cubicBezTo>
                <a:cubicBezTo>
                  <a:pt x="8728210" y="4810357"/>
                  <a:pt x="8728210" y="4810357"/>
                  <a:pt x="8391812" y="5014885"/>
                </a:cubicBezTo>
                <a:cubicBezTo>
                  <a:pt x="8376608" y="5024443"/>
                  <a:pt x="8355702" y="5020620"/>
                  <a:pt x="8346199" y="5005328"/>
                </a:cubicBezTo>
                <a:cubicBezTo>
                  <a:pt x="8342398" y="4999593"/>
                  <a:pt x="8342398" y="4993859"/>
                  <a:pt x="8342398" y="4988125"/>
                </a:cubicBezTo>
                <a:cubicBezTo>
                  <a:pt x="8342398" y="4976656"/>
                  <a:pt x="8348100" y="4965187"/>
                  <a:pt x="8357602" y="4959452"/>
                </a:cubicBezTo>
                <a:cubicBezTo>
                  <a:pt x="8357602" y="4959452"/>
                  <a:pt x="8357602" y="4959452"/>
                  <a:pt x="8692100" y="4753012"/>
                </a:cubicBezTo>
                <a:cubicBezTo>
                  <a:pt x="8700653" y="4748234"/>
                  <a:pt x="8709680" y="4746800"/>
                  <a:pt x="8717757" y="4748711"/>
                </a:cubicBezTo>
                <a:close/>
                <a:moveTo>
                  <a:pt x="11598111" y="4739890"/>
                </a:moveTo>
                <a:cubicBezTo>
                  <a:pt x="11606677" y="4742035"/>
                  <a:pt x="11614291" y="4747280"/>
                  <a:pt x="11619050" y="4754909"/>
                </a:cubicBezTo>
                <a:cubicBezTo>
                  <a:pt x="11628568" y="4772074"/>
                  <a:pt x="11622857" y="4793053"/>
                  <a:pt x="11607629" y="4802589"/>
                </a:cubicBezTo>
                <a:cubicBezTo>
                  <a:pt x="11607629" y="4802589"/>
                  <a:pt x="11607629" y="4802589"/>
                  <a:pt x="11270700" y="4999032"/>
                </a:cubicBezTo>
                <a:cubicBezTo>
                  <a:pt x="11253568" y="5008568"/>
                  <a:pt x="11232628" y="5002846"/>
                  <a:pt x="11223111" y="4987588"/>
                </a:cubicBezTo>
                <a:cubicBezTo>
                  <a:pt x="11219304" y="4981867"/>
                  <a:pt x="11217400" y="4976145"/>
                  <a:pt x="11217400" y="4968516"/>
                </a:cubicBezTo>
                <a:cubicBezTo>
                  <a:pt x="11217400" y="4957073"/>
                  <a:pt x="11225014" y="4945630"/>
                  <a:pt x="11236436" y="4939908"/>
                </a:cubicBezTo>
                <a:cubicBezTo>
                  <a:pt x="11236436" y="4939908"/>
                  <a:pt x="11236436" y="4939908"/>
                  <a:pt x="11571461" y="4743466"/>
                </a:cubicBezTo>
                <a:cubicBezTo>
                  <a:pt x="11580027" y="4738698"/>
                  <a:pt x="11589545" y="4737744"/>
                  <a:pt x="11598111" y="4739890"/>
                </a:cubicBezTo>
                <a:close/>
                <a:moveTo>
                  <a:pt x="8154062" y="4739890"/>
                </a:moveTo>
                <a:cubicBezTo>
                  <a:pt x="8162866" y="4742035"/>
                  <a:pt x="8170956" y="4747280"/>
                  <a:pt x="8175715" y="4754909"/>
                </a:cubicBezTo>
                <a:cubicBezTo>
                  <a:pt x="8185233" y="4772074"/>
                  <a:pt x="8179522" y="4793053"/>
                  <a:pt x="8162390" y="4802589"/>
                </a:cubicBezTo>
                <a:cubicBezTo>
                  <a:pt x="8162390" y="4802589"/>
                  <a:pt x="8162390" y="4802589"/>
                  <a:pt x="7825461" y="4999032"/>
                </a:cubicBezTo>
                <a:cubicBezTo>
                  <a:pt x="7810232" y="5008568"/>
                  <a:pt x="7787390" y="5002846"/>
                  <a:pt x="7777872" y="4987588"/>
                </a:cubicBezTo>
                <a:cubicBezTo>
                  <a:pt x="7775968" y="4981867"/>
                  <a:pt x="7774065" y="4976145"/>
                  <a:pt x="7774065" y="4968516"/>
                </a:cubicBezTo>
                <a:cubicBezTo>
                  <a:pt x="7774065" y="4957073"/>
                  <a:pt x="7779775" y="4945630"/>
                  <a:pt x="7791197" y="4939908"/>
                </a:cubicBezTo>
                <a:cubicBezTo>
                  <a:pt x="7791197" y="4939908"/>
                  <a:pt x="7791197" y="4939908"/>
                  <a:pt x="8128126" y="4743466"/>
                </a:cubicBezTo>
                <a:cubicBezTo>
                  <a:pt x="8135740" y="4738698"/>
                  <a:pt x="8145258" y="4737744"/>
                  <a:pt x="8154062" y="4739890"/>
                </a:cubicBezTo>
                <a:close/>
                <a:moveTo>
                  <a:pt x="12135937" y="4732342"/>
                </a:moveTo>
                <a:cubicBezTo>
                  <a:pt x="12137843" y="4732342"/>
                  <a:pt x="12137843" y="4732342"/>
                  <a:pt x="12139750" y="4732342"/>
                </a:cubicBezTo>
                <a:cubicBezTo>
                  <a:pt x="12139750" y="4732342"/>
                  <a:pt x="12139750" y="4732342"/>
                  <a:pt x="12139750" y="4814057"/>
                </a:cubicBezTo>
                <a:cubicBezTo>
                  <a:pt x="12139750" y="4814057"/>
                  <a:pt x="12139750" y="4814057"/>
                  <a:pt x="11834677" y="4983190"/>
                </a:cubicBezTo>
                <a:cubicBezTo>
                  <a:pt x="11815610" y="4992692"/>
                  <a:pt x="11794637" y="4986991"/>
                  <a:pt x="11783196" y="4969887"/>
                </a:cubicBezTo>
                <a:cubicBezTo>
                  <a:pt x="11781290" y="4964186"/>
                  <a:pt x="11779383" y="4958485"/>
                  <a:pt x="11779383" y="4950884"/>
                </a:cubicBezTo>
                <a:cubicBezTo>
                  <a:pt x="11779383" y="4939482"/>
                  <a:pt x="11787010" y="4926179"/>
                  <a:pt x="11798450" y="4920478"/>
                </a:cubicBezTo>
                <a:close/>
                <a:moveTo>
                  <a:pt x="7597191" y="4729944"/>
                </a:moveTo>
                <a:cubicBezTo>
                  <a:pt x="7606247" y="4732795"/>
                  <a:pt x="7614349" y="4738971"/>
                  <a:pt x="7620068" y="4747524"/>
                </a:cubicBezTo>
                <a:cubicBezTo>
                  <a:pt x="7629601" y="4764628"/>
                  <a:pt x="7621975" y="4787435"/>
                  <a:pt x="7604817" y="4796937"/>
                </a:cubicBezTo>
                <a:cubicBezTo>
                  <a:pt x="7604817" y="4796937"/>
                  <a:pt x="7604817" y="4796937"/>
                  <a:pt x="7267371" y="4983189"/>
                </a:cubicBezTo>
                <a:cubicBezTo>
                  <a:pt x="7250212" y="4992692"/>
                  <a:pt x="7227335" y="4986990"/>
                  <a:pt x="7217802" y="4969885"/>
                </a:cubicBezTo>
                <a:cubicBezTo>
                  <a:pt x="7213989" y="4964184"/>
                  <a:pt x="7212083" y="4958482"/>
                  <a:pt x="7212083" y="4950880"/>
                </a:cubicBezTo>
                <a:cubicBezTo>
                  <a:pt x="7212083" y="4939477"/>
                  <a:pt x="7219709" y="4926173"/>
                  <a:pt x="7231147" y="4920472"/>
                </a:cubicBezTo>
                <a:cubicBezTo>
                  <a:pt x="7231147" y="4920472"/>
                  <a:pt x="7231147" y="4920472"/>
                  <a:pt x="7568594" y="4732319"/>
                </a:cubicBezTo>
                <a:cubicBezTo>
                  <a:pt x="7578126" y="4727568"/>
                  <a:pt x="7588135" y="4727093"/>
                  <a:pt x="7597191" y="4729944"/>
                </a:cubicBezTo>
                <a:close/>
                <a:moveTo>
                  <a:pt x="7045531" y="4720682"/>
                </a:moveTo>
                <a:cubicBezTo>
                  <a:pt x="7054846" y="4723782"/>
                  <a:pt x="7063444" y="4730457"/>
                  <a:pt x="7069177" y="4739994"/>
                </a:cubicBezTo>
                <a:cubicBezTo>
                  <a:pt x="7078731" y="4759067"/>
                  <a:pt x="7071088" y="4781954"/>
                  <a:pt x="7051980" y="4791491"/>
                </a:cubicBezTo>
                <a:cubicBezTo>
                  <a:pt x="7051980" y="4791491"/>
                  <a:pt x="7051980" y="4791491"/>
                  <a:pt x="6713773" y="4968868"/>
                </a:cubicBezTo>
                <a:cubicBezTo>
                  <a:pt x="6694665" y="4978405"/>
                  <a:pt x="6671736" y="4972683"/>
                  <a:pt x="6662182" y="4953610"/>
                </a:cubicBezTo>
                <a:cubicBezTo>
                  <a:pt x="6658361" y="4947888"/>
                  <a:pt x="6656450" y="4942166"/>
                  <a:pt x="6656450" y="4934537"/>
                </a:cubicBezTo>
                <a:cubicBezTo>
                  <a:pt x="6656450" y="4921186"/>
                  <a:pt x="6664093" y="4907835"/>
                  <a:pt x="6677468" y="4902113"/>
                </a:cubicBezTo>
                <a:cubicBezTo>
                  <a:pt x="6677468" y="4902113"/>
                  <a:pt x="6677468" y="4902113"/>
                  <a:pt x="7017586" y="4722828"/>
                </a:cubicBezTo>
                <a:cubicBezTo>
                  <a:pt x="7026184" y="4718060"/>
                  <a:pt x="7036216" y="4717583"/>
                  <a:pt x="7045531" y="4720682"/>
                </a:cubicBezTo>
                <a:close/>
                <a:moveTo>
                  <a:pt x="6500048" y="4711377"/>
                </a:moveTo>
                <a:cubicBezTo>
                  <a:pt x="6509797" y="4714707"/>
                  <a:pt x="6518357" y="4721842"/>
                  <a:pt x="6523112" y="4732307"/>
                </a:cubicBezTo>
                <a:cubicBezTo>
                  <a:pt x="6532623" y="4751333"/>
                  <a:pt x="6525014" y="4774166"/>
                  <a:pt x="6505992" y="4785582"/>
                </a:cubicBezTo>
                <a:cubicBezTo>
                  <a:pt x="6505992" y="4785582"/>
                  <a:pt x="6505992" y="4785582"/>
                  <a:pt x="6167407" y="4953016"/>
                </a:cubicBezTo>
                <a:cubicBezTo>
                  <a:pt x="6148385" y="4962530"/>
                  <a:pt x="6123657" y="4954919"/>
                  <a:pt x="6114146" y="4935892"/>
                </a:cubicBezTo>
                <a:cubicBezTo>
                  <a:pt x="6110342" y="4930184"/>
                  <a:pt x="6110342" y="4924476"/>
                  <a:pt x="6110342" y="4916866"/>
                </a:cubicBezTo>
                <a:cubicBezTo>
                  <a:pt x="6110342" y="4903547"/>
                  <a:pt x="6117950" y="4888326"/>
                  <a:pt x="6131266" y="4882618"/>
                </a:cubicBezTo>
                <a:cubicBezTo>
                  <a:pt x="6131266" y="4882618"/>
                  <a:pt x="6131266" y="4882618"/>
                  <a:pt x="6469851" y="4713280"/>
                </a:cubicBezTo>
                <a:cubicBezTo>
                  <a:pt x="6479362" y="4708524"/>
                  <a:pt x="6490299" y="4708048"/>
                  <a:pt x="6500048" y="4711377"/>
                </a:cubicBezTo>
                <a:close/>
                <a:moveTo>
                  <a:pt x="5956806" y="4701881"/>
                </a:moveTo>
                <a:cubicBezTo>
                  <a:pt x="5966814" y="4705223"/>
                  <a:pt x="5975394" y="4712385"/>
                  <a:pt x="5980159" y="4722888"/>
                </a:cubicBezTo>
                <a:cubicBezTo>
                  <a:pt x="5989691" y="4743896"/>
                  <a:pt x="5982065" y="4768723"/>
                  <a:pt x="5961095" y="4778272"/>
                </a:cubicBezTo>
                <a:cubicBezTo>
                  <a:pt x="5961095" y="4778272"/>
                  <a:pt x="5961095" y="4778272"/>
                  <a:pt x="5621756" y="4938693"/>
                </a:cubicBezTo>
                <a:cubicBezTo>
                  <a:pt x="5600786" y="4948242"/>
                  <a:pt x="5576003" y="4940603"/>
                  <a:pt x="5566471" y="4919595"/>
                </a:cubicBezTo>
                <a:cubicBezTo>
                  <a:pt x="5562659" y="4913866"/>
                  <a:pt x="5562659" y="4906227"/>
                  <a:pt x="5562659" y="4900497"/>
                </a:cubicBezTo>
                <a:cubicBezTo>
                  <a:pt x="5562659" y="4885219"/>
                  <a:pt x="5570284" y="4869941"/>
                  <a:pt x="5585535" y="4864212"/>
                </a:cubicBezTo>
                <a:cubicBezTo>
                  <a:pt x="5585535" y="4864212"/>
                  <a:pt x="5585535" y="4864212"/>
                  <a:pt x="5924873" y="4703791"/>
                </a:cubicBezTo>
                <a:cubicBezTo>
                  <a:pt x="5935358" y="4699016"/>
                  <a:pt x="5946797" y="4698539"/>
                  <a:pt x="5956806" y="4701881"/>
                </a:cubicBezTo>
                <a:close/>
                <a:moveTo>
                  <a:pt x="398944" y="4701881"/>
                </a:moveTo>
                <a:cubicBezTo>
                  <a:pt x="408946" y="4705223"/>
                  <a:pt x="417518" y="4712385"/>
                  <a:pt x="422281" y="4722888"/>
                </a:cubicBezTo>
                <a:cubicBezTo>
                  <a:pt x="431806" y="4743896"/>
                  <a:pt x="422281" y="4768723"/>
                  <a:pt x="401326" y="4778272"/>
                </a:cubicBezTo>
                <a:cubicBezTo>
                  <a:pt x="401326" y="4778272"/>
                  <a:pt x="401326" y="4778272"/>
                  <a:pt x="62232" y="4938693"/>
                </a:cubicBezTo>
                <a:cubicBezTo>
                  <a:pt x="43182" y="4948242"/>
                  <a:pt x="16511" y="4940603"/>
                  <a:pt x="6986" y="4919595"/>
                </a:cubicBezTo>
                <a:cubicBezTo>
                  <a:pt x="5081" y="4913866"/>
                  <a:pt x="3176" y="4906227"/>
                  <a:pt x="3176" y="4900497"/>
                </a:cubicBezTo>
                <a:cubicBezTo>
                  <a:pt x="3176" y="4885219"/>
                  <a:pt x="12701" y="4869941"/>
                  <a:pt x="27941" y="4864212"/>
                </a:cubicBezTo>
                <a:cubicBezTo>
                  <a:pt x="27941" y="4864212"/>
                  <a:pt x="27941" y="4864212"/>
                  <a:pt x="367035" y="4703791"/>
                </a:cubicBezTo>
                <a:cubicBezTo>
                  <a:pt x="377513" y="4699016"/>
                  <a:pt x="388943" y="4698539"/>
                  <a:pt x="398944" y="4701881"/>
                </a:cubicBezTo>
                <a:close/>
                <a:moveTo>
                  <a:pt x="5409709" y="4693289"/>
                </a:moveTo>
                <a:cubicBezTo>
                  <a:pt x="5420209" y="4697099"/>
                  <a:pt x="5429278" y="4704719"/>
                  <a:pt x="5434051" y="4715197"/>
                </a:cubicBezTo>
                <a:cubicBezTo>
                  <a:pt x="5443597" y="4738057"/>
                  <a:pt x="5434051" y="4762822"/>
                  <a:pt x="5411141" y="4772347"/>
                </a:cubicBezTo>
                <a:cubicBezTo>
                  <a:pt x="5411141" y="4772347"/>
                  <a:pt x="5411141" y="4772347"/>
                  <a:pt x="5071298" y="4922842"/>
                </a:cubicBezTo>
                <a:cubicBezTo>
                  <a:pt x="5048391" y="4932367"/>
                  <a:pt x="5023573" y="4922842"/>
                  <a:pt x="5014028" y="4901887"/>
                </a:cubicBezTo>
                <a:cubicBezTo>
                  <a:pt x="5012119" y="4894267"/>
                  <a:pt x="5010210" y="4888552"/>
                  <a:pt x="5010210" y="4882837"/>
                </a:cubicBezTo>
                <a:cubicBezTo>
                  <a:pt x="5010210" y="4867597"/>
                  <a:pt x="5019755" y="4850452"/>
                  <a:pt x="5036936" y="4842832"/>
                </a:cubicBezTo>
                <a:cubicBezTo>
                  <a:pt x="5036936" y="4842832"/>
                  <a:pt x="5036936" y="4842832"/>
                  <a:pt x="5376776" y="4694242"/>
                </a:cubicBezTo>
                <a:cubicBezTo>
                  <a:pt x="5387276" y="4689479"/>
                  <a:pt x="5399208" y="4689479"/>
                  <a:pt x="5409709" y="4693289"/>
                </a:cubicBezTo>
                <a:close/>
                <a:moveTo>
                  <a:pt x="943147" y="4693289"/>
                </a:moveTo>
                <a:cubicBezTo>
                  <a:pt x="953409" y="4697099"/>
                  <a:pt x="962001" y="4704719"/>
                  <a:pt x="966774" y="4715197"/>
                </a:cubicBezTo>
                <a:cubicBezTo>
                  <a:pt x="976320" y="4738057"/>
                  <a:pt x="966774" y="4762822"/>
                  <a:pt x="945772" y="4772347"/>
                </a:cubicBezTo>
                <a:cubicBezTo>
                  <a:pt x="945772" y="4772347"/>
                  <a:pt x="945772" y="4772347"/>
                  <a:pt x="604023" y="4922842"/>
                </a:cubicBezTo>
                <a:cubicBezTo>
                  <a:pt x="583021" y="4932367"/>
                  <a:pt x="556292" y="4922842"/>
                  <a:pt x="546746" y="4901887"/>
                </a:cubicBezTo>
                <a:cubicBezTo>
                  <a:pt x="544837" y="4894267"/>
                  <a:pt x="542928" y="4888552"/>
                  <a:pt x="542928" y="4882837"/>
                </a:cubicBezTo>
                <a:cubicBezTo>
                  <a:pt x="542928" y="4867597"/>
                  <a:pt x="552474" y="4850452"/>
                  <a:pt x="569657" y="4842832"/>
                </a:cubicBezTo>
                <a:cubicBezTo>
                  <a:pt x="569657" y="4842832"/>
                  <a:pt x="569657" y="4842832"/>
                  <a:pt x="909497" y="4694242"/>
                </a:cubicBezTo>
                <a:cubicBezTo>
                  <a:pt x="920952" y="4689479"/>
                  <a:pt x="932885" y="4689479"/>
                  <a:pt x="943147" y="4693289"/>
                </a:cubicBezTo>
                <a:close/>
                <a:moveTo>
                  <a:pt x="4840042" y="4679741"/>
                </a:moveTo>
                <a:cubicBezTo>
                  <a:pt x="4857649" y="4680008"/>
                  <a:pt x="4874452" y="4690682"/>
                  <a:pt x="4881602" y="4707760"/>
                </a:cubicBezTo>
                <a:cubicBezTo>
                  <a:pt x="4891136" y="4730531"/>
                  <a:pt x="4879696" y="4757097"/>
                  <a:pt x="4856815" y="4766584"/>
                </a:cubicBezTo>
                <a:cubicBezTo>
                  <a:pt x="4856815" y="4766584"/>
                  <a:pt x="4856815" y="4766584"/>
                  <a:pt x="4517479" y="4907004"/>
                </a:cubicBezTo>
                <a:cubicBezTo>
                  <a:pt x="4494604" y="4916492"/>
                  <a:pt x="4467914" y="4905106"/>
                  <a:pt x="4458382" y="4882336"/>
                </a:cubicBezTo>
                <a:cubicBezTo>
                  <a:pt x="4456475" y="4876643"/>
                  <a:pt x="4454569" y="4870950"/>
                  <a:pt x="4454569" y="4865258"/>
                </a:cubicBezTo>
                <a:cubicBezTo>
                  <a:pt x="4454569" y="4848180"/>
                  <a:pt x="4466007" y="4831101"/>
                  <a:pt x="4483165" y="4823511"/>
                </a:cubicBezTo>
                <a:cubicBezTo>
                  <a:pt x="4483165" y="4823511"/>
                  <a:pt x="4483165" y="4823511"/>
                  <a:pt x="4822497" y="4683092"/>
                </a:cubicBezTo>
                <a:cubicBezTo>
                  <a:pt x="4828215" y="4680720"/>
                  <a:pt x="4834173" y="4679652"/>
                  <a:pt x="4840042" y="4679741"/>
                </a:cubicBezTo>
                <a:close/>
                <a:moveTo>
                  <a:pt x="1476099" y="4679741"/>
                </a:moveTo>
                <a:cubicBezTo>
                  <a:pt x="1493704" y="4680008"/>
                  <a:pt x="1510504" y="4690682"/>
                  <a:pt x="1517653" y="4707760"/>
                </a:cubicBezTo>
                <a:cubicBezTo>
                  <a:pt x="1527185" y="4730531"/>
                  <a:pt x="1515746" y="4757097"/>
                  <a:pt x="1492870" y="4766584"/>
                </a:cubicBezTo>
                <a:cubicBezTo>
                  <a:pt x="1492870" y="4766584"/>
                  <a:pt x="1492870" y="4766584"/>
                  <a:pt x="1151623" y="4907004"/>
                </a:cubicBezTo>
                <a:cubicBezTo>
                  <a:pt x="1128746" y="4916492"/>
                  <a:pt x="1102056" y="4905106"/>
                  <a:pt x="1094431" y="4882336"/>
                </a:cubicBezTo>
                <a:cubicBezTo>
                  <a:pt x="1090618" y="4876643"/>
                  <a:pt x="1090618" y="4870950"/>
                  <a:pt x="1090618" y="4865258"/>
                </a:cubicBezTo>
                <a:cubicBezTo>
                  <a:pt x="1090618" y="4848180"/>
                  <a:pt x="1100150" y="4831101"/>
                  <a:pt x="1117307" y="4823511"/>
                </a:cubicBezTo>
                <a:cubicBezTo>
                  <a:pt x="1117307" y="4823511"/>
                  <a:pt x="1117307" y="4823511"/>
                  <a:pt x="1458554" y="4683092"/>
                </a:cubicBezTo>
                <a:cubicBezTo>
                  <a:pt x="1464274" y="4680720"/>
                  <a:pt x="1470231" y="4679652"/>
                  <a:pt x="1476099" y="4679741"/>
                </a:cubicBezTo>
                <a:close/>
                <a:moveTo>
                  <a:pt x="4282901" y="4670538"/>
                </a:moveTo>
                <a:cubicBezTo>
                  <a:pt x="4300481" y="4671342"/>
                  <a:pt x="4317257" y="4683129"/>
                  <a:pt x="4324395" y="4700274"/>
                </a:cubicBezTo>
                <a:cubicBezTo>
                  <a:pt x="4333914" y="4725039"/>
                  <a:pt x="4322492" y="4751709"/>
                  <a:pt x="4297744" y="4761234"/>
                </a:cubicBezTo>
                <a:cubicBezTo>
                  <a:pt x="4297744" y="4761234"/>
                  <a:pt x="4297744" y="4761234"/>
                  <a:pt x="3957010" y="4892679"/>
                </a:cubicBezTo>
                <a:cubicBezTo>
                  <a:pt x="3934167" y="4902204"/>
                  <a:pt x="3907514" y="4890774"/>
                  <a:pt x="3897997" y="4866009"/>
                </a:cubicBezTo>
                <a:cubicBezTo>
                  <a:pt x="3896092" y="4860294"/>
                  <a:pt x="3894190" y="4854579"/>
                  <a:pt x="3894190" y="4848864"/>
                </a:cubicBezTo>
                <a:cubicBezTo>
                  <a:pt x="3894190" y="4829814"/>
                  <a:pt x="3905611" y="4812669"/>
                  <a:pt x="3924648" y="4805049"/>
                </a:cubicBezTo>
                <a:cubicBezTo>
                  <a:pt x="3924648" y="4805049"/>
                  <a:pt x="3924648" y="4805049"/>
                  <a:pt x="4265381" y="4673604"/>
                </a:cubicBezTo>
                <a:cubicBezTo>
                  <a:pt x="4271092" y="4671223"/>
                  <a:pt x="4277042" y="4670270"/>
                  <a:pt x="4282901" y="4670538"/>
                </a:cubicBezTo>
                <a:close/>
                <a:moveTo>
                  <a:pt x="2029448" y="4670538"/>
                </a:moveTo>
                <a:cubicBezTo>
                  <a:pt x="2047817" y="4671342"/>
                  <a:pt x="2064585" y="4683129"/>
                  <a:pt x="2071719" y="4700274"/>
                </a:cubicBezTo>
                <a:cubicBezTo>
                  <a:pt x="2081231" y="4725039"/>
                  <a:pt x="2067915" y="4751709"/>
                  <a:pt x="2045083" y="4761234"/>
                </a:cubicBezTo>
                <a:cubicBezTo>
                  <a:pt x="2045083" y="4761234"/>
                  <a:pt x="2045083" y="4761234"/>
                  <a:pt x="1704573" y="4892679"/>
                </a:cubicBezTo>
                <a:cubicBezTo>
                  <a:pt x="1679843" y="4902204"/>
                  <a:pt x="1653211" y="4890774"/>
                  <a:pt x="1643700" y="4866009"/>
                </a:cubicBezTo>
                <a:cubicBezTo>
                  <a:pt x="1641797" y="4860294"/>
                  <a:pt x="1639895" y="4854579"/>
                  <a:pt x="1639895" y="4848864"/>
                </a:cubicBezTo>
                <a:cubicBezTo>
                  <a:pt x="1639895" y="4829814"/>
                  <a:pt x="1651309" y="4812669"/>
                  <a:pt x="1670332" y="4805049"/>
                </a:cubicBezTo>
                <a:cubicBezTo>
                  <a:pt x="1670332" y="4805049"/>
                  <a:pt x="1670332" y="4805049"/>
                  <a:pt x="2010841" y="4673604"/>
                </a:cubicBezTo>
                <a:cubicBezTo>
                  <a:pt x="2017024" y="4671223"/>
                  <a:pt x="2023325" y="4670270"/>
                  <a:pt x="2029448" y="4670538"/>
                </a:cubicBezTo>
                <a:close/>
                <a:moveTo>
                  <a:pt x="3720840" y="4661025"/>
                </a:moveTo>
                <a:cubicBezTo>
                  <a:pt x="3740053" y="4661915"/>
                  <a:pt x="3756854" y="4674027"/>
                  <a:pt x="3764003" y="4692550"/>
                </a:cubicBezTo>
                <a:cubicBezTo>
                  <a:pt x="3773537" y="4717247"/>
                  <a:pt x="3760192" y="4745744"/>
                  <a:pt x="3735407" y="4755243"/>
                </a:cubicBezTo>
                <a:cubicBezTo>
                  <a:pt x="3735407" y="4755243"/>
                  <a:pt x="3735407" y="4755243"/>
                  <a:pt x="3392273" y="4876830"/>
                </a:cubicBezTo>
                <a:cubicBezTo>
                  <a:pt x="3367488" y="4886329"/>
                  <a:pt x="3340798" y="4873030"/>
                  <a:pt x="3331267" y="4848333"/>
                </a:cubicBezTo>
                <a:cubicBezTo>
                  <a:pt x="3329358" y="4842633"/>
                  <a:pt x="3327455" y="4836934"/>
                  <a:pt x="3327455" y="4831235"/>
                </a:cubicBezTo>
                <a:cubicBezTo>
                  <a:pt x="3327455" y="4812237"/>
                  <a:pt x="3340798" y="4793239"/>
                  <a:pt x="3359861" y="4785640"/>
                </a:cubicBezTo>
                <a:cubicBezTo>
                  <a:pt x="3359861" y="4785640"/>
                  <a:pt x="3359861" y="4785640"/>
                  <a:pt x="3701090" y="4664053"/>
                </a:cubicBezTo>
                <a:cubicBezTo>
                  <a:pt x="3707763" y="4661678"/>
                  <a:pt x="3714436" y="4660728"/>
                  <a:pt x="3720840" y="4661025"/>
                </a:cubicBezTo>
                <a:close/>
                <a:moveTo>
                  <a:pt x="2587339" y="4661025"/>
                </a:moveTo>
                <a:cubicBezTo>
                  <a:pt x="2606552" y="4661915"/>
                  <a:pt x="2623352" y="4674027"/>
                  <a:pt x="2630501" y="4692550"/>
                </a:cubicBezTo>
                <a:cubicBezTo>
                  <a:pt x="2640033" y="4717247"/>
                  <a:pt x="2626688" y="4745744"/>
                  <a:pt x="2601905" y="4755243"/>
                </a:cubicBezTo>
                <a:cubicBezTo>
                  <a:pt x="2601905" y="4755243"/>
                  <a:pt x="2601905" y="4755243"/>
                  <a:pt x="2258757" y="4876830"/>
                </a:cubicBezTo>
                <a:cubicBezTo>
                  <a:pt x="2233974" y="4886329"/>
                  <a:pt x="2207285" y="4873030"/>
                  <a:pt x="2197753" y="4848333"/>
                </a:cubicBezTo>
                <a:cubicBezTo>
                  <a:pt x="2195847" y="4842633"/>
                  <a:pt x="2193940" y="4836934"/>
                  <a:pt x="2193940" y="4831235"/>
                </a:cubicBezTo>
                <a:cubicBezTo>
                  <a:pt x="2193940" y="4812237"/>
                  <a:pt x="2207285" y="4793239"/>
                  <a:pt x="2226349" y="4785640"/>
                </a:cubicBezTo>
                <a:cubicBezTo>
                  <a:pt x="2226349" y="4785640"/>
                  <a:pt x="2226349" y="4785640"/>
                  <a:pt x="2567591" y="4664053"/>
                </a:cubicBezTo>
                <a:cubicBezTo>
                  <a:pt x="2574263" y="4661678"/>
                  <a:pt x="2580935" y="4660728"/>
                  <a:pt x="2587339" y="4661025"/>
                </a:cubicBezTo>
                <a:close/>
                <a:moveTo>
                  <a:pt x="3149677" y="4651825"/>
                </a:moveTo>
                <a:cubicBezTo>
                  <a:pt x="3169410" y="4653256"/>
                  <a:pt x="3187272" y="4666490"/>
                  <a:pt x="3194415" y="4685090"/>
                </a:cubicBezTo>
                <a:cubicBezTo>
                  <a:pt x="3202032" y="4711797"/>
                  <a:pt x="3188700" y="4740412"/>
                  <a:pt x="3162028" y="4748043"/>
                </a:cubicBezTo>
                <a:cubicBezTo>
                  <a:pt x="3162028" y="4748043"/>
                  <a:pt x="3162028" y="4748043"/>
                  <a:pt x="2819123" y="4862503"/>
                </a:cubicBezTo>
                <a:cubicBezTo>
                  <a:pt x="2794358" y="4872042"/>
                  <a:pt x="2765782" y="4856780"/>
                  <a:pt x="2756258" y="4830073"/>
                </a:cubicBezTo>
                <a:cubicBezTo>
                  <a:pt x="2754356" y="4826258"/>
                  <a:pt x="2754356" y="4820535"/>
                  <a:pt x="2754356" y="4814812"/>
                </a:cubicBezTo>
                <a:cubicBezTo>
                  <a:pt x="2754356" y="4793827"/>
                  <a:pt x="2767688" y="4774750"/>
                  <a:pt x="2788641" y="4767120"/>
                </a:cubicBezTo>
                <a:cubicBezTo>
                  <a:pt x="2788641" y="4767120"/>
                  <a:pt x="2788641" y="4767120"/>
                  <a:pt x="3129644" y="4654567"/>
                </a:cubicBezTo>
                <a:cubicBezTo>
                  <a:pt x="3136312" y="4652183"/>
                  <a:pt x="3143099" y="4651348"/>
                  <a:pt x="3149677" y="4651825"/>
                </a:cubicBezTo>
                <a:close/>
                <a:moveTo>
                  <a:pt x="9864585" y="4440631"/>
                </a:moveTo>
                <a:cubicBezTo>
                  <a:pt x="9871274" y="4441819"/>
                  <a:pt x="9877485" y="4445621"/>
                  <a:pt x="9882263" y="4452274"/>
                </a:cubicBezTo>
                <a:cubicBezTo>
                  <a:pt x="9891819" y="4463680"/>
                  <a:pt x="9887997" y="4480789"/>
                  <a:pt x="9876529" y="4488393"/>
                </a:cubicBezTo>
                <a:cubicBezTo>
                  <a:pt x="9876529" y="4488393"/>
                  <a:pt x="9876529" y="4488393"/>
                  <a:pt x="9540160" y="4727913"/>
                </a:cubicBezTo>
                <a:cubicBezTo>
                  <a:pt x="9528693" y="4735517"/>
                  <a:pt x="9511492" y="4733616"/>
                  <a:pt x="9503848" y="4720309"/>
                </a:cubicBezTo>
                <a:cubicBezTo>
                  <a:pt x="9500025" y="4716507"/>
                  <a:pt x="9498114" y="4710804"/>
                  <a:pt x="9498114" y="4705101"/>
                </a:cubicBezTo>
                <a:cubicBezTo>
                  <a:pt x="9498114" y="4697498"/>
                  <a:pt x="9501936" y="4687993"/>
                  <a:pt x="9509581" y="4684191"/>
                </a:cubicBezTo>
                <a:cubicBezTo>
                  <a:pt x="9509581" y="4684191"/>
                  <a:pt x="9509581" y="4684191"/>
                  <a:pt x="9844039" y="4444671"/>
                </a:cubicBezTo>
                <a:cubicBezTo>
                  <a:pt x="9850729" y="4440869"/>
                  <a:pt x="9857896" y="4439443"/>
                  <a:pt x="9864585" y="4440631"/>
                </a:cubicBezTo>
                <a:close/>
                <a:moveTo>
                  <a:pt x="10447906" y="4432309"/>
                </a:moveTo>
                <a:cubicBezTo>
                  <a:pt x="10455055" y="4433740"/>
                  <a:pt x="10461728" y="4438030"/>
                  <a:pt x="10466494" y="4444705"/>
                </a:cubicBezTo>
                <a:cubicBezTo>
                  <a:pt x="10476027" y="4458055"/>
                  <a:pt x="10472214" y="4475218"/>
                  <a:pt x="10458868" y="4484754"/>
                </a:cubicBezTo>
                <a:cubicBezTo>
                  <a:pt x="10458868" y="4484754"/>
                  <a:pt x="10458868" y="4484754"/>
                  <a:pt x="10123316" y="4711694"/>
                </a:cubicBezTo>
                <a:cubicBezTo>
                  <a:pt x="10109970" y="4721230"/>
                  <a:pt x="10092811" y="4717416"/>
                  <a:pt x="10083279" y="4704066"/>
                </a:cubicBezTo>
                <a:cubicBezTo>
                  <a:pt x="10079466" y="4698345"/>
                  <a:pt x="10077559" y="4692624"/>
                  <a:pt x="10077559" y="4686903"/>
                </a:cubicBezTo>
                <a:cubicBezTo>
                  <a:pt x="10077559" y="4679274"/>
                  <a:pt x="10083279" y="4669739"/>
                  <a:pt x="10090905" y="4664018"/>
                </a:cubicBezTo>
                <a:cubicBezTo>
                  <a:pt x="10090905" y="4664018"/>
                  <a:pt x="10090905" y="4664018"/>
                  <a:pt x="10426457" y="4437077"/>
                </a:cubicBezTo>
                <a:cubicBezTo>
                  <a:pt x="10433130" y="4432310"/>
                  <a:pt x="10440756" y="4430879"/>
                  <a:pt x="10447906" y="4432309"/>
                </a:cubicBezTo>
                <a:close/>
                <a:moveTo>
                  <a:pt x="9287428" y="4432309"/>
                </a:moveTo>
                <a:cubicBezTo>
                  <a:pt x="9294577" y="4433740"/>
                  <a:pt x="9301250" y="4438031"/>
                  <a:pt x="9306016" y="4444705"/>
                </a:cubicBezTo>
                <a:cubicBezTo>
                  <a:pt x="9315549" y="4458055"/>
                  <a:pt x="9311736" y="4475218"/>
                  <a:pt x="9298390" y="4484754"/>
                </a:cubicBezTo>
                <a:cubicBezTo>
                  <a:pt x="9298390" y="4484754"/>
                  <a:pt x="9298390" y="4484754"/>
                  <a:pt x="8962838" y="4711694"/>
                </a:cubicBezTo>
                <a:cubicBezTo>
                  <a:pt x="8949492" y="4721230"/>
                  <a:pt x="8932333" y="4717416"/>
                  <a:pt x="8922801" y="4704066"/>
                </a:cubicBezTo>
                <a:cubicBezTo>
                  <a:pt x="8918988" y="4698345"/>
                  <a:pt x="8917081" y="4692624"/>
                  <a:pt x="8917081" y="4686903"/>
                </a:cubicBezTo>
                <a:cubicBezTo>
                  <a:pt x="8917081" y="4679274"/>
                  <a:pt x="8922801" y="4669739"/>
                  <a:pt x="8930427" y="4664018"/>
                </a:cubicBezTo>
                <a:cubicBezTo>
                  <a:pt x="8930427" y="4664018"/>
                  <a:pt x="8930427" y="4664018"/>
                  <a:pt x="9265979" y="4437077"/>
                </a:cubicBezTo>
                <a:cubicBezTo>
                  <a:pt x="9272652" y="4432310"/>
                  <a:pt x="9280278" y="4430879"/>
                  <a:pt x="9287428" y="4432309"/>
                </a:cubicBezTo>
                <a:close/>
                <a:moveTo>
                  <a:pt x="11026206" y="4423012"/>
                </a:moveTo>
                <a:cubicBezTo>
                  <a:pt x="11034058" y="4424677"/>
                  <a:pt x="11041196" y="4429434"/>
                  <a:pt x="11045955" y="4437046"/>
                </a:cubicBezTo>
                <a:cubicBezTo>
                  <a:pt x="11055473" y="4450366"/>
                  <a:pt x="11051666" y="4471298"/>
                  <a:pt x="11036438" y="4478910"/>
                </a:cubicBezTo>
                <a:cubicBezTo>
                  <a:pt x="11036438" y="4478910"/>
                  <a:pt x="11036438" y="4478910"/>
                  <a:pt x="10701418" y="4695840"/>
                </a:cubicBezTo>
                <a:cubicBezTo>
                  <a:pt x="10686190" y="4705355"/>
                  <a:pt x="10667155" y="4699646"/>
                  <a:pt x="10657637" y="4686326"/>
                </a:cubicBezTo>
                <a:cubicBezTo>
                  <a:pt x="10653830" y="4680617"/>
                  <a:pt x="10653830" y="4674908"/>
                  <a:pt x="10653830" y="4669200"/>
                </a:cubicBezTo>
                <a:cubicBezTo>
                  <a:pt x="10653830" y="4657782"/>
                  <a:pt x="10657637" y="4648268"/>
                  <a:pt x="10667155" y="4642559"/>
                </a:cubicBezTo>
                <a:cubicBezTo>
                  <a:pt x="10667155" y="4642559"/>
                  <a:pt x="10667155" y="4642559"/>
                  <a:pt x="11002174" y="4427531"/>
                </a:cubicBezTo>
                <a:cubicBezTo>
                  <a:pt x="11009789" y="4422774"/>
                  <a:pt x="11018354" y="4421347"/>
                  <a:pt x="11026206" y="4423012"/>
                </a:cubicBezTo>
                <a:close/>
                <a:moveTo>
                  <a:pt x="8716363" y="4423012"/>
                </a:moveTo>
                <a:cubicBezTo>
                  <a:pt x="8724215" y="4424677"/>
                  <a:pt x="8731353" y="4429434"/>
                  <a:pt x="8736111" y="4437046"/>
                </a:cubicBezTo>
                <a:cubicBezTo>
                  <a:pt x="8745629" y="4450366"/>
                  <a:pt x="8741822" y="4471298"/>
                  <a:pt x="8726594" y="4478910"/>
                </a:cubicBezTo>
                <a:cubicBezTo>
                  <a:pt x="8726594" y="4478910"/>
                  <a:pt x="8726594" y="4478910"/>
                  <a:pt x="8391574" y="4695840"/>
                </a:cubicBezTo>
                <a:cubicBezTo>
                  <a:pt x="8378249" y="4705355"/>
                  <a:pt x="8357311" y="4699646"/>
                  <a:pt x="8347793" y="4686326"/>
                </a:cubicBezTo>
                <a:cubicBezTo>
                  <a:pt x="8345890" y="4680617"/>
                  <a:pt x="8343986" y="4674908"/>
                  <a:pt x="8343986" y="4669200"/>
                </a:cubicBezTo>
                <a:cubicBezTo>
                  <a:pt x="8343986" y="4657782"/>
                  <a:pt x="8347793" y="4648268"/>
                  <a:pt x="8357311" y="4642559"/>
                </a:cubicBezTo>
                <a:cubicBezTo>
                  <a:pt x="8357311" y="4642559"/>
                  <a:pt x="8357311" y="4642559"/>
                  <a:pt x="8692330" y="4427531"/>
                </a:cubicBezTo>
                <a:cubicBezTo>
                  <a:pt x="8699944" y="4422774"/>
                  <a:pt x="8708511" y="4421347"/>
                  <a:pt x="8716363" y="4423012"/>
                </a:cubicBezTo>
                <a:close/>
                <a:moveTo>
                  <a:pt x="11596714" y="4414431"/>
                </a:moveTo>
                <a:cubicBezTo>
                  <a:pt x="11605055" y="4416570"/>
                  <a:pt x="11612681" y="4421797"/>
                  <a:pt x="11617447" y="4429399"/>
                </a:cubicBezTo>
                <a:cubicBezTo>
                  <a:pt x="11626980" y="4444605"/>
                  <a:pt x="11623167" y="4465512"/>
                  <a:pt x="11606008" y="4475016"/>
                </a:cubicBezTo>
                <a:cubicBezTo>
                  <a:pt x="11606008" y="4475016"/>
                  <a:pt x="11606008" y="4475016"/>
                  <a:pt x="11270463" y="4678388"/>
                </a:cubicBezTo>
                <a:cubicBezTo>
                  <a:pt x="11255211" y="4687892"/>
                  <a:pt x="11234239" y="4684090"/>
                  <a:pt x="11224707" y="4666984"/>
                </a:cubicBezTo>
                <a:cubicBezTo>
                  <a:pt x="11220894" y="4663183"/>
                  <a:pt x="11218987" y="4655580"/>
                  <a:pt x="11218987" y="4649878"/>
                </a:cubicBezTo>
                <a:cubicBezTo>
                  <a:pt x="11218987" y="4638474"/>
                  <a:pt x="11224707" y="4628971"/>
                  <a:pt x="11236146" y="4621368"/>
                </a:cubicBezTo>
                <a:cubicBezTo>
                  <a:pt x="11236146" y="4621368"/>
                  <a:pt x="11236146" y="4621368"/>
                  <a:pt x="11571691" y="4417995"/>
                </a:cubicBezTo>
                <a:cubicBezTo>
                  <a:pt x="11579317" y="4413244"/>
                  <a:pt x="11588373" y="4412293"/>
                  <a:pt x="11596714" y="4414431"/>
                </a:cubicBezTo>
                <a:close/>
                <a:moveTo>
                  <a:pt x="8153380" y="4414431"/>
                </a:moveTo>
                <a:cubicBezTo>
                  <a:pt x="8161721" y="4416570"/>
                  <a:pt x="8169347" y="4421797"/>
                  <a:pt x="8174113" y="4429399"/>
                </a:cubicBezTo>
                <a:cubicBezTo>
                  <a:pt x="8183646" y="4444605"/>
                  <a:pt x="8177926" y="4465512"/>
                  <a:pt x="8162674" y="4475016"/>
                </a:cubicBezTo>
                <a:cubicBezTo>
                  <a:pt x="8162674" y="4475016"/>
                  <a:pt x="8162674" y="4475016"/>
                  <a:pt x="7825222" y="4678388"/>
                </a:cubicBezTo>
                <a:cubicBezTo>
                  <a:pt x="7809970" y="4687892"/>
                  <a:pt x="7788998" y="4684090"/>
                  <a:pt x="7779466" y="4666984"/>
                </a:cubicBezTo>
                <a:cubicBezTo>
                  <a:pt x="7777559" y="4663183"/>
                  <a:pt x="7775653" y="4655580"/>
                  <a:pt x="7775653" y="4649878"/>
                </a:cubicBezTo>
                <a:cubicBezTo>
                  <a:pt x="7775653" y="4638474"/>
                  <a:pt x="7781372" y="4628971"/>
                  <a:pt x="7790905" y="4621368"/>
                </a:cubicBezTo>
                <a:cubicBezTo>
                  <a:pt x="7790905" y="4621368"/>
                  <a:pt x="7790905" y="4621368"/>
                  <a:pt x="8128357" y="4417995"/>
                </a:cubicBezTo>
                <a:cubicBezTo>
                  <a:pt x="8135983" y="4413244"/>
                  <a:pt x="8145039" y="4412293"/>
                  <a:pt x="8153380" y="4414431"/>
                </a:cubicBezTo>
                <a:close/>
                <a:moveTo>
                  <a:pt x="12139750" y="4406904"/>
                </a:moveTo>
                <a:cubicBezTo>
                  <a:pt x="12139750" y="4406904"/>
                  <a:pt x="12139750" y="4406904"/>
                  <a:pt x="12139750" y="4488819"/>
                </a:cubicBezTo>
                <a:cubicBezTo>
                  <a:pt x="12139750" y="4488819"/>
                  <a:pt x="12139750" y="4488819"/>
                  <a:pt x="11834405" y="4664079"/>
                </a:cubicBezTo>
                <a:cubicBezTo>
                  <a:pt x="11817230" y="4673604"/>
                  <a:pt x="11794329" y="4667889"/>
                  <a:pt x="11784787" y="4650744"/>
                </a:cubicBezTo>
                <a:cubicBezTo>
                  <a:pt x="11780970" y="4645029"/>
                  <a:pt x="11780970" y="4639314"/>
                  <a:pt x="11780970" y="4633599"/>
                </a:cubicBezTo>
                <a:cubicBezTo>
                  <a:pt x="11780970" y="4620264"/>
                  <a:pt x="11786695" y="4608834"/>
                  <a:pt x="11798146" y="4601214"/>
                </a:cubicBezTo>
                <a:lnTo>
                  <a:pt x="12135933" y="4408809"/>
                </a:lnTo>
                <a:cubicBezTo>
                  <a:pt x="12137842" y="4408809"/>
                  <a:pt x="12137842" y="4408809"/>
                  <a:pt x="12139750" y="4406904"/>
                </a:cubicBezTo>
                <a:close/>
                <a:moveTo>
                  <a:pt x="7595041" y="4405165"/>
                </a:moveTo>
                <a:cubicBezTo>
                  <a:pt x="7604076" y="4407549"/>
                  <a:pt x="7612160" y="4413271"/>
                  <a:pt x="7616915" y="4421853"/>
                </a:cubicBezTo>
                <a:cubicBezTo>
                  <a:pt x="7626426" y="4439018"/>
                  <a:pt x="7620719" y="4461905"/>
                  <a:pt x="7603601" y="4471441"/>
                </a:cubicBezTo>
                <a:cubicBezTo>
                  <a:pt x="7603601" y="4471441"/>
                  <a:pt x="7603601" y="4471441"/>
                  <a:pt x="7266929" y="4664069"/>
                </a:cubicBezTo>
                <a:cubicBezTo>
                  <a:pt x="7249810" y="4673605"/>
                  <a:pt x="7228887" y="4667883"/>
                  <a:pt x="7219376" y="4650718"/>
                </a:cubicBezTo>
                <a:cubicBezTo>
                  <a:pt x="7215572" y="4644997"/>
                  <a:pt x="7213670" y="4639275"/>
                  <a:pt x="7213670" y="4633553"/>
                </a:cubicBezTo>
                <a:cubicBezTo>
                  <a:pt x="7213670" y="4620203"/>
                  <a:pt x="7219376" y="4608760"/>
                  <a:pt x="7230789" y="4601131"/>
                </a:cubicBezTo>
                <a:cubicBezTo>
                  <a:pt x="7230789" y="4601131"/>
                  <a:pt x="7230789" y="4601131"/>
                  <a:pt x="7567461" y="4408503"/>
                </a:cubicBezTo>
                <a:cubicBezTo>
                  <a:pt x="7576020" y="4403735"/>
                  <a:pt x="7586006" y="4402781"/>
                  <a:pt x="7595041" y="4405165"/>
                </a:cubicBezTo>
                <a:close/>
                <a:moveTo>
                  <a:pt x="7045448" y="4396577"/>
                </a:moveTo>
                <a:cubicBezTo>
                  <a:pt x="7054742" y="4399431"/>
                  <a:pt x="7062844" y="4405615"/>
                  <a:pt x="7067610" y="4414178"/>
                </a:cubicBezTo>
                <a:cubicBezTo>
                  <a:pt x="7077143" y="4433205"/>
                  <a:pt x="7071423" y="4456038"/>
                  <a:pt x="7052359" y="4465552"/>
                </a:cubicBezTo>
                <a:cubicBezTo>
                  <a:pt x="7052359" y="4465552"/>
                  <a:pt x="7052359" y="4465552"/>
                  <a:pt x="6714913" y="4646313"/>
                </a:cubicBezTo>
                <a:cubicBezTo>
                  <a:pt x="6695848" y="4657730"/>
                  <a:pt x="6672970" y="4650119"/>
                  <a:pt x="6663438" y="4631091"/>
                </a:cubicBezTo>
                <a:cubicBezTo>
                  <a:pt x="6661531" y="4625383"/>
                  <a:pt x="6659625" y="4619675"/>
                  <a:pt x="6659625" y="4613966"/>
                </a:cubicBezTo>
                <a:cubicBezTo>
                  <a:pt x="6659625" y="4600647"/>
                  <a:pt x="6667251" y="4587328"/>
                  <a:pt x="6678689" y="4581620"/>
                </a:cubicBezTo>
                <a:cubicBezTo>
                  <a:pt x="6678689" y="4581620"/>
                  <a:pt x="6678689" y="4581620"/>
                  <a:pt x="7016136" y="4398956"/>
                </a:cubicBezTo>
                <a:cubicBezTo>
                  <a:pt x="7025668" y="4394199"/>
                  <a:pt x="7036154" y="4393723"/>
                  <a:pt x="7045448" y="4396577"/>
                </a:cubicBezTo>
                <a:close/>
                <a:moveTo>
                  <a:pt x="6484860" y="4386509"/>
                </a:moveTo>
                <a:cubicBezTo>
                  <a:pt x="6500286" y="4385262"/>
                  <a:pt x="6515979" y="4394170"/>
                  <a:pt x="6523112" y="4408422"/>
                </a:cubicBezTo>
                <a:cubicBezTo>
                  <a:pt x="6532623" y="4427426"/>
                  <a:pt x="6525014" y="4452131"/>
                  <a:pt x="6505992" y="4461632"/>
                </a:cubicBezTo>
                <a:cubicBezTo>
                  <a:pt x="6505992" y="4461632"/>
                  <a:pt x="6505992" y="4461632"/>
                  <a:pt x="6167407" y="4630765"/>
                </a:cubicBezTo>
                <a:cubicBezTo>
                  <a:pt x="6148385" y="4640267"/>
                  <a:pt x="6123657" y="4632665"/>
                  <a:pt x="6114146" y="4613662"/>
                </a:cubicBezTo>
                <a:cubicBezTo>
                  <a:pt x="6112244" y="4607961"/>
                  <a:pt x="6110342" y="4600359"/>
                  <a:pt x="6110342" y="4594658"/>
                </a:cubicBezTo>
                <a:cubicBezTo>
                  <a:pt x="6110342" y="4581355"/>
                  <a:pt x="6117950" y="4566153"/>
                  <a:pt x="6131266" y="4560451"/>
                </a:cubicBezTo>
                <a:cubicBezTo>
                  <a:pt x="6131266" y="4560451"/>
                  <a:pt x="6131266" y="4560451"/>
                  <a:pt x="6469851" y="4391319"/>
                </a:cubicBezTo>
                <a:cubicBezTo>
                  <a:pt x="6474607" y="4388468"/>
                  <a:pt x="6479719" y="4386924"/>
                  <a:pt x="6484860" y="4386509"/>
                </a:cubicBezTo>
                <a:close/>
                <a:moveTo>
                  <a:pt x="5956832" y="4379618"/>
                </a:moveTo>
                <a:cubicBezTo>
                  <a:pt x="5966832" y="4382960"/>
                  <a:pt x="5975405" y="4390122"/>
                  <a:pt x="5980168" y="4400625"/>
                </a:cubicBezTo>
                <a:cubicBezTo>
                  <a:pt x="5989693" y="4421633"/>
                  <a:pt x="5982072" y="4446460"/>
                  <a:pt x="5961118" y="4456009"/>
                </a:cubicBezTo>
                <a:cubicBezTo>
                  <a:pt x="5961118" y="4456009"/>
                  <a:pt x="5961118" y="4456009"/>
                  <a:pt x="5622031" y="4616430"/>
                </a:cubicBezTo>
                <a:cubicBezTo>
                  <a:pt x="5601076" y="4625979"/>
                  <a:pt x="5576311" y="4616430"/>
                  <a:pt x="5564881" y="4595422"/>
                </a:cubicBezTo>
                <a:cubicBezTo>
                  <a:pt x="5562976" y="4589693"/>
                  <a:pt x="5561071" y="4583964"/>
                  <a:pt x="5561071" y="4578234"/>
                </a:cubicBezTo>
                <a:cubicBezTo>
                  <a:pt x="5561071" y="4561046"/>
                  <a:pt x="5570596" y="4547678"/>
                  <a:pt x="5585836" y="4540039"/>
                </a:cubicBezTo>
                <a:cubicBezTo>
                  <a:pt x="5585836" y="4540039"/>
                  <a:pt x="5585836" y="4540039"/>
                  <a:pt x="5924923" y="4381528"/>
                </a:cubicBezTo>
                <a:cubicBezTo>
                  <a:pt x="5935400" y="4376753"/>
                  <a:pt x="5946830" y="4376276"/>
                  <a:pt x="5956832" y="4379618"/>
                </a:cubicBezTo>
                <a:close/>
                <a:moveTo>
                  <a:pt x="398944" y="4379618"/>
                </a:moveTo>
                <a:cubicBezTo>
                  <a:pt x="408946" y="4382960"/>
                  <a:pt x="417518" y="4390121"/>
                  <a:pt x="422281" y="4400625"/>
                </a:cubicBezTo>
                <a:cubicBezTo>
                  <a:pt x="431806" y="4421633"/>
                  <a:pt x="422281" y="4446460"/>
                  <a:pt x="401326" y="4456009"/>
                </a:cubicBezTo>
                <a:cubicBezTo>
                  <a:pt x="401326" y="4456009"/>
                  <a:pt x="401326" y="4456009"/>
                  <a:pt x="62231" y="4616430"/>
                </a:cubicBezTo>
                <a:cubicBezTo>
                  <a:pt x="41276" y="4625979"/>
                  <a:pt x="16511" y="4616430"/>
                  <a:pt x="6986" y="4595422"/>
                </a:cubicBezTo>
                <a:cubicBezTo>
                  <a:pt x="5081" y="4589693"/>
                  <a:pt x="3176" y="4583964"/>
                  <a:pt x="3176" y="4578234"/>
                </a:cubicBezTo>
                <a:cubicBezTo>
                  <a:pt x="3176" y="4561046"/>
                  <a:pt x="12701" y="4547678"/>
                  <a:pt x="27941" y="4540039"/>
                </a:cubicBezTo>
                <a:cubicBezTo>
                  <a:pt x="27941" y="4540039"/>
                  <a:pt x="27941" y="4540039"/>
                  <a:pt x="367035" y="4381528"/>
                </a:cubicBezTo>
                <a:cubicBezTo>
                  <a:pt x="377513" y="4376753"/>
                  <a:pt x="388943" y="4376276"/>
                  <a:pt x="398944" y="4379618"/>
                </a:cubicBezTo>
                <a:close/>
                <a:moveTo>
                  <a:pt x="5410426" y="4371276"/>
                </a:moveTo>
                <a:cubicBezTo>
                  <a:pt x="5420687" y="4375329"/>
                  <a:pt x="5429278" y="4383436"/>
                  <a:pt x="5434051" y="4394881"/>
                </a:cubicBezTo>
                <a:cubicBezTo>
                  <a:pt x="5443597" y="4415863"/>
                  <a:pt x="5434051" y="4442567"/>
                  <a:pt x="5411141" y="4452105"/>
                </a:cubicBezTo>
                <a:cubicBezTo>
                  <a:pt x="5411141" y="4452105"/>
                  <a:pt x="5411141" y="4452105"/>
                  <a:pt x="5071298" y="4598979"/>
                </a:cubicBezTo>
                <a:cubicBezTo>
                  <a:pt x="5048391" y="4608517"/>
                  <a:pt x="5023573" y="4598979"/>
                  <a:pt x="5014028" y="4576090"/>
                </a:cubicBezTo>
                <a:cubicBezTo>
                  <a:pt x="5010210" y="4570367"/>
                  <a:pt x="5010210" y="4564645"/>
                  <a:pt x="5010210" y="4558923"/>
                </a:cubicBezTo>
                <a:cubicBezTo>
                  <a:pt x="5010210" y="4541755"/>
                  <a:pt x="5019755" y="4526496"/>
                  <a:pt x="5036936" y="4518866"/>
                </a:cubicBezTo>
                <a:cubicBezTo>
                  <a:pt x="5036936" y="4518866"/>
                  <a:pt x="5036936" y="4518866"/>
                  <a:pt x="5376776" y="4371991"/>
                </a:cubicBezTo>
                <a:cubicBezTo>
                  <a:pt x="5388232" y="4367223"/>
                  <a:pt x="5400163" y="4367223"/>
                  <a:pt x="5410426" y="4371276"/>
                </a:cubicBezTo>
                <a:close/>
                <a:moveTo>
                  <a:pt x="943805" y="4371276"/>
                </a:moveTo>
                <a:cubicBezTo>
                  <a:pt x="954537" y="4375329"/>
                  <a:pt x="963599" y="4383436"/>
                  <a:pt x="968368" y="4394881"/>
                </a:cubicBezTo>
                <a:cubicBezTo>
                  <a:pt x="977908" y="4415863"/>
                  <a:pt x="966461" y="4442567"/>
                  <a:pt x="945475" y="4452105"/>
                </a:cubicBezTo>
                <a:cubicBezTo>
                  <a:pt x="945475" y="4452105"/>
                  <a:pt x="945475" y="4452105"/>
                  <a:pt x="603977" y="4598979"/>
                </a:cubicBezTo>
                <a:cubicBezTo>
                  <a:pt x="581083" y="4608517"/>
                  <a:pt x="556282" y="4598979"/>
                  <a:pt x="546743" y="4576090"/>
                </a:cubicBezTo>
                <a:cubicBezTo>
                  <a:pt x="544835" y="4570367"/>
                  <a:pt x="542927" y="4564645"/>
                  <a:pt x="542927" y="4558923"/>
                </a:cubicBezTo>
                <a:cubicBezTo>
                  <a:pt x="542927" y="4541755"/>
                  <a:pt x="552466" y="4526496"/>
                  <a:pt x="569637" y="4518866"/>
                </a:cubicBezTo>
                <a:cubicBezTo>
                  <a:pt x="569637" y="4518866"/>
                  <a:pt x="569637" y="4518866"/>
                  <a:pt x="909226" y="4371991"/>
                </a:cubicBezTo>
                <a:cubicBezTo>
                  <a:pt x="920673" y="4367223"/>
                  <a:pt x="933074" y="4367223"/>
                  <a:pt x="943805" y="4371276"/>
                </a:cubicBezTo>
                <a:close/>
                <a:moveTo>
                  <a:pt x="4841668" y="4359082"/>
                </a:moveTo>
                <a:cubicBezTo>
                  <a:pt x="4859263" y="4359350"/>
                  <a:pt x="4876052" y="4370051"/>
                  <a:pt x="4883197" y="4387173"/>
                </a:cubicBezTo>
                <a:cubicBezTo>
                  <a:pt x="4892725" y="4411906"/>
                  <a:pt x="4881293" y="4438541"/>
                  <a:pt x="4856523" y="4448053"/>
                </a:cubicBezTo>
                <a:cubicBezTo>
                  <a:pt x="4856523" y="4448053"/>
                  <a:pt x="4856523" y="4448053"/>
                  <a:pt x="4517432" y="4583129"/>
                </a:cubicBezTo>
                <a:cubicBezTo>
                  <a:pt x="4492669" y="4592642"/>
                  <a:pt x="4465998" y="4581227"/>
                  <a:pt x="4456473" y="4556495"/>
                </a:cubicBezTo>
                <a:cubicBezTo>
                  <a:pt x="4454569" y="4550787"/>
                  <a:pt x="4454569" y="4545080"/>
                  <a:pt x="4454569" y="4539372"/>
                </a:cubicBezTo>
                <a:cubicBezTo>
                  <a:pt x="4454569" y="4522250"/>
                  <a:pt x="4464094" y="4505127"/>
                  <a:pt x="4483145" y="4497518"/>
                </a:cubicBezTo>
                <a:cubicBezTo>
                  <a:pt x="4483145" y="4497518"/>
                  <a:pt x="4483145" y="4497518"/>
                  <a:pt x="4824134" y="4362441"/>
                </a:cubicBezTo>
                <a:cubicBezTo>
                  <a:pt x="4829847" y="4360063"/>
                  <a:pt x="4835801" y="4358993"/>
                  <a:pt x="4841668" y="4359082"/>
                </a:cubicBezTo>
                <a:close/>
                <a:moveTo>
                  <a:pt x="1477208" y="4359082"/>
                </a:moveTo>
                <a:cubicBezTo>
                  <a:pt x="1495514" y="4359350"/>
                  <a:pt x="1511945" y="4370051"/>
                  <a:pt x="1517660" y="4387173"/>
                </a:cubicBezTo>
                <a:cubicBezTo>
                  <a:pt x="1527185" y="4411906"/>
                  <a:pt x="1515755" y="4438541"/>
                  <a:pt x="1492894" y="4448053"/>
                </a:cubicBezTo>
                <a:cubicBezTo>
                  <a:pt x="1492894" y="4448053"/>
                  <a:pt x="1492894" y="4448053"/>
                  <a:pt x="1151895" y="4583129"/>
                </a:cubicBezTo>
                <a:cubicBezTo>
                  <a:pt x="1129035" y="4592642"/>
                  <a:pt x="1102365" y="4581227"/>
                  <a:pt x="1092840" y="4556495"/>
                </a:cubicBezTo>
                <a:cubicBezTo>
                  <a:pt x="1090935" y="4550787"/>
                  <a:pt x="1089029" y="4545080"/>
                  <a:pt x="1089029" y="4539372"/>
                </a:cubicBezTo>
                <a:cubicBezTo>
                  <a:pt x="1089029" y="4522250"/>
                  <a:pt x="1100460" y="4505127"/>
                  <a:pt x="1117605" y="4497518"/>
                </a:cubicBezTo>
                <a:cubicBezTo>
                  <a:pt x="1117605" y="4497518"/>
                  <a:pt x="1117605" y="4497518"/>
                  <a:pt x="1458604" y="4362441"/>
                </a:cubicBezTo>
                <a:cubicBezTo>
                  <a:pt x="1464795" y="4360063"/>
                  <a:pt x="1471106" y="4358993"/>
                  <a:pt x="1477208" y="4359082"/>
                </a:cubicBezTo>
                <a:close/>
                <a:moveTo>
                  <a:pt x="4284028" y="4349919"/>
                </a:moveTo>
                <a:cubicBezTo>
                  <a:pt x="4302829" y="4350816"/>
                  <a:pt x="4320295" y="4363010"/>
                  <a:pt x="4325998" y="4381660"/>
                </a:cubicBezTo>
                <a:cubicBezTo>
                  <a:pt x="4335502" y="4406527"/>
                  <a:pt x="4322195" y="4435219"/>
                  <a:pt x="4297483" y="4442870"/>
                </a:cubicBezTo>
                <a:cubicBezTo>
                  <a:pt x="4297483" y="4442870"/>
                  <a:pt x="4297483" y="4442870"/>
                  <a:pt x="3957235" y="4569116"/>
                </a:cubicBezTo>
                <a:cubicBezTo>
                  <a:pt x="3932521" y="4576767"/>
                  <a:pt x="3904007" y="4565290"/>
                  <a:pt x="3896403" y="4538511"/>
                </a:cubicBezTo>
                <a:cubicBezTo>
                  <a:pt x="3894503" y="4534685"/>
                  <a:pt x="3892602" y="4528946"/>
                  <a:pt x="3892602" y="4523208"/>
                </a:cubicBezTo>
                <a:cubicBezTo>
                  <a:pt x="3892602" y="4502167"/>
                  <a:pt x="3904007" y="4484952"/>
                  <a:pt x="3924919" y="4477301"/>
                </a:cubicBezTo>
                <a:cubicBezTo>
                  <a:pt x="3924919" y="4477301"/>
                  <a:pt x="3924919" y="4477301"/>
                  <a:pt x="4265165" y="4352968"/>
                </a:cubicBezTo>
                <a:cubicBezTo>
                  <a:pt x="4271343" y="4350577"/>
                  <a:pt x="4277760" y="4349620"/>
                  <a:pt x="4284028" y="4349919"/>
                </a:cubicBezTo>
                <a:close/>
                <a:moveTo>
                  <a:pt x="2029783" y="4349919"/>
                </a:moveTo>
                <a:cubicBezTo>
                  <a:pt x="2048677" y="4350816"/>
                  <a:pt x="2066500" y="4363010"/>
                  <a:pt x="2073628" y="4381660"/>
                </a:cubicBezTo>
                <a:cubicBezTo>
                  <a:pt x="2081232" y="4406527"/>
                  <a:pt x="2069826" y="4435219"/>
                  <a:pt x="2045109" y="4442870"/>
                </a:cubicBezTo>
                <a:cubicBezTo>
                  <a:pt x="2045109" y="4442870"/>
                  <a:pt x="2045109" y="4442870"/>
                  <a:pt x="1702940" y="4569116"/>
                </a:cubicBezTo>
                <a:cubicBezTo>
                  <a:pt x="1678228" y="4576767"/>
                  <a:pt x="1651615" y="4565290"/>
                  <a:pt x="1642110" y="4538511"/>
                </a:cubicBezTo>
                <a:cubicBezTo>
                  <a:pt x="1640209" y="4534685"/>
                  <a:pt x="1638308" y="4528946"/>
                  <a:pt x="1638308" y="4523208"/>
                </a:cubicBezTo>
                <a:cubicBezTo>
                  <a:pt x="1638308" y="4502167"/>
                  <a:pt x="1651615" y="4484952"/>
                  <a:pt x="1670624" y="4477301"/>
                </a:cubicBezTo>
                <a:cubicBezTo>
                  <a:pt x="1670624" y="4477301"/>
                  <a:pt x="1670624" y="4477301"/>
                  <a:pt x="2010892" y="4352968"/>
                </a:cubicBezTo>
                <a:cubicBezTo>
                  <a:pt x="2017070" y="4350577"/>
                  <a:pt x="2023486" y="4349620"/>
                  <a:pt x="2029783" y="4349919"/>
                </a:cubicBezTo>
                <a:close/>
                <a:moveTo>
                  <a:pt x="3722769" y="4341198"/>
                </a:moveTo>
                <a:cubicBezTo>
                  <a:pt x="3742402" y="4342989"/>
                  <a:pt x="3759894" y="4355526"/>
                  <a:pt x="3765605" y="4375585"/>
                </a:cubicBezTo>
                <a:cubicBezTo>
                  <a:pt x="3775123" y="4402330"/>
                  <a:pt x="3759894" y="4430986"/>
                  <a:pt x="3733239" y="4438627"/>
                </a:cubicBezTo>
                <a:cubicBezTo>
                  <a:pt x="3733239" y="4438627"/>
                  <a:pt x="3733239" y="4438627"/>
                  <a:pt x="3392495" y="4551340"/>
                </a:cubicBezTo>
                <a:cubicBezTo>
                  <a:pt x="3365843" y="4560892"/>
                  <a:pt x="3337287" y="4545609"/>
                  <a:pt x="3329672" y="4518863"/>
                </a:cubicBezTo>
                <a:cubicBezTo>
                  <a:pt x="3327768" y="4515043"/>
                  <a:pt x="3325867" y="4509311"/>
                  <a:pt x="3325867" y="4503580"/>
                </a:cubicBezTo>
                <a:cubicBezTo>
                  <a:pt x="3325867" y="4482566"/>
                  <a:pt x="3339190" y="4463462"/>
                  <a:pt x="3360130" y="4455821"/>
                </a:cubicBezTo>
                <a:cubicBezTo>
                  <a:pt x="3360130" y="4455821"/>
                  <a:pt x="3360130" y="4455821"/>
                  <a:pt x="3702778" y="4343108"/>
                </a:cubicBezTo>
                <a:cubicBezTo>
                  <a:pt x="3709442" y="4341198"/>
                  <a:pt x="3716224" y="4340601"/>
                  <a:pt x="3722769" y="4341198"/>
                </a:cubicBezTo>
                <a:close/>
                <a:moveTo>
                  <a:pt x="2589270" y="4341198"/>
                </a:moveTo>
                <a:cubicBezTo>
                  <a:pt x="2608904" y="4342989"/>
                  <a:pt x="2626391" y="4355526"/>
                  <a:pt x="2632102" y="4375585"/>
                </a:cubicBezTo>
                <a:cubicBezTo>
                  <a:pt x="2641621" y="4402330"/>
                  <a:pt x="2626391" y="4430986"/>
                  <a:pt x="2599740" y="4438627"/>
                </a:cubicBezTo>
                <a:cubicBezTo>
                  <a:pt x="2599740" y="4438627"/>
                  <a:pt x="2599740" y="4438627"/>
                  <a:pt x="2258982" y="4551340"/>
                </a:cubicBezTo>
                <a:cubicBezTo>
                  <a:pt x="2232330" y="4560892"/>
                  <a:pt x="2203775" y="4545609"/>
                  <a:pt x="2196160" y="4518863"/>
                </a:cubicBezTo>
                <a:cubicBezTo>
                  <a:pt x="2194256" y="4515043"/>
                  <a:pt x="2192353" y="4509311"/>
                  <a:pt x="2192353" y="4503580"/>
                </a:cubicBezTo>
                <a:cubicBezTo>
                  <a:pt x="2192353" y="4482566"/>
                  <a:pt x="2205678" y="4463462"/>
                  <a:pt x="2226618" y="4455821"/>
                </a:cubicBezTo>
                <a:cubicBezTo>
                  <a:pt x="2226618" y="4455821"/>
                  <a:pt x="2226618" y="4455821"/>
                  <a:pt x="2569281" y="4343108"/>
                </a:cubicBezTo>
                <a:cubicBezTo>
                  <a:pt x="2575943" y="4341198"/>
                  <a:pt x="2582725" y="4340601"/>
                  <a:pt x="2589270" y="4341198"/>
                </a:cubicBezTo>
                <a:close/>
                <a:moveTo>
                  <a:pt x="3152166" y="4331993"/>
                </a:moveTo>
                <a:cubicBezTo>
                  <a:pt x="3172560" y="4334408"/>
                  <a:pt x="3190013" y="4348358"/>
                  <a:pt x="3195711" y="4369821"/>
                </a:cubicBezTo>
                <a:cubicBezTo>
                  <a:pt x="3205210" y="4396530"/>
                  <a:pt x="3188112" y="4427055"/>
                  <a:pt x="3161515" y="4434686"/>
                </a:cubicBezTo>
                <a:cubicBezTo>
                  <a:pt x="3161515" y="4434686"/>
                  <a:pt x="3161515" y="4434686"/>
                  <a:pt x="2819567" y="4535799"/>
                </a:cubicBezTo>
                <a:cubicBezTo>
                  <a:pt x="2791072" y="4543430"/>
                  <a:pt x="2762578" y="4528167"/>
                  <a:pt x="2753076" y="4499551"/>
                </a:cubicBezTo>
                <a:cubicBezTo>
                  <a:pt x="2753076" y="4495735"/>
                  <a:pt x="2751179" y="4490012"/>
                  <a:pt x="2751179" y="4486196"/>
                </a:cubicBezTo>
                <a:cubicBezTo>
                  <a:pt x="2751179" y="4463303"/>
                  <a:pt x="2766374" y="4442317"/>
                  <a:pt x="2789171" y="4434686"/>
                </a:cubicBezTo>
                <a:cubicBezTo>
                  <a:pt x="2789171" y="4434686"/>
                  <a:pt x="2789171" y="4434686"/>
                  <a:pt x="3131122" y="4333573"/>
                </a:cubicBezTo>
                <a:cubicBezTo>
                  <a:pt x="3138245" y="4331665"/>
                  <a:pt x="3145368" y="4331188"/>
                  <a:pt x="3152166" y="4331993"/>
                </a:cubicBezTo>
                <a:close/>
                <a:moveTo>
                  <a:pt x="9861856" y="4113368"/>
                </a:moveTo>
                <a:cubicBezTo>
                  <a:pt x="9868037" y="4114318"/>
                  <a:pt x="9873743" y="4117645"/>
                  <a:pt x="9877547" y="4123348"/>
                </a:cubicBezTo>
                <a:cubicBezTo>
                  <a:pt x="9887056" y="4132854"/>
                  <a:pt x="9885154" y="4149964"/>
                  <a:pt x="9873743" y="4157568"/>
                </a:cubicBezTo>
                <a:cubicBezTo>
                  <a:pt x="9873743" y="4157568"/>
                  <a:pt x="9873743" y="4157568"/>
                  <a:pt x="9540914" y="4410411"/>
                </a:cubicBezTo>
                <a:cubicBezTo>
                  <a:pt x="9531404" y="4418016"/>
                  <a:pt x="9516189" y="4416115"/>
                  <a:pt x="9506680" y="4404708"/>
                </a:cubicBezTo>
                <a:cubicBezTo>
                  <a:pt x="9502876" y="4400906"/>
                  <a:pt x="9502876" y="4395203"/>
                  <a:pt x="9502876" y="4391401"/>
                </a:cubicBezTo>
                <a:cubicBezTo>
                  <a:pt x="9502876" y="4383796"/>
                  <a:pt x="9504778" y="4376192"/>
                  <a:pt x="9512385" y="4370489"/>
                </a:cubicBezTo>
                <a:cubicBezTo>
                  <a:pt x="9512385" y="4370489"/>
                  <a:pt x="9512385" y="4370489"/>
                  <a:pt x="9843313" y="4117645"/>
                </a:cubicBezTo>
                <a:cubicBezTo>
                  <a:pt x="9849019" y="4113843"/>
                  <a:pt x="9855675" y="4112417"/>
                  <a:pt x="9861856" y="4113368"/>
                </a:cubicBezTo>
                <a:close/>
                <a:moveTo>
                  <a:pt x="10446896" y="4105427"/>
                </a:moveTo>
                <a:cubicBezTo>
                  <a:pt x="10453802" y="4106377"/>
                  <a:pt x="10460470" y="4109700"/>
                  <a:pt x="10465232" y="4115397"/>
                </a:cubicBezTo>
                <a:cubicBezTo>
                  <a:pt x="10472852" y="4128690"/>
                  <a:pt x="10470947" y="4145780"/>
                  <a:pt x="10459517" y="4153376"/>
                </a:cubicBezTo>
                <a:cubicBezTo>
                  <a:pt x="10459517" y="4153376"/>
                  <a:pt x="10459517" y="4153376"/>
                  <a:pt x="10124233" y="4392647"/>
                </a:cubicBezTo>
                <a:cubicBezTo>
                  <a:pt x="10112802" y="4402142"/>
                  <a:pt x="10095657" y="4398344"/>
                  <a:pt x="10088037" y="4386950"/>
                </a:cubicBezTo>
                <a:cubicBezTo>
                  <a:pt x="10084227" y="4381253"/>
                  <a:pt x="10082322" y="4375556"/>
                  <a:pt x="10082322" y="4369859"/>
                </a:cubicBezTo>
                <a:cubicBezTo>
                  <a:pt x="10082322" y="4362263"/>
                  <a:pt x="10086132" y="4354667"/>
                  <a:pt x="10093752" y="4348970"/>
                </a:cubicBezTo>
                <a:cubicBezTo>
                  <a:pt x="10093752" y="4348970"/>
                  <a:pt x="10093752" y="4348970"/>
                  <a:pt x="10427131" y="4109700"/>
                </a:cubicBezTo>
                <a:cubicBezTo>
                  <a:pt x="10432846" y="4105902"/>
                  <a:pt x="10439990" y="4104478"/>
                  <a:pt x="10446896" y="4105427"/>
                </a:cubicBezTo>
                <a:close/>
                <a:moveTo>
                  <a:pt x="9286179" y="4105427"/>
                </a:moveTo>
                <a:cubicBezTo>
                  <a:pt x="9292847" y="4106377"/>
                  <a:pt x="9299038" y="4109700"/>
                  <a:pt x="9302848" y="4115397"/>
                </a:cubicBezTo>
                <a:cubicBezTo>
                  <a:pt x="9312373" y="4128690"/>
                  <a:pt x="9310468" y="4145780"/>
                  <a:pt x="9297133" y="4153376"/>
                </a:cubicBezTo>
                <a:cubicBezTo>
                  <a:pt x="9297133" y="4153376"/>
                  <a:pt x="9297133" y="4153376"/>
                  <a:pt x="8963754" y="4392647"/>
                </a:cubicBezTo>
                <a:cubicBezTo>
                  <a:pt x="8952323" y="4402142"/>
                  <a:pt x="8935178" y="4398344"/>
                  <a:pt x="8925653" y="4386950"/>
                </a:cubicBezTo>
                <a:cubicBezTo>
                  <a:pt x="8921843" y="4381253"/>
                  <a:pt x="8921843" y="4375556"/>
                  <a:pt x="8921843" y="4369859"/>
                </a:cubicBezTo>
                <a:cubicBezTo>
                  <a:pt x="8921843" y="4362263"/>
                  <a:pt x="8925653" y="4354667"/>
                  <a:pt x="8931368" y="4348970"/>
                </a:cubicBezTo>
                <a:cubicBezTo>
                  <a:pt x="8931368" y="4348970"/>
                  <a:pt x="8931368" y="4348970"/>
                  <a:pt x="9266652" y="4109700"/>
                </a:cubicBezTo>
                <a:cubicBezTo>
                  <a:pt x="9272368" y="4105902"/>
                  <a:pt x="9279512" y="4104478"/>
                  <a:pt x="9286179" y="4105427"/>
                </a:cubicBezTo>
                <a:close/>
                <a:moveTo>
                  <a:pt x="11024810" y="4097347"/>
                </a:moveTo>
                <a:cubicBezTo>
                  <a:pt x="11032437" y="4098777"/>
                  <a:pt x="11039586" y="4103068"/>
                  <a:pt x="11044352" y="4109742"/>
                </a:cubicBezTo>
                <a:cubicBezTo>
                  <a:pt x="11053885" y="4123092"/>
                  <a:pt x="11050072" y="4142163"/>
                  <a:pt x="11036726" y="4149791"/>
                </a:cubicBezTo>
                <a:cubicBezTo>
                  <a:pt x="11036726" y="4149791"/>
                  <a:pt x="11036726" y="4149791"/>
                  <a:pt x="10701174" y="4376731"/>
                </a:cubicBezTo>
                <a:cubicBezTo>
                  <a:pt x="10687828" y="4386267"/>
                  <a:pt x="10668763" y="4382453"/>
                  <a:pt x="10659230" y="4369103"/>
                </a:cubicBezTo>
                <a:cubicBezTo>
                  <a:pt x="10657324" y="4363382"/>
                  <a:pt x="10655417" y="4357661"/>
                  <a:pt x="10655417" y="4351940"/>
                </a:cubicBezTo>
                <a:cubicBezTo>
                  <a:pt x="10655417" y="4342404"/>
                  <a:pt x="10659230" y="4332869"/>
                  <a:pt x="10668763" y="4327148"/>
                </a:cubicBezTo>
                <a:cubicBezTo>
                  <a:pt x="10668763" y="4327148"/>
                  <a:pt x="10668763" y="4327148"/>
                  <a:pt x="11002408" y="4102114"/>
                </a:cubicBezTo>
                <a:cubicBezTo>
                  <a:pt x="11009081" y="4097346"/>
                  <a:pt x="11017184" y="4095916"/>
                  <a:pt x="11024810" y="4097347"/>
                </a:cubicBezTo>
                <a:close/>
                <a:moveTo>
                  <a:pt x="8715681" y="4097347"/>
                </a:moveTo>
                <a:cubicBezTo>
                  <a:pt x="8723069" y="4098777"/>
                  <a:pt x="8729742" y="4103068"/>
                  <a:pt x="8734508" y="4109742"/>
                </a:cubicBezTo>
                <a:cubicBezTo>
                  <a:pt x="8744041" y="4123092"/>
                  <a:pt x="8740228" y="4142163"/>
                  <a:pt x="8726882" y="4149791"/>
                </a:cubicBezTo>
                <a:cubicBezTo>
                  <a:pt x="8726882" y="4149791"/>
                  <a:pt x="8726882" y="4149791"/>
                  <a:pt x="8391330" y="4376731"/>
                </a:cubicBezTo>
                <a:cubicBezTo>
                  <a:pt x="8377984" y="4386267"/>
                  <a:pt x="8358919" y="4382453"/>
                  <a:pt x="8351293" y="4369103"/>
                </a:cubicBezTo>
                <a:cubicBezTo>
                  <a:pt x="8347480" y="4363382"/>
                  <a:pt x="8345573" y="4357661"/>
                  <a:pt x="8345573" y="4351940"/>
                </a:cubicBezTo>
                <a:cubicBezTo>
                  <a:pt x="8345573" y="4342404"/>
                  <a:pt x="8349386" y="4332869"/>
                  <a:pt x="8358919" y="4327148"/>
                </a:cubicBezTo>
                <a:cubicBezTo>
                  <a:pt x="8358919" y="4327148"/>
                  <a:pt x="8358919" y="4327148"/>
                  <a:pt x="8692564" y="4102114"/>
                </a:cubicBezTo>
                <a:cubicBezTo>
                  <a:pt x="8700191" y="4097347"/>
                  <a:pt x="8708294" y="4095916"/>
                  <a:pt x="8715681" y="4097347"/>
                </a:cubicBezTo>
                <a:close/>
                <a:moveTo>
                  <a:pt x="11596149" y="4089007"/>
                </a:moveTo>
                <a:cubicBezTo>
                  <a:pt x="11603995" y="4091150"/>
                  <a:pt x="11611128" y="4096389"/>
                  <a:pt x="11615883" y="4104009"/>
                </a:cubicBezTo>
                <a:cubicBezTo>
                  <a:pt x="11625393" y="4117344"/>
                  <a:pt x="11621589" y="4138299"/>
                  <a:pt x="11606373" y="4147824"/>
                </a:cubicBezTo>
                <a:cubicBezTo>
                  <a:pt x="11606373" y="4147824"/>
                  <a:pt x="11606373" y="4147824"/>
                  <a:pt x="11271615" y="4359279"/>
                </a:cubicBezTo>
                <a:cubicBezTo>
                  <a:pt x="11256399" y="4368804"/>
                  <a:pt x="11237378" y="4364994"/>
                  <a:pt x="11227868" y="4349754"/>
                </a:cubicBezTo>
                <a:cubicBezTo>
                  <a:pt x="11224064" y="4344039"/>
                  <a:pt x="11222162" y="4338324"/>
                  <a:pt x="11222162" y="4332609"/>
                </a:cubicBezTo>
                <a:cubicBezTo>
                  <a:pt x="11222162" y="4321179"/>
                  <a:pt x="11227868" y="4311654"/>
                  <a:pt x="11237378" y="4305939"/>
                </a:cubicBezTo>
                <a:cubicBezTo>
                  <a:pt x="11237378" y="4305939"/>
                  <a:pt x="11237378" y="4305939"/>
                  <a:pt x="11572136" y="4092579"/>
                </a:cubicBezTo>
                <a:cubicBezTo>
                  <a:pt x="11579744" y="4087816"/>
                  <a:pt x="11588303" y="4086864"/>
                  <a:pt x="11596149" y="4089007"/>
                </a:cubicBezTo>
                <a:close/>
                <a:moveTo>
                  <a:pt x="8152699" y="4089007"/>
                </a:moveTo>
                <a:cubicBezTo>
                  <a:pt x="8160576" y="4091150"/>
                  <a:pt x="8167736" y="4096389"/>
                  <a:pt x="8172510" y="4104009"/>
                </a:cubicBezTo>
                <a:cubicBezTo>
                  <a:pt x="8182058" y="4117344"/>
                  <a:pt x="8176329" y="4138299"/>
                  <a:pt x="8162963" y="4147824"/>
                </a:cubicBezTo>
                <a:cubicBezTo>
                  <a:pt x="8162963" y="4147824"/>
                  <a:pt x="8162963" y="4147824"/>
                  <a:pt x="7824978" y="4359279"/>
                </a:cubicBezTo>
                <a:cubicBezTo>
                  <a:pt x="7811611" y="4368804"/>
                  <a:pt x="7790606" y="4364994"/>
                  <a:pt x="7781059" y="4349754"/>
                </a:cubicBezTo>
                <a:cubicBezTo>
                  <a:pt x="7779149" y="4344039"/>
                  <a:pt x="7777240" y="4338324"/>
                  <a:pt x="7777240" y="4332609"/>
                </a:cubicBezTo>
                <a:cubicBezTo>
                  <a:pt x="7777240" y="4321179"/>
                  <a:pt x="7781059" y="4311654"/>
                  <a:pt x="7792516" y="4305939"/>
                </a:cubicBezTo>
                <a:cubicBezTo>
                  <a:pt x="7792516" y="4305939"/>
                  <a:pt x="7792516" y="4305939"/>
                  <a:pt x="8128591" y="4092579"/>
                </a:cubicBezTo>
                <a:cubicBezTo>
                  <a:pt x="8136229" y="4087816"/>
                  <a:pt x="8144822" y="4086864"/>
                  <a:pt x="8152699" y="4089007"/>
                </a:cubicBezTo>
                <a:close/>
                <a:moveTo>
                  <a:pt x="12139750" y="4083054"/>
                </a:moveTo>
                <a:cubicBezTo>
                  <a:pt x="12139750" y="4083054"/>
                  <a:pt x="12139750" y="4083054"/>
                  <a:pt x="12139750" y="4162969"/>
                </a:cubicBezTo>
                <a:cubicBezTo>
                  <a:pt x="12139750" y="4162969"/>
                  <a:pt x="12139750" y="4162969"/>
                  <a:pt x="11834405" y="4341828"/>
                </a:cubicBezTo>
                <a:cubicBezTo>
                  <a:pt x="11817230" y="4351342"/>
                  <a:pt x="11796237" y="4347536"/>
                  <a:pt x="11786695" y="4330411"/>
                </a:cubicBezTo>
                <a:cubicBezTo>
                  <a:pt x="11782878" y="4324703"/>
                  <a:pt x="11780970" y="4318995"/>
                  <a:pt x="11780970" y="4313287"/>
                </a:cubicBezTo>
                <a:cubicBezTo>
                  <a:pt x="11780970" y="4301870"/>
                  <a:pt x="11788604" y="4290454"/>
                  <a:pt x="11798146" y="4282843"/>
                </a:cubicBezTo>
                <a:lnTo>
                  <a:pt x="12135933" y="4084957"/>
                </a:lnTo>
                <a:cubicBezTo>
                  <a:pt x="12137842" y="4084957"/>
                  <a:pt x="12137842" y="4083054"/>
                  <a:pt x="12139750" y="4083054"/>
                </a:cubicBezTo>
                <a:close/>
                <a:moveTo>
                  <a:pt x="7594358" y="4081069"/>
                </a:moveTo>
                <a:cubicBezTo>
                  <a:pt x="7602931" y="4083212"/>
                  <a:pt x="7610551" y="4088451"/>
                  <a:pt x="7615314" y="4096071"/>
                </a:cubicBezTo>
                <a:cubicBezTo>
                  <a:pt x="7624839" y="4113216"/>
                  <a:pt x="7619124" y="4134171"/>
                  <a:pt x="7603883" y="4143696"/>
                </a:cubicBezTo>
                <a:cubicBezTo>
                  <a:pt x="7603883" y="4143696"/>
                  <a:pt x="7603883" y="4143696"/>
                  <a:pt x="7266694" y="4341816"/>
                </a:cubicBezTo>
                <a:cubicBezTo>
                  <a:pt x="7249548" y="4351341"/>
                  <a:pt x="7228593" y="4347531"/>
                  <a:pt x="7219068" y="4330386"/>
                </a:cubicBezTo>
                <a:cubicBezTo>
                  <a:pt x="7217163" y="4324671"/>
                  <a:pt x="7215258" y="4318956"/>
                  <a:pt x="7215258" y="4313241"/>
                </a:cubicBezTo>
                <a:cubicBezTo>
                  <a:pt x="7215258" y="4301811"/>
                  <a:pt x="7220973" y="4290381"/>
                  <a:pt x="7232403" y="4282761"/>
                </a:cubicBezTo>
                <a:cubicBezTo>
                  <a:pt x="7232403" y="4282761"/>
                  <a:pt x="7232403" y="4282761"/>
                  <a:pt x="7567688" y="4084641"/>
                </a:cubicBezTo>
                <a:cubicBezTo>
                  <a:pt x="7576260" y="4079878"/>
                  <a:pt x="7585786" y="4078926"/>
                  <a:pt x="7594358" y="4081069"/>
                </a:cubicBezTo>
                <a:close/>
                <a:moveTo>
                  <a:pt x="7045448" y="4072718"/>
                </a:moveTo>
                <a:cubicBezTo>
                  <a:pt x="7054741" y="4075569"/>
                  <a:pt x="7062844" y="4081745"/>
                  <a:pt x="7067610" y="4090298"/>
                </a:cubicBezTo>
                <a:cubicBezTo>
                  <a:pt x="7077143" y="4109303"/>
                  <a:pt x="7069517" y="4130209"/>
                  <a:pt x="7052359" y="4141612"/>
                </a:cubicBezTo>
                <a:cubicBezTo>
                  <a:pt x="7052359" y="4141612"/>
                  <a:pt x="7052359" y="4141612"/>
                  <a:pt x="6714913" y="4325963"/>
                </a:cubicBezTo>
                <a:cubicBezTo>
                  <a:pt x="6697754" y="4335466"/>
                  <a:pt x="6674877" y="4327864"/>
                  <a:pt x="6665344" y="4310759"/>
                </a:cubicBezTo>
                <a:cubicBezTo>
                  <a:pt x="6661531" y="4305057"/>
                  <a:pt x="6659625" y="4299356"/>
                  <a:pt x="6659625" y="4293654"/>
                </a:cubicBezTo>
                <a:cubicBezTo>
                  <a:pt x="6659625" y="4280350"/>
                  <a:pt x="6667251" y="4267047"/>
                  <a:pt x="6678689" y="4259445"/>
                </a:cubicBezTo>
                <a:cubicBezTo>
                  <a:pt x="6678689" y="4259445"/>
                  <a:pt x="6678689" y="4259445"/>
                  <a:pt x="7016136" y="4075094"/>
                </a:cubicBezTo>
                <a:cubicBezTo>
                  <a:pt x="7025668" y="4070342"/>
                  <a:pt x="7036153" y="4069867"/>
                  <a:pt x="7045448" y="4072718"/>
                </a:cubicBezTo>
                <a:close/>
                <a:moveTo>
                  <a:pt x="6500048" y="4065063"/>
                </a:moveTo>
                <a:cubicBezTo>
                  <a:pt x="6509797" y="4068170"/>
                  <a:pt x="6518356" y="4074862"/>
                  <a:pt x="6523112" y="4084421"/>
                </a:cubicBezTo>
                <a:cubicBezTo>
                  <a:pt x="6532623" y="4103541"/>
                  <a:pt x="6525014" y="4128396"/>
                  <a:pt x="6505992" y="4137956"/>
                </a:cubicBezTo>
                <a:cubicBezTo>
                  <a:pt x="6505992" y="4137956"/>
                  <a:pt x="6505992" y="4137956"/>
                  <a:pt x="6167407" y="4310032"/>
                </a:cubicBezTo>
                <a:cubicBezTo>
                  <a:pt x="6148385" y="4319592"/>
                  <a:pt x="6123657" y="4311944"/>
                  <a:pt x="6114146" y="4292824"/>
                </a:cubicBezTo>
                <a:cubicBezTo>
                  <a:pt x="6112244" y="4287089"/>
                  <a:pt x="6110342" y="4279441"/>
                  <a:pt x="6110342" y="4273705"/>
                </a:cubicBezTo>
                <a:cubicBezTo>
                  <a:pt x="6110342" y="4260321"/>
                  <a:pt x="6117950" y="4245025"/>
                  <a:pt x="6131266" y="4239290"/>
                </a:cubicBezTo>
                <a:cubicBezTo>
                  <a:pt x="6131266" y="4239290"/>
                  <a:pt x="6131266" y="4239290"/>
                  <a:pt x="6469851" y="4067214"/>
                </a:cubicBezTo>
                <a:cubicBezTo>
                  <a:pt x="6479362" y="4062434"/>
                  <a:pt x="6490299" y="4061956"/>
                  <a:pt x="6500048" y="4065063"/>
                </a:cubicBezTo>
                <a:close/>
                <a:moveTo>
                  <a:pt x="5941057" y="4054783"/>
                </a:moveTo>
                <a:cubicBezTo>
                  <a:pt x="5957307" y="4053619"/>
                  <a:pt x="5973023" y="4062930"/>
                  <a:pt x="5980168" y="4078685"/>
                </a:cubicBezTo>
                <a:cubicBezTo>
                  <a:pt x="5989693" y="4099693"/>
                  <a:pt x="5982072" y="4124520"/>
                  <a:pt x="5961118" y="4135978"/>
                </a:cubicBezTo>
                <a:cubicBezTo>
                  <a:pt x="5961118" y="4135978"/>
                  <a:pt x="5961118" y="4135978"/>
                  <a:pt x="5622031" y="4292580"/>
                </a:cubicBezTo>
                <a:cubicBezTo>
                  <a:pt x="5601076" y="4302129"/>
                  <a:pt x="5574406" y="4292580"/>
                  <a:pt x="5564881" y="4271572"/>
                </a:cubicBezTo>
                <a:cubicBezTo>
                  <a:pt x="5562976" y="4265843"/>
                  <a:pt x="5561071" y="4260114"/>
                  <a:pt x="5561071" y="4254384"/>
                </a:cubicBezTo>
                <a:cubicBezTo>
                  <a:pt x="5561071" y="4239106"/>
                  <a:pt x="5570596" y="4223828"/>
                  <a:pt x="5585836" y="4216189"/>
                </a:cubicBezTo>
                <a:cubicBezTo>
                  <a:pt x="5585836" y="4216189"/>
                  <a:pt x="5585836" y="4216189"/>
                  <a:pt x="5924923" y="4059588"/>
                </a:cubicBezTo>
                <a:cubicBezTo>
                  <a:pt x="5930163" y="4056723"/>
                  <a:pt x="5935639" y="4055171"/>
                  <a:pt x="5941057" y="4054783"/>
                </a:cubicBezTo>
                <a:close/>
                <a:moveTo>
                  <a:pt x="383168" y="4054783"/>
                </a:moveTo>
                <a:cubicBezTo>
                  <a:pt x="399420" y="4053619"/>
                  <a:pt x="415137" y="4062930"/>
                  <a:pt x="422281" y="4078685"/>
                </a:cubicBezTo>
                <a:cubicBezTo>
                  <a:pt x="431806" y="4099693"/>
                  <a:pt x="424186" y="4124520"/>
                  <a:pt x="401325" y="4135978"/>
                </a:cubicBezTo>
                <a:cubicBezTo>
                  <a:pt x="401325" y="4135978"/>
                  <a:pt x="401325" y="4135978"/>
                  <a:pt x="62231" y="4292580"/>
                </a:cubicBezTo>
                <a:cubicBezTo>
                  <a:pt x="41276" y="4302129"/>
                  <a:pt x="16511" y="4292580"/>
                  <a:pt x="6986" y="4271572"/>
                </a:cubicBezTo>
                <a:cubicBezTo>
                  <a:pt x="5081" y="4265843"/>
                  <a:pt x="3175" y="4260114"/>
                  <a:pt x="3175" y="4254384"/>
                </a:cubicBezTo>
                <a:cubicBezTo>
                  <a:pt x="3175" y="4239106"/>
                  <a:pt x="12701" y="4223828"/>
                  <a:pt x="27941" y="4216189"/>
                </a:cubicBezTo>
                <a:cubicBezTo>
                  <a:pt x="27941" y="4216189"/>
                  <a:pt x="27941" y="4216189"/>
                  <a:pt x="367035" y="4059588"/>
                </a:cubicBezTo>
                <a:cubicBezTo>
                  <a:pt x="372274" y="4056723"/>
                  <a:pt x="377751" y="4055171"/>
                  <a:pt x="383168" y="4054783"/>
                </a:cubicBezTo>
                <a:close/>
                <a:moveTo>
                  <a:pt x="5394100" y="4046339"/>
                </a:moveTo>
                <a:cubicBezTo>
                  <a:pt x="5411703" y="4046518"/>
                  <a:pt x="5428503" y="4056903"/>
                  <a:pt x="5435653" y="4072660"/>
                </a:cubicBezTo>
                <a:cubicBezTo>
                  <a:pt x="5445184" y="4095580"/>
                  <a:pt x="5433745" y="4122319"/>
                  <a:pt x="5410869" y="4131869"/>
                </a:cubicBezTo>
                <a:cubicBezTo>
                  <a:pt x="5410869" y="4131869"/>
                  <a:pt x="5410869" y="4131869"/>
                  <a:pt x="5071527" y="4275116"/>
                </a:cubicBezTo>
                <a:cubicBezTo>
                  <a:pt x="5048652" y="4284666"/>
                  <a:pt x="5021966" y="4275116"/>
                  <a:pt x="5012435" y="4252196"/>
                </a:cubicBezTo>
                <a:cubicBezTo>
                  <a:pt x="5010529" y="4246467"/>
                  <a:pt x="5008622" y="4240737"/>
                  <a:pt x="5008622" y="4235007"/>
                </a:cubicBezTo>
                <a:cubicBezTo>
                  <a:pt x="5008622" y="4217817"/>
                  <a:pt x="5020060" y="4200627"/>
                  <a:pt x="5037216" y="4192988"/>
                </a:cubicBezTo>
                <a:cubicBezTo>
                  <a:pt x="5037216" y="4192988"/>
                  <a:pt x="5037216" y="4192988"/>
                  <a:pt x="5376554" y="4049741"/>
                </a:cubicBezTo>
                <a:cubicBezTo>
                  <a:pt x="5382274" y="4047353"/>
                  <a:pt x="5388232" y="4046279"/>
                  <a:pt x="5394100" y="4046339"/>
                </a:cubicBezTo>
                <a:close/>
                <a:moveTo>
                  <a:pt x="926784" y="4046338"/>
                </a:moveTo>
                <a:cubicBezTo>
                  <a:pt x="944402" y="4046518"/>
                  <a:pt x="961214" y="4056903"/>
                  <a:pt x="968368" y="4072660"/>
                </a:cubicBezTo>
                <a:cubicBezTo>
                  <a:pt x="977907" y="4095580"/>
                  <a:pt x="966460" y="4122319"/>
                  <a:pt x="945475" y="4131869"/>
                </a:cubicBezTo>
                <a:cubicBezTo>
                  <a:pt x="945475" y="4131869"/>
                  <a:pt x="945475" y="4131869"/>
                  <a:pt x="603977" y="4275116"/>
                </a:cubicBezTo>
                <a:cubicBezTo>
                  <a:pt x="581083" y="4284666"/>
                  <a:pt x="554374" y="4275116"/>
                  <a:pt x="544835" y="4252196"/>
                </a:cubicBezTo>
                <a:cubicBezTo>
                  <a:pt x="542927" y="4246467"/>
                  <a:pt x="542927" y="4240737"/>
                  <a:pt x="542927" y="4235007"/>
                </a:cubicBezTo>
                <a:cubicBezTo>
                  <a:pt x="542927" y="4217817"/>
                  <a:pt x="552466" y="4200627"/>
                  <a:pt x="569637" y="4192988"/>
                </a:cubicBezTo>
                <a:cubicBezTo>
                  <a:pt x="569637" y="4192988"/>
                  <a:pt x="569637" y="4192988"/>
                  <a:pt x="909226" y="4049741"/>
                </a:cubicBezTo>
                <a:cubicBezTo>
                  <a:pt x="914950" y="4047353"/>
                  <a:pt x="920912" y="4046279"/>
                  <a:pt x="926784" y="4046338"/>
                </a:cubicBezTo>
                <a:close/>
                <a:moveTo>
                  <a:pt x="4823917" y="4041420"/>
                </a:moveTo>
                <a:cubicBezTo>
                  <a:pt x="4848651" y="4033841"/>
                  <a:pt x="4875285" y="4045209"/>
                  <a:pt x="4884800" y="4069841"/>
                </a:cubicBezTo>
                <a:cubicBezTo>
                  <a:pt x="4894312" y="4092578"/>
                  <a:pt x="4880993" y="4121000"/>
                  <a:pt x="4856262" y="4130474"/>
                </a:cubicBezTo>
                <a:cubicBezTo>
                  <a:pt x="4856262" y="4130474"/>
                  <a:pt x="4856262" y="4130474"/>
                  <a:pt x="4515758" y="4259317"/>
                </a:cubicBezTo>
                <a:cubicBezTo>
                  <a:pt x="4492930" y="4268791"/>
                  <a:pt x="4464395" y="4255527"/>
                  <a:pt x="4454884" y="4230896"/>
                </a:cubicBezTo>
                <a:cubicBezTo>
                  <a:pt x="4452982" y="4225211"/>
                  <a:pt x="4452982" y="4219527"/>
                  <a:pt x="4452982" y="4215738"/>
                </a:cubicBezTo>
                <a:cubicBezTo>
                  <a:pt x="4452982" y="4196790"/>
                  <a:pt x="4464395" y="4177842"/>
                  <a:pt x="4483419" y="4170263"/>
                </a:cubicBezTo>
                <a:cubicBezTo>
                  <a:pt x="4483419" y="4170263"/>
                  <a:pt x="4483419" y="4170263"/>
                  <a:pt x="4823917" y="4041420"/>
                </a:cubicBezTo>
                <a:close/>
                <a:moveTo>
                  <a:pt x="1458388" y="4041420"/>
                </a:moveTo>
                <a:cubicBezTo>
                  <a:pt x="1483118" y="4033841"/>
                  <a:pt x="1509750" y="4045209"/>
                  <a:pt x="1519261" y="4069841"/>
                </a:cubicBezTo>
                <a:cubicBezTo>
                  <a:pt x="1528773" y="4092578"/>
                  <a:pt x="1517359" y="4121000"/>
                  <a:pt x="1492629" y="4130474"/>
                </a:cubicBezTo>
                <a:cubicBezTo>
                  <a:pt x="1492629" y="4130474"/>
                  <a:pt x="1492629" y="4130474"/>
                  <a:pt x="1152120" y="4259317"/>
                </a:cubicBezTo>
                <a:cubicBezTo>
                  <a:pt x="1127390" y="4268791"/>
                  <a:pt x="1100758" y="4255527"/>
                  <a:pt x="1091247" y="4230896"/>
                </a:cubicBezTo>
                <a:cubicBezTo>
                  <a:pt x="1089345" y="4225211"/>
                  <a:pt x="1087442" y="4219527"/>
                  <a:pt x="1087442" y="4215738"/>
                </a:cubicBezTo>
                <a:cubicBezTo>
                  <a:pt x="1087442" y="4196790"/>
                  <a:pt x="1098856" y="4177842"/>
                  <a:pt x="1117879" y="4170263"/>
                </a:cubicBezTo>
                <a:cubicBezTo>
                  <a:pt x="1117879" y="4170263"/>
                  <a:pt x="1117879" y="4170263"/>
                  <a:pt x="1458388" y="4041420"/>
                </a:cubicBezTo>
                <a:close/>
                <a:moveTo>
                  <a:pt x="4286101" y="4031102"/>
                </a:moveTo>
                <a:cubicBezTo>
                  <a:pt x="4305816" y="4032531"/>
                  <a:pt x="4323382" y="4045747"/>
                  <a:pt x="4329117" y="4064321"/>
                </a:cubicBezTo>
                <a:cubicBezTo>
                  <a:pt x="4338677" y="4090991"/>
                  <a:pt x="4325294" y="4119566"/>
                  <a:pt x="4298528" y="4127186"/>
                </a:cubicBezTo>
                <a:cubicBezTo>
                  <a:pt x="4298528" y="4127186"/>
                  <a:pt x="4298528" y="4127186"/>
                  <a:pt x="3956339" y="4243391"/>
                </a:cubicBezTo>
                <a:cubicBezTo>
                  <a:pt x="3929575" y="4252916"/>
                  <a:pt x="3900896" y="4237676"/>
                  <a:pt x="3893249" y="4212911"/>
                </a:cubicBezTo>
                <a:cubicBezTo>
                  <a:pt x="3891338" y="4207196"/>
                  <a:pt x="3889424" y="4201481"/>
                  <a:pt x="3889424" y="4195766"/>
                </a:cubicBezTo>
                <a:cubicBezTo>
                  <a:pt x="3889424" y="4174811"/>
                  <a:pt x="3902808" y="4155761"/>
                  <a:pt x="3923838" y="4150046"/>
                </a:cubicBezTo>
                <a:cubicBezTo>
                  <a:pt x="3923838" y="4150046"/>
                  <a:pt x="3923838" y="4150046"/>
                  <a:pt x="4266027" y="4033841"/>
                </a:cubicBezTo>
                <a:cubicBezTo>
                  <a:pt x="4272718" y="4031460"/>
                  <a:pt x="4279529" y="4030626"/>
                  <a:pt x="4286101" y="4031102"/>
                </a:cubicBezTo>
                <a:close/>
                <a:moveTo>
                  <a:pt x="2031406" y="4031102"/>
                </a:moveTo>
                <a:cubicBezTo>
                  <a:pt x="2050288" y="4032531"/>
                  <a:pt x="2068096" y="4045747"/>
                  <a:pt x="2075220" y="4064321"/>
                </a:cubicBezTo>
                <a:cubicBezTo>
                  <a:pt x="2082818" y="4090991"/>
                  <a:pt x="2069520" y="4119566"/>
                  <a:pt x="2042922" y="4127186"/>
                </a:cubicBezTo>
                <a:cubicBezTo>
                  <a:pt x="2042922" y="4127186"/>
                  <a:pt x="2042922" y="4127186"/>
                  <a:pt x="1702894" y="4243391"/>
                </a:cubicBezTo>
                <a:cubicBezTo>
                  <a:pt x="1676300" y="4252916"/>
                  <a:pt x="1649706" y="4237676"/>
                  <a:pt x="1640208" y="4212911"/>
                </a:cubicBezTo>
                <a:cubicBezTo>
                  <a:pt x="1638308" y="4207196"/>
                  <a:pt x="1638308" y="4201481"/>
                  <a:pt x="1638308" y="4195766"/>
                </a:cubicBezTo>
                <a:cubicBezTo>
                  <a:pt x="1638308" y="4174811"/>
                  <a:pt x="1649706" y="4155761"/>
                  <a:pt x="1670601" y="4150046"/>
                </a:cubicBezTo>
                <a:cubicBezTo>
                  <a:pt x="1670601" y="4150046"/>
                  <a:pt x="1670601" y="4150046"/>
                  <a:pt x="2012528" y="4033841"/>
                </a:cubicBezTo>
                <a:cubicBezTo>
                  <a:pt x="2018702" y="4031460"/>
                  <a:pt x="2025113" y="4030626"/>
                  <a:pt x="2031406" y="4031102"/>
                </a:cubicBezTo>
                <a:close/>
                <a:moveTo>
                  <a:pt x="3725865" y="4022421"/>
                </a:moveTo>
                <a:cubicBezTo>
                  <a:pt x="3745628" y="4024832"/>
                  <a:pt x="3763512" y="4038763"/>
                  <a:pt x="3770669" y="4060194"/>
                </a:cubicBezTo>
                <a:cubicBezTo>
                  <a:pt x="3778298" y="4086864"/>
                  <a:pt x="3763036" y="4115439"/>
                  <a:pt x="3734419" y="4124964"/>
                </a:cubicBezTo>
                <a:cubicBezTo>
                  <a:pt x="3734419" y="4124964"/>
                  <a:pt x="3734419" y="4124964"/>
                  <a:pt x="3391050" y="4225929"/>
                </a:cubicBezTo>
                <a:cubicBezTo>
                  <a:pt x="3364339" y="4235454"/>
                  <a:pt x="3335723" y="4218309"/>
                  <a:pt x="3326186" y="4191639"/>
                </a:cubicBezTo>
                <a:cubicBezTo>
                  <a:pt x="3326186" y="4185924"/>
                  <a:pt x="3324277" y="4182114"/>
                  <a:pt x="3324277" y="4176399"/>
                </a:cubicBezTo>
                <a:cubicBezTo>
                  <a:pt x="3324277" y="4153539"/>
                  <a:pt x="3339540" y="4132584"/>
                  <a:pt x="3362431" y="4126869"/>
                </a:cubicBezTo>
                <a:cubicBezTo>
                  <a:pt x="3362431" y="4126869"/>
                  <a:pt x="3362431" y="4126869"/>
                  <a:pt x="3705802" y="4023999"/>
                </a:cubicBezTo>
                <a:cubicBezTo>
                  <a:pt x="3712481" y="4022094"/>
                  <a:pt x="3719277" y="4021618"/>
                  <a:pt x="3725865" y="4022421"/>
                </a:cubicBezTo>
                <a:close/>
                <a:moveTo>
                  <a:pt x="2590959" y="4022421"/>
                </a:moveTo>
                <a:cubicBezTo>
                  <a:pt x="2610652" y="4024832"/>
                  <a:pt x="2628474" y="4038763"/>
                  <a:pt x="2635603" y="4060194"/>
                </a:cubicBezTo>
                <a:cubicBezTo>
                  <a:pt x="2643207" y="4086864"/>
                  <a:pt x="2627999" y="4115439"/>
                  <a:pt x="2599484" y="4124964"/>
                </a:cubicBezTo>
                <a:cubicBezTo>
                  <a:pt x="2599484" y="4124964"/>
                  <a:pt x="2599484" y="4124964"/>
                  <a:pt x="2257300" y="4225929"/>
                </a:cubicBezTo>
                <a:cubicBezTo>
                  <a:pt x="2230686" y="4235454"/>
                  <a:pt x="2202171" y="4218309"/>
                  <a:pt x="2192666" y="4191639"/>
                </a:cubicBezTo>
                <a:cubicBezTo>
                  <a:pt x="2190765" y="4185924"/>
                  <a:pt x="2190765" y="4182114"/>
                  <a:pt x="2190765" y="4176399"/>
                </a:cubicBezTo>
                <a:cubicBezTo>
                  <a:pt x="2190765" y="4153539"/>
                  <a:pt x="2205973" y="4132584"/>
                  <a:pt x="2228785" y="4126869"/>
                </a:cubicBezTo>
                <a:cubicBezTo>
                  <a:pt x="2228785" y="4126869"/>
                  <a:pt x="2228785" y="4126869"/>
                  <a:pt x="2570968" y="4023999"/>
                </a:cubicBezTo>
                <a:cubicBezTo>
                  <a:pt x="2577622" y="4022094"/>
                  <a:pt x="2584395" y="4021618"/>
                  <a:pt x="2590959" y="4022421"/>
                </a:cubicBezTo>
                <a:close/>
                <a:moveTo>
                  <a:pt x="3155345" y="4014781"/>
                </a:moveTo>
                <a:cubicBezTo>
                  <a:pt x="3176389" y="4017728"/>
                  <a:pt x="3195013" y="4032730"/>
                  <a:pt x="3200742" y="4054161"/>
                </a:cubicBezTo>
                <a:cubicBezTo>
                  <a:pt x="3208386" y="4084641"/>
                  <a:pt x="3189283" y="4113216"/>
                  <a:pt x="3160628" y="4120836"/>
                </a:cubicBezTo>
                <a:cubicBezTo>
                  <a:pt x="3160628" y="4120836"/>
                  <a:pt x="3160628" y="4120836"/>
                  <a:pt x="2816774" y="4210371"/>
                </a:cubicBezTo>
                <a:cubicBezTo>
                  <a:pt x="2786209" y="4217991"/>
                  <a:pt x="2757555" y="4198941"/>
                  <a:pt x="2749912" y="4170366"/>
                </a:cubicBezTo>
                <a:cubicBezTo>
                  <a:pt x="2748004" y="4166556"/>
                  <a:pt x="2748004" y="4160841"/>
                  <a:pt x="2748004" y="4157031"/>
                </a:cubicBezTo>
                <a:cubicBezTo>
                  <a:pt x="2748004" y="4132266"/>
                  <a:pt x="2765195" y="4109406"/>
                  <a:pt x="2788118" y="4103691"/>
                </a:cubicBezTo>
                <a:cubicBezTo>
                  <a:pt x="2788118" y="4103691"/>
                  <a:pt x="2788118" y="4103691"/>
                  <a:pt x="3133884" y="4016061"/>
                </a:cubicBezTo>
                <a:cubicBezTo>
                  <a:pt x="3141048" y="4014156"/>
                  <a:pt x="3148333" y="4013799"/>
                  <a:pt x="3155345" y="4014781"/>
                </a:cubicBezTo>
                <a:close/>
                <a:moveTo>
                  <a:pt x="9861718" y="3784929"/>
                </a:moveTo>
                <a:cubicBezTo>
                  <a:pt x="9867199" y="3785407"/>
                  <a:pt x="9872442" y="3787798"/>
                  <a:pt x="9876255" y="3792579"/>
                </a:cubicBezTo>
                <a:cubicBezTo>
                  <a:pt x="9883882" y="3802142"/>
                  <a:pt x="9881975" y="3815531"/>
                  <a:pt x="9872442" y="3823182"/>
                </a:cubicBezTo>
                <a:cubicBezTo>
                  <a:pt x="9872442" y="3823182"/>
                  <a:pt x="9872442" y="3823182"/>
                  <a:pt x="9540690" y="4092865"/>
                </a:cubicBezTo>
                <a:cubicBezTo>
                  <a:pt x="9531157" y="4100516"/>
                  <a:pt x="9517810" y="4098603"/>
                  <a:pt x="9510184" y="4089040"/>
                </a:cubicBezTo>
                <a:cubicBezTo>
                  <a:pt x="9506371" y="4085215"/>
                  <a:pt x="9504464" y="4081389"/>
                  <a:pt x="9504464" y="4075651"/>
                </a:cubicBezTo>
                <a:cubicBezTo>
                  <a:pt x="9504464" y="4069913"/>
                  <a:pt x="9508277" y="4064175"/>
                  <a:pt x="9513997" y="4058438"/>
                </a:cubicBezTo>
                <a:cubicBezTo>
                  <a:pt x="9513997" y="4058438"/>
                  <a:pt x="9513997" y="4058438"/>
                  <a:pt x="9845750" y="3788754"/>
                </a:cubicBezTo>
                <a:cubicBezTo>
                  <a:pt x="9850516" y="3785885"/>
                  <a:pt x="9856236" y="3784450"/>
                  <a:pt x="9861718" y="3784929"/>
                </a:cubicBezTo>
                <a:close/>
                <a:moveTo>
                  <a:pt x="10445981" y="3777074"/>
                </a:moveTo>
                <a:cubicBezTo>
                  <a:pt x="10452183" y="3777790"/>
                  <a:pt x="10457907" y="3781135"/>
                  <a:pt x="10461723" y="3786867"/>
                </a:cubicBezTo>
                <a:cubicBezTo>
                  <a:pt x="10471264" y="3798332"/>
                  <a:pt x="10469356" y="3813619"/>
                  <a:pt x="10457907" y="3821263"/>
                </a:cubicBezTo>
                <a:cubicBezTo>
                  <a:pt x="10457907" y="3821263"/>
                  <a:pt x="10457907" y="3821263"/>
                  <a:pt x="10123980" y="4075410"/>
                </a:cubicBezTo>
                <a:cubicBezTo>
                  <a:pt x="10112531" y="4083054"/>
                  <a:pt x="10097266" y="4081143"/>
                  <a:pt x="10089633" y="4069678"/>
                </a:cubicBezTo>
                <a:cubicBezTo>
                  <a:pt x="10085817" y="4065856"/>
                  <a:pt x="10083909" y="4060123"/>
                  <a:pt x="10083909" y="4054391"/>
                </a:cubicBezTo>
                <a:cubicBezTo>
                  <a:pt x="10083909" y="4048658"/>
                  <a:pt x="10087725" y="4041014"/>
                  <a:pt x="10093450" y="4035282"/>
                </a:cubicBezTo>
                <a:cubicBezTo>
                  <a:pt x="10093450" y="4035282"/>
                  <a:pt x="10093450" y="4035282"/>
                  <a:pt x="10427377" y="3783045"/>
                </a:cubicBezTo>
                <a:cubicBezTo>
                  <a:pt x="10433101" y="3778268"/>
                  <a:pt x="10439780" y="3776357"/>
                  <a:pt x="10445981" y="3777074"/>
                </a:cubicBezTo>
                <a:close/>
                <a:moveTo>
                  <a:pt x="9284313" y="3777074"/>
                </a:moveTo>
                <a:cubicBezTo>
                  <a:pt x="9290494" y="3777790"/>
                  <a:pt x="9296200" y="3781135"/>
                  <a:pt x="9300003" y="3786867"/>
                </a:cubicBezTo>
                <a:cubicBezTo>
                  <a:pt x="9307611" y="3798332"/>
                  <a:pt x="9305709" y="3813619"/>
                  <a:pt x="9296200" y="3821263"/>
                </a:cubicBezTo>
                <a:cubicBezTo>
                  <a:pt x="9296200" y="3821263"/>
                  <a:pt x="9296200" y="3821263"/>
                  <a:pt x="8963371" y="4075410"/>
                </a:cubicBezTo>
                <a:cubicBezTo>
                  <a:pt x="8951959" y="4083054"/>
                  <a:pt x="8936744" y="4081143"/>
                  <a:pt x="8929137" y="4069678"/>
                </a:cubicBezTo>
                <a:cubicBezTo>
                  <a:pt x="8925333" y="4065856"/>
                  <a:pt x="8923431" y="4060123"/>
                  <a:pt x="8923431" y="4054391"/>
                </a:cubicBezTo>
                <a:cubicBezTo>
                  <a:pt x="8923431" y="4048658"/>
                  <a:pt x="8927235" y="4041014"/>
                  <a:pt x="8932940" y="4035282"/>
                </a:cubicBezTo>
                <a:cubicBezTo>
                  <a:pt x="8932940" y="4035282"/>
                  <a:pt x="8932940" y="4035282"/>
                  <a:pt x="9265770" y="3783045"/>
                </a:cubicBezTo>
                <a:cubicBezTo>
                  <a:pt x="9271475" y="3778268"/>
                  <a:pt x="9278132" y="3776357"/>
                  <a:pt x="9284313" y="3777074"/>
                </a:cubicBezTo>
                <a:close/>
                <a:moveTo>
                  <a:pt x="8714826" y="3771656"/>
                </a:moveTo>
                <a:cubicBezTo>
                  <a:pt x="8721754" y="3772844"/>
                  <a:pt x="8728443" y="3776646"/>
                  <a:pt x="8733221" y="3782349"/>
                </a:cubicBezTo>
                <a:cubicBezTo>
                  <a:pt x="8740866" y="3795655"/>
                  <a:pt x="8738955" y="3812764"/>
                  <a:pt x="8725577" y="3820368"/>
                </a:cubicBezTo>
                <a:cubicBezTo>
                  <a:pt x="8725577" y="3820368"/>
                  <a:pt x="8725577" y="3820368"/>
                  <a:pt x="8391118" y="4056086"/>
                </a:cubicBezTo>
                <a:cubicBezTo>
                  <a:pt x="8377740" y="4065591"/>
                  <a:pt x="8360539" y="4063690"/>
                  <a:pt x="8352895" y="4050383"/>
                </a:cubicBezTo>
                <a:cubicBezTo>
                  <a:pt x="8349072" y="4044680"/>
                  <a:pt x="8347161" y="4040878"/>
                  <a:pt x="8347161" y="4035176"/>
                </a:cubicBezTo>
                <a:cubicBezTo>
                  <a:pt x="8347161" y="4025671"/>
                  <a:pt x="8350983" y="4018067"/>
                  <a:pt x="8358628" y="4012364"/>
                </a:cubicBezTo>
                <a:cubicBezTo>
                  <a:pt x="8358628" y="4012364"/>
                  <a:pt x="8358628" y="4012364"/>
                  <a:pt x="8694997" y="3776646"/>
                </a:cubicBezTo>
                <a:cubicBezTo>
                  <a:pt x="8700731" y="3771893"/>
                  <a:pt x="8707898" y="3770468"/>
                  <a:pt x="8714826" y="3771656"/>
                </a:cubicBezTo>
                <a:close/>
                <a:moveTo>
                  <a:pt x="11022950" y="3771656"/>
                </a:moveTo>
                <a:cubicBezTo>
                  <a:pt x="11030088" y="3772844"/>
                  <a:pt x="11036751" y="3776646"/>
                  <a:pt x="11041509" y="3782349"/>
                </a:cubicBezTo>
                <a:cubicBezTo>
                  <a:pt x="11049123" y="3795655"/>
                  <a:pt x="11047219" y="3812764"/>
                  <a:pt x="11033895" y="3820368"/>
                </a:cubicBezTo>
                <a:cubicBezTo>
                  <a:pt x="11033895" y="3820368"/>
                  <a:pt x="11033895" y="3820368"/>
                  <a:pt x="10700785" y="4056086"/>
                </a:cubicBezTo>
                <a:cubicBezTo>
                  <a:pt x="10687461" y="4065591"/>
                  <a:pt x="10670329" y="4063690"/>
                  <a:pt x="10662715" y="4050383"/>
                </a:cubicBezTo>
                <a:cubicBezTo>
                  <a:pt x="10658908" y="4044680"/>
                  <a:pt x="10657005" y="4040878"/>
                  <a:pt x="10657005" y="4035176"/>
                </a:cubicBezTo>
                <a:cubicBezTo>
                  <a:pt x="10657005" y="4025671"/>
                  <a:pt x="10660812" y="4018067"/>
                  <a:pt x="10668426" y="4012364"/>
                </a:cubicBezTo>
                <a:cubicBezTo>
                  <a:pt x="10668426" y="4012364"/>
                  <a:pt x="10668426" y="4012364"/>
                  <a:pt x="11001536" y="3776646"/>
                </a:cubicBezTo>
                <a:cubicBezTo>
                  <a:pt x="11008198" y="3771893"/>
                  <a:pt x="11015812" y="3770468"/>
                  <a:pt x="11022950" y="3771656"/>
                </a:cubicBezTo>
                <a:close/>
                <a:moveTo>
                  <a:pt x="8151418" y="3763955"/>
                </a:moveTo>
                <a:cubicBezTo>
                  <a:pt x="8159038" y="3765381"/>
                  <a:pt x="8166182" y="3769658"/>
                  <a:pt x="8170945" y="3776310"/>
                </a:cubicBezTo>
                <a:cubicBezTo>
                  <a:pt x="8180470" y="3791517"/>
                  <a:pt x="8176660" y="3810525"/>
                  <a:pt x="8161420" y="3820029"/>
                </a:cubicBezTo>
                <a:cubicBezTo>
                  <a:pt x="8161420" y="3820029"/>
                  <a:pt x="8161420" y="3820029"/>
                  <a:pt x="7826135" y="4038624"/>
                </a:cubicBezTo>
                <a:cubicBezTo>
                  <a:pt x="7812800" y="4048128"/>
                  <a:pt x="7793750" y="4044326"/>
                  <a:pt x="7784225" y="4031020"/>
                </a:cubicBezTo>
                <a:cubicBezTo>
                  <a:pt x="7780415" y="4025318"/>
                  <a:pt x="7780415" y="4019616"/>
                  <a:pt x="7780415" y="4013913"/>
                </a:cubicBezTo>
                <a:cubicBezTo>
                  <a:pt x="7780415" y="4004409"/>
                  <a:pt x="7784225" y="3993004"/>
                  <a:pt x="7793750" y="3987302"/>
                </a:cubicBezTo>
                <a:cubicBezTo>
                  <a:pt x="7793750" y="3987302"/>
                  <a:pt x="7793750" y="3987302"/>
                  <a:pt x="8129034" y="3768707"/>
                </a:cubicBezTo>
                <a:cubicBezTo>
                  <a:pt x="8135702" y="3763955"/>
                  <a:pt x="8143798" y="3762529"/>
                  <a:pt x="8151418" y="3763955"/>
                </a:cubicBezTo>
                <a:close/>
                <a:moveTo>
                  <a:pt x="11596182" y="3763955"/>
                </a:moveTo>
                <a:cubicBezTo>
                  <a:pt x="11603802" y="3765381"/>
                  <a:pt x="11610470" y="3769658"/>
                  <a:pt x="11614280" y="3776310"/>
                </a:cubicBezTo>
                <a:cubicBezTo>
                  <a:pt x="11623805" y="3791517"/>
                  <a:pt x="11619995" y="3810525"/>
                  <a:pt x="11606660" y="3820029"/>
                </a:cubicBezTo>
                <a:cubicBezTo>
                  <a:pt x="11606660" y="3820029"/>
                  <a:pt x="11606660" y="3820029"/>
                  <a:pt x="11271376" y="4038624"/>
                </a:cubicBezTo>
                <a:cubicBezTo>
                  <a:pt x="11258040" y="4048128"/>
                  <a:pt x="11238990" y="4044326"/>
                  <a:pt x="11229465" y="4031020"/>
                </a:cubicBezTo>
                <a:cubicBezTo>
                  <a:pt x="11225655" y="4025318"/>
                  <a:pt x="11223750" y="4019616"/>
                  <a:pt x="11223750" y="4013913"/>
                </a:cubicBezTo>
                <a:cubicBezTo>
                  <a:pt x="11223750" y="4004409"/>
                  <a:pt x="11229465" y="3993004"/>
                  <a:pt x="11237085" y="3987302"/>
                </a:cubicBezTo>
                <a:cubicBezTo>
                  <a:pt x="11237085" y="3987302"/>
                  <a:pt x="11237085" y="3987302"/>
                  <a:pt x="11572369" y="3768707"/>
                </a:cubicBezTo>
                <a:cubicBezTo>
                  <a:pt x="11579990" y="3763955"/>
                  <a:pt x="11588562" y="3762529"/>
                  <a:pt x="11596182" y="3763955"/>
                </a:cubicBezTo>
                <a:close/>
                <a:moveTo>
                  <a:pt x="12139750" y="3759203"/>
                </a:moveTo>
                <a:cubicBezTo>
                  <a:pt x="12139750" y="3759203"/>
                  <a:pt x="12139750" y="3759203"/>
                  <a:pt x="12139750" y="3835137"/>
                </a:cubicBezTo>
                <a:cubicBezTo>
                  <a:pt x="12139750" y="3835137"/>
                  <a:pt x="12139750" y="3835137"/>
                  <a:pt x="11835489" y="4021174"/>
                </a:cubicBezTo>
                <a:cubicBezTo>
                  <a:pt x="11818374" y="4030666"/>
                  <a:pt x="11799358" y="4024971"/>
                  <a:pt x="11789850" y="4009784"/>
                </a:cubicBezTo>
                <a:cubicBezTo>
                  <a:pt x="11786047" y="4004089"/>
                  <a:pt x="11784145" y="3998394"/>
                  <a:pt x="11784145" y="3992699"/>
                </a:cubicBezTo>
                <a:cubicBezTo>
                  <a:pt x="11784145" y="3981309"/>
                  <a:pt x="11789850" y="3969919"/>
                  <a:pt x="11799358" y="3964224"/>
                </a:cubicBezTo>
                <a:lnTo>
                  <a:pt x="12135947" y="3761101"/>
                </a:lnTo>
                <a:cubicBezTo>
                  <a:pt x="12137848" y="3759203"/>
                  <a:pt x="12137848" y="3759203"/>
                  <a:pt x="12139750" y="3759203"/>
                </a:cubicBezTo>
                <a:close/>
                <a:moveTo>
                  <a:pt x="7593700" y="3756493"/>
                </a:moveTo>
                <a:cubicBezTo>
                  <a:pt x="7601803" y="3758393"/>
                  <a:pt x="7608952" y="3763620"/>
                  <a:pt x="7613718" y="3772173"/>
                </a:cubicBezTo>
                <a:cubicBezTo>
                  <a:pt x="7623251" y="3787379"/>
                  <a:pt x="7619438" y="3808286"/>
                  <a:pt x="7604186" y="3817790"/>
                </a:cubicBezTo>
                <a:cubicBezTo>
                  <a:pt x="7604186" y="3817790"/>
                  <a:pt x="7604186" y="3817790"/>
                  <a:pt x="7266734" y="4021162"/>
                </a:cubicBezTo>
                <a:cubicBezTo>
                  <a:pt x="7251481" y="4030666"/>
                  <a:pt x="7230510" y="4024964"/>
                  <a:pt x="7220977" y="4009758"/>
                </a:cubicBezTo>
                <a:cubicBezTo>
                  <a:pt x="7217164" y="4004056"/>
                  <a:pt x="7215258" y="3998354"/>
                  <a:pt x="7215258" y="3992652"/>
                </a:cubicBezTo>
                <a:cubicBezTo>
                  <a:pt x="7215258" y="3981248"/>
                  <a:pt x="7220977" y="3969844"/>
                  <a:pt x="7232416" y="3964142"/>
                </a:cubicBezTo>
                <a:cubicBezTo>
                  <a:pt x="7232416" y="3964142"/>
                  <a:pt x="7232416" y="3964142"/>
                  <a:pt x="7567962" y="3760769"/>
                </a:cubicBezTo>
                <a:cubicBezTo>
                  <a:pt x="7576541" y="3756018"/>
                  <a:pt x="7585597" y="3754592"/>
                  <a:pt x="7593700" y="3756493"/>
                </a:cubicBezTo>
                <a:close/>
                <a:moveTo>
                  <a:pt x="7044469" y="3749140"/>
                </a:moveTo>
                <a:cubicBezTo>
                  <a:pt x="7053293" y="3751765"/>
                  <a:pt x="7060925" y="3757971"/>
                  <a:pt x="7065695" y="3766564"/>
                </a:cubicBezTo>
                <a:cubicBezTo>
                  <a:pt x="7077143" y="3783749"/>
                  <a:pt x="7069511" y="3806662"/>
                  <a:pt x="7052340" y="3816209"/>
                </a:cubicBezTo>
                <a:cubicBezTo>
                  <a:pt x="7052340" y="3816209"/>
                  <a:pt x="7052340" y="3816209"/>
                  <a:pt x="6714634" y="4005244"/>
                </a:cubicBezTo>
                <a:cubicBezTo>
                  <a:pt x="6697463" y="4014791"/>
                  <a:pt x="6674567" y="4009063"/>
                  <a:pt x="6665028" y="3989968"/>
                </a:cubicBezTo>
                <a:cubicBezTo>
                  <a:pt x="6661212" y="3984240"/>
                  <a:pt x="6661212" y="3978511"/>
                  <a:pt x="6661212" y="3972783"/>
                </a:cubicBezTo>
                <a:cubicBezTo>
                  <a:pt x="6661212" y="3959417"/>
                  <a:pt x="6666936" y="3947960"/>
                  <a:pt x="6678383" y="3940323"/>
                </a:cubicBezTo>
                <a:cubicBezTo>
                  <a:pt x="6678383" y="3940323"/>
                  <a:pt x="6678383" y="3940323"/>
                  <a:pt x="7016089" y="3753198"/>
                </a:cubicBezTo>
                <a:cubicBezTo>
                  <a:pt x="7025628" y="3747469"/>
                  <a:pt x="7035645" y="3746515"/>
                  <a:pt x="7044469" y="3749140"/>
                </a:cubicBezTo>
                <a:close/>
                <a:moveTo>
                  <a:pt x="6500048" y="3741441"/>
                </a:moveTo>
                <a:cubicBezTo>
                  <a:pt x="6509797" y="3744783"/>
                  <a:pt x="6518357" y="3751944"/>
                  <a:pt x="6523112" y="3762447"/>
                </a:cubicBezTo>
                <a:cubicBezTo>
                  <a:pt x="6532623" y="3781543"/>
                  <a:pt x="6525014" y="3804458"/>
                  <a:pt x="6505992" y="3814006"/>
                </a:cubicBezTo>
                <a:cubicBezTo>
                  <a:pt x="6505992" y="3814006"/>
                  <a:pt x="6505992" y="3814006"/>
                  <a:pt x="6167407" y="3987780"/>
                </a:cubicBezTo>
                <a:cubicBezTo>
                  <a:pt x="6148385" y="3997328"/>
                  <a:pt x="6125559" y="3989689"/>
                  <a:pt x="6114146" y="3970593"/>
                </a:cubicBezTo>
                <a:cubicBezTo>
                  <a:pt x="6112244" y="3964865"/>
                  <a:pt x="6110342" y="3957226"/>
                  <a:pt x="6110342" y="3951497"/>
                </a:cubicBezTo>
                <a:cubicBezTo>
                  <a:pt x="6110342" y="3938130"/>
                  <a:pt x="6117950" y="3922853"/>
                  <a:pt x="6131266" y="3917125"/>
                </a:cubicBezTo>
                <a:cubicBezTo>
                  <a:pt x="6131266" y="3917125"/>
                  <a:pt x="6131266" y="3917125"/>
                  <a:pt x="6469851" y="3743351"/>
                </a:cubicBezTo>
                <a:cubicBezTo>
                  <a:pt x="6479362" y="3738577"/>
                  <a:pt x="6490299" y="3738100"/>
                  <a:pt x="6500048" y="3741441"/>
                </a:cubicBezTo>
                <a:close/>
                <a:moveTo>
                  <a:pt x="5958238" y="3734460"/>
                </a:moveTo>
                <a:cubicBezTo>
                  <a:pt x="5968507" y="3738279"/>
                  <a:pt x="5977583" y="3745919"/>
                  <a:pt x="5983314" y="3756422"/>
                </a:cubicBezTo>
                <a:cubicBezTo>
                  <a:pt x="5992867" y="3777430"/>
                  <a:pt x="5983314" y="3804167"/>
                  <a:pt x="5962297" y="3813715"/>
                </a:cubicBezTo>
                <a:cubicBezTo>
                  <a:pt x="5962297" y="3813715"/>
                  <a:pt x="5962297" y="3813715"/>
                  <a:pt x="5622210" y="3970317"/>
                </a:cubicBezTo>
                <a:cubicBezTo>
                  <a:pt x="5599284" y="3979866"/>
                  <a:pt x="5574446" y="3970317"/>
                  <a:pt x="5564892" y="3949309"/>
                </a:cubicBezTo>
                <a:cubicBezTo>
                  <a:pt x="5562982" y="3943580"/>
                  <a:pt x="5561071" y="3935941"/>
                  <a:pt x="5561071" y="3930212"/>
                </a:cubicBezTo>
                <a:cubicBezTo>
                  <a:pt x="5561071" y="3914934"/>
                  <a:pt x="5570624" y="3899655"/>
                  <a:pt x="5585909" y="3892016"/>
                </a:cubicBezTo>
                <a:cubicBezTo>
                  <a:pt x="5585909" y="3892016"/>
                  <a:pt x="5585909" y="3892016"/>
                  <a:pt x="5925997" y="3735415"/>
                </a:cubicBezTo>
                <a:cubicBezTo>
                  <a:pt x="5936505" y="3730640"/>
                  <a:pt x="5947969" y="3730640"/>
                  <a:pt x="5958238" y="3734460"/>
                </a:cubicBezTo>
                <a:close/>
                <a:moveTo>
                  <a:pt x="398944" y="3734460"/>
                </a:moveTo>
                <a:cubicBezTo>
                  <a:pt x="408945" y="3738279"/>
                  <a:pt x="417518" y="3745919"/>
                  <a:pt x="422280" y="3756422"/>
                </a:cubicBezTo>
                <a:cubicBezTo>
                  <a:pt x="431806" y="3777430"/>
                  <a:pt x="424186" y="3804167"/>
                  <a:pt x="401325" y="3813715"/>
                </a:cubicBezTo>
                <a:cubicBezTo>
                  <a:pt x="401325" y="3813715"/>
                  <a:pt x="401325" y="3813715"/>
                  <a:pt x="62231" y="3970317"/>
                </a:cubicBezTo>
                <a:cubicBezTo>
                  <a:pt x="41276" y="3979866"/>
                  <a:pt x="16511" y="3970317"/>
                  <a:pt x="6986" y="3949309"/>
                </a:cubicBezTo>
                <a:cubicBezTo>
                  <a:pt x="5080" y="3943580"/>
                  <a:pt x="3175" y="3935941"/>
                  <a:pt x="3175" y="3930212"/>
                </a:cubicBezTo>
                <a:cubicBezTo>
                  <a:pt x="3175" y="3914934"/>
                  <a:pt x="12701" y="3899655"/>
                  <a:pt x="27941" y="3892016"/>
                </a:cubicBezTo>
                <a:cubicBezTo>
                  <a:pt x="27941" y="3892016"/>
                  <a:pt x="27941" y="3892016"/>
                  <a:pt x="367035" y="3735415"/>
                </a:cubicBezTo>
                <a:cubicBezTo>
                  <a:pt x="377512" y="3730640"/>
                  <a:pt x="388943" y="3730640"/>
                  <a:pt x="398944" y="3734460"/>
                </a:cubicBezTo>
                <a:close/>
                <a:moveTo>
                  <a:pt x="5394100" y="3725661"/>
                </a:moveTo>
                <a:cubicBezTo>
                  <a:pt x="5411704" y="3725928"/>
                  <a:pt x="5428503" y="3736616"/>
                  <a:pt x="5435653" y="3753716"/>
                </a:cubicBezTo>
                <a:cubicBezTo>
                  <a:pt x="5445184" y="3776516"/>
                  <a:pt x="5433745" y="3803116"/>
                  <a:pt x="5410869" y="3812616"/>
                </a:cubicBezTo>
                <a:cubicBezTo>
                  <a:pt x="5410869" y="3812616"/>
                  <a:pt x="5410869" y="3812616"/>
                  <a:pt x="5071527" y="3951316"/>
                </a:cubicBezTo>
                <a:cubicBezTo>
                  <a:pt x="5046746" y="3960816"/>
                  <a:pt x="5021966" y="3951316"/>
                  <a:pt x="5012435" y="3928516"/>
                </a:cubicBezTo>
                <a:cubicBezTo>
                  <a:pt x="5008622" y="3922816"/>
                  <a:pt x="5008622" y="3917116"/>
                  <a:pt x="5008622" y="3911416"/>
                </a:cubicBezTo>
                <a:cubicBezTo>
                  <a:pt x="5008622" y="3892416"/>
                  <a:pt x="5018154" y="3875316"/>
                  <a:pt x="5037216" y="3869616"/>
                </a:cubicBezTo>
                <a:cubicBezTo>
                  <a:pt x="5037216" y="3869616"/>
                  <a:pt x="5037216" y="3869616"/>
                  <a:pt x="5376554" y="3729016"/>
                </a:cubicBezTo>
                <a:cubicBezTo>
                  <a:pt x="5382274" y="3726641"/>
                  <a:pt x="5388232" y="3725572"/>
                  <a:pt x="5394100" y="3725661"/>
                </a:cubicBezTo>
                <a:close/>
                <a:moveTo>
                  <a:pt x="927625" y="3725661"/>
                </a:moveTo>
                <a:cubicBezTo>
                  <a:pt x="945497" y="3725928"/>
                  <a:pt x="961225" y="3736616"/>
                  <a:pt x="968374" y="3753716"/>
                </a:cubicBezTo>
                <a:cubicBezTo>
                  <a:pt x="977906" y="3776516"/>
                  <a:pt x="968374" y="3803116"/>
                  <a:pt x="945497" y="3812616"/>
                </a:cubicBezTo>
                <a:cubicBezTo>
                  <a:pt x="945497" y="3812616"/>
                  <a:pt x="945497" y="3812616"/>
                  <a:pt x="604250" y="3951316"/>
                </a:cubicBezTo>
                <a:cubicBezTo>
                  <a:pt x="581374" y="3960816"/>
                  <a:pt x="554684" y="3951316"/>
                  <a:pt x="545152" y="3928516"/>
                </a:cubicBezTo>
                <a:cubicBezTo>
                  <a:pt x="543246" y="3922816"/>
                  <a:pt x="541339" y="3917116"/>
                  <a:pt x="541339" y="3911416"/>
                </a:cubicBezTo>
                <a:cubicBezTo>
                  <a:pt x="541339" y="3892416"/>
                  <a:pt x="552778" y="3875316"/>
                  <a:pt x="569935" y="3869616"/>
                </a:cubicBezTo>
                <a:cubicBezTo>
                  <a:pt x="569935" y="3869616"/>
                  <a:pt x="569935" y="3869616"/>
                  <a:pt x="909276" y="3729016"/>
                </a:cubicBezTo>
                <a:cubicBezTo>
                  <a:pt x="915471" y="3726641"/>
                  <a:pt x="921667" y="3725572"/>
                  <a:pt x="927625" y="3725661"/>
                </a:cubicBezTo>
                <a:close/>
                <a:moveTo>
                  <a:pt x="4842646" y="3718049"/>
                </a:moveTo>
                <a:cubicBezTo>
                  <a:pt x="4861517" y="3718940"/>
                  <a:pt x="4879048" y="3731051"/>
                  <a:pt x="4884772" y="3749574"/>
                </a:cubicBezTo>
                <a:cubicBezTo>
                  <a:pt x="4894312" y="3774271"/>
                  <a:pt x="4880957" y="3802768"/>
                  <a:pt x="4856151" y="3810367"/>
                </a:cubicBezTo>
                <a:cubicBezTo>
                  <a:pt x="4856151" y="3810367"/>
                  <a:pt x="4856151" y="3810367"/>
                  <a:pt x="4514669" y="3933854"/>
                </a:cubicBezTo>
                <a:cubicBezTo>
                  <a:pt x="4489871" y="3943353"/>
                  <a:pt x="4463161" y="3930054"/>
                  <a:pt x="4453622" y="3905357"/>
                </a:cubicBezTo>
                <a:cubicBezTo>
                  <a:pt x="4451715" y="3901557"/>
                  <a:pt x="4449806" y="3895858"/>
                  <a:pt x="4449806" y="3890159"/>
                </a:cubicBezTo>
                <a:cubicBezTo>
                  <a:pt x="4449806" y="3869261"/>
                  <a:pt x="4463161" y="3852163"/>
                  <a:pt x="4482239" y="3844564"/>
                </a:cubicBezTo>
                <a:cubicBezTo>
                  <a:pt x="4482239" y="3844564"/>
                  <a:pt x="4482239" y="3844564"/>
                  <a:pt x="4823714" y="3721077"/>
                </a:cubicBezTo>
                <a:cubicBezTo>
                  <a:pt x="4829916" y="3718702"/>
                  <a:pt x="4836354" y="3717752"/>
                  <a:pt x="4842646" y="3718049"/>
                </a:cubicBezTo>
                <a:close/>
                <a:moveTo>
                  <a:pt x="1478619" y="3718049"/>
                </a:moveTo>
                <a:cubicBezTo>
                  <a:pt x="1496975" y="3718940"/>
                  <a:pt x="1513727" y="3731051"/>
                  <a:pt x="1520856" y="3749574"/>
                </a:cubicBezTo>
                <a:cubicBezTo>
                  <a:pt x="1530360" y="3774271"/>
                  <a:pt x="1517054" y="3802768"/>
                  <a:pt x="1492342" y="3810367"/>
                </a:cubicBezTo>
                <a:cubicBezTo>
                  <a:pt x="1492342" y="3810367"/>
                  <a:pt x="1492342" y="3810367"/>
                  <a:pt x="1152074" y="3933854"/>
                </a:cubicBezTo>
                <a:cubicBezTo>
                  <a:pt x="1127362" y="3943353"/>
                  <a:pt x="1098848" y="3930054"/>
                  <a:pt x="1089343" y="3905357"/>
                </a:cubicBezTo>
                <a:cubicBezTo>
                  <a:pt x="1087442" y="3901557"/>
                  <a:pt x="1087442" y="3895858"/>
                  <a:pt x="1087442" y="3890159"/>
                </a:cubicBezTo>
                <a:cubicBezTo>
                  <a:pt x="1087442" y="3869261"/>
                  <a:pt x="1098848" y="3852163"/>
                  <a:pt x="1117857" y="3844564"/>
                </a:cubicBezTo>
                <a:cubicBezTo>
                  <a:pt x="1117857" y="3844564"/>
                  <a:pt x="1117857" y="3844564"/>
                  <a:pt x="1460026" y="3721077"/>
                </a:cubicBezTo>
                <a:cubicBezTo>
                  <a:pt x="1466204" y="3718702"/>
                  <a:pt x="1472501" y="3717752"/>
                  <a:pt x="1478619" y="3718049"/>
                </a:cubicBezTo>
                <a:close/>
                <a:moveTo>
                  <a:pt x="2033482" y="3710438"/>
                </a:moveTo>
                <a:cubicBezTo>
                  <a:pt x="2053278" y="3711952"/>
                  <a:pt x="2071188" y="3725486"/>
                  <a:pt x="2078351" y="3745431"/>
                </a:cubicBezTo>
                <a:cubicBezTo>
                  <a:pt x="2085994" y="3772025"/>
                  <a:pt x="2070710" y="3800519"/>
                  <a:pt x="2043959" y="3810017"/>
                </a:cubicBezTo>
                <a:cubicBezTo>
                  <a:pt x="2043959" y="3810017"/>
                  <a:pt x="2043959" y="3810017"/>
                  <a:pt x="1701997" y="3916393"/>
                </a:cubicBezTo>
                <a:cubicBezTo>
                  <a:pt x="1673341" y="3925891"/>
                  <a:pt x="1644685" y="3910694"/>
                  <a:pt x="1637043" y="3884100"/>
                </a:cubicBezTo>
                <a:cubicBezTo>
                  <a:pt x="1635133" y="3878402"/>
                  <a:pt x="1635133" y="3874602"/>
                  <a:pt x="1635133" y="3868904"/>
                </a:cubicBezTo>
                <a:cubicBezTo>
                  <a:pt x="1635133" y="3846109"/>
                  <a:pt x="1648506" y="3827113"/>
                  <a:pt x="1669520" y="3819515"/>
                </a:cubicBezTo>
                <a:cubicBezTo>
                  <a:pt x="1669520" y="3819515"/>
                  <a:pt x="1669520" y="3819515"/>
                  <a:pt x="2013393" y="3713139"/>
                </a:cubicBezTo>
                <a:cubicBezTo>
                  <a:pt x="2020079" y="3710764"/>
                  <a:pt x="2026885" y="3709933"/>
                  <a:pt x="2033482" y="3710438"/>
                </a:cubicBezTo>
                <a:close/>
                <a:moveTo>
                  <a:pt x="4287765" y="3710438"/>
                </a:moveTo>
                <a:cubicBezTo>
                  <a:pt x="4307452" y="3711952"/>
                  <a:pt x="4324992" y="3725486"/>
                  <a:pt x="4330719" y="3745431"/>
                </a:cubicBezTo>
                <a:cubicBezTo>
                  <a:pt x="4340265" y="3772025"/>
                  <a:pt x="4324992" y="3800519"/>
                  <a:pt x="4298264" y="3810017"/>
                </a:cubicBezTo>
                <a:cubicBezTo>
                  <a:pt x="4298264" y="3810017"/>
                  <a:pt x="4298264" y="3810017"/>
                  <a:pt x="3954657" y="3916393"/>
                </a:cubicBezTo>
                <a:cubicBezTo>
                  <a:pt x="3927930" y="3925891"/>
                  <a:pt x="3899292" y="3910694"/>
                  <a:pt x="3891655" y="3884100"/>
                </a:cubicBezTo>
                <a:cubicBezTo>
                  <a:pt x="3889748" y="3878402"/>
                  <a:pt x="3887839" y="3874602"/>
                  <a:pt x="3887839" y="3868904"/>
                </a:cubicBezTo>
                <a:cubicBezTo>
                  <a:pt x="3887839" y="3846109"/>
                  <a:pt x="3903110" y="3827113"/>
                  <a:pt x="3924112" y="3819515"/>
                </a:cubicBezTo>
                <a:cubicBezTo>
                  <a:pt x="3924112" y="3819515"/>
                  <a:pt x="3924112" y="3819515"/>
                  <a:pt x="4267718" y="3713139"/>
                </a:cubicBezTo>
                <a:cubicBezTo>
                  <a:pt x="4274402" y="3710764"/>
                  <a:pt x="4281202" y="3709933"/>
                  <a:pt x="4287765" y="3710438"/>
                </a:cubicBezTo>
                <a:close/>
                <a:moveTo>
                  <a:pt x="3726990" y="3702866"/>
                </a:moveTo>
                <a:cubicBezTo>
                  <a:pt x="3747976" y="3705095"/>
                  <a:pt x="3766551" y="3720431"/>
                  <a:pt x="3772266" y="3743256"/>
                </a:cubicBezTo>
                <a:cubicBezTo>
                  <a:pt x="3779888" y="3771789"/>
                  <a:pt x="3762740" y="3800321"/>
                  <a:pt x="3734163" y="3807929"/>
                </a:cubicBezTo>
                <a:cubicBezTo>
                  <a:pt x="3734163" y="3807929"/>
                  <a:pt x="3734163" y="3807929"/>
                  <a:pt x="3391272" y="3899232"/>
                </a:cubicBezTo>
                <a:cubicBezTo>
                  <a:pt x="3360791" y="3906841"/>
                  <a:pt x="3332216" y="3889722"/>
                  <a:pt x="3324595" y="3861189"/>
                </a:cubicBezTo>
                <a:cubicBezTo>
                  <a:pt x="3322690" y="3857385"/>
                  <a:pt x="3322690" y="3851679"/>
                  <a:pt x="3322690" y="3847874"/>
                </a:cubicBezTo>
                <a:cubicBezTo>
                  <a:pt x="3322690" y="3823147"/>
                  <a:pt x="3337931" y="3802223"/>
                  <a:pt x="3362695" y="3796517"/>
                </a:cubicBezTo>
                <a:cubicBezTo>
                  <a:pt x="3362695" y="3796517"/>
                  <a:pt x="3362695" y="3796517"/>
                  <a:pt x="3705586" y="3705214"/>
                </a:cubicBezTo>
                <a:cubicBezTo>
                  <a:pt x="3712731" y="3702836"/>
                  <a:pt x="3719994" y="3702123"/>
                  <a:pt x="3726990" y="3702866"/>
                </a:cubicBezTo>
                <a:close/>
                <a:moveTo>
                  <a:pt x="2593305" y="3702866"/>
                </a:moveTo>
                <a:cubicBezTo>
                  <a:pt x="2614363" y="3705095"/>
                  <a:pt x="2633001" y="3720431"/>
                  <a:pt x="2638736" y="3743256"/>
                </a:cubicBezTo>
                <a:cubicBezTo>
                  <a:pt x="2646383" y="3771789"/>
                  <a:pt x="2629177" y="3800321"/>
                  <a:pt x="2600503" y="3807929"/>
                </a:cubicBezTo>
                <a:cubicBezTo>
                  <a:pt x="2600503" y="3807929"/>
                  <a:pt x="2600503" y="3807929"/>
                  <a:pt x="2256408" y="3899232"/>
                </a:cubicBezTo>
                <a:cubicBezTo>
                  <a:pt x="2225822" y="3906841"/>
                  <a:pt x="2197147" y="3889722"/>
                  <a:pt x="2189501" y="3861189"/>
                </a:cubicBezTo>
                <a:cubicBezTo>
                  <a:pt x="2187589" y="3857385"/>
                  <a:pt x="2187589" y="3851679"/>
                  <a:pt x="2187589" y="3847874"/>
                </a:cubicBezTo>
                <a:cubicBezTo>
                  <a:pt x="2187589" y="3823147"/>
                  <a:pt x="2202883" y="3802223"/>
                  <a:pt x="2227734" y="3796517"/>
                </a:cubicBezTo>
                <a:cubicBezTo>
                  <a:pt x="2227734" y="3796517"/>
                  <a:pt x="2227734" y="3796517"/>
                  <a:pt x="2571828" y="3705214"/>
                </a:cubicBezTo>
                <a:cubicBezTo>
                  <a:pt x="2578997" y="3702836"/>
                  <a:pt x="2586286" y="3702123"/>
                  <a:pt x="2593305" y="3702866"/>
                </a:cubicBezTo>
                <a:close/>
                <a:moveTo>
                  <a:pt x="3135574" y="3696656"/>
                </a:moveTo>
                <a:cubicBezTo>
                  <a:pt x="3166095" y="3690941"/>
                  <a:pt x="3196618" y="3709991"/>
                  <a:pt x="3202340" y="3740471"/>
                </a:cubicBezTo>
                <a:cubicBezTo>
                  <a:pt x="3209972" y="3770951"/>
                  <a:pt x="3190896" y="3801431"/>
                  <a:pt x="3160374" y="3809051"/>
                </a:cubicBezTo>
                <a:cubicBezTo>
                  <a:pt x="3160374" y="3809051"/>
                  <a:pt x="3160374" y="3809051"/>
                  <a:pt x="2815091" y="3883346"/>
                </a:cubicBezTo>
                <a:cubicBezTo>
                  <a:pt x="2784566" y="3890966"/>
                  <a:pt x="2754046" y="3871916"/>
                  <a:pt x="2746414" y="3841436"/>
                </a:cubicBezTo>
                <a:cubicBezTo>
                  <a:pt x="2746414" y="3835721"/>
                  <a:pt x="2746414" y="3831911"/>
                  <a:pt x="2746414" y="3828101"/>
                </a:cubicBezTo>
                <a:cubicBezTo>
                  <a:pt x="2746414" y="3801431"/>
                  <a:pt x="2763585" y="3778571"/>
                  <a:pt x="2790292" y="3772856"/>
                </a:cubicBezTo>
                <a:cubicBezTo>
                  <a:pt x="2790292" y="3772856"/>
                  <a:pt x="2790292" y="3772856"/>
                  <a:pt x="3135574" y="3696656"/>
                </a:cubicBezTo>
                <a:close/>
                <a:moveTo>
                  <a:pt x="9858878" y="3457894"/>
                </a:moveTo>
                <a:cubicBezTo>
                  <a:pt x="9863879" y="3458370"/>
                  <a:pt x="9868641" y="3460749"/>
                  <a:pt x="9871499" y="3465507"/>
                </a:cubicBezTo>
                <a:cubicBezTo>
                  <a:pt x="9879119" y="3473119"/>
                  <a:pt x="9877214" y="3484538"/>
                  <a:pt x="9869594" y="3492151"/>
                </a:cubicBezTo>
                <a:cubicBezTo>
                  <a:pt x="9869594" y="3492151"/>
                  <a:pt x="9869594" y="3492151"/>
                  <a:pt x="9538119" y="3773816"/>
                </a:cubicBezTo>
                <a:cubicBezTo>
                  <a:pt x="9530499" y="3781429"/>
                  <a:pt x="9519069" y="3781429"/>
                  <a:pt x="9511449" y="3771913"/>
                </a:cubicBezTo>
                <a:cubicBezTo>
                  <a:pt x="9509544" y="3768107"/>
                  <a:pt x="9507639" y="3764301"/>
                  <a:pt x="9507639" y="3760494"/>
                </a:cubicBezTo>
                <a:cubicBezTo>
                  <a:pt x="9507639" y="3754785"/>
                  <a:pt x="9509544" y="3749075"/>
                  <a:pt x="9513354" y="3745269"/>
                </a:cubicBezTo>
                <a:cubicBezTo>
                  <a:pt x="9513354" y="3745269"/>
                  <a:pt x="9513354" y="3745269"/>
                  <a:pt x="9844829" y="3461700"/>
                </a:cubicBezTo>
                <a:cubicBezTo>
                  <a:pt x="9848639" y="3458846"/>
                  <a:pt x="9853878" y="3457418"/>
                  <a:pt x="9858878" y="3457894"/>
                </a:cubicBezTo>
                <a:close/>
                <a:moveTo>
                  <a:pt x="10444338" y="3451145"/>
                </a:moveTo>
                <a:cubicBezTo>
                  <a:pt x="10449819" y="3451859"/>
                  <a:pt x="10455062" y="3454714"/>
                  <a:pt x="10458875" y="3459471"/>
                </a:cubicBezTo>
                <a:cubicBezTo>
                  <a:pt x="10466502" y="3468987"/>
                  <a:pt x="10464595" y="3482308"/>
                  <a:pt x="10455062" y="3489921"/>
                </a:cubicBezTo>
                <a:cubicBezTo>
                  <a:pt x="10455062" y="3489921"/>
                  <a:pt x="10455062" y="3489921"/>
                  <a:pt x="10123310" y="3756353"/>
                </a:cubicBezTo>
                <a:cubicBezTo>
                  <a:pt x="10113777" y="3763966"/>
                  <a:pt x="10098524" y="3762063"/>
                  <a:pt x="10090897" y="3752547"/>
                </a:cubicBezTo>
                <a:cubicBezTo>
                  <a:pt x="10088991" y="3748741"/>
                  <a:pt x="10087084" y="3743032"/>
                  <a:pt x="10087084" y="3737323"/>
                </a:cubicBezTo>
                <a:cubicBezTo>
                  <a:pt x="10087084" y="3731613"/>
                  <a:pt x="10088991" y="3725904"/>
                  <a:pt x="10094710" y="3720195"/>
                </a:cubicBezTo>
                <a:cubicBezTo>
                  <a:pt x="10094710" y="3720195"/>
                  <a:pt x="10094710" y="3720195"/>
                  <a:pt x="10428370" y="3455665"/>
                </a:cubicBezTo>
                <a:cubicBezTo>
                  <a:pt x="10433136" y="3451859"/>
                  <a:pt x="10438856" y="3450432"/>
                  <a:pt x="10444338" y="3451145"/>
                </a:cubicBezTo>
                <a:close/>
                <a:moveTo>
                  <a:pt x="9282925" y="3451145"/>
                </a:moveTo>
                <a:cubicBezTo>
                  <a:pt x="9288878" y="3451859"/>
                  <a:pt x="9294593" y="3454714"/>
                  <a:pt x="9298403" y="3459471"/>
                </a:cubicBezTo>
                <a:cubicBezTo>
                  <a:pt x="9306023" y="3468987"/>
                  <a:pt x="9304118" y="3482308"/>
                  <a:pt x="9294593" y="3489921"/>
                </a:cubicBezTo>
                <a:cubicBezTo>
                  <a:pt x="9294593" y="3489921"/>
                  <a:pt x="9294593" y="3489921"/>
                  <a:pt x="8961213" y="3756353"/>
                </a:cubicBezTo>
                <a:cubicBezTo>
                  <a:pt x="8951688" y="3763966"/>
                  <a:pt x="8938353" y="3762063"/>
                  <a:pt x="8930733" y="3752547"/>
                </a:cubicBezTo>
                <a:cubicBezTo>
                  <a:pt x="8926923" y="3748741"/>
                  <a:pt x="8925018" y="3743032"/>
                  <a:pt x="8925018" y="3737323"/>
                </a:cubicBezTo>
                <a:cubicBezTo>
                  <a:pt x="8925018" y="3731613"/>
                  <a:pt x="8928828" y="3725904"/>
                  <a:pt x="8934543" y="3720195"/>
                </a:cubicBezTo>
                <a:cubicBezTo>
                  <a:pt x="8934543" y="3720195"/>
                  <a:pt x="8934543" y="3720195"/>
                  <a:pt x="9266017" y="3455665"/>
                </a:cubicBezTo>
                <a:cubicBezTo>
                  <a:pt x="9270780" y="3451859"/>
                  <a:pt x="9276972" y="3450432"/>
                  <a:pt x="9282925" y="3451145"/>
                </a:cubicBezTo>
                <a:close/>
                <a:moveTo>
                  <a:pt x="8712667" y="3443688"/>
                </a:moveTo>
                <a:cubicBezTo>
                  <a:pt x="8719102" y="3444402"/>
                  <a:pt x="8725298" y="3447736"/>
                  <a:pt x="8730065" y="3453451"/>
                </a:cubicBezTo>
                <a:cubicBezTo>
                  <a:pt x="8737691" y="3464881"/>
                  <a:pt x="8735784" y="3482026"/>
                  <a:pt x="8724345" y="3489646"/>
                </a:cubicBezTo>
                <a:cubicBezTo>
                  <a:pt x="8724345" y="3489646"/>
                  <a:pt x="8724345" y="3489646"/>
                  <a:pt x="8390693" y="3737296"/>
                </a:cubicBezTo>
                <a:cubicBezTo>
                  <a:pt x="8379253" y="3744916"/>
                  <a:pt x="8362094" y="3743011"/>
                  <a:pt x="8354468" y="3731581"/>
                </a:cubicBezTo>
                <a:cubicBezTo>
                  <a:pt x="8350655" y="3727771"/>
                  <a:pt x="8348748" y="3722056"/>
                  <a:pt x="8348748" y="3716341"/>
                </a:cubicBezTo>
                <a:cubicBezTo>
                  <a:pt x="8348748" y="3708721"/>
                  <a:pt x="8352561" y="3701101"/>
                  <a:pt x="8360187" y="3695386"/>
                </a:cubicBezTo>
                <a:cubicBezTo>
                  <a:pt x="8360187" y="3695386"/>
                  <a:pt x="8360187" y="3695386"/>
                  <a:pt x="8693840" y="3449641"/>
                </a:cubicBezTo>
                <a:cubicBezTo>
                  <a:pt x="8699560" y="3444878"/>
                  <a:pt x="8706233" y="3442973"/>
                  <a:pt x="8712667" y="3443688"/>
                </a:cubicBezTo>
                <a:close/>
                <a:moveTo>
                  <a:pt x="11022273" y="3443688"/>
                </a:moveTo>
                <a:cubicBezTo>
                  <a:pt x="11028469" y="3444402"/>
                  <a:pt x="11034189" y="3447736"/>
                  <a:pt x="11038002" y="3453451"/>
                </a:cubicBezTo>
                <a:cubicBezTo>
                  <a:pt x="11047535" y="3464881"/>
                  <a:pt x="11045628" y="3482026"/>
                  <a:pt x="11034189" y="3489646"/>
                </a:cubicBezTo>
                <a:cubicBezTo>
                  <a:pt x="11034189" y="3489646"/>
                  <a:pt x="11034189" y="3489646"/>
                  <a:pt x="10700537" y="3737296"/>
                </a:cubicBezTo>
                <a:cubicBezTo>
                  <a:pt x="10689097" y="3744916"/>
                  <a:pt x="10671938" y="3743011"/>
                  <a:pt x="10664312" y="3731581"/>
                </a:cubicBezTo>
                <a:cubicBezTo>
                  <a:pt x="10660499" y="3727771"/>
                  <a:pt x="10658592" y="3722056"/>
                  <a:pt x="10658592" y="3716341"/>
                </a:cubicBezTo>
                <a:cubicBezTo>
                  <a:pt x="10658592" y="3708721"/>
                  <a:pt x="10662405" y="3701101"/>
                  <a:pt x="10670031" y="3695386"/>
                </a:cubicBezTo>
                <a:cubicBezTo>
                  <a:pt x="10670031" y="3695386"/>
                  <a:pt x="10670031" y="3695386"/>
                  <a:pt x="11003684" y="3449641"/>
                </a:cubicBezTo>
                <a:cubicBezTo>
                  <a:pt x="11009404" y="3444878"/>
                  <a:pt x="11016077" y="3442973"/>
                  <a:pt x="11022273" y="3443688"/>
                </a:cubicBezTo>
                <a:close/>
                <a:moveTo>
                  <a:pt x="11595028" y="3438528"/>
                </a:moveTo>
                <a:cubicBezTo>
                  <a:pt x="11602660" y="3439957"/>
                  <a:pt x="11609816" y="3444243"/>
                  <a:pt x="11614586" y="3450911"/>
                </a:cubicBezTo>
                <a:cubicBezTo>
                  <a:pt x="11622218" y="3464246"/>
                  <a:pt x="11620310" y="3483296"/>
                  <a:pt x="11606953" y="3490916"/>
                </a:cubicBezTo>
                <a:cubicBezTo>
                  <a:pt x="11606953" y="3490916"/>
                  <a:pt x="11606953" y="3490916"/>
                  <a:pt x="11271132" y="3719516"/>
                </a:cubicBezTo>
                <a:cubicBezTo>
                  <a:pt x="11257775" y="3729041"/>
                  <a:pt x="11238695" y="3725231"/>
                  <a:pt x="11231062" y="3711896"/>
                </a:cubicBezTo>
                <a:cubicBezTo>
                  <a:pt x="11227246" y="3706181"/>
                  <a:pt x="11225338" y="3700466"/>
                  <a:pt x="11225338" y="3696656"/>
                </a:cubicBezTo>
                <a:cubicBezTo>
                  <a:pt x="11225338" y="3687131"/>
                  <a:pt x="11229154" y="3677606"/>
                  <a:pt x="11238695" y="3671891"/>
                </a:cubicBezTo>
                <a:cubicBezTo>
                  <a:pt x="11238695" y="3671891"/>
                  <a:pt x="11238695" y="3671891"/>
                  <a:pt x="11572608" y="3443291"/>
                </a:cubicBezTo>
                <a:cubicBezTo>
                  <a:pt x="11579286" y="3438528"/>
                  <a:pt x="11587396" y="3437100"/>
                  <a:pt x="11595028" y="3438528"/>
                </a:cubicBezTo>
                <a:close/>
                <a:moveTo>
                  <a:pt x="8149264" y="3438528"/>
                </a:moveTo>
                <a:cubicBezTo>
                  <a:pt x="8156391" y="3439957"/>
                  <a:pt x="8163042" y="3444243"/>
                  <a:pt x="8167794" y="3450911"/>
                </a:cubicBezTo>
                <a:cubicBezTo>
                  <a:pt x="8177296" y="3464246"/>
                  <a:pt x="8173495" y="3483296"/>
                  <a:pt x="8160192" y="3490916"/>
                </a:cubicBezTo>
                <a:cubicBezTo>
                  <a:pt x="8160192" y="3490916"/>
                  <a:pt x="8160192" y="3490916"/>
                  <a:pt x="7825713" y="3719516"/>
                </a:cubicBezTo>
                <a:cubicBezTo>
                  <a:pt x="7812410" y="3729041"/>
                  <a:pt x="7795306" y="3725231"/>
                  <a:pt x="7785804" y="3711896"/>
                </a:cubicBezTo>
                <a:cubicBezTo>
                  <a:pt x="7782003" y="3706181"/>
                  <a:pt x="7782003" y="3700466"/>
                  <a:pt x="7782003" y="3696656"/>
                </a:cubicBezTo>
                <a:cubicBezTo>
                  <a:pt x="7782003" y="3687131"/>
                  <a:pt x="7785804" y="3677606"/>
                  <a:pt x="7793405" y="3671891"/>
                </a:cubicBezTo>
                <a:cubicBezTo>
                  <a:pt x="7793405" y="3671891"/>
                  <a:pt x="7793405" y="3671891"/>
                  <a:pt x="8127884" y="3443291"/>
                </a:cubicBezTo>
                <a:cubicBezTo>
                  <a:pt x="8134536" y="3438528"/>
                  <a:pt x="8142137" y="3437100"/>
                  <a:pt x="8149264" y="3438528"/>
                </a:cubicBezTo>
                <a:close/>
                <a:moveTo>
                  <a:pt x="12139750" y="3433766"/>
                </a:moveTo>
                <a:cubicBezTo>
                  <a:pt x="12139750" y="3433766"/>
                  <a:pt x="12139750" y="3433766"/>
                  <a:pt x="12139750" y="3509879"/>
                </a:cubicBezTo>
                <a:cubicBezTo>
                  <a:pt x="12139750" y="3509879"/>
                  <a:pt x="12139750" y="3509879"/>
                  <a:pt x="11835219" y="3702065"/>
                </a:cubicBezTo>
                <a:cubicBezTo>
                  <a:pt x="11819993" y="3711579"/>
                  <a:pt x="11799056" y="3705870"/>
                  <a:pt x="11789540" y="3690648"/>
                </a:cubicBezTo>
                <a:cubicBezTo>
                  <a:pt x="11785733" y="3684939"/>
                  <a:pt x="11785733" y="3679231"/>
                  <a:pt x="11785733" y="3673522"/>
                </a:cubicBezTo>
                <a:cubicBezTo>
                  <a:pt x="11785733" y="3662105"/>
                  <a:pt x="11789540" y="3652591"/>
                  <a:pt x="11800960" y="3646883"/>
                </a:cubicBezTo>
                <a:lnTo>
                  <a:pt x="12135943" y="3435669"/>
                </a:lnTo>
                <a:cubicBezTo>
                  <a:pt x="12137847" y="3435669"/>
                  <a:pt x="12137847" y="3435669"/>
                  <a:pt x="12139750" y="3433766"/>
                </a:cubicBezTo>
                <a:close/>
                <a:moveTo>
                  <a:pt x="7592961" y="3431781"/>
                </a:moveTo>
                <a:cubicBezTo>
                  <a:pt x="7601309" y="3433924"/>
                  <a:pt x="7608941" y="3439163"/>
                  <a:pt x="7613711" y="3446783"/>
                </a:cubicBezTo>
                <a:cubicBezTo>
                  <a:pt x="7623251" y="3462023"/>
                  <a:pt x="7617527" y="3481073"/>
                  <a:pt x="7602263" y="3490598"/>
                </a:cubicBezTo>
                <a:cubicBezTo>
                  <a:pt x="7602263" y="3490598"/>
                  <a:pt x="7602263" y="3490598"/>
                  <a:pt x="7266453" y="3702053"/>
                </a:cubicBezTo>
                <a:cubicBezTo>
                  <a:pt x="7251189" y="3711578"/>
                  <a:pt x="7232109" y="3705863"/>
                  <a:pt x="7222569" y="3690623"/>
                </a:cubicBezTo>
                <a:cubicBezTo>
                  <a:pt x="7218753" y="3684908"/>
                  <a:pt x="7216845" y="3679193"/>
                  <a:pt x="7216845" y="3673478"/>
                </a:cubicBezTo>
                <a:cubicBezTo>
                  <a:pt x="7216845" y="3662048"/>
                  <a:pt x="7222569" y="3652523"/>
                  <a:pt x="7232109" y="3646808"/>
                </a:cubicBezTo>
                <a:cubicBezTo>
                  <a:pt x="7232109" y="3646808"/>
                  <a:pt x="7232109" y="3646808"/>
                  <a:pt x="7567918" y="3435353"/>
                </a:cubicBezTo>
                <a:cubicBezTo>
                  <a:pt x="7575551" y="3430590"/>
                  <a:pt x="7584614" y="3429638"/>
                  <a:pt x="7592961" y="3431781"/>
                </a:cubicBezTo>
                <a:close/>
                <a:moveTo>
                  <a:pt x="7042583" y="3425684"/>
                </a:moveTo>
                <a:cubicBezTo>
                  <a:pt x="7051618" y="3428071"/>
                  <a:pt x="7059702" y="3433799"/>
                  <a:pt x="7064457" y="3442391"/>
                </a:cubicBezTo>
                <a:cubicBezTo>
                  <a:pt x="7073968" y="3459576"/>
                  <a:pt x="7068261" y="3480580"/>
                  <a:pt x="7051143" y="3490127"/>
                </a:cubicBezTo>
                <a:cubicBezTo>
                  <a:pt x="7051143" y="3490127"/>
                  <a:pt x="7051143" y="3490127"/>
                  <a:pt x="6714471" y="3682981"/>
                </a:cubicBezTo>
                <a:cubicBezTo>
                  <a:pt x="6697352" y="3692528"/>
                  <a:pt x="6676429" y="3686800"/>
                  <a:pt x="6665016" y="3669615"/>
                </a:cubicBezTo>
                <a:cubicBezTo>
                  <a:pt x="6663114" y="3663886"/>
                  <a:pt x="6661212" y="3658158"/>
                  <a:pt x="6661212" y="3652430"/>
                </a:cubicBezTo>
                <a:cubicBezTo>
                  <a:pt x="6661212" y="3639064"/>
                  <a:pt x="6666918" y="3627607"/>
                  <a:pt x="6678331" y="3619969"/>
                </a:cubicBezTo>
                <a:cubicBezTo>
                  <a:pt x="6678331" y="3619969"/>
                  <a:pt x="6678331" y="3619969"/>
                  <a:pt x="7015003" y="3429025"/>
                </a:cubicBezTo>
                <a:cubicBezTo>
                  <a:pt x="7023562" y="3424254"/>
                  <a:pt x="7033548" y="3423297"/>
                  <a:pt x="7042583" y="3425684"/>
                </a:cubicBezTo>
                <a:close/>
                <a:moveTo>
                  <a:pt x="6499335" y="3418940"/>
                </a:moveTo>
                <a:cubicBezTo>
                  <a:pt x="6508845" y="3422044"/>
                  <a:pt x="6517405" y="3428727"/>
                  <a:pt x="6523112" y="3438274"/>
                </a:cubicBezTo>
                <a:cubicBezTo>
                  <a:pt x="6532623" y="3457370"/>
                  <a:pt x="6525014" y="3480286"/>
                  <a:pt x="6505992" y="3491743"/>
                </a:cubicBezTo>
                <a:cubicBezTo>
                  <a:pt x="6505992" y="3491743"/>
                  <a:pt x="6505992" y="3491743"/>
                  <a:pt x="6167407" y="3663607"/>
                </a:cubicBezTo>
                <a:cubicBezTo>
                  <a:pt x="6148385" y="3675065"/>
                  <a:pt x="6125559" y="3667426"/>
                  <a:pt x="6116048" y="3648330"/>
                </a:cubicBezTo>
                <a:cubicBezTo>
                  <a:pt x="6112244" y="3642602"/>
                  <a:pt x="6110342" y="3634963"/>
                  <a:pt x="6110342" y="3629234"/>
                </a:cubicBezTo>
                <a:cubicBezTo>
                  <a:pt x="6110342" y="3615867"/>
                  <a:pt x="6117950" y="3602500"/>
                  <a:pt x="6131266" y="3594862"/>
                </a:cubicBezTo>
                <a:cubicBezTo>
                  <a:pt x="6131266" y="3594862"/>
                  <a:pt x="6131266" y="3594862"/>
                  <a:pt x="6469851" y="3421090"/>
                </a:cubicBezTo>
                <a:cubicBezTo>
                  <a:pt x="6479362" y="3416316"/>
                  <a:pt x="6489824" y="3415839"/>
                  <a:pt x="6499335" y="3418940"/>
                </a:cubicBezTo>
                <a:close/>
                <a:moveTo>
                  <a:pt x="5958954" y="3413743"/>
                </a:moveTo>
                <a:cubicBezTo>
                  <a:pt x="5969463" y="3417542"/>
                  <a:pt x="5978538" y="3425142"/>
                  <a:pt x="5983314" y="3435593"/>
                </a:cubicBezTo>
                <a:cubicBezTo>
                  <a:pt x="5992867" y="3456495"/>
                  <a:pt x="5983314" y="3483098"/>
                  <a:pt x="5962297" y="3492599"/>
                </a:cubicBezTo>
                <a:cubicBezTo>
                  <a:pt x="5962297" y="3492599"/>
                  <a:pt x="5962297" y="3492599"/>
                  <a:pt x="5622210" y="3646514"/>
                </a:cubicBezTo>
                <a:cubicBezTo>
                  <a:pt x="5599284" y="3656015"/>
                  <a:pt x="5574446" y="3646514"/>
                  <a:pt x="5564892" y="3625612"/>
                </a:cubicBezTo>
                <a:cubicBezTo>
                  <a:pt x="5562982" y="3619911"/>
                  <a:pt x="5561071" y="3614211"/>
                  <a:pt x="5561071" y="3608510"/>
                </a:cubicBezTo>
                <a:cubicBezTo>
                  <a:pt x="5561071" y="3591408"/>
                  <a:pt x="5570624" y="3576207"/>
                  <a:pt x="5585909" y="3568606"/>
                </a:cubicBezTo>
                <a:cubicBezTo>
                  <a:pt x="5585909" y="3568606"/>
                  <a:pt x="5585909" y="3568606"/>
                  <a:pt x="5925997" y="3414692"/>
                </a:cubicBezTo>
                <a:cubicBezTo>
                  <a:pt x="5936505" y="3409944"/>
                  <a:pt x="5948446" y="3409944"/>
                  <a:pt x="5958954" y="3413743"/>
                </a:cubicBezTo>
                <a:close/>
                <a:moveTo>
                  <a:pt x="398651" y="3413741"/>
                </a:moveTo>
                <a:cubicBezTo>
                  <a:pt x="408645" y="3417542"/>
                  <a:pt x="417212" y="3425142"/>
                  <a:pt x="421971" y="3435593"/>
                </a:cubicBezTo>
                <a:cubicBezTo>
                  <a:pt x="433392" y="3456495"/>
                  <a:pt x="423874" y="3483098"/>
                  <a:pt x="401031" y="3492599"/>
                </a:cubicBezTo>
                <a:cubicBezTo>
                  <a:pt x="401031" y="3492599"/>
                  <a:pt x="401031" y="3492599"/>
                  <a:pt x="62187" y="3646514"/>
                </a:cubicBezTo>
                <a:cubicBezTo>
                  <a:pt x="41247" y="3656015"/>
                  <a:pt x="16500" y="3646514"/>
                  <a:pt x="6982" y="3625612"/>
                </a:cubicBezTo>
                <a:cubicBezTo>
                  <a:pt x="3175" y="3619911"/>
                  <a:pt x="3175" y="3614211"/>
                  <a:pt x="3175" y="3608510"/>
                </a:cubicBezTo>
                <a:cubicBezTo>
                  <a:pt x="3175" y="3591408"/>
                  <a:pt x="12693" y="3576207"/>
                  <a:pt x="27922" y="3568606"/>
                </a:cubicBezTo>
                <a:cubicBezTo>
                  <a:pt x="27922" y="3568606"/>
                  <a:pt x="27922" y="3568606"/>
                  <a:pt x="366766" y="3414692"/>
                </a:cubicBezTo>
                <a:cubicBezTo>
                  <a:pt x="377236" y="3409942"/>
                  <a:pt x="388657" y="3409942"/>
                  <a:pt x="398651" y="3413741"/>
                </a:cubicBezTo>
                <a:close/>
                <a:moveTo>
                  <a:pt x="5394960" y="3403430"/>
                </a:moveTo>
                <a:cubicBezTo>
                  <a:pt x="5413341" y="3403787"/>
                  <a:pt x="5430116" y="3414829"/>
                  <a:pt x="5437255" y="3433353"/>
                </a:cubicBezTo>
                <a:cubicBezTo>
                  <a:pt x="5446773" y="3456153"/>
                  <a:pt x="5435351" y="3482753"/>
                  <a:pt x="5410604" y="3492253"/>
                </a:cubicBezTo>
                <a:cubicBezTo>
                  <a:pt x="5410604" y="3492253"/>
                  <a:pt x="5410604" y="3492253"/>
                  <a:pt x="5069848" y="3629053"/>
                </a:cubicBezTo>
                <a:cubicBezTo>
                  <a:pt x="5047008" y="3638553"/>
                  <a:pt x="5020360" y="3627153"/>
                  <a:pt x="5010843" y="3602453"/>
                </a:cubicBezTo>
                <a:cubicBezTo>
                  <a:pt x="5008939" y="3596753"/>
                  <a:pt x="5007036" y="3591053"/>
                  <a:pt x="5007036" y="3585353"/>
                </a:cubicBezTo>
                <a:cubicBezTo>
                  <a:pt x="5007036" y="3568253"/>
                  <a:pt x="5018457" y="3551153"/>
                  <a:pt x="5037490" y="3543553"/>
                </a:cubicBezTo>
                <a:cubicBezTo>
                  <a:pt x="5037490" y="3543553"/>
                  <a:pt x="5037490" y="3543553"/>
                  <a:pt x="5376339" y="3406755"/>
                </a:cubicBezTo>
                <a:cubicBezTo>
                  <a:pt x="5382526" y="3404382"/>
                  <a:pt x="5388832" y="3403312"/>
                  <a:pt x="5394960" y="3403430"/>
                </a:cubicBezTo>
                <a:close/>
                <a:moveTo>
                  <a:pt x="928445" y="3403428"/>
                </a:moveTo>
                <a:cubicBezTo>
                  <a:pt x="946037" y="3403784"/>
                  <a:pt x="962825" y="3414829"/>
                  <a:pt x="969969" y="3433353"/>
                </a:cubicBezTo>
                <a:cubicBezTo>
                  <a:pt x="979494" y="3456153"/>
                  <a:pt x="968064" y="3482753"/>
                  <a:pt x="945204" y="3492253"/>
                </a:cubicBezTo>
                <a:cubicBezTo>
                  <a:pt x="945204" y="3492253"/>
                  <a:pt x="945204" y="3492253"/>
                  <a:pt x="604205" y="3629053"/>
                </a:cubicBezTo>
                <a:cubicBezTo>
                  <a:pt x="579439" y="3638553"/>
                  <a:pt x="552769" y="3627153"/>
                  <a:pt x="543244" y="3602453"/>
                </a:cubicBezTo>
                <a:cubicBezTo>
                  <a:pt x="541339" y="3596753"/>
                  <a:pt x="541339" y="3591053"/>
                  <a:pt x="541339" y="3585353"/>
                </a:cubicBezTo>
                <a:cubicBezTo>
                  <a:pt x="541339" y="3568253"/>
                  <a:pt x="550864" y="3551153"/>
                  <a:pt x="569914" y="3543553"/>
                </a:cubicBezTo>
                <a:cubicBezTo>
                  <a:pt x="569914" y="3543553"/>
                  <a:pt x="569914" y="3543553"/>
                  <a:pt x="910913" y="3406753"/>
                </a:cubicBezTo>
                <a:cubicBezTo>
                  <a:pt x="916628" y="3404380"/>
                  <a:pt x="922582" y="3403309"/>
                  <a:pt x="928445" y="3403428"/>
                </a:cubicBezTo>
                <a:close/>
                <a:moveTo>
                  <a:pt x="4843466" y="3396591"/>
                </a:moveTo>
                <a:cubicBezTo>
                  <a:pt x="4863128" y="3398289"/>
                  <a:pt x="4880648" y="3410433"/>
                  <a:pt x="4886367" y="3429004"/>
                </a:cubicBezTo>
                <a:cubicBezTo>
                  <a:pt x="4895901" y="3455673"/>
                  <a:pt x="4882555" y="3484248"/>
                  <a:pt x="4855862" y="3491868"/>
                </a:cubicBezTo>
                <a:cubicBezTo>
                  <a:pt x="4855862" y="3491868"/>
                  <a:pt x="4855862" y="3491868"/>
                  <a:pt x="4514622" y="3609978"/>
                </a:cubicBezTo>
                <a:cubicBezTo>
                  <a:pt x="4487935" y="3619503"/>
                  <a:pt x="4461245" y="3606168"/>
                  <a:pt x="4451713" y="3579498"/>
                </a:cubicBezTo>
                <a:cubicBezTo>
                  <a:pt x="4449806" y="3575688"/>
                  <a:pt x="4449806" y="3569973"/>
                  <a:pt x="4449806" y="3564258"/>
                </a:cubicBezTo>
                <a:cubicBezTo>
                  <a:pt x="4449806" y="3543303"/>
                  <a:pt x="4461245" y="3524253"/>
                  <a:pt x="4482215" y="3518538"/>
                </a:cubicBezTo>
                <a:cubicBezTo>
                  <a:pt x="4482215" y="3518538"/>
                  <a:pt x="4482215" y="3518538"/>
                  <a:pt x="4823447" y="3398526"/>
                </a:cubicBezTo>
                <a:cubicBezTo>
                  <a:pt x="4830119" y="3396621"/>
                  <a:pt x="4836913" y="3396026"/>
                  <a:pt x="4843466" y="3396591"/>
                </a:cubicBezTo>
                <a:close/>
                <a:moveTo>
                  <a:pt x="1478769" y="3396589"/>
                </a:moveTo>
                <a:cubicBezTo>
                  <a:pt x="1497714" y="3398285"/>
                  <a:pt x="1515586" y="3410431"/>
                  <a:pt x="1522735" y="3429004"/>
                </a:cubicBezTo>
                <a:cubicBezTo>
                  <a:pt x="1530360" y="3455673"/>
                  <a:pt x="1517016" y="3484248"/>
                  <a:pt x="1492233" y="3491868"/>
                </a:cubicBezTo>
                <a:cubicBezTo>
                  <a:pt x="1492233" y="3491868"/>
                  <a:pt x="1492233" y="3491868"/>
                  <a:pt x="1149084" y="3609978"/>
                </a:cubicBezTo>
                <a:cubicBezTo>
                  <a:pt x="1124301" y="3619503"/>
                  <a:pt x="1095705" y="3606168"/>
                  <a:pt x="1088080" y="3579498"/>
                </a:cubicBezTo>
                <a:cubicBezTo>
                  <a:pt x="1086173" y="3575688"/>
                  <a:pt x="1084267" y="3569973"/>
                  <a:pt x="1084267" y="3564258"/>
                </a:cubicBezTo>
                <a:cubicBezTo>
                  <a:pt x="1084267" y="3543303"/>
                  <a:pt x="1097612" y="3524253"/>
                  <a:pt x="1116676" y="3518538"/>
                </a:cubicBezTo>
                <a:cubicBezTo>
                  <a:pt x="1116676" y="3518538"/>
                  <a:pt x="1116676" y="3518538"/>
                  <a:pt x="1459824" y="3398524"/>
                </a:cubicBezTo>
                <a:cubicBezTo>
                  <a:pt x="1466020" y="3396619"/>
                  <a:pt x="1472454" y="3396023"/>
                  <a:pt x="1478769" y="3396589"/>
                </a:cubicBezTo>
                <a:close/>
                <a:moveTo>
                  <a:pt x="4288621" y="3390094"/>
                </a:moveTo>
                <a:cubicBezTo>
                  <a:pt x="4309086" y="3392150"/>
                  <a:pt x="4326601" y="3406815"/>
                  <a:pt x="4332319" y="3426845"/>
                </a:cubicBezTo>
                <a:cubicBezTo>
                  <a:pt x="4341852" y="3455461"/>
                  <a:pt x="4324694" y="3484078"/>
                  <a:pt x="4298005" y="3491709"/>
                </a:cubicBezTo>
                <a:cubicBezTo>
                  <a:pt x="4298005" y="3491709"/>
                  <a:pt x="4298005" y="3491709"/>
                  <a:pt x="3954880" y="3592822"/>
                </a:cubicBezTo>
                <a:cubicBezTo>
                  <a:pt x="3926286" y="3600453"/>
                  <a:pt x="3897688" y="3585191"/>
                  <a:pt x="3888156" y="3556574"/>
                </a:cubicBezTo>
                <a:cubicBezTo>
                  <a:pt x="3888156" y="3552758"/>
                  <a:pt x="3886249" y="3547035"/>
                  <a:pt x="3886249" y="3541311"/>
                </a:cubicBezTo>
                <a:cubicBezTo>
                  <a:pt x="3886249" y="3518418"/>
                  <a:pt x="3901500" y="3497432"/>
                  <a:pt x="3924379" y="3491709"/>
                </a:cubicBezTo>
                <a:cubicBezTo>
                  <a:pt x="3924379" y="3491709"/>
                  <a:pt x="3924379" y="3491709"/>
                  <a:pt x="4267501" y="3392508"/>
                </a:cubicBezTo>
                <a:cubicBezTo>
                  <a:pt x="4274652" y="3390124"/>
                  <a:pt x="4281800" y="3389407"/>
                  <a:pt x="4288621" y="3390094"/>
                </a:cubicBezTo>
                <a:close/>
                <a:moveTo>
                  <a:pt x="2035411" y="3390091"/>
                </a:moveTo>
                <a:cubicBezTo>
                  <a:pt x="2055627" y="3392148"/>
                  <a:pt x="2074226" y="3406813"/>
                  <a:pt x="2079949" y="3426845"/>
                </a:cubicBezTo>
                <a:cubicBezTo>
                  <a:pt x="2087580" y="3455461"/>
                  <a:pt x="2072318" y="3484078"/>
                  <a:pt x="2043698" y="3491709"/>
                </a:cubicBezTo>
                <a:cubicBezTo>
                  <a:pt x="2043698" y="3491709"/>
                  <a:pt x="2043698" y="3491709"/>
                  <a:pt x="1700314" y="3592822"/>
                </a:cubicBezTo>
                <a:cubicBezTo>
                  <a:pt x="1671698" y="3600453"/>
                  <a:pt x="1643083" y="3585191"/>
                  <a:pt x="1635452" y="3556574"/>
                </a:cubicBezTo>
                <a:cubicBezTo>
                  <a:pt x="1633545" y="3552758"/>
                  <a:pt x="1633545" y="3547035"/>
                  <a:pt x="1633545" y="3541311"/>
                </a:cubicBezTo>
                <a:cubicBezTo>
                  <a:pt x="1633545" y="3518418"/>
                  <a:pt x="1648806" y="3497432"/>
                  <a:pt x="1671698" y="3491709"/>
                </a:cubicBezTo>
                <a:cubicBezTo>
                  <a:pt x="1671698" y="3491709"/>
                  <a:pt x="1671698" y="3491709"/>
                  <a:pt x="2015083" y="3392506"/>
                </a:cubicBezTo>
                <a:cubicBezTo>
                  <a:pt x="2021760" y="3390122"/>
                  <a:pt x="2028675" y="3389405"/>
                  <a:pt x="2035411" y="3390091"/>
                </a:cubicBezTo>
                <a:close/>
                <a:moveTo>
                  <a:pt x="3729542" y="3384855"/>
                </a:moveTo>
                <a:cubicBezTo>
                  <a:pt x="3751288" y="3388416"/>
                  <a:pt x="3769541" y="3404794"/>
                  <a:pt x="3773838" y="3427580"/>
                </a:cubicBezTo>
                <a:cubicBezTo>
                  <a:pt x="3781473" y="3456065"/>
                  <a:pt x="3762384" y="3486450"/>
                  <a:pt x="3733746" y="3494046"/>
                </a:cubicBezTo>
                <a:cubicBezTo>
                  <a:pt x="3733746" y="3494046"/>
                  <a:pt x="3733746" y="3494046"/>
                  <a:pt x="3388241" y="3575706"/>
                </a:cubicBezTo>
                <a:cubicBezTo>
                  <a:pt x="3357694" y="3581403"/>
                  <a:pt x="3327152" y="3564311"/>
                  <a:pt x="3321424" y="3533926"/>
                </a:cubicBezTo>
                <a:cubicBezTo>
                  <a:pt x="3319514" y="3528229"/>
                  <a:pt x="3319514" y="3524431"/>
                  <a:pt x="3319514" y="3520633"/>
                </a:cubicBezTo>
                <a:cubicBezTo>
                  <a:pt x="3319514" y="3495945"/>
                  <a:pt x="3336696" y="3473156"/>
                  <a:pt x="3361513" y="3465560"/>
                </a:cubicBezTo>
                <a:cubicBezTo>
                  <a:pt x="3361513" y="3465560"/>
                  <a:pt x="3361513" y="3465560"/>
                  <a:pt x="3707020" y="3385804"/>
                </a:cubicBezTo>
                <a:cubicBezTo>
                  <a:pt x="3714657" y="3383908"/>
                  <a:pt x="3722292" y="3383666"/>
                  <a:pt x="3729542" y="3384855"/>
                </a:cubicBezTo>
                <a:close/>
                <a:moveTo>
                  <a:pt x="2596041" y="3384850"/>
                </a:moveTo>
                <a:cubicBezTo>
                  <a:pt x="2617785" y="3388411"/>
                  <a:pt x="2636040" y="3404792"/>
                  <a:pt x="2640335" y="3427579"/>
                </a:cubicBezTo>
                <a:cubicBezTo>
                  <a:pt x="2647970" y="3456065"/>
                  <a:pt x="2628881" y="3486450"/>
                  <a:pt x="2598337" y="3494046"/>
                </a:cubicBezTo>
                <a:cubicBezTo>
                  <a:pt x="2598337" y="3494046"/>
                  <a:pt x="2598337" y="3494046"/>
                  <a:pt x="2254725" y="3575706"/>
                </a:cubicBezTo>
                <a:cubicBezTo>
                  <a:pt x="2224180" y="3581403"/>
                  <a:pt x="2193638" y="3564311"/>
                  <a:pt x="2187911" y="3533926"/>
                </a:cubicBezTo>
                <a:cubicBezTo>
                  <a:pt x="2186002" y="3528229"/>
                  <a:pt x="2186002" y="3524431"/>
                  <a:pt x="2186002" y="3520633"/>
                </a:cubicBezTo>
                <a:cubicBezTo>
                  <a:pt x="2186002" y="3495945"/>
                  <a:pt x="2203183" y="3473156"/>
                  <a:pt x="2227999" y="3465560"/>
                </a:cubicBezTo>
                <a:cubicBezTo>
                  <a:pt x="2227999" y="3465560"/>
                  <a:pt x="2227999" y="3465560"/>
                  <a:pt x="2573521" y="3385799"/>
                </a:cubicBezTo>
                <a:cubicBezTo>
                  <a:pt x="2581157" y="3383901"/>
                  <a:pt x="2588792" y="3383664"/>
                  <a:pt x="2596041" y="3384850"/>
                </a:cubicBezTo>
                <a:close/>
                <a:moveTo>
                  <a:pt x="3137315" y="3377575"/>
                </a:moveTo>
                <a:cubicBezTo>
                  <a:pt x="3169679" y="3371862"/>
                  <a:pt x="3200138" y="3392811"/>
                  <a:pt x="3205849" y="3425194"/>
                </a:cubicBezTo>
                <a:cubicBezTo>
                  <a:pt x="3211557" y="3457578"/>
                  <a:pt x="3190620" y="3488058"/>
                  <a:pt x="3158257" y="3493773"/>
                </a:cubicBezTo>
                <a:cubicBezTo>
                  <a:pt x="3158257" y="3493773"/>
                  <a:pt x="3158257" y="3493773"/>
                  <a:pt x="2813679" y="3556638"/>
                </a:cubicBezTo>
                <a:cubicBezTo>
                  <a:pt x="2781315" y="3562353"/>
                  <a:pt x="2750856" y="3541398"/>
                  <a:pt x="2745145" y="3509013"/>
                </a:cubicBezTo>
                <a:cubicBezTo>
                  <a:pt x="2743240" y="3505203"/>
                  <a:pt x="2743240" y="3501393"/>
                  <a:pt x="2743240" y="3497583"/>
                </a:cubicBezTo>
                <a:cubicBezTo>
                  <a:pt x="2743240" y="3470913"/>
                  <a:pt x="2764180" y="3446148"/>
                  <a:pt x="2792738" y="3440433"/>
                </a:cubicBezTo>
                <a:cubicBezTo>
                  <a:pt x="2792738" y="3440433"/>
                  <a:pt x="2792738" y="3440433"/>
                  <a:pt x="3137315" y="3377575"/>
                </a:cubicBezTo>
                <a:close/>
                <a:moveTo>
                  <a:pt x="9858814" y="3131368"/>
                </a:moveTo>
                <a:cubicBezTo>
                  <a:pt x="9863097" y="3131843"/>
                  <a:pt x="9867379" y="3133750"/>
                  <a:pt x="9870234" y="3136605"/>
                </a:cubicBezTo>
                <a:cubicBezTo>
                  <a:pt x="9875944" y="3144217"/>
                  <a:pt x="9875944" y="3153731"/>
                  <a:pt x="9868331" y="3159443"/>
                </a:cubicBezTo>
                <a:cubicBezTo>
                  <a:pt x="9868331" y="3159443"/>
                  <a:pt x="9868331" y="3159443"/>
                  <a:pt x="9539049" y="3458218"/>
                </a:cubicBezTo>
                <a:cubicBezTo>
                  <a:pt x="9531436" y="3463928"/>
                  <a:pt x="9521919" y="3463928"/>
                  <a:pt x="9516209" y="3456315"/>
                </a:cubicBezTo>
                <a:cubicBezTo>
                  <a:pt x="9512402" y="3452509"/>
                  <a:pt x="9512402" y="3448702"/>
                  <a:pt x="9512402" y="3444896"/>
                </a:cubicBezTo>
                <a:cubicBezTo>
                  <a:pt x="9512402" y="3441089"/>
                  <a:pt x="9514305" y="3437283"/>
                  <a:pt x="9516209" y="3433477"/>
                </a:cubicBezTo>
                <a:cubicBezTo>
                  <a:pt x="9516209" y="3433477"/>
                  <a:pt x="9516209" y="3433477"/>
                  <a:pt x="9847394" y="3134702"/>
                </a:cubicBezTo>
                <a:cubicBezTo>
                  <a:pt x="9850249" y="3131843"/>
                  <a:pt x="9854532" y="3130893"/>
                  <a:pt x="9858814" y="3131368"/>
                </a:cubicBezTo>
                <a:close/>
                <a:moveTo>
                  <a:pt x="9282539" y="3124787"/>
                </a:moveTo>
                <a:cubicBezTo>
                  <a:pt x="9287557" y="3125026"/>
                  <a:pt x="9292335" y="3127409"/>
                  <a:pt x="9295203" y="3132178"/>
                </a:cubicBezTo>
                <a:cubicBezTo>
                  <a:pt x="9302849" y="3139803"/>
                  <a:pt x="9302849" y="3153152"/>
                  <a:pt x="9293291" y="3160778"/>
                </a:cubicBezTo>
                <a:cubicBezTo>
                  <a:pt x="9293291" y="3160778"/>
                  <a:pt x="9293291" y="3160778"/>
                  <a:pt x="8960690" y="3437250"/>
                </a:cubicBezTo>
                <a:cubicBezTo>
                  <a:pt x="8953044" y="3444878"/>
                  <a:pt x="8939663" y="3444878"/>
                  <a:pt x="8932017" y="3435343"/>
                </a:cubicBezTo>
                <a:cubicBezTo>
                  <a:pt x="8930106" y="3431530"/>
                  <a:pt x="8928194" y="3427717"/>
                  <a:pt x="8928194" y="3421997"/>
                </a:cubicBezTo>
                <a:cubicBezTo>
                  <a:pt x="8928194" y="3416276"/>
                  <a:pt x="8930106" y="3410556"/>
                  <a:pt x="8935840" y="3406743"/>
                </a:cubicBezTo>
                <a:cubicBezTo>
                  <a:pt x="8935840" y="3406743"/>
                  <a:pt x="8935840" y="3406743"/>
                  <a:pt x="9268442" y="3130267"/>
                </a:cubicBezTo>
                <a:cubicBezTo>
                  <a:pt x="9272265" y="3126457"/>
                  <a:pt x="9277521" y="3124549"/>
                  <a:pt x="9282539" y="3124787"/>
                </a:cubicBezTo>
                <a:close/>
                <a:moveTo>
                  <a:pt x="10443256" y="3124763"/>
                </a:moveTo>
                <a:cubicBezTo>
                  <a:pt x="10448513" y="3125001"/>
                  <a:pt x="10453770" y="3127385"/>
                  <a:pt x="10457593" y="3132152"/>
                </a:cubicBezTo>
                <a:cubicBezTo>
                  <a:pt x="10463327" y="3139780"/>
                  <a:pt x="10463327" y="3153129"/>
                  <a:pt x="10453769" y="3160755"/>
                </a:cubicBezTo>
                <a:cubicBezTo>
                  <a:pt x="10453769" y="3160755"/>
                  <a:pt x="10453769" y="3160755"/>
                  <a:pt x="10121168" y="3437250"/>
                </a:cubicBezTo>
                <a:cubicBezTo>
                  <a:pt x="10113522" y="3444878"/>
                  <a:pt x="10100141" y="3444878"/>
                  <a:pt x="10094407" y="3435343"/>
                </a:cubicBezTo>
                <a:cubicBezTo>
                  <a:pt x="10090584" y="3431530"/>
                  <a:pt x="10088672" y="3427716"/>
                  <a:pt x="10088672" y="3421995"/>
                </a:cubicBezTo>
                <a:cubicBezTo>
                  <a:pt x="10088672" y="3416275"/>
                  <a:pt x="10090584" y="3410554"/>
                  <a:pt x="10096318" y="3406741"/>
                </a:cubicBezTo>
                <a:cubicBezTo>
                  <a:pt x="10096318" y="3406741"/>
                  <a:pt x="10096318" y="3406741"/>
                  <a:pt x="10428920" y="3130246"/>
                </a:cubicBezTo>
                <a:cubicBezTo>
                  <a:pt x="10432743" y="3126432"/>
                  <a:pt x="10438000" y="3124526"/>
                  <a:pt x="10443256" y="3124763"/>
                </a:cubicBezTo>
                <a:close/>
                <a:moveTo>
                  <a:pt x="8711378" y="3118284"/>
                </a:moveTo>
                <a:cubicBezTo>
                  <a:pt x="8717559" y="3118999"/>
                  <a:pt x="8723740" y="3122341"/>
                  <a:pt x="8728495" y="3128067"/>
                </a:cubicBezTo>
                <a:cubicBezTo>
                  <a:pt x="8736103" y="3137612"/>
                  <a:pt x="8734201" y="3152882"/>
                  <a:pt x="8722790" y="3160517"/>
                </a:cubicBezTo>
                <a:cubicBezTo>
                  <a:pt x="8722790" y="3160517"/>
                  <a:pt x="8722790" y="3160517"/>
                  <a:pt x="8391863" y="3418193"/>
                </a:cubicBezTo>
                <a:cubicBezTo>
                  <a:pt x="8380451" y="3425828"/>
                  <a:pt x="8365236" y="3423921"/>
                  <a:pt x="8357629" y="3414376"/>
                </a:cubicBezTo>
                <a:cubicBezTo>
                  <a:pt x="8353825" y="3410558"/>
                  <a:pt x="8351923" y="3404833"/>
                  <a:pt x="8351923" y="3399106"/>
                </a:cubicBezTo>
                <a:cubicBezTo>
                  <a:pt x="8351923" y="3393381"/>
                  <a:pt x="8355727" y="3385745"/>
                  <a:pt x="8361432" y="3380018"/>
                </a:cubicBezTo>
                <a:cubicBezTo>
                  <a:pt x="8361432" y="3380018"/>
                  <a:pt x="8361432" y="3380018"/>
                  <a:pt x="8694262" y="3124249"/>
                </a:cubicBezTo>
                <a:cubicBezTo>
                  <a:pt x="8699016" y="3119478"/>
                  <a:pt x="8705197" y="3117568"/>
                  <a:pt x="8711378" y="3118284"/>
                </a:cubicBezTo>
                <a:close/>
                <a:moveTo>
                  <a:pt x="11020985" y="3118259"/>
                </a:moveTo>
                <a:cubicBezTo>
                  <a:pt x="11026928" y="3118974"/>
                  <a:pt x="11032634" y="3122314"/>
                  <a:pt x="11036438" y="3128041"/>
                </a:cubicBezTo>
                <a:cubicBezTo>
                  <a:pt x="11045947" y="3137586"/>
                  <a:pt x="11044045" y="3152857"/>
                  <a:pt x="11032634" y="3160492"/>
                </a:cubicBezTo>
                <a:cubicBezTo>
                  <a:pt x="11032634" y="3160492"/>
                  <a:pt x="11032634" y="3160492"/>
                  <a:pt x="10699805" y="3418193"/>
                </a:cubicBezTo>
                <a:cubicBezTo>
                  <a:pt x="10690295" y="3425828"/>
                  <a:pt x="10675080" y="3423919"/>
                  <a:pt x="10667473" y="3414376"/>
                </a:cubicBezTo>
                <a:cubicBezTo>
                  <a:pt x="10663669" y="3410558"/>
                  <a:pt x="10661767" y="3404831"/>
                  <a:pt x="10661767" y="3399103"/>
                </a:cubicBezTo>
                <a:cubicBezTo>
                  <a:pt x="10661767" y="3393378"/>
                  <a:pt x="10665571" y="3385741"/>
                  <a:pt x="10671276" y="3380016"/>
                </a:cubicBezTo>
                <a:cubicBezTo>
                  <a:pt x="10671276" y="3380016"/>
                  <a:pt x="10671276" y="3380016"/>
                  <a:pt x="11004106" y="3124224"/>
                </a:cubicBezTo>
                <a:cubicBezTo>
                  <a:pt x="11008861" y="3119452"/>
                  <a:pt x="11015042" y="3117542"/>
                  <a:pt x="11020985" y="3118259"/>
                </a:cubicBezTo>
                <a:close/>
                <a:moveTo>
                  <a:pt x="8147892" y="3113506"/>
                </a:moveTo>
                <a:cubicBezTo>
                  <a:pt x="8154786" y="3114695"/>
                  <a:pt x="8161443" y="3118496"/>
                  <a:pt x="8166198" y="3125150"/>
                </a:cubicBezTo>
                <a:cubicBezTo>
                  <a:pt x="8175708" y="3136556"/>
                  <a:pt x="8171904" y="3153664"/>
                  <a:pt x="8160492" y="3163167"/>
                </a:cubicBezTo>
                <a:cubicBezTo>
                  <a:pt x="8160492" y="3163167"/>
                  <a:pt x="8160492" y="3163167"/>
                  <a:pt x="7825748" y="3398864"/>
                </a:cubicBezTo>
                <a:cubicBezTo>
                  <a:pt x="7814336" y="3408367"/>
                  <a:pt x="7797218" y="3404566"/>
                  <a:pt x="7787709" y="3393162"/>
                </a:cubicBezTo>
                <a:cubicBezTo>
                  <a:pt x="7783905" y="3387458"/>
                  <a:pt x="7782003" y="3381761"/>
                  <a:pt x="7782003" y="3376054"/>
                </a:cubicBezTo>
                <a:cubicBezTo>
                  <a:pt x="7782003" y="3368454"/>
                  <a:pt x="7787709" y="3358953"/>
                  <a:pt x="7795316" y="3353251"/>
                </a:cubicBezTo>
                <a:cubicBezTo>
                  <a:pt x="7795316" y="3353251"/>
                  <a:pt x="7795316" y="3353251"/>
                  <a:pt x="8128159" y="3117545"/>
                </a:cubicBezTo>
                <a:cubicBezTo>
                  <a:pt x="8133865" y="3113743"/>
                  <a:pt x="8140997" y="3112319"/>
                  <a:pt x="8147892" y="3113506"/>
                </a:cubicBezTo>
                <a:close/>
                <a:moveTo>
                  <a:pt x="11592870" y="3113497"/>
                </a:moveTo>
                <a:cubicBezTo>
                  <a:pt x="11600008" y="3114686"/>
                  <a:pt x="11606670" y="3118487"/>
                  <a:pt x="11611429" y="3125143"/>
                </a:cubicBezTo>
                <a:cubicBezTo>
                  <a:pt x="11619043" y="3136547"/>
                  <a:pt x="11617139" y="3153655"/>
                  <a:pt x="11603815" y="3163160"/>
                </a:cubicBezTo>
                <a:cubicBezTo>
                  <a:pt x="11603815" y="3163160"/>
                  <a:pt x="11603815" y="3163160"/>
                  <a:pt x="11270705" y="3398861"/>
                </a:cubicBezTo>
                <a:cubicBezTo>
                  <a:pt x="11257381" y="3408367"/>
                  <a:pt x="11240249" y="3404564"/>
                  <a:pt x="11232635" y="3393157"/>
                </a:cubicBezTo>
                <a:cubicBezTo>
                  <a:pt x="11228828" y="3387458"/>
                  <a:pt x="11226925" y="3381753"/>
                  <a:pt x="11226925" y="3376052"/>
                </a:cubicBezTo>
                <a:cubicBezTo>
                  <a:pt x="11226925" y="3368451"/>
                  <a:pt x="11230732" y="3358948"/>
                  <a:pt x="11238346" y="3353249"/>
                </a:cubicBezTo>
                <a:cubicBezTo>
                  <a:pt x="11238346" y="3353249"/>
                  <a:pt x="11238346" y="3353249"/>
                  <a:pt x="11571456" y="3117537"/>
                </a:cubicBezTo>
                <a:cubicBezTo>
                  <a:pt x="11578118" y="3113734"/>
                  <a:pt x="11585732" y="3112310"/>
                  <a:pt x="11592870" y="3113497"/>
                </a:cubicBezTo>
                <a:close/>
                <a:moveTo>
                  <a:pt x="12139750" y="3109931"/>
                </a:moveTo>
                <a:cubicBezTo>
                  <a:pt x="12139750" y="3109931"/>
                  <a:pt x="12139750" y="3109931"/>
                  <a:pt x="12139750" y="3184058"/>
                </a:cubicBezTo>
                <a:cubicBezTo>
                  <a:pt x="12139750" y="3184058"/>
                  <a:pt x="12139750" y="3184058"/>
                  <a:pt x="11835219" y="3379813"/>
                </a:cubicBezTo>
                <a:cubicBezTo>
                  <a:pt x="11819993" y="3389317"/>
                  <a:pt x="11800960" y="3385515"/>
                  <a:pt x="11791443" y="3370310"/>
                </a:cubicBezTo>
                <a:cubicBezTo>
                  <a:pt x="11787636" y="3364613"/>
                  <a:pt x="11785733" y="3358911"/>
                  <a:pt x="11785733" y="3353211"/>
                </a:cubicBezTo>
                <a:cubicBezTo>
                  <a:pt x="11785733" y="3343708"/>
                  <a:pt x="11791443" y="3334207"/>
                  <a:pt x="11800960" y="3326605"/>
                </a:cubicBezTo>
                <a:lnTo>
                  <a:pt x="12135943" y="3111832"/>
                </a:lnTo>
                <a:cubicBezTo>
                  <a:pt x="12137847" y="3111832"/>
                  <a:pt x="12137847" y="3109931"/>
                  <a:pt x="12139750" y="3109931"/>
                </a:cubicBezTo>
                <a:close/>
                <a:moveTo>
                  <a:pt x="7592396" y="3107000"/>
                </a:moveTo>
                <a:cubicBezTo>
                  <a:pt x="7600248" y="3108665"/>
                  <a:pt x="7607387" y="3113422"/>
                  <a:pt x="7612145" y="3121034"/>
                </a:cubicBezTo>
                <a:cubicBezTo>
                  <a:pt x="7621663" y="3136258"/>
                  <a:pt x="7617856" y="3155285"/>
                  <a:pt x="7602628" y="3164800"/>
                </a:cubicBezTo>
                <a:cubicBezTo>
                  <a:pt x="7602628" y="3164800"/>
                  <a:pt x="7602628" y="3164800"/>
                  <a:pt x="7267608" y="3379811"/>
                </a:cubicBezTo>
                <a:cubicBezTo>
                  <a:pt x="7252380" y="3389319"/>
                  <a:pt x="7233344" y="3385513"/>
                  <a:pt x="7223827" y="3370294"/>
                </a:cubicBezTo>
                <a:cubicBezTo>
                  <a:pt x="7221923" y="3364590"/>
                  <a:pt x="7220020" y="3358885"/>
                  <a:pt x="7220020" y="3353176"/>
                </a:cubicBezTo>
                <a:cubicBezTo>
                  <a:pt x="7220020" y="3343664"/>
                  <a:pt x="7223827" y="3334150"/>
                  <a:pt x="7233344" y="3326538"/>
                </a:cubicBezTo>
                <a:cubicBezTo>
                  <a:pt x="7233344" y="3326538"/>
                  <a:pt x="7233344" y="3326538"/>
                  <a:pt x="7568364" y="3111519"/>
                </a:cubicBezTo>
                <a:cubicBezTo>
                  <a:pt x="7575978" y="3106762"/>
                  <a:pt x="7584544" y="3105336"/>
                  <a:pt x="7592396" y="3107000"/>
                </a:cubicBezTo>
                <a:close/>
                <a:moveTo>
                  <a:pt x="7041870" y="3101853"/>
                </a:moveTo>
                <a:cubicBezTo>
                  <a:pt x="7050667" y="3104238"/>
                  <a:pt x="7058751" y="3109959"/>
                  <a:pt x="7064457" y="3118540"/>
                </a:cubicBezTo>
                <a:cubicBezTo>
                  <a:pt x="7073968" y="3133799"/>
                  <a:pt x="7068261" y="3156686"/>
                  <a:pt x="7051143" y="3166221"/>
                </a:cubicBezTo>
                <a:cubicBezTo>
                  <a:pt x="7051143" y="3166221"/>
                  <a:pt x="7051143" y="3166221"/>
                  <a:pt x="6714471" y="3360742"/>
                </a:cubicBezTo>
                <a:cubicBezTo>
                  <a:pt x="6697352" y="3370275"/>
                  <a:pt x="6676429" y="3364552"/>
                  <a:pt x="6666918" y="3347395"/>
                </a:cubicBezTo>
                <a:cubicBezTo>
                  <a:pt x="6663114" y="3343582"/>
                  <a:pt x="6661212" y="3335952"/>
                  <a:pt x="6661212" y="3330234"/>
                </a:cubicBezTo>
                <a:cubicBezTo>
                  <a:pt x="6661212" y="3318789"/>
                  <a:pt x="6668820" y="3307347"/>
                  <a:pt x="6680233" y="3299719"/>
                </a:cubicBezTo>
                <a:cubicBezTo>
                  <a:pt x="6680233" y="3299719"/>
                  <a:pt x="6680233" y="3299719"/>
                  <a:pt x="7015003" y="3105192"/>
                </a:cubicBezTo>
                <a:cubicBezTo>
                  <a:pt x="7023562" y="3100423"/>
                  <a:pt x="7033073" y="3099471"/>
                  <a:pt x="7041870" y="3101853"/>
                </a:cubicBezTo>
                <a:close/>
                <a:moveTo>
                  <a:pt x="6499097" y="3095115"/>
                </a:moveTo>
                <a:cubicBezTo>
                  <a:pt x="6508370" y="3098221"/>
                  <a:pt x="6516454" y="3104903"/>
                  <a:pt x="6521210" y="3114451"/>
                </a:cubicBezTo>
                <a:cubicBezTo>
                  <a:pt x="6532623" y="3133548"/>
                  <a:pt x="6525014" y="3158370"/>
                  <a:pt x="6505992" y="3167917"/>
                </a:cubicBezTo>
                <a:cubicBezTo>
                  <a:pt x="6505992" y="3167917"/>
                  <a:pt x="6505992" y="3167917"/>
                  <a:pt x="6167407" y="3341686"/>
                </a:cubicBezTo>
                <a:cubicBezTo>
                  <a:pt x="6148385" y="3351232"/>
                  <a:pt x="6125559" y="3345501"/>
                  <a:pt x="6116048" y="3326407"/>
                </a:cubicBezTo>
                <a:cubicBezTo>
                  <a:pt x="6112244" y="3320680"/>
                  <a:pt x="6110342" y="3313042"/>
                  <a:pt x="6110342" y="3307313"/>
                </a:cubicBezTo>
                <a:cubicBezTo>
                  <a:pt x="6110342" y="3293947"/>
                  <a:pt x="6117950" y="3280583"/>
                  <a:pt x="6131266" y="3272944"/>
                </a:cubicBezTo>
                <a:cubicBezTo>
                  <a:pt x="6131266" y="3272944"/>
                  <a:pt x="6131266" y="3272944"/>
                  <a:pt x="6469851" y="3097266"/>
                </a:cubicBezTo>
                <a:cubicBezTo>
                  <a:pt x="6479362" y="3092490"/>
                  <a:pt x="6489824" y="3092013"/>
                  <a:pt x="6499097" y="3095115"/>
                </a:cubicBezTo>
                <a:close/>
                <a:moveTo>
                  <a:pt x="5958954" y="3091506"/>
                </a:moveTo>
                <a:cubicBezTo>
                  <a:pt x="5969462" y="3095305"/>
                  <a:pt x="5978538" y="3102907"/>
                  <a:pt x="5983314" y="3113357"/>
                </a:cubicBezTo>
                <a:cubicBezTo>
                  <a:pt x="5992867" y="3134260"/>
                  <a:pt x="5983314" y="3160862"/>
                  <a:pt x="5962297" y="3170362"/>
                </a:cubicBezTo>
                <a:cubicBezTo>
                  <a:pt x="5962297" y="3170362"/>
                  <a:pt x="5962297" y="3170362"/>
                  <a:pt x="5620300" y="3324270"/>
                </a:cubicBezTo>
                <a:cubicBezTo>
                  <a:pt x="5599284" y="3333770"/>
                  <a:pt x="5574446" y="3324270"/>
                  <a:pt x="5564892" y="3301471"/>
                </a:cubicBezTo>
                <a:cubicBezTo>
                  <a:pt x="5562982" y="3295771"/>
                  <a:pt x="5561071" y="3290071"/>
                  <a:pt x="5561071" y="3284371"/>
                </a:cubicBezTo>
                <a:cubicBezTo>
                  <a:pt x="5561071" y="3269170"/>
                  <a:pt x="5570624" y="3252068"/>
                  <a:pt x="5585909" y="3246366"/>
                </a:cubicBezTo>
                <a:cubicBezTo>
                  <a:pt x="5585909" y="3246366"/>
                  <a:pt x="5585909" y="3246366"/>
                  <a:pt x="5925997" y="3092457"/>
                </a:cubicBezTo>
                <a:cubicBezTo>
                  <a:pt x="5936505" y="3087707"/>
                  <a:pt x="5948446" y="3087707"/>
                  <a:pt x="5958954" y="3091506"/>
                </a:cubicBezTo>
                <a:close/>
                <a:moveTo>
                  <a:pt x="399603" y="3091494"/>
                </a:moveTo>
                <a:cubicBezTo>
                  <a:pt x="410073" y="3095293"/>
                  <a:pt x="419115" y="3102895"/>
                  <a:pt x="423874" y="3113346"/>
                </a:cubicBezTo>
                <a:cubicBezTo>
                  <a:pt x="433392" y="3134248"/>
                  <a:pt x="423874" y="3160850"/>
                  <a:pt x="401031" y="3170351"/>
                </a:cubicBezTo>
                <a:cubicBezTo>
                  <a:pt x="401031" y="3170351"/>
                  <a:pt x="401031" y="3170351"/>
                  <a:pt x="62187" y="3324262"/>
                </a:cubicBezTo>
                <a:cubicBezTo>
                  <a:pt x="41247" y="3333763"/>
                  <a:pt x="16500" y="3324262"/>
                  <a:pt x="6982" y="3301463"/>
                </a:cubicBezTo>
                <a:cubicBezTo>
                  <a:pt x="3175" y="3295761"/>
                  <a:pt x="3175" y="3290060"/>
                  <a:pt x="3175" y="3284360"/>
                </a:cubicBezTo>
                <a:cubicBezTo>
                  <a:pt x="3175" y="3269158"/>
                  <a:pt x="12693" y="3252058"/>
                  <a:pt x="27922" y="3246356"/>
                </a:cubicBezTo>
                <a:cubicBezTo>
                  <a:pt x="27922" y="3246356"/>
                  <a:pt x="27922" y="3246356"/>
                  <a:pt x="366766" y="3092445"/>
                </a:cubicBezTo>
                <a:cubicBezTo>
                  <a:pt x="377236" y="3087693"/>
                  <a:pt x="389133" y="3087693"/>
                  <a:pt x="399603" y="3091494"/>
                </a:cubicBezTo>
                <a:close/>
                <a:moveTo>
                  <a:pt x="5376339" y="3084226"/>
                </a:moveTo>
                <a:cubicBezTo>
                  <a:pt x="5401086" y="3076607"/>
                  <a:pt x="5427737" y="3088035"/>
                  <a:pt x="5437255" y="3110894"/>
                </a:cubicBezTo>
                <a:cubicBezTo>
                  <a:pt x="5446773" y="3135660"/>
                  <a:pt x="5435351" y="3162329"/>
                  <a:pt x="5410604" y="3171854"/>
                </a:cubicBezTo>
                <a:cubicBezTo>
                  <a:pt x="5410604" y="3171854"/>
                  <a:pt x="5410604" y="3171854"/>
                  <a:pt x="5069848" y="3305199"/>
                </a:cubicBezTo>
                <a:cubicBezTo>
                  <a:pt x="5047008" y="3314722"/>
                  <a:pt x="5020360" y="3301389"/>
                  <a:pt x="5010843" y="3278532"/>
                </a:cubicBezTo>
                <a:cubicBezTo>
                  <a:pt x="5008939" y="3272817"/>
                  <a:pt x="5007036" y="3267100"/>
                  <a:pt x="5007036" y="3261388"/>
                </a:cubicBezTo>
                <a:cubicBezTo>
                  <a:pt x="5007036" y="3242335"/>
                  <a:pt x="5018457" y="3225192"/>
                  <a:pt x="5037490" y="3217574"/>
                </a:cubicBezTo>
                <a:cubicBezTo>
                  <a:pt x="5037490" y="3217574"/>
                  <a:pt x="5037490" y="3217574"/>
                  <a:pt x="5376339" y="3084226"/>
                </a:cubicBezTo>
                <a:close/>
                <a:moveTo>
                  <a:pt x="910963" y="3084210"/>
                </a:moveTo>
                <a:cubicBezTo>
                  <a:pt x="933807" y="3076591"/>
                  <a:pt x="960458" y="3088021"/>
                  <a:pt x="969977" y="3110879"/>
                </a:cubicBezTo>
                <a:cubicBezTo>
                  <a:pt x="979495" y="3135646"/>
                  <a:pt x="968073" y="3162315"/>
                  <a:pt x="945229" y="3171840"/>
                </a:cubicBezTo>
                <a:cubicBezTo>
                  <a:pt x="945229" y="3171840"/>
                  <a:pt x="945229" y="3171840"/>
                  <a:pt x="604476" y="3305187"/>
                </a:cubicBezTo>
                <a:cubicBezTo>
                  <a:pt x="579728" y="3314712"/>
                  <a:pt x="553077" y="3301377"/>
                  <a:pt x="543559" y="3278518"/>
                </a:cubicBezTo>
                <a:cubicBezTo>
                  <a:pt x="541655" y="3272803"/>
                  <a:pt x="539752" y="3267088"/>
                  <a:pt x="539752" y="3261374"/>
                </a:cubicBezTo>
                <a:cubicBezTo>
                  <a:pt x="539752" y="3242322"/>
                  <a:pt x="551174" y="3225178"/>
                  <a:pt x="570210" y="3217559"/>
                </a:cubicBezTo>
                <a:cubicBezTo>
                  <a:pt x="570210" y="3217559"/>
                  <a:pt x="570210" y="3217559"/>
                  <a:pt x="910963" y="3084210"/>
                </a:cubicBezTo>
                <a:close/>
                <a:moveTo>
                  <a:pt x="4845141" y="3075495"/>
                </a:moveTo>
                <a:cubicBezTo>
                  <a:pt x="4864342" y="3077015"/>
                  <a:pt x="4881135" y="3090605"/>
                  <a:pt x="4888279" y="3110635"/>
                </a:cubicBezTo>
                <a:cubicBezTo>
                  <a:pt x="4895899" y="3137344"/>
                  <a:pt x="4882563" y="3165956"/>
                  <a:pt x="4855889" y="3173587"/>
                </a:cubicBezTo>
                <a:cubicBezTo>
                  <a:pt x="4855889" y="3173587"/>
                  <a:pt x="4855889" y="3173587"/>
                  <a:pt x="4514891" y="3286137"/>
                </a:cubicBezTo>
                <a:cubicBezTo>
                  <a:pt x="4488225" y="3295674"/>
                  <a:pt x="4459649" y="3280415"/>
                  <a:pt x="4450123" y="3253707"/>
                </a:cubicBezTo>
                <a:cubicBezTo>
                  <a:pt x="4448219" y="3249892"/>
                  <a:pt x="4448219" y="3244167"/>
                  <a:pt x="4448219" y="3238443"/>
                </a:cubicBezTo>
                <a:cubicBezTo>
                  <a:pt x="4448219" y="3217462"/>
                  <a:pt x="4461553" y="3198385"/>
                  <a:pt x="4482509" y="3190757"/>
                </a:cubicBezTo>
                <a:cubicBezTo>
                  <a:pt x="4482509" y="3190757"/>
                  <a:pt x="4482509" y="3190757"/>
                  <a:pt x="4825403" y="3078206"/>
                </a:cubicBezTo>
                <a:cubicBezTo>
                  <a:pt x="4832072" y="3075822"/>
                  <a:pt x="4838741" y="3074988"/>
                  <a:pt x="4845141" y="3075495"/>
                </a:cubicBezTo>
                <a:close/>
                <a:moveTo>
                  <a:pt x="1479596" y="3075477"/>
                </a:moveTo>
                <a:cubicBezTo>
                  <a:pt x="1499228" y="3076996"/>
                  <a:pt x="1516718" y="3090589"/>
                  <a:pt x="1522429" y="3110619"/>
                </a:cubicBezTo>
                <a:cubicBezTo>
                  <a:pt x="1531947" y="3137326"/>
                  <a:pt x="1516718" y="3165940"/>
                  <a:pt x="1491970" y="3173573"/>
                </a:cubicBezTo>
                <a:cubicBezTo>
                  <a:pt x="1491970" y="3173573"/>
                  <a:pt x="1491970" y="3173573"/>
                  <a:pt x="1149308" y="3286122"/>
                </a:cubicBezTo>
                <a:cubicBezTo>
                  <a:pt x="1122656" y="3295661"/>
                  <a:pt x="1094101" y="3280401"/>
                  <a:pt x="1086486" y="3253693"/>
                </a:cubicBezTo>
                <a:cubicBezTo>
                  <a:pt x="1084583" y="3249877"/>
                  <a:pt x="1082679" y="3244153"/>
                  <a:pt x="1082679" y="3238431"/>
                </a:cubicBezTo>
                <a:cubicBezTo>
                  <a:pt x="1082679" y="3217446"/>
                  <a:pt x="1097908" y="3198371"/>
                  <a:pt x="1118849" y="3190741"/>
                </a:cubicBezTo>
                <a:cubicBezTo>
                  <a:pt x="1118849" y="3190741"/>
                  <a:pt x="1118849" y="3190741"/>
                  <a:pt x="1459607" y="3078189"/>
                </a:cubicBezTo>
                <a:cubicBezTo>
                  <a:pt x="1466270" y="3075805"/>
                  <a:pt x="1473052" y="3074970"/>
                  <a:pt x="1479596" y="3075477"/>
                </a:cubicBezTo>
                <a:close/>
                <a:moveTo>
                  <a:pt x="4290284" y="3070235"/>
                </a:moveTo>
                <a:cubicBezTo>
                  <a:pt x="4310719" y="3073178"/>
                  <a:pt x="4328210" y="3088158"/>
                  <a:pt x="4333921" y="3109556"/>
                </a:cubicBezTo>
                <a:cubicBezTo>
                  <a:pt x="4343439" y="3139992"/>
                  <a:pt x="4326305" y="3168522"/>
                  <a:pt x="4295846" y="3176127"/>
                </a:cubicBezTo>
                <a:cubicBezTo>
                  <a:pt x="4295846" y="3176127"/>
                  <a:pt x="4295846" y="3176127"/>
                  <a:pt x="3953199" y="3267431"/>
                </a:cubicBezTo>
                <a:cubicBezTo>
                  <a:pt x="3924644" y="3275041"/>
                  <a:pt x="3894182" y="3257921"/>
                  <a:pt x="3886567" y="3229387"/>
                </a:cubicBezTo>
                <a:cubicBezTo>
                  <a:pt x="3886567" y="3225583"/>
                  <a:pt x="3884663" y="3219877"/>
                  <a:pt x="3884663" y="3216076"/>
                </a:cubicBezTo>
                <a:cubicBezTo>
                  <a:pt x="3884663" y="3191346"/>
                  <a:pt x="3901795" y="3170425"/>
                  <a:pt x="3924644" y="3164719"/>
                </a:cubicBezTo>
                <a:cubicBezTo>
                  <a:pt x="3924644" y="3164719"/>
                  <a:pt x="3924644" y="3164719"/>
                  <a:pt x="4269194" y="3071515"/>
                </a:cubicBezTo>
                <a:cubicBezTo>
                  <a:pt x="4276332" y="3069612"/>
                  <a:pt x="4283471" y="3069256"/>
                  <a:pt x="4290284" y="3070235"/>
                </a:cubicBezTo>
                <a:close/>
                <a:moveTo>
                  <a:pt x="2036269" y="3070217"/>
                </a:moveTo>
                <a:cubicBezTo>
                  <a:pt x="2057259" y="3073159"/>
                  <a:pt x="2075832" y="3088139"/>
                  <a:pt x="2081548" y="3109537"/>
                </a:cubicBezTo>
                <a:cubicBezTo>
                  <a:pt x="2089168" y="3139971"/>
                  <a:pt x="2072022" y="3168504"/>
                  <a:pt x="2043442" y="3176111"/>
                </a:cubicBezTo>
                <a:cubicBezTo>
                  <a:pt x="2043442" y="3176111"/>
                  <a:pt x="2043442" y="3176111"/>
                  <a:pt x="1700538" y="3267414"/>
                </a:cubicBezTo>
                <a:cubicBezTo>
                  <a:pt x="1670058" y="3275023"/>
                  <a:pt x="1641482" y="3257903"/>
                  <a:pt x="1633862" y="3229371"/>
                </a:cubicBezTo>
                <a:cubicBezTo>
                  <a:pt x="1631957" y="3225567"/>
                  <a:pt x="1631957" y="3219860"/>
                  <a:pt x="1631957" y="3216056"/>
                </a:cubicBezTo>
                <a:cubicBezTo>
                  <a:pt x="1631957" y="3191330"/>
                  <a:pt x="1647198" y="3170406"/>
                  <a:pt x="1671963" y="3164700"/>
                </a:cubicBezTo>
                <a:cubicBezTo>
                  <a:pt x="1671963" y="3164700"/>
                  <a:pt x="1671963" y="3164700"/>
                  <a:pt x="2014867" y="3071495"/>
                </a:cubicBezTo>
                <a:cubicBezTo>
                  <a:pt x="2022011" y="3069593"/>
                  <a:pt x="2029274" y="3069235"/>
                  <a:pt x="2036269" y="3070217"/>
                </a:cubicBezTo>
                <a:close/>
                <a:moveTo>
                  <a:pt x="3731231" y="3064531"/>
                </a:moveTo>
                <a:cubicBezTo>
                  <a:pt x="3753034" y="3068647"/>
                  <a:pt x="3771624" y="3086176"/>
                  <a:pt x="3777341" y="3109072"/>
                </a:cubicBezTo>
                <a:cubicBezTo>
                  <a:pt x="3783061" y="3141509"/>
                  <a:pt x="3762093" y="3172037"/>
                  <a:pt x="3731587" y="3177762"/>
                </a:cubicBezTo>
                <a:cubicBezTo>
                  <a:pt x="3731587" y="3177762"/>
                  <a:pt x="3731587" y="3177762"/>
                  <a:pt x="3386556" y="3250263"/>
                </a:cubicBezTo>
                <a:cubicBezTo>
                  <a:pt x="3356055" y="3255990"/>
                  <a:pt x="3325553" y="3234997"/>
                  <a:pt x="3317928" y="3204472"/>
                </a:cubicBezTo>
                <a:cubicBezTo>
                  <a:pt x="3317928" y="3200656"/>
                  <a:pt x="3317928" y="3196839"/>
                  <a:pt x="3317928" y="3193023"/>
                </a:cubicBezTo>
                <a:cubicBezTo>
                  <a:pt x="3317928" y="3166312"/>
                  <a:pt x="3335085" y="3141509"/>
                  <a:pt x="3363681" y="3135786"/>
                </a:cubicBezTo>
                <a:cubicBezTo>
                  <a:pt x="3363681" y="3135786"/>
                  <a:pt x="3363681" y="3135786"/>
                  <a:pt x="3708711" y="3065187"/>
                </a:cubicBezTo>
                <a:cubicBezTo>
                  <a:pt x="3716337" y="3063280"/>
                  <a:pt x="3723961" y="3063162"/>
                  <a:pt x="3731231" y="3064531"/>
                </a:cubicBezTo>
                <a:close/>
                <a:moveTo>
                  <a:pt x="2597729" y="3064510"/>
                </a:moveTo>
                <a:cubicBezTo>
                  <a:pt x="2619533" y="3068625"/>
                  <a:pt x="2638119" y="3086155"/>
                  <a:pt x="2643839" y="3109051"/>
                </a:cubicBezTo>
                <a:cubicBezTo>
                  <a:pt x="2649557" y="3141488"/>
                  <a:pt x="2628588" y="3172016"/>
                  <a:pt x="2598086" y="3177742"/>
                </a:cubicBezTo>
                <a:cubicBezTo>
                  <a:pt x="2598086" y="3177742"/>
                  <a:pt x="2598086" y="3177742"/>
                  <a:pt x="2253042" y="3250246"/>
                </a:cubicBezTo>
                <a:cubicBezTo>
                  <a:pt x="2222541" y="3255971"/>
                  <a:pt x="2192039" y="3234980"/>
                  <a:pt x="2184414" y="3204454"/>
                </a:cubicBezTo>
                <a:cubicBezTo>
                  <a:pt x="2184414" y="3200638"/>
                  <a:pt x="2184414" y="3196822"/>
                  <a:pt x="2184414" y="3193005"/>
                </a:cubicBezTo>
                <a:cubicBezTo>
                  <a:pt x="2184414" y="3166294"/>
                  <a:pt x="2201571" y="3141488"/>
                  <a:pt x="2230166" y="3135765"/>
                </a:cubicBezTo>
                <a:cubicBezTo>
                  <a:pt x="2230166" y="3135765"/>
                  <a:pt x="2230166" y="3135765"/>
                  <a:pt x="2575210" y="3065166"/>
                </a:cubicBezTo>
                <a:cubicBezTo>
                  <a:pt x="2582835" y="3063257"/>
                  <a:pt x="2590461" y="3063137"/>
                  <a:pt x="2597729" y="3064510"/>
                </a:cubicBezTo>
                <a:close/>
                <a:moveTo>
                  <a:pt x="3139000" y="3058190"/>
                </a:moveTo>
                <a:cubicBezTo>
                  <a:pt x="3173222" y="3054380"/>
                  <a:pt x="3203640" y="3077240"/>
                  <a:pt x="3209346" y="3111529"/>
                </a:cubicBezTo>
                <a:cubicBezTo>
                  <a:pt x="3213146" y="3143914"/>
                  <a:pt x="3190333" y="3176299"/>
                  <a:pt x="3156114" y="3180110"/>
                </a:cubicBezTo>
                <a:cubicBezTo>
                  <a:pt x="3156114" y="3180110"/>
                  <a:pt x="3156114" y="3180110"/>
                  <a:pt x="2811998" y="3231537"/>
                </a:cubicBezTo>
                <a:cubicBezTo>
                  <a:pt x="2777775" y="3235349"/>
                  <a:pt x="2747356" y="3212495"/>
                  <a:pt x="2741652" y="3180110"/>
                </a:cubicBezTo>
                <a:cubicBezTo>
                  <a:pt x="2741652" y="3176299"/>
                  <a:pt x="2741652" y="3172487"/>
                  <a:pt x="2741652" y="3170583"/>
                </a:cubicBezTo>
                <a:cubicBezTo>
                  <a:pt x="2741652" y="3140106"/>
                  <a:pt x="2762566" y="3113436"/>
                  <a:pt x="2792987" y="3109626"/>
                </a:cubicBezTo>
                <a:cubicBezTo>
                  <a:pt x="2792987" y="3109626"/>
                  <a:pt x="2792987" y="3109626"/>
                  <a:pt x="3139000" y="3058190"/>
                </a:cubicBezTo>
                <a:close/>
                <a:moveTo>
                  <a:pt x="9858218" y="2803158"/>
                </a:moveTo>
                <a:cubicBezTo>
                  <a:pt x="9861796" y="2803398"/>
                  <a:pt x="9865135" y="2804823"/>
                  <a:pt x="9867044" y="2807683"/>
                </a:cubicBezTo>
                <a:cubicBezTo>
                  <a:pt x="9872769" y="2811493"/>
                  <a:pt x="9872769" y="2821017"/>
                  <a:pt x="9867044" y="2826731"/>
                </a:cubicBezTo>
                <a:cubicBezTo>
                  <a:pt x="9867044" y="2826731"/>
                  <a:pt x="9867044" y="2826731"/>
                  <a:pt x="9536890" y="3139152"/>
                </a:cubicBezTo>
                <a:cubicBezTo>
                  <a:pt x="9533073" y="3144866"/>
                  <a:pt x="9523531" y="3144866"/>
                  <a:pt x="9517806" y="3139152"/>
                </a:cubicBezTo>
                <a:cubicBezTo>
                  <a:pt x="9515897" y="3137247"/>
                  <a:pt x="9513989" y="3133436"/>
                  <a:pt x="9513989" y="3129628"/>
                </a:cubicBezTo>
                <a:cubicBezTo>
                  <a:pt x="9513989" y="3125817"/>
                  <a:pt x="9515897" y="3122007"/>
                  <a:pt x="9519714" y="3120101"/>
                </a:cubicBezTo>
                <a:cubicBezTo>
                  <a:pt x="9519714" y="3120101"/>
                  <a:pt x="9519714" y="3120101"/>
                  <a:pt x="9847960" y="2805777"/>
                </a:cubicBezTo>
                <a:cubicBezTo>
                  <a:pt x="9850823" y="2803873"/>
                  <a:pt x="9854639" y="2802920"/>
                  <a:pt x="9858218" y="2803158"/>
                </a:cubicBezTo>
                <a:close/>
                <a:moveTo>
                  <a:pt x="9280452" y="2798866"/>
                </a:moveTo>
                <a:cubicBezTo>
                  <a:pt x="9284961" y="2799103"/>
                  <a:pt x="9289232" y="2801005"/>
                  <a:pt x="9292080" y="2804804"/>
                </a:cubicBezTo>
                <a:cubicBezTo>
                  <a:pt x="9299674" y="2812401"/>
                  <a:pt x="9297776" y="2823797"/>
                  <a:pt x="9290182" y="2829495"/>
                </a:cubicBezTo>
                <a:cubicBezTo>
                  <a:pt x="9290182" y="2829495"/>
                  <a:pt x="9290182" y="2829495"/>
                  <a:pt x="8961745" y="3118217"/>
                </a:cubicBezTo>
                <a:cubicBezTo>
                  <a:pt x="8954151" y="3125817"/>
                  <a:pt x="8942760" y="3123917"/>
                  <a:pt x="8937064" y="3116319"/>
                </a:cubicBezTo>
                <a:cubicBezTo>
                  <a:pt x="8933267" y="3114420"/>
                  <a:pt x="8931369" y="3110621"/>
                  <a:pt x="8931369" y="3104922"/>
                </a:cubicBezTo>
                <a:cubicBezTo>
                  <a:pt x="8931369" y="3101123"/>
                  <a:pt x="8933267" y="3095423"/>
                  <a:pt x="8937064" y="3091625"/>
                </a:cubicBezTo>
                <a:cubicBezTo>
                  <a:pt x="8937064" y="3091625"/>
                  <a:pt x="8937064" y="3091625"/>
                  <a:pt x="9267400" y="2802904"/>
                </a:cubicBezTo>
                <a:cubicBezTo>
                  <a:pt x="9271197" y="2800052"/>
                  <a:pt x="9275943" y="2798628"/>
                  <a:pt x="9280452" y="2798866"/>
                </a:cubicBezTo>
                <a:close/>
                <a:moveTo>
                  <a:pt x="10442418" y="2798842"/>
                </a:moveTo>
                <a:cubicBezTo>
                  <a:pt x="10446950" y="2799079"/>
                  <a:pt x="10451243" y="2800979"/>
                  <a:pt x="10454106" y="2804777"/>
                </a:cubicBezTo>
                <a:cubicBezTo>
                  <a:pt x="10461739" y="2812377"/>
                  <a:pt x="10459831" y="2823773"/>
                  <a:pt x="10454106" y="2829471"/>
                </a:cubicBezTo>
                <a:cubicBezTo>
                  <a:pt x="10454106" y="2829471"/>
                  <a:pt x="10454106" y="2829471"/>
                  <a:pt x="10122059" y="3118194"/>
                </a:cubicBezTo>
                <a:cubicBezTo>
                  <a:pt x="10114425" y="3125793"/>
                  <a:pt x="10102976" y="3123893"/>
                  <a:pt x="10097251" y="3116295"/>
                </a:cubicBezTo>
                <a:cubicBezTo>
                  <a:pt x="10093434" y="3114396"/>
                  <a:pt x="10093434" y="3110597"/>
                  <a:pt x="10093434" y="3104898"/>
                </a:cubicBezTo>
                <a:cubicBezTo>
                  <a:pt x="10093434" y="3101099"/>
                  <a:pt x="10095342" y="3095400"/>
                  <a:pt x="10099159" y="3091603"/>
                </a:cubicBezTo>
                <a:cubicBezTo>
                  <a:pt x="10099159" y="3091603"/>
                  <a:pt x="10099159" y="3091603"/>
                  <a:pt x="10429298" y="2802878"/>
                </a:cubicBezTo>
                <a:cubicBezTo>
                  <a:pt x="10433114" y="2800029"/>
                  <a:pt x="10437885" y="2798605"/>
                  <a:pt x="10442418" y="2798842"/>
                </a:cubicBezTo>
                <a:close/>
                <a:moveTo>
                  <a:pt x="8710745" y="2792356"/>
                </a:moveTo>
                <a:cubicBezTo>
                  <a:pt x="8716231" y="2793069"/>
                  <a:pt x="8721479" y="2795921"/>
                  <a:pt x="8725295" y="2800675"/>
                </a:cubicBezTo>
                <a:cubicBezTo>
                  <a:pt x="8732928" y="2810181"/>
                  <a:pt x="8732928" y="2823488"/>
                  <a:pt x="8723387" y="2831093"/>
                </a:cubicBezTo>
                <a:cubicBezTo>
                  <a:pt x="8723387" y="2831093"/>
                  <a:pt x="8723387" y="2831093"/>
                  <a:pt x="8389446" y="3099164"/>
                </a:cubicBezTo>
                <a:cubicBezTo>
                  <a:pt x="8379905" y="3106766"/>
                  <a:pt x="8366547" y="3104865"/>
                  <a:pt x="8358914" y="3095358"/>
                </a:cubicBezTo>
                <a:cubicBezTo>
                  <a:pt x="8355098" y="3091559"/>
                  <a:pt x="8355098" y="3085855"/>
                  <a:pt x="8355098" y="3082053"/>
                </a:cubicBezTo>
                <a:cubicBezTo>
                  <a:pt x="8355098" y="3074447"/>
                  <a:pt x="8357006" y="3068744"/>
                  <a:pt x="8362731" y="3064941"/>
                </a:cubicBezTo>
                <a:cubicBezTo>
                  <a:pt x="8362731" y="3064941"/>
                  <a:pt x="8362731" y="3064941"/>
                  <a:pt x="8694763" y="2796872"/>
                </a:cubicBezTo>
                <a:cubicBezTo>
                  <a:pt x="8699534" y="2793069"/>
                  <a:pt x="8705259" y="2791642"/>
                  <a:pt x="8710745" y="2792356"/>
                </a:cubicBezTo>
                <a:close/>
                <a:moveTo>
                  <a:pt x="11020609" y="2792330"/>
                </a:moveTo>
                <a:cubicBezTo>
                  <a:pt x="11026090" y="2793043"/>
                  <a:pt x="11031334" y="2795895"/>
                  <a:pt x="11035147" y="2800648"/>
                </a:cubicBezTo>
                <a:cubicBezTo>
                  <a:pt x="11042773" y="2810154"/>
                  <a:pt x="11040866" y="2823462"/>
                  <a:pt x="11031333" y="2831067"/>
                </a:cubicBezTo>
                <a:cubicBezTo>
                  <a:pt x="11031333" y="2831067"/>
                  <a:pt x="11031333" y="2831067"/>
                  <a:pt x="10699581" y="3099136"/>
                </a:cubicBezTo>
                <a:cubicBezTo>
                  <a:pt x="10690048" y="3106741"/>
                  <a:pt x="10676701" y="3104840"/>
                  <a:pt x="10669075" y="3095334"/>
                </a:cubicBezTo>
                <a:cubicBezTo>
                  <a:pt x="10665262" y="3091531"/>
                  <a:pt x="10663355" y="3085827"/>
                  <a:pt x="10663355" y="3082025"/>
                </a:cubicBezTo>
                <a:cubicBezTo>
                  <a:pt x="10663355" y="3074421"/>
                  <a:pt x="10667168" y="3068717"/>
                  <a:pt x="10672888" y="3064914"/>
                </a:cubicBezTo>
                <a:cubicBezTo>
                  <a:pt x="10672888" y="3064914"/>
                  <a:pt x="10672888" y="3064914"/>
                  <a:pt x="11004641" y="2796846"/>
                </a:cubicBezTo>
                <a:cubicBezTo>
                  <a:pt x="11009408" y="2793043"/>
                  <a:pt x="11015127" y="2791618"/>
                  <a:pt x="11020609" y="2792330"/>
                </a:cubicBezTo>
                <a:close/>
                <a:moveTo>
                  <a:pt x="8147926" y="2787441"/>
                </a:moveTo>
                <a:cubicBezTo>
                  <a:pt x="8154593" y="2788630"/>
                  <a:pt x="8160785" y="2792440"/>
                  <a:pt x="8164595" y="2798157"/>
                </a:cubicBezTo>
                <a:cubicBezTo>
                  <a:pt x="8174120" y="2809588"/>
                  <a:pt x="8170310" y="2824828"/>
                  <a:pt x="8158880" y="2834352"/>
                </a:cubicBezTo>
                <a:cubicBezTo>
                  <a:pt x="8158880" y="2834352"/>
                  <a:pt x="8158880" y="2834352"/>
                  <a:pt x="7825500" y="3078192"/>
                </a:cubicBezTo>
                <a:cubicBezTo>
                  <a:pt x="7814070" y="3087718"/>
                  <a:pt x="7796925" y="3083908"/>
                  <a:pt x="7789305" y="3072478"/>
                </a:cubicBezTo>
                <a:cubicBezTo>
                  <a:pt x="7785495" y="3068667"/>
                  <a:pt x="7783590" y="3062951"/>
                  <a:pt x="7783590" y="3057236"/>
                </a:cubicBezTo>
                <a:cubicBezTo>
                  <a:pt x="7783590" y="3049615"/>
                  <a:pt x="7787400" y="3042001"/>
                  <a:pt x="7795020" y="3036282"/>
                </a:cubicBezTo>
                <a:cubicBezTo>
                  <a:pt x="7795020" y="3036282"/>
                  <a:pt x="7795020" y="3036282"/>
                  <a:pt x="8128399" y="2792440"/>
                </a:cubicBezTo>
                <a:cubicBezTo>
                  <a:pt x="8134114" y="2787678"/>
                  <a:pt x="8141258" y="2786250"/>
                  <a:pt x="8147926" y="2787441"/>
                </a:cubicBezTo>
                <a:close/>
                <a:moveTo>
                  <a:pt x="11592432" y="2787434"/>
                </a:moveTo>
                <a:cubicBezTo>
                  <a:pt x="11598867" y="2788622"/>
                  <a:pt x="11605063" y="2792433"/>
                  <a:pt x="11609830" y="2798149"/>
                </a:cubicBezTo>
                <a:cubicBezTo>
                  <a:pt x="11617456" y="2809579"/>
                  <a:pt x="11615549" y="2824818"/>
                  <a:pt x="11604110" y="2834343"/>
                </a:cubicBezTo>
                <a:cubicBezTo>
                  <a:pt x="11604110" y="2834343"/>
                  <a:pt x="11604110" y="2834343"/>
                  <a:pt x="11270458" y="3078185"/>
                </a:cubicBezTo>
                <a:cubicBezTo>
                  <a:pt x="11259018" y="3087709"/>
                  <a:pt x="11241859" y="3083900"/>
                  <a:pt x="11234233" y="3072469"/>
                </a:cubicBezTo>
                <a:cubicBezTo>
                  <a:pt x="11230420" y="3068661"/>
                  <a:pt x="11228513" y="3062943"/>
                  <a:pt x="11228513" y="3057229"/>
                </a:cubicBezTo>
                <a:cubicBezTo>
                  <a:pt x="11228513" y="3049607"/>
                  <a:pt x="11232326" y="3041990"/>
                  <a:pt x="11238046" y="3036275"/>
                </a:cubicBezTo>
                <a:cubicBezTo>
                  <a:pt x="11238046" y="3036275"/>
                  <a:pt x="11238046" y="3036275"/>
                  <a:pt x="11573605" y="2792433"/>
                </a:cubicBezTo>
                <a:cubicBezTo>
                  <a:pt x="11579325" y="2787671"/>
                  <a:pt x="11585998" y="2786243"/>
                  <a:pt x="11592432" y="2787434"/>
                </a:cubicBezTo>
                <a:close/>
                <a:moveTo>
                  <a:pt x="12139750" y="2786083"/>
                </a:moveTo>
                <a:cubicBezTo>
                  <a:pt x="12139750" y="2786083"/>
                  <a:pt x="12139750" y="2786083"/>
                  <a:pt x="12139750" y="2858148"/>
                </a:cubicBezTo>
                <a:cubicBezTo>
                  <a:pt x="12139750" y="2858148"/>
                  <a:pt x="12139750" y="2858148"/>
                  <a:pt x="11834946" y="3059175"/>
                </a:cubicBezTo>
                <a:cubicBezTo>
                  <a:pt x="11819705" y="3068658"/>
                  <a:pt x="11800655" y="3064864"/>
                  <a:pt x="11793035" y="3049691"/>
                </a:cubicBezTo>
                <a:cubicBezTo>
                  <a:pt x="11789225" y="3044001"/>
                  <a:pt x="11787320" y="3038313"/>
                  <a:pt x="11787320" y="3032623"/>
                </a:cubicBezTo>
                <a:cubicBezTo>
                  <a:pt x="11787320" y="3023143"/>
                  <a:pt x="11791130" y="3013660"/>
                  <a:pt x="11800655" y="3007970"/>
                </a:cubicBezTo>
                <a:lnTo>
                  <a:pt x="12135940" y="2787978"/>
                </a:lnTo>
                <a:cubicBezTo>
                  <a:pt x="12137845" y="2786083"/>
                  <a:pt x="12137845" y="2786083"/>
                  <a:pt x="12139750" y="2786083"/>
                </a:cubicBezTo>
                <a:close/>
                <a:moveTo>
                  <a:pt x="7592452" y="2782900"/>
                </a:moveTo>
                <a:cubicBezTo>
                  <a:pt x="7600072" y="2784326"/>
                  <a:pt x="7606740" y="2788595"/>
                  <a:pt x="7610550" y="2795241"/>
                </a:cubicBezTo>
                <a:cubicBezTo>
                  <a:pt x="7620075" y="2810434"/>
                  <a:pt x="7616265" y="2829420"/>
                  <a:pt x="7602930" y="2837016"/>
                </a:cubicBezTo>
                <a:cubicBezTo>
                  <a:pt x="7602930" y="2837016"/>
                  <a:pt x="7602930" y="2837016"/>
                  <a:pt x="7267645" y="3059173"/>
                </a:cubicBezTo>
                <a:cubicBezTo>
                  <a:pt x="7254310" y="3068667"/>
                  <a:pt x="7235260" y="3064869"/>
                  <a:pt x="7225735" y="3049680"/>
                </a:cubicBezTo>
                <a:cubicBezTo>
                  <a:pt x="7221925" y="3043982"/>
                  <a:pt x="7220020" y="3038288"/>
                  <a:pt x="7220020" y="3032591"/>
                </a:cubicBezTo>
                <a:cubicBezTo>
                  <a:pt x="7220020" y="3023099"/>
                  <a:pt x="7225735" y="3013604"/>
                  <a:pt x="7233355" y="3007907"/>
                </a:cubicBezTo>
                <a:cubicBezTo>
                  <a:pt x="7233355" y="3007907"/>
                  <a:pt x="7233355" y="3007907"/>
                  <a:pt x="7568639" y="2787648"/>
                </a:cubicBezTo>
                <a:cubicBezTo>
                  <a:pt x="7576259" y="2782900"/>
                  <a:pt x="7584832" y="2781476"/>
                  <a:pt x="7592452" y="2782900"/>
                </a:cubicBezTo>
                <a:close/>
                <a:moveTo>
                  <a:pt x="7041900" y="2777758"/>
                </a:moveTo>
                <a:cubicBezTo>
                  <a:pt x="7050473" y="2779901"/>
                  <a:pt x="7058093" y="2785138"/>
                  <a:pt x="7062856" y="2792757"/>
                </a:cubicBezTo>
                <a:cubicBezTo>
                  <a:pt x="7072381" y="2809907"/>
                  <a:pt x="7066666" y="2830858"/>
                  <a:pt x="7051425" y="2840384"/>
                </a:cubicBezTo>
                <a:cubicBezTo>
                  <a:pt x="7051425" y="2840384"/>
                  <a:pt x="7051425" y="2840384"/>
                  <a:pt x="6714236" y="3038503"/>
                </a:cubicBezTo>
                <a:cubicBezTo>
                  <a:pt x="6697090" y="3048026"/>
                  <a:pt x="6676135" y="3044222"/>
                  <a:pt x="6666610" y="3027077"/>
                </a:cubicBezTo>
                <a:cubicBezTo>
                  <a:pt x="6664705" y="3021361"/>
                  <a:pt x="6662800" y="3015647"/>
                  <a:pt x="6662800" y="3009931"/>
                </a:cubicBezTo>
                <a:cubicBezTo>
                  <a:pt x="6662800" y="2998500"/>
                  <a:pt x="6668515" y="2987069"/>
                  <a:pt x="6679945" y="2979450"/>
                </a:cubicBezTo>
                <a:cubicBezTo>
                  <a:pt x="6679945" y="2979450"/>
                  <a:pt x="6679945" y="2979450"/>
                  <a:pt x="7015230" y="2781330"/>
                </a:cubicBezTo>
                <a:cubicBezTo>
                  <a:pt x="7023803" y="2776567"/>
                  <a:pt x="7033328" y="2775616"/>
                  <a:pt x="7041900" y="2777758"/>
                </a:cubicBezTo>
                <a:close/>
                <a:moveTo>
                  <a:pt x="6499388" y="2774400"/>
                </a:moveTo>
                <a:cubicBezTo>
                  <a:pt x="6508668" y="2777482"/>
                  <a:pt x="6516758" y="2784126"/>
                  <a:pt x="6521517" y="2793615"/>
                </a:cubicBezTo>
                <a:cubicBezTo>
                  <a:pt x="6531035" y="2812596"/>
                  <a:pt x="6525324" y="2835373"/>
                  <a:pt x="6506288" y="2844865"/>
                </a:cubicBezTo>
                <a:cubicBezTo>
                  <a:pt x="6506288" y="2844865"/>
                  <a:pt x="6506288" y="2844865"/>
                  <a:pt x="6167449" y="3019490"/>
                </a:cubicBezTo>
                <a:cubicBezTo>
                  <a:pt x="6148414" y="3028982"/>
                  <a:pt x="6125570" y="3021389"/>
                  <a:pt x="6116053" y="3002408"/>
                </a:cubicBezTo>
                <a:cubicBezTo>
                  <a:pt x="6112245" y="2996712"/>
                  <a:pt x="6110342" y="2991020"/>
                  <a:pt x="6110342" y="2985324"/>
                </a:cubicBezTo>
                <a:cubicBezTo>
                  <a:pt x="6110342" y="2972039"/>
                  <a:pt x="6117956" y="2958751"/>
                  <a:pt x="6131281" y="2951160"/>
                </a:cubicBezTo>
                <a:cubicBezTo>
                  <a:pt x="6131281" y="2951160"/>
                  <a:pt x="6131281" y="2951160"/>
                  <a:pt x="6470120" y="2776533"/>
                </a:cubicBezTo>
                <a:cubicBezTo>
                  <a:pt x="6479638" y="2771788"/>
                  <a:pt x="6490107" y="2771312"/>
                  <a:pt x="6499388" y="2774400"/>
                </a:cubicBezTo>
                <a:close/>
                <a:moveTo>
                  <a:pt x="5959672" y="2769256"/>
                </a:moveTo>
                <a:cubicBezTo>
                  <a:pt x="5969941" y="2773062"/>
                  <a:pt x="5978538" y="2780669"/>
                  <a:pt x="5983314" y="2791133"/>
                </a:cubicBezTo>
                <a:cubicBezTo>
                  <a:pt x="5992867" y="2812061"/>
                  <a:pt x="5983314" y="2838698"/>
                  <a:pt x="5962297" y="2848210"/>
                </a:cubicBezTo>
                <a:cubicBezTo>
                  <a:pt x="5962297" y="2848210"/>
                  <a:pt x="5962297" y="2848210"/>
                  <a:pt x="5620300" y="3000418"/>
                </a:cubicBezTo>
                <a:cubicBezTo>
                  <a:pt x="5599284" y="3009931"/>
                  <a:pt x="5574446" y="3000418"/>
                  <a:pt x="5564892" y="2979489"/>
                </a:cubicBezTo>
                <a:cubicBezTo>
                  <a:pt x="5561071" y="2973783"/>
                  <a:pt x="5561071" y="2968075"/>
                  <a:pt x="5561071" y="2960466"/>
                </a:cubicBezTo>
                <a:cubicBezTo>
                  <a:pt x="5561071" y="2945244"/>
                  <a:pt x="5570624" y="2930022"/>
                  <a:pt x="5585909" y="2922412"/>
                </a:cubicBezTo>
                <a:cubicBezTo>
                  <a:pt x="5585909" y="2922412"/>
                  <a:pt x="5585909" y="2922412"/>
                  <a:pt x="5925997" y="2770208"/>
                </a:cubicBezTo>
                <a:cubicBezTo>
                  <a:pt x="5937461" y="2765450"/>
                  <a:pt x="5949401" y="2765450"/>
                  <a:pt x="5959672" y="2769256"/>
                </a:cubicBezTo>
                <a:close/>
                <a:moveTo>
                  <a:pt x="399603" y="2769241"/>
                </a:moveTo>
                <a:cubicBezTo>
                  <a:pt x="410073" y="2773046"/>
                  <a:pt x="419115" y="2780657"/>
                  <a:pt x="423874" y="2791121"/>
                </a:cubicBezTo>
                <a:cubicBezTo>
                  <a:pt x="433392" y="2812049"/>
                  <a:pt x="423874" y="2838685"/>
                  <a:pt x="401030" y="2848199"/>
                </a:cubicBezTo>
                <a:cubicBezTo>
                  <a:pt x="401030" y="2848199"/>
                  <a:pt x="401030" y="2848199"/>
                  <a:pt x="62187" y="3000404"/>
                </a:cubicBezTo>
                <a:cubicBezTo>
                  <a:pt x="41247" y="3009919"/>
                  <a:pt x="16500" y="3000404"/>
                  <a:pt x="6982" y="2979476"/>
                </a:cubicBezTo>
                <a:cubicBezTo>
                  <a:pt x="3175" y="2973768"/>
                  <a:pt x="3175" y="2968061"/>
                  <a:pt x="3175" y="2960451"/>
                </a:cubicBezTo>
                <a:cubicBezTo>
                  <a:pt x="3175" y="2945230"/>
                  <a:pt x="10789" y="2930010"/>
                  <a:pt x="27922" y="2922399"/>
                </a:cubicBezTo>
                <a:cubicBezTo>
                  <a:pt x="27922" y="2922399"/>
                  <a:pt x="27922" y="2922399"/>
                  <a:pt x="366765" y="2770194"/>
                </a:cubicBezTo>
                <a:cubicBezTo>
                  <a:pt x="377235" y="2765436"/>
                  <a:pt x="389133" y="2765436"/>
                  <a:pt x="399603" y="2769241"/>
                </a:cubicBezTo>
                <a:close/>
                <a:moveTo>
                  <a:pt x="5396030" y="2760546"/>
                </a:moveTo>
                <a:cubicBezTo>
                  <a:pt x="5414054" y="2760902"/>
                  <a:pt x="5431544" y="2771987"/>
                  <a:pt x="5437255" y="2790586"/>
                </a:cubicBezTo>
                <a:cubicBezTo>
                  <a:pt x="5446773" y="2815383"/>
                  <a:pt x="5435351" y="2842090"/>
                  <a:pt x="5410604" y="2851628"/>
                </a:cubicBezTo>
                <a:cubicBezTo>
                  <a:pt x="5410604" y="2851628"/>
                  <a:pt x="5410604" y="2851628"/>
                  <a:pt x="5069848" y="2981344"/>
                </a:cubicBezTo>
                <a:cubicBezTo>
                  <a:pt x="5045105" y="2990880"/>
                  <a:pt x="5018457" y="2977527"/>
                  <a:pt x="5008939" y="2954638"/>
                </a:cubicBezTo>
                <a:cubicBezTo>
                  <a:pt x="5007036" y="2948915"/>
                  <a:pt x="5007036" y="2943193"/>
                  <a:pt x="5007036" y="2937469"/>
                </a:cubicBezTo>
                <a:cubicBezTo>
                  <a:pt x="5007036" y="2918395"/>
                  <a:pt x="5018457" y="2899319"/>
                  <a:pt x="5037490" y="2893596"/>
                </a:cubicBezTo>
                <a:cubicBezTo>
                  <a:pt x="5037490" y="2893596"/>
                  <a:pt x="5037490" y="2893596"/>
                  <a:pt x="5378244" y="2763882"/>
                </a:cubicBezTo>
                <a:cubicBezTo>
                  <a:pt x="5383954" y="2761500"/>
                  <a:pt x="5390021" y="2760425"/>
                  <a:pt x="5396030" y="2760546"/>
                </a:cubicBezTo>
                <a:close/>
                <a:moveTo>
                  <a:pt x="930706" y="2760528"/>
                </a:moveTo>
                <a:cubicBezTo>
                  <a:pt x="949141" y="2760885"/>
                  <a:pt x="965965" y="2771973"/>
                  <a:pt x="973124" y="2790570"/>
                </a:cubicBezTo>
                <a:cubicBezTo>
                  <a:pt x="982670" y="2815369"/>
                  <a:pt x="969306" y="2842076"/>
                  <a:pt x="946396" y="2851614"/>
                </a:cubicBezTo>
                <a:cubicBezTo>
                  <a:pt x="946396" y="2851614"/>
                  <a:pt x="946396" y="2851614"/>
                  <a:pt x="604662" y="2981328"/>
                </a:cubicBezTo>
                <a:cubicBezTo>
                  <a:pt x="579843" y="2990867"/>
                  <a:pt x="551206" y="2977513"/>
                  <a:pt x="543570" y="2954621"/>
                </a:cubicBezTo>
                <a:cubicBezTo>
                  <a:pt x="541661" y="2948899"/>
                  <a:pt x="539752" y="2943177"/>
                  <a:pt x="539752" y="2937453"/>
                </a:cubicBezTo>
                <a:cubicBezTo>
                  <a:pt x="539752" y="2918379"/>
                  <a:pt x="551206" y="2899302"/>
                  <a:pt x="570298" y="2893580"/>
                </a:cubicBezTo>
                <a:cubicBezTo>
                  <a:pt x="570298" y="2893580"/>
                  <a:pt x="570298" y="2893580"/>
                  <a:pt x="912032" y="2763867"/>
                </a:cubicBezTo>
                <a:cubicBezTo>
                  <a:pt x="918237" y="2761484"/>
                  <a:pt x="924561" y="2760408"/>
                  <a:pt x="930706" y="2760528"/>
                </a:cubicBezTo>
                <a:close/>
                <a:moveTo>
                  <a:pt x="4845194" y="2755586"/>
                </a:moveTo>
                <a:cubicBezTo>
                  <a:pt x="4864904" y="2757905"/>
                  <a:pt x="4882744" y="2771456"/>
                  <a:pt x="4889877" y="2791428"/>
                </a:cubicBezTo>
                <a:cubicBezTo>
                  <a:pt x="4897488" y="2818061"/>
                  <a:pt x="4882266" y="2846596"/>
                  <a:pt x="4855631" y="2856106"/>
                </a:cubicBezTo>
                <a:cubicBezTo>
                  <a:pt x="4855631" y="2856106"/>
                  <a:pt x="4855631" y="2856106"/>
                  <a:pt x="4513213" y="2962635"/>
                </a:cubicBezTo>
                <a:cubicBezTo>
                  <a:pt x="4486581" y="2970243"/>
                  <a:pt x="4458045" y="2955024"/>
                  <a:pt x="4448533" y="2928394"/>
                </a:cubicBezTo>
                <a:cubicBezTo>
                  <a:pt x="4448533" y="2924590"/>
                  <a:pt x="4446631" y="2918884"/>
                  <a:pt x="4446631" y="2913176"/>
                </a:cubicBezTo>
                <a:cubicBezTo>
                  <a:pt x="4446631" y="2892251"/>
                  <a:pt x="4461851" y="2871325"/>
                  <a:pt x="4482777" y="2863715"/>
                </a:cubicBezTo>
                <a:cubicBezTo>
                  <a:pt x="4482777" y="2863715"/>
                  <a:pt x="4482777" y="2863715"/>
                  <a:pt x="4825187" y="2757192"/>
                </a:cubicBezTo>
                <a:cubicBezTo>
                  <a:pt x="4831847" y="2755287"/>
                  <a:pt x="4838625" y="2754812"/>
                  <a:pt x="4845194" y="2755586"/>
                </a:cubicBezTo>
                <a:close/>
                <a:moveTo>
                  <a:pt x="1482623" y="2755567"/>
                </a:moveTo>
                <a:cubicBezTo>
                  <a:pt x="1502310" y="2757887"/>
                  <a:pt x="1519850" y="2771439"/>
                  <a:pt x="1525577" y="2791412"/>
                </a:cubicBezTo>
                <a:cubicBezTo>
                  <a:pt x="1535122" y="2818044"/>
                  <a:pt x="1519850" y="2846577"/>
                  <a:pt x="1493123" y="2856090"/>
                </a:cubicBezTo>
                <a:cubicBezTo>
                  <a:pt x="1493123" y="2856090"/>
                  <a:pt x="1493123" y="2856090"/>
                  <a:pt x="1149495" y="2962617"/>
                </a:cubicBezTo>
                <a:cubicBezTo>
                  <a:pt x="1122769" y="2970225"/>
                  <a:pt x="1092224" y="2955007"/>
                  <a:pt x="1084588" y="2928375"/>
                </a:cubicBezTo>
                <a:cubicBezTo>
                  <a:pt x="1082679" y="2924571"/>
                  <a:pt x="1082679" y="2918864"/>
                  <a:pt x="1082679" y="2913158"/>
                </a:cubicBezTo>
                <a:cubicBezTo>
                  <a:pt x="1082679" y="2892232"/>
                  <a:pt x="1096042" y="2871308"/>
                  <a:pt x="1118950" y="2863698"/>
                </a:cubicBezTo>
                <a:cubicBezTo>
                  <a:pt x="1118950" y="2863698"/>
                  <a:pt x="1118950" y="2863698"/>
                  <a:pt x="1462578" y="2757173"/>
                </a:cubicBezTo>
                <a:cubicBezTo>
                  <a:pt x="1469260" y="2755270"/>
                  <a:pt x="1476061" y="2754795"/>
                  <a:pt x="1482623" y="2755567"/>
                </a:cubicBezTo>
                <a:close/>
                <a:moveTo>
                  <a:pt x="4291651" y="2750401"/>
                </a:moveTo>
                <a:cubicBezTo>
                  <a:pt x="4313337" y="2754252"/>
                  <a:pt x="4331541" y="2769659"/>
                  <a:pt x="4335825" y="2792587"/>
                </a:cubicBezTo>
                <a:cubicBezTo>
                  <a:pt x="4343439" y="2821252"/>
                  <a:pt x="4326305" y="2851825"/>
                  <a:pt x="4295846" y="2859470"/>
                </a:cubicBezTo>
                <a:cubicBezTo>
                  <a:pt x="4295846" y="2859470"/>
                  <a:pt x="4295846" y="2859470"/>
                  <a:pt x="3953199" y="2943550"/>
                </a:cubicBezTo>
                <a:cubicBezTo>
                  <a:pt x="3922739" y="2951195"/>
                  <a:pt x="3892277" y="2932085"/>
                  <a:pt x="3884663" y="2901512"/>
                </a:cubicBezTo>
                <a:cubicBezTo>
                  <a:pt x="3884663" y="2897690"/>
                  <a:pt x="3884663" y="2893868"/>
                  <a:pt x="3884663" y="2888136"/>
                </a:cubicBezTo>
                <a:cubicBezTo>
                  <a:pt x="3884663" y="2863292"/>
                  <a:pt x="3899894" y="2840361"/>
                  <a:pt x="3926546" y="2834629"/>
                </a:cubicBezTo>
                <a:cubicBezTo>
                  <a:pt x="3926546" y="2834629"/>
                  <a:pt x="3926546" y="2834629"/>
                  <a:pt x="4269194" y="2750551"/>
                </a:cubicBezTo>
                <a:cubicBezTo>
                  <a:pt x="4276808" y="2749117"/>
                  <a:pt x="4284423" y="2749117"/>
                  <a:pt x="4291651" y="2750401"/>
                </a:cubicBezTo>
                <a:close/>
                <a:moveTo>
                  <a:pt x="2037928" y="2750381"/>
                </a:moveTo>
                <a:cubicBezTo>
                  <a:pt x="2058890" y="2754232"/>
                  <a:pt x="2077438" y="2769638"/>
                  <a:pt x="2083145" y="2792570"/>
                </a:cubicBezTo>
                <a:cubicBezTo>
                  <a:pt x="2090754" y="2821233"/>
                  <a:pt x="2071730" y="2851807"/>
                  <a:pt x="2043190" y="2859451"/>
                </a:cubicBezTo>
                <a:cubicBezTo>
                  <a:pt x="2043190" y="2859451"/>
                  <a:pt x="2043190" y="2859451"/>
                  <a:pt x="1698856" y="2943529"/>
                </a:cubicBezTo>
                <a:cubicBezTo>
                  <a:pt x="1668417" y="2951173"/>
                  <a:pt x="1639881" y="2932065"/>
                  <a:pt x="1632272" y="2901491"/>
                </a:cubicBezTo>
                <a:cubicBezTo>
                  <a:pt x="1630369" y="2897669"/>
                  <a:pt x="1630369" y="2893847"/>
                  <a:pt x="1630369" y="2888114"/>
                </a:cubicBezTo>
                <a:cubicBezTo>
                  <a:pt x="1630369" y="2863273"/>
                  <a:pt x="1647491" y="2840342"/>
                  <a:pt x="1672222" y="2834609"/>
                </a:cubicBezTo>
                <a:cubicBezTo>
                  <a:pt x="1672222" y="2834609"/>
                  <a:pt x="1672222" y="2834609"/>
                  <a:pt x="2016556" y="2750531"/>
                </a:cubicBezTo>
                <a:cubicBezTo>
                  <a:pt x="2023690" y="2749098"/>
                  <a:pt x="2030943" y="2749098"/>
                  <a:pt x="2037928" y="2750381"/>
                </a:cubicBezTo>
                <a:close/>
                <a:moveTo>
                  <a:pt x="3710449" y="2745770"/>
                </a:moveTo>
                <a:cubicBezTo>
                  <a:pt x="3742791" y="2740056"/>
                  <a:pt x="3773233" y="2762916"/>
                  <a:pt x="3778940" y="2795297"/>
                </a:cubicBezTo>
                <a:cubicBezTo>
                  <a:pt x="3784650" y="2827683"/>
                  <a:pt x="3763720" y="2858165"/>
                  <a:pt x="3731377" y="2863880"/>
                </a:cubicBezTo>
                <a:cubicBezTo>
                  <a:pt x="3731377" y="2863880"/>
                  <a:pt x="3731377" y="2863880"/>
                  <a:pt x="3385144" y="2924842"/>
                </a:cubicBezTo>
                <a:cubicBezTo>
                  <a:pt x="3352802" y="2930556"/>
                  <a:pt x="3322363" y="2907696"/>
                  <a:pt x="3316656" y="2875310"/>
                </a:cubicBezTo>
                <a:cubicBezTo>
                  <a:pt x="3316656" y="2871500"/>
                  <a:pt x="3314753" y="2869595"/>
                  <a:pt x="3314753" y="2865784"/>
                </a:cubicBezTo>
                <a:cubicBezTo>
                  <a:pt x="3314753" y="2837207"/>
                  <a:pt x="3335681" y="2812444"/>
                  <a:pt x="3364218" y="2806729"/>
                </a:cubicBezTo>
                <a:cubicBezTo>
                  <a:pt x="3364218" y="2806729"/>
                  <a:pt x="3364218" y="2806729"/>
                  <a:pt x="3710449" y="2745770"/>
                </a:cubicBezTo>
                <a:close/>
                <a:moveTo>
                  <a:pt x="2576948" y="2745748"/>
                </a:moveTo>
                <a:cubicBezTo>
                  <a:pt x="2609291" y="2740033"/>
                  <a:pt x="2639729" y="2762892"/>
                  <a:pt x="2645436" y="2795278"/>
                </a:cubicBezTo>
                <a:cubicBezTo>
                  <a:pt x="2651144" y="2827662"/>
                  <a:pt x="2630216" y="2858143"/>
                  <a:pt x="2595972" y="2863857"/>
                </a:cubicBezTo>
                <a:cubicBezTo>
                  <a:pt x="2595972" y="2863857"/>
                  <a:pt x="2595972" y="2863857"/>
                  <a:pt x="2251629" y="2924818"/>
                </a:cubicBezTo>
                <a:cubicBezTo>
                  <a:pt x="2219288" y="2930533"/>
                  <a:pt x="2188849" y="2907673"/>
                  <a:pt x="2183141" y="2875287"/>
                </a:cubicBezTo>
                <a:cubicBezTo>
                  <a:pt x="2183141" y="2871478"/>
                  <a:pt x="2181239" y="2869573"/>
                  <a:pt x="2181239" y="2865763"/>
                </a:cubicBezTo>
                <a:cubicBezTo>
                  <a:pt x="2181239" y="2837188"/>
                  <a:pt x="2202166" y="2812423"/>
                  <a:pt x="2230702" y="2806708"/>
                </a:cubicBezTo>
                <a:cubicBezTo>
                  <a:pt x="2230702" y="2806708"/>
                  <a:pt x="2230702" y="2806708"/>
                  <a:pt x="2576948" y="2745748"/>
                </a:cubicBezTo>
                <a:close/>
                <a:moveTo>
                  <a:pt x="3140489" y="2739132"/>
                </a:moveTo>
                <a:cubicBezTo>
                  <a:pt x="3176660" y="2735294"/>
                  <a:pt x="3207119" y="2760241"/>
                  <a:pt x="3210928" y="2796698"/>
                </a:cubicBezTo>
                <a:cubicBezTo>
                  <a:pt x="3214734" y="2831239"/>
                  <a:pt x="3189988" y="2863862"/>
                  <a:pt x="3153815" y="2867700"/>
                </a:cubicBezTo>
                <a:cubicBezTo>
                  <a:pt x="3153815" y="2867700"/>
                  <a:pt x="3153815" y="2867700"/>
                  <a:pt x="2807330" y="2906081"/>
                </a:cubicBezTo>
                <a:cubicBezTo>
                  <a:pt x="2773062" y="2909920"/>
                  <a:pt x="2740699" y="2883053"/>
                  <a:pt x="2736892" y="2848510"/>
                </a:cubicBezTo>
                <a:cubicBezTo>
                  <a:pt x="2736892" y="2846591"/>
                  <a:pt x="2736892" y="2842753"/>
                  <a:pt x="2736892" y="2840833"/>
                </a:cubicBezTo>
                <a:cubicBezTo>
                  <a:pt x="2736892" y="2808213"/>
                  <a:pt x="2761639" y="2781347"/>
                  <a:pt x="2794004" y="2777510"/>
                </a:cubicBezTo>
                <a:cubicBezTo>
                  <a:pt x="2794004" y="2777510"/>
                  <a:pt x="2794004" y="2777510"/>
                  <a:pt x="3140489" y="2739132"/>
                </a:cubicBezTo>
                <a:close/>
                <a:moveTo>
                  <a:pt x="9848939" y="2478758"/>
                </a:moveTo>
                <a:cubicBezTo>
                  <a:pt x="9852752" y="2474949"/>
                  <a:pt x="9860379" y="2474949"/>
                  <a:pt x="9864193" y="2478758"/>
                </a:cubicBezTo>
                <a:cubicBezTo>
                  <a:pt x="9868006" y="2484475"/>
                  <a:pt x="9868006" y="2490192"/>
                  <a:pt x="9864193" y="2494003"/>
                </a:cubicBezTo>
                <a:cubicBezTo>
                  <a:pt x="9864193" y="2494003"/>
                  <a:pt x="9864193" y="2494003"/>
                  <a:pt x="9536231" y="2823558"/>
                </a:cubicBezTo>
                <a:cubicBezTo>
                  <a:pt x="9532418" y="2827364"/>
                  <a:pt x="9524791" y="2827364"/>
                  <a:pt x="9520977" y="2823558"/>
                </a:cubicBezTo>
                <a:cubicBezTo>
                  <a:pt x="9519071" y="2819745"/>
                  <a:pt x="9517164" y="2817842"/>
                  <a:pt x="9517164" y="2815937"/>
                </a:cubicBezTo>
                <a:cubicBezTo>
                  <a:pt x="9517164" y="2812126"/>
                  <a:pt x="9519071" y="2810223"/>
                  <a:pt x="9520977" y="2808317"/>
                </a:cubicBezTo>
                <a:cubicBezTo>
                  <a:pt x="9520977" y="2808317"/>
                  <a:pt x="9520977" y="2808317"/>
                  <a:pt x="9848939" y="2478758"/>
                </a:cubicBezTo>
                <a:close/>
                <a:moveTo>
                  <a:pt x="9280068" y="2470987"/>
                </a:moveTo>
                <a:cubicBezTo>
                  <a:pt x="9284117" y="2471465"/>
                  <a:pt x="9287927" y="2473375"/>
                  <a:pt x="9290784" y="2476239"/>
                </a:cubicBezTo>
                <a:cubicBezTo>
                  <a:pt x="9296499" y="2481973"/>
                  <a:pt x="9296499" y="2491525"/>
                  <a:pt x="9288879" y="2497260"/>
                </a:cubicBezTo>
                <a:cubicBezTo>
                  <a:pt x="9288879" y="2497260"/>
                  <a:pt x="9288879" y="2497260"/>
                  <a:pt x="8959309" y="2800997"/>
                </a:cubicBezTo>
                <a:cubicBezTo>
                  <a:pt x="8953594" y="2806729"/>
                  <a:pt x="8944069" y="2806729"/>
                  <a:pt x="8938354" y="2800997"/>
                </a:cubicBezTo>
                <a:cubicBezTo>
                  <a:pt x="8934544" y="2797177"/>
                  <a:pt x="8934544" y="2793354"/>
                  <a:pt x="8934544" y="2789535"/>
                </a:cubicBezTo>
                <a:cubicBezTo>
                  <a:pt x="8934544" y="2785714"/>
                  <a:pt x="8936449" y="2781895"/>
                  <a:pt x="8938354" y="2778073"/>
                </a:cubicBezTo>
                <a:cubicBezTo>
                  <a:pt x="8938354" y="2778073"/>
                  <a:pt x="8938354" y="2778073"/>
                  <a:pt x="9267924" y="2474329"/>
                </a:cubicBezTo>
                <a:cubicBezTo>
                  <a:pt x="9271734" y="2471465"/>
                  <a:pt x="9276020" y="2470511"/>
                  <a:pt x="9280068" y="2470987"/>
                </a:cubicBezTo>
                <a:close/>
                <a:moveTo>
                  <a:pt x="10440785" y="2470956"/>
                </a:moveTo>
                <a:cubicBezTo>
                  <a:pt x="10444594" y="2471432"/>
                  <a:pt x="10448404" y="2473343"/>
                  <a:pt x="10451262" y="2476209"/>
                </a:cubicBezTo>
                <a:cubicBezTo>
                  <a:pt x="10456977" y="2481941"/>
                  <a:pt x="10456977" y="2491493"/>
                  <a:pt x="10451262" y="2497223"/>
                </a:cubicBezTo>
                <a:cubicBezTo>
                  <a:pt x="10451262" y="2497223"/>
                  <a:pt x="10451262" y="2497223"/>
                  <a:pt x="10121692" y="2800974"/>
                </a:cubicBezTo>
                <a:cubicBezTo>
                  <a:pt x="10114072" y="2806705"/>
                  <a:pt x="10104547" y="2806705"/>
                  <a:pt x="10098832" y="2800974"/>
                </a:cubicBezTo>
                <a:cubicBezTo>
                  <a:pt x="10096927" y="2797153"/>
                  <a:pt x="10095022" y="2793332"/>
                  <a:pt x="10095022" y="2789511"/>
                </a:cubicBezTo>
                <a:cubicBezTo>
                  <a:pt x="10095022" y="2785690"/>
                  <a:pt x="10096927" y="2781870"/>
                  <a:pt x="10100737" y="2778049"/>
                </a:cubicBezTo>
                <a:cubicBezTo>
                  <a:pt x="10100737" y="2778049"/>
                  <a:pt x="10100737" y="2778049"/>
                  <a:pt x="10430307" y="2474298"/>
                </a:cubicBezTo>
                <a:cubicBezTo>
                  <a:pt x="10433165" y="2471432"/>
                  <a:pt x="10436974" y="2470479"/>
                  <a:pt x="10440785" y="2470956"/>
                </a:cubicBezTo>
                <a:close/>
                <a:moveTo>
                  <a:pt x="8710792" y="2467329"/>
                </a:moveTo>
                <a:cubicBezTo>
                  <a:pt x="8716049" y="2467808"/>
                  <a:pt x="8720827" y="2470190"/>
                  <a:pt x="8723695" y="2474959"/>
                </a:cubicBezTo>
                <a:cubicBezTo>
                  <a:pt x="8731341" y="2482590"/>
                  <a:pt x="8729429" y="2495938"/>
                  <a:pt x="8721783" y="2501658"/>
                </a:cubicBezTo>
                <a:cubicBezTo>
                  <a:pt x="8721783" y="2501658"/>
                  <a:pt x="8721783" y="2501658"/>
                  <a:pt x="8389182" y="2780051"/>
                </a:cubicBezTo>
                <a:cubicBezTo>
                  <a:pt x="8381536" y="2787678"/>
                  <a:pt x="8368155" y="2785771"/>
                  <a:pt x="8360509" y="2778145"/>
                </a:cubicBezTo>
                <a:cubicBezTo>
                  <a:pt x="8358598" y="2774333"/>
                  <a:pt x="8356686" y="2768612"/>
                  <a:pt x="8356686" y="2764800"/>
                </a:cubicBezTo>
                <a:cubicBezTo>
                  <a:pt x="8356686" y="2759078"/>
                  <a:pt x="8358598" y="2753357"/>
                  <a:pt x="8364332" y="2749541"/>
                </a:cubicBezTo>
                <a:cubicBezTo>
                  <a:pt x="8364332" y="2749541"/>
                  <a:pt x="8364332" y="2749541"/>
                  <a:pt x="8695022" y="2471144"/>
                </a:cubicBezTo>
                <a:cubicBezTo>
                  <a:pt x="8699801" y="2468282"/>
                  <a:pt x="8705536" y="2466854"/>
                  <a:pt x="8710792" y="2467329"/>
                </a:cubicBezTo>
                <a:close/>
                <a:moveTo>
                  <a:pt x="11018422" y="2467296"/>
                </a:moveTo>
                <a:cubicBezTo>
                  <a:pt x="11023419" y="2467773"/>
                  <a:pt x="11028178" y="2470157"/>
                  <a:pt x="11031984" y="2474925"/>
                </a:cubicBezTo>
                <a:cubicBezTo>
                  <a:pt x="11039598" y="2482552"/>
                  <a:pt x="11037695" y="2495900"/>
                  <a:pt x="11030081" y="2501621"/>
                </a:cubicBezTo>
                <a:cubicBezTo>
                  <a:pt x="11030081" y="2501621"/>
                  <a:pt x="11030081" y="2501621"/>
                  <a:pt x="10698888" y="2780026"/>
                </a:cubicBezTo>
                <a:cubicBezTo>
                  <a:pt x="10689371" y="2787653"/>
                  <a:pt x="10677950" y="2785745"/>
                  <a:pt x="10670337" y="2778118"/>
                </a:cubicBezTo>
                <a:cubicBezTo>
                  <a:pt x="10666530" y="2774304"/>
                  <a:pt x="10666530" y="2768584"/>
                  <a:pt x="10666530" y="2764770"/>
                </a:cubicBezTo>
                <a:cubicBezTo>
                  <a:pt x="10666530" y="2759049"/>
                  <a:pt x="10668433" y="2753329"/>
                  <a:pt x="10672240" y="2749515"/>
                </a:cubicBezTo>
                <a:cubicBezTo>
                  <a:pt x="10672240" y="2749515"/>
                  <a:pt x="10672240" y="2749515"/>
                  <a:pt x="11003433" y="2471111"/>
                </a:cubicBezTo>
                <a:cubicBezTo>
                  <a:pt x="11008191" y="2468250"/>
                  <a:pt x="11013426" y="2466820"/>
                  <a:pt x="11018422" y="2467296"/>
                </a:cubicBezTo>
                <a:close/>
                <a:moveTo>
                  <a:pt x="8147250" y="2462181"/>
                </a:moveTo>
                <a:cubicBezTo>
                  <a:pt x="8153451" y="2462897"/>
                  <a:pt x="8159176" y="2465768"/>
                  <a:pt x="8162992" y="2470551"/>
                </a:cubicBezTo>
                <a:cubicBezTo>
                  <a:pt x="8172533" y="2482029"/>
                  <a:pt x="8170625" y="2497337"/>
                  <a:pt x="8159176" y="2506900"/>
                </a:cubicBezTo>
                <a:cubicBezTo>
                  <a:pt x="8159176" y="2506900"/>
                  <a:pt x="8159176" y="2506900"/>
                  <a:pt x="7825249" y="2759395"/>
                </a:cubicBezTo>
                <a:cubicBezTo>
                  <a:pt x="7813800" y="2767042"/>
                  <a:pt x="7798535" y="2765130"/>
                  <a:pt x="7790902" y="2755567"/>
                </a:cubicBezTo>
                <a:cubicBezTo>
                  <a:pt x="7787086" y="2749827"/>
                  <a:pt x="7785178" y="2746001"/>
                  <a:pt x="7785178" y="2740262"/>
                </a:cubicBezTo>
                <a:cubicBezTo>
                  <a:pt x="7785178" y="2732609"/>
                  <a:pt x="7788994" y="2724958"/>
                  <a:pt x="7794719" y="2719221"/>
                </a:cubicBezTo>
                <a:cubicBezTo>
                  <a:pt x="7794719" y="2719221"/>
                  <a:pt x="7794719" y="2719221"/>
                  <a:pt x="8128645" y="2466726"/>
                </a:cubicBezTo>
                <a:cubicBezTo>
                  <a:pt x="8134370" y="2462897"/>
                  <a:pt x="8141048" y="2461462"/>
                  <a:pt x="8147250" y="2462181"/>
                </a:cubicBezTo>
                <a:close/>
                <a:moveTo>
                  <a:pt x="11591857" y="2462171"/>
                </a:moveTo>
                <a:cubicBezTo>
                  <a:pt x="11598276" y="2462887"/>
                  <a:pt x="11604457" y="2465756"/>
                  <a:pt x="11608260" y="2470542"/>
                </a:cubicBezTo>
                <a:cubicBezTo>
                  <a:pt x="11615868" y="2482017"/>
                  <a:pt x="11613966" y="2497323"/>
                  <a:pt x="11602555" y="2506889"/>
                </a:cubicBezTo>
                <a:cubicBezTo>
                  <a:pt x="11602555" y="2506889"/>
                  <a:pt x="11602555" y="2506889"/>
                  <a:pt x="11271628" y="2759383"/>
                </a:cubicBezTo>
                <a:cubicBezTo>
                  <a:pt x="11260216" y="2767032"/>
                  <a:pt x="11245001" y="2765122"/>
                  <a:pt x="11235492" y="2755558"/>
                </a:cubicBezTo>
                <a:cubicBezTo>
                  <a:pt x="11233590" y="2749817"/>
                  <a:pt x="11231688" y="2745991"/>
                  <a:pt x="11231688" y="2740254"/>
                </a:cubicBezTo>
                <a:cubicBezTo>
                  <a:pt x="11231688" y="2732602"/>
                  <a:pt x="11235492" y="2724949"/>
                  <a:pt x="11241197" y="2719210"/>
                </a:cubicBezTo>
                <a:cubicBezTo>
                  <a:pt x="11241197" y="2719210"/>
                  <a:pt x="11241197" y="2719210"/>
                  <a:pt x="11574027" y="2466717"/>
                </a:cubicBezTo>
                <a:cubicBezTo>
                  <a:pt x="11578781" y="2462887"/>
                  <a:pt x="11585438" y="2461453"/>
                  <a:pt x="11591857" y="2462171"/>
                </a:cubicBezTo>
                <a:close/>
                <a:moveTo>
                  <a:pt x="7591001" y="2459079"/>
                </a:moveTo>
                <a:cubicBezTo>
                  <a:pt x="7598627" y="2460506"/>
                  <a:pt x="7605777" y="2464798"/>
                  <a:pt x="7610543" y="2471476"/>
                </a:cubicBezTo>
                <a:cubicBezTo>
                  <a:pt x="7620076" y="2484828"/>
                  <a:pt x="7616263" y="2501993"/>
                  <a:pt x="7602917" y="2511529"/>
                </a:cubicBezTo>
                <a:cubicBezTo>
                  <a:pt x="7602917" y="2511529"/>
                  <a:pt x="7602917" y="2511529"/>
                  <a:pt x="7267365" y="2738458"/>
                </a:cubicBezTo>
                <a:cubicBezTo>
                  <a:pt x="7254019" y="2747994"/>
                  <a:pt x="7234954" y="2744181"/>
                  <a:pt x="7227327" y="2730832"/>
                </a:cubicBezTo>
                <a:cubicBezTo>
                  <a:pt x="7223514" y="2727017"/>
                  <a:pt x="7221608" y="2721294"/>
                  <a:pt x="7221608" y="2715570"/>
                </a:cubicBezTo>
                <a:cubicBezTo>
                  <a:pt x="7221608" y="2706035"/>
                  <a:pt x="7225421" y="2696499"/>
                  <a:pt x="7234954" y="2690775"/>
                </a:cubicBezTo>
                <a:cubicBezTo>
                  <a:pt x="7234954" y="2690775"/>
                  <a:pt x="7234954" y="2690775"/>
                  <a:pt x="7568599" y="2463845"/>
                </a:cubicBezTo>
                <a:cubicBezTo>
                  <a:pt x="7575272" y="2459079"/>
                  <a:pt x="7583375" y="2457648"/>
                  <a:pt x="7591001" y="2459079"/>
                </a:cubicBezTo>
                <a:close/>
                <a:moveTo>
                  <a:pt x="12139750" y="2459059"/>
                </a:moveTo>
                <a:cubicBezTo>
                  <a:pt x="12139750" y="2459059"/>
                  <a:pt x="12139750" y="2459059"/>
                  <a:pt x="12139750" y="2529860"/>
                </a:cubicBezTo>
                <a:cubicBezTo>
                  <a:pt x="12139750" y="2529860"/>
                  <a:pt x="12139750" y="2529860"/>
                  <a:pt x="11834670" y="2738414"/>
                </a:cubicBezTo>
                <a:cubicBezTo>
                  <a:pt x="11821323" y="2747982"/>
                  <a:pt x="11802255" y="2744155"/>
                  <a:pt x="11792721" y="2730760"/>
                </a:cubicBezTo>
                <a:cubicBezTo>
                  <a:pt x="11788908" y="2726934"/>
                  <a:pt x="11788908" y="2721194"/>
                  <a:pt x="11788908" y="2715453"/>
                </a:cubicBezTo>
                <a:cubicBezTo>
                  <a:pt x="11788908" y="2705886"/>
                  <a:pt x="11792721" y="2696317"/>
                  <a:pt x="11800349" y="2690576"/>
                </a:cubicBezTo>
                <a:lnTo>
                  <a:pt x="12135937" y="2462887"/>
                </a:lnTo>
                <a:cubicBezTo>
                  <a:pt x="12137843" y="2460973"/>
                  <a:pt x="12137843" y="2460973"/>
                  <a:pt x="12139750" y="2459059"/>
                </a:cubicBezTo>
                <a:close/>
                <a:moveTo>
                  <a:pt x="7041900" y="2453933"/>
                </a:moveTo>
                <a:cubicBezTo>
                  <a:pt x="7050473" y="2456082"/>
                  <a:pt x="7058093" y="2461341"/>
                  <a:pt x="7062856" y="2468988"/>
                </a:cubicBezTo>
                <a:cubicBezTo>
                  <a:pt x="7072381" y="2486193"/>
                  <a:pt x="7066666" y="2507224"/>
                  <a:pt x="7051425" y="2516781"/>
                </a:cubicBezTo>
                <a:cubicBezTo>
                  <a:pt x="7051425" y="2516781"/>
                  <a:pt x="7051425" y="2516781"/>
                  <a:pt x="6714236" y="2719384"/>
                </a:cubicBezTo>
                <a:cubicBezTo>
                  <a:pt x="6698995" y="2728943"/>
                  <a:pt x="6678040" y="2723208"/>
                  <a:pt x="6668515" y="2706003"/>
                </a:cubicBezTo>
                <a:cubicBezTo>
                  <a:pt x="6664705" y="2702180"/>
                  <a:pt x="6662800" y="2694533"/>
                  <a:pt x="6662800" y="2688796"/>
                </a:cubicBezTo>
                <a:cubicBezTo>
                  <a:pt x="6662800" y="2677328"/>
                  <a:pt x="6668515" y="2665857"/>
                  <a:pt x="6679945" y="2660125"/>
                </a:cubicBezTo>
                <a:cubicBezTo>
                  <a:pt x="6679945" y="2660125"/>
                  <a:pt x="6679945" y="2660125"/>
                  <a:pt x="7015230" y="2457516"/>
                </a:cubicBezTo>
                <a:cubicBezTo>
                  <a:pt x="7023803" y="2452738"/>
                  <a:pt x="7033328" y="2451782"/>
                  <a:pt x="7041900" y="2453933"/>
                </a:cubicBezTo>
                <a:close/>
                <a:moveTo>
                  <a:pt x="6499365" y="2450542"/>
                </a:moveTo>
                <a:cubicBezTo>
                  <a:pt x="6508652" y="2453622"/>
                  <a:pt x="6516748" y="2460259"/>
                  <a:pt x="6521511" y="2469741"/>
                </a:cubicBezTo>
                <a:cubicBezTo>
                  <a:pt x="6531036" y="2488701"/>
                  <a:pt x="6523416" y="2511455"/>
                  <a:pt x="6506270" y="2520932"/>
                </a:cubicBezTo>
                <a:cubicBezTo>
                  <a:pt x="6506270" y="2520932"/>
                  <a:pt x="6506270" y="2520932"/>
                  <a:pt x="6167176" y="2697234"/>
                </a:cubicBezTo>
                <a:cubicBezTo>
                  <a:pt x="6148125" y="2706713"/>
                  <a:pt x="6125265" y="2699130"/>
                  <a:pt x="6115740" y="2680171"/>
                </a:cubicBezTo>
                <a:cubicBezTo>
                  <a:pt x="6111930" y="2674481"/>
                  <a:pt x="6111930" y="2668794"/>
                  <a:pt x="6111930" y="2663105"/>
                </a:cubicBezTo>
                <a:cubicBezTo>
                  <a:pt x="6111930" y="2649838"/>
                  <a:pt x="6119550" y="2636568"/>
                  <a:pt x="6130980" y="2628984"/>
                </a:cubicBezTo>
                <a:cubicBezTo>
                  <a:pt x="6130980" y="2628984"/>
                  <a:pt x="6130980" y="2628984"/>
                  <a:pt x="6470075" y="2452675"/>
                </a:cubicBezTo>
                <a:cubicBezTo>
                  <a:pt x="6479600" y="2447935"/>
                  <a:pt x="6490078" y="2447460"/>
                  <a:pt x="6499365" y="2450542"/>
                </a:cubicBezTo>
                <a:close/>
                <a:moveTo>
                  <a:pt x="5959672" y="2446994"/>
                </a:moveTo>
                <a:cubicBezTo>
                  <a:pt x="5969941" y="2450800"/>
                  <a:pt x="5978538" y="2458411"/>
                  <a:pt x="5983314" y="2468881"/>
                </a:cubicBezTo>
                <a:cubicBezTo>
                  <a:pt x="5992867" y="2491713"/>
                  <a:pt x="5983314" y="2516446"/>
                  <a:pt x="5962297" y="2525960"/>
                </a:cubicBezTo>
                <a:cubicBezTo>
                  <a:pt x="5962297" y="2525960"/>
                  <a:pt x="5962297" y="2525960"/>
                  <a:pt x="5620300" y="2676247"/>
                </a:cubicBezTo>
                <a:cubicBezTo>
                  <a:pt x="5599284" y="2687664"/>
                  <a:pt x="5574446" y="2676247"/>
                  <a:pt x="5564892" y="2655321"/>
                </a:cubicBezTo>
                <a:cubicBezTo>
                  <a:pt x="5561071" y="2649614"/>
                  <a:pt x="5561071" y="2643905"/>
                  <a:pt x="5561071" y="2638199"/>
                </a:cubicBezTo>
                <a:cubicBezTo>
                  <a:pt x="5561071" y="2621077"/>
                  <a:pt x="5570624" y="2605858"/>
                  <a:pt x="5585909" y="2598249"/>
                </a:cubicBezTo>
                <a:cubicBezTo>
                  <a:pt x="5585909" y="2598249"/>
                  <a:pt x="5585909" y="2598249"/>
                  <a:pt x="5925997" y="2447945"/>
                </a:cubicBezTo>
                <a:cubicBezTo>
                  <a:pt x="5937461" y="2443189"/>
                  <a:pt x="5949401" y="2443189"/>
                  <a:pt x="5959672" y="2446994"/>
                </a:cubicBezTo>
                <a:close/>
                <a:moveTo>
                  <a:pt x="399503" y="2446979"/>
                </a:moveTo>
                <a:cubicBezTo>
                  <a:pt x="410004" y="2450785"/>
                  <a:pt x="419073" y="2458395"/>
                  <a:pt x="423846" y="2468864"/>
                </a:cubicBezTo>
                <a:cubicBezTo>
                  <a:pt x="433392" y="2491693"/>
                  <a:pt x="423846" y="2516427"/>
                  <a:pt x="400935" y="2525942"/>
                </a:cubicBezTo>
                <a:cubicBezTo>
                  <a:pt x="400935" y="2525942"/>
                  <a:pt x="400935" y="2525942"/>
                  <a:pt x="61095" y="2676238"/>
                </a:cubicBezTo>
                <a:cubicBezTo>
                  <a:pt x="40093" y="2687652"/>
                  <a:pt x="13364" y="2676238"/>
                  <a:pt x="3818" y="2655311"/>
                </a:cubicBezTo>
                <a:cubicBezTo>
                  <a:pt x="1909" y="2649602"/>
                  <a:pt x="0" y="2643892"/>
                  <a:pt x="0" y="2638187"/>
                </a:cubicBezTo>
                <a:cubicBezTo>
                  <a:pt x="0" y="2621063"/>
                  <a:pt x="9546" y="2605844"/>
                  <a:pt x="26729" y="2598233"/>
                </a:cubicBezTo>
                <a:cubicBezTo>
                  <a:pt x="26729" y="2598233"/>
                  <a:pt x="26729" y="2598233"/>
                  <a:pt x="366569" y="2447930"/>
                </a:cubicBezTo>
                <a:cubicBezTo>
                  <a:pt x="377070" y="2443174"/>
                  <a:pt x="389002" y="2443174"/>
                  <a:pt x="399503" y="2446979"/>
                </a:cubicBezTo>
                <a:close/>
                <a:moveTo>
                  <a:pt x="5396620" y="2440131"/>
                </a:moveTo>
                <a:cubicBezTo>
                  <a:pt x="5414976" y="2441021"/>
                  <a:pt x="5431727" y="2453117"/>
                  <a:pt x="5438855" y="2471621"/>
                </a:cubicBezTo>
                <a:cubicBezTo>
                  <a:pt x="5448359" y="2496287"/>
                  <a:pt x="5435053" y="2522847"/>
                  <a:pt x="5410341" y="2532340"/>
                </a:cubicBezTo>
                <a:cubicBezTo>
                  <a:pt x="5410341" y="2532340"/>
                  <a:pt x="5410341" y="2532340"/>
                  <a:pt x="5070072" y="2657538"/>
                </a:cubicBezTo>
                <a:cubicBezTo>
                  <a:pt x="5045363" y="2667023"/>
                  <a:pt x="5018752" y="2653744"/>
                  <a:pt x="5009249" y="2629084"/>
                </a:cubicBezTo>
                <a:cubicBezTo>
                  <a:pt x="5007349" y="2623393"/>
                  <a:pt x="5005447" y="2617701"/>
                  <a:pt x="5005447" y="2613907"/>
                </a:cubicBezTo>
                <a:cubicBezTo>
                  <a:pt x="5005447" y="2593040"/>
                  <a:pt x="5018752" y="2575971"/>
                  <a:pt x="5037761" y="2568382"/>
                </a:cubicBezTo>
                <a:cubicBezTo>
                  <a:pt x="5037761" y="2568382"/>
                  <a:pt x="5037761" y="2568382"/>
                  <a:pt x="5378027" y="2443156"/>
                </a:cubicBezTo>
                <a:cubicBezTo>
                  <a:pt x="5384204" y="2440783"/>
                  <a:pt x="5390501" y="2439835"/>
                  <a:pt x="5396620" y="2440131"/>
                </a:cubicBezTo>
                <a:close/>
                <a:moveTo>
                  <a:pt x="930705" y="2440114"/>
                </a:moveTo>
                <a:cubicBezTo>
                  <a:pt x="949140" y="2441005"/>
                  <a:pt x="965965" y="2453100"/>
                  <a:pt x="973124" y="2471600"/>
                </a:cubicBezTo>
                <a:cubicBezTo>
                  <a:pt x="982669" y="2496265"/>
                  <a:pt x="969306" y="2522827"/>
                  <a:pt x="944487" y="2532315"/>
                </a:cubicBezTo>
                <a:cubicBezTo>
                  <a:pt x="944487" y="2532315"/>
                  <a:pt x="944487" y="2532315"/>
                  <a:pt x="602753" y="2657525"/>
                </a:cubicBezTo>
                <a:cubicBezTo>
                  <a:pt x="577934" y="2667012"/>
                  <a:pt x="551206" y="2653730"/>
                  <a:pt x="541661" y="2629070"/>
                </a:cubicBezTo>
                <a:cubicBezTo>
                  <a:pt x="539751" y="2623378"/>
                  <a:pt x="539751" y="2617686"/>
                  <a:pt x="539751" y="2613892"/>
                </a:cubicBezTo>
                <a:cubicBezTo>
                  <a:pt x="539751" y="2593022"/>
                  <a:pt x="551206" y="2575950"/>
                  <a:pt x="570297" y="2568362"/>
                </a:cubicBezTo>
                <a:cubicBezTo>
                  <a:pt x="570297" y="2568362"/>
                  <a:pt x="570297" y="2568362"/>
                  <a:pt x="912032" y="2443139"/>
                </a:cubicBezTo>
                <a:cubicBezTo>
                  <a:pt x="918236" y="2440766"/>
                  <a:pt x="924560" y="2439818"/>
                  <a:pt x="930705" y="2440114"/>
                </a:cubicBezTo>
                <a:close/>
                <a:moveTo>
                  <a:pt x="4847389" y="2434959"/>
                </a:moveTo>
                <a:cubicBezTo>
                  <a:pt x="4867872" y="2437373"/>
                  <a:pt x="4885400" y="2451323"/>
                  <a:pt x="4891125" y="2472791"/>
                </a:cubicBezTo>
                <a:cubicBezTo>
                  <a:pt x="4900664" y="2499505"/>
                  <a:pt x="4883491" y="2528123"/>
                  <a:pt x="4856779" y="2537664"/>
                </a:cubicBezTo>
                <a:cubicBezTo>
                  <a:pt x="4856779" y="2537664"/>
                  <a:pt x="4856779" y="2537664"/>
                  <a:pt x="4513402" y="2638759"/>
                </a:cubicBezTo>
                <a:cubicBezTo>
                  <a:pt x="4484786" y="2646389"/>
                  <a:pt x="4456170" y="2631129"/>
                  <a:pt x="4448539" y="2602516"/>
                </a:cubicBezTo>
                <a:cubicBezTo>
                  <a:pt x="4446631" y="2596792"/>
                  <a:pt x="4446631" y="2592978"/>
                  <a:pt x="4446631" y="2587256"/>
                </a:cubicBezTo>
                <a:cubicBezTo>
                  <a:pt x="4446631" y="2564370"/>
                  <a:pt x="4459985" y="2545294"/>
                  <a:pt x="4482878" y="2537664"/>
                </a:cubicBezTo>
                <a:cubicBezTo>
                  <a:pt x="4482878" y="2537664"/>
                  <a:pt x="4482878" y="2537664"/>
                  <a:pt x="4826251" y="2436537"/>
                </a:cubicBezTo>
                <a:cubicBezTo>
                  <a:pt x="4833406" y="2434630"/>
                  <a:pt x="4840562" y="2434152"/>
                  <a:pt x="4847389" y="2434959"/>
                </a:cubicBezTo>
                <a:close/>
                <a:moveTo>
                  <a:pt x="1482958" y="2434939"/>
                </a:moveTo>
                <a:cubicBezTo>
                  <a:pt x="1503168" y="2437354"/>
                  <a:pt x="1521768" y="2451305"/>
                  <a:pt x="1527491" y="2472769"/>
                </a:cubicBezTo>
                <a:cubicBezTo>
                  <a:pt x="1535122" y="2499479"/>
                  <a:pt x="1519860" y="2528097"/>
                  <a:pt x="1491245" y="2537636"/>
                </a:cubicBezTo>
                <a:cubicBezTo>
                  <a:pt x="1491245" y="2537636"/>
                  <a:pt x="1491245" y="2537636"/>
                  <a:pt x="1147861" y="2638743"/>
                </a:cubicBezTo>
                <a:cubicBezTo>
                  <a:pt x="1121153" y="2646373"/>
                  <a:pt x="1092538" y="2631113"/>
                  <a:pt x="1082999" y="2602496"/>
                </a:cubicBezTo>
                <a:cubicBezTo>
                  <a:pt x="1081092" y="2596773"/>
                  <a:pt x="1081092" y="2592957"/>
                  <a:pt x="1081092" y="2587234"/>
                </a:cubicBezTo>
                <a:cubicBezTo>
                  <a:pt x="1081092" y="2564343"/>
                  <a:pt x="1096353" y="2545267"/>
                  <a:pt x="1119245" y="2537636"/>
                </a:cubicBezTo>
                <a:cubicBezTo>
                  <a:pt x="1119245" y="2537636"/>
                  <a:pt x="1119245" y="2537636"/>
                  <a:pt x="1462630" y="2436519"/>
                </a:cubicBezTo>
                <a:cubicBezTo>
                  <a:pt x="1469307" y="2434611"/>
                  <a:pt x="1476222" y="2434134"/>
                  <a:pt x="1482958" y="2434939"/>
                </a:cubicBezTo>
                <a:close/>
                <a:moveTo>
                  <a:pt x="4270882" y="2431445"/>
                </a:moveTo>
                <a:cubicBezTo>
                  <a:pt x="4301300" y="2425730"/>
                  <a:pt x="4331719" y="2444781"/>
                  <a:pt x="4339323" y="2475264"/>
                </a:cubicBezTo>
                <a:cubicBezTo>
                  <a:pt x="4345027" y="2505752"/>
                  <a:pt x="4326015" y="2536235"/>
                  <a:pt x="4295596" y="2543855"/>
                </a:cubicBezTo>
                <a:cubicBezTo>
                  <a:pt x="4295596" y="2543855"/>
                  <a:pt x="4295596" y="2543855"/>
                  <a:pt x="3951515" y="2618134"/>
                </a:cubicBezTo>
                <a:cubicBezTo>
                  <a:pt x="3921097" y="2625754"/>
                  <a:pt x="3890680" y="2606707"/>
                  <a:pt x="3883074" y="2574330"/>
                </a:cubicBezTo>
                <a:cubicBezTo>
                  <a:pt x="3883074" y="2570518"/>
                  <a:pt x="3883074" y="2566710"/>
                  <a:pt x="3883074" y="2562902"/>
                </a:cubicBezTo>
                <a:cubicBezTo>
                  <a:pt x="3883074" y="2536235"/>
                  <a:pt x="3900185" y="2513371"/>
                  <a:pt x="3926800" y="2507657"/>
                </a:cubicBezTo>
                <a:cubicBezTo>
                  <a:pt x="3926800" y="2507657"/>
                  <a:pt x="3926800" y="2507657"/>
                  <a:pt x="4270882" y="2431445"/>
                </a:cubicBezTo>
                <a:close/>
                <a:moveTo>
                  <a:pt x="2016607" y="2431425"/>
                </a:moveTo>
                <a:cubicBezTo>
                  <a:pt x="2047026" y="2425710"/>
                  <a:pt x="2077447" y="2444760"/>
                  <a:pt x="2085053" y="2475241"/>
                </a:cubicBezTo>
                <a:cubicBezTo>
                  <a:pt x="2090755" y="2505723"/>
                  <a:pt x="2071744" y="2536204"/>
                  <a:pt x="2041322" y="2543824"/>
                </a:cubicBezTo>
                <a:cubicBezTo>
                  <a:pt x="2041322" y="2543824"/>
                  <a:pt x="2041322" y="2543824"/>
                  <a:pt x="1697222" y="2618115"/>
                </a:cubicBezTo>
                <a:cubicBezTo>
                  <a:pt x="1666804" y="2625735"/>
                  <a:pt x="1636386" y="2606686"/>
                  <a:pt x="1630683" y="2574302"/>
                </a:cubicBezTo>
                <a:cubicBezTo>
                  <a:pt x="1628782" y="2570493"/>
                  <a:pt x="1628782" y="2566683"/>
                  <a:pt x="1628782" y="2562874"/>
                </a:cubicBezTo>
                <a:cubicBezTo>
                  <a:pt x="1628782" y="2536204"/>
                  <a:pt x="1647793" y="2513343"/>
                  <a:pt x="1674409" y="2507628"/>
                </a:cubicBezTo>
                <a:cubicBezTo>
                  <a:pt x="1674409" y="2507628"/>
                  <a:pt x="1674409" y="2507628"/>
                  <a:pt x="2016607" y="2431425"/>
                </a:cubicBezTo>
                <a:close/>
                <a:moveTo>
                  <a:pt x="2799530" y="2428905"/>
                </a:moveTo>
                <a:cubicBezTo>
                  <a:pt x="2799530" y="2428905"/>
                  <a:pt x="2799530" y="2428905"/>
                  <a:pt x="3148602" y="2428905"/>
                </a:cubicBezTo>
                <a:cubicBezTo>
                  <a:pt x="3188659" y="2428905"/>
                  <a:pt x="3221084" y="2459456"/>
                  <a:pt x="3221084" y="2499561"/>
                </a:cubicBezTo>
                <a:cubicBezTo>
                  <a:pt x="3221084" y="2537751"/>
                  <a:pt x="3188659" y="2570203"/>
                  <a:pt x="3148602" y="2570203"/>
                </a:cubicBezTo>
                <a:cubicBezTo>
                  <a:pt x="3148602" y="2570203"/>
                  <a:pt x="3148602" y="2570203"/>
                  <a:pt x="2799530" y="2570203"/>
                </a:cubicBezTo>
                <a:cubicBezTo>
                  <a:pt x="2761381" y="2570203"/>
                  <a:pt x="2728954" y="2537751"/>
                  <a:pt x="2728954" y="2499561"/>
                </a:cubicBezTo>
                <a:cubicBezTo>
                  <a:pt x="2728954" y="2459456"/>
                  <a:pt x="2761381" y="2428905"/>
                  <a:pt x="2799530" y="2428905"/>
                </a:cubicBezTo>
                <a:close/>
                <a:moveTo>
                  <a:pt x="3713473" y="2424778"/>
                </a:moveTo>
                <a:cubicBezTo>
                  <a:pt x="3745884" y="2420965"/>
                  <a:pt x="3778291" y="2443829"/>
                  <a:pt x="3782104" y="2478123"/>
                </a:cubicBezTo>
                <a:cubicBezTo>
                  <a:pt x="3787825" y="2510515"/>
                  <a:pt x="3764947" y="2542901"/>
                  <a:pt x="3730631" y="2546711"/>
                </a:cubicBezTo>
                <a:cubicBezTo>
                  <a:pt x="3730631" y="2546711"/>
                  <a:pt x="3730631" y="2546711"/>
                  <a:pt x="3383700" y="2598132"/>
                </a:cubicBezTo>
                <a:cubicBezTo>
                  <a:pt x="3351291" y="2601943"/>
                  <a:pt x="3318884" y="2579088"/>
                  <a:pt x="3315070" y="2546711"/>
                </a:cubicBezTo>
                <a:cubicBezTo>
                  <a:pt x="3313164" y="2542901"/>
                  <a:pt x="3313164" y="2539091"/>
                  <a:pt x="3313164" y="2537188"/>
                </a:cubicBezTo>
                <a:cubicBezTo>
                  <a:pt x="3313164" y="2506705"/>
                  <a:pt x="3336042" y="2480031"/>
                  <a:pt x="3366541" y="2476218"/>
                </a:cubicBezTo>
                <a:cubicBezTo>
                  <a:pt x="3366541" y="2476218"/>
                  <a:pt x="3366541" y="2476218"/>
                  <a:pt x="3713473" y="2424778"/>
                </a:cubicBezTo>
                <a:close/>
                <a:moveTo>
                  <a:pt x="2578386" y="2424755"/>
                </a:moveTo>
                <a:cubicBezTo>
                  <a:pt x="2610794" y="2420945"/>
                  <a:pt x="2643201" y="2443806"/>
                  <a:pt x="2647013" y="2478098"/>
                </a:cubicBezTo>
                <a:cubicBezTo>
                  <a:pt x="2652731" y="2510483"/>
                  <a:pt x="2629856" y="2542867"/>
                  <a:pt x="2595543" y="2546678"/>
                </a:cubicBezTo>
                <a:cubicBezTo>
                  <a:pt x="2595543" y="2546678"/>
                  <a:pt x="2595543" y="2546678"/>
                  <a:pt x="2248597" y="2598110"/>
                </a:cubicBezTo>
                <a:cubicBezTo>
                  <a:pt x="2216190" y="2601920"/>
                  <a:pt x="2183783" y="2579061"/>
                  <a:pt x="2179970" y="2546678"/>
                </a:cubicBezTo>
                <a:cubicBezTo>
                  <a:pt x="2178063" y="2542867"/>
                  <a:pt x="2178063" y="2539057"/>
                  <a:pt x="2178063" y="2537153"/>
                </a:cubicBezTo>
                <a:cubicBezTo>
                  <a:pt x="2178063" y="2506672"/>
                  <a:pt x="2200939" y="2480001"/>
                  <a:pt x="2231440" y="2476192"/>
                </a:cubicBezTo>
                <a:cubicBezTo>
                  <a:pt x="2231440" y="2476192"/>
                  <a:pt x="2231440" y="2476192"/>
                  <a:pt x="2578386" y="2424755"/>
                </a:cubicBezTo>
                <a:close/>
                <a:moveTo>
                  <a:pt x="9856995" y="2158848"/>
                </a:moveTo>
                <a:cubicBezTo>
                  <a:pt x="9860561" y="2158848"/>
                  <a:pt x="9863889" y="2160276"/>
                  <a:pt x="9865791" y="2163134"/>
                </a:cubicBezTo>
                <a:cubicBezTo>
                  <a:pt x="9869594" y="2165038"/>
                  <a:pt x="9869594" y="2168849"/>
                  <a:pt x="9869594" y="2172659"/>
                </a:cubicBezTo>
                <a:cubicBezTo>
                  <a:pt x="9869594" y="2176469"/>
                  <a:pt x="9869594" y="2180278"/>
                  <a:pt x="9865791" y="2182184"/>
                </a:cubicBezTo>
                <a:cubicBezTo>
                  <a:pt x="9865791" y="2182184"/>
                  <a:pt x="9865791" y="2182184"/>
                  <a:pt x="9536809" y="2494604"/>
                </a:cubicBezTo>
                <a:cubicBezTo>
                  <a:pt x="9533005" y="2500320"/>
                  <a:pt x="9523497" y="2500320"/>
                  <a:pt x="9517792" y="2494604"/>
                </a:cubicBezTo>
                <a:cubicBezTo>
                  <a:pt x="9513989" y="2488889"/>
                  <a:pt x="9513989" y="2481268"/>
                  <a:pt x="9519694" y="2475555"/>
                </a:cubicBezTo>
                <a:cubicBezTo>
                  <a:pt x="9519694" y="2475555"/>
                  <a:pt x="9519694" y="2475555"/>
                  <a:pt x="9846774" y="2163134"/>
                </a:cubicBezTo>
                <a:cubicBezTo>
                  <a:pt x="9849627" y="2160276"/>
                  <a:pt x="9853430" y="2158848"/>
                  <a:pt x="9856995" y="2158848"/>
                </a:cubicBezTo>
                <a:close/>
                <a:moveTo>
                  <a:pt x="9280994" y="2152757"/>
                </a:moveTo>
                <a:cubicBezTo>
                  <a:pt x="9285526" y="2152995"/>
                  <a:pt x="9289819" y="2154905"/>
                  <a:pt x="9292682" y="2158723"/>
                </a:cubicBezTo>
                <a:cubicBezTo>
                  <a:pt x="9296499" y="2162540"/>
                  <a:pt x="9296499" y="2166358"/>
                  <a:pt x="9296499" y="2170175"/>
                </a:cubicBezTo>
                <a:cubicBezTo>
                  <a:pt x="9296499" y="2175900"/>
                  <a:pt x="9294591" y="2181628"/>
                  <a:pt x="9290774" y="2183535"/>
                </a:cubicBezTo>
                <a:cubicBezTo>
                  <a:pt x="9290774" y="2183535"/>
                  <a:pt x="9290774" y="2183535"/>
                  <a:pt x="8960635" y="2475567"/>
                </a:cubicBezTo>
                <a:cubicBezTo>
                  <a:pt x="8953002" y="2481289"/>
                  <a:pt x="8941552" y="2481289"/>
                  <a:pt x="8935827" y="2473653"/>
                </a:cubicBezTo>
                <a:cubicBezTo>
                  <a:pt x="8928194" y="2466019"/>
                  <a:pt x="8930102" y="2454566"/>
                  <a:pt x="8935827" y="2448839"/>
                </a:cubicBezTo>
                <a:cubicBezTo>
                  <a:pt x="8935827" y="2448839"/>
                  <a:pt x="8935827" y="2448839"/>
                  <a:pt x="9267874" y="2156814"/>
                </a:cubicBezTo>
                <a:cubicBezTo>
                  <a:pt x="9271691" y="2153949"/>
                  <a:pt x="9276462" y="2152518"/>
                  <a:pt x="9280994" y="2152757"/>
                </a:cubicBezTo>
                <a:close/>
                <a:moveTo>
                  <a:pt x="10441167" y="2152737"/>
                </a:moveTo>
                <a:cubicBezTo>
                  <a:pt x="10445695" y="2152975"/>
                  <a:pt x="10449985" y="2154884"/>
                  <a:pt x="10452845" y="2158701"/>
                </a:cubicBezTo>
                <a:cubicBezTo>
                  <a:pt x="10456658" y="2162518"/>
                  <a:pt x="10458565" y="2166335"/>
                  <a:pt x="10458565" y="2170154"/>
                </a:cubicBezTo>
                <a:cubicBezTo>
                  <a:pt x="10458565" y="2175879"/>
                  <a:pt x="10456658" y="2181605"/>
                  <a:pt x="10452845" y="2183515"/>
                </a:cubicBezTo>
                <a:cubicBezTo>
                  <a:pt x="10452845" y="2183515"/>
                  <a:pt x="10452845" y="2183515"/>
                  <a:pt x="10121085" y="2475541"/>
                </a:cubicBezTo>
                <a:cubicBezTo>
                  <a:pt x="10113459" y="2481266"/>
                  <a:pt x="10102019" y="2481266"/>
                  <a:pt x="10096299" y="2473632"/>
                </a:cubicBezTo>
                <a:cubicBezTo>
                  <a:pt x="10088672" y="2465997"/>
                  <a:pt x="10090579" y="2454545"/>
                  <a:pt x="10098205" y="2448819"/>
                </a:cubicBezTo>
                <a:cubicBezTo>
                  <a:pt x="10098205" y="2448819"/>
                  <a:pt x="10098205" y="2448819"/>
                  <a:pt x="10428058" y="2156792"/>
                </a:cubicBezTo>
                <a:cubicBezTo>
                  <a:pt x="10431871" y="2153930"/>
                  <a:pt x="10436638" y="2152497"/>
                  <a:pt x="10441167" y="2152737"/>
                </a:cubicBezTo>
                <a:close/>
                <a:moveTo>
                  <a:pt x="8711083" y="2147846"/>
                </a:moveTo>
                <a:cubicBezTo>
                  <a:pt x="8716565" y="2148561"/>
                  <a:pt x="8721808" y="2151431"/>
                  <a:pt x="8725621" y="2156214"/>
                </a:cubicBezTo>
                <a:cubicBezTo>
                  <a:pt x="8729434" y="2160039"/>
                  <a:pt x="8731341" y="2163866"/>
                  <a:pt x="8731341" y="2169603"/>
                </a:cubicBezTo>
                <a:cubicBezTo>
                  <a:pt x="8731341" y="2175340"/>
                  <a:pt x="8727528" y="2181077"/>
                  <a:pt x="8723715" y="2186815"/>
                </a:cubicBezTo>
                <a:cubicBezTo>
                  <a:pt x="8723715" y="2186815"/>
                  <a:pt x="8723715" y="2186815"/>
                  <a:pt x="8390055" y="2454587"/>
                </a:cubicBezTo>
                <a:cubicBezTo>
                  <a:pt x="8380522" y="2462239"/>
                  <a:pt x="8367176" y="2460324"/>
                  <a:pt x="8359549" y="2450760"/>
                </a:cubicBezTo>
                <a:cubicBezTo>
                  <a:pt x="8351923" y="2441196"/>
                  <a:pt x="8353830" y="2427807"/>
                  <a:pt x="8363363" y="2420157"/>
                </a:cubicBezTo>
                <a:cubicBezTo>
                  <a:pt x="8363363" y="2420157"/>
                  <a:pt x="8363363" y="2420157"/>
                  <a:pt x="8695115" y="2152388"/>
                </a:cubicBezTo>
                <a:cubicBezTo>
                  <a:pt x="8699881" y="2148561"/>
                  <a:pt x="8705601" y="2147128"/>
                  <a:pt x="8711083" y="2147846"/>
                </a:cubicBezTo>
                <a:close/>
                <a:moveTo>
                  <a:pt x="11019424" y="2147822"/>
                </a:moveTo>
                <a:cubicBezTo>
                  <a:pt x="11024883" y="2148539"/>
                  <a:pt x="11030104" y="2151408"/>
                  <a:pt x="11033901" y="2156190"/>
                </a:cubicBezTo>
                <a:cubicBezTo>
                  <a:pt x="11037698" y="2160015"/>
                  <a:pt x="11039597" y="2163840"/>
                  <a:pt x="11039597" y="2169578"/>
                </a:cubicBezTo>
                <a:cubicBezTo>
                  <a:pt x="11039597" y="2175316"/>
                  <a:pt x="11035800" y="2181054"/>
                  <a:pt x="11030104" y="2186792"/>
                </a:cubicBezTo>
                <a:cubicBezTo>
                  <a:pt x="11030104" y="2186792"/>
                  <a:pt x="11030104" y="2186792"/>
                  <a:pt x="10699740" y="2454563"/>
                </a:cubicBezTo>
                <a:cubicBezTo>
                  <a:pt x="10690247" y="2462214"/>
                  <a:pt x="10676956" y="2460301"/>
                  <a:pt x="10669362" y="2450738"/>
                </a:cubicBezTo>
                <a:cubicBezTo>
                  <a:pt x="10661767" y="2441175"/>
                  <a:pt x="10663666" y="2427786"/>
                  <a:pt x="10673159" y="2420136"/>
                </a:cubicBezTo>
                <a:cubicBezTo>
                  <a:pt x="10673159" y="2420136"/>
                  <a:pt x="10673159" y="2420136"/>
                  <a:pt x="11003523" y="2152364"/>
                </a:cubicBezTo>
                <a:cubicBezTo>
                  <a:pt x="11008269" y="2148539"/>
                  <a:pt x="11013965" y="2147105"/>
                  <a:pt x="11019424" y="2147822"/>
                </a:cubicBezTo>
                <a:close/>
                <a:moveTo>
                  <a:pt x="8148561" y="2143310"/>
                </a:moveTo>
                <a:cubicBezTo>
                  <a:pt x="8155228" y="2144265"/>
                  <a:pt x="8161420" y="2147601"/>
                  <a:pt x="8165230" y="2153323"/>
                </a:cubicBezTo>
                <a:cubicBezTo>
                  <a:pt x="8169040" y="2157139"/>
                  <a:pt x="8170945" y="2162858"/>
                  <a:pt x="8170945" y="2168580"/>
                </a:cubicBezTo>
                <a:cubicBezTo>
                  <a:pt x="8170945" y="2176207"/>
                  <a:pt x="8167135" y="2185745"/>
                  <a:pt x="8159515" y="2189556"/>
                </a:cubicBezTo>
                <a:cubicBezTo>
                  <a:pt x="8159515" y="2189556"/>
                  <a:pt x="8159515" y="2189556"/>
                  <a:pt x="7826135" y="2433651"/>
                </a:cubicBezTo>
                <a:cubicBezTo>
                  <a:pt x="7814705" y="2443186"/>
                  <a:pt x="7797560" y="2441279"/>
                  <a:pt x="7789940" y="2427930"/>
                </a:cubicBezTo>
                <a:cubicBezTo>
                  <a:pt x="7780415" y="2416487"/>
                  <a:pt x="7784225" y="2401228"/>
                  <a:pt x="7795655" y="2391692"/>
                </a:cubicBezTo>
                <a:cubicBezTo>
                  <a:pt x="7795655" y="2391692"/>
                  <a:pt x="7795655" y="2391692"/>
                  <a:pt x="8129034" y="2147602"/>
                </a:cubicBezTo>
                <a:cubicBezTo>
                  <a:pt x="8134749" y="2143784"/>
                  <a:pt x="8141893" y="2142354"/>
                  <a:pt x="8148561" y="2143310"/>
                </a:cubicBezTo>
                <a:close/>
                <a:moveTo>
                  <a:pt x="11593070" y="2143308"/>
                </a:moveTo>
                <a:cubicBezTo>
                  <a:pt x="11599505" y="2144262"/>
                  <a:pt x="11605702" y="2147600"/>
                  <a:pt x="11610468" y="2153320"/>
                </a:cubicBezTo>
                <a:cubicBezTo>
                  <a:pt x="11614281" y="2157135"/>
                  <a:pt x="11614281" y="2162856"/>
                  <a:pt x="11614281" y="2168577"/>
                </a:cubicBezTo>
                <a:cubicBezTo>
                  <a:pt x="11614281" y="2176205"/>
                  <a:pt x="11610468" y="2185741"/>
                  <a:pt x="11604748" y="2189556"/>
                </a:cubicBezTo>
                <a:cubicBezTo>
                  <a:pt x="11604748" y="2189556"/>
                  <a:pt x="11604748" y="2189556"/>
                  <a:pt x="11271096" y="2433649"/>
                </a:cubicBezTo>
                <a:cubicBezTo>
                  <a:pt x="11259657" y="2443183"/>
                  <a:pt x="11242497" y="2441278"/>
                  <a:pt x="11232964" y="2427928"/>
                </a:cubicBezTo>
                <a:cubicBezTo>
                  <a:pt x="11225338" y="2416484"/>
                  <a:pt x="11227245" y="2401226"/>
                  <a:pt x="11238684" y="2391689"/>
                </a:cubicBezTo>
                <a:cubicBezTo>
                  <a:pt x="11238684" y="2391689"/>
                  <a:pt x="11238684" y="2391689"/>
                  <a:pt x="11574243" y="2147600"/>
                </a:cubicBezTo>
                <a:cubicBezTo>
                  <a:pt x="11579963" y="2143784"/>
                  <a:pt x="11586636" y="2142354"/>
                  <a:pt x="11593070" y="2143308"/>
                </a:cubicBezTo>
                <a:close/>
                <a:moveTo>
                  <a:pt x="12139750" y="2139967"/>
                </a:moveTo>
                <a:cubicBezTo>
                  <a:pt x="12139750" y="2139967"/>
                  <a:pt x="12139750" y="2139967"/>
                  <a:pt x="12139750" y="2212438"/>
                </a:cubicBezTo>
                <a:cubicBezTo>
                  <a:pt x="12139750" y="2212438"/>
                  <a:pt x="12139750" y="2212438"/>
                  <a:pt x="11835489" y="2414592"/>
                </a:cubicBezTo>
                <a:cubicBezTo>
                  <a:pt x="11820276" y="2424130"/>
                  <a:pt x="11801260" y="2420316"/>
                  <a:pt x="11793653" y="2406965"/>
                </a:cubicBezTo>
                <a:cubicBezTo>
                  <a:pt x="11784145" y="2391705"/>
                  <a:pt x="11787948" y="2372634"/>
                  <a:pt x="11801260" y="2363100"/>
                </a:cubicBezTo>
                <a:lnTo>
                  <a:pt x="12135947" y="2141874"/>
                </a:lnTo>
                <a:cubicBezTo>
                  <a:pt x="12137848" y="2141874"/>
                  <a:pt x="12137848" y="2139967"/>
                  <a:pt x="12139750" y="2139967"/>
                </a:cubicBezTo>
                <a:close/>
                <a:moveTo>
                  <a:pt x="7591500" y="2137042"/>
                </a:moveTo>
                <a:cubicBezTo>
                  <a:pt x="7599120" y="2138712"/>
                  <a:pt x="7605788" y="2143488"/>
                  <a:pt x="7609598" y="2151126"/>
                </a:cubicBezTo>
                <a:cubicBezTo>
                  <a:pt x="7613408" y="2154944"/>
                  <a:pt x="7615313" y="2162582"/>
                  <a:pt x="7615313" y="2168310"/>
                </a:cubicBezTo>
                <a:cubicBezTo>
                  <a:pt x="7615313" y="2177854"/>
                  <a:pt x="7611503" y="2187402"/>
                  <a:pt x="7601978" y="2193129"/>
                </a:cubicBezTo>
                <a:cubicBezTo>
                  <a:pt x="7601978" y="2193129"/>
                  <a:pt x="7601978" y="2193129"/>
                  <a:pt x="7266693" y="2414586"/>
                </a:cubicBezTo>
                <a:cubicBezTo>
                  <a:pt x="7253358" y="2424132"/>
                  <a:pt x="7234308" y="2420313"/>
                  <a:pt x="7224783" y="2406948"/>
                </a:cubicBezTo>
                <a:cubicBezTo>
                  <a:pt x="7215258" y="2391672"/>
                  <a:pt x="7219068" y="2372581"/>
                  <a:pt x="7232403" y="2363036"/>
                </a:cubicBezTo>
                <a:cubicBezTo>
                  <a:pt x="7232403" y="2363036"/>
                  <a:pt x="7232403" y="2363036"/>
                  <a:pt x="7567687" y="2141577"/>
                </a:cubicBezTo>
                <a:cubicBezTo>
                  <a:pt x="7575307" y="2136802"/>
                  <a:pt x="7583880" y="2135369"/>
                  <a:pt x="7591500" y="2137042"/>
                </a:cubicBezTo>
                <a:close/>
                <a:moveTo>
                  <a:pt x="7042453" y="2131898"/>
                </a:moveTo>
                <a:cubicBezTo>
                  <a:pt x="7051053" y="2134287"/>
                  <a:pt x="7058696" y="2140032"/>
                  <a:pt x="7063473" y="2148647"/>
                </a:cubicBezTo>
                <a:cubicBezTo>
                  <a:pt x="7067295" y="2154388"/>
                  <a:pt x="7069206" y="2160130"/>
                  <a:pt x="7069206" y="2165871"/>
                </a:cubicBezTo>
                <a:cubicBezTo>
                  <a:pt x="7069206" y="2177352"/>
                  <a:pt x="7061562" y="2188835"/>
                  <a:pt x="7052008" y="2196489"/>
                </a:cubicBezTo>
                <a:cubicBezTo>
                  <a:pt x="7052008" y="2196489"/>
                  <a:pt x="7052008" y="2196489"/>
                  <a:pt x="6713777" y="2395511"/>
                </a:cubicBezTo>
                <a:cubicBezTo>
                  <a:pt x="6696579" y="2405078"/>
                  <a:pt x="6675559" y="2399339"/>
                  <a:pt x="6666004" y="2382111"/>
                </a:cubicBezTo>
                <a:cubicBezTo>
                  <a:pt x="6656450" y="2366802"/>
                  <a:pt x="6662182" y="2345751"/>
                  <a:pt x="6679381" y="2334271"/>
                </a:cubicBezTo>
                <a:cubicBezTo>
                  <a:pt x="6679381" y="2334271"/>
                  <a:pt x="6679381" y="2334271"/>
                  <a:pt x="7015700" y="2135246"/>
                </a:cubicBezTo>
                <a:cubicBezTo>
                  <a:pt x="7024300" y="2130463"/>
                  <a:pt x="7033854" y="2129506"/>
                  <a:pt x="7042453" y="2131898"/>
                </a:cubicBezTo>
                <a:close/>
                <a:moveTo>
                  <a:pt x="6500021" y="2128305"/>
                </a:moveTo>
                <a:cubicBezTo>
                  <a:pt x="6509301" y="2131404"/>
                  <a:pt x="6517391" y="2138081"/>
                  <a:pt x="6522150" y="2147621"/>
                </a:cubicBezTo>
                <a:cubicBezTo>
                  <a:pt x="6525957" y="2153344"/>
                  <a:pt x="6527861" y="2159065"/>
                  <a:pt x="6527861" y="2164788"/>
                </a:cubicBezTo>
                <a:cubicBezTo>
                  <a:pt x="6527861" y="2180046"/>
                  <a:pt x="6520246" y="2193396"/>
                  <a:pt x="6506921" y="2199117"/>
                </a:cubicBezTo>
                <a:cubicBezTo>
                  <a:pt x="6506921" y="2199117"/>
                  <a:pt x="6506921" y="2199117"/>
                  <a:pt x="6168083" y="2374582"/>
                </a:cubicBezTo>
                <a:cubicBezTo>
                  <a:pt x="6149047" y="2386027"/>
                  <a:pt x="6126204" y="2378398"/>
                  <a:pt x="6116686" y="2359325"/>
                </a:cubicBezTo>
                <a:cubicBezTo>
                  <a:pt x="6107168" y="2340253"/>
                  <a:pt x="6114782" y="2317365"/>
                  <a:pt x="6131914" y="2305910"/>
                </a:cubicBezTo>
                <a:cubicBezTo>
                  <a:pt x="6131914" y="2305910"/>
                  <a:pt x="6131914" y="2305910"/>
                  <a:pt x="6470753" y="2130452"/>
                </a:cubicBezTo>
                <a:cubicBezTo>
                  <a:pt x="6480271" y="2125684"/>
                  <a:pt x="6490741" y="2125207"/>
                  <a:pt x="6500021" y="2128305"/>
                </a:cubicBezTo>
                <a:close/>
                <a:moveTo>
                  <a:pt x="5959154" y="2123129"/>
                </a:moveTo>
                <a:cubicBezTo>
                  <a:pt x="5969385" y="2126931"/>
                  <a:pt x="5977952" y="2134540"/>
                  <a:pt x="5982710" y="2145011"/>
                </a:cubicBezTo>
                <a:cubicBezTo>
                  <a:pt x="5984614" y="2150717"/>
                  <a:pt x="5986518" y="2158328"/>
                  <a:pt x="5986518" y="2164036"/>
                </a:cubicBezTo>
                <a:cubicBezTo>
                  <a:pt x="5986518" y="2179257"/>
                  <a:pt x="5977000" y="2196381"/>
                  <a:pt x="5961771" y="2202088"/>
                </a:cubicBezTo>
                <a:cubicBezTo>
                  <a:pt x="5961771" y="2202088"/>
                  <a:pt x="5961771" y="2202088"/>
                  <a:pt x="5621031" y="2354289"/>
                </a:cubicBezTo>
                <a:cubicBezTo>
                  <a:pt x="5600091" y="2363801"/>
                  <a:pt x="5575344" y="2354289"/>
                  <a:pt x="5565827" y="2333361"/>
                </a:cubicBezTo>
                <a:cubicBezTo>
                  <a:pt x="5556309" y="2312431"/>
                  <a:pt x="5565827" y="2285786"/>
                  <a:pt x="5586767" y="2276282"/>
                </a:cubicBezTo>
                <a:cubicBezTo>
                  <a:pt x="5586767" y="2276282"/>
                  <a:pt x="5586767" y="2276282"/>
                  <a:pt x="5925602" y="2124078"/>
                </a:cubicBezTo>
                <a:cubicBezTo>
                  <a:pt x="5937024" y="2119323"/>
                  <a:pt x="5948922" y="2119323"/>
                  <a:pt x="5959154" y="2123129"/>
                </a:cubicBezTo>
                <a:close/>
                <a:moveTo>
                  <a:pt x="398983" y="2123125"/>
                </a:moveTo>
                <a:cubicBezTo>
                  <a:pt x="409445" y="2126931"/>
                  <a:pt x="418480" y="2134539"/>
                  <a:pt x="423236" y="2145008"/>
                </a:cubicBezTo>
                <a:cubicBezTo>
                  <a:pt x="425138" y="2150715"/>
                  <a:pt x="427040" y="2158327"/>
                  <a:pt x="427040" y="2164035"/>
                </a:cubicBezTo>
                <a:cubicBezTo>
                  <a:pt x="427040" y="2179255"/>
                  <a:pt x="417529" y="2196379"/>
                  <a:pt x="402311" y="2202084"/>
                </a:cubicBezTo>
                <a:cubicBezTo>
                  <a:pt x="402311" y="2202084"/>
                  <a:pt x="402311" y="2202084"/>
                  <a:pt x="61813" y="2354287"/>
                </a:cubicBezTo>
                <a:cubicBezTo>
                  <a:pt x="40889" y="2363801"/>
                  <a:pt x="16160" y="2354287"/>
                  <a:pt x="6649" y="2333359"/>
                </a:cubicBezTo>
                <a:cubicBezTo>
                  <a:pt x="-4765" y="2312430"/>
                  <a:pt x="4746" y="2285786"/>
                  <a:pt x="27573" y="2276282"/>
                </a:cubicBezTo>
                <a:cubicBezTo>
                  <a:pt x="27573" y="2276282"/>
                  <a:pt x="27573" y="2276282"/>
                  <a:pt x="366169" y="2124076"/>
                </a:cubicBezTo>
                <a:cubicBezTo>
                  <a:pt x="376632" y="2119322"/>
                  <a:pt x="388520" y="2119322"/>
                  <a:pt x="398983" y="2123125"/>
                </a:cubicBezTo>
                <a:close/>
                <a:moveTo>
                  <a:pt x="5396847" y="2116229"/>
                </a:moveTo>
                <a:cubicBezTo>
                  <a:pt x="5414924" y="2117027"/>
                  <a:pt x="5432463" y="2128747"/>
                  <a:pt x="5438190" y="2145804"/>
                </a:cubicBezTo>
                <a:cubicBezTo>
                  <a:pt x="5442009" y="2151490"/>
                  <a:pt x="5442009" y="2157173"/>
                  <a:pt x="5442009" y="2162858"/>
                </a:cubicBezTo>
                <a:cubicBezTo>
                  <a:pt x="5442009" y="2181807"/>
                  <a:pt x="5430554" y="2198859"/>
                  <a:pt x="5411464" y="2206436"/>
                </a:cubicBezTo>
                <a:cubicBezTo>
                  <a:pt x="5411464" y="2206436"/>
                  <a:pt x="5411464" y="2206436"/>
                  <a:pt x="5069728" y="2335278"/>
                </a:cubicBezTo>
                <a:cubicBezTo>
                  <a:pt x="5044912" y="2344747"/>
                  <a:pt x="5018187" y="2333383"/>
                  <a:pt x="5008642" y="2308745"/>
                </a:cubicBezTo>
                <a:cubicBezTo>
                  <a:pt x="4999097" y="2284110"/>
                  <a:pt x="5012460" y="2257593"/>
                  <a:pt x="5037275" y="2248119"/>
                </a:cubicBezTo>
                <a:cubicBezTo>
                  <a:pt x="5037275" y="2248119"/>
                  <a:pt x="5037275" y="2248119"/>
                  <a:pt x="5379009" y="2119278"/>
                </a:cubicBezTo>
                <a:cubicBezTo>
                  <a:pt x="5384737" y="2116909"/>
                  <a:pt x="5390821" y="2115962"/>
                  <a:pt x="5396847" y="2116229"/>
                </a:cubicBezTo>
                <a:close/>
                <a:moveTo>
                  <a:pt x="930370" y="2116224"/>
                </a:moveTo>
                <a:cubicBezTo>
                  <a:pt x="948819" y="2117027"/>
                  <a:pt x="965655" y="2128747"/>
                  <a:pt x="972820" y="2145802"/>
                </a:cubicBezTo>
                <a:cubicBezTo>
                  <a:pt x="974730" y="2151487"/>
                  <a:pt x="974730" y="2157173"/>
                  <a:pt x="974730" y="2162856"/>
                </a:cubicBezTo>
                <a:cubicBezTo>
                  <a:pt x="974730" y="2181804"/>
                  <a:pt x="963267" y="2198857"/>
                  <a:pt x="944162" y="2206434"/>
                </a:cubicBezTo>
                <a:cubicBezTo>
                  <a:pt x="944162" y="2206434"/>
                  <a:pt x="944162" y="2206434"/>
                  <a:pt x="602179" y="2335276"/>
                </a:cubicBezTo>
                <a:cubicBezTo>
                  <a:pt x="579252" y="2344745"/>
                  <a:pt x="550595" y="2333380"/>
                  <a:pt x="542953" y="2308745"/>
                </a:cubicBezTo>
                <a:cubicBezTo>
                  <a:pt x="533400" y="2284110"/>
                  <a:pt x="544863" y="2257591"/>
                  <a:pt x="569700" y="2248116"/>
                </a:cubicBezTo>
                <a:cubicBezTo>
                  <a:pt x="569700" y="2248116"/>
                  <a:pt x="569700" y="2248116"/>
                  <a:pt x="911683" y="2119276"/>
                </a:cubicBezTo>
                <a:cubicBezTo>
                  <a:pt x="917892" y="2116906"/>
                  <a:pt x="924221" y="2115959"/>
                  <a:pt x="930370" y="2116224"/>
                </a:cubicBezTo>
                <a:close/>
                <a:moveTo>
                  <a:pt x="4845975" y="2110281"/>
                </a:moveTo>
                <a:cubicBezTo>
                  <a:pt x="4865754" y="2111881"/>
                  <a:pt x="4883652" y="2125767"/>
                  <a:pt x="4890814" y="2147142"/>
                </a:cubicBezTo>
                <a:cubicBezTo>
                  <a:pt x="4892723" y="2150943"/>
                  <a:pt x="4892723" y="2156641"/>
                  <a:pt x="4892723" y="2162340"/>
                </a:cubicBezTo>
                <a:cubicBezTo>
                  <a:pt x="4892723" y="2183235"/>
                  <a:pt x="4879357" y="2204129"/>
                  <a:pt x="4856445" y="2209828"/>
                </a:cubicBezTo>
                <a:cubicBezTo>
                  <a:pt x="4856445" y="2209828"/>
                  <a:pt x="4856445" y="2209828"/>
                  <a:pt x="4512821" y="2316199"/>
                </a:cubicBezTo>
                <a:cubicBezTo>
                  <a:pt x="4486097" y="2325699"/>
                  <a:pt x="4457461" y="2310497"/>
                  <a:pt x="4449824" y="2283899"/>
                </a:cubicBezTo>
                <a:cubicBezTo>
                  <a:pt x="4440279" y="2255416"/>
                  <a:pt x="4455552" y="2226923"/>
                  <a:pt x="4482278" y="2219324"/>
                </a:cubicBezTo>
                <a:cubicBezTo>
                  <a:pt x="4482278" y="2219324"/>
                  <a:pt x="4482278" y="2219324"/>
                  <a:pt x="4825898" y="2112951"/>
                </a:cubicBezTo>
                <a:cubicBezTo>
                  <a:pt x="4832581" y="2110576"/>
                  <a:pt x="4839383" y="2109746"/>
                  <a:pt x="4845975" y="2110281"/>
                </a:cubicBezTo>
                <a:close/>
                <a:moveTo>
                  <a:pt x="1482447" y="2110278"/>
                </a:moveTo>
                <a:cubicBezTo>
                  <a:pt x="1502079" y="2111879"/>
                  <a:pt x="1519569" y="2125767"/>
                  <a:pt x="1525280" y="2147139"/>
                </a:cubicBezTo>
                <a:cubicBezTo>
                  <a:pt x="1527184" y="2150938"/>
                  <a:pt x="1527184" y="2156638"/>
                  <a:pt x="1527184" y="2162337"/>
                </a:cubicBezTo>
                <a:cubicBezTo>
                  <a:pt x="1527184" y="2183231"/>
                  <a:pt x="1513858" y="2204128"/>
                  <a:pt x="1492917" y="2209825"/>
                </a:cubicBezTo>
                <a:cubicBezTo>
                  <a:pt x="1492917" y="2209825"/>
                  <a:pt x="1492917" y="2209825"/>
                  <a:pt x="1150255" y="2316198"/>
                </a:cubicBezTo>
                <a:cubicBezTo>
                  <a:pt x="1123603" y="2325698"/>
                  <a:pt x="1093145" y="2310497"/>
                  <a:pt x="1085530" y="2283899"/>
                </a:cubicBezTo>
                <a:cubicBezTo>
                  <a:pt x="1077915" y="2255414"/>
                  <a:pt x="1093145" y="2226922"/>
                  <a:pt x="1119796" y="2219322"/>
                </a:cubicBezTo>
                <a:cubicBezTo>
                  <a:pt x="1119796" y="2219322"/>
                  <a:pt x="1119796" y="2219322"/>
                  <a:pt x="1462458" y="2112949"/>
                </a:cubicBezTo>
                <a:cubicBezTo>
                  <a:pt x="1469121" y="2110574"/>
                  <a:pt x="1475903" y="2109743"/>
                  <a:pt x="1482447" y="2110278"/>
                </a:cubicBezTo>
                <a:close/>
                <a:moveTo>
                  <a:pt x="4292467" y="2106615"/>
                </a:moveTo>
                <a:cubicBezTo>
                  <a:pt x="4314317" y="2109639"/>
                  <a:pt x="4332943" y="2124921"/>
                  <a:pt x="4338673" y="2147679"/>
                </a:cubicBezTo>
                <a:cubicBezTo>
                  <a:pt x="4338673" y="2151471"/>
                  <a:pt x="4338673" y="2157159"/>
                  <a:pt x="4338673" y="2160953"/>
                </a:cubicBezTo>
                <a:cubicBezTo>
                  <a:pt x="4338673" y="2185604"/>
                  <a:pt x="4321480" y="2208355"/>
                  <a:pt x="4296646" y="2214045"/>
                </a:cubicBezTo>
                <a:cubicBezTo>
                  <a:pt x="4296646" y="2214045"/>
                  <a:pt x="4296646" y="2214045"/>
                  <a:pt x="3952805" y="2297470"/>
                </a:cubicBezTo>
                <a:cubicBezTo>
                  <a:pt x="3922240" y="2305056"/>
                  <a:pt x="3891674" y="2286090"/>
                  <a:pt x="3884033" y="2257656"/>
                </a:cubicBezTo>
                <a:cubicBezTo>
                  <a:pt x="3878302" y="2227319"/>
                  <a:pt x="3895495" y="2196980"/>
                  <a:pt x="3926060" y="2191291"/>
                </a:cubicBezTo>
                <a:cubicBezTo>
                  <a:pt x="3926060" y="2191291"/>
                  <a:pt x="3926060" y="2191291"/>
                  <a:pt x="4269902" y="2107861"/>
                </a:cubicBezTo>
                <a:cubicBezTo>
                  <a:pt x="4277543" y="2105963"/>
                  <a:pt x="4285185" y="2105609"/>
                  <a:pt x="4292467" y="2106615"/>
                </a:cubicBezTo>
                <a:close/>
                <a:moveTo>
                  <a:pt x="2038710" y="2106612"/>
                </a:moveTo>
                <a:cubicBezTo>
                  <a:pt x="2059743" y="2109634"/>
                  <a:pt x="2078355" y="2124921"/>
                  <a:pt x="2084082" y="2147677"/>
                </a:cubicBezTo>
                <a:cubicBezTo>
                  <a:pt x="2084082" y="2151470"/>
                  <a:pt x="2085991" y="2157159"/>
                  <a:pt x="2085991" y="2160951"/>
                </a:cubicBezTo>
                <a:cubicBezTo>
                  <a:pt x="2085991" y="2185601"/>
                  <a:pt x="2068810" y="2208353"/>
                  <a:pt x="2043989" y="2214042"/>
                </a:cubicBezTo>
                <a:cubicBezTo>
                  <a:pt x="2043989" y="2214042"/>
                  <a:pt x="2043989" y="2214042"/>
                  <a:pt x="1698467" y="2297470"/>
                </a:cubicBezTo>
                <a:cubicBezTo>
                  <a:pt x="1667924" y="2305056"/>
                  <a:pt x="1639290" y="2286090"/>
                  <a:pt x="1631654" y="2257654"/>
                </a:cubicBezTo>
                <a:cubicBezTo>
                  <a:pt x="1624018" y="2227317"/>
                  <a:pt x="1643107" y="2196977"/>
                  <a:pt x="1671742" y="2191289"/>
                </a:cubicBezTo>
                <a:cubicBezTo>
                  <a:pt x="1671742" y="2191289"/>
                  <a:pt x="1671742" y="2191289"/>
                  <a:pt x="2017264" y="2107857"/>
                </a:cubicBezTo>
                <a:cubicBezTo>
                  <a:pt x="2024422" y="2105960"/>
                  <a:pt x="2031700" y="2105605"/>
                  <a:pt x="2038710" y="2106612"/>
                </a:cubicBezTo>
                <a:close/>
                <a:moveTo>
                  <a:pt x="3734742" y="2101215"/>
                </a:moveTo>
                <a:cubicBezTo>
                  <a:pt x="3757307" y="2105947"/>
                  <a:pt x="3775574" y="2124878"/>
                  <a:pt x="3779871" y="2149168"/>
                </a:cubicBezTo>
                <a:cubicBezTo>
                  <a:pt x="3779871" y="2152977"/>
                  <a:pt x="3779871" y="2156787"/>
                  <a:pt x="3779871" y="2158693"/>
                </a:cubicBezTo>
                <a:cubicBezTo>
                  <a:pt x="3779871" y="2187267"/>
                  <a:pt x="3760769" y="2212031"/>
                  <a:pt x="3732116" y="2217746"/>
                </a:cubicBezTo>
                <a:cubicBezTo>
                  <a:pt x="3732116" y="2217746"/>
                  <a:pt x="3732116" y="2217746"/>
                  <a:pt x="3384469" y="2278704"/>
                </a:cubicBezTo>
                <a:cubicBezTo>
                  <a:pt x="3351994" y="2284415"/>
                  <a:pt x="3321432" y="2263466"/>
                  <a:pt x="3315701" y="2231081"/>
                </a:cubicBezTo>
                <a:cubicBezTo>
                  <a:pt x="3309970" y="2198696"/>
                  <a:pt x="3330982" y="2166313"/>
                  <a:pt x="3363456" y="2160598"/>
                </a:cubicBezTo>
                <a:cubicBezTo>
                  <a:pt x="3363456" y="2160598"/>
                  <a:pt x="3363456" y="2160598"/>
                  <a:pt x="3711103" y="2101543"/>
                </a:cubicBezTo>
                <a:cubicBezTo>
                  <a:pt x="3719222" y="2099638"/>
                  <a:pt x="3727221" y="2099638"/>
                  <a:pt x="3734742" y="2101215"/>
                </a:cubicBezTo>
                <a:close/>
                <a:moveTo>
                  <a:pt x="2601252" y="2101212"/>
                </a:moveTo>
                <a:cubicBezTo>
                  <a:pt x="2623816" y="2105945"/>
                  <a:pt x="2642082" y="2124875"/>
                  <a:pt x="2646380" y="2149163"/>
                </a:cubicBezTo>
                <a:cubicBezTo>
                  <a:pt x="2646380" y="2152974"/>
                  <a:pt x="2646380" y="2156785"/>
                  <a:pt x="2646380" y="2158690"/>
                </a:cubicBezTo>
                <a:cubicBezTo>
                  <a:pt x="2646380" y="2187265"/>
                  <a:pt x="2627278" y="2212029"/>
                  <a:pt x="2596716" y="2217744"/>
                </a:cubicBezTo>
                <a:cubicBezTo>
                  <a:pt x="2596716" y="2217744"/>
                  <a:pt x="2596716" y="2217744"/>
                  <a:pt x="2250972" y="2278703"/>
                </a:cubicBezTo>
                <a:cubicBezTo>
                  <a:pt x="2218499" y="2284415"/>
                  <a:pt x="2187936" y="2263464"/>
                  <a:pt x="2182206" y="2231079"/>
                </a:cubicBezTo>
                <a:cubicBezTo>
                  <a:pt x="2176475" y="2198694"/>
                  <a:pt x="2197487" y="2166309"/>
                  <a:pt x="2229960" y="2160595"/>
                </a:cubicBezTo>
                <a:cubicBezTo>
                  <a:pt x="2229960" y="2160595"/>
                  <a:pt x="2229960" y="2160595"/>
                  <a:pt x="2577613" y="2101540"/>
                </a:cubicBezTo>
                <a:cubicBezTo>
                  <a:pt x="2585732" y="2099635"/>
                  <a:pt x="2593731" y="2099635"/>
                  <a:pt x="2601252" y="2101212"/>
                </a:cubicBezTo>
                <a:close/>
                <a:moveTo>
                  <a:pt x="3141099" y="2094548"/>
                </a:moveTo>
                <a:cubicBezTo>
                  <a:pt x="3177271" y="2090745"/>
                  <a:pt x="3207731" y="2117365"/>
                  <a:pt x="3211538" y="2151594"/>
                </a:cubicBezTo>
                <a:cubicBezTo>
                  <a:pt x="3211538" y="2153495"/>
                  <a:pt x="3211538" y="2157296"/>
                  <a:pt x="3211538" y="2159200"/>
                </a:cubicBezTo>
                <a:cubicBezTo>
                  <a:pt x="3211538" y="2191527"/>
                  <a:pt x="3188693" y="2218146"/>
                  <a:pt x="3156330" y="2221949"/>
                </a:cubicBezTo>
                <a:cubicBezTo>
                  <a:pt x="3156330" y="2221949"/>
                  <a:pt x="3156330" y="2221949"/>
                  <a:pt x="2807941" y="2259980"/>
                </a:cubicBezTo>
                <a:cubicBezTo>
                  <a:pt x="2773673" y="2263780"/>
                  <a:pt x="2741309" y="2239063"/>
                  <a:pt x="2737501" y="2202934"/>
                </a:cubicBezTo>
                <a:cubicBezTo>
                  <a:pt x="2733694" y="2168708"/>
                  <a:pt x="2760347" y="2136380"/>
                  <a:pt x="2794614" y="2132575"/>
                </a:cubicBezTo>
                <a:cubicBezTo>
                  <a:pt x="2794614" y="2132575"/>
                  <a:pt x="2794614" y="2132575"/>
                  <a:pt x="3141099" y="2094548"/>
                </a:cubicBezTo>
                <a:close/>
                <a:moveTo>
                  <a:pt x="9859129" y="1839997"/>
                </a:moveTo>
                <a:cubicBezTo>
                  <a:pt x="9863412" y="1840234"/>
                  <a:pt x="9867694" y="1842138"/>
                  <a:pt x="9870549" y="1845944"/>
                </a:cubicBezTo>
                <a:cubicBezTo>
                  <a:pt x="9872453" y="1847847"/>
                  <a:pt x="9874356" y="1851654"/>
                  <a:pt x="9874356" y="1857363"/>
                </a:cubicBezTo>
                <a:cubicBezTo>
                  <a:pt x="9874356" y="1861170"/>
                  <a:pt x="9872453" y="1864976"/>
                  <a:pt x="9868646" y="1868782"/>
                </a:cubicBezTo>
                <a:cubicBezTo>
                  <a:pt x="9868646" y="1868782"/>
                  <a:pt x="9868646" y="1868782"/>
                  <a:pt x="9539364" y="2165681"/>
                </a:cubicBezTo>
                <a:cubicBezTo>
                  <a:pt x="9531751" y="2173295"/>
                  <a:pt x="9522234" y="2171391"/>
                  <a:pt x="9516524" y="2165681"/>
                </a:cubicBezTo>
                <a:cubicBezTo>
                  <a:pt x="9510814" y="2158069"/>
                  <a:pt x="9510814" y="2148551"/>
                  <a:pt x="9516524" y="2142843"/>
                </a:cubicBezTo>
                <a:cubicBezTo>
                  <a:pt x="9516524" y="2142843"/>
                  <a:pt x="9516524" y="2142843"/>
                  <a:pt x="9847709" y="1844041"/>
                </a:cubicBezTo>
                <a:cubicBezTo>
                  <a:pt x="9850564" y="1841186"/>
                  <a:pt x="9854847" y="1839759"/>
                  <a:pt x="9859129" y="1839997"/>
                </a:cubicBezTo>
                <a:close/>
                <a:moveTo>
                  <a:pt x="9281354" y="1833512"/>
                </a:moveTo>
                <a:cubicBezTo>
                  <a:pt x="9286350" y="1834227"/>
                  <a:pt x="9291109" y="1837084"/>
                  <a:pt x="9293964" y="1841846"/>
                </a:cubicBezTo>
                <a:cubicBezTo>
                  <a:pt x="9297771" y="1843751"/>
                  <a:pt x="9299674" y="1849467"/>
                  <a:pt x="9299674" y="1853277"/>
                </a:cubicBezTo>
                <a:cubicBezTo>
                  <a:pt x="9299674" y="1858992"/>
                  <a:pt x="9297771" y="1864707"/>
                  <a:pt x="9292060" y="1868517"/>
                </a:cubicBezTo>
                <a:cubicBezTo>
                  <a:pt x="9292060" y="1868517"/>
                  <a:pt x="9292060" y="1868517"/>
                  <a:pt x="8960867" y="2146642"/>
                </a:cubicBezTo>
                <a:cubicBezTo>
                  <a:pt x="8953254" y="2154263"/>
                  <a:pt x="8939930" y="2152359"/>
                  <a:pt x="8932316" y="2144739"/>
                </a:cubicBezTo>
                <a:cubicBezTo>
                  <a:pt x="8926606" y="2135209"/>
                  <a:pt x="8926606" y="2123779"/>
                  <a:pt x="8936123" y="2116162"/>
                </a:cubicBezTo>
                <a:cubicBezTo>
                  <a:pt x="8936123" y="2116162"/>
                  <a:pt x="8936123" y="2116162"/>
                  <a:pt x="9267316" y="1838036"/>
                </a:cubicBezTo>
                <a:cubicBezTo>
                  <a:pt x="9271123" y="1834227"/>
                  <a:pt x="9276358" y="1832798"/>
                  <a:pt x="9281354" y="1833512"/>
                </a:cubicBezTo>
                <a:close/>
                <a:moveTo>
                  <a:pt x="10443580" y="1833487"/>
                </a:moveTo>
                <a:cubicBezTo>
                  <a:pt x="10448836" y="1834202"/>
                  <a:pt x="10454093" y="1837059"/>
                  <a:pt x="10457916" y="1841822"/>
                </a:cubicBezTo>
                <a:cubicBezTo>
                  <a:pt x="10459827" y="1843727"/>
                  <a:pt x="10461739" y="1849442"/>
                  <a:pt x="10461739" y="1853252"/>
                </a:cubicBezTo>
                <a:cubicBezTo>
                  <a:pt x="10461739" y="1858967"/>
                  <a:pt x="10459827" y="1864682"/>
                  <a:pt x="10454093" y="1868492"/>
                </a:cubicBezTo>
                <a:cubicBezTo>
                  <a:pt x="10454093" y="1868492"/>
                  <a:pt x="10454093" y="1868492"/>
                  <a:pt x="10121491" y="2146621"/>
                </a:cubicBezTo>
                <a:cubicBezTo>
                  <a:pt x="10113845" y="2154242"/>
                  <a:pt x="10100465" y="2152337"/>
                  <a:pt x="10094730" y="2144715"/>
                </a:cubicBezTo>
                <a:cubicBezTo>
                  <a:pt x="10087084" y="2135191"/>
                  <a:pt x="10087084" y="2123761"/>
                  <a:pt x="10096642" y="2116141"/>
                </a:cubicBezTo>
                <a:cubicBezTo>
                  <a:pt x="10096642" y="2116141"/>
                  <a:pt x="10096642" y="2116141"/>
                  <a:pt x="10429243" y="1838012"/>
                </a:cubicBezTo>
                <a:cubicBezTo>
                  <a:pt x="10433066" y="1834202"/>
                  <a:pt x="10438323" y="1832773"/>
                  <a:pt x="10443580" y="1833487"/>
                </a:cubicBezTo>
                <a:close/>
                <a:moveTo>
                  <a:pt x="8711664" y="1828739"/>
                </a:moveTo>
                <a:cubicBezTo>
                  <a:pt x="8717637" y="1829451"/>
                  <a:pt x="8723372" y="1832300"/>
                  <a:pt x="8727194" y="1837048"/>
                </a:cubicBezTo>
                <a:cubicBezTo>
                  <a:pt x="8731017" y="1842746"/>
                  <a:pt x="8732928" y="1846544"/>
                  <a:pt x="8732928" y="1852242"/>
                </a:cubicBezTo>
                <a:cubicBezTo>
                  <a:pt x="8732928" y="1859838"/>
                  <a:pt x="8729105" y="1867435"/>
                  <a:pt x="8723371" y="1871234"/>
                </a:cubicBezTo>
                <a:cubicBezTo>
                  <a:pt x="8723371" y="1871234"/>
                  <a:pt x="8723371" y="1871234"/>
                  <a:pt x="8390798" y="2127610"/>
                </a:cubicBezTo>
                <a:cubicBezTo>
                  <a:pt x="8379329" y="2135209"/>
                  <a:pt x="8364039" y="2133307"/>
                  <a:pt x="8356393" y="2123813"/>
                </a:cubicBezTo>
                <a:cubicBezTo>
                  <a:pt x="8348748" y="2112426"/>
                  <a:pt x="8350659" y="2097231"/>
                  <a:pt x="8360216" y="2089634"/>
                </a:cubicBezTo>
                <a:cubicBezTo>
                  <a:pt x="8360216" y="2089634"/>
                  <a:pt x="8360216" y="2089634"/>
                  <a:pt x="8694701" y="1833250"/>
                </a:cubicBezTo>
                <a:cubicBezTo>
                  <a:pt x="8699479" y="1829451"/>
                  <a:pt x="8705691" y="1828027"/>
                  <a:pt x="8711664" y="1828739"/>
                </a:cubicBezTo>
                <a:close/>
                <a:moveTo>
                  <a:pt x="11021508" y="1828712"/>
                </a:moveTo>
                <a:cubicBezTo>
                  <a:pt x="11027482" y="1829424"/>
                  <a:pt x="11033216" y="1832273"/>
                  <a:pt x="11037038" y="1837021"/>
                </a:cubicBezTo>
                <a:cubicBezTo>
                  <a:pt x="11040861" y="1842718"/>
                  <a:pt x="11042772" y="1846517"/>
                  <a:pt x="11042772" y="1852214"/>
                </a:cubicBezTo>
                <a:cubicBezTo>
                  <a:pt x="11042772" y="1859811"/>
                  <a:pt x="11038949" y="1867408"/>
                  <a:pt x="11033215" y="1871206"/>
                </a:cubicBezTo>
                <a:cubicBezTo>
                  <a:pt x="11033215" y="1871206"/>
                  <a:pt x="11033215" y="1871206"/>
                  <a:pt x="10698730" y="2127592"/>
                </a:cubicBezTo>
                <a:cubicBezTo>
                  <a:pt x="10689173" y="2135189"/>
                  <a:pt x="10673883" y="2133290"/>
                  <a:pt x="10666237" y="2123794"/>
                </a:cubicBezTo>
                <a:cubicBezTo>
                  <a:pt x="10658592" y="2112399"/>
                  <a:pt x="10660503" y="2097206"/>
                  <a:pt x="10670060" y="2089609"/>
                </a:cubicBezTo>
                <a:cubicBezTo>
                  <a:pt x="10670060" y="2089609"/>
                  <a:pt x="10670060" y="2089609"/>
                  <a:pt x="11004545" y="1833223"/>
                </a:cubicBezTo>
                <a:cubicBezTo>
                  <a:pt x="11009324" y="1829424"/>
                  <a:pt x="11015536" y="1828000"/>
                  <a:pt x="11021508" y="1828712"/>
                </a:cubicBezTo>
                <a:close/>
                <a:moveTo>
                  <a:pt x="8148424" y="1822231"/>
                </a:moveTo>
                <a:cubicBezTo>
                  <a:pt x="8155346" y="1823419"/>
                  <a:pt x="8162030" y="1827221"/>
                  <a:pt x="8166804" y="1832924"/>
                </a:cubicBezTo>
                <a:cubicBezTo>
                  <a:pt x="8170623" y="1838626"/>
                  <a:pt x="8172533" y="1844330"/>
                  <a:pt x="8172533" y="1850033"/>
                </a:cubicBezTo>
                <a:cubicBezTo>
                  <a:pt x="8172533" y="1857637"/>
                  <a:pt x="8168714" y="1867142"/>
                  <a:pt x="8161075" y="1872844"/>
                </a:cubicBezTo>
                <a:cubicBezTo>
                  <a:pt x="8161075" y="1872844"/>
                  <a:pt x="8161075" y="1872844"/>
                  <a:pt x="7824980" y="2108561"/>
                </a:cubicBezTo>
                <a:cubicBezTo>
                  <a:pt x="7813523" y="2116162"/>
                  <a:pt x="7796336" y="2114263"/>
                  <a:pt x="7786788" y="2100956"/>
                </a:cubicBezTo>
                <a:cubicBezTo>
                  <a:pt x="7777240" y="2089551"/>
                  <a:pt x="7781059" y="2072443"/>
                  <a:pt x="7792517" y="2062938"/>
                </a:cubicBezTo>
                <a:cubicBezTo>
                  <a:pt x="7792517" y="2062938"/>
                  <a:pt x="7792517" y="2062938"/>
                  <a:pt x="8128611" y="1827221"/>
                </a:cubicBezTo>
                <a:cubicBezTo>
                  <a:pt x="8134340" y="1822469"/>
                  <a:pt x="8141501" y="1821043"/>
                  <a:pt x="8148424" y="1822231"/>
                </a:cubicBezTo>
                <a:close/>
                <a:moveTo>
                  <a:pt x="11593502" y="1822227"/>
                </a:moveTo>
                <a:cubicBezTo>
                  <a:pt x="11600640" y="1823415"/>
                  <a:pt x="11607302" y="1827217"/>
                  <a:pt x="11612061" y="1832920"/>
                </a:cubicBezTo>
                <a:cubicBezTo>
                  <a:pt x="11613965" y="1838623"/>
                  <a:pt x="11615868" y="1844326"/>
                  <a:pt x="11615868" y="1850029"/>
                </a:cubicBezTo>
                <a:cubicBezTo>
                  <a:pt x="11615868" y="1857632"/>
                  <a:pt x="11612061" y="1867138"/>
                  <a:pt x="11604447" y="1872840"/>
                </a:cubicBezTo>
                <a:cubicBezTo>
                  <a:pt x="11604447" y="1872840"/>
                  <a:pt x="11604447" y="1872840"/>
                  <a:pt x="11271337" y="2108557"/>
                </a:cubicBezTo>
                <a:cubicBezTo>
                  <a:pt x="11258013" y="2116159"/>
                  <a:pt x="11240881" y="2114261"/>
                  <a:pt x="11233267" y="2100952"/>
                </a:cubicBezTo>
                <a:cubicBezTo>
                  <a:pt x="11223750" y="2089547"/>
                  <a:pt x="11225653" y="2072439"/>
                  <a:pt x="11238978" y="2062934"/>
                </a:cubicBezTo>
                <a:cubicBezTo>
                  <a:pt x="11238978" y="2062934"/>
                  <a:pt x="11238978" y="2062934"/>
                  <a:pt x="11572088" y="1827217"/>
                </a:cubicBezTo>
                <a:cubicBezTo>
                  <a:pt x="11578750" y="1822464"/>
                  <a:pt x="11586364" y="1821038"/>
                  <a:pt x="11593502" y="1822227"/>
                </a:cubicBezTo>
                <a:close/>
                <a:moveTo>
                  <a:pt x="12139750" y="1819296"/>
                </a:moveTo>
                <a:cubicBezTo>
                  <a:pt x="12139750" y="1819296"/>
                  <a:pt x="12139750" y="1819296"/>
                  <a:pt x="12139750" y="1893845"/>
                </a:cubicBezTo>
                <a:cubicBezTo>
                  <a:pt x="12139750" y="1893845"/>
                  <a:pt x="12139750" y="1893845"/>
                  <a:pt x="11834405" y="2090726"/>
                </a:cubicBezTo>
                <a:cubicBezTo>
                  <a:pt x="11819138" y="2100283"/>
                  <a:pt x="11800054" y="2094549"/>
                  <a:pt x="11790512" y="2081169"/>
                </a:cubicBezTo>
                <a:cubicBezTo>
                  <a:pt x="11780970" y="2065877"/>
                  <a:pt x="11784787" y="2046762"/>
                  <a:pt x="11800054" y="2037205"/>
                </a:cubicBezTo>
                <a:lnTo>
                  <a:pt x="12135933" y="1821208"/>
                </a:lnTo>
                <a:cubicBezTo>
                  <a:pt x="12137842" y="1819296"/>
                  <a:pt x="12137842" y="1819296"/>
                  <a:pt x="12139750" y="1819296"/>
                </a:cubicBezTo>
                <a:close/>
                <a:moveTo>
                  <a:pt x="7591461" y="1816389"/>
                </a:moveTo>
                <a:cubicBezTo>
                  <a:pt x="7599307" y="1818063"/>
                  <a:pt x="7606440" y="1822846"/>
                  <a:pt x="7611195" y="1830500"/>
                </a:cubicBezTo>
                <a:cubicBezTo>
                  <a:pt x="7614999" y="1836240"/>
                  <a:pt x="7616901" y="1841981"/>
                  <a:pt x="7616901" y="1847721"/>
                </a:cubicBezTo>
                <a:cubicBezTo>
                  <a:pt x="7616901" y="1857288"/>
                  <a:pt x="7611195" y="1866856"/>
                  <a:pt x="7601685" y="1874509"/>
                </a:cubicBezTo>
                <a:cubicBezTo>
                  <a:pt x="7601685" y="1874509"/>
                  <a:pt x="7601685" y="1874509"/>
                  <a:pt x="7266927" y="2090722"/>
                </a:cubicBezTo>
                <a:cubicBezTo>
                  <a:pt x="7251710" y="2100289"/>
                  <a:pt x="7232690" y="2094549"/>
                  <a:pt x="7223180" y="2081155"/>
                </a:cubicBezTo>
                <a:cubicBezTo>
                  <a:pt x="7213670" y="2065848"/>
                  <a:pt x="7219376" y="2046715"/>
                  <a:pt x="7232690" y="2037147"/>
                </a:cubicBezTo>
                <a:cubicBezTo>
                  <a:pt x="7232690" y="2037147"/>
                  <a:pt x="7232690" y="2037147"/>
                  <a:pt x="7567448" y="1820933"/>
                </a:cubicBezTo>
                <a:cubicBezTo>
                  <a:pt x="7575056" y="1816149"/>
                  <a:pt x="7583615" y="1814714"/>
                  <a:pt x="7591461" y="1816389"/>
                </a:cubicBezTo>
                <a:close/>
                <a:moveTo>
                  <a:pt x="7042453" y="1811445"/>
                </a:moveTo>
                <a:cubicBezTo>
                  <a:pt x="7051052" y="1813588"/>
                  <a:pt x="7058696" y="1819303"/>
                  <a:pt x="7063473" y="1827876"/>
                </a:cubicBezTo>
                <a:cubicBezTo>
                  <a:pt x="7067295" y="1833591"/>
                  <a:pt x="7069206" y="1839306"/>
                  <a:pt x="7069206" y="1845021"/>
                </a:cubicBezTo>
                <a:cubicBezTo>
                  <a:pt x="7069206" y="1858356"/>
                  <a:pt x="7063473" y="1869786"/>
                  <a:pt x="7052008" y="1875501"/>
                </a:cubicBezTo>
                <a:cubicBezTo>
                  <a:pt x="7052008" y="1875501"/>
                  <a:pt x="7052008" y="1875501"/>
                  <a:pt x="6713777" y="2071714"/>
                </a:cubicBezTo>
                <a:cubicBezTo>
                  <a:pt x="6696579" y="2081239"/>
                  <a:pt x="6675559" y="2075525"/>
                  <a:pt x="6666004" y="2058379"/>
                </a:cubicBezTo>
                <a:cubicBezTo>
                  <a:pt x="6656450" y="2041235"/>
                  <a:pt x="6662182" y="2020280"/>
                  <a:pt x="6679381" y="2010756"/>
                </a:cubicBezTo>
                <a:cubicBezTo>
                  <a:pt x="6679381" y="2010756"/>
                  <a:pt x="6679381" y="2010756"/>
                  <a:pt x="7015700" y="1816445"/>
                </a:cubicBezTo>
                <a:cubicBezTo>
                  <a:pt x="7024300" y="1810730"/>
                  <a:pt x="7033854" y="1809302"/>
                  <a:pt x="7042453" y="1811445"/>
                </a:cubicBezTo>
                <a:close/>
                <a:moveTo>
                  <a:pt x="6499936" y="1806065"/>
                </a:moveTo>
                <a:cubicBezTo>
                  <a:pt x="6509244" y="1809168"/>
                  <a:pt x="6517359" y="1815852"/>
                  <a:pt x="6522132" y="1825400"/>
                </a:cubicBezTo>
                <a:cubicBezTo>
                  <a:pt x="6525950" y="1831129"/>
                  <a:pt x="6527860" y="1836858"/>
                  <a:pt x="6527860" y="1842587"/>
                </a:cubicBezTo>
                <a:cubicBezTo>
                  <a:pt x="6527860" y="1857864"/>
                  <a:pt x="6520223" y="1871231"/>
                  <a:pt x="6506857" y="1876960"/>
                </a:cubicBezTo>
                <a:cubicBezTo>
                  <a:pt x="6506857" y="1876960"/>
                  <a:pt x="6506857" y="1876960"/>
                  <a:pt x="6166999" y="2052641"/>
                </a:cubicBezTo>
                <a:cubicBezTo>
                  <a:pt x="6147906" y="2062190"/>
                  <a:pt x="6124994" y="2054551"/>
                  <a:pt x="6115448" y="2035456"/>
                </a:cubicBezTo>
                <a:cubicBezTo>
                  <a:pt x="6103992" y="2016360"/>
                  <a:pt x="6111629" y="1993445"/>
                  <a:pt x="6130722" y="1983897"/>
                </a:cubicBezTo>
                <a:cubicBezTo>
                  <a:pt x="6130722" y="1983897"/>
                  <a:pt x="6130722" y="1983897"/>
                  <a:pt x="6470580" y="1808213"/>
                </a:cubicBezTo>
                <a:cubicBezTo>
                  <a:pt x="6480127" y="1803439"/>
                  <a:pt x="6490628" y="1802962"/>
                  <a:pt x="6499936" y="1806065"/>
                </a:cubicBezTo>
                <a:close/>
                <a:moveTo>
                  <a:pt x="5958440" y="1800931"/>
                </a:moveTo>
                <a:cubicBezTo>
                  <a:pt x="5968909" y="1804761"/>
                  <a:pt x="5977952" y="1812420"/>
                  <a:pt x="5982710" y="1822950"/>
                </a:cubicBezTo>
                <a:cubicBezTo>
                  <a:pt x="5984614" y="1828695"/>
                  <a:pt x="5986518" y="1834438"/>
                  <a:pt x="5986518" y="1840183"/>
                </a:cubicBezTo>
                <a:cubicBezTo>
                  <a:pt x="5986518" y="1857416"/>
                  <a:pt x="5977000" y="1872733"/>
                  <a:pt x="5961771" y="1878478"/>
                </a:cubicBezTo>
                <a:cubicBezTo>
                  <a:pt x="5961771" y="1878478"/>
                  <a:pt x="5961771" y="1878478"/>
                  <a:pt x="5622934" y="2033566"/>
                </a:cubicBezTo>
                <a:cubicBezTo>
                  <a:pt x="5600091" y="2043140"/>
                  <a:pt x="5575344" y="2033566"/>
                  <a:pt x="5565827" y="2012506"/>
                </a:cubicBezTo>
                <a:cubicBezTo>
                  <a:pt x="5556309" y="1991444"/>
                  <a:pt x="5565827" y="1964639"/>
                  <a:pt x="5586767" y="1955065"/>
                </a:cubicBezTo>
                <a:cubicBezTo>
                  <a:pt x="5586767" y="1955065"/>
                  <a:pt x="5586767" y="1955065"/>
                  <a:pt x="5925602" y="1801889"/>
                </a:cubicBezTo>
                <a:cubicBezTo>
                  <a:pt x="5936072" y="1797102"/>
                  <a:pt x="5947970" y="1797102"/>
                  <a:pt x="5958440" y="1800931"/>
                </a:cubicBezTo>
                <a:close/>
                <a:moveTo>
                  <a:pt x="398962" y="1800922"/>
                </a:moveTo>
                <a:cubicBezTo>
                  <a:pt x="409432" y="1804752"/>
                  <a:pt x="418474" y="1812411"/>
                  <a:pt x="423233" y="1822941"/>
                </a:cubicBezTo>
                <a:cubicBezTo>
                  <a:pt x="425137" y="1828686"/>
                  <a:pt x="427041" y="1834430"/>
                  <a:pt x="427041" y="1840174"/>
                </a:cubicBezTo>
                <a:cubicBezTo>
                  <a:pt x="427041" y="1857407"/>
                  <a:pt x="417522" y="1872724"/>
                  <a:pt x="400390" y="1878468"/>
                </a:cubicBezTo>
                <a:cubicBezTo>
                  <a:pt x="400390" y="1878468"/>
                  <a:pt x="400390" y="1878468"/>
                  <a:pt x="61546" y="2033558"/>
                </a:cubicBezTo>
                <a:cubicBezTo>
                  <a:pt x="40607" y="2043131"/>
                  <a:pt x="15860" y="2033558"/>
                  <a:pt x="6342" y="2012496"/>
                </a:cubicBezTo>
                <a:cubicBezTo>
                  <a:pt x="-3177" y="1991435"/>
                  <a:pt x="6342" y="1964629"/>
                  <a:pt x="27281" y="1955055"/>
                </a:cubicBezTo>
                <a:cubicBezTo>
                  <a:pt x="27281" y="1955055"/>
                  <a:pt x="27281" y="1955055"/>
                  <a:pt x="366125" y="1801879"/>
                </a:cubicBezTo>
                <a:cubicBezTo>
                  <a:pt x="376595" y="1797093"/>
                  <a:pt x="388492" y="1797093"/>
                  <a:pt x="398962" y="1800922"/>
                </a:cubicBezTo>
                <a:close/>
                <a:moveTo>
                  <a:pt x="5395741" y="1792156"/>
                </a:moveTo>
                <a:cubicBezTo>
                  <a:pt x="5414189" y="1792513"/>
                  <a:pt x="5431025" y="1803586"/>
                  <a:pt x="5438189" y="1822160"/>
                </a:cubicBezTo>
                <a:cubicBezTo>
                  <a:pt x="5440099" y="1827876"/>
                  <a:pt x="5442010" y="1833591"/>
                  <a:pt x="5442010" y="1839306"/>
                </a:cubicBezTo>
                <a:cubicBezTo>
                  <a:pt x="5442010" y="1858356"/>
                  <a:pt x="5430547" y="1875501"/>
                  <a:pt x="5411443" y="1883121"/>
                </a:cubicBezTo>
                <a:cubicBezTo>
                  <a:pt x="5411443" y="1883121"/>
                  <a:pt x="5411443" y="1883121"/>
                  <a:pt x="5069457" y="2014565"/>
                </a:cubicBezTo>
                <a:cubicBezTo>
                  <a:pt x="5046534" y="2024090"/>
                  <a:pt x="5019790" y="2012660"/>
                  <a:pt x="5010238" y="1989801"/>
                </a:cubicBezTo>
                <a:cubicBezTo>
                  <a:pt x="5000687" y="1965036"/>
                  <a:pt x="5012148" y="1938366"/>
                  <a:pt x="5036982" y="1928841"/>
                </a:cubicBezTo>
                <a:cubicBezTo>
                  <a:pt x="5036982" y="1928841"/>
                  <a:pt x="5036982" y="1928841"/>
                  <a:pt x="5377053" y="1795490"/>
                </a:cubicBezTo>
                <a:cubicBezTo>
                  <a:pt x="5383263" y="1793109"/>
                  <a:pt x="5389592" y="1792037"/>
                  <a:pt x="5395741" y="1792156"/>
                </a:cubicBezTo>
                <a:close/>
                <a:moveTo>
                  <a:pt x="929266" y="1792145"/>
                </a:moveTo>
                <a:cubicBezTo>
                  <a:pt x="946908" y="1792502"/>
                  <a:pt x="963745" y="1803575"/>
                  <a:pt x="970909" y="1822149"/>
                </a:cubicBezTo>
                <a:cubicBezTo>
                  <a:pt x="974730" y="1827864"/>
                  <a:pt x="974730" y="1833579"/>
                  <a:pt x="974730" y="1839294"/>
                </a:cubicBezTo>
                <a:cubicBezTo>
                  <a:pt x="974730" y="1858344"/>
                  <a:pt x="963267" y="1875489"/>
                  <a:pt x="946072" y="1883109"/>
                </a:cubicBezTo>
                <a:cubicBezTo>
                  <a:pt x="946072" y="1883109"/>
                  <a:pt x="946072" y="1883109"/>
                  <a:pt x="604089" y="2014554"/>
                </a:cubicBezTo>
                <a:cubicBezTo>
                  <a:pt x="579253" y="2024078"/>
                  <a:pt x="552505" y="2012649"/>
                  <a:pt x="542953" y="1989789"/>
                </a:cubicBezTo>
                <a:cubicBezTo>
                  <a:pt x="533400" y="1965024"/>
                  <a:pt x="544863" y="1938354"/>
                  <a:pt x="569700" y="1928829"/>
                </a:cubicBezTo>
                <a:cubicBezTo>
                  <a:pt x="569700" y="1928829"/>
                  <a:pt x="569700" y="1928829"/>
                  <a:pt x="911683" y="1795478"/>
                </a:cubicBezTo>
                <a:cubicBezTo>
                  <a:pt x="917415" y="1793097"/>
                  <a:pt x="923385" y="1792026"/>
                  <a:pt x="929266" y="1792145"/>
                </a:cubicBezTo>
                <a:close/>
                <a:moveTo>
                  <a:pt x="4845291" y="1786421"/>
                </a:moveTo>
                <a:cubicBezTo>
                  <a:pt x="4864226" y="1787854"/>
                  <a:pt x="4882088" y="1801107"/>
                  <a:pt x="4889232" y="1819733"/>
                </a:cubicBezTo>
                <a:cubicBezTo>
                  <a:pt x="4891138" y="1825464"/>
                  <a:pt x="4891138" y="1831195"/>
                  <a:pt x="4891138" y="1836927"/>
                </a:cubicBezTo>
                <a:cubicBezTo>
                  <a:pt x="4891138" y="1857942"/>
                  <a:pt x="4877800" y="1877046"/>
                  <a:pt x="4856840" y="1884687"/>
                </a:cubicBezTo>
                <a:cubicBezTo>
                  <a:pt x="4856840" y="1884687"/>
                  <a:pt x="4856840" y="1884687"/>
                  <a:pt x="4515847" y="1997399"/>
                </a:cubicBezTo>
                <a:cubicBezTo>
                  <a:pt x="4489179" y="2005041"/>
                  <a:pt x="4460602" y="1991668"/>
                  <a:pt x="4451077" y="1964923"/>
                </a:cubicBezTo>
                <a:cubicBezTo>
                  <a:pt x="4443457" y="1938178"/>
                  <a:pt x="4456792" y="1909522"/>
                  <a:pt x="4483463" y="1901881"/>
                </a:cubicBezTo>
                <a:cubicBezTo>
                  <a:pt x="4483463" y="1901881"/>
                  <a:pt x="4483463" y="1901881"/>
                  <a:pt x="4826356" y="1789167"/>
                </a:cubicBezTo>
                <a:cubicBezTo>
                  <a:pt x="4832548" y="1786779"/>
                  <a:pt x="4838978" y="1785943"/>
                  <a:pt x="4845291" y="1786421"/>
                </a:cubicBezTo>
                <a:close/>
                <a:moveTo>
                  <a:pt x="1480544" y="1786407"/>
                </a:moveTo>
                <a:cubicBezTo>
                  <a:pt x="1500175" y="1787839"/>
                  <a:pt x="1517665" y="1801092"/>
                  <a:pt x="1523376" y="1819719"/>
                </a:cubicBezTo>
                <a:cubicBezTo>
                  <a:pt x="1525280" y="1825450"/>
                  <a:pt x="1527184" y="1831181"/>
                  <a:pt x="1527184" y="1836913"/>
                </a:cubicBezTo>
                <a:cubicBezTo>
                  <a:pt x="1527184" y="1857927"/>
                  <a:pt x="1513858" y="1877031"/>
                  <a:pt x="1492918" y="1884672"/>
                </a:cubicBezTo>
                <a:cubicBezTo>
                  <a:pt x="1492918" y="1884672"/>
                  <a:pt x="1492918" y="1884672"/>
                  <a:pt x="1150255" y="1997385"/>
                </a:cubicBezTo>
                <a:cubicBezTo>
                  <a:pt x="1123604" y="2005025"/>
                  <a:pt x="1095048" y="1991653"/>
                  <a:pt x="1087434" y="1964908"/>
                </a:cubicBezTo>
                <a:cubicBezTo>
                  <a:pt x="1077915" y="1938163"/>
                  <a:pt x="1093145" y="1909507"/>
                  <a:pt x="1119796" y="1901866"/>
                </a:cubicBezTo>
                <a:cubicBezTo>
                  <a:pt x="1119796" y="1901866"/>
                  <a:pt x="1119796" y="1901866"/>
                  <a:pt x="1460555" y="1789153"/>
                </a:cubicBezTo>
                <a:cubicBezTo>
                  <a:pt x="1467218" y="1786765"/>
                  <a:pt x="1474000" y="1785929"/>
                  <a:pt x="1480544" y="1786407"/>
                </a:cubicBezTo>
                <a:close/>
                <a:moveTo>
                  <a:pt x="4289928" y="1779643"/>
                </a:moveTo>
                <a:cubicBezTo>
                  <a:pt x="4310378" y="1782608"/>
                  <a:pt x="4327881" y="1797700"/>
                  <a:pt x="4333596" y="1819260"/>
                </a:cubicBezTo>
                <a:cubicBezTo>
                  <a:pt x="4335502" y="1825009"/>
                  <a:pt x="4335502" y="1828842"/>
                  <a:pt x="4335502" y="1834591"/>
                </a:cubicBezTo>
                <a:cubicBezTo>
                  <a:pt x="4335502" y="1857589"/>
                  <a:pt x="4320262" y="1878670"/>
                  <a:pt x="4295494" y="1886336"/>
                </a:cubicBezTo>
                <a:cubicBezTo>
                  <a:pt x="4295494" y="1886336"/>
                  <a:pt x="4295494" y="1886336"/>
                  <a:pt x="3952611" y="1978325"/>
                </a:cubicBezTo>
                <a:cubicBezTo>
                  <a:pt x="3924035" y="1985990"/>
                  <a:pt x="3893554" y="1968743"/>
                  <a:pt x="3885933" y="1939996"/>
                </a:cubicBezTo>
                <a:cubicBezTo>
                  <a:pt x="3878312" y="1911250"/>
                  <a:pt x="3895458" y="1880586"/>
                  <a:pt x="3924035" y="1872921"/>
                </a:cubicBezTo>
                <a:cubicBezTo>
                  <a:pt x="3924035" y="1872921"/>
                  <a:pt x="3924035" y="1872921"/>
                  <a:pt x="4268823" y="1780930"/>
                </a:cubicBezTo>
                <a:cubicBezTo>
                  <a:pt x="4275968" y="1779014"/>
                  <a:pt x="4283112" y="1778655"/>
                  <a:pt x="4289928" y="1779643"/>
                </a:cubicBezTo>
                <a:close/>
                <a:moveTo>
                  <a:pt x="2035631" y="1779626"/>
                </a:moveTo>
                <a:cubicBezTo>
                  <a:pt x="2056622" y="1782591"/>
                  <a:pt x="2075195" y="1797683"/>
                  <a:pt x="2080910" y="1819243"/>
                </a:cubicBezTo>
                <a:cubicBezTo>
                  <a:pt x="2082815" y="1824992"/>
                  <a:pt x="2082815" y="1828825"/>
                  <a:pt x="2082815" y="1834574"/>
                </a:cubicBezTo>
                <a:cubicBezTo>
                  <a:pt x="2082815" y="1857572"/>
                  <a:pt x="2065669" y="1878653"/>
                  <a:pt x="2042805" y="1886319"/>
                </a:cubicBezTo>
                <a:cubicBezTo>
                  <a:pt x="2042805" y="1886319"/>
                  <a:pt x="2042805" y="1886319"/>
                  <a:pt x="1699901" y="1978307"/>
                </a:cubicBezTo>
                <a:cubicBezTo>
                  <a:pt x="1669421" y="1985973"/>
                  <a:pt x="1640845" y="1968725"/>
                  <a:pt x="1633225" y="1939979"/>
                </a:cubicBezTo>
                <a:cubicBezTo>
                  <a:pt x="1625605" y="1911232"/>
                  <a:pt x="1642750" y="1880569"/>
                  <a:pt x="1671326" y="1872903"/>
                </a:cubicBezTo>
                <a:cubicBezTo>
                  <a:pt x="1671326" y="1872903"/>
                  <a:pt x="1671326" y="1872903"/>
                  <a:pt x="2014230" y="1780914"/>
                </a:cubicBezTo>
                <a:cubicBezTo>
                  <a:pt x="2021374" y="1778997"/>
                  <a:pt x="2028637" y="1778638"/>
                  <a:pt x="2035631" y="1779626"/>
                </a:cubicBezTo>
                <a:close/>
                <a:moveTo>
                  <a:pt x="3732186" y="1775478"/>
                </a:moveTo>
                <a:cubicBezTo>
                  <a:pt x="3753993" y="1779592"/>
                  <a:pt x="3772581" y="1797123"/>
                  <a:pt x="3778298" y="1820020"/>
                </a:cubicBezTo>
                <a:cubicBezTo>
                  <a:pt x="3778298" y="1823835"/>
                  <a:pt x="3778298" y="1827652"/>
                  <a:pt x="3778298" y="1831468"/>
                </a:cubicBezTo>
                <a:cubicBezTo>
                  <a:pt x="3778298" y="1858181"/>
                  <a:pt x="3759233" y="1882986"/>
                  <a:pt x="3732542" y="1888710"/>
                </a:cubicBezTo>
                <a:cubicBezTo>
                  <a:pt x="3732542" y="1888710"/>
                  <a:pt x="3732542" y="1888710"/>
                  <a:pt x="3387515" y="1959308"/>
                </a:cubicBezTo>
                <a:cubicBezTo>
                  <a:pt x="3357010" y="1966941"/>
                  <a:pt x="3326508" y="1945952"/>
                  <a:pt x="3318884" y="1915423"/>
                </a:cubicBezTo>
                <a:cubicBezTo>
                  <a:pt x="3313164" y="1882986"/>
                  <a:pt x="3332227" y="1852457"/>
                  <a:pt x="3364636" y="1846733"/>
                </a:cubicBezTo>
                <a:cubicBezTo>
                  <a:pt x="3364636" y="1846733"/>
                  <a:pt x="3364636" y="1846733"/>
                  <a:pt x="3709666" y="1776134"/>
                </a:cubicBezTo>
                <a:cubicBezTo>
                  <a:pt x="3717293" y="1774226"/>
                  <a:pt x="3724920" y="1774107"/>
                  <a:pt x="3732186" y="1775478"/>
                </a:cubicBezTo>
                <a:close/>
                <a:moveTo>
                  <a:pt x="2597096" y="1775459"/>
                </a:moveTo>
                <a:cubicBezTo>
                  <a:pt x="2618899" y="1779573"/>
                  <a:pt x="2637486" y="1797103"/>
                  <a:pt x="2643205" y="1820000"/>
                </a:cubicBezTo>
                <a:cubicBezTo>
                  <a:pt x="2643205" y="1823816"/>
                  <a:pt x="2643205" y="1827632"/>
                  <a:pt x="2643205" y="1831449"/>
                </a:cubicBezTo>
                <a:cubicBezTo>
                  <a:pt x="2643205" y="1858161"/>
                  <a:pt x="2624142" y="1882966"/>
                  <a:pt x="2597454" y="1888690"/>
                </a:cubicBezTo>
                <a:cubicBezTo>
                  <a:pt x="2597454" y="1888690"/>
                  <a:pt x="2597454" y="1888690"/>
                  <a:pt x="2252409" y="1959288"/>
                </a:cubicBezTo>
                <a:cubicBezTo>
                  <a:pt x="2221908" y="1966921"/>
                  <a:pt x="2191406" y="1945932"/>
                  <a:pt x="2183781" y="1915403"/>
                </a:cubicBezTo>
                <a:cubicBezTo>
                  <a:pt x="2178062" y="1882966"/>
                  <a:pt x="2197125" y="1852437"/>
                  <a:pt x="2229533" y="1846713"/>
                </a:cubicBezTo>
                <a:cubicBezTo>
                  <a:pt x="2229533" y="1846713"/>
                  <a:pt x="2229533" y="1846713"/>
                  <a:pt x="2574577" y="1776115"/>
                </a:cubicBezTo>
                <a:cubicBezTo>
                  <a:pt x="2582203" y="1774206"/>
                  <a:pt x="2589828" y="1774087"/>
                  <a:pt x="2597096" y="1775459"/>
                </a:cubicBezTo>
                <a:close/>
                <a:moveTo>
                  <a:pt x="3139439" y="1767857"/>
                </a:moveTo>
                <a:cubicBezTo>
                  <a:pt x="3173753" y="1762151"/>
                  <a:pt x="3204252" y="1786874"/>
                  <a:pt x="3209972" y="1819203"/>
                </a:cubicBezTo>
                <a:cubicBezTo>
                  <a:pt x="3209972" y="1823006"/>
                  <a:pt x="3209972" y="1826810"/>
                  <a:pt x="3209972" y="1828711"/>
                </a:cubicBezTo>
                <a:cubicBezTo>
                  <a:pt x="3209972" y="1859139"/>
                  <a:pt x="3187098" y="1885763"/>
                  <a:pt x="3156597" y="1889566"/>
                </a:cubicBezTo>
                <a:cubicBezTo>
                  <a:pt x="3156597" y="1889566"/>
                  <a:pt x="3156597" y="1889566"/>
                  <a:pt x="2811555" y="1939010"/>
                </a:cubicBezTo>
                <a:cubicBezTo>
                  <a:pt x="2777241" y="1944716"/>
                  <a:pt x="2746740" y="1921895"/>
                  <a:pt x="2741022" y="1887665"/>
                </a:cubicBezTo>
                <a:cubicBezTo>
                  <a:pt x="2735303" y="1853434"/>
                  <a:pt x="2760084" y="1823006"/>
                  <a:pt x="2792492" y="1819203"/>
                </a:cubicBezTo>
                <a:cubicBezTo>
                  <a:pt x="2792492" y="1819203"/>
                  <a:pt x="2792492" y="1819203"/>
                  <a:pt x="3139439" y="1767857"/>
                </a:cubicBezTo>
                <a:close/>
                <a:moveTo>
                  <a:pt x="9859195" y="1522734"/>
                </a:moveTo>
                <a:cubicBezTo>
                  <a:pt x="9864196" y="1523210"/>
                  <a:pt x="9868958" y="1525589"/>
                  <a:pt x="9871816" y="1530346"/>
                </a:cubicBezTo>
                <a:cubicBezTo>
                  <a:pt x="9875626" y="1532249"/>
                  <a:pt x="9877531" y="1537959"/>
                  <a:pt x="9877531" y="1541765"/>
                </a:cubicBezTo>
                <a:cubicBezTo>
                  <a:pt x="9877531" y="1547475"/>
                  <a:pt x="9875626" y="1553184"/>
                  <a:pt x="9869911" y="1556990"/>
                </a:cubicBezTo>
                <a:cubicBezTo>
                  <a:pt x="9869911" y="1556990"/>
                  <a:pt x="9869911" y="1556990"/>
                  <a:pt x="9538436" y="1838657"/>
                </a:cubicBezTo>
                <a:cubicBezTo>
                  <a:pt x="9530816" y="1846270"/>
                  <a:pt x="9519386" y="1846270"/>
                  <a:pt x="9511766" y="1836754"/>
                </a:cubicBezTo>
                <a:cubicBezTo>
                  <a:pt x="9506051" y="1829141"/>
                  <a:pt x="9506051" y="1817722"/>
                  <a:pt x="9513671" y="1810110"/>
                </a:cubicBezTo>
                <a:cubicBezTo>
                  <a:pt x="9513671" y="1810110"/>
                  <a:pt x="9513671" y="1810110"/>
                  <a:pt x="9845146" y="1526540"/>
                </a:cubicBezTo>
                <a:cubicBezTo>
                  <a:pt x="9848956" y="1523685"/>
                  <a:pt x="9854195" y="1522258"/>
                  <a:pt x="9859195" y="1522734"/>
                </a:cubicBezTo>
                <a:close/>
                <a:moveTo>
                  <a:pt x="9283544" y="1516005"/>
                </a:moveTo>
                <a:cubicBezTo>
                  <a:pt x="9289503" y="1516718"/>
                  <a:pt x="9295223" y="1519573"/>
                  <a:pt x="9299036" y="1524331"/>
                </a:cubicBezTo>
                <a:cubicBezTo>
                  <a:pt x="9300942" y="1528137"/>
                  <a:pt x="9302849" y="1533846"/>
                  <a:pt x="9302849" y="1537653"/>
                </a:cubicBezTo>
                <a:cubicBezTo>
                  <a:pt x="9302849" y="1545265"/>
                  <a:pt x="9300942" y="1550974"/>
                  <a:pt x="9295223" y="1554780"/>
                </a:cubicBezTo>
                <a:cubicBezTo>
                  <a:pt x="9295223" y="1554780"/>
                  <a:pt x="9295223" y="1554780"/>
                  <a:pt x="8961563" y="1821217"/>
                </a:cubicBezTo>
                <a:cubicBezTo>
                  <a:pt x="8952030" y="1828830"/>
                  <a:pt x="8938684" y="1826927"/>
                  <a:pt x="8931057" y="1817411"/>
                </a:cubicBezTo>
                <a:cubicBezTo>
                  <a:pt x="8923431" y="1807895"/>
                  <a:pt x="8925338" y="1792671"/>
                  <a:pt x="8934871" y="1785058"/>
                </a:cubicBezTo>
                <a:cubicBezTo>
                  <a:pt x="8934871" y="1785058"/>
                  <a:pt x="8934871" y="1785058"/>
                  <a:pt x="9266623" y="1520524"/>
                </a:cubicBezTo>
                <a:cubicBezTo>
                  <a:pt x="9271389" y="1516718"/>
                  <a:pt x="9277586" y="1515291"/>
                  <a:pt x="9283544" y="1516005"/>
                </a:cubicBezTo>
                <a:close/>
                <a:moveTo>
                  <a:pt x="10444673" y="1515983"/>
                </a:moveTo>
                <a:cubicBezTo>
                  <a:pt x="10450150" y="1516697"/>
                  <a:pt x="10455389" y="1519551"/>
                  <a:pt x="10459199" y="1524309"/>
                </a:cubicBezTo>
                <a:cubicBezTo>
                  <a:pt x="10463009" y="1528115"/>
                  <a:pt x="10464914" y="1533824"/>
                  <a:pt x="10464914" y="1537630"/>
                </a:cubicBezTo>
                <a:cubicBezTo>
                  <a:pt x="10464914" y="1545243"/>
                  <a:pt x="10461104" y="1550952"/>
                  <a:pt x="10455389" y="1554759"/>
                </a:cubicBezTo>
                <a:cubicBezTo>
                  <a:pt x="10455389" y="1554759"/>
                  <a:pt x="10455389" y="1554759"/>
                  <a:pt x="10123915" y="1821192"/>
                </a:cubicBezTo>
                <a:cubicBezTo>
                  <a:pt x="10114389" y="1828804"/>
                  <a:pt x="10099149" y="1826901"/>
                  <a:pt x="10091529" y="1817385"/>
                </a:cubicBezTo>
                <a:cubicBezTo>
                  <a:pt x="10083909" y="1807870"/>
                  <a:pt x="10085814" y="1792645"/>
                  <a:pt x="10095339" y="1785033"/>
                </a:cubicBezTo>
                <a:cubicBezTo>
                  <a:pt x="10095339" y="1785033"/>
                  <a:pt x="10095339" y="1785033"/>
                  <a:pt x="10428719" y="1520503"/>
                </a:cubicBezTo>
                <a:cubicBezTo>
                  <a:pt x="10433481" y="1516697"/>
                  <a:pt x="10439197" y="1515269"/>
                  <a:pt x="10444673" y="1515983"/>
                </a:cubicBezTo>
                <a:close/>
                <a:moveTo>
                  <a:pt x="8713305" y="1508547"/>
                </a:moveTo>
                <a:cubicBezTo>
                  <a:pt x="8719740" y="1509261"/>
                  <a:pt x="8725937" y="1512595"/>
                  <a:pt x="8730703" y="1518310"/>
                </a:cubicBezTo>
                <a:cubicBezTo>
                  <a:pt x="8732609" y="1524026"/>
                  <a:pt x="8734516" y="1529740"/>
                  <a:pt x="8734516" y="1533551"/>
                </a:cubicBezTo>
                <a:cubicBezTo>
                  <a:pt x="8734516" y="1543076"/>
                  <a:pt x="8730703" y="1550696"/>
                  <a:pt x="8724983" y="1554506"/>
                </a:cubicBezTo>
                <a:cubicBezTo>
                  <a:pt x="8724983" y="1554506"/>
                  <a:pt x="8724983" y="1554506"/>
                  <a:pt x="8391331" y="1802160"/>
                </a:cubicBezTo>
                <a:cubicBezTo>
                  <a:pt x="8379891" y="1809779"/>
                  <a:pt x="8362732" y="1807874"/>
                  <a:pt x="8355106" y="1796444"/>
                </a:cubicBezTo>
                <a:cubicBezTo>
                  <a:pt x="8345573" y="1785014"/>
                  <a:pt x="8349386" y="1769774"/>
                  <a:pt x="8360826" y="1760249"/>
                </a:cubicBezTo>
                <a:cubicBezTo>
                  <a:pt x="8360826" y="1760249"/>
                  <a:pt x="8360826" y="1760249"/>
                  <a:pt x="8694478" y="1514500"/>
                </a:cubicBezTo>
                <a:cubicBezTo>
                  <a:pt x="8700197" y="1509738"/>
                  <a:pt x="8706870" y="1507833"/>
                  <a:pt x="8713305" y="1508547"/>
                </a:cubicBezTo>
                <a:close/>
                <a:moveTo>
                  <a:pt x="11022911" y="1508523"/>
                </a:moveTo>
                <a:cubicBezTo>
                  <a:pt x="11029107" y="1509237"/>
                  <a:pt x="11034827" y="1512571"/>
                  <a:pt x="11038640" y="1518286"/>
                </a:cubicBezTo>
                <a:cubicBezTo>
                  <a:pt x="11042453" y="1524001"/>
                  <a:pt x="11044360" y="1529716"/>
                  <a:pt x="11044360" y="1533526"/>
                </a:cubicBezTo>
                <a:cubicBezTo>
                  <a:pt x="11044360" y="1543051"/>
                  <a:pt x="11040547" y="1550671"/>
                  <a:pt x="11034827" y="1554481"/>
                </a:cubicBezTo>
                <a:cubicBezTo>
                  <a:pt x="11034827" y="1554481"/>
                  <a:pt x="11034827" y="1554481"/>
                  <a:pt x="10701175" y="1802131"/>
                </a:cubicBezTo>
                <a:cubicBezTo>
                  <a:pt x="10689735" y="1809751"/>
                  <a:pt x="10672576" y="1807846"/>
                  <a:pt x="10664950" y="1796416"/>
                </a:cubicBezTo>
                <a:cubicBezTo>
                  <a:pt x="10655417" y="1784986"/>
                  <a:pt x="10659230" y="1769746"/>
                  <a:pt x="10670670" y="1760221"/>
                </a:cubicBezTo>
                <a:cubicBezTo>
                  <a:pt x="10670670" y="1760221"/>
                  <a:pt x="10670670" y="1760221"/>
                  <a:pt x="11004322" y="1514476"/>
                </a:cubicBezTo>
                <a:cubicBezTo>
                  <a:pt x="11010042" y="1509714"/>
                  <a:pt x="11016715" y="1507809"/>
                  <a:pt x="11022911" y="1508523"/>
                </a:cubicBezTo>
                <a:close/>
                <a:moveTo>
                  <a:pt x="8149812" y="1501800"/>
                </a:moveTo>
                <a:cubicBezTo>
                  <a:pt x="8156962" y="1503228"/>
                  <a:pt x="8163635" y="1507515"/>
                  <a:pt x="8168401" y="1514182"/>
                </a:cubicBezTo>
                <a:cubicBezTo>
                  <a:pt x="8172214" y="1519897"/>
                  <a:pt x="8174121" y="1525612"/>
                  <a:pt x="8174121" y="1531327"/>
                </a:cubicBezTo>
                <a:cubicBezTo>
                  <a:pt x="8174121" y="1540853"/>
                  <a:pt x="8168401" y="1548473"/>
                  <a:pt x="8160775" y="1554187"/>
                </a:cubicBezTo>
                <a:cubicBezTo>
                  <a:pt x="8160775" y="1554187"/>
                  <a:pt x="8160775" y="1554187"/>
                  <a:pt x="7825223" y="1782791"/>
                </a:cubicBezTo>
                <a:cubicBezTo>
                  <a:pt x="7811877" y="1792316"/>
                  <a:pt x="7794718" y="1788506"/>
                  <a:pt x="7785185" y="1775171"/>
                </a:cubicBezTo>
                <a:cubicBezTo>
                  <a:pt x="7775653" y="1761836"/>
                  <a:pt x="7779466" y="1744691"/>
                  <a:pt x="7792812" y="1735166"/>
                </a:cubicBezTo>
                <a:cubicBezTo>
                  <a:pt x="7792812" y="1735166"/>
                  <a:pt x="7792812" y="1735166"/>
                  <a:pt x="8128364" y="1506563"/>
                </a:cubicBezTo>
                <a:cubicBezTo>
                  <a:pt x="8135036" y="1501800"/>
                  <a:pt x="8142663" y="1500371"/>
                  <a:pt x="8149812" y="1501800"/>
                </a:cubicBezTo>
                <a:close/>
                <a:moveTo>
                  <a:pt x="11594174" y="1501795"/>
                </a:moveTo>
                <a:cubicBezTo>
                  <a:pt x="11601776" y="1503224"/>
                  <a:pt x="11608903" y="1507510"/>
                  <a:pt x="11613654" y="1514178"/>
                </a:cubicBezTo>
                <a:cubicBezTo>
                  <a:pt x="11615555" y="1519893"/>
                  <a:pt x="11617455" y="1525608"/>
                  <a:pt x="11617455" y="1531323"/>
                </a:cubicBezTo>
                <a:cubicBezTo>
                  <a:pt x="11617455" y="1540848"/>
                  <a:pt x="11613654" y="1548468"/>
                  <a:pt x="11606052" y="1554183"/>
                </a:cubicBezTo>
                <a:cubicBezTo>
                  <a:pt x="11606052" y="1554183"/>
                  <a:pt x="11606052" y="1554183"/>
                  <a:pt x="11271574" y="1782786"/>
                </a:cubicBezTo>
                <a:cubicBezTo>
                  <a:pt x="11258270" y="1792311"/>
                  <a:pt x="11239266" y="1788501"/>
                  <a:pt x="11231664" y="1775166"/>
                </a:cubicBezTo>
                <a:cubicBezTo>
                  <a:pt x="11222162" y="1761831"/>
                  <a:pt x="11225963" y="1744685"/>
                  <a:pt x="11239266" y="1735161"/>
                </a:cubicBezTo>
                <a:cubicBezTo>
                  <a:pt x="11239266" y="1735161"/>
                  <a:pt x="11239266" y="1735161"/>
                  <a:pt x="11571844" y="1506558"/>
                </a:cubicBezTo>
                <a:cubicBezTo>
                  <a:pt x="11578496" y="1501795"/>
                  <a:pt x="11586573" y="1500367"/>
                  <a:pt x="11594174" y="1501795"/>
                </a:cubicBezTo>
                <a:close/>
                <a:moveTo>
                  <a:pt x="12139750" y="1497031"/>
                </a:moveTo>
                <a:cubicBezTo>
                  <a:pt x="12139750" y="1497031"/>
                  <a:pt x="12139750" y="1497031"/>
                  <a:pt x="12139750" y="1573231"/>
                </a:cubicBezTo>
                <a:cubicBezTo>
                  <a:pt x="12139750" y="1573231"/>
                  <a:pt x="12139750" y="1573231"/>
                  <a:pt x="11834677" y="1763733"/>
                </a:cubicBezTo>
                <a:cubicBezTo>
                  <a:pt x="11819424" y="1773258"/>
                  <a:pt x="11798450" y="1769448"/>
                  <a:pt x="11788917" y="1754208"/>
                </a:cubicBezTo>
                <a:cubicBezTo>
                  <a:pt x="11779383" y="1738968"/>
                  <a:pt x="11785103" y="1719918"/>
                  <a:pt x="11800357" y="1710392"/>
                </a:cubicBezTo>
                <a:lnTo>
                  <a:pt x="12135937" y="1498936"/>
                </a:lnTo>
                <a:cubicBezTo>
                  <a:pt x="12137843" y="1498936"/>
                  <a:pt x="12137843" y="1498936"/>
                  <a:pt x="12139750" y="1497031"/>
                </a:cubicBezTo>
                <a:close/>
                <a:moveTo>
                  <a:pt x="7592412" y="1496614"/>
                </a:moveTo>
                <a:cubicBezTo>
                  <a:pt x="7600734" y="1498748"/>
                  <a:pt x="7608342" y="1503963"/>
                  <a:pt x="7613097" y="1511548"/>
                </a:cubicBezTo>
                <a:cubicBezTo>
                  <a:pt x="7616901" y="1517237"/>
                  <a:pt x="7616901" y="1522928"/>
                  <a:pt x="7616901" y="1528616"/>
                </a:cubicBezTo>
                <a:cubicBezTo>
                  <a:pt x="7616901" y="1539996"/>
                  <a:pt x="7611195" y="1549478"/>
                  <a:pt x="7601685" y="1555168"/>
                </a:cubicBezTo>
                <a:cubicBezTo>
                  <a:pt x="7601685" y="1555168"/>
                  <a:pt x="7601685" y="1555168"/>
                  <a:pt x="7266927" y="1763784"/>
                </a:cubicBezTo>
                <a:cubicBezTo>
                  <a:pt x="7251710" y="1773266"/>
                  <a:pt x="7232690" y="1769473"/>
                  <a:pt x="7223180" y="1754301"/>
                </a:cubicBezTo>
                <a:cubicBezTo>
                  <a:pt x="7213670" y="1739129"/>
                  <a:pt x="7217474" y="1720164"/>
                  <a:pt x="7232690" y="1710681"/>
                </a:cubicBezTo>
                <a:cubicBezTo>
                  <a:pt x="7232690" y="1710681"/>
                  <a:pt x="7232690" y="1710681"/>
                  <a:pt x="7567448" y="1500170"/>
                </a:cubicBezTo>
                <a:cubicBezTo>
                  <a:pt x="7575056" y="1495428"/>
                  <a:pt x="7584091" y="1494480"/>
                  <a:pt x="7592412" y="1496614"/>
                </a:cubicBezTo>
                <a:close/>
                <a:moveTo>
                  <a:pt x="7043429" y="1490543"/>
                </a:moveTo>
                <a:cubicBezTo>
                  <a:pt x="7052498" y="1492930"/>
                  <a:pt x="7060613" y="1498657"/>
                  <a:pt x="7065387" y="1507250"/>
                </a:cubicBezTo>
                <a:cubicBezTo>
                  <a:pt x="7069206" y="1512978"/>
                  <a:pt x="7069206" y="1518707"/>
                  <a:pt x="7069206" y="1524435"/>
                </a:cubicBezTo>
                <a:cubicBezTo>
                  <a:pt x="7069206" y="1537802"/>
                  <a:pt x="7063478" y="1549259"/>
                  <a:pt x="7052021" y="1554987"/>
                </a:cubicBezTo>
                <a:cubicBezTo>
                  <a:pt x="7052021" y="1554987"/>
                  <a:pt x="7052021" y="1554987"/>
                  <a:pt x="6714055" y="1747844"/>
                </a:cubicBezTo>
                <a:cubicBezTo>
                  <a:pt x="6696870" y="1757391"/>
                  <a:pt x="6675866" y="1751662"/>
                  <a:pt x="6664410" y="1734477"/>
                </a:cubicBezTo>
                <a:cubicBezTo>
                  <a:pt x="6654863" y="1717292"/>
                  <a:pt x="6660591" y="1694378"/>
                  <a:pt x="6677776" y="1684830"/>
                </a:cubicBezTo>
                <a:cubicBezTo>
                  <a:pt x="6677776" y="1684830"/>
                  <a:pt x="6677776" y="1684830"/>
                  <a:pt x="7015742" y="1493885"/>
                </a:cubicBezTo>
                <a:cubicBezTo>
                  <a:pt x="7024334" y="1489112"/>
                  <a:pt x="7034359" y="1488157"/>
                  <a:pt x="7043429" y="1490543"/>
                </a:cubicBezTo>
                <a:close/>
                <a:moveTo>
                  <a:pt x="6500175" y="1483801"/>
                </a:moveTo>
                <a:cubicBezTo>
                  <a:pt x="6509721" y="1486903"/>
                  <a:pt x="6518313" y="1493586"/>
                  <a:pt x="6524041" y="1503135"/>
                </a:cubicBezTo>
                <a:cubicBezTo>
                  <a:pt x="6525950" y="1508863"/>
                  <a:pt x="6527860" y="1514592"/>
                  <a:pt x="6527860" y="1520321"/>
                </a:cubicBezTo>
                <a:cubicBezTo>
                  <a:pt x="6527860" y="1535598"/>
                  <a:pt x="6520223" y="1548964"/>
                  <a:pt x="6506857" y="1554694"/>
                </a:cubicBezTo>
                <a:cubicBezTo>
                  <a:pt x="6506857" y="1554694"/>
                  <a:pt x="6506857" y="1554694"/>
                  <a:pt x="6166999" y="1728470"/>
                </a:cubicBezTo>
                <a:cubicBezTo>
                  <a:pt x="6147906" y="1739928"/>
                  <a:pt x="6124994" y="1732290"/>
                  <a:pt x="6113538" y="1711284"/>
                </a:cubicBezTo>
                <a:cubicBezTo>
                  <a:pt x="6103992" y="1692188"/>
                  <a:pt x="6111629" y="1669272"/>
                  <a:pt x="6130722" y="1659723"/>
                </a:cubicBezTo>
                <a:cubicBezTo>
                  <a:pt x="6130722" y="1659723"/>
                  <a:pt x="6130722" y="1659723"/>
                  <a:pt x="6470580" y="1485949"/>
                </a:cubicBezTo>
                <a:cubicBezTo>
                  <a:pt x="6480127" y="1481174"/>
                  <a:pt x="6490628" y="1480697"/>
                  <a:pt x="6500175" y="1483801"/>
                </a:cubicBezTo>
                <a:close/>
                <a:moveTo>
                  <a:pt x="5958440" y="1477068"/>
                </a:moveTo>
                <a:cubicBezTo>
                  <a:pt x="5968909" y="1480892"/>
                  <a:pt x="5977952" y="1488540"/>
                  <a:pt x="5982710" y="1499058"/>
                </a:cubicBezTo>
                <a:cubicBezTo>
                  <a:pt x="5984614" y="1504795"/>
                  <a:pt x="5986518" y="1510530"/>
                  <a:pt x="5986518" y="1516267"/>
                </a:cubicBezTo>
                <a:cubicBezTo>
                  <a:pt x="5986518" y="1533477"/>
                  <a:pt x="5977000" y="1548776"/>
                  <a:pt x="5961771" y="1556424"/>
                </a:cubicBezTo>
                <a:cubicBezTo>
                  <a:pt x="5961771" y="1556424"/>
                  <a:pt x="5961771" y="1556424"/>
                  <a:pt x="5622934" y="1711317"/>
                </a:cubicBezTo>
                <a:cubicBezTo>
                  <a:pt x="5600091" y="1720877"/>
                  <a:pt x="5575344" y="1711317"/>
                  <a:pt x="5565827" y="1690282"/>
                </a:cubicBezTo>
                <a:cubicBezTo>
                  <a:pt x="5556309" y="1669247"/>
                  <a:pt x="5565827" y="1644387"/>
                  <a:pt x="5586767" y="1632914"/>
                </a:cubicBezTo>
                <a:cubicBezTo>
                  <a:pt x="5586767" y="1632914"/>
                  <a:pt x="5586767" y="1632914"/>
                  <a:pt x="5925602" y="1478023"/>
                </a:cubicBezTo>
                <a:cubicBezTo>
                  <a:pt x="5936072" y="1473242"/>
                  <a:pt x="5947970" y="1473242"/>
                  <a:pt x="5958440" y="1477068"/>
                </a:cubicBezTo>
                <a:close/>
                <a:moveTo>
                  <a:pt x="398249" y="1477059"/>
                </a:moveTo>
                <a:cubicBezTo>
                  <a:pt x="408480" y="1480882"/>
                  <a:pt x="417523" y="1488532"/>
                  <a:pt x="423234" y="1499048"/>
                </a:cubicBezTo>
                <a:cubicBezTo>
                  <a:pt x="425137" y="1504785"/>
                  <a:pt x="427041" y="1510522"/>
                  <a:pt x="427041" y="1516259"/>
                </a:cubicBezTo>
                <a:cubicBezTo>
                  <a:pt x="427041" y="1533468"/>
                  <a:pt x="417523" y="1548766"/>
                  <a:pt x="402294" y="1556416"/>
                </a:cubicBezTo>
                <a:cubicBezTo>
                  <a:pt x="402294" y="1556416"/>
                  <a:pt x="402294" y="1556416"/>
                  <a:pt x="61547" y="1711307"/>
                </a:cubicBezTo>
                <a:cubicBezTo>
                  <a:pt x="40607" y="1720868"/>
                  <a:pt x="15860" y="1711307"/>
                  <a:pt x="6342" y="1690272"/>
                </a:cubicBezTo>
                <a:cubicBezTo>
                  <a:pt x="-3176" y="1669237"/>
                  <a:pt x="6342" y="1644378"/>
                  <a:pt x="27282" y="1632905"/>
                </a:cubicBezTo>
                <a:cubicBezTo>
                  <a:pt x="27282" y="1632905"/>
                  <a:pt x="27282" y="1632905"/>
                  <a:pt x="366125" y="1478015"/>
                </a:cubicBezTo>
                <a:cubicBezTo>
                  <a:pt x="376595" y="1473234"/>
                  <a:pt x="388017" y="1473234"/>
                  <a:pt x="398249" y="1477059"/>
                </a:cubicBezTo>
                <a:close/>
                <a:moveTo>
                  <a:pt x="5394603" y="1468287"/>
                </a:moveTo>
                <a:cubicBezTo>
                  <a:pt x="5412999" y="1468643"/>
                  <a:pt x="5429787" y="1479687"/>
                  <a:pt x="5436930" y="1498212"/>
                </a:cubicBezTo>
                <a:cubicBezTo>
                  <a:pt x="5438835" y="1503912"/>
                  <a:pt x="5438835" y="1509612"/>
                  <a:pt x="5438835" y="1515311"/>
                </a:cubicBezTo>
                <a:cubicBezTo>
                  <a:pt x="5438835" y="1532412"/>
                  <a:pt x="5429310" y="1549512"/>
                  <a:pt x="5410261" y="1557113"/>
                </a:cubicBezTo>
                <a:cubicBezTo>
                  <a:pt x="5410261" y="1557113"/>
                  <a:pt x="5410261" y="1557113"/>
                  <a:pt x="5069259" y="1693914"/>
                </a:cubicBezTo>
                <a:cubicBezTo>
                  <a:pt x="5046402" y="1703415"/>
                  <a:pt x="5019733" y="1692015"/>
                  <a:pt x="5010210" y="1667314"/>
                </a:cubicBezTo>
                <a:cubicBezTo>
                  <a:pt x="5000687" y="1644513"/>
                  <a:pt x="5012115" y="1617913"/>
                  <a:pt x="5036877" y="1608413"/>
                </a:cubicBezTo>
                <a:cubicBezTo>
                  <a:pt x="5036877" y="1608413"/>
                  <a:pt x="5036877" y="1608413"/>
                  <a:pt x="5375970" y="1471613"/>
                </a:cubicBezTo>
                <a:cubicBezTo>
                  <a:pt x="5382162" y="1469237"/>
                  <a:pt x="5388472" y="1468168"/>
                  <a:pt x="5394603" y="1468287"/>
                </a:cubicBezTo>
                <a:close/>
                <a:moveTo>
                  <a:pt x="929397" y="1468276"/>
                </a:moveTo>
                <a:cubicBezTo>
                  <a:pt x="946989" y="1468632"/>
                  <a:pt x="963777" y="1479676"/>
                  <a:pt x="970920" y="1498200"/>
                </a:cubicBezTo>
                <a:cubicBezTo>
                  <a:pt x="972826" y="1503900"/>
                  <a:pt x="974730" y="1509601"/>
                  <a:pt x="974730" y="1515301"/>
                </a:cubicBezTo>
                <a:cubicBezTo>
                  <a:pt x="974730" y="1532401"/>
                  <a:pt x="963300" y="1549501"/>
                  <a:pt x="946155" y="1557101"/>
                </a:cubicBezTo>
                <a:cubicBezTo>
                  <a:pt x="946155" y="1557101"/>
                  <a:pt x="946155" y="1557101"/>
                  <a:pt x="605156" y="1693902"/>
                </a:cubicBezTo>
                <a:cubicBezTo>
                  <a:pt x="580391" y="1703402"/>
                  <a:pt x="553721" y="1692002"/>
                  <a:pt x="546100" y="1667301"/>
                </a:cubicBezTo>
                <a:cubicBezTo>
                  <a:pt x="536576" y="1644501"/>
                  <a:pt x="548005" y="1617901"/>
                  <a:pt x="570866" y="1608401"/>
                </a:cubicBezTo>
                <a:cubicBezTo>
                  <a:pt x="570866" y="1608401"/>
                  <a:pt x="570866" y="1608401"/>
                  <a:pt x="911865" y="1471601"/>
                </a:cubicBezTo>
                <a:cubicBezTo>
                  <a:pt x="917580" y="1469226"/>
                  <a:pt x="923533" y="1468157"/>
                  <a:pt x="929397" y="1468276"/>
                </a:cubicBezTo>
                <a:close/>
                <a:moveTo>
                  <a:pt x="4844457" y="1461448"/>
                </a:moveTo>
                <a:cubicBezTo>
                  <a:pt x="4864107" y="1463144"/>
                  <a:pt x="4881610" y="1475289"/>
                  <a:pt x="4887326" y="1493862"/>
                </a:cubicBezTo>
                <a:cubicBezTo>
                  <a:pt x="4889232" y="1499576"/>
                  <a:pt x="4891138" y="1505292"/>
                  <a:pt x="4891138" y="1511006"/>
                </a:cubicBezTo>
                <a:cubicBezTo>
                  <a:pt x="4891138" y="1531962"/>
                  <a:pt x="4877800" y="1551012"/>
                  <a:pt x="4856840" y="1556728"/>
                </a:cubicBezTo>
                <a:cubicBezTo>
                  <a:pt x="4856840" y="1556728"/>
                  <a:pt x="4856840" y="1556728"/>
                  <a:pt x="4515847" y="1674839"/>
                </a:cubicBezTo>
                <a:cubicBezTo>
                  <a:pt x="4489179" y="1684364"/>
                  <a:pt x="4462507" y="1671029"/>
                  <a:pt x="4452982" y="1644358"/>
                </a:cubicBezTo>
                <a:cubicBezTo>
                  <a:pt x="4443457" y="1619593"/>
                  <a:pt x="4456792" y="1591017"/>
                  <a:pt x="4483463" y="1583397"/>
                </a:cubicBezTo>
                <a:cubicBezTo>
                  <a:pt x="4483463" y="1583397"/>
                  <a:pt x="4483463" y="1583397"/>
                  <a:pt x="4824450" y="1463382"/>
                </a:cubicBezTo>
                <a:cubicBezTo>
                  <a:pt x="4831119" y="1461477"/>
                  <a:pt x="4837908" y="1460882"/>
                  <a:pt x="4844457" y="1461448"/>
                </a:cubicBezTo>
                <a:close/>
                <a:moveTo>
                  <a:pt x="1479724" y="1461434"/>
                </a:moveTo>
                <a:cubicBezTo>
                  <a:pt x="1498668" y="1463130"/>
                  <a:pt x="1516541" y="1475275"/>
                  <a:pt x="1523689" y="1493848"/>
                </a:cubicBezTo>
                <a:cubicBezTo>
                  <a:pt x="1525596" y="1499564"/>
                  <a:pt x="1525596" y="1505278"/>
                  <a:pt x="1525596" y="1510993"/>
                </a:cubicBezTo>
                <a:cubicBezTo>
                  <a:pt x="1525596" y="1531948"/>
                  <a:pt x="1512251" y="1550999"/>
                  <a:pt x="1493187" y="1556713"/>
                </a:cubicBezTo>
                <a:cubicBezTo>
                  <a:pt x="1493187" y="1556713"/>
                  <a:pt x="1493187" y="1556713"/>
                  <a:pt x="1150039" y="1674825"/>
                </a:cubicBezTo>
                <a:cubicBezTo>
                  <a:pt x="1125256" y="1684349"/>
                  <a:pt x="1096660" y="1671014"/>
                  <a:pt x="1089034" y="1644344"/>
                </a:cubicBezTo>
                <a:cubicBezTo>
                  <a:pt x="1079503" y="1619579"/>
                  <a:pt x="1092847" y="1591004"/>
                  <a:pt x="1117630" y="1583384"/>
                </a:cubicBezTo>
                <a:cubicBezTo>
                  <a:pt x="1117630" y="1583384"/>
                  <a:pt x="1117630" y="1583384"/>
                  <a:pt x="1460779" y="1463368"/>
                </a:cubicBezTo>
                <a:cubicBezTo>
                  <a:pt x="1466975" y="1461464"/>
                  <a:pt x="1473409" y="1460868"/>
                  <a:pt x="1479724" y="1461434"/>
                </a:cubicBezTo>
                <a:close/>
                <a:moveTo>
                  <a:pt x="4287991" y="1454950"/>
                </a:moveTo>
                <a:cubicBezTo>
                  <a:pt x="4308456" y="1457007"/>
                  <a:pt x="4325971" y="1471672"/>
                  <a:pt x="4331690" y="1491704"/>
                </a:cubicBezTo>
                <a:cubicBezTo>
                  <a:pt x="4333596" y="1497427"/>
                  <a:pt x="4335502" y="1501243"/>
                  <a:pt x="4335502" y="1506966"/>
                </a:cubicBezTo>
                <a:cubicBezTo>
                  <a:pt x="4335502" y="1529859"/>
                  <a:pt x="4320252" y="1550846"/>
                  <a:pt x="4297375" y="1558477"/>
                </a:cubicBezTo>
                <a:cubicBezTo>
                  <a:pt x="4297375" y="1558477"/>
                  <a:pt x="4297375" y="1558477"/>
                  <a:pt x="3954252" y="1657683"/>
                </a:cubicBezTo>
                <a:cubicBezTo>
                  <a:pt x="3925655" y="1665315"/>
                  <a:pt x="3897059" y="1650053"/>
                  <a:pt x="3887526" y="1621435"/>
                </a:cubicBezTo>
                <a:cubicBezTo>
                  <a:pt x="3879900" y="1594725"/>
                  <a:pt x="3897059" y="1564200"/>
                  <a:pt x="3923748" y="1556569"/>
                </a:cubicBezTo>
                <a:cubicBezTo>
                  <a:pt x="3923748" y="1556569"/>
                  <a:pt x="3923748" y="1556569"/>
                  <a:pt x="4266871" y="1457365"/>
                </a:cubicBezTo>
                <a:cubicBezTo>
                  <a:pt x="4274021" y="1454981"/>
                  <a:pt x="4281169" y="1454264"/>
                  <a:pt x="4287991" y="1454950"/>
                </a:cubicBezTo>
                <a:close/>
                <a:moveTo>
                  <a:pt x="2034947" y="1454934"/>
                </a:moveTo>
                <a:cubicBezTo>
                  <a:pt x="2055090" y="1456991"/>
                  <a:pt x="2073625" y="1471657"/>
                  <a:pt x="2079328" y="1491688"/>
                </a:cubicBezTo>
                <a:cubicBezTo>
                  <a:pt x="2081229" y="1497412"/>
                  <a:pt x="2081229" y="1501227"/>
                  <a:pt x="2081229" y="1506950"/>
                </a:cubicBezTo>
                <a:cubicBezTo>
                  <a:pt x="2081229" y="1529844"/>
                  <a:pt x="2066020" y="1550830"/>
                  <a:pt x="2043205" y="1558461"/>
                </a:cubicBezTo>
                <a:cubicBezTo>
                  <a:pt x="2043205" y="1558461"/>
                  <a:pt x="2043205" y="1558461"/>
                  <a:pt x="1701020" y="1657667"/>
                </a:cubicBezTo>
                <a:cubicBezTo>
                  <a:pt x="1672505" y="1665298"/>
                  <a:pt x="1643989" y="1650035"/>
                  <a:pt x="1636385" y="1621418"/>
                </a:cubicBezTo>
                <a:cubicBezTo>
                  <a:pt x="1628781" y="1594709"/>
                  <a:pt x="1643989" y="1564184"/>
                  <a:pt x="1672505" y="1556553"/>
                </a:cubicBezTo>
                <a:cubicBezTo>
                  <a:pt x="1672505" y="1556553"/>
                  <a:pt x="1672505" y="1556553"/>
                  <a:pt x="2014689" y="1457348"/>
                </a:cubicBezTo>
                <a:cubicBezTo>
                  <a:pt x="2021343" y="1454963"/>
                  <a:pt x="2028234" y="1454248"/>
                  <a:pt x="2034947" y="1454934"/>
                </a:cubicBezTo>
                <a:close/>
                <a:moveTo>
                  <a:pt x="3729077" y="1449679"/>
                </a:moveTo>
                <a:cubicBezTo>
                  <a:pt x="3750749" y="1453151"/>
                  <a:pt x="3768940" y="1469174"/>
                  <a:pt x="3773220" y="1490538"/>
                </a:cubicBezTo>
                <a:cubicBezTo>
                  <a:pt x="3775123" y="1496235"/>
                  <a:pt x="3775123" y="1500034"/>
                  <a:pt x="3775123" y="1503831"/>
                </a:cubicBezTo>
                <a:cubicBezTo>
                  <a:pt x="3775123" y="1528519"/>
                  <a:pt x="3758001" y="1553208"/>
                  <a:pt x="3733267" y="1558905"/>
                </a:cubicBezTo>
                <a:cubicBezTo>
                  <a:pt x="3733267" y="1558905"/>
                  <a:pt x="3733267" y="1558905"/>
                  <a:pt x="3388946" y="1638666"/>
                </a:cubicBezTo>
                <a:cubicBezTo>
                  <a:pt x="3358507" y="1646263"/>
                  <a:pt x="3328069" y="1627272"/>
                  <a:pt x="3322361" y="1598786"/>
                </a:cubicBezTo>
                <a:cubicBezTo>
                  <a:pt x="3314753" y="1568400"/>
                  <a:pt x="3333777" y="1538015"/>
                  <a:pt x="3362311" y="1530418"/>
                </a:cubicBezTo>
                <a:cubicBezTo>
                  <a:pt x="3362311" y="1530418"/>
                  <a:pt x="3362311" y="1530418"/>
                  <a:pt x="3706634" y="1450658"/>
                </a:cubicBezTo>
                <a:cubicBezTo>
                  <a:pt x="3714241" y="1448760"/>
                  <a:pt x="3721853" y="1448522"/>
                  <a:pt x="3729077" y="1449679"/>
                </a:cubicBezTo>
                <a:close/>
                <a:moveTo>
                  <a:pt x="2595306" y="1449661"/>
                </a:moveTo>
                <a:cubicBezTo>
                  <a:pt x="2616529" y="1453133"/>
                  <a:pt x="2634008" y="1469156"/>
                  <a:pt x="2639715" y="1490520"/>
                </a:cubicBezTo>
                <a:cubicBezTo>
                  <a:pt x="2641617" y="1496217"/>
                  <a:pt x="2641617" y="1500015"/>
                  <a:pt x="2641617" y="1503814"/>
                </a:cubicBezTo>
                <a:cubicBezTo>
                  <a:pt x="2641617" y="1528502"/>
                  <a:pt x="2624496" y="1553189"/>
                  <a:pt x="2597862" y="1558887"/>
                </a:cubicBezTo>
                <a:cubicBezTo>
                  <a:pt x="2597862" y="1558887"/>
                  <a:pt x="2597862" y="1558887"/>
                  <a:pt x="2255431" y="1638648"/>
                </a:cubicBezTo>
                <a:cubicBezTo>
                  <a:pt x="2224993" y="1646244"/>
                  <a:pt x="2194554" y="1627253"/>
                  <a:pt x="2188847" y="1598767"/>
                </a:cubicBezTo>
                <a:cubicBezTo>
                  <a:pt x="2181237" y="1568382"/>
                  <a:pt x="2200262" y="1537997"/>
                  <a:pt x="2228797" y="1530401"/>
                </a:cubicBezTo>
                <a:cubicBezTo>
                  <a:pt x="2228797" y="1530401"/>
                  <a:pt x="2228797" y="1530401"/>
                  <a:pt x="2573131" y="1450640"/>
                </a:cubicBezTo>
                <a:cubicBezTo>
                  <a:pt x="2580741" y="1448741"/>
                  <a:pt x="2588231" y="1448503"/>
                  <a:pt x="2595306" y="1449661"/>
                </a:cubicBezTo>
                <a:close/>
                <a:moveTo>
                  <a:pt x="3137756" y="1442427"/>
                </a:moveTo>
                <a:cubicBezTo>
                  <a:pt x="3170206" y="1436712"/>
                  <a:pt x="3200750" y="1457667"/>
                  <a:pt x="3206475" y="1490052"/>
                </a:cubicBezTo>
                <a:cubicBezTo>
                  <a:pt x="3206475" y="1493862"/>
                  <a:pt x="3208386" y="1497671"/>
                  <a:pt x="3208386" y="1499576"/>
                </a:cubicBezTo>
                <a:cubicBezTo>
                  <a:pt x="3208386" y="1528151"/>
                  <a:pt x="3187388" y="1552917"/>
                  <a:pt x="3158755" y="1558632"/>
                </a:cubicBezTo>
                <a:cubicBezTo>
                  <a:pt x="3158755" y="1558632"/>
                  <a:pt x="3158755" y="1558632"/>
                  <a:pt x="2813246" y="1621498"/>
                </a:cubicBezTo>
                <a:cubicBezTo>
                  <a:pt x="2780795" y="1627213"/>
                  <a:pt x="2750253" y="1606257"/>
                  <a:pt x="2744525" y="1573872"/>
                </a:cubicBezTo>
                <a:cubicBezTo>
                  <a:pt x="2736892" y="1541486"/>
                  <a:pt x="2759797" y="1511006"/>
                  <a:pt x="2792248" y="1505291"/>
                </a:cubicBezTo>
                <a:cubicBezTo>
                  <a:pt x="2792248" y="1505291"/>
                  <a:pt x="2792248" y="1505291"/>
                  <a:pt x="3137756" y="1442427"/>
                </a:cubicBezTo>
                <a:close/>
                <a:moveTo>
                  <a:pt x="9860829" y="1204612"/>
                </a:moveTo>
                <a:cubicBezTo>
                  <a:pt x="9866293" y="1205090"/>
                  <a:pt x="9871519" y="1207481"/>
                  <a:pt x="9875319" y="1211306"/>
                </a:cubicBezTo>
                <a:cubicBezTo>
                  <a:pt x="9879119" y="1217044"/>
                  <a:pt x="9879119" y="1220870"/>
                  <a:pt x="9879119" y="1226607"/>
                </a:cubicBezTo>
                <a:cubicBezTo>
                  <a:pt x="9879119" y="1232345"/>
                  <a:pt x="9877219" y="1238083"/>
                  <a:pt x="9871518" y="1243820"/>
                </a:cubicBezTo>
                <a:cubicBezTo>
                  <a:pt x="9871518" y="1243820"/>
                  <a:pt x="9871518" y="1243820"/>
                  <a:pt x="9540880" y="1511592"/>
                </a:cubicBezTo>
                <a:cubicBezTo>
                  <a:pt x="9531379" y="1519243"/>
                  <a:pt x="9518078" y="1519243"/>
                  <a:pt x="9510477" y="1509680"/>
                </a:cubicBezTo>
                <a:cubicBezTo>
                  <a:pt x="9502876" y="1500116"/>
                  <a:pt x="9504776" y="1486728"/>
                  <a:pt x="9514277" y="1479077"/>
                </a:cubicBezTo>
                <a:cubicBezTo>
                  <a:pt x="9514277" y="1479077"/>
                  <a:pt x="9514277" y="1479077"/>
                  <a:pt x="9844915" y="1209393"/>
                </a:cubicBezTo>
                <a:cubicBezTo>
                  <a:pt x="9849665" y="1205568"/>
                  <a:pt x="9855366" y="1204134"/>
                  <a:pt x="9860829" y="1204612"/>
                </a:cubicBezTo>
                <a:close/>
                <a:moveTo>
                  <a:pt x="9284557" y="1198509"/>
                </a:moveTo>
                <a:cubicBezTo>
                  <a:pt x="9290758" y="1199223"/>
                  <a:pt x="9296482" y="1202078"/>
                  <a:pt x="9300299" y="1206835"/>
                </a:cubicBezTo>
                <a:cubicBezTo>
                  <a:pt x="9304115" y="1212544"/>
                  <a:pt x="9306023" y="1216350"/>
                  <a:pt x="9306023" y="1222058"/>
                </a:cubicBezTo>
                <a:cubicBezTo>
                  <a:pt x="9306023" y="1229668"/>
                  <a:pt x="9302207" y="1237280"/>
                  <a:pt x="9296482" y="1242988"/>
                </a:cubicBezTo>
                <a:cubicBezTo>
                  <a:pt x="9296482" y="1242988"/>
                  <a:pt x="9296482" y="1242988"/>
                  <a:pt x="8962556" y="1494190"/>
                </a:cubicBezTo>
                <a:cubicBezTo>
                  <a:pt x="8951107" y="1501802"/>
                  <a:pt x="8935841" y="1499899"/>
                  <a:pt x="8928209" y="1490384"/>
                </a:cubicBezTo>
                <a:cubicBezTo>
                  <a:pt x="8918668" y="1478966"/>
                  <a:pt x="8920576" y="1463742"/>
                  <a:pt x="8932025" y="1454228"/>
                </a:cubicBezTo>
                <a:cubicBezTo>
                  <a:pt x="8932025" y="1454228"/>
                  <a:pt x="8932025" y="1454228"/>
                  <a:pt x="9265952" y="1203029"/>
                </a:cubicBezTo>
                <a:cubicBezTo>
                  <a:pt x="9271677" y="1199223"/>
                  <a:pt x="9278355" y="1197796"/>
                  <a:pt x="9284557" y="1198509"/>
                </a:cubicBezTo>
                <a:close/>
                <a:moveTo>
                  <a:pt x="10445106" y="1198483"/>
                </a:moveTo>
                <a:cubicBezTo>
                  <a:pt x="10451287" y="1199197"/>
                  <a:pt x="10456992" y="1202051"/>
                  <a:pt x="10460796" y="1206809"/>
                </a:cubicBezTo>
                <a:cubicBezTo>
                  <a:pt x="10464600" y="1212518"/>
                  <a:pt x="10466502" y="1216324"/>
                  <a:pt x="10466502" y="1222033"/>
                </a:cubicBezTo>
                <a:cubicBezTo>
                  <a:pt x="10466502" y="1229645"/>
                  <a:pt x="10462698" y="1237258"/>
                  <a:pt x="10456993" y="1242967"/>
                </a:cubicBezTo>
                <a:cubicBezTo>
                  <a:pt x="10456993" y="1242967"/>
                  <a:pt x="10456993" y="1242967"/>
                  <a:pt x="10124163" y="1494166"/>
                </a:cubicBezTo>
                <a:cubicBezTo>
                  <a:pt x="10112752" y="1501779"/>
                  <a:pt x="10097537" y="1499876"/>
                  <a:pt x="10089930" y="1490360"/>
                </a:cubicBezTo>
                <a:cubicBezTo>
                  <a:pt x="10082322" y="1478942"/>
                  <a:pt x="10084224" y="1463718"/>
                  <a:pt x="10093733" y="1454203"/>
                </a:cubicBezTo>
                <a:cubicBezTo>
                  <a:pt x="10093733" y="1454203"/>
                  <a:pt x="10093733" y="1454203"/>
                  <a:pt x="10426563" y="1203003"/>
                </a:cubicBezTo>
                <a:cubicBezTo>
                  <a:pt x="10432268" y="1199197"/>
                  <a:pt x="10438925" y="1197769"/>
                  <a:pt x="10445106" y="1198483"/>
                </a:cubicBezTo>
                <a:close/>
                <a:moveTo>
                  <a:pt x="8713976" y="1190406"/>
                </a:moveTo>
                <a:cubicBezTo>
                  <a:pt x="8720876" y="1191594"/>
                  <a:pt x="8727539" y="1195396"/>
                  <a:pt x="8732297" y="1201099"/>
                </a:cubicBezTo>
                <a:cubicBezTo>
                  <a:pt x="8736104" y="1206803"/>
                  <a:pt x="8736104" y="1212505"/>
                  <a:pt x="8736104" y="1218208"/>
                </a:cubicBezTo>
                <a:cubicBezTo>
                  <a:pt x="8736104" y="1225809"/>
                  <a:pt x="8732297" y="1235312"/>
                  <a:pt x="8724683" y="1241015"/>
                </a:cubicBezTo>
                <a:cubicBezTo>
                  <a:pt x="8724683" y="1241015"/>
                  <a:pt x="8724683" y="1241015"/>
                  <a:pt x="8391573" y="1476736"/>
                </a:cubicBezTo>
                <a:cubicBezTo>
                  <a:pt x="8378249" y="1484339"/>
                  <a:pt x="8361117" y="1482438"/>
                  <a:pt x="8353503" y="1469132"/>
                </a:cubicBezTo>
                <a:cubicBezTo>
                  <a:pt x="8343986" y="1457727"/>
                  <a:pt x="8347793" y="1440617"/>
                  <a:pt x="8359214" y="1431112"/>
                </a:cubicBezTo>
                <a:cubicBezTo>
                  <a:pt x="8359214" y="1431112"/>
                  <a:pt x="8359214" y="1431112"/>
                  <a:pt x="8694227" y="1195396"/>
                </a:cubicBezTo>
                <a:cubicBezTo>
                  <a:pt x="8699937" y="1190644"/>
                  <a:pt x="8707076" y="1189218"/>
                  <a:pt x="8713976" y="1190406"/>
                </a:cubicBezTo>
                <a:close/>
                <a:moveTo>
                  <a:pt x="11023582" y="1190378"/>
                </a:moveTo>
                <a:cubicBezTo>
                  <a:pt x="11030720" y="1191566"/>
                  <a:pt x="11037382" y="1195368"/>
                  <a:pt x="11042141" y="1201071"/>
                </a:cubicBezTo>
                <a:cubicBezTo>
                  <a:pt x="11044045" y="1206774"/>
                  <a:pt x="11045948" y="1212477"/>
                  <a:pt x="11045948" y="1218180"/>
                </a:cubicBezTo>
                <a:cubicBezTo>
                  <a:pt x="11045948" y="1225783"/>
                  <a:pt x="11042141" y="1235288"/>
                  <a:pt x="11034527" y="1240991"/>
                </a:cubicBezTo>
                <a:cubicBezTo>
                  <a:pt x="11034527" y="1240991"/>
                  <a:pt x="11034527" y="1240991"/>
                  <a:pt x="10701417" y="1476710"/>
                </a:cubicBezTo>
                <a:cubicBezTo>
                  <a:pt x="10688093" y="1484313"/>
                  <a:pt x="10670961" y="1482412"/>
                  <a:pt x="10663347" y="1469106"/>
                </a:cubicBezTo>
                <a:cubicBezTo>
                  <a:pt x="10653830" y="1457700"/>
                  <a:pt x="10655733" y="1440591"/>
                  <a:pt x="10669058" y="1431087"/>
                </a:cubicBezTo>
                <a:cubicBezTo>
                  <a:pt x="10669058" y="1431087"/>
                  <a:pt x="10669058" y="1431087"/>
                  <a:pt x="11002168" y="1195368"/>
                </a:cubicBezTo>
                <a:cubicBezTo>
                  <a:pt x="11008830" y="1190616"/>
                  <a:pt x="11016444" y="1189190"/>
                  <a:pt x="11023582" y="1190378"/>
                </a:cubicBezTo>
                <a:close/>
                <a:moveTo>
                  <a:pt x="8150486" y="1182942"/>
                </a:moveTo>
                <a:cubicBezTo>
                  <a:pt x="8158100" y="1184606"/>
                  <a:pt x="8165239" y="1189358"/>
                  <a:pt x="8169997" y="1196960"/>
                </a:cubicBezTo>
                <a:cubicBezTo>
                  <a:pt x="8173804" y="1200763"/>
                  <a:pt x="8175708" y="1206467"/>
                  <a:pt x="8175708" y="1212168"/>
                </a:cubicBezTo>
                <a:cubicBezTo>
                  <a:pt x="8175708" y="1223571"/>
                  <a:pt x="8169997" y="1233074"/>
                  <a:pt x="8160480" y="1238776"/>
                </a:cubicBezTo>
                <a:cubicBezTo>
                  <a:pt x="8160480" y="1238776"/>
                  <a:pt x="8160480" y="1238776"/>
                  <a:pt x="7825460" y="1457373"/>
                </a:cubicBezTo>
                <a:cubicBezTo>
                  <a:pt x="7812135" y="1466876"/>
                  <a:pt x="7793100" y="1463074"/>
                  <a:pt x="7783582" y="1449769"/>
                </a:cubicBezTo>
                <a:cubicBezTo>
                  <a:pt x="7774065" y="1434562"/>
                  <a:pt x="7777872" y="1415556"/>
                  <a:pt x="7793100" y="1407952"/>
                </a:cubicBezTo>
                <a:cubicBezTo>
                  <a:pt x="7793100" y="1407952"/>
                  <a:pt x="7793100" y="1407952"/>
                  <a:pt x="8128120" y="1187458"/>
                </a:cubicBezTo>
                <a:cubicBezTo>
                  <a:pt x="8134782" y="1182705"/>
                  <a:pt x="8142872" y="1181279"/>
                  <a:pt x="8150486" y="1182942"/>
                </a:cubicBezTo>
                <a:close/>
                <a:moveTo>
                  <a:pt x="11595229" y="1182937"/>
                </a:moveTo>
                <a:cubicBezTo>
                  <a:pt x="11602849" y="1184600"/>
                  <a:pt x="11609517" y="1189352"/>
                  <a:pt x="11613327" y="1196955"/>
                </a:cubicBezTo>
                <a:cubicBezTo>
                  <a:pt x="11617137" y="1200757"/>
                  <a:pt x="11619042" y="1206459"/>
                  <a:pt x="11619042" y="1212161"/>
                </a:cubicBezTo>
                <a:cubicBezTo>
                  <a:pt x="11619042" y="1223565"/>
                  <a:pt x="11615232" y="1233069"/>
                  <a:pt x="11605707" y="1238770"/>
                </a:cubicBezTo>
                <a:cubicBezTo>
                  <a:pt x="11605707" y="1238770"/>
                  <a:pt x="11605707" y="1238770"/>
                  <a:pt x="11270423" y="1457367"/>
                </a:cubicBezTo>
                <a:cubicBezTo>
                  <a:pt x="11257087" y="1466870"/>
                  <a:pt x="11238037" y="1463069"/>
                  <a:pt x="11228512" y="1449763"/>
                </a:cubicBezTo>
                <a:cubicBezTo>
                  <a:pt x="11218987" y="1434556"/>
                  <a:pt x="11222797" y="1415549"/>
                  <a:pt x="11236132" y="1407946"/>
                </a:cubicBezTo>
                <a:cubicBezTo>
                  <a:pt x="11236132" y="1407946"/>
                  <a:pt x="11236132" y="1407946"/>
                  <a:pt x="11571416" y="1187451"/>
                </a:cubicBezTo>
                <a:cubicBezTo>
                  <a:pt x="11579036" y="1182699"/>
                  <a:pt x="11587609" y="1181273"/>
                  <a:pt x="11595229" y="1182937"/>
                </a:cubicBezTo>
                <a:close/>
                <a:moveTo>
                  <a:pt x="12139750" y="1177944"/>
                </a:moveTo>
                <a:cubicBezTo>
                  <a:pt x="12139750" y="1177944"/>
                  <a:pt x="12139750" y="1177944"/>
                  <a:pt x="12139750" y="1255774"/>
                </a:cubicBezTo>
                <a:cubicBezTo>
                  <a:pt x="12139750" y="1255774"/>
                  <a:pt x="12139750" y="1255774"/>
                  <a:pt x="11834677" y="1439913"/>
                </a:cubicBezTo>
                <a:cubicBezTo>
                  <a:pt x="11817517" y="1449407"/>
                  <a:pt x="11798450" y="1445609"/>
                  <a:pt x="11788917" y="1428524"/>
                </a:cubicBezTo>
                <a:cubicBezTo>
                  <a:pt x="11779383" y="1413338"/>
                  <a:pt x="11783196" y="1392456"/>
                  <a:pt x="11798450" y="1382965"/>
                </a:cubicBezTo>
                <a:lnTo>
                  <a:pt x="12135937" y="1179842"/>
                </a:lnTo>
                <a:cubicBezTo>
                  <a:pt x="12137843" y="1179842"/>
                  <a:pt x="12137843" y="1177944"/>
                  <a:pt x="12139750" y="1177944"/>
                </a:cubicBezTo>
                <a:close/>
                <a:moveTo>
                  <a:pt x="7594338" y="1175955"/>
                </a:moveTo>
                <a:cubicBezTo>
                  <a:pt x="7602441" y="1178093"/>
                  <a:pt x="7609590" y="1183320"/>
                  <a:pt x="7614356" y="1190924"/>
                </a:cubicBezTo>
                <a:cubicBezTo>
                  <a:pt x="7618169" y="1196625"/>
                  <a:pt x="7620076" y="1202328"/>
                  <a:pt x="7620076" y="1208030"/>
                </a:cubicBezTo>
                <a:cubicBezTo>
                  <a:pt x="7620076" y="1219433"/>
                  <a:pt x="7614356" y="1230835"/>
                  <a:pt x="7604824" y="1236536"/>
                </a:cubicBezTo>
                <a:cubicBezTo>
                  <a:pt x="7604824" y="1236536"/>
                  <a:pt x="7604824" y="1236536"/>
                  <a:pt x="7267372" y="1439910"/>
                </a:cubicBezTo>
                <a:cubicBezTo>
                  <a:pt x="7252119" y="1449414"/>
                  <a:pt x="7231148" y="1445612"/>
                  <a:pt x="7221615" y="1428505"/>
                </a:cubicBezTo>
                <a:cubicBezTo>
                  <a:pt x="7212083" y="1413303"/>
                  <a:pt x="7217802" y="1392394"/>
                  <a:pt x="7233054" y="1382889"/>
                </a:cubicBezTo>
                <a:cubicBezTo>
                  <a:pt x="7233054" y="1382889"/>
                  <a:pt x="7233054" y="1382889"/>
                  <a:pt x="7568600" y="1179519"/>
                </a:cubicBezTo>
                <a:cubicBezTo>
                  <a:pt x="7577179" y="1174767"/>
                  <a:pt x="7586235" y="1173817"/>
                  <a:pt x="7594338" y="1175955"/>
                </a:cubicBezTo>
                <a:close/>
                <a:moveTo>
                  <a:pt x="7043844" y="1168289"/>
                </a:moveTo>
                <a:cubicBezTo>
                  <a:pt x="7052668" y="1170680"/>
                  <a:pt x="7060300" y="1176415"/>
                  <a:pt x="7065070" y="1185018"/>
                </a:cubicBezTo>
                <a:cubicBezTo>
                  <a:pt x="7068886" y="1190754"/>
                  <a:pt x="7070794" y="1196488"/>
                  <a:pt x="7070794" y="1204137"/>
                </a:cubicBezTo>
                <a:cubicBezTo>
                  <a:pt x="7070794" y="1215606"/>
                  <a:pt x="7063162" y="1228986"/>
                  <a:pt x="7051714" y="1234720"/>
                </a:cubicBezTo>
                <a:cubicBezTo>
                  <a:pt x="7051714" y="1234720"/>
                  <a:pt x="7051714" y="1234720"/>
                  <a:pt x="6714009" y="1423981"/>
                </a:cubicBezTo>
                <a:cubicBezTo>
                  <a:pt x="6696837" y="1433539"/>
                  <a:pt x="6673942" y="1427803"/>
                  <a:pt x="6664402" y="1410601"/>
                </a:cubicBezTo>
                <a:cubicBezTo>
                  <a:pt x="6654863" y="1391481"/>
                  <a:pt x="6660587" y="1370454"/>
                  <a:pt x="6677758" y="1360894"/>
                </a:cubicBezTo>
                <a:cubicBezTo>
                  <a:pt x="6677758" y="1360894"/>
                  <a:pt x="6677758" y="1360894"/>
                  <a:pt x="7015463" y="1171635"/>
                </a:cubicBezTo>
                <a:cubicBezTo>
                  <a:pt x="7025003" y="1166856"/>
                  <a:pt x="7035020" y="1165900"/>
                  <a:pt x="7043844" y="1168289"/>
                </a:cubicBezTo>
                <a:close/>
                <a:moveTo>
                  <a:pt x="6500891" y="1161548"/>
                </a:moveTo>
                <a:cubicBezTo>
                  <a:pt x="6510676" y="1164656"/>
                  <a:pt x="6519268" y="1171347"/>
                  <a:pt x="6524041" y="1180908"/>
                </a:cubicBezTo>
                <a:cubicBezTo>
                  <a:pt x="6525950" y="1186644"/>
                  <a:pt x="6527860" y="1192379"/>
                  <a:pt x="6527860" y="1198115"/>
                </a:cubicBezTo>
                <a:cubicBezTo>
                  <a:pt x="6527860" y="1213412"/>
                  <a:pt x="6520223" y="1226794"/>
                  <a:pt x="6506857" y="1234440"/>
                </a:cubicBezTo>
                <a:cubicBezTo>
                  <a:pt x="6506857" y="1234440"/>
                  <a:pt x="6506857" y="1234440"/>
                  <a:pt x="6166999" y="1406519"/>
                </a:cubicBezTo>
                <a:cubicBezTo>
                  <a:pt x="6147906" y="1416079"/>
                  <a:pt x="6123085" y="1408432"/>
                  <a:pt x="6113538" y="1389310"/>
                </a:cubicBezTo>
                <a:cubicBezTo>
                  <a:pt x="6103992" y="1370191"/>
                  <a:pt x="6111629" y="1345334"/>
                  <a:pt x="6130722" y="1335774"/>
                </a:cubicBezTo>
                <a:cubicBezTo>
                  <a:pt x="6130722" y="1335774"/>
                  <a:pt x="6130722" y="1335774"/>
                  <a:pt x="6470580" y="1163700"/>
                </a:cubicBezTo>
                <a:cubicBezTo>
                  <a:pt x="6480127" y="1158919"/>
                  <a:pt x="6491105" y="1158442"/>
                  <a:pt x="6500891" y="1161548"/>
                </a:cubicBezTo>
                <a:close/>
                <a:moveTo>
                  <a:pt x="5957727" y="1155628"/>
                </a:moveTo>
                <a:cubicBezTo>
                  <a:pt x="5967957" y="1159191"/>
                  <a:pt x="5977000" y="1166792"/>
                  <a:pt x="5982710" y="1178193"/>
                </a:cubicBezTo>
                <a:cubicBezTo>
                  <a:pt x="5984614" y="1183894"/>
                  <a:pt x="5986518" y="1189596"/>
                  <a:pt x="5986518" y="1195296"/>
                </a:cubicBezTo>
                <a:cubicBezTo>
                  <a:pt x="5986518" y="1210498"/>
                  <a:pt x="5977000" y="1225697"/>
                  <a:pt x="5961771" y="1233296"/>
                </a:cubicBezTo>
                <a:cubicBezTo>
                  <a:pt x="5961771" y="1233296"/>
                  <a:pt x="5961771" y="1233296"/>
                  <a:pt x="5622934" y="1389114"/>
                </a:cubicBezTo>
                <a:cubicBezTo>
                  <a:pt x="5600091" y="1398614"/>
                  <a:pt x="5575344" y="1389114"/>
                  <a:pt x="5565827" y="1368212"/>
                </a:cubicBezTo>
                <a:cubicBezTo>
                  <a:pt x="5556309" y="1347309"/>
                  <a:pt x="5565827" y="1322605"/>
                  <a:pt x="5586767" y="1313104"/>
                </a:cubicBezTo>
                <a:cubicBezTo>
                  <a:pt x="5586767" y="1313104"/>
                  <a:pt x="5586767" y="1313104"/>
                  <a:pt x="5925602" y="1157291"/>
                </a:cubicBezTo>
                <a:cubicBezTo>
                  <a:pt x="5936072" y="1152540"/>
                  <a:pt x="5947494" y="1152065"/>
                  <a:pt x="5957727" y="1155628"/>
                </a:cubicBezTo>
                <a:close/>
                <a:moveTo>
                  <a:pt x="398307" y="1155617"/>
                </a:moveTo>
                <a:cubicBezTo>
                  <a:pt x="408309" y="1159180"/>
                  <a:pt x="416881" y="1166781"/>
                  <a:pt x="421644" y="1178183"/>
                </a:cubicBezTo>
                <a:cubicBezTo>
                  <a:pt x="425454" y="1183883"/>
                  <a:pt x="425454" y="1189583"/>
                  <a:pt x="425454" y="1195284"/>
                </a:cubicBezTo>
                <a:cubicBezTo>
                  <a:pt x="425454" y="1210486"/>
                  <a:pt x="417834" y="1225685"/>
                  <a:pt x="402594" y="1233286"/>
                </a:cubicBezTo>
                <a:cubicBezTo>
                  <a:pt x="402594" y="1233286"/>
                  <a:pt x="402594" y="1233286"/>
                  <a:pt x="61595" y="1389103"/>
                </a:cubicBezTo>
                <a:cubicBezTo>
                  <a:pt x="40639" y="1398604"/>
                  <a:pt x="15874" y="1389103"/>
                  <a:pt x="6349" y="1368201"/>
                </a:cubicBezTo>
                <a:cubicBezTo>
                  <a:pt x="-3176" y="1347297"/>
                  <a:pt x="6349" y="1322596"/>
                  <a:pt x="27304" y="1313094"/>
                </a:cubicBezTo>
                <a:cubicBezTo>
                  <a:pt x="27304" y="1313094"/>
                  <a:pt x="27304" y="1313094"/>
                  <a:pt x="366398" y="1157280"/>
                </a:cubicBezTo>
                <a:cubicBezTo>
                  <a:pt x="376876" y="1152529"/>
                  <a:pt x="388306" y="1152054"/>
                  <a:pt x="398307" y="1155617"/>
                </a:cubicBezTo>
                <a:close/>
                <a:moveTo>
                  <a:pt x="5393468" y="1144402"/>
                </a:moveTo>
                <a:cubicBezTo>
                  <a:pt x="5411072" y="1144669"/>
                  <a:pt x="5427873" y="1155342"/>
                  <a:pt x="5435021" y="1172421"/>
                </a:cubicBezTo>
                <a:cubicBezTo>
                  <a:pt x="5436928" y="1178114"/>
                  <a:pt x="5438834" y="1183808"/>
                  <a:pt x="5438834" y="1189500"/>
                </a:cubicBezTo>
                <a:cubicBezTo>
                  <a:pt x="5438834" y="1208476"/>
                  <a:pt x="5427396" y="1225552"/>
                  <a:pt x="5410239" y="1231244"/>
                </a:cubicBezTo>
                <a:cubicBezTo>
                  <a:pt x="5410239" y="1231244"/>
                  <a:pt x="5410239" y="1231244"/>
                  <a:pt x="5070896" y="1371665"/>
                </a:cubicBezTo>
                <a:cubicBezTo>
                  <a:pt x="5046116" y="1381152"/>
                  <a:pt x="5021336" y="1369767"/>
                  <a:pt x="5011805" y="1346995"/>
                </a:cubicBezTo>
                <a:cubicBezTo>
                  <a:pt x="5002274" y="1324224"/>
                  <a:pt x="5011805" y="1297657"/>
                  <a:pt x="5036586" y="1288169"/>
                </a:cubicBezTo>
                <a:cubicBezTo>
                  <a:pt x="5036586" y="1288169"/>
                  <a:pt x="5036586" y="1288169"/>
                  <a:pt x="5375924" y="1147752"/>
                </a:cubicBezTo>
                <a:cubicBezTo>
                  <a:pt x="5381644" y="1145381"/>
                  <a:pt x="5387601" y="1144313"/>
                  <a:pt x="5393468" y="1144402"/>
                </a:cubicBezTo>
                <a:close/>
                <a:moveTo>
                  <a:pt x="929385" y="1144389"/>
                </a:moveTo>
                <a:cubicBezTo>
                  <a:pt x="946453" y="1144656"/>
                  <a:pt x="962181" y="1155330"/>
                  <a:pt x="969330" y="1172407"/>
                </a:cubicBezTo>
                <a:cubicBezTo>
                  <a:pt x="973143" y="1178101"/>
                  <a:pt x="973143" y="1183794"/>
                  <a:pt x="973143" y="1189486"/>
                </a:cubicBezTo>
                <a:cubicBezTo>
                  <a:pt x="973143" y="1208461"/>
                  <a:pt x="963611" y="1225538"/>
                  <a:pt x="946453" y="1231231"/>
                </a:cubicBezTo>
                <a:cubicBezTo>
                  <a:pt x="946453" y="1231231"/>
                  <a:pt x="946453" y="1231231"/>
                  <a:pt x="605206" y="1371652"/>
                </a:cubicBezTo>
                <a:cubicBezTo>
                  <a:pt x="582329" y="1381140"/>
                  <a:pt x="555640" y="1369755"/>
                  <a:pt x="546108" y="1346983"/>
                </a:cubicBezTo>
                <a:cubicBezTo>
                  <a:pt x="536576" y="1324212"/>
                  <a:pt x="548014" y="1297646"/>
                  <a:pt x="570891" y="1288158"/>
                </a:cubicBezTo>
                <a:cubicBezTo>
                  <a:pt x="570891" y="1288158"/>
                  <a:pt x="570891" y="1288158"/>
                  <a:pt x="912138" y="1147739"/>
                </a:cubicBezTo>
                <a:cubicBezTo>
                  <a:pt x="917857" y="1145367"/>
                  <a:pt x="923695" y="1144300"/>
                  <a:pt x="929385" y="1144389"/>
                </a:cubicBezTo>
                <a:close/>
                <a:moveTo>
                  <a:pt x="4842182" y="1136797"/>
                </a:moveTo>
                <a:cubicBezTo>
                  <a:pt x="4860988" y="1137688"/>
                  <a:pt x="4878456" y="1149800"/>
                  <a:pt x="4884158" y="1168322"/>
                </a:cubicBezTo>
                <a:cubicBezTo>
                  <a:pt x="4886062" y="1174022"/>
                  <a:pt x="4887962" y="1179722"/>
                  <a:pt x="4887962" y="1185422"/>
                </a:cubicBezTo>
                <a:cubicBezTo>
                  <a:pt x="4887962" y="1204420"/>
                  <a:pt x="4876556" y="1223416"/>
                  <a:pt x="4855639" y="1231014"/>
                </a:cubicBezTo>
                <a:cubicBezTo>
                  <a:pt x="4855639" y="1231014"/>
                  <a:pt x="4855639" y="1231014"/>
                  <a:pt x="4515380" y="1354501"/>
                </a:cubicBezTo>
                <a:cubicBezTo>
                  <a:pt x="4490666" y="1362102"/>
                  <a:pt x="4462152" y="1350702"/>
                  <a:pt x="4454549" y="1326004"/>
                </a:cubicBezTo>
                <a:cubicBezTo>
                  <a:pt x="4445043" y="1301305"/>
                  <a:pt x="4458350" y="1272808"/>
                  <a:pt x="4483062" y="1263308"/>
                </a:cubicBezTo>
                <a:cubicBezTo>
                  <a:pt x="4483062" y="1263308"/>
                  <a:pt x="4483062" y="1263308"/>
                  <a:pt x="4823320" y="1139825"/>
                </a:cubicBezTo>
                <a:cubicBezTo>
                  <a:pt x="4829497" y="1137451"/>
                  <a:pt x="4835916" y="1136501"/>
                  <a:pt x="4842182" y="1136797"/>
                </a:cubicBezTo>
                <a:close/>
                <a:moveTo>
                  <a:pt x="1478252" y="1136782"/>
                </a:moveTo>
                <a:cubicBezTo>
                  <a:pt x="1496621" y="1137673"/>
                  <a:pt x="1513385" y="1149784"/>
                  <a:pt x="1520519" y="1168307"/>
                </a:cubicBezTo>
                <a:cubicBezTo>
                  <a:pt x="1522421" y="1174007"/>
                  <a:pt x="1522421" y="1179706"/>
                  <a:pt x="1522421" y="1185406"/>
                </a:cubicBezTo>
                <a:cubicBezTo>
                  <a:pt x="1522421" y="1204404"/>
                  <a:pt x="1511007" y="1223401"/>
                  <a:pt x="1491984" y="1231000"/>
                </a:cubicBezTo>
                <a:cubicBezTo>
                  <a:pt x="1491984" y="1231000"/>
                  <a:pt x="1491984" y="1231000"/>
                  <a:pt x="1151475" y="1354486"/>
                </a:cubicBezTo>
                <a:cubicBezTo>
                  <a:pt x="1124843" y="1362086"/>
                  <a:pt x="1098211" y="1350686"/>
                  <a:pt x="1088700" y="1325989"/>
                </a:cubicBezTo>
                <a:cubicBezTo>
                  <a:pt x="1081091" y="1301291"/>
                  <a:pt x="1092505" y="1272795"/>
                  <a:pt x="1117234" y="1263296"/>
                </a:cubicBezTo>
                <a:cubicBezTo>
                  <a:pt x="1117234" y="1263296"/>
                  <a:pt x="1117234" y="1263296"/>
                  <a:pt x="1459646" y="1139810"/>
                </a:cubicBezTo>
                <a:cubicBezTo>
                  <a:pt x="1465828" y="1137436"/>
                  <a:pt x="1472129" y="1136485"/>
                  <a:pt x="1478252" y="1136782"/>
                </a:cubicBezTo>
                <a:close/>
                <a:moveTo>
                  <a:pt x="4287305" y="1129713"/>
                </a:moveTo>
                <a:cubicBezTo>
                  <a:pt x="4306924" y="1131585"/>
                  <a:pt x="4324403" y="1144425"/>
                  <a:pt x="4330109" y="1165826"/>
                </a:cubicBezTo>
                <a:cubicBezTo>
                  <a:pt x="4332013" y="1169631"/>
                  <a:pt x="4333914" y="1175338"/>
                  <a:pt x="4333914" y="1181045"/>
                </a:cubicBezTo>
                <a:cubicBezTo>
                  <a:pt x="4333914" y="1201970"/>
                  <a:pt x="4318695" y="1222894"/>
                  <a:pt x="4297769" y="1228599"/>
                </a:cubicBezTo>
                <a:cubicBezTo>
                  <a:pt x="4297769" y="1228599"/>
                  <a:pt x="4297769" y="1228599"/>
                  <a:pt x="3955368" y="1337029"/>
                </a:cubicBezTo>
                <a:cubicBezTo>
                  <a:pt x="3928734" y="1344638"/>
                  <a:pt x="3900197" y="1329419"/>
                  <a:pt x="3890686" y="1302787"/>
                </a:cubicBezTo>
                <a:cubicBezTo>
                  <a:pt x="3883076" y="1276155"/>
                  <a:pt x="3898294" y="1247620"/>
                  <a:pt x="3924929" y="1240012"/>
                </a:cubicBezTo>
                <a:cubicBezTo>
                  <a:pt x="3924929" y="1240012"/>
                  <a:pt x="3924929" y="1240012"/>
                  <a:pt x="4267332" y="1131585"/>
                </a:cubicBezTo>
                <a:cubicBezTo>
                  <a:pt x="4273989" y="1129683"/>
                  <a:pt x="4280766" y="1129089"/>
                  <a:pt x="4287305" y="1129713"/>
                </a:cubicBezTo>
                <a:close/>
                <a:moveTo>
                  <a:pt x="2033027" y="1129695"/>
                </a:moveTo>
                <a:cubicBezTo>
                  <a:pt x="2052752" y="1131568"/>
                  <a:pt x="2070599" y="1144408"/>
                  <a:pt x="2077737" y="1165808"/>
                </a:cubicBezTo>
                <a:cubicBezTo>
                  <a:pt x="2079642" y="1169613"/>
                  <a:pt x="2079642" y="1175320"/>
                  <a:pt x="2079642" y="1181027"/>
                </a:cubicBezTo>
                <a:cubicBezTo>
                  <a:pt x="2079642" y="1201952"/>
                  <a:pt x="2066316" y="1222876"/>
                  <a:pt x="2043467" y="1228582"/>
                </a:cubicBezTo>
                <a:cubicBezTo>
                  <a:pt x="2043467" y="1228582"/>
                  <a:pt x="2043467" y="1228582"/>
                  <a:pt x="1702708" y="1337012"/>
                </a:cubicBezTo>
                <a:cubicBezTo>
                  <a:pt x="1674153" y="1344621"/>
                  <a:pt x="1645598" y="1329403"/>
                  <a:pt x="1637983" y="1302771"/>
                </a:cubicBezTo>
                <a:cubicBezTo>
                  <a:pt x="1630368" y="1276139"/>
                  <a:pt x="1643694" y="1247605"/>
                  <a:pt x="1670346" y="1239996"/>
                </a:cubicBezTo>
                <a:cubicBezTo>
                  <a:pt x="1670346" y="1239996"/>
                  <a:pt x="1670346" y="1239996"/>
                  <a:pt x="2013008" y="1131568"/>
                </a:cubicBezTo>
                <a:cubicBezTo>
                  <a:pt x="2019671" y="1129665"/>
                  <a:pt x="2026453" y="1129071"/>
                  <a:pt x="2033027" y="1129695"/>
                </a:cubicBezTo>
                <a:close/>
                <a:moveTo>
                  <a:pt x="3726351" y="1122417"/>
                </a:moveTo>
                <a:cubicBezTo>
                  <a:pt x="3747340" y="1125382"/>
                  <a:pt x="3765914" y="1140474"/>
                  <a:pt x="3771628" y="1162034"/>
                </a:cubicBezTo>
                <a:cubicBezTo>
                  <a:pt x="3773536" y="1165867"/>
                  <a:pt x="3773536" y="1171616"/>
                  <a:pt x="3773536" y="1175449"/>
                </a:cubicBezTo>
                <a:cubicBezTo>
                  <a:pt x="3773536" y="1200364"/>
                  <a:pt x="3758294" y="1221442"/>
                  <a:pt x="3733526" y="1229108"/>
                </a:cubicBezTo>
                <a:cubicBezTo>
                  <a:pt x="3733526" y="1229108"/>
                  <a:pt x="3733526" y="1229108"/>
                  <a:pt x="3390639" y="1321097"/>
                </a:cubicBezTo>
                <a:cubicBezTo>
                  <a:pt x="3362059" y="1328763"/>
                  <a:pt x="3331579" y="1311513"/>
                  <a:pt x="3323960" y="1282766"/>
                </a:cubicBezTo>
                <a:cubicBezTo>
                  <a:pt x="3316340" y="1254020"/>
                  <a:pt x="3333484" y="1223360"/>
                  <a:pt x="3362059" y="1215695"/>
                </a:cubicBezTo>
                <a:cubicBezTo>
                  <a:pt x="3362059" y="1215695"/>
                  <a:pt x="3362059" y="1215695"/>
                  <a:pt x="3704953" y="1123705"/>
                </a:cubicBezTo>
                <a:cubicBezTo>
                  <a:pt x="3712096" y="1121789"/>
                  <a:pt x="3719357" y="1121429"/>
                  <a:pt x="3726351" y="1122417"/>
                </a:cubicBezTo>
                <a:close/>
                <a:moveTo>
                  <a:pt x="2592851" y="1122397"/>
                </a:moveTo>
                <a:cubicBezTo>
                  <a:pt x="2613837" y="1125361"/>
                  <a:pt x="2632411" y="1140454"/>
                  <a:pt x="2638126" y="1162013"/>
                </a:cubicBezTo>
                <a:cubicBezTo>
                  <a:pt x="2640031" y="1165846"/>
                  <a:pt x="2640031" y="1171596"/>
                  <a:pt x="2640031" y="1175429"/>
                </a:cubicBezTo>
                <a:cubicBezTo>
                  <a:pt x="2640031" y="1200343"/>
                  <a:pt x="2622886" y="1221423"/>
                  <a:pt x="2600026" y="1229089"/>
                </a:cubicBezTo>
                <a:cubicBezTo>
                  <a:pt x="2600026" y="1229089"/>
                  <a:pt x="2600026" y="1229089"/>
                  <a:pt x="2257122" y="1321078"/>
                </a:cubicBezTo>
                <a:cubicBezTo>
                  <a:pt x="2226641" y="1328744"/>
                  <a:pt x="2198065" y="1311496"/>
                  <a:pt x="2190445" y="1282749"/>
                </a:cubicBezTo>
                <a:cubicBezTo>
                  <a:pt x="2182825" y="1254002"/>
                  <a:pt x="2199971" y="1223340"/>
                  <a:pt x="2228546" y="1215674"/>
                </a:cubicBezTo>
                <a:cubicBezTo>
                  <a:pt x="2228546" y="1215674"/>
                  <a:pt x="2228546" y="1215674"/>
                  <a:pt x="2571449" y="1123685"/>
                </a:cubicBezTo>
                <a:cubicBezTo>
                  <a:pt x="2578593" y="1121768"/>
                  <a:pt x="2585856" y="1121409"/>
                  <a:pt x="2592851" y="1122397"/>
                </a:cubicBezTo>
                <a:close/>
                <a:moveTo>
                  <a:pt x="3157611" y="1116357"/>
                </a:moveTo>
                <a:cubicBezTo>
                  <a:pt x="3179268" y="1119929"/>
                  <a:pt x="3197445" y="1136359"/>
                  <a:pt x="3201720" y="1159220"/>
                </a:cubicBezTo>
                <a:cubicBezTo>
                  <a:pt x="3203622" y="1163029"/>
                  <a:pt x="3203622" y="1168744"/>
                  <a:pt x="3203622" y="1172555"/>
                </a:cubicBezTo>
                <a:cubicBezTo>
                  <a:pt x="3203622" y="1197321"/>
                  <a:pt x="3186514" y="1222083"/>
                  <a:pt x="3159900" y="1227799"/>
                </a:cubicBezTo>
                <a:cubicBezTo>
                  <a:pt x="3159900" y="1227799"/>
                  <a:pt x="3159900" y="1227799"/>
                  <a:pt x="2815798" y="1303997"/>
                </a:cubicBezTo>
                <a:cubicBezTo>
                  <a:pt x="2785377" y="1309712"/>
                  <a:pt x="2754961" y="1290662"/>
                  <a:pt x="2747356" y="1260182"/>
                </a:cubicBezTo>
                <a:cubicBezTo>
                  <a:pt x="2741652" y="1229703"/>
                  <a:pt x="2760665" y="1199225"/>
                  <a:pt x="2791085" y="1191605"/>
                </a:cubicBezTo>
                <a:cubicBezTo>
                  <a:pt x="2791085" y="1191605"/>
                  <a:pt x="2791085" y="1191605"/>
                  <a:pt x="3135178" y="1117309"/>
                </a:cubicBezTo>
                <a:cubicBezTo>
                  <a:pt x="3142788" y="1115404"/>
                  <a:pt x="3150392" y="1115166"/>
                  <a:pt x="3157611" y="1116357"/>
                </a:cubicBezTo>
                <a:close/>
                <a:moveTo>
                  <a:pt x="9862398" y="887331"/>
                </a:moveTo>
                <a:cubicBezTo>
                  <a:pt x="9868604" y="888044"/>
                  <a:pt x="9874333" y="890896"/>
                  <a:pt x="9878153" y="895649"/>
                </a:cubicBezTo>
                <a:cubicBezTo>
                  <a:pt x="9881972" y="901352"/>
                  <a:pt x="9883882" y="905154"/>
                  <a:pt x="9883882" y="910857"/>
                </a:cubicBezTo>
                <a:cubicBezTo>
                  <a:pt x="9883882" y="918462"/>
                  <a:pt x="9880063" y="926066"/>
                  <a:pt x="9874333" y="929868"/>
                </a:cubicBezTo>
                <a:cubicBezTo>
                  <a:pt x="9874333" y="929868"/>
                  <a:pt x="9874333" y="929868"/>
                  <a:pt x="9540128" y="1184614"/>
                </a:cubicBezTo>
                <a:cubicBezTo>
                  <a:pt x="9530580" y="1192218"/>
                  <a:pt x="9515302" y="1190317"/>
                  <a:pt x="9505753" y="1178911"/>
                </a:cubicBezTo>
                <a:cubicBezTo>
                  <a:pt x="9498114" y="1167504"/>
                  <a:pt x="9500024" y="1152295"/>
                  <a:pt x="9511482" y="1144691"/>
                </a:cubicBezTo>
                <a:cubicBezTo>
                  <a:pt x="9511482" y="1144691"/>
                  <a:pt x="9511482" y="1144691"/>
                  <a:pt x="9843777" y="891846"/>
                </a:cubicBezTo>
                <a:cubicBezTo>
                  <a:pt x="9849507" y="888044"/>
                  <a:pt x="9856191" y="886618"/>
                  <a:pt x="9862398" y="887331"/>
                </a:cubicBezTo>
                <a:close/>
                <a:moveTo>
                  <a:pt x="9285227" y="879270"/>
                </a:moveTo>
                <a:cubicBezTo>
                  <a:pt x="9291895" y="880464"/>
                  <a:pt x="9298086" y="884282"/>
                  <a:pt x="9301896" y="890009"/>
                </a:cubicBezTo>
                <a:cubicBezTo>
                  <a:pt x="9305706" y="893827"/>
                  <a:pt x="9307611" y="899554"/>
                  <a:pt x="9307611" y="905281"/>
                </a:cubicBezTo>
                <a:cubicBezTo>
                  <a:pt x="9307611" y="914826"/>
                  <a:pt x="9303801" y="922462"/>
                  <a:pt x="9296181" y="928189"/>
                </a:cubicBezTo>
                <a:cubicBezTo>
                  <a:pt x="9296181" y="928189"/>
                  <a:pt x="9296181" y="928189"/>
                  <a:pt x="8962802" y="1168731"/>
                </a:cubicBezTo>
                <a:cubicBezTo>
                  <a:pt x="8951371" y="1176367"/>
                  <a:pt x="8934226" y="1174459"/>
                  <a:pt x="8924701" y="1161095"/>
                </a:cubicBezTo>
                <a:cubicBezTo>
                  <a:pt x="8917081" y="1149641"/>
                  <a:pt x="8918986" y="1132459"/>
                  <a:pt x="8930416" y="1124823"/>
                </a:cubicBezTo>
                <a:cubicBezTo>
                  <a:pt x="8930416" y="1124823"/>
                  <a:pt x="8930416" y="1124823"/>
                  <a:pt x="9265700" y="884282"/>
                </a:cubicBezTo>
                <a:cubicBezTo>
                  <a:pt x="9271415" y="879509"/>
                  <a:pt x="9278559" y="878077"/>
                  <a:pt x="9285227" y="879270"/>
                </a:cubicBezTo>
                <a:close/>
                <a:moveTo>
                  <a:pt x="10445943" y="879249"/>
                </a:moveTo>
                <a:cubicBezTo>
                  <a:pt x="10452849" y="880442"/>
                  <a:pt x="10459517" y="884260"/>
                  <a:pt x="10464279" y="889987"/>
                </a:cubicBezTo>
                <a:cubicBezTo>
                  <a:pt x="10468089" y="893805"/>
                  <a:pt x="10468089" y="899532"/>
                  <a:pt x="10468089" y="905259"/>
                </a:cubicBezTo>
                <a:cubicBezTo>
                  <a:pt x="10468089" y="914805"/>
                  <a:pt x="10464279" y="922441"/>
                  <a:pt x="10458564" y="928168"/>
                </a:cubicBezTo>
                <a:cubicBezTo>
                  <a:pt x="10458564" y="928168"/>
                  <a:pt x="10458564" y="928168"/>
                  <a:pt x="10123280" y="1168705"/>
                </a:cubicBezTo>
                <a:cubicBezTo>
                  <a:pt x="10111849" y="1176341"/>
                  <a:pt x="10094704" y="1174432"/>
                  <a:pt x="10087084" y="1161069"/>
                </a:cubicBezTo>
                <a:cubicBezTo>
                  <a:pt x="10077559" y="1149615"/>
                  <a:pt x="10079464" y="1132433"/>
                  <a:pt x="10092799" y="1124797"/>
                </a:cubicBezTo>
                <a:cubicBezTo>
                  <a:pt x="10092799" y="1124797"/>
                  <a:pt x="10092799" y="1124797"/>
                  <a:pt x="10426178" y="884260"/>
                </a:cubicBezTo>
                <a:cubicBezTo>
                  <a:pt x="10431894" y="879488"/>
                  <a:pt x="10439038" y="878056"/>
                  <a:pt x="10445943" y="879249"/>
                </a:cubicBezTo>
                <a:close/>
                <a:moveTo>
                  <a:pt x="8716319" y="870617"/>
                </a:moveTo>
                <a:cubicBezTo>
                  <a:pt x="8723707" y="872049"/>
                  <a:pt x="8730380" y="876344"/>
                  <a:pt x="8735146" y="883981"/>
                </a:cubicBezTo>
                <a:cubicBezTo>
                  <a:pt x="8738959" y="887799"/>
                  <a:pt x="8740866" y="893527"/>
                  <a:pt x="8740866" y="899254"/>
                </a:cubicBezTo>
                <a:cubicBezTo>
                  <a:pt x="8740866" y="908800"/>
                  <a:pt x="8735146" y="918345"/>
                  <a:pt x="8727520" y="924073"/>
                </a:cubicBezTo>
                <a:cubicBezTo>
                  <a:pt x="8727520" y="924073"/>
                  <a:pt x="8727520" y="924073"/>
                  <a:pt x="8391968" y="1151267"/>
                </a:cubicBezTo>
                <a:cubicBezTo>
                  <a:pt x="8378622" y="1158904"/>
                  <a:pt x="8359557" y="1156995"/>
                  <a:pt x="8351931" y="1141721"/>
                </a:cubicBezTo>
                <a:cubicBezTo>
                  <a:pt x="8342398" y="1128357"/>
                  <a:pt x="8346211" y="1111175"/>
                  <a:pt x="8359557" y="1101629"/>
                </a:cubicBezTo>
                <a:cubicBezTo>
                  <a:pt x="8359557" y="1101629"/>
                  <a:pt x="8359557" y="1101629"/>
                  <a:pt x="8693202" y="874435"/>
                </a:cubicBezTo>
                <a:cubicBezTo>
                  <a:pt x="8700828" y="870617"/>
                  <a:pt x="8708931" y="869185"/>
                  <a:pt x="8716319" y="870617"/>
                </a:cubicBezTo>
                <a:close/>
                <a:moveTo>
                  <a:pt x="11024254" y="870594"/>
                </a:moveTo>
                <a:cubicBezTo>
                  <a:pt x="11031856" y="872025"/>
                  <a:pt x="11038983" y="876321"/>
                  <a:pt x="11043734" y="883958"/>
                </a:cubicBezTo>
                <a:cubicBezTo>
                  <a:pt x="11047535" y="887776"/>
                  <a:pt x="11047535" y="893503"/>
                  <a:pt x="11047535" y="899231"/>
                </a:cubicBezTo>
                <a:cubicBezTo>
                  <a:pt x="11047535" y="908777"/>
                  <a:pt x="11043734" y="918322"/>
                  <a:pt x="11036132" y="924050"/>
                </a:cubicBezTo>
                <a:cubicBezTo>
                  <a:pt x="11036132" y="924050"/>
                  <a:pt x="11036132" y="924050"/>
                  <a:pt x="10701654" y="1151239"/>
                </a:cubicBezTo>
                <a:cubicBezTo>
                  <a:pt x="10688350" y="1158875"/>
                  <a:pt x="10669346" y="1156966"/>
                  <a:pt x="10659844" y="1141693"/>
                </a:cubicBezTo>
                <a:cubicBezTo>
                  <a:pt x="10652242" y="1128329"/>
                  <a:pt x="10654142" y="1111146"/>
                  <a:pt x="10669346" y="1101601"/>
                </a:cubicBezTo>
                <a:cubicBezTo>
                  <a:pt x="10669346" y="1101601"/>
                  <a:pt x="10669346" y="1101601"/>
                  <a:pt x="11001924" y="874412"/>
                </a:cubicBezTo>
                <a:cubicBezTo>
                  <a:pt x="11008575" y="870594"/>
                  <a:pt x="11016652" y="869162"/>
                  <a:pt x="11024254" y="870594"/>
                </a:cubicBezTo>
                <a:close/>
                <a:moveTo>
                  <a:pt x="8152171" y="862274"/>
                </a:moveTo>
                <a:cubicBezTo>
                  <a:pt x="8160017" y="863941"/>
                  <a:pt x="8167150" y="868703"/>
                  <a:pt x="8171905" y="876324"/>
                </a:cubicBezTo>
                <a:cubicBezTo>
                  <a:pt x="8175709" y="882038"/>
                  <a:pt x="8175709" y="887753"/>
                  <a:pt x="8175709" y="893468"/>
                </a:cubicBezTo>
                <a:cubicBezTo>
                  <a:pt x="8175709" y="904898"/>
                  <a:pt x="8171905" y="914423"/>
                  <a:pt x="8162395" y="920138"/>
                </a:cubicBezTo>
                <a:cubicBezTo>
                  <a:pt x="8162395" y="920138"/>
                  <a:pt x="8162395" y="920138"/>
                  <a:pt x="7825735" y="1133503"/>
                </a:cubicBezTo>
                <a:cubicBezTo>
                  <a:pt x="7812420" y="1143028"/>
                  <a:pt x="7791498" y="1137314"/>
                  <a:pt x="7781988" y="1123978"/>
                </a:cubicBezTo>
                <a:cubicBezTo>
                  <a:pt x="7772478" y="1108738"/>
                  <a:pt x="7778184" y="1087784"/>
                  <a:pt x="7791498" y="1078258"/>
                </a:cubicBezTo>
                <a:cubicBezTo>
                  <a:pt x="7791498" y="1078258"/>
                  <a:pt x="7791498" y="1078258"/>
                  <a:pt x="8128158" y="866799"/>
                </a:cubicBezTo>
                <a:cubicBezTo>
                  <a:pt x="8135766" y="862036"/>
                  <a:pt x="8144325" y="860607"/>
                  <a:pt x="8152171" y="862274"/>
                </a:cubicBezTo>
                <a:close/>
                <a:moveTo>
                  <a:pt x="11596678" y="862268"/>
                </a:moveTo>
                <a:cubicBezTo>
                  <a:pt x="11604555" y="863935"/>
                  <a:pt x="11611715" y="868698"/>
                  <a:pt x="11616489" y="876317"/>
                </a:cubicBezTo>
                <a:cubicBezTo>
                  <a:pt x="11620308" y="882033"/>
                  <a:pt x="11622218" y="887747"/>
                  <a:pt x="11622218" y="893462"/>
                </a:cubicBezTo>
                <a:cubicBezTo>
                  <a:pt x="11622218" y="904892"/>
                  <a:pt x="11616489" y="914417"/>
                  <a:pt x="11606942" y="920132"/>
                </a:cubicBezTo>
                <a:cubicBezTo>
                  <a:pt x="11606942" y="920132"/>
                  <a:pt x="11606942" y="920132"/>
                  <a:pt x="11270867" y="1133497"/>
                </a:cubicBezTo>
                <a:cubicBezTo>
                  <a:pt x="11255590" y="1143022"/>
                  <a:pt x="11236495" y="1137306"/>
                  <a:pt x="11226948" y="1123971"/>
                </a:cubicBezTo>
                <a:cubicBezTo>
                  <a:pt x="11217400" y="1108732"/>
                  <a:pt x="11221219" y="1087776"/>
                  <a:pt x="11236495" y="1078251"/>
                </a:cubicBezTo>
                <a:cubicBezTo>
                  <a:pt x="11236495" y="1078251"/>
                  <a:pt x="11236495" y="1078251"/>
                  <a:pt x="11572571" y="866793"/>
                </a:cubicBezTo>
                <a:cubicBezTo>
                  <a:pt x="11580209" y="862030"/>
                  <a:pt x="11588802" y="860601"/>
                  <a:pt x="11596678" y="862268"/>
                </a:cubicBezTo>
                <a:close/>
                <a:moveTo>
                  <a:pt x="12139750" y="857266"/>
                </a:moveTo>
                <a:cubicBezTo>
                  <a:pt x="12139750" y="857266"/>
                  <a:pt x="12139750" y="857266"/>
                  <a:pt x="12139750" y="935278"/>
                </a:cubicBezTo>
                <a:cubicBezTo>
                  <a:pt x="12139750" y="935278"/>
                  <a:pt x="12139750" y="935278"/>
                  <a:pt x="11834946" y="1116043"/>
                </a:cubicBezTo>
                <a:cubicBezTo>
                  <a:pt x="11817801" y="1125556"/>
                  <a:pt x="11796845" y="1119848"/>
                  <a:pt x="11787320" y="1104626"/>
                </a:cubicBezTo>
                <a:cubicBezTo>
                  <a:pt x="11777795" y="1087502"/>
                  <a:pt x="11783510" y="1066571"/>
                  <a:pt x="11798750" y="1057058"/>
                </a:cubicBezTo>
                <a:lnTo>
                  <a:pt x="12135940" y="859168"/>
                </a:lnTo>
                <a:cubicBezTo>
                  <a:pt x="12137845" y="857266"/>
                  <a:pt x="12137845" y="857266"/>
                  <a:pt x="12139750" y="857266"/>
                </a:cubicBezTo>
                <a:close/>
                <a:moveTo>
                  <a:pt x="7595013" y="854170"/>
                </a:moveTo>
                <a:cubicBezTo>
                  <a:pt x="7603579" y="856311"/>
                  <a:pt x="7611193" y="862020"/>
                  <a:pt x="7615952" y="870582"/>
                </a:cubicBezTo>
                <a:cubicBezTo>
                  <a:pt x="7619759" y="876291"/>
                  <a:pt x="7621663" y="881999"/>
                  <a:pt x="7621663" y="887708"/>
                </a:cubicBezTo>
                <a:cubicBezTo>
                  <a:pt x="7621663" y="899125"/>
                  <a:pt x="7614049" y="910542"/>
                  <a:pt x="7604531" y="918153"/>
                </a:cubicBezTo>
                <a:cubicBezTo>
                  <a:pt x="7604531" y="918153"/>
                  <a:pt x="7604531" y="918153"/>
                  <a:pt x="7267601" y="1116053"/>
                </a:cubicBezTo>
                <a:cubicBezTo>
                  <a:pt x="7250469" y="1125566"/>
                  <a:pt x="7229530" y="1119858"/>
                  <a:pt x="7220013" y="1104635"/>
                </a:cubicBezTo>
                <a:cubicBezTo>
                  <a:pt x="7210495" y="1087509"/>
                  <a:pt x="7216205" y="1066577"/>
                  <a:pt x="7233337" y="1057064"/>
                </a:cubicBezTo>
                <a:cubicBezTo>
                  <a:pt x="7233337" y="1057064"/>
                  <a:pt x="7233337" y="1057064"/>
                  <a:pt x="7568363" y="859165"/>
                </a:cubicBezTo>
                <a:cubicBezTo>
                  <a:pt x="7576929" y="853457"/>
                  <a:pt x="7586447" y="852030"/>
                  <a:pt x="7595013" y="854170"/>
                </a:cubicBezTo>
                <a:close/>
                <a:moveTo>
                  <a:pt x="7044817" y="846270"/>
                </a:moveTo>
                <a:cubicBezTo>
                  <a:pt x="7054111" y="848902"/>
                  <a:pt x="7062213" y="855122"/>
                  <a:pt x="7066980" y="864693"/>
                </a:cubicBezTo>
                <a:cubicBezTo>
                  <a:pt x="7068886" y="870434"/>
                  <a:pt x="7070793" y="876176"/>
                  <a:pt x="7070793" y="881918"/>
                </a:cubicBezTo>
                <a:cubicBezTo>
                  <a:pt x="7070793" y="895316"/>
                  <a:pt x="7063167" y="908714"/>
                  <a:pt x="7051728" y="914456"/>
                </a:cubicBezTo>
                <a:cubicBezTo>
                  <a:pt x="7051728" y="914456"/>
                  <a:pt x="7051728" y="914456"/>
                  <a:pt x="6714282" y="1100119"/>
                </a:cubicBezTo>
                <a:cubicBezTo>
                  <a:pt x="6697124" y="1109690"/>
                  <a:pt x="6674246" y="1103949"/>
                  <a:pt x="6664714" y="1084808"/>
                </a:cubicBezTo>
                <a:cubicBezTo>
                  <a:pt x="6653275" y="1067582"/>
                  <a:pt x="6660901" y="1044608"/>
                  <a:pt x="6678059" y="1035038"/>
                </a:cubicBezTo>
                <a:cubicBezTo>
                  <a:pt x="6678059" y="1035038"/>
                  <a:pt x="6678059" y="1035038"/>
                  <a:pt x="7015505" y="849380"/>
                </a:cubicBezTo>
                <a:cubicBezTo>
                  <a:pt x="7025037" y="844595"/>
                  <a:pt x="7035523" y="843638"/>
                  <a:pt x="7044817" y="846270"/>
                </a:cubicBezTo>
                <a:close/>
                <a:moveTo>
                  <a:pt x="6485646" y="836909"/>
                </a:moveTo>
                <a:cubicBezTo>
                  <a:pt x="6501129" y="835656"/>
                  <a:pt x="6516881" y="844607"/>
                  <a:pt x="6524041" y="858929"/>
                </a:cubicBezTo>
                <a:cubicBezTo>
                  <a:pt x="6525950" y="864658"/>
                  <a:pt x="6527860" y="870387"/>
                  <a:pt x="6527860" y="876115"/>
                </a:cubicBezTo>
                <a:cubicBezTo>
                  <a:pt x="6527860" y="891392"/>
                  <a:pt x="6520223" y="904759"/>
                  <a:pt x="6506857" y="912398"/>
                </a:cubicBezTo>
                <a:cubicBezTo>
                  <a:pt x="6506857" y="912398"/>
                  <a:pt x="6506857" y="912398"/>
                  <a:pt x="6166999" y="1082357"/>
                </a:cubicBezTo>
                <a:cubicBezTo>
                  <a:pt x="6147906" y="1093815"/>
                  <a:pt x="6123085" y="1084266"/>
                  <a:pt x="6113538" y="1065171"/>
                </a:cubicBezTo>
                <a:cubicBezTo>
                  <a:pt x="6103992" y="1046070"/>
                  <a:pt x="6111629" y="1023154"/>
                  <a:pt x="6130722" y="1011697"/>
                </a:cubicBezTo>
                <a:cubicBezTo>
                  <a:pt x="6130722" y="1011697"/>
                  <a:pt x="6130722" y="1011697"/>
                  <a:pt x="6470580" y="841743"/>
                </a:cubicBezTo>
                <a:cubicBezTo>
                  <a:pt x="6475354" y="838878"/>
                  <a:pt x="6480485" y="837327"/>
                  <a:pt x="6485646" y="836909"/>
                </a:cubicBezTo>
                <a:close/>
                <a:moveTo>
                  <a:pt x="5957785" y="832476"/>
                </a:moveTo>
                <a:cubicBezTo>
                  <a:pt x="5967786" y="836271"/>
                  <a:pt x="5976358" y="843863"/>
                  <a:pt x="5981120" y="854301"/>
                </a:cubicBezTo>
                <a:cubicBezTo>
                  <a:pt x="5984930" y="859994"/>
                  <a:pt x="5984930" y="865688"/>
                  <a:pt x="5984930" y="871381"/>
                </a:cubicBezTo>
                <a:cubicBezTo>
                  <a:pt x="5984930" y="886564"/>
                  <a:pt x="5977310" y="901746"/>
                  <a:pt x="5962070" y="909338"/>
                </a:cubicBezTo>
                <a:cubicBezTo>
                  <a:pt x="5962070" y="909338"/>
                  <a:pt x="5962070" y="909338"/>
                  <a:pt x="5622984" y="1066863"/>
                </a:cubicBezTo>
                <a:cubicBezTo>
                  <a:pt x="5602029" y="1076353"/>
                  <a:pt x="5575360" y="1066863"/>
                  <a:pt x="5565833" y="1045982"/>
                </a:cubicBezTo>
                <a:cubicBezTo>
                  <a:pt x="5556309" y="1025106"/>
                  <a:pt x="5565833" y="1000434"/>
                  <a:pt x="5586789" y="990945"/>
                </a:cubicBezTo>
                <a:cubicBezTo>
                  <a:pt x="5586789" y="990945"/>
                  <a:pt x="5586789" y="990945"/>
                  <a:pt x="5925877" y="833424"/>
                </a:cubicBezTo>
                <a:cubicBezTo>
                  <a:pt x="5936354" y="828680"/>
                  <a:pt x="5947784" y="828680"/>
                  <a:pt x="5957785" y="832476"/>
                </a:cubicBezTo>
                <a:close/>
                <a:moveTo>
                  <a:pt x="398307" y="832466"/>
                </a:moveTo>
                <a:cubicBezTo>
                  <a:pt x="408309" y="836261"/>
                  <a:pt x="416882" y="843853"/>
                  <a:pt x="421644" y="854291"/>
                </a:cubicBezTo>
                <a:cubicBezTo>
                  <a:pt x="425454" y="859984"/>
                  <a:pt x="425454" y="865678"/>
                  <a:pt x="425454" y="871371"/>
                </a:cubicBezTo>
                <a:cubicBezTo>
                  <a:pt x="425454" y="886554"/>
                  <a:pt x="417834" y="901737"/>
                  <a:pt x="400689" y="909328"/>
                </a:cubicBezTo>
                <a:cubicBezTo>
                  <a:pt x="400689" y="909328"/>
                  <a:pt x="400689" y="909328"/>
                  <a:pt x="61595" y="1066852"/>
                </a:cubicBezTo>
                <a:cubicBezTo>
                  <a:pt x="40639" y="1076341"/>
                  <a:pt x="15874" y="1066852"/>
                  <a:pt x="6349" y="1045972"/>
                </a:cubicBezTo>
                <a:cubicBezTo>
                  <a:pt x="-3176" y="1025096"/>
                  <a:pt x="6349" y="1000424"/>
                  <a:pt x="27304" y="990935"/>
                </a:cubicBezTo>
                <a:cubicBezTo>
                  <a:pt x="27304" y="990935"/>
                  <a:pt x="27304" y="990935"/>
                  <a:pt x="366398" y="833414"/>
                </a:cubicBezTo>
                <a:cubicBezTo>
                  <a:pt x="376876" y="828670"/>
                  <a:pt x="388306" y="828670"/>
                  <a:pt x="398307" y="832466"/>
                </a:cubicBezTo>
                <a:close/>
                <a:moveTo>
                  <a:pt x="5410477" y="824774"/>
                </a:moveTo>
                <a:cubicBezTo>
                  <a:pt x="5421202" y="828807"/>
                  <a:pt x="5430255" y="836871"/>
                  <a:pt x="5435021" y="848257"/>
                </a:cubicBezTo>
                <a:cubicBezTo>
                  <a:pt x="5436928" y="853949"/>
                  <a:pt x="5438834" y="859642"/>
                  <a:pt x="5438834" y="865335"/>
                </a:cubicBezTo>
                <a:cubicBezTo>
                  <a:pt x="5438834" y="882413"/>
                  <a:pt x="5427396" y="899491"/>
                  <a:pt x="5410239" y="907081"/>
                </a:cubicBezTo>
                <a:cubicBezTo>
                  <a:pt x="5410239" y="907081"/>
                  <a:pt x="5410239" y="907081"/>
                  <a:pt x="5070896" y="1049397"/>
                </a:cubicBezTo>
                <a:cubicBezTo>
                  <a:pt x="5048022" y="1058891"/>
                  <a:pt x="5021336" y="1047500"/>
                  <a:pt x="5011805" y="1024730"/>
                </a:cubicBezTo>
                <a:cubicBezTo>
                  <a:pt x="5002274" y="1003856"/>
                  <a:pt x="5013711" y="977291"/>
                  <a:pt x="5034678" y="967803"/>
                </a:cubicBezTo>
                <a:cubicBezTo>
                  <a:pt x="5034678" y="967803"/>
                  <a:pt x="5034678" y="967803"/>
                  <a:pt x="5375924" y="825486"/>
                </a:cubicBezTo>
                <a:cubicBezTo>
                  <a:pt x="5387362" y="820742"/>
                  <a:pt x="5399754" y="820742"/>
                  <a:pt x="5410477" y="824774"/>
                </a:cubicBezTo>
                <a:close/>
                <a:moveTo>
                  <a:pt x="944785" y="824762"/>
                </a:moveTo>
                <a:cubicBezTo>
                  <a:pt x="955509" y="828795"/>
                  <a:pt x="964564" y="836859"/>
                  <a:pt x="969330" y="848245"/>
                </a:cubicBezTo>
                <a:cubicBezTo>
                  <a:pt x="971236" y="853937"/>
                  <a:pt x="973143" y="859630"/>
                  <a:pt x="973143" y="865323"/>
                </a:cubicBezTo>
                <a:cubicBezTo>
                  <a:pt x="973143" y="882401"/>
                  <a:pt x="963611" y="899479"/>
                  <a:pt x="946453" y="907069"/>
                </a:cubicBezTo>
                <a:cubicBezTo>
                  <a:pt x="946453" y="907069"/>
                  <a:pt x="946453" y="907069"/>
                  <a:pt x="605206" y="1049386"/>
                </a:cubicBezTo>
                <a:cubicBezTo>
                  <a:pt x="582329" y="1058877"/>
                  <a:pt x="555640" y="1047489"/>
                  <a:pt x="546108" y="1024718"/>
                </a:cubicBezTo>
                <a:cubicBezTo>
                  <a:pt x="536576" y="1003845"/>
                  <a:pt x="548014" y="977279"/>
                  <a:pt x="570891" y="967791"/>
                </a:cubicBezTo>
                <a:cubicBezTo>
                  <a:pt x="570891" y="967791"/>
                  <a:pt x="570891" y="967791"/>
                  <a:pt x="910231" y="825474"/>
                </a:cubicBezTo>
                <a:cubicBezTo>
                  <a:pt x="921670" y="820730"/>
                  <a:pt x="934061" y="820730"/>
                  <a:pt x="944785" y="824762"/>
                </a:cubicBezTo>
                <a:close/>
                <a:moveTo>
                  <a:pt x="4842165" y="812941"/>
                </a:moveTo>
                <a:cubicBezTo>
                  <a:pt x="4860552" y="813746"/>
                  <a:pt x="4877331" y="825549"/>
                  <a:pt x="4884469" y="842717"/>
                </a:cubicBezTo>
                <a:cubicBezTo>
                  <a:pt x="4886373" y="848440"/>
                  <a:pt x="4886373" y="854162"/>
                  <a:pt x="4886373" y="859885"/>
                </a:cubicBezTo>
                <a:cubicBezTo>
                  <a:pt x="4886373" y="878960"/>
                  <a:pt x="4874949" y="898036"/>
                  <a:pt x="4855912" y="903759"/>
                </a:cubicBezTo>
                <a:cubicBezTo>
                  <a:pt x="4855912" y="903759"/>
                  <a:pt x="4855912" y="903759"/>
                  <a:pt x="4515162" y="1033473"/>
                </a:cubicBezTo>
                <a:cubicBezTo>
                  <a:pt x="4492321" y="1043010"/>
                  <a:pt x="4463764" y="1031565"/>
                  <a:pt x="4454246" y="1006767"/>
                </a:cubicBezTo>
                <a:cubicBezTo>
                  <a:pt x="4446631" y="981968"/>
                  <a:pt x="4458054" y="955263"/>
                  <a:pt x="4482802" y="945725"/>
                </a:cubicBezTo>
                <a:cubicBezTo>
                  <a:pt x="4482802" y="945725"/>
                  <a:pt x="4482802" y="945725"/>
                  <a:pt x="4823545" y="816011"/>
                </a:cubicBezTo>
                <a:cubicBezTo>
                  <a:pt x="4829733" y="813626"/>
                  <a:pt x="4836038" y="812673"/>
                  <a:pt x="4842165" y="812941"/>
                </a:cubicBezTo>
                <a:close/>
                <a:moveTo>
                  <a:pt x="1476350" y="812927"/>
                </a:moveTo>
                <a:cubicBezTo>
                  <a:pt x="1494719" y="813732"/>
                  <a:pt x="1511483" y="825535"/>
                  <a:pt x="1518617" y="842703"/>
                </a:cubicBezTo>
                <a:cubicBezTo>
                  <a:pt x="1520519" y="848426"/>
                  <a:pt x="1522421" y="854148"/>
                  <a:pt x="1522421" y="859871"/>
                </a:cubicBezTo>
                <a:cubicBezTo>
                  <a:pt x="1522421" y="878946"/>
                  <a:pt x="1511008" y="898022"/>
                  <a:pt x="1491985" y="903745"/>
                </a:cubicBezTo>
                <a:cubicBezTo>
                  <a:pt x="1491985" y="903745"/>
                  <a:pt x="1491985" y="903745"/>
                  <a:pt x="1151475" y="1033459"/>
                </a:cubicBezTo>
                <a:cubicBezTo>
                  <a:pt x="1126746" y="1042997"/>
                  <a:pt x="1100114" y="1031552"/>
                  <a:pt x="1090602" y="1006753"/>
                </a:cubicBezTo>
                <a:cubicBezTo>
                  <a:pt x="1081091" y="981955"/>
                  <a:pt x="1094407" y="955249"/>
                  <a:pt x="1117234" y="945711"/>
                </a:cubicBezTo>
                <a:cubicBezTo>
                  <a:pt x="1117234" y="945711"/>
                  <a:pt x="1117234" y="945711"/>
                  <a:pt x="1457744" y="815997"/>
                </a:cubicBezTo>
                <a:cubicBezTo>
                  <a:pt x="1463926" y="813613"/>
                  <a:pt x="1470227" y="812659"/>
                  <a:pt x="1476350" y="812927"/>
                </a:cubicBezTo>
                <a:close/>
                <a:moveTo>
                  <a:pt x="4285653" y="804258"/>
                </a:moveTo>
                <a:cubicBezTo>
                  <a:pt x="4305298" y="806047"/>
                  <a:pt x="4322801" y="818566"/>
                  <a:pt x="4328517" y="838596"/>
                </a:cubicBezTo>
                <a:cubicBezTo>
                  <a:pt x="4330421" y="844319"/>
                  <a:pt x="4332326" y="848134"/>
                  <a:pt x="4332326" y="853857"/>
                </a:cubicBezTo>
                <a:cubicBezTo>
                  <a:pt x="4332326" y="874842"/>
                  <a:pt x="4318991" y="893918"/>
                  <a:pt x="4298036" y="901549"/>
                </a:cubicBezTo>
                <a:cubicBezTo>
                  <a:pt x="4298036" y="901549"/>
                  <a:pt x="4298036" y="901549"/>
                  <a:pt x="3957054" y="1017917"/>
                </a:cubicBezTo>
                <a:cubicBezTo>
                  <a:pt x="3930384" y="1025548"/>
                  <a:pt x="3901807" y="1012194"/>
                  <a:pt x="3894188" y="985486"/>
                </a:cubicBezTo>
                <a:cubicBezTo>
                  <a:pt x="3884663" y="960687"/>
                  <a:pt x="3897997" y="932072"/>
                  <a:pt x="3924670" y="922533"/>
                </a:cubicBezTo>
                <a:cubicBezTo>
                  <a:pt x="3924670" y="922533"/>
                  <a:pt x="3924670" y="922533"/>
                  <a:pt x="4265648" y="806166"/>
                </a:cubicBezTo>
                <a:cubicBezTo>
                  <a:pt x="4272317" y="804258"/>
                  <a:pt x="4279103" y="803662"/>
                  <a:pt x="4285653" y="804258"/>
                </a:cubicBezTo>
                <a:close/>
                <a:moveTo>
                  <a:pt x="2032209" y="804242"/>
                </a:moveTo>
                <a:cubicBezTo>
                  <a:pt x="2051145" y="806031"/>
                  <a:pt x="2069004" y="818550"/>
                  <a:pt x="2076149" y="838580"/>
                </a:cubicBezTo>
                <a:cubicBezTo>
                  <a:pt x="2078054" y="844303"/>
                  <a:pt x="2078054" y="848119"/>
                  <a:pt x="2078054" y="853842"/>
                </a:cubicBezTo>
                <a:cubicBezTo>
                  <a:pt x="2078054" y="874826"/>
                  <a:pt x="2064718" y="893903"/>
                  <a:pt x="2043758" y="901533"/>
                </a:cubicBezTo>
                <a:cubicBezTo>
                  <a:pt x="2043758" y="901533"/>
                  <a:pt x="2043758" y="901533"/>
                  <a:pt x="1702759" y="1017901"/>
                </a:cubicBezTo>
                <a:cubicBezTo>
                  <a:pt x="1676089" y="1025532"/>
                  <a:pt x="1649419" y="1012178"/>
                  <a:pt x="1639894" y="985471"/>
                </a:cubicBezTo>
                <a:cubicBezTo>
                  <a:pt x="1630368" y="960671"/>
                  <a:pt x="1645609" y="932056"/>
                  <a:pt x="1670374" y="922518"/>
                </a:cubicBezTo>
                <a:cubicBezTo>
                  <a:pt x="1670374" y="922518"/>
                  <a:pt x="1670374" y="922518"/>
                  <a:pt x="2013278" y="806150"/>
                </a:cubicBezTo>
                <a:cubicBezTo>
                  <a:pt x="2019470" y="804242"/>
                  <a:pt x="2025899" y="803646"/>
                  <a:pt x="2032209" y="804242"/>
                </a:cubicBezTo>
                <a:close/>
                <a:moveTo>
                  <a:pt x="3725237" y="796620"/>
                </a:moveTo>
                <a:cubicBezTo>
                  <a:pt x="3745001" y="798945"/>
                  <a:pt x="3762885" y="812538"/>
                  <a:pt x="3770041" y="832569"/>
                </a:cubicBezTo>
                <a:cubicBezTo>
                  <a:pt x="3770041" y="838293"/>
                  <a:pt x="3771946" y="844016"/>
                  <a:pt x="3771946" y="847831"/>
                </a:cubicBezTo>
                <a:cubicBezTo>
                  <a:pt x="3771946" y="870725"/>
                  <a:pt x="3756685" y="891710"/>
                  <a:pt x="3733792" y="897434"/>
                </a:cubicBezTo>
                <a:cubicBezTo>
                  <a:pt x="3733792" y="897434"/>
                  <a:pt x="3733792" y="897434"/>
                  <a:pt x="3390422" y="1000454"/>
                </a:cubicBezTo>
                <a:cubicBezTo>
                  <a:pt x="3363712" y="1008085"/>
                  <a:pt x="3335096" y="992823"/>
                  <a:pt x="3325558" y="964206"/>
                </a:cubicBezTo>
                <a:cubicBezTo>
                  <a:pt x="3317928" y="937497"/>
                  <a:pt x="3333191" y="908881"/>
                  <a:pt x="3361805" y="899342"/>
                </a:cubicBezTo>
                <a:cubicBezTo>
                  <a:pt x="3361805" y="899342"/>
                  <a:pt x="3361805" y="899342"/>
                  <a:pt x="3705176" y="798229"/>
                </a:cubicBezTo>
                <a:cubicBezTo>
                  <a:pt x="3711853" y="796321"/>
                  <a:pt x="3718649" y="795845"/>
                  <a:pt x="3725237" y="796620"/>
                </a:cubicBezTo>
                <a:close/>
                <a:moveTo>
                  <a:pt x="2591734" y="796602"/>
                </a:moveTo>
                <a:cubicBezTo>
                  <a:pt x="2611497" y="798927"/>
                  <a:pt x="2629381" y="812520"/>
                  <a:pt x="2636535" y="832551"/>
                </a:cubicBezTo>
                <a:cubicBezTo>
                  <a:pt x="2636535" y="838275"/>
                  <a:pt x="2638443" y="843998"/>
                  <a:pt x="2638443" y="847814"/>
                </a:cubicBezTo>
                <a:cubicBezTo>
                  <a:pt x="2638443" y="870707"/>
                  <a:pt x="2623182" y="891693"/>
                  <a:pt x="2600289" y="897416"/>
                </a:cubicBezTo>
                <a:cubicBezTo>
                  <a:pt x="2600289" y="897416"/>
                  <a:pt x="2600289" y="897416"/>
                  <a:pt x="2256905" y="1000437"/>
                </a:cubicBezTo>
                <a:cubicBezTo>
                  <a:pt x="2230198" y="1008068"/>
                  <a:pt x="2201582" y="992806"/>
                  <a:pt x="2192043" y="964189"/>
                </a:cubicBezTo>
                <a:cubicBezTo>
                  <a:pt x="2184413" y="937480"/>
                  <a:pt x="2199674" y="908863"/>
                  <a:pt x="2228290" y="899324"/>
                </a:cubicBezTo>
                <a:cubicBezTo>
                  <a:pt x="2228290" y="899324"/>
                  <a:pt x="2228290" y="899324"/>
                  <a:pt x="2571674" y="798211"/>
                </a:cubicBezTo>
                <a:cubicBezTo>
                  <a:pt x="2578350" y="796304"/>
                  <a:pt x="2585148" y="795827"/>
                  <a:pt x="2591734" y="796602"/>
                </a:cubicBezTo>
                <a:close/>
                <a:moveTo>
                  <a:pt x="3154889" y="787711"/>
                </a:moveTo>
                <a:cubicBezTo>
                  <a:pt x="3175859" y="791193"/>
                  <a:pt x="3194422" y="807266"/>
                  <a:pt x="3200131" y="828698"/>
                </a:cubicBezTo>
                <a:cubicBezTo>
                  <a:pt x="3200131" y="832508"/>
                  <a:pt x="3202035" y="838223"/>
                  <a:pt x="3202035" y="842033"/>
                </a:cubicBezTo>
                <a:cubicBezTo>
                  <a:pt x="3202035" y="866798"/>
                  <a:pt x="3184905" y="887752"/>
                  <a:pt x="3160154" y="895372"/>
                </a:cubicBezTo>
                <a:cubicBezTo>
                  <a:pt x="3160154" y="895372"/>
                  <a:pt x="3160154" y="895372"/>
                  <a:pt x="2817485" y="983002"/>
                </a:cubicBezTo>
                <a:cubicBezTo>
                  <a:pt x="2787027" y="990622"/>
                  <a:pt x="2758472" y="973477"/>
                  <a:pt x="2750856" y="944903"/>
                </a:cubicBezTo>
                <a:cubicBezTo>
                  <a:pt x="2743240" y="914422"/>
                  <a:pt x="2760373" y="885848"/>
                  <a:pt x="2788928" y="878228"/>
                </a:cubicBezTo>
                <a:cubicBezTo>
                  <a:pt x="2788928" y="878228"/>
                  <a:pt x="2788928" y="878228"/>
                  <a:pt x="3133501" y="788693"/>
                </a:cubicBezTo>
                <a:cubicBezTo>
                  <a:pt x="3140642" y="786788"/>
                  <a:pt x="3147899" y="786550"/>
                  <a:pt x="3154889" y="787711"/>
                </a:cubicBezTo>
                <a:close/>
                <a:moveTo>
                  <a:pt x="9863739" y="570068"/>
                </a:moveTo>
                <a:cubicBezTo>
                  <a:pt x="9870401" y="571019"/>
                  <a:pt x="9876588" y="574345"/>
                  <a:pt x="9881347" y="580048"/>
                </a:cubicBezTo>
                <a:cubicBezTo>
                  <a:pt x="9885153" y="585751"/>
                  <a:pt x="9887057" y="591454"/>
                  <a:pt x="9887057" y="597157"/>
                </a:cubicBezTo>
                <a:cubicBezTo>
                  <a:pt x="9887057" y="604761"/>
                  <a:pt x="9883250" y="614265"/>
                  <a:pt x="9875636" y="618067"/>
                </a:cubicBezTo>
                <a:cubicBezTo>
                  <a:pt x="9875636" y="618067"/>
                  <a:pt x="9875636" y="618067"/>
                  <a:pt x="9540623" y="857587"/>
                </a:cubicBezTo>
                <a:cubicBezTo>
                  <a:pt x="9529202" y="865191"/>
                  <a:pt x="9512070" y="863290"/>
                  <a:pt x="9504456" y="849984"/>
                </a:cubicBezTo>
                <a:cubicBezTo>
                  <a:pt x="9494939" y="838578"/>
                  <a:pt x="9496842" y="821469"/>
                  <a:pt x="9510167" y="811965"/>
                </a:cubicBezTo>
                <a:cubicBezTo>
                  <a:pt x="9510167" y="811965"/>
                  <a:pt x="9510167" y="811965"/>
                  <a:pt x="9843277" y="574345"/>
                </a:cubicBezTo>
                <a:cubicBezTo>
                  <a:pt x="9849939" y="570543"/>
                  <a:pt x="9857077" y="569118"/>
                  <a:pt x="9863739" y="570068"/>
                </a:cubicBezTo>
                <a:close/>
                <a:moveTo>
                  <a:pt x="9288066" y="561743"/>
                </a:moveTo>
                <a:cubicBezTo>
                  <a:pt x="9295215" y="563402"/>
                  <a:pt x="9301888" y="567670"/>
                  <a:pt x="9306654" y="574308"/>
                </a:cubicBezTo>
                <a:cubicBezTo>
                  <a:pt x="9310467" y="578102"/>
                  <a:pt x="9312374" y="583792"/>
                  <a:pt x="9312374" y="589483"/>
                </a:cubicBezTo>
                <a:cubicBezTo>
                  <a:pt x="9312374" y="598966"/>
                  <a:pt x="9306654" y="608450"/>
                  <a:pt x="9299028" y="614140"/>
                </a:cubicBezTo>
                <a:cubicBezTo>
                  <a:pt x="9299028" y="614140"/>
                  <a:pt x="9299028" y="614140"/>
                  <a:pt x="8963476" y="839853"/>
                </a:cubicBezTo>
                <a:cubicBezTo>
                  <a:pt x="8950130" y="849337"/>
                  <a:pt x="8932971" y="845543"/>
                  <a:pt x="8923439" y="832266"/>
                </a:cubicBezTo>
                <a:cubicBezTo>
                  <a:pt x="8913906" y="818989"/>
                  <a:pt x="8917719" y="800021"/>
                  <a:pt x="8931065" y="792434"/>
                </a:cubicBezTo>
                <a:cubicBezTo>
                  <a:pt x="8931065" y="792434"/>
                  <a:pt x="8931065" y="792434"/>
                  <a:pt x="9266617" y="564825"/>
                </a:cubicBezTo>
                <a:cubicBezTo>
                  <a:pt x="9273290" y="561032"/>
                  <a:pt x="9280916" y="560083"/>
                  <a:pt x="9288066" y="561743"/>
                </a:cubicBezTo>
                <a:close/>
                <a:moveTo>
                  <a:pt x="10448544" y="561719"/>
                </a:moveTo>
                <a:cubicBezTo>
                  <a:pt x="10455693" y="563379"/>
                  <a:pt x="10462366" y="567647"/>
                  <a:pt x="10467132" y="574285"/>
                </a:cubicBezTo>
                <a:cubicBezTo>
                  <a:pt x="10470945" y="578079"/>
                  <a:pt x="10472852" y="583769"/>
                  <a:pt x="10472852" y="589459"/>
                </a:cubicBezTo>
                <a:cubicBezTo>
                  <a:pt x="10472852" y="598943"/>
                  <a:pt x="10467132" y="608427"/>
                  <a:pt x="10459506" y="614117"/>
                </a:cubicBezTo>
                <a:cubicBezTo>
                  <a:pt x="10459506" y="614117"/>
                  <a:pt x="10459506" y="614117"/>
                  <a:pt x="10123954" y="839831"/>
                </a:cubicBezTo>
                <a:cubicBezTo>
                  <a:pt x="10110608" y="849314"/>
                  <a:pt x="10093449" y="845521"/>
                  <a:pt x="10083917" y="832244"/>
                </a:cubicBezTo>
                <a:cubicBezTo>
                  <a:pt x="10074384" y="818966"/>
                  <a:pt x="10078197" y="799999"/>
                  <a:pt x="10091543" y="792412"/>
                </a:cubicBezTo>
                <a:cubicBezTo>
                  <a:pt x="10091543" y="792412"/>
                  <a:pt x="10091543" y="792412"/>
                  <a:pt x="10427095" y="564801"/>
                </a:cubicBezTo>
                <a:cubicBezTo>
                  <a:pt x="10433768" y="561008"/>
                  <a:pt x="10441394" y="560060"/>
                  <a:pt x="10448544" y="561719"/>
                </a:cubicBezTo>
                <a:close/>
                <a:moveTo>
                  <a:pt x="8716914" y="552708"/>
                </a:moveTo>
                <a:cubicBezTo>
                  <a:pt x="8724791" y="554373"/>
                  <a:pt x="8731951" y="559130"/>
                  <a:pt x="8736725" y="566742"/>
                </a:cubicBezTo>
                <a:cubicBezTo>
                  <a:pt x="8740544" y="570547"/>
                  <a:pt x="8742454" y="576256"/>
                  <a:pt x="8742454" y="583868"/>
                </a:cubicBezTo>
                <a:cubicBezTo>
                  <a:pt x="8742454" y="593382"/>
                  <a:pt x="8736725" y="602897"/>
                  <a:pt x="8727178" y="608605"/>
                </a:cubicBezTo>
                <a:cubicBezTo>
                  <a:pt x="8727178" y="608605"/>
                  <a:pt x="8727178" y="608605"/>
                  <a:pt x="8391103" y="825535"/>
                </a:cubicBezTo>
                <a:cubicBezTo>
                  <a:pt x="8377736" y="835050"/>
                  <a:pt x="8356731" y="829341"/>
                  <a:pt x="8347184" y="816021"/>
                </a:cubicBezTo>
                <a:cubicBezTo>
                  <a:pt x="8337636" y="800798"/>
                  <a:pt x="8343365" y="781769"/>
                  <a:pt x="8356731" y="772254"/>
                </a:cubicBezTo>
                <a:cubicBezTo>
                  <a:pt x="8356731" y="772254"/>
                  <a:pt x="8356731" y="772254"/>
                  <a:pt x="8692807" y="557227"/>
                </a:cubicBezTo>
                <a:cubicBezTo>
                  <a:pt x="8700445" y="552470"/>
                  <a:pt x="8709038" y="551043"/>
                  <a:pt x="8716914" y="552708"/>
                </a:cubicBezTo>
                <a:close/>
                <a:moveTo>
                  <a:pt x="11026758" y="552682"/>
                </a:moveTo>
                <a:cubicBezTo>
                  <a:pt x="11034635" y="554347"/>
                  <a:pt x="11041796" y="559105"/>
                  <a:pt x="11046569" y="566716"/>
                </a:cubicBezTo>
                <a:cubicBezTo>
                  <a:pt x="11050388" y="570522"/>
                  <a:pt x="11052298" y="576231"/>
                  <a:pt x="11052298" y="583843"/>
                </a:cubicBezTo>
                <a:cubicBezTo>
                  <a:pt x="11052298" y="593357"/>
                  <a:pt x="11046569" y="602871"/>
                  <a:pt x="11037022" y="608580"/>
                </a:cubicBezTo>
                <a:cubicBezTo>
                  <a:pt x="11037022" y="608580"/>
                  <a:pt x="11037022" y="608580"/>
                  <a:pt x="10700947" y="825511"/>
                </a:cubicBezTo>
                <a:cubicBezTo>
                  <a:pt x="10685670" y="835025"/>
                  <a:pt x="10666575" y="829317"/>
                  <a:pt x="10657028" y="815996"/>
                </a:cubicBezTo>
                <a:cubicBezTo>
                  <a:pt x="10647480" y="800773"/>
                  <a:pt x="10651299" y="781744"/>
                  <a:pt x="10666575" y="772230"/>
                </a:cubicBezTo>
                <a:cubicBezTo>
                  <a:pt x="10666575" y="772230"/>
                  <a:pt x="10666575" y="772230"/>
                  <a:pt x="11002651" y="557202"/>
                </a:cubicBezTo>
                <a:cubicBezTo>
                  <a:pt x="11010289" y="552445"/>
                  <a:pt x="11018882" y="551017"/>
                  <a:pt x="11026758" y="552682"/>
                </a:cubicBezTo>
                <a:close/>
                <a:moveTo>
                  <a:pt x="8152845" y="544127"/>
                </a:moveTo>
                <a:cubicBezTo>
                  <a:pt x="8161154" y="546266"/>
                  <a:pt x="8168750" y="551493"/>
                  <a:pt x="8173498" y="559095"/>
                </a:cubicBezTo>
                <a:cubicBezTo>
                  <a:pt x="8177296" y="564797"/>
                  <a:pt x="8177296" y="570499"/>
                  <a:pt x="8177296" y="576201"/>
                </a:cubicBezTo>
                <a:cubicBezTo>
                  <a:pt x="8177296" y="587605"/>
                  <a:pt x="8171598" y="599009"/>
                  <a:pt x="8162103" y="604711"/>
                </a:cubicBezTo>
                <a:cubicBezTo>
                  <a:pt x="8162103" y="604711"/>
                  <a:pt x="8162103" y="604711"/>
                  <a:pt x="7825963" y="808083"/>
                </a:cubicBezTo>
                <a:cubicBezTo>
                  <a:pt x="7810771" y="817587"/>
                  <a:pt x="7789881" y="813785"/>
                  <a:pt x="7780385" y="796679"/>
                </a:cubicBezTo>
                <a:cubicBezTo>
                  <a:pt x="7770890" y="781474"/>
                  <a:pt x="7776587" y="760567"/>
                  <a:pt x="7791780" y="751063"/>
                </a:cubicBezTo>
                <a:cubicBezTo>
                  <a:pt x="7791780" y="751063"/>
                  <a:pt x="7791780" y="751063"/>
                  <a:pt x="8127919" y="547691"/>
                </a:cubicBezTo>
                <a:cubicBezTo>
                  <a:pt x="8135516" y="542939"/>
                  <a:pt x="8144537" y="541989"/>
                  <a:pt x="8152845" y="544127"/>
                </a:cubicBezTo>
                <a:close/>
                <a:moveTo>
                  <a:pt x="11598067" y="544120"/>
                </a:moveTo>
                <a:cubicBezTo>
                  <a:pt x="11606170" y="546258"/>
                  <a:pt x="11613319" y="551485"/>
                  <a:pt x="11618085" y="559088"/>
                </a:cubicBezTo>
                <a:cubicBezTo>
                  <a:pt x="11621899" y="564790"/>
                  <a:pt x="11623805" y="570492"/>
                  <a:pt x="11623805" y="576194"/>
                </a:cubicBezTo>
                <a:cubicBezTo>
                  <a:pt x="11623805" y="587598"/>
                  <a:pt x="11618085" y="599002"/>
                  <a:pt x="11606646" y="604704"/>
                </a:cubicBezTo>
                <a:cubicBezTo>
                  <a:pt x="11606646" y="604704"/>
                  <a:pt x="11606646" y="604704"/>
                  <a:pt x="11271101" y="808077"/>
                </a:cubicBezTo>
                <a:cubicBezTo>
                  <a:pt x="11255849" y="817580"/>
                  <a:pt x="11234877" y="813778"/>
                  <a:pt x="11225345" y="796673"/>
                </a:cubicBezTo>
                <a:cubicBezTo>
                  <a:pt x="11215812" y="781467"/>
                  <a:pt x="11219625" y="760560"/>
                  <a:pt x="11236784" y="751056"/>
                </a:cubicBezTo>
                <a:cubicBezTo>
                  <a:pt x="11236784" y="751056"/>
                  <a:pt x="11236784" y="751056"/>
                  <a:pt x="11572329" y="547684"/>
                </a:cubicBezTo>
                <a:cubicBezTo>
                  <a:pt x="11580908" y="542932"/>
                  <a:pt x="11589964" y="541982"/>
                  <a:pt x="11598067" y="544120"/>
                </a:cubicBezTo>
                <a:close/>
                <a:moveTo>
                  <a:pt x="12139750" y="535003"/>
                </a:moveTo>
                <a:cubicBezTo>
                  <a:pt x="12139750" y="535003"/>
                  <a:pt x="12139750" y="535003"/>
                  <a:pt x="12139750" y="616918"/>
                </a:cubicBezTo>
                <a:cubicBezTo>
                  <a:pt x="12139750" y="616918"/>
                  <a:pt x="12139750" y="616918"/>
                  <a:pt x="11835212" y="792178"/>
                </a:cubicBezTo>
                <a:cubicBezTo>
                  <a:pt x="11818082" y="801703"/>
                  <a:pt x="11795242" y="795988"/>
                  <a:pt x="11785725" y="778843"/>
                </a:cubicBezTo>
                <a:cubicBezTo>
                  <a:pt x="11776208" y="761698"/>
                  <a:pt x="11781918" y="738838"/>
                  <a:pt x="11799048" y="729313"/>
                </a:cubicBezTo>
                <a:lnTo>
                  <a:pt x="12135943" y="536908"/>
                </a:lnTo>
                <a:cubicBezTo>
                  <a:pt x="12137847" y="536908"/>
                  <a:pt x="12137847" y="535003"/>
                  <a:pt x="12139750" y="535003"/>
                </a:cubicBezTo>
                <a:close/>
                <a:moveTo>
                  <a:pt x="7595886" y="534825"/>
                </a:moveTo>
                <a:cubicBezTo>
                  <a:pt x="7604955" y="537196"/>
                  <a:pt x="7613070" y="542884"/>
                  <a:pt x="7617844" y="551417"/>
                </a:cubicBezTo>
                <a:cubicBezTo>
                  <a:pt x="7621663" y="557105"/>
                  <a:pt x="7621663" y="562794"/>
                  <a:pt x="7621663" y="568482"/>
                </a:cubicBezTo>
                <a:cubicBezTo>
                  <a:pt x="7621663" y="581756"/>
                  <a:pt x="7615935" y="593133"/>
                  <a:pt x="7604478" y="600717"/>
                </a:cubicBezTo>
                <a:cubicBezTo>
                  <a:pt x="7604478" y="600717"/>
                  <a:pt x="7604478" y="600717"/>
                  <a:pt x="7266512" y="792231"/>
                </a:cubicBezTo>
                <a:cubicBezTo>
                  <a:pt x="7249327" y="801712"/>
                  <a:pt x="7228323" y="796023"/>
                  <a:pt x="7218776" y="778957"/>
                </a:cubicBezTo>
                <a:cubicBezTo>
                  <a:pt x="7207320" y="761892"/>
                  <a:pt x="7214957" y="739138"/>
                  <a:pt x="7230233" y="729657"/>
                </a:cubicBezTo>
                <a:cubicBezTo>
                  <a:pt x="7230233" y="729657"/>
                  <a:pt x="7230233" y="729657"/>
                  <a:pt x="7568199" y="538144"/>
                </a:cubicBezTo>
                <a:cubicBezTo>
                  <a:pt x="7576791" y="533403"/>
                  <a:pt x="7586816" y="532455"/>
                  <a:pt x="7595886" y="534825"/>
                </a:cubicBezTo>
                <a:close/>
                <a:moveTo>
                  <a:pt x="7044520" y="526281"/>
                </a:moveTo>
                <a:cubicBezTo>
                  <a:pt x="7053807" y="529139"/>
                  <a:pt x="7061903" y="535330"/>
                  <a:pt x="7066666" y="543903"/>
                </a:cubicBezTo>
                <a:cubicBezTo>
                  <a:pt x="7070476" y="549618"/>
                  <a:pt x="7072381" y="557237"/>
                  <a:pt x="7072381" y="562953"/>
                </a:cubicBezTo>
                <a:cubicBezTo>
                  <a:pt x="7072381" y="576287"/>
                  <a:pt x="7064761" y="589623"/>
                  <a:pt x="7051425" y="595337"/>
                </a:cubicBezTo>
                <a:cubicBezTo>
                  <a:pt x="7051425" y="595337"/>
                  <a:pt x="7051425" y="595337"/>
                  <a:pt x="6714236" y="776312"/>
                </a:cubicBezTo>
                <a:cubicBezTo>
                  <a:pt x="6695185" y="785837"/>
                  <a:pt x="6672325" y="780122"/>
                  <a:pt x="6662800" y="761072"/>
                </a:cubicBezTo>
                <a:cubicBezTo>
                  <a:pt x="6653275" y="743927"/>
                  <a:pt x="6660895" y="721067"/>
                  <a:pt x="6678040" y="709637"/>
                </a:cubicBezTo>
                <a:cubicBezTo>
                  <a:pt x="6678040" y="709637"/>
                  <a:pt x="6678040" y="709637"/>
                  <a:pt x="7015230" y="528663"/>
                </a:cubicBezTo>
                <a:cubicBezTo>
                  <a:pt x="7024755" y="523900"/>
                  <a:pt x="7035233" y="523424"/>
                  <a:pt x="7044520" y="526281"/>
                </a:cubicBezTo>
                <a:close/>
                <a:moveTo>
                  <a:pt x="6500891" y="517214"/>
                </a:moveTo>
                <a:cubicBezTo>
                  <a:pt x="6510676" y="520539"/>
                  <a:pt x="6519268" y="527666"/>
                  <a:pt x="6524041" y="538118"/>
                </a:cubicBezTo>
                <a:cubicBezTo>
                  <a:pt x="6525950" y="543819"/>
                  <a:pt x="6527860" y="549520"/>
                  <a:pt x="6527860" y="555221"/>
                </a:cubicBezTo>
                <a:cubicBezTo>
                  <a:pt x="6527860" y="570424"/>
                  <a:pt x="6520223" y="583727"/>
                  <a:pt x="6506857" y="591328"/>
                </a:cubicBezTo>
                <a:cubicBezTo>
                  <a:pt x="6506857" y="591328"/>
                  <a:pt x="6506857" y="591328"/>
                  <a:pt x="6166999" y="760460"/>
                </a:cubicBezTo>
                <a:cubicBezTo>
                  <a:pt x="6147906" y="769962"/>
                  <a:pt x="6123085" y="762360"/>
                  <a:pt x="6113538" y="743357"/>
                </a:cubicBezTo>
                <a:cubicBezTo>
                  <a:pt x="6103992" y="722453"/>
                  <a:pt x="6111629" y="699649"/>
                  <a:pt x="6130722" y="690147"/>
                </a:cubicBezTo>
                <a:cubicBezTo>
                  <a:pt x="6130722" y="690147"/>
                  <a:pt x="6130722" y="690147"/>
                  <a:pt x="6470580" y="519114"/>
                </a:cubicBezTo>
                <a:cubicBezTo>
                  <a:pt x="6480127" y="514363"/>
                  <a:pt x="6491105" y="513888"/>
                  <a:pt x="6500891" y="517214"/>
                </a:cubicBezTo>
                <a:close/>
                <a:moveTo>
                  <a:pt x="5942009" y="506693"/>
                </a:moveTo>
                <a:cubicBezTo>
                  <a:pt x="5958261" y="505537"/>
                  <a:pt x="5973977" y="514778"/>
                  <a:pt x="5981120" y="530416"/>
                </a:cubicBezTo>
                <a:cubicBezTo>
                  <a:pt x="5984930" y="536102"/>
                  <a:pt x="5984930" y="541789"/>
                  <a:pt x="5984930" y="547475"/>
                </a:cubicBezTo>
                <a:cubicBezTo>
                  <a:pt x="5984930" y="564535"/>
                  <a:pt x="5977310" y="579699"/>
                  <a:pt x="5962070" y="585386"/>
                </a:cubicBezTo>
                <a:cubicBezTo>
                  <a:pt x="5962070" y="585386"/>
                  <a:pt x="5962070" y="585386"/>
                  <a:pt x="5622984" y="744609"/>
                </a:cubicBezTo>
                <a:cubicBezTo>
                  <a:pt x="5602029" y="754087"/>
                  <a:pt x="5577264" y="744609"/>
                  <a:pt x="5565833" y="723759"/>
                </a:cubicBezTo>
                <a:cubicBezTo>
                  <a:pt x="5556309" y="702908"/>
                  <a:pt x="5565833" y="678266"/>
                  <a:pt x="5586789" y="668789"/>
                </a:cubicBezTo>
                <a:cubicBezTo>
                  <a:pt x="5586789" y="668789"/>
                  <a:pt x="5586789" y="668789"/>
                  <a:pt x="5925877" y="511460"/>
                </a:cubicBezTo>
                <a:cubicBezTo>
                  <a:pt x="5931114" y="508617"/>
                  <a:pt x="5936591" y="507077"/>
                  <a:pt x="5942009" y="506693"/>
                </a:cubicBezTo>
                <a:close/>
                <a:moveTo>
                  <a:pt x="382532" y="506681"/>
                </a:moveTo>
                <a:cubicBezTo>
                  <a:pt x="398784" y="505526"/>
                  <a:pt x="414500" y="514766"/>
                  <a:pt x="421644" y="530405"/>
                </a:cubicBezTo>
                <a:cubicBezTo>
                  <a:pt x="423549" y="536091"/>
                  <a:pt x="425454" y="541778"/>
                  <a:pt x="425454" y="547464"/>
                </a:cubicBezTo>
                <a:cubicBezTo>
                  <a:pt x="425454" y="564524"/>
                  <a:pt x="415929" y="579688"/>
                  <a:pt x="400689" y="585374"/>
                </a:cubicBezTo>
                <a:cubicBezTo>
                  <a:pt x="400689" y="585374"/>
                  <a:pt x="400689" y="585374"/>
                  <a:pt x="61595" y="744598"/>
                </a:cubicBezTo>
                <a:cubicBezTo>
                  <a:pt x="40640" y="754076"/>
                  <a:pt x="15874" y="744598"/>
                  <a:pt x="6349" y="723747"/>
                </a:cubicBezTo>
                <a:cubicBezTo>
                  <a:pt x="-3176" y="702897"/>
                  <a:pt x="6349" y="678255"/>
                  <a:pt x="27305" y="668777"/>
                </a:cubicBezTo>
                <a:cubicBezTo>
                  <a:pt x="27305" y="668777"/>
                  <a:pt x="27305" y="668777"/>
                  <a:pt x="366399" y="511449"/>
                </a:cubicBezTo>
                <a:cubicBezTo>
                  <a:pt x="371637" y="508606"/>
                  <a:pt x="377114" y="507066"/>
                  <a:pt x="382532" y="506681"/>
                </a:cubicBezTo>
                <a:close/>
                <a:moveTo>
                  <a:pt x="5409823" y="500973"/>
                </a:moveTo>
                <a:cubicBezTo>
                  <a:pt x="5420078" y="505026"/>
                  <a:pt x="5428662" y="513132"/>
                  <a:pt x="5433432" y="524577"/>
                </a:cubicBezTo>
                <a:cubicBezTo>
                  <a:pt x="5437247" y="530300"/>
                  <a:pt x="5437247" y="536022"/>
                  <a:pt x="5437247" y="541744"/>
                </a:cubicBezTo>
                <a:cubicBezTo>
                  <a:pt x="5437247" y="558911"/>
                  <a:pt x="5427709" y="574171"/>
                  <a:pt x="5410538" y="581801"/>
                </a:cubicBezTo>
                <a:cubicBezTo>
                  <a:pt x="5410538" y="581801"/>
                  <a:pt x="5410538" y="581801"/>
                  <a:pt x="5070946" y="728676"/>
                </a:cubicBezTo>
                <a:cubicBezTo>
                  <a:pt x="5048055" y="738212"/>
                  <a:pt x="5023257" y="728676"/>
                  <a:pt x="5011810" y="705786"/>
                </a:cubicBezTo>
                <a:cubicBezTo>
                  <a:pt x="5002274" y="682896"/>
                  <a:pt x="5013719" y="658100"/>
                  <a:pt x="5034702" y="648562"/>
                </a:cubicBezTo>
                <a:cubicBezTo>
                  <a:pt x="5034702" y="648562"/>
                  <a:pt x="5034702" y="648562"/>
                  <a:pt x="5376199" y="501688"/>
                </a:cubicBezTo>
                <a:cubicBezTo>
                  <a:pt x="5387645" y="496919"/>
                  <a:pt x="5399569" y="496919"/>
                  <a:pt x="5409823" y="500973"/>
                </a:cubicBezTo>
                <a:close/>
                <a:moveTo>
                  <a:pt x="943575" y="500959"/>
                </a:moveTo>
                <a:cubicBezTo>
                  <a:pt x="954275" y="505012"/>
                  <a:pt x="963310" y="513119"/>
                  <a:pt x="968066" y="524564"/>
                </a:cubicBezTo>
                <a:cubicBezTo>
                  <a:pt x="969968" y="530286"/>
                  <a:pt x="969968" y="536009"/>
                  <a:pt x="969968" y="541731"/>
                </a:cubicBezTo>
                <a:cubicBezTo>
                  <a:pt x="969968" y="558898"/>
                  <a:pt x="960457" y="574158"/>
                  <a:pt x="945239" y="581788"/>
                </a:cubicBezTo>
                <a:cubicBezTo>
                  <a:pt x="945239" y="581788"/>
                  <a:pt x="945239" y="581788"/>
                  <a:pt x="604741" y="728662"/>
                </a:cubicBezTo>
                <a:cubicBezTo>
                  <a:pt x="581914" y="738200"/>
                  <a:pt x="557185" y="728662"/>
                  <a:pt x="547674" y="705773"/>
                </a:cubicBezTo>
                <a:cubicBezTo>
                  <a:pt x="538163" y="682883"/>
                  <a:pt x="547674" y="658086"/>
                  <a:pt x="570501" y="648549"/>
                </a:cubicBezTo>
                <a:cubicBezTo>
                  <a:pt x="570501" y="648549"/>
                  <a:pt x="570501" y="648549"/>
                  <a:pt x="909097" y="501674"/>
                </a:cubicBezTo>
                <a:cubicBezTo>
                  <a:pt x="920510" y="496906"/>
                  <a:pt x="932875" y="496906"/>
                  <a:pt x="943575" y="500959"/>
                </a:cubicBezTo>
                <a:close/>
                <a:moveTo>
                  <a:pt x="4841065" y="488779"/>
                </a:moveTo>
                <a:cubicBezTo>
                  <a:pt x="4858649" y="489046"/>
                  <a:pt x="4875427" y="499748"/>
                  <a:pt x="4882566" y="516870"/>
                </a:cubicBezTo>
                <a:cubicBezTo>
                  <a:pt x="4884469" y="522577"/>
                  <a:pt x="4886373" y="528285"/>
                  <a:pt x="4886373" y="533993"/>
                </a:cubicBezTo>
                <a:cubicBezTo>
                  <a:pt x="4886373" y="553017"/>
                  <a:pt x="4874949" y="570139"/>
                  <a:pt x="4855912" y="577749"/>
                </a:cubicBezTo>
                <a:cubicBezTo>
                  <a:pt x="4855912" y="577749"/>
                  <a:pt x="4855912" y="577749"/>
                  <a:pt x="4517068" y="712825"/>
                </a:cubicBezTo>
                <a:cubicBezTo>
                  <a:pt x="4492321" y="722338"/>
                  <a:pt x="4465668" y="710923"/>
                  <a:pt x="4456150" y="686191"/>
                </a:cubicBezTo>
                <a:cubicBezTo>
                  <a:pt x="4446631" y="663361"/>
                  <a:pt x="4458054" y="636726"/>
                  <a:pt x="4482802" y="627214"/>
                </a:cubicBezTo>
                <a:cubicBezTo>
                  <a:pt x="4482802" y="627214"/>
                  <a:pt x="4482802" y="627214"/>
                  <a:pt x="4823545" y="492138"/>
                </a:cubicBezTo>
                <a:cubicBezTo>
                  <a:pt x="4829255" y="489760"/>
                  <a:pt x="4835204" y="488690"/>
                  <a:pt x="4841065" y="488779"/>
                </a:cubicBezTo>
                <a:close/>
                <a:moveTo>
                  <a:pt x="1475768" y="488763"/>
                </a:moveTo>
                <a:cubicBezTo>
                  <a:pt x="1493806" y="489031"/>
                  <a:pt x="1511308" y="499732"/>
                  <a:pt x="1517023" y="516854"/>
                </a:cubicBezTo>
                <a:cubicBezTo>
                  <a:pt x="1520833" y="522562"/>
                  <a:pt x="1520833" y="528269"/>
                  <a:pt x="1520833" y="533977"/>
                </a:cubicBezTo>
                <a:cubicBezTo>
                  <a:pt x="1520833" y="553002"/>
                  <a:pt x="1509403" y="570124"/>
                  <a:pt x="1492258" y="577734"/>
                </a:cubicBezTo>
                <a:cubicBezTo>
                  <a:pt x="1492258" y="577734"/>
                  <a:pt x="1492258" y="577734"/>
                  <a:pt x="1151259" y="712810"/>
                </a:cubicBezTo>
                <a:cubicBezTo>
                  <a:pt x="1128399" y="722323"/>
                  <a:pt x="1101728" y="710908"/>
                  <a:pt x="1092203" y="686175"/>
                </a:cubicBezTo>
                <a:cubicBezTo>
                  <a:pt x="1082678" y="663346"/>
                  <a:pt x="1094108" y="636711"/>
                  <a:pt x="1116969" y="627198"/>
                </a:cubicBezTo>
                <a:cubicBezTo>
                  <a:pt x="1116969" y="627198"/>
                  <a:pt x="1116969" y="627198"/>
                  <a:pt x="1457968" y="492122"/>
                </a:cubicBezTo>
                <a:cubicBezTo>
                  <a:pt x="1463683" y="489744"/>
                  <a:pt x="1469755" y="488674"/>
                  <a:pt x="1475768" y="488763"/>
                </a:cubicBezTo>
                <a:close/>
                <a:moveTo>
                  <a:pt x="4284536" y="479572"/>
                </a:moveTo>
                <a:cubicBezTo>
                  <a:pt x="4302958" y="480462"/>
                  <a:pt x="4319771" y="492573"/>
                  <a:pt x="4326924" y="511096"/>
                </a:cubicBezTo>
                <a:cubicBezTo>
                  <a:pt x="4328831" y="516795"/>
                  <a:pt x="4330739" y="522495"/>
                  <a:pt x="4330739" y="528194"/>
                </a:cubicBezTo>
                <a:cubicBezTo>
                  <a:pt x="4330739" y="547192"/>
                  <a:pt x="4317385" y="566190"/>
                  <a:pt x="4298308" y="571889"/>
                </a:cubicBezTo>
                <a:cubicBezTo>
                  <a:pt x="4298308" y="571889"/>
                  <a:pt x="4298308" y="571889"/>
                  <a:pt x="3956841" y="695376"/>
                </a:cubicBezTo>
                <a:cubicBezTo>
                  <a:pt x="3932037" y="704875"/>
                  <a:pt x="3903422" y="691576"/>
                  <a:pt x="3895790" y="666879"/>
                </a:cubicBezTo>
                <a:cubicBezTo>
                  <a:pt x="3886251" y="642182"/>
                  <a:pt x="3899607" y="615584"/>
                  <a:pt x="3924406" y="606085"/>
                </a:cubicBezTo>
                <a:cubicBezTo>
                  <a:pt x="3924406" y="606085"/>
                  <a:pt x="3924406" y="606085"/>
                  <a:pt x="4265875" y="482599"/>
                </a:cubicBezTo>
                <a:cubicBezTo>
                  <a:pt x="4272075" y="480225"/>
                  <a:pt x="4278394" y="479275"/>
                  <a:pt x="4284536" y="479572"/>
                </a:cubicBezTo>
                <a:close/>
                <a:moveTo>
                  <a:pt x="2030557" y="479554"/>
                </a:moveTo>
                <a:cubicBezTo>
                  <a:pt x="2049519" y="480444"/>
                  <a:pt x="2067404" y="492555"/>
                  <a:pt x="2074559" y="511078"/>
                </a:cubicBezTo>
                <a:cubicBezTo>
                  <a:pt x="2076466" y="516778"/>
                  <a:pt x="2076466" y="522477"/>
                  <a:pt x="2076466" y="528177"/>
                </a:cubicBezTo>
                <a:cubicBezTo>
                  <a:pt x="2076466" y="547175"/>
                  <a:pt x="2065020" y="566172"/>
                  <a:pt x="2045939" y="571872"/>
                </a:cubicBezTo>
                <a:cubicBezTo>
                  <a:pt x="2045939" y="571872"/>
                  <a:pt x="2045939" y="571872"/>
                  <a:pt x="1702543" y="695358"/>
                </a:cubicBezTo>
                <a:cubicBezTo>
                  <a:pt x="1677743" y="704857"/>
                  <a:pt x="1651034" y="691559"/>
                  <a:pt x="1641495" y="666862"/>
                </a:cubicBezTo>
                <a:cubicBezTo>
                  <a:pt x="1631957" y="642164"/>
                  <a:pt x="1645311" y="615567"/>
                  <a:pt x="1670112" y="606068"/>
                </a:cubicBezTo>
                <a:cubicBezTo>
                  <a:pt x="1670112" y="606068"/>
                  <a:pt x="1670112" y="606068"/>
                  <a:pt x="2011599" y="482582"/>
                </a:cubicBezTo>
                <a:cubicBezTo>
                  <a:pt x="2017799" y="480207"/>
                  <a:pt x="2024238" y="479257"/>
                  <a:pt x="2030557" y="479554"/>
                </a:cubicBezTo>
                <a:close/>
                <a:moveTo>
                  <a:pt x="3723550" y="470402"/>
                </a:moveTo>
                <a:cubicBezTo>
                  <a:pt x="3743254" y="471922"/>
                  <a:pt x="3760807" y="485514"/>
                  <a:pt x="3766538" y="505544"/>
                </a:cubicBezTo>
                <a:cubicBezTo>
                  <a:pt x="3768450" y="511267"/>
                  <a:pt x="3770359" y="515082"/>
                  <a:pt x="3770359" y="520805"/>
                </a:cubicBezTo>
                <a:cubicBezTo>
                  <a:pt x="3770359" y="541790"/>
                  <a:pt x="3756987" y="560866"/>
                  <a:pt x="3734059" y="568497"/>
                </a:cubicBezTo>
                <a:cubicBezTo>
                  <a:pt x="3734059" y="568497"/>
                  <a:pt x="3734059" y="568497"/>
                  <a:pt x="3392114" y="681049"/>
                </a:cubicBezTo>
                <a:cubicBezTo>
                  <a:pt x="3365365" y="690588"/>
                  <a:pt x="3336709" y="675326"/>
                  <a:pt x="3329067" y="648619"/>
                </a:cubicBezTo>
                <a:cubicBezTo>
                  <a:pt x="3319514" y="621912"/>
                  <a:pt x="3334799" y="595204"/>
                  <a:pt x="3359634" y="585666"/>
                </a:cubicBezTo>
                <a:cubicBezTo>
                  <a:pt x="3359634" y="585666"/>
                  <a:pt x="3359634" y="585666"/>
                  <a:pt x="3703492" y="473114"/>
                </a:cubicBezTo>
                <a:cubicBezTo>
                  <a:pt x="3710179" y="470729"/>
                  <a:pt x="3716986" y="469895"/>
                  <a:pt x="3723550" y="470402"/>
                </a:cubicBezTo>
                <a:close/>
                <a:moveTo>
                  <a:pt x="2590051" y="470381"/>
                </a:moveTo>
                <a:cubicBezTo>
                  <a:pt x="2609752" y="471901"/>
                  <a:pt x="2627305" y="485494"/>
                  <a:pt x="2633035" y="505524"/>
                </a:cubicBezTo>
                <a:cubicBezTo>
                  <a:pt x="2634945" y="511247"/>
                  <a:pt x="2636856" y="515063"/>
                  <a:pt x="2636856" y="520785"/>
                </a:cubicBezTo>
                <a:cubicBezTo>
                  <a:pt x="2636856" y="541770"/>
                  <a:pt x="2623483" y="560847"/>
                  <a:pt x="2600558" y="568477"/>
                </a:cubicBezTo>
                <a:cubicBezTo>
                  <a:pt x="2600558" y="568477"/>
                  <a:pt x="2600558" y="568477"/>
                  <a:pt x="2258596" y="681030"/>
                </a:cubicBezTo>
                <a:cubicBezTo>
                  <a:pt x="2231850" y="690568"/>
                  <a:pt x="2203194" y="675307"/>
                  <a:pt x="2195553" y="648599"/>
                </a:cubicBezTo>
                <a:cubicBezTo>
                  <a:pt x="2186001" y="621892"/>
                  <a:pt x="2201284" y="595185"/>
                  <a:pt x="2226119" y="585646"/>
                </a:cubicBezTo>
                <a:cubicBezTo>
                  <a:pt x="2226119" y="585646"/>
                  <a:pt x="2226119" y="585646"/>
                  <a:pt x="2569992" y="473094"/>
                </a:cubicBezTo>
                <a:cubicBezTo>
                  <a:pt x="2576678" y="470709"/>
                  <a:pt x="2583485" y="469875"/>
                  <a:pt x="2590051" y="470381"/>
                </a:cubicBezTo>
                <a:close/>
                <a:moveTo>
                  <a:pt x="3153226" y="461689"/>
                </a:moveTo>
                <a:cubicBezTo>
                  <a:pt x="3173702" y="464103"/>
                  <a:pt x="3191229" y="478054"/>
                  <a:pt x="3196952" y="499516"/>
                </a:cubicBezTo>
                <a:cubicBezTo>
                  <a:pt x="3198860" y="503332"/>
                  <a:pt x="3198860" y="509055"/>
                  <a:pt x="3198860" y="512871"/>
                </a:cubicBezTo>
                <a:cubicBezTo>
                  <a:pt x="3198860" y="535764"/>
                  <a:pt x="3185507" y="556750"/>
                  <a:pt x="3162613" y="564381"/>
                </a:cubicBezTo>
                <a:cubicBezTo>
                  <a:pt x="3162613" y="564381"/>
                  <a:pt x="3162613" y="564381"/>
                  <a:pt x="2819230" y="665493"/>
                </a:cubicBezTo>
                <a:cubicBezTo>
                  <a:pt x="2790615" y="673125"/>
                  <a:pt x="2761999" y="657862"/>
                  <a:pt x="2754365" y="629246"/>
                </a:cubicBezTo>
                <a:cubicBezTo>
                  <a:pt x="2744827" y="602536"/>
                  <a:pt x="2761999" y="572012"/>
                  <a:pt x="2788707" y="564381"/>
                </a:cubicBezTo>
                <a:cubicBezTo>
                  <a:pt x="2788707" y="564381"/>
                  <a:pt x="2788707" y="564381"/>
                  <a:pt x="3132091" y="463269"/>
                </a:cubicBezTo>
                <a:cubicBezTo>
                  <a:pt x="3139247" y="461361"/>
                  <a:pt x="3146399" y="460884"/>
                  <a:pt x="3153226" y="461689"/>
                </a:cubicBezTo>
                <a:close/>
                <a:moveTo>
                  <a:pt x="9865382" y="251073"/>
                </a:moveTo>
                <a:cubicBezTo>
                  <a:pt x="9872978" y="252741"/>
                  <a:pt x="9880099" y="257509"/>
                  <a:pt x="9884846" y="265137"/>
                </a:cubicBezTo>
                <a:cubicBezTo>
                  <a:pt x="9888644" y="268951"/>
                  <a:pt x="9888644" y="274673"/>
                  <a:pt x="9888644" y="280394"/>
                </a:cubicBezTo>
                <a:cubicBezTo>
                  <a:pt x="9888644" y="289929"/>
                  <a:pt x="9884846" y="299465"/>
                  <a:pt x="9875351" y="305186"/>
                </a:cubicBezTo>
                <a:cubicBezTo>
                  <a:pt x="9875351" y="305186"/>
                  <a:pt x="9875351" y="305186"/>
                  <a:pt x="9543036" y="530219"/>
                </a:cubicBezTo>
                <a:cubicBezTo>
                  <a:pt x="9527844" y="539755"/>
                  <a:pt x="9510753" y="535941"/>
                  <a:pt x="9501259" y="520684"/>
                </a:cubicBezTo>
                <a:cubicBezTo>
                  <a:pt x="9491764" y="507335"/>
                  <a:pt x="9495562" y="490171"/>
                  <a:pt x="9508855" y="480636"/>
                </a:cubicBezTo>
                <a:cubicBezTo>
                  <a:pt x="9508855" y="480636"/>
                  <a:pt x="9508855" y="480636"/>
                  <a:pt x="9843069" y="255602"/>
                </a:cubicBezTo>
                <a:cubicBezTo>
                  <a:pt x="9849716" y="250834"/>
                  <a:pt x="9857786" y="249404"/>
                  <a:pt x="9865382" y="251073"/>
                </a:cubicBezTo>
                <a:close/>
                <a:moveTo>
                  <a:pt x="9288660" y="242274"/>
                </a:moveTo>
                <a:cubicBezTo>
                  <a:pt x="9296298" y="244177"/>
                  <a:pt x="9303459" y="248934"/>
                  <a:pt x="9308232" y="255594"/>
                </a:cubicBezTo>
                <a:cubicBezTo>
                  <a:pt x="9312051" y="261303"/>
                  <a:pt x="9313961" y="267012"/>
                  <a:pt x="9313961" y="272720"/>
                </a:cubicBezTo>
                <a:cubicBezTo>
                  <a:pt x="9313961" y="284138"/>
                  <a:pt x="9308232" y="293652"/>
                  <a:pt x="9298685" y="299361"/>
                </a:cubicBezTo>
                <a:cubicBezTo>
                  <a:pt x="9298685" y="299361"/>
                  <a:pt x="9298685" y="299361"/>
                  <a:pt x="8962610" y="514388"/>
                </a:cubicBezTo>
                <a:cubicBezTo>
                  <a:pt x="8949243" y="523902"/>
                  <a:pt x="8928238" y="518193"/>
                  <a:pt x="8918691" y="504873"/>
                </a:cubicBezTo>
                <a:cubicBezTo>
                  <a:pt x="8909143" y="489650"/>
                  <a:pt x="8914872" y="470622"/>
                  <a:pt x="8928238" y="461107"/>
                </a:cubicBezTo>
                <a:lnTo>
                  <a:pt x="9266223" y="246080"/>
                </a:lnTo>
                <a:cubicBezTo>
                  <a:pt x="9272907" y="241322"/>
                  <a:pt x="9281022" y="240371"/>
                  <a:pt x="9288660" y="242274"/>
                </a:cubicBezTo>
                <a:close/>
                <a:moveTo>
                  <a:pt x="10450170" y="242248"/>
                </a:moveTo>
                <a:cubicBezTo>
                  <a:pt x="10458260" y="244151"/>
                  <a:pt x="10465874" y="248908"/>
                  <a:pt x="10470633" y="255569"/>
                </a:cubicBezTo>
                <a:cubicBezTo>
                  <a:pt x="10472536" y="261277"/>
                  <a:pt x="10474440" y="266986"/>
                  <a:pt x="10474440" y="272695"/>
                </a:cubicBezTo>
                <a:cubicBezTo>
                  <a:pt x="10474440" y="284112"/>
                  <a:pt x="10470633" y="293627"/>
                  <a:pt x="10461115" y="299335"/>
                </a:cubicBezTo>
                <a:cubicBezTo>
                  <a:pt x="10461115" y="299335"/>
                  <a:pt x="10461115" y="299335"/>
                  <a:pt x="10124192" y="514363"/>
                </a:cubicBezTo>
                <a:cubicBezTo>
                  <a:pt x="10110867" y="523878"/>
                  <a:pt x="10091832" y="518169"/>
                  <a:pt x="10082315" y="504848"/>
                </a:cubicBezTo>
                <a:cubicBezTo>
                  <a:pt x="10072797" y="489625"/>
                  <a:pt x="10076604" y="470596"/>
                  <a:pt x="10091832" y="461082"/>
                </a:cubicBezTo>
                <a:lnTo>
                  <a:pt x="10426852" y="246054"/>
                </a:lnTo>
                <a:cubicBezTo>
                  <a:pt x="10433514" y="241297"/>
                  <a:pt x="10442080" y="240345"/>
                  <a:pt x="10450170" y="242248"/>
                </a:cubicBezTo>
                <a:close/>
                <a:moveTo>
                  <a:pt x="8718303" y="233007"/>
                </a:moveTo>
                <a:cubicBezTo>
                  <a:pt x="8726406" y="235155"/>
                  <a:pt x="8733555" y="240405"/>
                  <a:pt x="8738321" y="248042"/>
                </a:cubicBezTo>
                <a:cubicBezTo>
                  <a:pt x="8742135" y="253770"/>
                  <a:pt x="8744041" y="259498"/>
                  <a:pt x="8744041" y="265226"/>
                </a:cubicBezTo>
                <a:cubicBezTo>
                  <a:pt x="8744041" y="276682"/>
                  <a:pt x="8738321" y="288137"/>
                  <a:pt x="8728789" y="293865"/>
                </a:cubicBezTo>
                <a:cubicBezTo>
                  <a:pt x="8728789" y="293865"/>
                  <a:pt x="8728789" y="293865"/>
                  <a:pt x="8391337" y="500068"/>
                </a:cubicBezTo>
                <a:cubicBezTo>
                  <a:pt x="8376085" y="509614"/>
                  <a:pt x="8355113" y="503887"/>
                  <a:pt x="8345581" y="488612"/>
                </a:cubicBezTo>
                <a:cubicBezTo>
                  <a:pt x="8336048" y="473338"/>
                  <a:pt x="8341768" y="452336"/>
                  <a:pt x="8357020" y="442790"/>
                </a:cubicBezTo>
                <a:cubicBezTo>
                  <a:pt x="8357020" y="442790"/>
                  <a:pt x="8357020" y="442790"/>
                  <a:pt x="8692565" y="236587"/>
                </a:cubicBezTo>
                <a:cubicBezTo>
                  <a:pt x="8701144" y="231813"/>
                  <a:pt x="8710200" y="230859"/>
                  <a:pt x="8718303" y="233007"/>
                </a:cubicBezTo>
                <a:close/>
                <a:moveTo>
                  <a:pt x="11027432" y="232979"/>
                </a:moveTo>
                <a:cubicBezTo>
                  <a:pt x="11035773" y="235127"/>
                  <a:pt x="11043399" y="240377"/>
                  <a:pt x="11048165" y="248015"/>
                </a:cubicBezTo>
                <a:cubicBezTo>
                  <a:pt x="11051979" y="253743"/>
                  <a:pt x="11053885" y="259470"/>
                  <a:pt x="11053885" y="265198"/>
                </a:cubicBezTo>
                <a:cubicBezTo>
                  <a:pt x="11053885" y="276654"/>
                  <a:pt x="11048165" y="288110"/>
                  <a:pt x="11036726" y="293838"/>
                </a:cubicBezTo>
                <a:cubicBezTo>
                  <a:pt x="11036726" y="293838"/>
                  <a:pt x="11036726" y="293838"/>
                  <a:pt x="10701181" y="500041"/>
                </a:cubicBezTo>
                <a:cubicBezTo>
                  <a:pt x="10685929" y="509587"/>
                  <a:pt x="10664957" y="503860"/>
                  <a:pt x="10655425" y="488585"/>
                </a:cubicBezTo>
                <a:cubicBezTo>
                  <a:pt x="10645892" y="473311"/>
                  <a:pt x="10651612" y="452309"/>
                  <a:pt x="10666864" y="442762"/>
                </a:cubicBezTo>
                <a:cubicBezTo>
                  <a:pt x="10666864" y="442762"/>
                  <a:pt x="10666864" y="442762"/>
                  <a:pt x="11002409" y="236559"/>
                </a:cubicBezTo>
                <a:cubicBezTo>
                  <a:pt x="11010035" y="231786"/>
                  <a:pt x="11019091" y="230831"/>
                  <a:pt x="11027432" y="232979"/>
                </a:cubicBezTo>
                <a:close/>
                <a:moveTo>
                  <a:pt x="8154912" y="223468"/>
                </a:moveTo>
                <a:cubicBezTo>
                  <a:pt x="8163750" y="225611"/>
                  <a:pt x="8171871" y="230850"/>
                  <a:pt x="8176649" y="238470"/>
                </a:cubicBezTo>
                <a:cubicBezTo>
                  <a:pt x="8178560" y="244185"/>
                  <a:pt x="8180471" y="251805"/>
                  <a:pt x="8180471" y="257520"/>
                </a:cubicBezTo>
                <a:cubicBezTo>
                  <a:pt x="8180471" y="268950"/>
                  <a:pt x="8174738" y="280380"/>
                  <a:pt x="8163273" y="288000"/>
                </a:cubicBezTo>
                <a:cubicBezTo>
                  <a:pt x="8163273" y="288000"/>
                  <a:pt x="8163273" y="288000"/>
                  <a:pt x="7825042" y="484214"/>
                </a:cubicBezTo>
                <a:cubicBezTo>
                  <a:pt x="7809755" y="493739"/>
                  <a:pt x="7786824" y="488024"/>
                  <a:pt x="7777269" y="470879"/>
                </a:cubicBezTo>
                <a:cubicBezTo>
                  <a:pt x="7767715" y="453735"/>
                  <a:pt x="7773447" y="432780"/>
                  <a:pt x="7790646" y="423255"/>
                </a:cubicBezTo>
                <a:cubicBezTo>
                  <a:pt x="7790646" y="423255"/>
                  <a:pt x="7790646" y="423255"/>
                  <a:pt x="8128876" y="227040"/>
                </a:cubicBezTo>
                <a:cubicBezTo>
                  <a:pt x="8136520" y="222278"/>
                  <a:pt x="8146074" y="221325"/>
                  <a:pt x="8154912" y="223468"/>
                </a:cubicBezTo>
                <a:close/>
                <a:moveTo>
                  <a:pt x="11598743" y="223460"/>
                </a:moveTo>
                <a:cubicBezTo>
                  <a:pt x="11607309" y="225603"/>
                  <a:pt x="11614923" y="230841"/>
                  <a:pt x="11619682" y="238461"/>
                </a:cubicBezTo>
                <a:cubicBezTo>
                  <a:pt x="11623489" y="244176"/>
                  <a:pt x="11625393" y="251796"/>
                  <a:pt x="11625393" y="257511"/>
                </a:cubicBezTo>
                <a:cubicBezTo>
                  <a:pt x="11625393" y="268941"/>
                  <a:pt x="11619682" y="280371"/>
                  <a:pt x="11608261" y="287991"/>
                </a:cubicBezTo>
                <a:cubicBezTo>
                  <a:pt x="11608261" y="287991"/>
                  <a:pt x="11608261" y="287991"/>
                  <a:pt x="11271332" y="484206"/>
                </a:cubicBezTo>
                <a:cubicBezTo>
                  <a:pt x="11254200" y="493731"/>
                  <a:pt x="11233261" y="488016"/>
                  <a:pt x="11223743" y="470871"/>
                </a:cubicBezTo>
                <a:cubicBezTo>
                  <a:pt x="11214225" y="453726"/>
                  <a:pt x="11219936" y="432771"/>
                  <a:pt x="11237068" y="423246"/>
                </a:cubicBezTo>
                <a:cubicBezTo>
                  <a:pt x="11237068" y="423246"/>
                  <a:pt x="11237068" y="423246"/>
                  <a:pt x="11572093" y="227031"/>
                </a:cubicBezTo>
                <a:cubicBezTo>
                  <a:pt x="11580659" y="222269"/>
                  <a:pt x="11590177" y="221316"/>
                  <a:pt x="11598743" y="223460"/>
                </a:cubicBezTo>
                <a:close/>
                <a:moveTo>
                  <a:pt x="12139750" y="215916"/>
                </a:moveTo>
                <a:cubicBezTo>
                  <a:pt x="12139750" y="215916"/>
                  <a:pt x="12139750" y="215916"/>
                  <a:pt x="12139750" y="297535"/>
                </a:cubicBezTo>
                <a:cubicBezTo>
                  <a:pt x="12139750" y="297535"/>
                  <a:pt x="12139750" y="297535"/>
                  <a:pt x="11835475" y="466465"/>
                </a:cubicBezTo>
                <a:cubicBezTo>
                  <a:pt x="11816458" y="477854"/>
                  <a:pt x="11795539" y="470261"/>
                  <a:pt x="11784129" y="453179"/>
                </a:cubicBezTo>
                <a:cubicBezTo>
                  <a:pt x="11774620" y="436096"/>
                  <a:pt x="11782227" y="413319"/>
                  <a:pt x="11799342" y="403828"/>
                </a:cubicBezTo>
                <a:cubicBezTo>
                  <a:pt x="11799342" y="403828"/>
                  <a:pt x="11799342" y="403828"/>
                  <a:pt x="12135947" y="217814"/>
                </a:cubicBezTo>
                <a:cubicBezTo>
                  <a:pt x="12137848" y="215916"/>
                  <a:pt x="12137848" y="215916"/>
                  <a:pt x="12139750" y="215916"/>
                </a:cubicBezTo>
                <a:close/>
                <a:moveTo>
                  <a:pt x="7596540" y="214167"/>
                </a:moveTo>
                <a:cubicBezTo>
                  <a:pt x="7605602" y="216542"/>
                  <a:pt x="7613711" y="222244"/>
                  <a:pt x="7619435" y="230796"/>
                </a:cubicBezTo>
                <a:cubicBezTo>
                  <a:pt x="7621343" y="236498"/>
                  <a:pt x="7623251" y="242199"/>
                  <a:pt x="7623251" y="247901"/>
                </a:cubicBezTo>
                <a:cubicBezTo>
                  <a:pt x="7623251" y="261205"/>
                  <a:pt x="7615619" y="274508"/>
                  <a:pt x="7604171" y="280210"/>
                </a:cubicBezTo>
                <a:cubicBezTo>
                  <a:pt x="7604171" y="280210"/>
                  <a:pt x="7604171" y="280210"/>
                  <a:pt x="7266466" y="466461"/>
                </a:cubicBezTo>
                <a:cubicBezTo>
                  <a:pt x="7249294" y="477864"/>
                  <a:pt x="7226399" y="470262"/>
                  <a:pt x="7216859" y="453158"/>
                </a:cubicBezTo>
                <a:cubicBezTo>
                  <a:pt x="7207320" y="436053"/>
                  <a:pt x="7213044" y="413247"/>
                  <a:pt x="7230215" y="403744"/>
                </a:cubicBezTo>
                <a:cubicBezTo>
                  <a:pt x="7230215" y="403744"/>
                  <a:pt x="7230215" y="403744"/>
                  <a:pt x="7567920" y="217493"/>
                </a:cubicBezTo>
                <a:cubicBezTo>
                  <a:pt x="7577460" y="212741"/>
                  <a:pt x="7587477" y="211791"/>
                  <a:pt x="7596540" y="214167"/>
                </a:cubicBezTo>
                <a:close/>
                <a:moveTo>
                  <a:pt x="7044758" y="204259"/>
                </a:moveTo>
                <a:cubicBezTo>
                  <a:pt x="7054283" y="207354"/>
                  <a:pt x="7062856" y="214022"/>
                  <a:pt x="7068571" y="223547"/>
                </a:cubicBezTo>
                <a:cubicBezTo>
                  <a:pt x="7070476" y="229262"/>
                  <a:pt x="7072381" y="234977"/>
                  <a:pt x="7072381" y="240692"/>
                </a:cubicBezTo>
                <a:cubicBezTo>
                  <a:pt x="7072381" y="254027"/>
                  <a:pt x="7064761" y="267362"/>
                  <a:pt x="7051425" y="274982"/>
                </a:cubicBezTo>
                <a:cubicBezTo>
                  <a:pt x="7051425" y="274982"/>
                  <a:pt x="7051425" y="274982"/>
                  <a:pt x="6714236" y="452146"/>
                </a:cubicBezTo>
                <a:cubicBezTo>
                  <a:pt x="6695185" y="463576"/>
                  <a:pt x="6672325" y="455956"/>
                  <a:pt x="6662800" y="436906"/>
                </a:cubicBezTo>
                <a:cubicBezTo>
                  <a:pt x="6653275" y="417857"/>
                  <a:pt x="6658990" y="394997"/>
                  <a:pt x="6678040" y="385472"/>
                </a:cubicBezTo>
                <a:cubicBezTo>
                  <a:pt x="6678040" y="385472"/>
                  <a:pt x="6678040" y="385472"/>
                  <a:pt x="7015230" y="206402"/>
                </a:cubicBezTo>
                <a:cubicBezTo>
                  <a:pt x="7024755" y="201639"/>
                  <a:pt x="7035233" y="201163"/>
                  <a:pt x="7044758" y="204259"/>
                </a:cubicBezTo>
                <a:close/>
                <a:moveTo>
                  <a:pt x="6500891" y="194963"/>
                </a:moveTo>
                <a:cubicBezTo>
                  <a:pt x="6510676" y="198292"/>
                  <a:pt x="6519268" y="205427"/>
                  <a:pt x="6524041" y="215892"/>
                </a:cubicBezTo>
                <a:cubicBezTo>
                  <a:pt x="6527860" y="221600"/>
                  <a:pt x="6527860" y="227308"/>
                  <a:pt x="6527860" y="233016"/>
                </a:cubicBezTo>
                <a:cubicBezTo>
                  <a:pt x="6527860" y="248237"/>
                  <a:pt x="6520223" y="261556"/>
                  <a:pt x="6506857" y="269166"/>
                </a:cubicBezTo>
                <a:cubicBezTo>
                  <a:pt x="6506857" y="269166"/>
                  <a:pt x="6506857" y="269166"/>
                  <a:pt x="6166999" y="436601"/>
                </a:cubicBezTo>
                <a:cubicBezTo>
                  <a:pt x="6147906" y="446114"/>
                  <a:pt x="6123085" y="438504"/>
                  <a:pt x="6113538" y="419477"/>
                </a:cubicBezTo>
                <a:cubicBezTo>
                  <a:pt x="6103992" y="400450"/>
                  <a:pt x="6111629" y="375716"/>
                  <a:pt x="6130722" y="366202"/>
                </a:cubicBezTo>
                <a:cubicBezTo>
                  <a:pt x="6130722" y="366202"/>
                  <a:pt x="6130722" y="366202"/>
                  <a:pt x="6470580" y="196865"/>
                </a:cubicBezTo>
                <a:cubicBezTo>
                  <a:pt x="6480127" y="192109"/>
                  <a:pt x="6491105" y="191633"/>
                  <a:pt x="6500891" y="194963"/>
                </a:cubicBezTo>
                <a:close/>
                <a:moveTo>
                  <a:pt x="5957785" y="186367"/>
                </a:moveTo>
                <a:cubicBezTo>
                  <a:pt x="5967786" y="190163"/>
                  <a:pt x="5976358" y="197754"/>
                  <a:pt x="5981120" y="208192"/>
                </a:cubicBezTo>
                <a:cubicBezTo>
                  <a:pt x="5984930" y="213886"/>
                  <a:pt x="5984930" y="219579"/>
                  <a:pt x="5984930" y="225273"/>
                </a:cubicBezTo>
                <a:cubicBezTo>
                  <a:pt x="5984930" y="240455"/>
                  <a:pt x="5977310" y="255638"/>
                  <a:pt x="5962070" y="263230"/>
                </a:cubicBezTo>
                <a:cubicBezTo>
                  <a:pt x="5962070" y="263230"/>
                  <a:pt x="5962070" y="263230"/>
                  <a:pt x="5622984" y="420750"/>
                </a:cubicBezTo>
                <a:cubicBezTo>
                  <a:pt x="5602029" y="430239"/>
                  <a:pt x="5577264" y="422648"/>
                  <a:pt x="5567739" y="401772"/>
                </a:cubicBezTo>
                <a:cubicBezTo>
                  <a:pt x="5556309" y="380896"/>
                  <a:pt x="5565833" y="356224"/>
                  <a:pt x="5586789" y="346734"/>
                </a:cubicBezTo>
                <a:cubicBezTo>
                  <a:pt x="5586789" y="346734"/>
                  <a:pt x="5586789" y="346734"/>
                  <a:pt x="5925877" y="187316"/>
                </a:cubicBezTo>
                <a:cubicBezTo>
                  <a:pt x="5936354" y="182571"/>
                  <a:pt x="5947784" y="182571"/>
                  <a:pt x="5957785" y="186367"/>
                </a:cubicBezTo>
                <a:close/>
                <a:moveTo>
                  <a:pt x="398308" y="186354"/>
                </a:moveTo>
                <a:cubicBezTo>
                  <a:pt x="408309" y="190150"/>
                  <a:pt x="416882" y="197741"/>
                  <a:pt x="421644" y="208179"/>
                </a:cubicBezTo>
                <a:cubicBezTo>
                  <a:pt x="423549" y="213873"/>
                  <a:pt x="425454" y="219566"/>
                  <a:pt x="425454" y="225260"/>
                </a:cubicBezTo>
                <a:cubicBezTo>
                  <a:pt x="425454" y="240442"/>
                  <a:pt x="415929" y="255625"/>
                  <a:pt x="400689" y="263217"/>
                </a:cubicBezTo>
                <a:cubicBezTo>
                  <a:pt x="400689" y="263217"/>
                  <a:pt x="400689" y="263217"/>
                  <a:pt x="61595" y="420738"/>
                </a:cubicBezTo>
                <a:cubicBezTo>
                  <a:pt x="42545" y="430227"/>
                  <a:pt x="17780" y="422635"/>
                  <a:pt x="6349" y="401759"/>
                </a:cubicBezTo>
                <a:cubicBezTo>
                  <a:pt x="-3176" y="380883"/>
                  <a:pt x="6349" y="356211"/>
                  <a:pt x="27305" y="346722"/>
                </a:cubicBezTo>
                <a:cubicBezTo>
                  <a:pt x="27305" y="346722"/>
                  <a:pt x="27305" y="346722"/>
                  <a:pt x="366399" y="187303"/>
                </a:cubicBezTo>
                <a:cubicBezTo>
                  <a:pt x="376876" y="182559"/>
                  <a:pt x="388307" y="182559"/>
                  <a:pt x="398308" y="186354"/>
                </a:cubicBezTo>
                <a:close/>
                <a:moveTo>
                  <a:pt x="5409190" y="176874"/>
                </a:moveTo>
                <a:cubicBezTo>
                  <a:pt x="5419652" y="180684"/>
                  <a:pt x="5428687" y="188304"/>
                  <a:pt x="5433442" y="198782"/>
                </a:cubicBezTo>
                <a:cubicBezTo>
                  <a:pt x="5435345" y="204497"/>
                  <a:pt x="5437247" y="212117"/>
                  <a:pt x="5437247" y="217832"/>
                </a:cubicBezTo>
                <a:cubicBezTo>
                  <a:pt x="5437247" y="233072"/>
                  <a:pt x="5427736" y="250217"/>
                  <a:pt x="5410617" y="255932"/>
                </a:cubicBezTo>
                <a:cubicBezTo>
                  <a:pt x="5410617" y="255932"/>
                  <a:pt x="5410617" y="255932"/>
                  <a:pt x="5072019" y="406426"/>
                </a:cubicBezTo>
                <a:cubicBezTo>
                  <a:pt x="5049194" y="415951"/>
                  <a:pt x="5024468" y="406426"/>
                  <a:pt x="5014958" y="385471"/>
                </a:cubicBezTo>
                <a:cubicBezTo>
                  <a:pt x="5005447" y="362611"/>
                  <a:pt x="5014958" y="337846"/>
                  <a:pt x="5035880" y="328321"/>
                </a:cubicBezTo>
                <a:cubicBezTo>
                  <a:pt x="5035880" y="328321"/>
                  <a:pt x="5035880" y="328321"/>
                  <a:pt x="5376377" y="177827"/>
                </a:cubicBezTo>
                <a:cubicBezTo>
                  <a:pt x="5386840" y="173064"/>
                  <a:pt x="5398728" y="173064"/>
                  <a:pt x="5409190" y="176874"/>
                </a:cubicBezTo>
                <a:close/>
                <a:moveTo>
                  <a:pt x="942624" y="176859"/>
                </a:moveTo>
                <a:cubicBezTo>
                  <a:pt x="952848" y="180669"/>
                  <a:pt x="961408" y="188289"/>
                  <a:pt x="966164" y="198766"/>
                </a:cubicBezTo>
                <a:cubicBezTo>
                  <a:pt x="968066" y="204481"/>
                  <a:pt x="969968" y="212101"/>
                  <a:pt x="969968" y="217816"/>
                </a:cubicBezTo>
                <a:cubicBezTo>
                  <a:pt x="969968" y="233056"/>
                  <a:pt x="960457" y="250201"/>
                  <a:pt x="945239" y="255916"/>
                </a:cubicBezTo>
                <a:cubicBezTo>
                  <a:pt x="945239" y="255916"/>
                  <a:pt x="945239" y="255916"/>
                  <a:pt x="604741" y="406411"/>
                </a:cubicBezTo>
                <a:cubicBezTo>
                  <a:pt x="583816" y="415936"/>
                  <a:pt x="557185" y="406411"/>
                  <a:pt x="547674" y="385456"/>
                </a:cubicBezTo>
                <a:cubicBezTo>
                  <a:pt x="538163" y="362596"/>
                  <a:pt x="547674" y="337831"/>
                  <a:pt x="570501" y="328306"/>
                </a:cubicBezTo>
                <a:cubicBezTo>
                  <a:pt x="570501" y="328306"/>
                  <a:pt x="570501" y="328306"/>
                  <a:pt x="909097" y="177812"/>
                </a:cubicBezTo>
                <a:cubicBezTo>
                  <a:pt x="920510" y="173049"/>
                  <a:pt x="932399" y="173049"/>
                  <a:pt x="942624" y="176859"/>
                </a:cubicBezTo>
                <a:close/>
                <a:moveTo>
                  <a:pt x="4856423" y="167564"/>
                </a:moveTo>
                <a:cubicBezTo>
                  <a:pt x="4867146" y="171602"/>
                  <a:pt x="4876205" y="179677"/>
                  <a:pt x="4880971" y="191077"/>
                </a:cubicBezTo>
                <a:cubicBezTo>
                  <a:pt x="4882880" y="196777"/>
                  <a:pt x="4884786" y="202476"/>
                  <a:pt x="4884786" y="208176"/>
                </a:cubicBezTo>
                <a:cubicBezTo>
                  <a:pt x="4884786" y="227176"/>
                  <a:pt x="4875252" y="242376"/>
                  <a:pt x="4856184" y="249976"/>
                </a:cubicBezTo>
                <a:cubicBezTo>
                  <a:pt x="4856184" y="249976"/>
                  <a:pt x="4856184" y="249976"/>
                  <a:pt x="4516851" y="390576"/>
                </a:cubicBezTo>
                <a:cubicBezTo>
                  <a:pt x="4493973" y="400076"/>
                  <a:pt x="4467282" y="390576"/>
                  <a:pt x="4457750" y="367776"/>
                </a:cubicBezTo>
                <a:cubicBezTo>
                  <a:pt x="4448219" y="343076"/>
                  <a:pt x="4459658" y="318376"/>
                  <a:pt x="4482534" y="308876"/>
                </a:cubicBezTo>
                <a:cubicBezTo>
                  <a:pt x="4482534" y="308876"/>
                  <a:pt x="4482534" y="308876"/>
                  <a:pt x="4821864" y="168277"/>
                </a:cubicBezTo>
                <a:cubicBezTo>
                  <a:pt x="4833303" y="163527"/>
                  <a:pt x="4845697" y="163527"/>
                  <a:pt x="4856423" y="167564"/>
                </a:cubicBezTo>
                <a:close/>
                <a:moveTo>
                  <a:pt x="1492476" y="167547"/>
                </a:moveTo>
                <a:cubicBezTo>
                  <a:pt x="1503199" y="171584"/>
                  <a:pt x="1512255" y="179659"/>
                  <a:pt x="1517021" y="191059"/>
                </a:cubicBezTo>
                <a:cubicBezTo>
                  <a:pt x="1518927" y="196759"/>
                  <a:pt x="1520833" y="202459"/>
                  <a:pt x="1520833" y="208159"/>
                </a:cubicBezTo>
                <a:cubicBezTo>
                  <a:pt x="1520833" y="227159"/>
                  <a:pt x="1509395" y="242359"/>
                  <a:pt x="1492237" y="249959"/>
                </a:cubicBezTo>
                <a:cubicBezTo>
                  <a:pt x="1492237" y="249959"/>
                  <a:pt x="1492237" y="249959"/>
                  <a:pt x="1150990" y="390559"/>
                </a:cubicBezTo>
                <a:cubicBezTo>
                  <a:pt x="1128114" y="400059"/>
                  <a:pt x="1103330" y="390559"/>
                  <a:pt x="1093798" y="367759"/>
                </a:cubicBezTo>
                <a:cubicBezTo>
                  <a:pt x="1084266" y="343059"/>
                  <a:pt x="1093798" y="318359"/>
                  <a:pt x="1116675" y="308859"/>
                </a:cubicBezTo>
                <a:cubicBezTo>
                  <a:pt x="1116675" y="308859"/>
                  <a:pt x="1116675" y="308859"/>
                  <a:pt x="1457922" y="168259"/>
                </a:cubicBezTo>
                <a:cubicBezTo>
                  <a:pt x="1469360" y="163509"/>
                  <a:pt x="1481752" y="163509"/>
                  <a:pt x="1492476" y="167547"/>
                </a:cubicBezTo>
                <a:close/>
                <a:moveTo>
                  <a:pt x="4266102" y="156882"/>
                </a:moveTo>
                <a:cubicBezTo>
                  <a:pt x="4289029" y="149252"/>
                  <a:pt x="4315778" y="160697"/>
                  <a:pt x="4325330" y="183588"/>
                </a:cubicBezTo>
                <a:cubicBezTo>
                  <a:pt x="4327241" y="189310"/>
                  <a:pt x="4329151" y="195033"/>
                  <a:pt x="4329151" y="200756"/>
                </a:cubicBezTo>
                <a:cubicBezTo>
                  <a:pt x="4329151" y="219831"/>
                  <a:pt x="4317688" y="236999"/>
                  <a:pt x="4298581" y="244630"/>
                </a:cubicBezTo>
                <a:cubicBezTo>
                  <a:pt x="4298581" y="244630"/>
                  <a:pt x="4298581" y="244630"/>
                  <a:pt x="3956620" y="376251"/>
                </a:cubicBezTo>
                <a:cubicBezTo>
                  <a:pt x="3933691" y="385789"/>
                  <a:pt x="3906942" y="374344"/>
                  <a:pt x="3897391" y="349546"/>
                </a:cubicBezTo>
                <a:cubicBezTo>
                  <a:pt x="3887839" y="326655"/>
                  <a:pt x="3899302" y="299949"/>
                  <a:pt x="3924139" y="290411"/>
                </a:cubicBezTo>
                <a:cubicBezTo>
                  <a:pt x="3924139" y="290411"/>
                  <a:pt x="3924139" y="290411"/>
                  <a:pt x="4266102" y="156882"/>
                </a:cubicBezTo>
                <a:close/>
                <a:moveTo>
                  <a:pt x="2010467" y="156862"/>
                </a:moveTo>
                <a:cubicBezTo>
                  <a:pt x="2035214" y="149232"/>
                  <a:pt x="2061870" y="160677"/>
                  <a:pt x="2071389" y="183568"/>
                </a:cubicBezTo>
                <a:cubicBezTo>
                  <a:pt x="2073291" y="189291"/>
                  <a:pt x="2073291" y="195013"/>
                  <a:pt x="2073291" y="200736"/>
                </a:cubicBezTo>
                <a:cubicBezTo>
                  <a:pt x="2073291" y="219812"/>
                  <a:pt x="2061870" y="236980"/>
                  <a:pt x="2044733" y="244610"/>
                </a:cubicBezTo>
                <a:cubicBezTo>
                  <a:pt x="2044733" y="244610"/>
                  <a:pt x="2044733" y="244610"/>
                  <a:pt x="1703979" y="376232"/>
                </a:cubicBezTo>
                <a:cubicBezTo>
                  <a:pt x="1679231" y="385770"/>
                  <a:pt x="1652580" y="374325"/>
                  <a:pt x="1643062" y="349526"/>
                </a:cubicBezTo>
                <a:cubicBezTo>
                  <a:pt x="1633544" y="326635"/>
                  <a:pt x="1644966" y="299930"/>
                  <a:pt x="1669713" y="290392"/>
                </a:cubicBezTo>
                <a:cubicBezTo>
                  <a:pt x="1669713" y="290392"/>
                  <a:pt x="1669713" y="290392"/>
                  <a:pt x="2010467" y="156862"/>
                </a:cubicBezTo>
                <a:close/>
                <a:moveTo>
                  <a:pt x="3720655" y="144611"/>
                </a:moveTo>
                <a:cubicBezTo>
                  <a:pt x="3739815" y="145502"/>
                  <a:pt x="3756568" y="157613"/>
                  <a:pt x="3763695" y="176135"/>
                </a:cubicBezTo>
                <a:cubicBezTo>
                  <a:pt x="3765597" y="181835"/>
                  <a:pt x="3765597" y="187534"/>
                  <a:pt x="3765597" y="193233"/>
                </a:cubicBezTo>
                <a:cubicBezTo>
                  <a:pt x="3765597" y="212231"/>
                  <a:pt x="3754192" y="231229"/>
                  <a:pt x="3735180" y="238828"/>
                </a:cubicBezTo>
                <a:cubicBezTo>
                  <a:pt x="3735180" y="238828"/>
                  <a:pt x="3735180" y="238828"/>
                  <a:pt x="3393026" y="360415"/>
                </a:cubicBezTo>
                <a:cubicBezTo>
                  <a:pt x="3368312" y="369914"/>
                  <a:pt x="3341698" y="356616"/>
                  <a:pt x="3332194" y="331918"/>
                </a:cubicBezTo>
                <a:cubicBezTo>
                  <a:pt x="3322690" y="307221"/>
                  <a:pt x="3335995" y="278724"/>
                  <a:pt x="3360709" y="271125"/>
                </a:cubicBezTo>
                <a:cubicBezTo>
                  <a:pt x="3360709" y="271125"/>
                  <a:pt x="3360709" y="271125"/>
                  <a:pt x="3700965" y="147639"/>
                </a:cubicBezTo>
                <a:cubicBezTo>
                  <a:pt x="3707619" y="145264"/>
                  <a:pt x="3714270" y="144314"/>
                  <a:pt x="3720655" y="144611"/>
                </a:cubicBezTo>
                <a:close/>
                <a:moveTo>
                  <a:pt x="2586993" y="144589"/>
                </a:moveTo>
                <a:cubicBezTo>
                  <a:pt x="2606219" y="145480"/>
                  <a:pt x="2623032" y="157591"/>
                  <a:pt x="2630185" y="176114"/>
                </a:cubicBezTo>
                <a:cubicBezTo>
                  <a:pt x="2632093" y="181813"/>
                  <a:pt x="2632093" y="187512"/>
                  <a:pt x="2632093" y="193212"/>
                </a:cubicBezTo>
                <a:cubicBezTo>
                  <a:pt x="2632093" y="212210"/>
                  <a:pt x="2620647" y="231208"/>
                  <a:pt x="2601569" y="238807"/>
                </a:cubicBezTo>
                <a:cubicBezTo>
                  <a:pt x="2601569" y="238807"/>
                  <a:pt x="2601569" y="238807"/>
                  <a:pt x="2258175" y="360394"/>
                </a:cubicBezTo>
                <a:cubicBezTo>
                  <a:pt x="2233374" y="369893"/>
                  <a:pt x="2206666" y="356594"/>
                  <a:pt x="2197127" y="331897"/>
                </a:cubicBezTo>
                <a:cubicBezTo>
                  <a:pt x="2187588" y="307199"/>
                  <a:pt x="2200943" y="278702"/>
                  <a:pt x="2225743" y="271103"/>
                </a:cubicBezTo>
                <a:cubicBezTo>
                  <a:pt x="2225743" y="271103"/>
                  <a:pt x="2225743" y="271103"/>
                  <a:pt x="2567230" y="147617"/>
                </a:cubicBezTo>
                <a:cubicBezTo>
                  <a:pt x="2573907" y="145242"/>
                  <a:pt x="2580585" y="144292"/>
                  <a:pt x="2586993" y="144589"/>
                </a:cubicBezTo>
                <a:close/>
                <a:moveTo>
                  <a:pt x="3149046" y="135364"/>
                </a:moveTo>
                <a:cubicBezTo>
                  <a:pt x="3168678" y="136784"/>
                  <a:pt x="3186168" y="149926"/>
                  <a:pt x="3191880" y="168396"/>
                </a:cubicBezTo>
                <a:cubicBezTo>
                  <a:pt x="3193780" y="174078"/>
                  <a:pt x="3195686" y="179761"/>
                  <a:pt x="3195686" y="185444"/>
                </a:cubicBezTo>
                <a:cubicBezTo>
                  <a:pt x="3195686" y="206282"/>
                  <a:pt x="3182361" y="225225"/>
                  <a:pt x="3161419" y="232802"/>
                </a:cubicBezTo>
                <a:cubicBezTo>
                  <a:pt x="3161419" y="232802"/>
                  <a:pt x="3161419" y="232802"/>
                  <a:pt x="2818756" y="344567"/>
                </a:cubicBezTo>
                <a:cubicBezTo>
                  <a:pt x="2794009" y="354039"/>
                  <a:pt x="2765453" y="338884"/>
                  <a:pt x="2755934" y="314258"/>
                </a:cubicBezTo>
                <a:cubicBezTo>
                  <a:pt x="2746414" y="287738"/>
                  <a:pt x="2761646" y="259323"/>
                  <a:pt x="2788294" y="249851"/>
                </a:cubicBezTo>
                <a:cubicBezTo>
                  <a:pt x="2788294" y="249851"/>
                  <a:pt x="2788294" y="249851"/>
                  <a:pt x="3129057" y="138087"/>
                </a:cubicBezTo>
                <a:cubicBezTo>
                  <a:pt x="3135720" y="135719"/>
                  <a:pt x="3142502" y="134890"/>
                  <a:pt x="3149046" y="135364"/>
                </a:cubicBezTo>
                <a:close/>
                <a:moveTo>
                  <a:pt x="9144187" y="30"/>
                </a:moveTo>
                <a:cubicBezTo>
                  <a:pt x="9144187" y="30"/>
                  <a:pt x="9144187" y="30"/>
                  <a:pt x="9275861" y="30"/>
                </a:cubicBezTo>
                <a:cubicBezTo>
                  <a:pt x="9275861" y="30"/>
                  <a:pt x="9275861" y="30"/>
                  <a:pt x="8962897" y="187323"/>
                </a:cubicBezTo>
                <a:cubicBezTo>
                  <a:pt x="8947631" y="196878"/>
                  <a:pt x="8926639" y="193056"/>
                  <a:pt x="8917098" y="175856"/>
                </a:cubicBezTo>
                <a:cubicBezTo>
                  <a:pt x="8907556" y="160567"/>
                  <a:pt x="8913281" y="139544"/>
                  <a:pt x="8928547" y="129989"/>
                </a:cubicBezTo>
                <a:cubicBezTo>
                  <a:pt x="8928547" y="129989"/>
                  <a:pt x="8928547" y="129989"/>
                  <a:pt x="9144187" y="30"/>
                </a:cubicBezTo>
                <a:close/>
                <a:moveTo>
                  <a:pt x="8549535" y="29"/>
                </a:moveTo>
                <a:cubicBezTo>
                  <a:pt x="8549535" y="29"/>
                  <a:pt x="8549535" y="29"/>
                  <a:pt x="8688477" y="29"/>
                </a:cubicBezTo>
                <a:cubicBezTo>
                  <a:pt x="8688477" y="29"/>
                  <a:pt x="8688477" y="29"/>
                  <a:pt x="8391560" y="173083"/>
                </a:cubicBezTo>
                <a:cubicBezTo>
                  <a:pt x="8374430" y="182592"/>
                  <a:pt x="8353493" y="176886"/>
                  <a:pt x="8343977" y="159771"/>
                </a:cubicBezTo>
                <a:cubicBezTo>
                  <a:pt x="8334460" y="142656"/>
                  <a:pt x="8340170" y="121738"/>
                  <a:pt x="8357300" y="112230"/>
                </a:cubicBezTo>
                <a:cubicBezTo>
                  <a:pt x="8357300" y="112230"/>
                  <a:pt x="8357300" y="112230"/>
                  <a:pt x="8549535" y="29"/>
                </a:cubicBezTo>
                <a:close/>
                <a:moveTo>
                  <a:pt x="7958714" y="29"/>
                </a:moveTo>
                <a:cubicBezTo>
                  <a:pt x="7958714" y="29"/>
                  <a:pt x="7958714" y="29"/>
                  <a:pt x="8107445" y="29"/>
                </a:cubicBezTo>
                <a:cubicBezTo>
                  <a:pt x="8107445" y="29"/>
                  <a:pt x="8107445" y="29"/>
                  <a:pt x="7825239" y="158743"/>
                </a:cubicBezTo>
                <a:cubicBezTo>
                  <a:pt x="7808077" y="168304"/>
                  <a:pt x="7785196" y="162567"/>
                  <a:pt x="7775662" y="145357"/>
                </a:cubicBezTo>
                <a:cubicBezTo>
                  <a:pt x="7766128" y="126235"/>
                  <a:pt x="7773755" y="105201"/>
                  <a:pt x="7790916" y="95640"/>
                </a:cubicBezTo>
                <a:cubicBezTo>
                  <a:pt x="7790916" y="95640"/>
                  <a:pt x="7790916" y="95640"/>
                  <a:pt x="7958714" y="29"/>
                </a:cubicBezTo>
                <a:close/>
                <a:moveTo>
                  <a:pt x="7373861" y="29"/>
                </a:moveTo>
                <a:cubicBezTo>
                  <a:pt x="7373861" y="29"/>
                  <a:pt x="7373861" y="29"/>
                  <a:pt x="7534349" y="29"/>
                </a:cubicBezTo>
                <a:cubicBezTo>
                  <a:pt x="7534349" y="29"/>
                  <a:pt x="7534349" y="29"/>
                  <a:pt x="7266870" y="142904"/>
                </a:cubicBezTo>
                <a:cubicBezTo>
                  <a:pt x="7247764" y="152429"/>
                  <a:pt x="7224837" y="146714"/>
                  <a:pt x="7215285" y="127664"/>
                </a:cubicBezTo>
                <a:cubicBezTo>
                  <a:pt x="7205732" y="110519"/>
                  <a:pt x="7213374" y="87659"/>
                  <a:pt x="7230569" y="76229"/>
                </a:cubicBezTo>
                <a:cubicBezTo>
                  <a:pt x="7230569" y="76229"/>
                  <a:pt x="7230569" y="76229"/>
                  <a:pt x="7373861" y="29"/>
                </a:cubicBezTo>
                <a:close/>
                <a:moveTo>
                  <a:pt x="6792947" y="29"/>
                </a:moveTo>
                <a:cubicBezTo>
                  <a:pt x="6792947" y="29"/>
                  <a:pt x="6792947" y="29"/>
                  <a:pt x="6962841" y="29"/>
                </a:cubicBezTo>
                <a:cubicBezTo>
                  <a:pt x="6962841" y="29"/>
                  <a:pt x="6962841" y="29"/>
                  <a:pt x="6714681" y="130160"/>
                </a:cubicBezTo>
                <a:cubicBezTo>
                  <a:pt x="6695592" y="139729"/>
                  <a:pt x="6670776" y="132074"/>
                  <a:pt x="6661231" y="112937"/>
                </a:cubicBezTo>
                <a:cubicBezTo>
                  <a:pt x="6651687" y="93800"/>
                  <a:pt x="6659322" y="68922"/>
                  <a:pt x="6678412" y="59354"/>
                </a:cubicBezTo>
                <a:cubicBezTo>
                  <a:pt x="6678412" y="59354"/>
                  <a:pt x="6678412" y="59354"/>
                  <a:pt x="6792947" y="29"/>
                </a:cubicBezTo>
                <a:close/>
                <a:moveTo>
                  <a:pt x="6214724" y="29"/>
                </a:moveTo>
                <a:cubicBezTo>
                  <a:pt x="6214724" y="29"/>
                  <a:pt x="6214724" y="29"/>
                  <a:pt x="6396096" y="29"/>
                </a:cubicBezTo>
                <a:cubicBezTo>
                  <a:pt x="6396096" y="29"/>
                  <a:pt x="6396096" y="29"/>
                  <a:pt x="6166995" y="114329"/>
                </a:cubicBezTo>
                <a:cubicBezTo>
                  <a:pt x="6147903" y="123854"/>
                  <a:pt x="6123084" y="116234"/>
                  <a:pt x="6113538" y="95279"/>
                </a:cubicBezTo>
                <a:cubicBezTo>
                  <a:pt x="6103992" y="76229"/>
                  <a:pt x="6111628" y="51464"/>
                  <a:pt x="6130720" y="41939"/>
                </a:cubicBezTo>
                <a:cubicBezTo>
                  <a:pt x="6130720" y="41939"/>
                  <a:pt x="6130720" y="41939"/>
                  <a:pt x="6214724" y="29"/>
                </a:cubicBezTo>
                <a:close/>
                <a:moveTo>
                  <a:pt x="5637626" y="29"/>
                </a:moveTo>
                <a:cubicBezTo>
                  <a:pt x="5637626" y="29"/>
                  <a:pt x="5637626" y="29"/>
                  <a:pt x="5829356" y="29"/>
                </a:cubicBezTo>
                <a:cubicBezTo>
                  <a:pt x="5829356" y="29"/>
                  <a:pt x="5829356" y="29"/>
                  <a:pt x="5622440" y="99958"/>
                </a:cubicBezTo>
                <a:cubicBezTo>
                  <a:pt x="5601558" y="109567"/>
                  <a:pt x="5576879" y="101880"/>
                  <a:pt x="5567388" y="80741"/>
                </a:cubicBezTo>
                <a:cubicBezTo>
                  <a:pt x="5557896" y="59602"/>
                  <a:pt x="5565490" y="34620"/>
                  <a:pt x="5586371" y="25011"/>
                </a:cubicBezTo>
                <a:cubicBezTo>
                  <a:pt x="5586371" y="25011"/>
                  <a:pt x="5586371" y="25011"/>
                  <a:pt x="5637626" y="29"/>
                </a:cubicBezTo>
                <a:close/>
                <a:moveTo>
                  <a:pt x="5050991" y="29"/>
                </a:moveTo>
                <a:cubicBezTo>
                  <a:pt x="5050991" y="29"/>
                  <a:pt x="5050991" y="29"/>
                  <a:pt x="5257856" y="29"/>
                </a:cubicBezTo>
                <a:cubicBezTo>
                  <a:pt x="5257856" y="29"/>
                  <a:pt x="5257856" y="29"/>
                  <a:pt x="5071865" y="83849"/>
                </a:cubicBezTo>
                <a:cubicBezTo>
                  <a:pt x="5050991" y="95279"/>
                  <a:pt x="5024423" y="85754"/>
                  <a:pt x="5014936" y="62894"/>
                </a:cubicBezTo>
                <a:cubicBezTo>
                  <a:pt x="5005447" y="41939"/>
                  <a:pt x="5014936" y="17174"/>
                  <a:pt x="5037707" y="7649"/>
                </a:cubicBezTo>
                <a:cubicBezTo>
                  <a:pt x="5037707" y="7649"/>
                  <a:pt x="5037707" y="7649"/>
                  <a:pt x="5050991" y="29"/>
                </a:cubicBezTo>
                <a:close/>
                <a:moveTo>
                  <a:pt x="4468137" y="29"/>
                </a:moveTo>
                <a:cubicBezTo>
                  <a:pt x="4468137" y="29"/>
                  <a:pt x="4468137" y="29"/>
                  <a:pt x="4678410" y="29"/>
                </a:cubicBezTo>
                <a:cubicBezTo>
                  <a:pt x="4678410" y="29"/>
                  <a:pt x="4678410" y="29"/>
                  <a:pt x="4517388" y="71353"/>
                </a:cubicBezTo>
                <a:cubicBezTo>
                  <a:pt x="4494658" y="80992"/>
                  <a:pt x="4470031" y="69426"/>
                  <a:pt x="4460559" y="48221"/>
                </a:cubicBezTo>
                <a:cubicBezTo>
                  <a:pt x="4452982" y="30872"/>
                  <a:pt x="4456770" y="13523"/>
                  <a:pt x="4468137" y="29"/>
                </a:cubicBezTo>
                <a:close/>
                <a:moveTo>
                  <a:pt x="3898004" y="29"/>
                </a:moveTo>
                <a:cubicBezTo>
                  <a:pt x="3898004" y="29"/>
                  <a:pt x="3898004" y="29"/>
                  <a:pt x="4092633" y="29"/>
                </a:cubicBezTo>
                <a:cubicBezTo>
                  <a:pt x="4092633" y="29"/>
                  <a:pt x="4092633" y="29"/>
                  <a:pt x="3959064" y="55545"/>
                </a:cubicBezTo>
                <a:cubicBezTo>
                  <a:pt x="3936168" y="65117"/>
                  <a:pt x="3909453" y="53630"/>
                  <a:pt x="3899911" y="30658"/>
                </a:cubicBezTo>
                <a:cubicBezTo>
                  <a:pt x="3896097" y="21087"/>
                  <a:pt x="3894188" y="9600"/>
                  <a:pt x="3898004" y="29"/>
                </a:cubicBezTo>
                <a:close/>
                <a:moveTo>
                  <a:pt x="3332214" y="29"/>
                </a:moveTo>
                <a:cubicBezTo>
                  <a:pt x="3332214" y="29"/>
                  <a:pt x="3332214" y="29"/>
                  <a:pt x="3497315" y="29"/>
                </a:cubicBezTo>
                <a:cubicBezTo>
                  <a:pt x="3497315" y="29"/>
                  <a:pt x="3497315" y="29"/>
                  <a:pt x="3394843" y="41670"/>
                </a:cubicBezTo>
                <a:cubicBezTo>
                  <a:pt x="3370170" y="49241"/>
                  <a:pt x="3343603" y="37885"/>
                  <a:pt x="3334112" y="15171"/>
                </a:cubicBezTo>
                <a:cubicBezTo>
                  <a:pt x="3332214" y="9493"/>
                  <a:pt x="3332214" y="5707"/>
                  <a:pt x="3332214" y="29"/>
                </a:cubicBezTo>
                <a:close/>
                <a:moveTo>
                  <a:pt x="2760704" y="28"/>
                </a:moveTo>
                <a:cubicBezTo>
                  <a:pt x="2760704" y="28"/>
                  <a:pt x="2760704" y="28"/>
                  <a:pt x="2890879" y="28"/>
                </a:cubicBezTo>
                <a:cubicBezTo>
                  <a:pt x="2890879" y="28"/>
                  <a:pt x="2890879" y="28"/>
                  <a:pt x="2821076" y="27192"/>
                </a:cubicBezTo>
                <a:cubicBezTo>
                  <a:pt x="2796550" y="34954"/>
                  <a:pt x="2772022" y="23312"/>
                  <a:pt x="2760704" y="28"/>
                </a:cubicBezTo>
                <a:close/>
                <a:moveTo>
                  <a:pt x="11404328" y="19"/>
                </a:moveTo>
                <a:cubicBezTo>
                  <a:pt x="11404328" y="19"/>
                  <a:pt x="11404328" y="19"/>
                  <a:pt x="11552367" y="19"/>
                </a:cubicBezTo>
                <a:cubicBezTo>
                  <a:pt x="11552367" y="19"/>
                  <a:pt x="11552367" y="19"/>
                  <a:pt x="11271473" y="158733"/>
                </a:cubicBezTo>
                <a:cubicBezTo>
                  <a:pt x="11254392" y="168294"/>
                  <a:pt x="11231616" y="162557"/>
                  <a:pt x="11222127" y="145347"/>
                </a:cubicBezTo>
                <a:cubicBezTo>
                  <a:pt x="11212637" y="126225"/>
                  <a:pt x="11218331" y="105191"/>
                  <a:pt x="11235412" y="95630"/>
                </a:cubicBezTo>
                <a:cubicBezTo>
                  <a:pt x="11235412" y="95630"/>
                  <a:pt x="11235412" y="95630"/>
                  <a:pt x="11404328" y="19"/>
                </a:cubicBezTo>
                <a:close/>
                <a:moveTo>
                  <a:pt x="11942099" y="17"/>
                </a:moveTo>
                <a:cubicBezTo>
                  <a:pt x="11942099" y="17"/>
                  <a:pt x="11942099" y="17"/>
                  <a:pt x="12100062" y="17"/>
                </a:cubicBezTo>
                <a:cubicBezTo>
                  <a:pt x="12100062" y="17"/>
                  <a:pt x="12100062" y="17"/>
                  <a:pt x="11835521" y="142892"/>
                </a:cubicBezTo>
                <a:cubicBezTo>
                  <a:pt x="11816490" y="152417"/>
                  <a:pt x="11793652" y="146702"/>
                  <a:pt x="11784136" y="127652"/>
                </a:cubicBezTo>
                <a:cubicBezTo>
                  <a:pt x="11774620" y="110507"/>
                  <a:pt x="11780330" y="87647"/>
                  <a:pt x="11799361" y="76217"/>
                </a:cubicBezTo>
                <a:cubicBezTo>
                  <a:pt x="11799361" y="76217"/>
                  <a:pt x="11799361" y="76217"/>
                  <a:pt x="11942099" y="17"/>
                </a:cubicBezTo>
                <a:close/>
                <a:moveTo>
                  <a:pt x="76928" y="14"/>
                </a:moveTo>
                <a:cubicBezTo>
                  <a:pt x="76928" y="14"/>
                  <a:pt x="76928" y="14"/>
                  <a:pt x="271465" y="14"/>
                </a:cubicBezTo>
                <a:cubicBezTo>
                  <a:pt x="271465" y="14"/>
                  <a:pt x="271465" y="14"/>
                  <a:pt x="63577" y="99944"/>
                </a:cubicBezTo>
                <a:cubicBezTo>
                  <a:pt x="42598" y="109552"/>
                  <a:pt x="17804" y="101866"/>
                  <a:pt x="8268" y="80727"/>
                </a:cubicBezTo>
                <a:cubicBezTo>
                  <a:pt x="-3175" y="59588"/>
                  <a:pt x="6361" y="34605"/>
                  <a:pt x="27340" y="24997"/>
                </a:cubicBezTo>
                <a:cubicBezTo>
                  <a:pt x="27340" y="24997"/>
                  <a:pt x="27340" y="24997"/>
                  <a:pt x="76928" y="14"/>
                </a:cubicBezTo>
                <a:close/>
                <a:moveTo>
                  <a:pt x="583733" y="12"/>
                </a:moveTo>
                <a:cubicBezTo>
                  <a:pt x="583733" y="12"/>
                  <a:pt x="583733" y="12"/>
                  <a:pt x="792167" y="12"/>
                </a:cubicBezTo>
                <a:cubicBezTo>
                  <a:pt x="792167" y="12"/>
                  <a:pt x="792167" y="12"/>
                  <a:pt x="604767" y="83832"/>
                </a:cubicBezTo>
                <a:cubicBezTo>
                  <a:pt x="583733" y="95262"/>
                  <a:pt x="558874" y="85737"/>
                  <a:pt x="549312" y="62877"/>
                </a:cubicBezTo>
                <a:cubicBezTo>
                  <a:pt x="539751" y="41922"/>
                  <a:pt x="549312" y="17157"/>
                  <a:pt x="570347" y="7632"/>
                </a:cubicBezTo>
                <a:cubicBezTo>
                  <a:pt x="570347" y="7632"/>
                  <a:pt x="570347" y="7632"/>
                  <a:pt x="583733" y="12"/>
                </a:cubicBezTo>
                <a:close/>
                <a:moveTo>
                  <a:pt x="1102307" y="10"/>
                </a:moveTo>
                <a:cubicBezTo>
                  <a:pt x="1102307" y="10"/>
                  <a:pt x="1102307" y="10"/>
                  <a:pt x="1312869" y="10"/>
                </a:cubicBezTo>
                <a:cubicBezTo>
                  <a:pt x="1312869" y="10"/>
                  <a:pt x="1312869" y="10"/>
                  <a:pt x="1153525" y="71334"/>
                </a:cubicBezTo>
                <a:cubicBezTo>
                  <a:pt x="1130761" y="80973"/>
                  <a:pt x="1104204" y="69406"/>
                  <a:pt x="1094719" y="48202"/>
                </a:cubicBezTo>
                <a:cubicBezTo>
                  <a:pt x="1089028" y="30853"/>
                  <a:pt x="1090925" y="13503"/>
                  <a:pt x="1102307" y="10"/>
                </a:cubicBezTo>
                <a:close/>
                <a:moveTo>
                  <a:pt x="1643393" y="7"/>
                </a:moveTo>
                <a:cubicBezTo>
                  <a:pt x="1643393" y="7"/>
                  <a:pt x="1643393" y="7"/>
                  <a:pt x="1838335" y="7"/>
                </a:cubicBezTo>
                <a:cubicBezTo>
                  <a:pt x="1838335" y="7"/>
                  <a:pt x="1838335" y="7"/>
                  <a:pt x="1704551" y="55524"/>
                </a:cubicBezTo>
                <a:cubicBezTo>
                  <a:pt x="1681617" y="65095"/>
                  <a:pt x="1654860" y="53609"/>
                  <a:pt x="1645304" y="30637"/>
                </a:cubicBezTo>
                <a:cubicBezTo>
                  <a:pt x="1641482" y="21065"/>
                  <a:pt x="1641482" y="9579"/>
                  <a:pt x="1643393" y="7"/>
                </a:cubicBezTo>
                <a:close/>
                <a:moveTo>
                  <a:pt x="2197113" y="5"/>
                </a:moveTo>
                <a:cubicBezTo>
                  <a:pt x="2197113" y="5"/>
                  <a:pt x="2197113" y="5"/>
                  <a:pt x="2363803" y="5"/>
                </a:cubicBezTo>
                <a:cubicBezTo>
                  <a:pt x="2363803" y="5"/>
                  <a:pt x="2363803" y="5"/>
                  <a:pt x="2260340" y="41647"/>
                </a:cubicBezTo>
                <a:cubicBezTo>
                  <a:pt x="2235433" y="49218"/>
                  <a:pt x="2208609" y="37861"/>
                  <a:pt x="2199030" y="15147"/>
                </a:cubicBezTo>
                <a:cubicBezTo>
                  <a:pt x="2197113" y="9469"/>
                  <a:pt x="2197113" y="5683"/>
                  <a:pt x="2197113" y="5"/>
                </a:cubicBezTo>
                <a:close/>
                <a:moveTo>
                  <a:pt x="9742489" y="4"/>
                </a:moveTo>
                <a:cubicBezTo>
                  <a:pt x="9742489" y="4"/>
                  <a:pt x="9742489" y="4"/>
                  <a:pt x="9866419" y="4"/>
                </a:cubicBezTo>
                <a:cubicBezTo>
                  <a:pt x="9866419" y="4"/>
                  <a:pt x="9866419" y="4"/>
                  <a:pt x="9542293" y="201631"/>
                </a:cubicBezTo>
                <a:cubicBezTo>
                  <a:pt x="9527040" y="211142"/>
                  <a:pt x="9506067" y="207338"/>
                  <a:pt x="9496534" y="192120"/>
                </a:cubicBezTo>
                <a:cubicBezTo>
                  <a:pt x="9487001" y="176903"/>
                  <a:pt x="9492721" y="155980"/>
                  <a:pt x="9507974" y="146469"/>
                </a:cubicBezTo>
                <a:cubicBezTo>
                  <a:pt x="9507974" y="146469"/>
                  <a:pt x="9507974" y="146469"/>
                  <a:pt x="9742489" y="4"/>
                </a:cubicBezTo>
                <a:close/>
                <a:moveTo>
                  <a:pt x="10304665" y="2"/>
                </a:moveTo>
                <a:cubicBezTo>
                  <a:pt x="10304665" y="2"/>
                  <a:pt x="10304665" y="2"/>
                  <a:pt x="10436339" y="2"/>
                </a:cubicBezTo>
                <a:cubicBezTo>
                  <a:pt x="10436339" y="2"/>
                  <a:pt x="10436339" y="2"/>
                  <a:pt x="10125283" y="187296"/>
                </a:cubicBezTo>
                <a:cubicBezTo>
                  <a:pt x="10108109" y="196852"/>
                  <a:pt x="10087117" y="193029"/>
                  <a:pt x="10077576" y="175829"/>
                </a:cubicBezTo>
                <a:cubicBezTo>
                  <a:pt x="10068034" y="160540"/>
                  <a:pt x="10073759" y="139517"/>
                  <a:pt x="10089025" y="129961"/>
                </a:cubicBezTo>
                <a:cubicBezTo>
                  <a:pt x="10089025" y="129961"/>
                  <a:pt x="10089025" y="129961"/>
                  <a:pt x="10304665" y="2"/>
                </a:cubicBezTo>
                <a:close/>
                <a:moveTo>
                  <a:pt x="10857477" y="0"/>
                </a:moveTo>
                <a:cubicBezTo>
                  <a:pt x="10857477" y="0"/>
                  <a:pt x="10857477" y="0"/>
                  <a:pt x="10998322" y="0"/>
                </a:cubicBezTo>
                <a:cubicBezTo>
                  <a:pt x="10998322" y="0"/>
                  <a:pt x="10998322" y="0"/>
                  <a:pt x="10701405" y="173054"/>
                </a:cubicBezTo>
                <a:cubicBezTo>
                  <a:pt x="10684275" y="182563"/>
                  <a:pt x="10663338" y="176857"/>
                  <a:pt x="10653822" y="159742"/>
                </a:cubicBezTo>
                <a:cubicBezTo>
                  <a:pt x="10644305" y="142627"/>
                  <a:pt x="10650015" y="121708"/>
                  <a:pt x="10665241" y="112200"/>
                </a:cubicBezTo>
                <a:cubicBezTo>
                  <a:pt x="10665241" y="112200"/>
                  <a:pt x="10665241" y="112200"/>
                  <a:pt x="10857477" y="0"/>
                </a:cubicBezTo>
                <a:close/>
              </a:path>
            </a:pathLst>
          </a:custGeom>
          <a:solidFill>
            <a:srgbClr val="F26222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640" y="1276358"/>
            <a:ext cx="10165080" cy="3242641"/>
          </a:xfrm>
          <a:prstGeom prst="rect">
            <a:avLst/>
          </a:prstGeom>
        </p:spPr>
        <p:txBody>
          <a:bodyPr lIns="68577" tIns="34289" rIns="68577" bIns="34289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399" b="1" spc="-151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19703" y="4623891"/>
            <a:ext cx="10165080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l">
              <a:buNone/>
              <a:defRPr sz="2399" b="1" spc="0" baseline="0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sp>
        <p:nvSpPr>
          <p:cNvPr id="2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5305" y="5505444"/>
            <a:ext cx="1330103" cy="44330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29" y="396244"/>
            <a:ext cx="988809" cy="739139"/>
          </a:xfrm>
          <a:prstGeom prst="rect">
            <a:avLst/>
          </a:prstGeom>
        </p:spPr>
      </p:pic>
      <p:sp>
        <p:nvSpPr>
          <p:cNvPr id="11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8352972"/>
      </p:ext>
    </p:extLst>
  </p:cSld>
  <p:clrMapOvr>
    <a:masterClrMapping/>
  </p:clrMapOvr>
  <p:transition spd="med"/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2" y="0"/>
            <a:ext cx="6565392" cy="6858000"/>
          </a:xfrm>
          <a:prstGeom prst="rect">
            <a:avLst/>
          </a:prstGeom>
          <a:solidFill>
            <a:srgbClr val="E11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25818" y="-3177"/>
            <a:ext cx="6530351" cy="6858285"/>
          </a:xfrm>
          <a:custGeom>
            <a:avLst/>
            <a:gdLst>
              <a:gd name="connsiteX0" fmla="*/ 6502939 w 6530351"/>
              <a:gd name="connsiteY0" fmla="*/ 6648860 h 6858285"/>
              <a:gd name="connsiteX1" fmla="*/ 6526293 w 6530351"/>
              <a:gd name="connsiteY1" fmla="*/ 6669131 h 6858285"/>
              <a:gd name="connsiteX2" fmla="*/ 6507229 w 6530351"/>
              <a:gd name="connsiteY2" fmla="*/ 6724457 h 6858285"/>
              <a:gd name="connsiteX3" fmla="*/ 6226983 w 6530351"/>
              <a:gd name="connsiteY3" fmla="*/ 6858002 h 6858285"/>
              <a:gd name="connsiteX4" fmla="*/ 6108783 w 6530351"/>
              <a:gd name="connsiteY4" fmla="*/ 6858002 h 6858285"/>
              <a:gd name="connsiteX5" fmla="*/ 6108783 w 6530351"/>
              <a:gd name="connsiteY5" fmla="*/ 6850371 h 6858285"/>
              <a:gd name="connsiteX6" fmla="*/ 6131661 w 6530351"/>
              <a:gd name="connsiteY6" fmla="*/ 6812215 h 6858285"/>
              <a:gd name="connsiteX7" fmla="*/ 6471007 w 6530351"/>
              <a:gd name="connsiteY7" fmla="*/ 6650053 h 6858285"/>
              <a:gd name="connsiteX8" fmla="*/ 6502939 w 6530351"/>
              <a:gd name="connsiteY8" fmla="*/ 6648860 h 6858285"/>
              <a:gd name="connsiteX9" fmla="*/ 5955459 w 6530351"/>
              <a:gd name="connsiteY9" fmla="*/ 6635423 h 6858285"/>
              <a:gd name="connsiteX10" fmla="*/ 5978591 w 6530351"/>
              <a:gd name="connsiteY10" fmla="*/ 6656349 h 6858285"/>
              <a:gd name="connsiteX11" fmla="*/ 5961421 w 6530351"/>
              <a:gd name="connsiteY11" fmla="*/ 6709616 h 6858285"/>
              <a:gd name="connsiteX12" fmla="*/ 5656161 w 6530351"/>
              <a:gd name="connsiteY12" fmla="*/ 6858002 h 6858285"/>
              <a:gd name="connsiteX13" fmla="*/ 5568399 w 6530351"/>
              <a:gd name="connsiteY13" fmla="*/ 6858002 h 6858285"/>
              <a:gd name="connsiteX14" fmla="*/ 5566491 w 6530351"/>
              <a:gd name="connsiteY14" fmla="*/ 6858002 h 6858285"/>
              <a:gd name="connsiteX15" fmla="*/ 5562675 w 6530351"/>
              <a:gd name="connsiteY15" fmla="*/ 6838978 h 6858285"/>
              <a:gd name="connsiteX16" fmla="*/ 5585569 w 6530351"/>
              <a:gd name="connsiteY16" fmla="*/ 6802833 h 6858285"/>
              <a:gd name="connsiteX17" fmla="*/ 5925171 w 6530351"/>
              <a:gd name="connsiteY17" fmla="*/ 6637326 h 6858285"/>
              <a:gd name="connsiteX18" fmla="*/ 5955459 w 6530351"/>
              <a:gd name="connsiteY18" fmla="*/ 6635423 h 6858285"/>
              <a:gd name="connsiteX19" fmla="*/ 396080 w 6530351"/>
              <a:gd name="connsiteY19" fmla="*/ 6635423 h 6858285"/>
              <a:gd name="connsiteX20" fmla="*/ 419126 w 6530351"/>
              <a:gd name="connsiteY20" fmla="*/ 6656349 h 6858285"/>
              <a:gd name="connsiteX21" fmla="*/ 400119 w 6530351"/>
              <a:gd name="connsiteY21" fmla="*/ 6709616 h 6858285"/>
              <a:gd name="connsiteX22" fmla="*/ 97899 w 6530351"/>
              <a:gd name="connsiteY22" fmla="*/ 6858002 h 6858285"/>
              <a:gd name="connsiteX23" fmla="*/ 10464 w 6530351"/>
              <a:gd name="connsiteY23" fmla="*/ 6858002 h 6858285"/>
              <a:gd name="connsiteX24" fmla="*/ 8564 w 6530351"/>
              <a:gd name="connsiteY24" fmla="*/ 6858002 h 6858285"/>
              <a:gd name="connsiteX25" fmla="*/ 4762 w 6530351"/>
              <a:gd name="connsiteY25" fmla="*/ 6838978 h 6858285"/>
              <a:gd name="connsiteX26" fmla="*/ 27571 w 6530351"/>
              <a:gd name="connsiteY26" fmla="*/ 6802833 h 6858285"/>
              <a:gd name="connsiteX27" fmla="*/ 365905 w 6530351"/>
              <a:gd name="connsiteY27" fmla="*/ 6637326 h 6858285"/>
              <a:gd name="connsiteX28" fmla="*/ 396080 w 6530351"/>
              <a:gd name="connsiteY28" fmla="*/ 6635423 h 6858285"/>
              <a:gd name="connsiteX29" fmla="*/ 5405399 w 6530351"/>
              <a:gd name="connsiteY29" fmla="*/ 6619807 h 6858285"/>
              <a:gd name="connsiteX30" fmla="*/ 5427751 w 6530351"/>
              <a:gd name="connsiteY30" fmla="*/ 6640551 h 6858285"/>
              <a:gd name="connsiteX31" fmla="*/ 5410631 w 6530351"/>
              <a:gd name="connsiteY31" fmla="*/ 6693960 h 6858285"/>
              <a:gd name="connsiteX32" fmla="*/ 5083459 w 6530351"/>
              <a:gd name="connsiteY32" fmla="*/ 6858002 h 6858285"/>
              <a:gd name="connsiteX33" fmla="*/ 5028295 w 6530351"/>
              <a:gd name="connsiteY33" fmla="*/ 6858002 h 6858285"/>
              <a:gd name="connsiteX34" fmla="*/ 5020687 w 6530351"/>
              <a:gd name="connsiteY34" fmla="*/ 6846557 h 6858285"/>
              <a:gd name="connsiteX35" fmla="*/ 5014979 w 6530351"/>
              <a:gd name="connsiteY35" fmla="*/ 6829390 h 6858285"/>
              <a:gd name="connsiteX36" fmla="*/ 5037807 w 6530351"/>
              <a:gd name="connsiteY36" fmla="*/ 6793148 h 6858285"/>
              <a:gd name="connsiteX37" fmla="*/ 5374489 w 6530351"/>
              <a:gd name="connsiteY37" fmla="*/ 6623384 h 6858285"/>
              <a:gd name="connsiteX38" fmla="*/ 5405399 w 6530351"/>
              <a:gd name="connsiteY38" fmla="*/ 6619807 h 6858285"/>
              <a:gd name="connsiteX39" fmla="*/ 939737 w 6530351"/>
              <a:gd name="connsiteY39" fmla="*/ 6619807 h 6858285"/>
              <a:gd name="connsiteX40" fmla="*/ 963603 w 6530351"/>
              <a:gd name="connsiteY40" fmla="*/ 6640551 h 6858285"/>
              <a:gd name="connsiteX41" fmla="*/ 944510 w 6530351"/>
              <a:gd name="connsiteY41" fmla="*/ 6693960 h 6858285"/>
              <a:gd name="connsiteX42" fmla="*/ 618017 w 6530351"/>
              <a:gd name="connsiteY42" fmla="*/ 6858002 h 6858285"/>
              <a:gd name="connsiteX43" fmla="*/ 562647 w 6530351"/>
              <a:gd name="connsiteY43" fmla="*/ 6858002 h 6858285"/>
              <a:gd name="connsiteX44" fmla="*/ 553101 w 6530351"/>
              <a:gd name="connsiteY44" fmla="*/ 6846557 h 6858285"/>
              <a:gd name="connsiteX45" fmla="*/ 549282 w 6530351"/>
              <a:gd name="connsiteY45" fmla="*/ 6829390 h 6858285"/>
              <a:gd name="connsiteX46" fmla="*/ 570284 w 6530351"/>
              <a:gd name="connsiteY46" fmla="*/ 6793148 h 6858285"/>
              <a:gd name="connsiteX47" fmla="*/ 910143 w 6530351"/>
              <a:gd name="connsiteY47" fmla="*/ 6623384 h 6858285"/>
              <a:gd name="connsiteX48" fmla="*/ 939737 w 6530351"/>
              <a:gd name="connsiteY48" fmla="*/ 6619807 h 6858285"/>
              <a:gd name="connsiteX49" fmla="*/ 4850617 w 6530351"/>
              <a:gd name="connsiteY49" fmla="*/ 6606629 h 6858285"/>
              <a:gd name="connsiteX50" fmla="*/ 4873699 w 6530351"/>
              <a:gd name="connsiteY50" fmla="*/ 6625941 h 6858285"/>
              <a:gd name="connsiteX51" fmla="*/ 4856565 w 6530351"/>
              <a:gd name="connsiteY51" fmla="*/ 6677438 h 6858285"/>
              <a:gd name="connsiteX52" fmla="*/ 4519631 w 6530351"/>
              <a:gd name="connsiteY52" fmla="*/ 6852909 h 6858285"/>
              <a:gd name="connsiteX53" fmla="*/ 4466331 w 6530351"/>
              <a:gd name="connsiteY53" fmla="*/ 6837650 h 6858285"/>
              <a:gd name="connsiteX54" fmla="*/ 4462523 w 6530351"/>
              <a:gd name="connsiteY54" fmla="*/ 6818577 h 6858285"/>
              <a:gd name="connsiteX55" fmla="*/ 4483463 w 6530351"/>
              <a:gd name="connsiteY55" fmla="*/ 6784246 h 6858285"/>
              <a:gd name="connsiteX56" fmla="*/ 4820397 w 6530351"/>
              <a:gd name="connsiteY56" fmla="*/ 6608775 h 6858285"/>
              <a:gd name="connsiteX57" fmla="*/ 4850617 w 6530351"/>
              <a:gd name="connsiteY57" fmla="*/ 6606629 h 6858285"/>
              <a:gd name="connsiteX58" fmla="*/ 1485707 w 6530351"/>
              <a:gd name="connsiteY58" fmla="*/ 6606629 h 6858285"/>
              <a:gd name="connsiteX59" fmla="*/ 1507836 w 6530351"/>
              <a:gd name="connsiteY59" fmla="*/ 6625941 h 6858285"/>
              <a:gd name="connsiteX60" fmla="*/ 1492608 w 6530351"/>
              <a:gd name="connsiteY60" fmla="*/ 6677438 h 6858285"/>
              <a:gd name="connsiteX61" fmla="*/ 1153769 w 6530351"/>
              <a:gd name="connsiteY61" fmla="*/ 6852909 h 6858285"/>
              <a:gd name="connsiteX62" fmla="*/ 1102372 w 6530351"/>
              <a:gd name="connsiteY62" fmla="*/ 6837650 h 6858285"/>
              <a:gd name="connsiteX63" fmla="*/ 1098565 w 6530351"/>
              <a:gd name="connsiteY63" fmla="*/ 6818577 h 6858285"/>
              <a:gd name="connsiteX64" fmla="*/ 1119504 w 6530351"/>
              <a:gd name="connsiteY64" fmla="*/ 6784246 h 6858285"/>
              <a:gd name="connsiteX65" fmla="*/ 1456440 w 6530351"/>
              <a:gd name="connsiteY65" fmla="*/ 6608775 h 6858285"/>
              <a:gd name="connsiteX66" fmla="*/ 1485707 w 6530351"/>
              <a:gd name="connsiteY66" fmla="*/ 6606629 h 6858285"/>
              <a:gd name="connsiteX67" fmla="*/ 4291151 w 6530351"/>
              <a:gd name="connsiteY67" fmla="*/ 6592968 h 6858285"/>
              <a:gd name="connsiteX68" fmla="*/ 4313295 w 6530351"/>
              <a:gd name="connsiteY68" fmla="*/ 6611304 h 6858285"/>
              <a:gd name="connsiteX69" fmla="*/ 4298055 w 6530351"/>
              <a:gd name="connsiteY69" fmla="*/ 6662739 h 6858285"/>
              <a:gd name="connsiteX70" fmla="*/ 3960865 w 6530351"/>
              <a:gd name="connsiteY70" fmla="*/ 6841809 h 6858285"/>
              <a:gd name="connsiteX71" fmla="*/ 3909431 w 6530351"/>
              <a:gd name="connsiteY71" fmla="*/ 6826569 h 6858285"/>
              <a:gd name="connsiteX72" fmla="*/ 3903715 w 6530351"/>
              <a:gd name="connsiteY72" fmla="*/ 6809424 h 6858285"/>
              <a:gd name="connsiteX73" fmla="*/ 3924671 w 6530351"/>
              <a:gd name="connsiteY73" fmla="*/ 6775134 h 6858285"/>
              <a:gd name="connsiteX74" fmla="*/ 4261861 w 6530351"/>
              <a:gd name="connsiteY74" fmla="*/ 6596064 h 6858285"/>
              <a:gd name="connsiteX75" fmla="*/ 4291151 w 6530351"/>
              <a:gd name="connsiteY75" fmla="*/ 6592968 h 6858285"/>
              <a:gd name="connsiteX76" fmla="*/ 2037028 w 6530351"/>
              <a:gd name="connsiteY76" fmla="*/ 6592968 h 6858285"/>
              <a:gd name="connsiteX77" fmla="*/ 2060603 w 6530351"/>
              <a:gd name="connsiteY77" fmla="*/ 6611304 h 6858285"/>
              <a:gd name="connsiteX78" fmla="*/ 2043458 w 6530351"/>
              <a:gd name="connsiteY78" fmla="*/ 6662739 h 6858285"/>
              <a:gd name="connsiteX79" fmla="*/ 1706268 w 6530351"/>
              <a:gd name="connsiteY79" fmla="*/ 6841809 h 6858285"/>
              <a:gd name="connsiteX80" fmla="*/ 1654832 w 6530351"/>
              <a:gd name="connsiteY80" fmla="*/ 6826569 h 6858285"/>
              <a:gd name="connsiteX81" fmla="*/ 1651022 w 6530351"/>
              <a:gd name="connsiteY81" fmla="*/ 6809424 h 6858285"/>
              <a:gd name="connsiteX82" fmla="*/ 1670072 w 6530351"/>
              <a:gd name="connsiteY82" fmla="*/ 6775134 h 6858285"/>
              <a:gd name="connsiteX83" fmla="*/ 2009167 w 6530351"/>
              <a:gd name="connsiteY83" fmla="*/ 6596064 h 6858285"/>
              <a:gd name="connsiteX84" fmla="*/ 2037028 w 6530351"/>
              <a:gd name="connsiteY84" fmla="*/ 6592968 h 6858285"/>
              <a:gd name="connsiteX85" fmla="*/ 3727793 w 6530351"/>
              <a:gd name="connsiteY85" fmla="*/ 6578028 h 6858285"/>
              <a:gd name="connsiteX86" fmla="*/ 3749717 w 6530351"/>
              <a:gd name="connsiteY86" fmla="*/ 6595371 h 6858285"/>
              <a:gd name="connsiteX87" fmla="*/ 3734465 w 6530351"/>
              <a:gd name="connsiteY87" fmla="*/ 6646685 h 6858285"/>
              <a:gd name="connsiteX88" fmla="*/ 3397020 w 6530351"/>
              <a:gd name="connsiteY88" fmla="*/ 6831037 h 6858285"/>
              <a:gd name="connsiteX89" fmla="*/ 3347451 w 6530351"/>
              <a:gd name="connsiteY89" fmla="*/ 6815832 h 6858285"/>
              <a:gd name="connsiteX90" fmla="*/ 3341732 w 6530351"/>
              <a:gd name="connsiteY90" fmla="*/ 6798728 h 6858285"/>
              <a:gd name="connsiteX91" fmla="*/ 3362703 w 6530351"/>
              <a:gd name="connsiteY91" fmla="*/ 6764518 h 6858285"/>
              <a:gd name="connsiteX92" fmla="*/ 3700149 w 6530351"/>
              <a:gd name="connsiteY92" fmla="*/ 6582067 h 6858285"/>
              <a:gd name="connsiteX93" fmla="*/ 3727793 w 6530351"/>
              <a:gd name="connsiteY93" fmla="*/ 6578028 h 6858285"/>
              <a:gd name="connsiteX94" fmla="*/ 2592715 w 6530351"/>
              <a:gd name="connsiteY94" fmla="*/ 6578028 h 6858285"/>
              <a:gd name="connsiteX95" fmla="*/ 2614640 w 6530351"/>
              <a:gd name="connsiteY95" fmla="*/ 6595371 h 6858285"/>
              <a:gd name="connsiteX96" fmla="*/ 2599388 w 6530351"/>
              <a:gd name="connsiteY96" fmla="*/ 6646685 h 6858285"/>
              <a:gd name="connsiteX97" fmla="*/ 2261942 w 6530351"/>
              <a:gd name="connsiteY97" fmla="*/ 6831037 h 6858285"/>
              <a:gd name="connsiteX98" fmla="*/ 2212373 w 6530351"/>
              <a:gd name="connsiteY98" fmla="*/ 6815832 h 6858285"/>
              <a:gd name="connsiteX99" fmla="*/ 2206654 w 6530351"/>
              <a:gd name="connsiteY99" fmla="*/ 6798728 h 6858285"/>
              <a:gd name="connsiteX100" fmla="*/ 2225719 w 6530351"/>
              <a:gd name="connsiteY100" fmla="*/ 6764518 h 6858285"/>
              <a:gd name="connsiteX101" fmla="*/ 2565071 w 6530351"/>
              <a:gd name="connsiteY101" fmla="*/ 6582067 h 6858285"/>
              <a:gd name="connsiteX102" fmla="*/ 2592715 w 6530351"/>
              <a:gd name="connsiteY102" fmla="*/ 6578028 h 6858285"/>
              <a:gd name="connsiteX103" fmla="*/ 3153207 w 6530351"/>
              <a:gd name="connsiteY103" fmla="*/ 6564133 h 6858285"/>
              <a:gd name="connsiteX104" fmla="*/ 3175065 w 6530351"/>
              <a:gd name="connsiteY104" fmla="*/ 6580744 h 6858285"/>
              <a:gd name="connsiteX105" fmla="*/ 3161760 w 6530351"/>
              <a:gd name="connsiteY105" fmla="*/ 6630101 h 6858285"/>
              <a:gd name="connsiteX106" fmla="*/ 2825344 w 6530351"/>
              <a:gd name="connsiteY106" fmla="*/ 6819936 h 6858285"/>
              <a:gd name="connsiteX107" fmla="*/ 2775927 w 6530351"/>
              <a:gd name="connsiteY107" fmla="*/ 6804749 h 6858285"/>
              <a:gd name="connsiteX108" fmla="*/ 2770225 w 6530351"/>
              <a:gd name="connsiteY108" fmla="*/ 6787664 h 6858285"/>
              <a:gd name="connsiteX109" fmla="*/ 2789232 w 6530351"/>
              <a:gd name="connsiteY109" fmla="*/ 6757290 h 6858285"/>
              <a:gd name="connsiteX110" fmla="*/ 3125648 w 6530351"/>
              <a:gd name="connsiteY110" fmla="*/ 6567455 h 6858285"/>
              <a:gd name="connsiteX111" fmla="*/ 3153207 w 6530351"/>
              <a:gd name="connsiteY111" fmla="*/ 6564133 h 6858285"/>
              <a:gd name="connsiteX112" fmla="*/ 6502939 w 6530351"/>
              <a:gd name="connsiteY112" fmla="*/ 6327421 h 6858285"/>
              <a:gd name="connsiteX113" fmla="*/ 6526293 w 6530351"/>
              <a:gd name="connsiteY113" fmla="*/ 6348272 h 6858285"/>
              <a:gd name="connsiteX114" fmla="*/ 6507229 w 6530351"/>
              <a:gd name="connsiteY114" fmla="*/ 6401346 h 6858285"/>
              <a:gd name="connsiteX115" fmla="*/ 6167883 w 6530351"/>
              <a:gd name="connsiteY115" fmla="*/ 6564361 h 6858285"/>
              <a:gd name="connsiteX116" fmla="*/ 6112595 w 6530351"/>
              <a:gd name="connsiteY116" fmla="*/ 6545406 h 6858285"/>
              <a:gd name="connsiteX117" fmla="*/ 6108783 w 6530351"/>
              <a:gd name="connsiteY117" fmla="*/ 6528346 h 6858285"/>
              <a:gd name="connsiteX118" fmla="*/ 6131661 w 6530351"/>
              <a:gd name="connsiteY118" fmla="*/ 6490436 h 6858285"/>
              <a:gd name="connsiteX119" fmla="*/ 6471007 w 6530351"/>
              <a:gd name="connsiteY119" fmla="*/ 6329316 h 6858285"/>
              <a:gd name="connsiteX120" fmla="*/ 6502939 w 6530351"/>
              <a:gd name="connsiteY120" fmla="*/ 6327421 h 6858285"/>
              <a:gd name="connsiteX121" fmla="*/ 5955879 w 6530351"/>
              <a:gd name="connsiteY121" fmla="*/ 6313171 h 6858285"/>
              <a:gd name="connsiteX122" fmla="*/ 5978279 w 6530351"/>
              <a:gd name="connsiteY122" fmla="*/ 6334126 h 6858285"/>
              <a:gd name="connsiteX123" fmla="*/ 5961121 w 6530351"/>
              <a:gd name="connsiteY123" fmla="*/ 6387466 h 6858285"/>
              <a:gd name="connsiteX124" fmla="*/ 5621775 w 6530351"/>
              <a:gd name="connsiteY124" fmla="*/ 6553201 h 6858285"/>
              <a:gd name="connsiteX125" fmla="*/ 5566487 w 6530351"/>
              <a:gd name="connsiteY125" fmla="*/ 6534151 h 6858285"/>
              <a:gd name="connsiteX126" fmla="*/ 5562675 w 6530351"/>
              <a:gd name="connsiteY126" fmla="*/ 6517006 h 6858285"/>
              <a:gd name="connsiteX127" fmla="*/ 5585553 w 6530351"/>
              <a:gd name="connsiteY127" fmla="*/ 6478906 h 6858285"/>
              <a:gd name="connsiteX128" fmla="*/ 5924899 w 6530351"/>
              <a:gd name="connsiteY128" fmla="*/ 6315076 h 6858285"/>
              <a:gd name="connsiteX129" fmla="*/ 5955879 w 6530351"/>
              <a:gd name="connsiteY129" fmla="*/ 6313171 h 6858285"/>
              <a:gd name="connsiteX130" fmla="*/ 396080 w 6530351"/>
              <a:gd name="connsiteY130" fmla="*/ 6313171 h 6858285"/>
              <a:gd name="connsiteX131" fmla="*/ 419126 w 6530351"/>
              <a:gd name="connsiteY131" fmla="*/ 6334126 h 6858285"/>
              <a:gd name="connsiteX132" fmla="*/ 400119 w 6530351"/>
              <a:gd name="connsiteY132" fmla="*/ 6387466 h 6858285"/>
              <a:gd name="connsiteX133" fmla="*/ 63685 w 6530351"/>
              <a:gd name="connsiteY133" fmla="*/ 6553201 h 6858285"/>
              <a:gd name="connsiteX134" fmla="*/ 8564 w 6530351"/>
              <a:gd name="connsiteY134" fmla="*/ 6534151 h 6858285"/>
              <a:gd name="connsiteX135" fmla="*/ 4762 w 6530351"/>
              <a:gd name="connsiteY135" fmla="*/ 6517006 h 6858285"/>
              <a:gd name="connsiteX136" fmla="*/ 27571 w 6530351"/>
              <a:gd name="connsiteY136" fmla="*/ 6478906 h 6858285"/>
              <a:gd name="connsiteX137" fmla="*/ 365905 w 6530351"/>
              <a:gd name="connsiteY137" fmla="*/ 6315076 h 6858285"/>
              <a:gd name="connsiteX138" fmla="*/ 396080 w 6530351"/>
              <a:gd name="connsiteY138" fmla="*/ 6313171 h 6858285"/>
              <a:gd name="connsiteX139" fmla="*/ 5405347 w 6530351"/>
              <a:gd name="connsiteY139" fmla="*/ 6300224 h 6858285"/>
              <a:gd name="connsiteX140" fmla="*/ 5429345 w 6530351"/>
              <a:gd name="connsiteY140" fmla="*/ 6319488 h 6858285"/>
              <a:gd name="connsiteX141" fmla="*/ 5410337 w 6530351"/>
              <a:gd name="connsiteY141" fmla="*/ 6372763 h 6858285"/>
              <a:gd name="connsiteX142" fmla="*/ 5072003 w 6530351"/>
              <a:gd name="connsiteY142" fmla="*/ 6540198 h 6858285"/>
              <a:gd name="connsiteX143" fmla="*/ 5018781 w 6530351"/>
              <a:gd name="connsiteY143" fmla="*/ 6523074 h 6858285"/>
              <a:gd name="connsiteX144" fmla="*/ 5014979 w 6530351"/>
              <a:gd name="connsiteY144" fmla="*/ 6505950 h 6858285"/>
              <a:gd name="connsiteX145" fmla="*/ 5037789 w 6530351"/>
              <a:gd name="connsiteY145" fmla="*/ 6469799 h 6858285"/>
              <a:gd name="connsiteX146" fmla="*/ 5374223 w 6530351"/>
              <a:gd name="connsiteY146" fmla="*/ 6302364 h 6858285"/>
              <a:gd name="connsiteX147" fmla="*/ 5405347 w 6530351"/>
              <a:gd name="connsiteY147" fmla="*/ 6300224 h 6858285"/>
              <a:gd name="connsiteX148" fmla="*/ 940479 w 6530351"/>
              <a:gd name="connsiteY148" fmla="*/ 6300224 h 6858285"/>
              <a:gd name="connsiteX149" fmla="*/ 963612 w 6530351"/>
              <a:gd name="connsiteY149" fmla="*/ 6319488 h 6858285"/>
              <a:gd name="connsiteX150" fmla="*/ 944533 w 6530351"/>
              <a:gd name="connsiteY150" fmla="*/ 6372763 h 6858285"/>
              <a:gd name="connsiteX151" fmla="*/ 606839 w 6530351"/>
              <a:gd name="connsiteY151" fmla="*/ 6540198 h 6858285"/>
              <a:gd name="connsiteX152" fmla="*/ 551511 w 6530351"/>
              <a:gd name="connsiteY152" fmla="*/ 6523074 h 6858285"/>
              <a:gd name="connsiteX153" fmla="*/ 547695 w 6530351"/>
              <a:gd name="connsiteY153" fmla="*/ 6505950 h 6858285"/>
              <a:gd name="connsiteX154" fmla="*/ 570589 w 6530351"/>
              <a:gd name="connsiteY154" fmla="*/ 6469799 h 6858285"/>
              <a:gd name="connsiteX155" fmla="*/ 910191 w 6530351"/>
              <a:gd name="connsiteY155" fmla="*/ 6302364 h 6858285"/>
              <a:gd name="connsiteX156" fmla="*/ 940479 w 6530351"/>
              <a:gd name="connsiteY156" fmla="*/ 6300224 h 6858285"/>
              <a:gd name="connsiteX157" fmla="*/ 4851417 w 6530351"/>
              <a:gd name="connsiteY157" fmla="*/ 6285982 h 6858285"/>
              <a:gd name="connsiteX158" fmla="*/ 4875265 w 6530351"/>
              <a:gd name="connsiteY158" fmla="*/ 6305364 h 6858285"/>
              <a:gd name="connsiteX159" fmla="*/ 4856185 w 6530351"/>
              <a:gd name="connsiteY159" fmla="*/ 6358966 h 6858285"/>
              <a:gd name="connsiteX160" fmla="*/ 4518493 w 6530351"/>
              <a:gd name="connsiteY160" fmla="*/ 6529342 h 6858285"/>
              <a:gd name="connsiteX161" fmla="*/ 4465071 w 6530351"/>
              <a:gd name="connsiteY161" fmla="*/ 6512113 h 6858285"/>
              <a:gd name="connsiteX162" fmla="*/ 4459347 w 6530351"/>
              <a:gd name="connsiteY162" fmla="*/ 6494884 h 6858285"/>
              <a:gd name="connsiteX163" fmla="*/ 4482243 w 6530351"/>
              <a:gd name="connsiteY163" fmla="*/ 6458512 h 6858285"/>
              <a:gd name="connsiteX164" fmla="*/ 4821845 w 6530351"/>
              <a:gd name="connsiteY164" fmla="*/ 6288135 h 6858285"/>
              <a:gd name="connsiteX165" fmla="*/ 4851417 w 6530351"/>
              <a:gd name="connsiteY165" fmla="*/ 6285982 h 6858285"/>
              <a:gd name="connsiteX166" fmla="*/ 1486683 w 6530351"/>
              <a:gd name="connsiteY166" fmla="*/ 6285982 h 6858285"/>
              <a:gd name="connsiteX167" fmla="*/ 1509747 w 6530351"/>
              <a:gd name="connsiteY167" fmla="*/ 6305364 h 6858285"/>
              <a:gd name="connsiteX168" fmla="*/ 1492628 w 6530351"/>
              <a:gd name="connsiteY168" fmla="*/ 6358966 h 6858285"/>
              <a:gd name="connsiteX169" fmla="*/ 1154042 w 6530351"/>
              <a:gd name="connsiteY169" fmla="*/ 6529342 h 6858285"/>
              <a:gd name="connsiteX170" fmla="*/ 1100781 w 6530351"/>
              <a:gd name="connsiteY170" fmla="*/ 6512113 h 6858285"/>
              <a:gd name="connsiteX171" fmla="*/ 1096977 w 6530351"/>
              <a:gd name="connsiteY171" fmla="*/ 6494884 h 6858285"/>
              <a:gd name="connsiteX172" fmla="*/ 1117901 w 6530351"/>
              <a:gd name="connsiteY172" fmla="*/ 6458512 h 6858285"/>
              <a:gd name="connsiteX173" fmla="*/ 1456487 w 6530351"/>
              <a:gd name="connsiteY173" fmla="*/ 6288135 h 6858285"/>
              <a:gd name="connsiteX174" fmla="*/ 1486683 w 6530351"/>
              <a:gd name="connsiteY174" fmla="*/ 6285982 h 6858285"/>
              <a:gd name="connsiteX175" fmla="*/ 4292547 w 6530351"/>
              <a:gd name="connsiteY175" fmla="*/ 6273228 h 6858285"/>
              <a:gd name="connsiteX176" fmla="*/ 4314899 w 6530351"/>
              <a:gd name="connsiteY176" fmla="*/ 6292469 h 6858285"/>
              <a:gd name="connsiteX177" fmla="*/ 4297779 w 6530351"/>
              <a:gd name="connsiteY177" fmla="*/ 6345679 h 6858285"/>
              <a:gd name="connsiteX178" fmla="*/ 3961095 w 6530351"/>
              <a:gd name="connsiteY178" fmla="*/ 6516712 h 6858285"/>
              <a:gd name="connsiteX179" fmla="*/ 3907835 w 6530351"/>
              <a:gd name="connsiteY179" fmla="*/ 6499609 h 6858285"/>
              <a:gd name="connsiteX180" fmla="*/ 3902127 w 6530351"/>
              <a:gd name="connsiteY180" fmla="*/ 6482505 h 6858285"/>
              <a:gd name="connsiteX181" fmla="*/ 3924955 w 6530351"/>
              <a:gd name="connsiteY181" fmla="*/ 6446398 h 6858285"/>
              <a:gd name="connsiteX182" fmla="*/ 4261637 w 6530351"/>
              <a:gd name="connsiteY182" fmla="*/ 6275366 h 6858285"/>
              <a:gd name="connsiteX183" fmla="*/ 4292547 w 6530351"/>
              <a:gd name="connsiteY183" fmla="*/ 6273228 h 6858285"/>
              <a:gd name="connsiteX184" fmla="*/ 2038428 w 6530351"/>
              <a:gd name="connsiteY184" fmla="*/ 6273228 h 6858285"/>
              <a:gd name="connsiteX185" fmla="*/ 2062205 w 6530351"/>
              <a:gd name="connsiteY185" fmla="*/ 6292469 h 6858285"/>
              <a:gd name="connsiteX186" fmla="*/ 2045086 w 6530351"/>
              <a:gd name="connsiteY186" fmla="*/ 6345679 h 6858285"/>
              <a:gd name="connsiteX187" fmla="*/ 1706500 w 6530351"/>
              <a:gd name="connsiteY187" fmla="*/ 6516712 h 6858285"/>
              <a:gd name="connsiteX188" fmla="*/ 1653239 w 6530351"/>
              <a:gd name="connsiteY188" fmla="*/ 6499609 h 6858285"/>
              <a:gd name="connsiteX189" fmla="*/ 1649435 w 6530351"/>
              <a:gd name="connsiteY189" fmla="*/ 6482505 h 6858285"/>
              <a:gd name="connsiteX190" fmla="*/ 1670359 w 6530351"/>
              <a:gd name="connsiteY190" fmla="*/ 6446398 h 6858285"/>
              <a:gd name="connsiteX191" fmla="*/ 2008945 w 6530351"/>
              <a:gd name="connsiteY191" fmla="*/ 6275366 h 6858285"/>
              <a:gd name="connsiteX192" fmla="*/ 2038428 w 6530351"/>
              <a:gd name="connsiteY192" fmla="*/ 6273228 h 6858285"/>
              <a:gd name="connsiteX193" fmla="*/ 3729191 w 6530351"/>
              <a:gd name="connsiteY193" fmla="*/ 6260519 h 6858285"/>
              <a:gd name="connsiteX194" fmla="*/ 3751321 w 6530351"/>
              <a:gd name="connsiteY194" fmla="*/ 6279737 h 6858285"/>
              <a:gd name="connsiteX195" fmla="*/ 3736091 w 6530351"/>
              <a:gd name="connsiteY195" fmla="*/ 6330986 h 6858285"/>
              <a:gd name="connsiteX196" fmla="*/ 3397253 w 6530351"/>
              <a:gd name="connsiteY196" fmla="*/ 6505611 h 6858285"/>
              <a:gd name="connsiteX197" fmla="*/ 3345856 w 6530351"/>
              <a:gd name="connsiteY197" fmla="*/ 6488528 h 6858285"/>
              <a:gd name="connsiteX198" fmla="*/ 3340145 w 6530351"/>
              <a:gd name="connsiteY198" fmla="*/ 6469547 h 6858285"/>
              <a:gd name="connsiteX199" fmla="*/ 3361084 w 6530351"/>
              <a:gd name="connsiteY199" fmla="*/ 6435381 h 6858285"/>
              <a:gd name="connsiteX200" fmla="*/ 3699923 w 6530351"/>
              <a:gd name="connsiteY200" fmla="*/ 6262654 h 6858285"/>
              <a:gd name="connsiteX201" fmla="*/ 3729191 w 6530351"/>
              <a:gd name="connsiteY201" fmla="*/ 6260519 h 6858285"/>
              <a:gd name="connsiteX202" fmla="*/ 2595581 w 6530351"/>
              <a:gd name="connsiteY202" fmla="*/ 6260519 h 6858285"/>
              <a:gd name="connsiteX203" fmla="*/ 2617794 w 6530351"/>
              <a:gd name="connsiteY203" fmla="*/ 6279737 h 6858285"/>
              <a:gd name="connsiteX204" fmla="*/ 2600597 w 6530351"/>
              <a:gd name="connsiteY204" fmla="*/ 6330986 h 6858285"/>
              <a:gd name="connsiteX205" fmla="*/ 2262390 w 6530351"/>
              <a:gd name="connsiteY205" fmla="*/ 6505611 h 6858285"/>
              <a:gd name="connsiteX206" fmla="*/ 2210799 w 6530351"/>
              <a:gd name="connsiteY206" fmla="*/ 6488528 h 6858285"/>
              <a:gd name="connsiteX207" fmla="*/ 2205067 w 6530351"/>
              <a:gd name="connsiteY207" fmla="*/ 6469547 h 6858285"/>
              <a:gd name="connsiteX208" fmla="*/ 2226086 w 6530351"/>
              <a:gd name="connsiteY208" fmla="*/ 6435381 h 6858285"/>
              <a:gd name="connsiteX209" fmla="*/ 2566203 w 6530351"/>
              <a:gd name="connsiteY209" fmla="*/ 6262654 h 6858285"/>
              <a:gd name="connsiteX210" fmla="*/ 2595581 w 6530351"/>
              <a:gd name="connsiteY210" fmla="*/ 6260519 h 6858285"/>
              <a:gd name="connsiteX211" fmla="*/ 3155654 w 6530351"/>
              <a:gd name="connsiteY211" fmla="*/ 6245321 h 6858285"/>
              <a:gd name="connsiteX212" fmla="*/ 3177866 w 6530351"/>
              <a:gd name="connsiteY212" fmla="*/ 6263701 h 6858285"/>
              <a:gd name="connsiteX213" fmla="*/ 3162580 w 6530351"/>
              <a:gd name="connsiteY213" fmla="*/ 6317169 h 6858285"/>
              <a:gd name="connsiteX214" fmla="*/ 2822462 w 6530351"/>
              <a:gd name="connsiteY214" fmla="*/ 6492853 h 6858285"/>
              <a:gd name="connsiteX215" fmla="*/ 2770872 w 6530351"/>
              <a:gd name="connsiteY215" fmla="*/ 6477576 h 6858285"/>
              <a:gd name="connsiteX216" fmla="*/ 2767050 w 6530351"/>
              <a:gd name="connsiteY216" fmla="*/ 6458480 h 6858285"/>
              <a:gd name="connsiteX217" fmla="*/ 2788069 w 6530351"/>
              <a:gd name="connsiteY217" fmla="*/ 6426017 h 6858285"/>
              <a:gd name="connsiteX218" fmla="*/ 3126275 w 6530351"/>
              <a:gd name="connsiteY218" fmla="*/ 6248424 h 6858285"/>
              <a:gd name="connsiteX219" fmla="*/ 3155654 w 6530351"/>
              <a:gd name="connsiteY219" fmla="*/ 6245321 h 6858285"/>
              <a:gd name="connsiteX220" fmla="*/ 6502939 w 6530351"/>
              <a:gd name="connsiteY220" fmla="*/ 6003608 h 6858285"/>
              <a:gd name="connsiteX221" fmla="*/ 6526293 w 6530351"/>
              <a:gd name="connsiteY221" fmla="*/ 6024563 h 6858285"/>
              <a:gd name="connsiteX222" fmla="*/ 6507229 w 6530351"/>
              <a:gd name="connsiteY222" fmla="*/ 6079808 h 6858285"/>
              <a:gd name="connsiteX223" fmla="*/ 6167883 w 6530351"/>
              <a:gd name="connsiteY223" fmla="*/ 6243638 h 6858285"/>
              <a:gd name="connsiteX224" fmla="*/ 6112595 w 6530351"/>
              <a:gd name="connsiteY224" fmla="*/ 6224588 h 6858285"/>
              <a:gd name="connsiteX225" fmla="*/ 6108783 w 6530351"/>
              <a:gd name="connsiteY225" fmla="*/ 6207443 h 6858285"/>
              <a:gd name="connsiteX226" fmla="*/ 6131661 w 6530351"/>
              <a:gd name="connsiteY226" fmla="*/ 6169343 h 6858285"/>
              <a:gd name="connsiteX227" fmla="*/ 6471007 w 6530351"/>
              <a:gd name="connsiteY227" fmla="*/ 6005513 h 6858285"/>
              <a:gd name="connsiteX228" fmla="*/ 6502939 w 6530351"/>
              <a:gd name="connsiteY228" fmla="*/ 6003608 h 6858285"/>
              <a:gd name="connsiteX229" fmla="*/ 5940775 w 6530351"/>
              <a:gd name="connsiteY229" fmla="*/ 5988309 h 6858285"/>
              <a:gd name="connsiteX230" fmla="*/ 5980185 w 6530351"/>
              <a:gd name="connsiteY230" fmla="*/ 6010276 h 6858285"/>
              <a:gd name="connsiteX231" fmla="*/ 5961121 w 6530351"/>
              <a:gd name="connsiteY231" fmla="*/ 6065521 h 6858285"/>
              <a:gd name="connsiteX232" fmla="*/ 5621775 w 6530351"/>
              <a:gd name="connsiteY232" fmla="*/ 6229351 h 6858285"/>
              <a:gd name="connsiteX233" fmla="*/ 5566487 w 6530351"/>
              <a:gd name="connsiteY233" fmla="*/ 6210301 h 6858285"/>
              <a:gd name="connsiteX234" fmla="*/ 5562675 w 6530351"/>
              <a:gd name="connsiteY234" fmla="*/ 6193156 h 6858285"/>
              <a:gd name="connsiteX235" fmla="*/ 5585553 w 6530351"/>
              <a:gd name="connsiteY235" fmla="*/ 6156961 h 6858285"/>
              <a:gd name="connsiteX236" fmla="*/ 5924899 w 6530351"/>
              <a:gd name="connsiteY236" fmla="*/ 5993131 h 6858285"/>
              <a:gd name="connsiteX237" fmla="*/ 5940775 w 6530351"/>
              <a:gd name="connsiteY237" fmla="*/ 5988309 h 6858285"/>
              <a:gd name="connsiteX238" fmla="*/ 380903 w 6530351"/>
              <a:gd name="connsiteY238" fmla="*/ 5988309 h 6858285"/>
              <a:gd name="connsiteX239" fmla="*/ 419126 w 6530351"/>
              <a:gd name="connsiteY239" fmla="*/ 6010276 h 6858285"/>
              <a:gd name="connsiteX240" fmla="*/ 400119 w 6530351"/>
              <a:gd name="connsiteY240" fmla="*/ 6065521 h 6858285"/>
              <a:gd name="connsiteX241" fmla="*/ 63685 w 6530351"/>
              <a:gd name="connsiteY241" fmla="*/ 6229351 h 6858285"/>
              <a:gd name="connsiteX242" fmla="*/ 8564 w 6530351"/>
              <a:gd name="connsiteY242" fmla="*/ 6210301 h 6858285"/>
              <a:gd name="connsiteX243" fmla="*/ 4762 w 6530351"/>
              <a:gd name="connsiteY243" fmla="*/ 6193156 h 6858285"/>
              <a:gd name="connsiteX244" fmla="*/ 27571 w 6530351"/>
              <a:gd name="connsiteY244" fmla="*/ 6156961 h 6858285"/>
              <a:gd name="connsiteX245" fmla="*/ 365905 w 6530351"/>
              <a:gd name="connsiteY245" fmla="*/ 5993131 h 6858285"/>
              <a:gd name="connsiteX246" fmla="*/ 380903 w 6530351"/>
              <a:gd name="connsiteY246" fmla="*/ 5988309 h 6858285"/>
              <a:gd name="connsiteX247" fmla="*/ 5406299 w 6530351"/>
              <a:gd name="connsiteY247" fmla="*/ 5978208 h 6858285"/>
              <a:gd name="connsiteX248" fmla="*/ 5429345 w 6530351"/>
              <a:gd name="connsiteY248" fmla="*/ 5999163 h 6858285"/>
              <a:gd name="connsiteX249" fmla="*/ 5410337 w 6530351"/>
              <a:gd name="connsiteY249" fmla="*/ 6052503 h 6858285"/>
              <a:gd name="connsiteX250" fmla="*/ 5072003 w 6530351"/>
              <a:gd name="connsiteY250" fmla="*/ 6218238 h 6858285"/>
              <a:gd name="connsiteX251" fmla="*/ 5018781 w 6530351"/>
              <a:gd name="connsiteY251" fmla="*/ 6199188 h 6858285"/>
              <a:gd name="connsiteX252" fmla="*/ 5014979 w 6530351"/>
              <a:gd name="connsiteY252" fmla="*/ 6180138 h 6858285"/>
              <a:gd name="connsiteX253" fmla="*/ 5037789 w 6530351"/>
              <a:gd name="connsiteY253" fmla="*/ 6143943 h 6858285"/>
              <a:gd name="connsiteX254" fmla="*/ 5376123 w 6530351"/>
              <a:gd name="connsiteY254" fmla="*/ 5980113 h 6858285"/>
              <a:gd name="connsiteX255" fmla="*/ 5406299 w 6530351"/>
              <a:gd name="connsiteY255" fmla="*/ 5978208 h 6858285"/>
              <a:gd name="connsiteX256" fmla="*/ 940184 w 6530351"/>
              <a:gd name="connsiteY256" fmla="*/ 5978208 h 6858285"/>
              <a:gd name="connsiteX257" fmla="*/ 963299 w 6530351"/>
              <a:gd name="connsiteY257" fmla="*/ 5999163 h 6858285"/>
              <a:gd name="connsiteX258" fmla="*/ 944235 w 6530351"/>
              <a:gd name="connsiteY258" fmla="*/ 6052503 h 6858285"/>
              <a:gd name="connsiteX259" fmla="*/ 606795 w 6530351"/>
              <a:gd name="connsiteY259" fmla="*/ 6218238 h 6858285"/>
              <a:gd name="connsiteX260" fmla="*/ 551508 w 6530351"/>
              <a:gd name="connsiteY260" fmla="*/ 6199188 h 6858285"/>
              <a:gd name="connsiteX261" fmla="*/ 547695 w 6530351"/>
              <a:gd name="connsiteY261" fmla="*/ 6180138 h 6858285"/>
              <a:gd name="connsiteX262" fmla="*/ 570572 w 6530351"/>
              <a:gd name="connsiteY262" fmla="*/ 6143943 h 6858285"/>
              <a:gd name="connsiteX263" fmla="*/ 909919 w 6530351"/>
              <a:gd name="connsiteY263" fmla="*/ 5980113 h 6858285"/>
              <a:gd name="connsiteX264" fmla="*/ 940184 w 6530351"/>
              <a:gd name="connsiteY264" fmla="*/ 5978208 h 6858285"/>
              <a:gd name="connsiteX265" fmla="*/ 4852131 w 6530351"/>
              <a:gd name="connsiteY265" fmla="*/ 5966222 h 6858285"/>
              <a:gd name="connsiteX266" fmla="*/ 4875265 w 6530351"/>
              <a:gd name="connsiteY266" fmla="*/ 5986463 h 6858285"/>
              <a:gd name="connsiteX267" fmla="*/ 4856185 w 6530351"/>
              <a:gd name="connsiteY267" fmla="*/ 6041708 h 6858285"/>
              <a:gd name="connsiteX268" fmla="*/ 4516585 w 6530351"/>
              <a:gd name="connsiteY268" fmla="*/ 6205538 h 6858285"/>
              <a:gd name="connsiteX269" fmla="*/ 4463163 w 6530351"/>
              <a:gd name="connsiteY269" fmla="*/ 6186488 h 6858285"/>
              <a:gd name="connsiteX270" fmla="*/ 4459347 w 6530351"/>
              <a:gd name="connsiteY270" fmla="*/ 6169343 h 6858285"/>
              <a:gd name="connsiteX271" fmla="*/ 4482243 w 6530351"/>
              <a:gd name="connsiteY271" fmla="*/ 6131243 h 6858285"/>
              <a:gd name="connsiteX272" fmla="*/ 4821845 w 6530351"/>
              <a:gd name="connsiteY272" fmla="*/ 5967413 h 6858285"/>
              <a:gd name="connsiteX273" fmla="*/ 4852131 w 6530351"/>
              <a:gd name="connsiteY273" fmla="*/ 5966222 h 6858285"/>
              <a:gd name="connsiteX274" fmla="*/ 1487959 w 6530351"/>
              <a:gd name="connsiteY274" fmla="*/ 5966222 h 6858285"/>
              <a:gd name="connsiteX275" fmla="*/ 1511313 w 6530351"/>
              <a:gd name="connsiteY275" fmla="*/ 5986463 h 6858285"/>
              <a:gd name="connsiteX276" fmla="*/ 1492248 w 6530351"/>
              <a:gd name="connsiteY276" fmla="*/ 6041708 h 6858285"/>
              <a:gd name="connsiteX277" fmla="*/ 1152902 w 6530351"/>
              <a:gd name="connsiteY277" fmla="*/ 6205538 h 6858285"/>
              <a:gd name="connsiteX278" fmla="*/ 1097615 w 6530351"/>
              <a:gd name="connsiteY278" fmla="*/ 6186488 h 6858285"/>
              <a:gd name="connsiteX279" fmla="*/ 1093802 w 6530351"/>
              <a:gd name="connsiteY279" fmla="*/ 6169343 h 6858285"/>
              <a:gd name="connsiteX280" fmla="*/ 1116679 w 6530351"/>
              <a:gd name="connsiteY280" fmla="*/ 6131243 h 6858285"/>
              <a:gd name="connsiteX281" fmla="*/ 1456026 w 6530351"/>
              <a:gd name="connsiteY281" fmla="*/ 5967413 h 6858285"/>
              <a:gd name="connsiteX282" fmla="*/ 1487959 w 6530351"/>
              <a:gd name="connsiteY282" fmla="*/ 5966222 h 6858285"/>
              <a:gd name="connsiteX283" fmla="*/ 4293447 w 6530351"/>
              <a:gd name="connsiteY283" fmla="*/ 5952817 h 6858285"/>
              <a:gd name="connsiteX284" fmla="*/ 4316493 w 6530351"/>
              <a:gd name="connsiteY284" fmla="*/ 5973798 h 6858285"/>
              <a:gd name="connsiteX285" fmla="*/ 4297485 w 6530351"/>
              <a:gd name="connsiteY285" fmla="*/ 6027205 h 6858285"/>
              <a:gd name="connsiteX286" fmla="*/ 3959151 w 6530351"/>
              <a:gd name="connsiteY286" fmla="*/ 6191239 h 6858285"/>
              <a:gd name="connsiteX287" fmla="*/ 3905929 w 6530351"/>
              <a:gd name="connsiteY287" fmla="*/ 6172165 h 6858285"/>
              <a:gd name="connsiteX288" fmla="*/ 3902127 w 6530351"/>
              <a:gd name="connsiteY288" fmla="*/ 6154999 h 6858285"/>
              <a:gd name="connsiteX289" fmla="*/ 3924937 w 6530351"/>
              <a:gd name="connsiteY289" fmla="*/ 6118759 h 6858285"/>
              <a:gd name="connsiteX290" fmla="*/ 4263271 w 6530351"/>
              <a:gd name="connsiteY290" fmla="*/ 5954725 h 6858285"/>
              <a:gd name="connsiteX291" fmla="*/ 4293447 w 6530351"/>
              <a:gd name="connsiteY291" fmla="*/ 5952817 h 6858285"/>
              <a:gd name="connsiteX292" fmla="*/ 2039827 w 6530351"/>
              <a:gd name="connsiteY292" fmla="*/ 5952817 h 6858285"/>
              <a:gd name="connsiteX293" fmla="*/ 2063806 w 6530351"/>
              <a:gd name="connsiteY293" fmla="*/ 5973798 h 6858285"/>
              <a:gd name="connsiteX294" fmla="*/ 2044813 w 6530351"/>
              <a:gd name="connsiteY294" fmla="*/ 6027205 h 6858285"/>
              <a:gd name="connsiteX295" fmla="*/ 1706727 w 6530351"/>
              <a:gd name="connsiteY295" fmla="*/ 6191239 h 6858285"/>
              <a:gd name="connsiteX296" fmla="*/ 1651646 w 6530351"/>
              <a:gd name="connsiteY296" fmla="*/ 6172165 h 6858285"/>
              <a:gd name="connsiteX297" fmla="*/ 1647847 w 6530351"/>
              <a:gd name="connsiteY297" fmla="*/ 6154999 h 6858285"/>
              <a:gd name="connsiteX298" fmla="*/ 1670639 w 6530351"/>
              <a:gd name="connsiteY298" fmla="*/ 6118759 h 6858285"/>
              <a:gd name="connsiteX299" fmla="*/ 2008725 w 6530351"/>
              <a:gd name="connsiteY299" fmla="*/ 5954725 h 6858285"/>
              <a:gd name="connsiteX300" fmla="*/ 2039827 w 6530351"/>
              <a:gd name="connsiteY300" fmla="*/ 5952817 h 6858285"/>
              <a:gd name="connsiteX301" fmla="*/ 3730413 w 6530351"/>
              <a:gd name="connsiteY301" fmla="*/ 5940108 h 6858285"/>
              <a:gd name="connsiteX302" fmla="*/ 3754481 w 6530351"/>
              <a:gd name="connsiteY302" fmla="*/ 5961063 h 6858285"/>
              <a:gd name="connsiteX303" fmla="*/ 3735417 w 6530351"/>
              <a:gd name="connsiteY303" fmla="*/ 6016308 h 6858285"/>
              <a:gd name="connsiteX304" fmla="*/ 3396070 w 6530351"/>
              <a:gd name="connsiteY304" fmla="*/ 6180138 h 6858285"/>
              <a:gd name="connsiteX305" fmla="*/ 3340783 w 6530351"/>
              <a:gd name="connsiteY305" fmla="*/ 6161088 h 6858285"/>
              <a:gd name="connsiteX306" fmla="*/ 3336970 w 6530351"/>
              <a:gd name="connsiteY306" fmla="*/ 6142038 h 6858285"/>
              <a:gd name="connsiteX307" fmla="*/ 3359847 w 6530351"/>
              <a:gd name="connsiteY307" fmla="*/ 6105843 h 6858285"/>
              <a:gd name="connsiteX308" fmla="*/ 3699193 w 6530351"/>
              <a:gd name="connsiteY308" fmla="*/ 5942013 h 6858285"/>
              <a:gd name="connsiteX309" fmla="*/ 3730413 w 6530351"/>
              <a:gd name="connsiteY309" fmla="*/ 5940108 h 6858285"/>
              <a:gd name="connsiteX310" fmla="*/ 2596921 w 6530351"/>
              <a:gd name="connsiteY310" fmla="*/ 5940108 h 6858285"/>
              <a:gd name="connsiteX311" fmla="*/ 2620990 w 6530351"/>
              <a:gd name="connsiteY311" fmla="*/ 5961063 h 6858285"/>
              <a:gd name="connsiteX312" fmla="*/ 2601925 w 6530351"/>
              <a:gd name="connsiteY312" fmla="*/ 6016308 h 6858285"/>
              <a:gd name="connsiteX313" fmla="*/ 2262579 w 6530351"/>
              <a:gd name="connsiteY313" fmla="*/ 6180138 h 6858285"/>
              <a:gd name="connsiteX314" fmla="*/ 2207292 w 6530351"/>
              <a:gd name="connsiteY314" fmla="*/ 6161088 h 6858285"/>
              <a:gd name="connsiteX315" fmla="*/ 2203479 w 6530351"/>
              <a:gd name="connsiteY315" fmla="*/ 6142038 h 6858285"/>
              <a:gd name="connsiteX316" fmla="*/ 2226356 w 6530351"/>
              <a:gd name="connsiteY316" fmla="*/ 6105843 h 6858285"/>
              <a:gd name="connsiteX317" fmla="*/ 2565703 w 6530351"/>
              <a:gd name="connsiteY317" fmla="*/ 5942013 h 6858285"/>
              <a:gd name="connsiteX318" fmla="*/ 2596921 w 6530351"/>
              <a:gd name="connsiteY318" fmla="*/ 5940108 h 6858285"/>
              <a:gd name="connsiteX319" fmla="*/ 3158032 w 6530351"/>
              <a:gd name="connsiteY319" fmla="*/ 5928122 h 6858285"/>
              <a:gd name="connsiteX320" fmla="*/ 3181386 w 6530351"/>
              <a:gd name="connsiteY320" fmla="*/ 5948363 h 6858285"/>
              <a:gd name="connsiteX321" fmla="*/ 3162321 w 6530351"/>
              <a:gd name="connsiteY321" fmla="*/ 6003608 h 6858285"/>
              <a:gd name="connsiteX322" fmla="*/ 2822975 w 6530351"/>
              <a:gd name="connsiteY322" fmla="*/ 6167438 h 6858285"/>
              <a:gd name="connsiteX323" fmla="*/ 2769594 w 6530351"/>
              <a:gd name="connsiteY323" fmla="*/ 6148388 h 6858285"/>
              <a:gd name="connsiteX324" fmla="*/ 2763875 w 6530351"/>
              <a:gd name="connsiteY324" fmla="*/ 6131243 h 6858285"/>
              <a:gd name="connsiteX325" fmla="*/ 2788659 w 6530351"/>
              <a:gd name="connsiteY325" fmla="*/ 6093143 h 6858285"/>
              <a:gd name="connsiteX326" fmla="*/ 3126099 w 6530351"/>
              <a:gd name="connsiteY326" fmla="*/ 5929313 h 6858285"/>
              <a:gd name="connsiteX327" fmla="*/ 3158032 w 6530351"/>
              <a:gd name="connsiteY327" fmla="*/ 5928122 h 6858285"/>
              <a:gd name="connsiteX328" fmla="*/ 6486883 w 6530351"/>
              <a:gd name="connsiteY328" fmla="*/ 5678738 h 6858285"/>
              <a:gd name="connsiteX329" fmla="*/ 6526293 w 6530351"/>
              <a:gd name="connsiteY329" fmla="*/ 5700678 h 6858285"/>
              <a:gd name="connsiteX330" fmla="*/ 6507229 w 6530351"/>
              <a:gd name="connsiteY330" fmla="*/ 5755855 h 6858285"/>
              <a:gd name="connsiteX331" fmla="*/ 6167883 w 6530351"/>
              <a:gd name="connsiteY331" fmla="*/ 5921387 h 6858285"/>
              <a:gd name="connsiteX332" fmla="*/ 6114503 w 6530351"/>
              <a:gd name="connsiteY332" fmla="*/ 5902361 h 6858285"/>
              <a:gd name="connsiteX333" fmla="*/ 6108783 w 6530351"/>
              <a:gd name="connsiteY333" fmla="*/ 5883334 h 6858285"/>
              <a:gd name="connsiteX334" fmla="*/ 6131661 w 6530351"/>
              <a:gd name="connsiteY334" fmla="*/ 5847183 h 6858285"/>
              <a:gd name="connsiteX335" fmla="*/ 6471007 w 6530351"/>
              <a:gd name="connsiteY335" fmla="*/ 5683554 h 6858285"/>
              <a:gd name="connsiteX336" fmla="*/ 6486883 w 6530351"/>
              <a:gd name="connsiteY336" fmla="*/ 5678738 h 6858285"/>
              <a:gd name="connsiteX337" fmla="*/ 5956831 w 6530351"/>
              <a:gd name="connsiteY337" fmla="*/ 5667772 h 6858285"/>
              <a:gd name="connsiteX338" fmla="*/ 5980185 w 6530351"/>
              <a:gd name="connsiteY338" fmla="*/ 5688013 h 6858285"/>
              <a:gd name="connsiteX339" fmla="*/ 5961121 w 6530351"/>
              <a:gd name="connsiteY339" fmla="*/ 5743258 h 6858285"/>
              <a:gd name="connsiteX340" fmla="*/ 5621775 w 6530351"/>
              <a:gd name="connsiteY340" fmla="*/ 5907088 h 6858285"/>
              <a:gd name="connsiteX341" fmla="*/ 5566487 w 6530351"/>
              <a:gd name="connsiteY341" fmla="*/ 5888038 h 6858285"/>
              <a:gd name="connsiteX342" fmla="*/ 5562675 w 6530351"/>
              <a:gd name="connsiteY342" fmla="*/ 5868988 h 6858285"/>
              <a:gd name="connsiteX343" fmla="*/ 5585553 w 6530351"/>
              <a:gd name="connsiteY343" fmla="*/ 5832793 h 6858285"/>
              <a:gd name="connsiteX344" fmla="*/ 5924899 w 6530351"/>
              <a:gd name="connsiteY344" fmla="*/ 5668963 h 6858285"/>
              <a:gd name="connsiteX345" fmla="*/ 5956831 w 6530351"/>
              <a:gd name="connsiteY345" fmla="*/ 5667772 h 6858285"/>
              <a:gd name="connsiteX346" fmla="*/ 397251 w 6530351"/>
              <a:gd name="connsiteY346" fmla="*/ 5667772 h 6858285"/>
              <a:gd name="connsiteX347" fmla="*/ 420366 w 6530351"/>
              <a:gd name="connsiteY347" fmla="*/ 5688013 h 6858285"/>
              <a:gd name="connsiteX348" fmla="*/ 401302 w 6530351"/>
              <a:gd name="connsiteY348" fmla="*/ 5743258 h 6858285"/>
              <a:gd name="connsiteX349" fmla="*/ 63862 w 6530351"/>
              <a:gd name="connsiteY349" fmla="*/ 5907088 h 6858285"/>
              <a:gd name="connsiteX350" fmla="*/ 8575 w 6530351"/>
              <a:gd name="connsiteY350" fmla="*/ 5888038 h 6858285"/>
              <a:gd name="connsiteX351" fmla="*/ 4762 w 6530351"/>
              <a:gd name="connsiteY351" fmla="*/ 5868988 h 6858285"/>
              <a:gd name="connsiteX352" fmla="*/ 27639 w 6530351"/>
              <a:gd name="connsiteY352" fmla="*/ 5832793 h 6858285"/>
              <a:gd name="connsiteX353" fmla="*/ 366986 w 6530351"/>
              <a:gd name="connsiteY353" fmla="*/ 5668963 h 6858285"/>
              <a:gd name="connsiteX354" fmla="*/ 397251 w 6530351"/>
              <a:gd name="connsiteY354" fmla="*/ 5667772 h 6858285"/>
              <a:gd name="connsiteX355" fmla="*/ 5407607 w 6530351"/>
              <a:gd name="connsiteY355" fmla="*/ 5656671 h 6858285"/>
              <a:gd name="connsiteX356" fmla="*/ 5432463 w 6530351"/>
              <a:gd name="connsiteY356" fmla="*/ 5676936 h 6858285"/>
              <a:gd name="connsiteX357" fmla="*/ 5411429 w 6530351"/>
              <a:gd name="connsiteY357" fmla="*/ 5732250 h 6858285"/>
              <a:gd name="connsiteX358" fmla="*/ 5071079 w 6530351"/>
              <a:gd name="connsiteY358" fmla="*/ 5894377 h 6858285"/>
              <a:gd name="connsiteX359" fmla="*/ 5015629 w 6530351"/>
              <a:gd name="connsiteY359" fmla="*/ 5873396 h 6858285"/>
              <a:gd name="connsiteX360" fmla="*/ 5011805 w 6530351"/>
              <a:gd name="connsiteY360" fmla="*/ 5856229 h 6858285"/>
              <a:gd name="connsiteX361" fmla="*/ 5036663 w 6530351"/>
              <a:gd name="connsiteY361" fmla="*/ 5818082 h 6858285"/>
              <a:gd name="connsiteX362" fmla="*/ 5377013 w 6530351"/>
              <a:gd name="connsiteY362" fmla="*/ 5657863 h 6858285"/>
              <a:gd name="connsiteX363" fmla="*/ 5407607 w 6530351"/>
              <a:gd name="connsiteY363" fmla="*/ 5656671 h 6858285"/>
              <a:gd name="connsiteX364" fmla="*/ 941852 w 6530351"/>
              <a:gd name="connsiteY364" fmla="*/ 5656671 h 6858285"/>
              <a:gd name="connsiteX365" fmla="*/ 965206 w 6530351"/>
              <a:gd name="connsiteY365" fmla="*/ 5676936 h 6858285"/>
              <a:gd name="connsiteX366" fmla="*/ 946141 w 6530351"/>
              <a:gd name="connsiteY366" fmla="*/ 5732250 h 6858285"/>
              <a:gd name="connsiteX367" fmla="*/ 606795 w 6530351"/>
              <a:gd name="connsiteY367" fmla="*/ 5894377 h 6858285"/>
              <a:gd name="connsiteX368" fmla="*/ 551508 w 6530351"/>
              <a:gd name="connsiteY368" fmla="*/ 5873396 h 6858285"/>
              <a:gd name="connsiteX369" fmla="*/ 547695 w 6530351"/>
              <a:gd name="connsiteY369" fmla="*/ 5856229 h 6858285"/>
              <a:gd name="connsiteX370" fmla="*/ 570572 w 6530351"/>
              <a:gd name="connsiteY370" fmla="*/ 5818082 h 6858285"/>
              <a:gd name="connsiteX371" fmla="*/ 909919 w 6530351"/>
              <a:gd name="connsiteY371" fmla="*/ 5657863 h 6858285"/>
              <a:gd name="connsiteX372" fmla="*/ 941852 w 6530351"/>
              <a:gd name="connsiteY372" fmla="*/ 5656671 h 6858285"/>
              <a:gd name="connsiteX373" fmla="*/ 4853529 w 6530351"/>
              <a:gd name="connsiteY373" fmla="*/ 5644852 h 6858285"/>
              <a:gd name="connsiteX374" fmla="*/ 4876865 w 6530351"/>
              <a:gd name="connsiteY374" fmla="*/ 5665859 h 6858285"/>
              <a:gd name="connsiteX375" fmla="*/ 4855911 w 6530351"/>
              <a:gd name="connsiteY375" fmla="*/ 5723153 h 6858285"/>
              <a:gd name="connsiteX376" fmla="*/ 4516815 w 6530351"/>
              <a:gd name="connsiteY376" fmla="*/ 5881664 h 6858285"/>
              <a:gd name="connsiteX377" fmla="*/ 4461571 w 6530351"/>
              <a:gd name="connsiteY377" fmla="*/ 5860656 h 6858285"/>
              <a:gd name="connsiteX378" fmla="*/ 4457759 w 6530351"/>
              <a:gd name="connsiteY378" fmla="*/ 5843468 h 6858285"/>
              <a:gd name="connsiteX379" fmla="*/ 4482525 w 6530351"/>
              <a:gd name="connsiteY379" fmla="*/ 5805273 h 6858285"/>
              <a:gd name="connsiteX380" fmla="*/ 4821621 w 6530351"/>
              <a:gd name="connsiteY380" fmla="*/ 5646762 h 6858285"/>
              <a:gd name="connsiteX381" fmla="*/ 4853529 w 6530351"/>
              <a:gd name="connsiteY381" fmla="*/ 5644852 h 6858285"/>
              <a:gd name="connsiteX382" fmla="*/ 1487905 w 6530351"/>
              <a:gd name="connsiteY382" fmla="*/ 5644852 h 6858285"/>
              <a:gd name="connsiteX383" fmla="*/ 1512908 w 6530351"/>
              <a:gd name="connsiteY383" fmla="*/ 5665859 h 6858285"/>
              <a:gd name="connsiteX384" fmla="*/ 1491953 w 6530351"/>
              <a:gd name="connsiteY384" fmla="*/ 5723153 h 6858285"/>
              <a:gd name="connsiteX385" fmla="*/ 1152858 w 6530351"/>
              <a:gd name="connsiteY385" fmla="*/ 5881664 h 6858285"/>
              <a:gd name="connsiteX386" fmla="*/ 1097612 w 6530351"/>
              <a:gd name="connsiteY386" fmla="*/ 5860656 h 6858285"/>
              <a:gd name="connsiteX387" fmla="*/ 1093802 w 6530351"/>
              <a:gd name="connsiteY387" fmla="*/ 5843468 h 6858285"/>
              <a:gd name="connsiteX388" fmla="*/ 1116662 w 6530351"/>
              <a:gd name="connsiteY388" fmla="*/ 5805273 h 6858285"/>
              <a:gd name="connsiteX389" fmla="*/ 1455757 w 6530351"/>
              <a:gd name="connsiteY389" fmla="*/ 5646762 h 6858285"/>
              <a:gd name="connsiteX390" fmla="*/ 1487905 w 6530351"/>
              <a:gd name="connsiteY390" fmla="*/ 5644852 h 6858285"/>
              <a:gd name="connsiteX391" fmla="*/ 4280353 w 6530351"/>
              <a:gd name="connsiteY391" fmla="*/ 5631126 h 6858285"/>
              <a:gd name="connsiteX392" fmla="*/ 4319611 w 6530351"/>
              <a:gd name="connsiteY392" fmla="*/ 5654878 h 6858285"/>
              <a:gd name="connsiteX393" fmla="*/ 4298577 w 6530351"/>
              <a:gd name="connsiteY393" fmla="*/ 5711813 h 6858285"/>
              <a:gd name="connsiteX394" fmla="*/ 3958227 w 6530351"/>
              <a:gd name="connsiteY394" fmla="*/ 5867437 h 6858285"/>
              <a:gd name="connsiteX395" fmla="*/ 3902777 w 6530351"/>
              <a:gd name="connsiteY395" fmla="*/ 5846560 h 6858285"/>
              <a:gd name="connsiteX396" fmla="*/ 3898953 w 6530351"/>
              <a:gd name="connsiteY396" fmla="*/ 5829480 h 6858285"/>
              <a:gd name="connsiteX397" fmla="*/ 3923811 w 6530351"/>
              <a:gd name="connsiteY397" fmla="*/ 5789625 h 6858285"/>
              <a:gd name="connsiteX398" fmla="*/ 4264161 w 6530351"/>
              <a:gd name="connsiteY398" fmla="*/ 5635900 h 6858285"/>
              <a:gd name="connsiteX399" fmla="*/ 4280353 w 6530351"/>
              <a:gd name="connsiteY399" fmla="*/ 5631126 h 6858285"/>
              <a:gd name="connsiteX400" fmla="*/ 2025816 w 6530351"/>
              <a:gd name="connsiteY400" fmla="*/ 5631125 h 6858285"/>
              <a:gd name="connsiteX401" fmla="*/ 2066925 w 6530351"/>
              <a:gd name="connsiteY401" fmla="*/ 5654878 h 6858285"/>
              <a:gd name="connsiteX402" fmla="*/ 2045908 w 6530351"/>
              <a:gd name="connsiteY402" fmla="*/ 5711813 h 6858285"/>
              <a:gd name="connsiteX403" fmla="*/ 1705813 w 6530351"/>
              <a:gd name="connsiteY403" fmla="*/ 5867437 h 6858285"/>
              <a:gd name="connsiteX404" fmla="*/ 1648493 w 6530351"/>
              <a:gd name="connsiteY404" fmla="*/ 5846560 h 6858285"/>
              <a:gd name="connsiteX405" fmla="*/ 1644672 w 6530351"/>
              <a:gd name="connsiteY405" fmla="*/ 5829480 h 6858285"/>
              <a:gd name="connsiteX406" fmla="*/ 1669510 w 6530351"/>
              <a:gd name="connsiteY406" fmla="*/ 5789625 h 6858285"/>
              <a:gd name="connsiteX407" fmla="*/ 2009605 w 6530351"/>
              <a:gd name="connsiteY407" fmla="*/ 5635900 h 6858285"/>
              <a:gd name="connsiteX408" fmla="*/ 2025816 w 6530351"/>
              <a:gd name="connsiteY408" fmla="*/ 5631125 h 6858285"/>
              <a:gd name="connsiteX409" fmla="*/ 3732525 w 6530351"/>
              <a:gd name="connsiteY409" fmla="*/ 5620418 h 6858285"/>
              <a:gd name="connsiteX410" fmla="*/ 3756081 w 6530351"/>
              <a:gd name="connsiteY410" fmla="*/ 5642408 h 6858285"/>
              <a:gd name="connsiteX411" fmla="*/ 3735143 w 6530351"/>
              <a:gd name="connsiteY411" fmla="*/ 5699775 h 6858285"/>
              <a:gd name="connsiteX412" fmla="*/ 3396298 w 6530351"/>
              <a:gd name="connsiteY412" fmla="*/ 5854665 h 6858285"/>
              <a:gd name="connsiteX413" fmla="*/ 3339189 w 6530351"/>
              <a:gd name="connsiteY413" fmla="*/ 5833630 h 6858285"/>
              <a:gd name="connsiteX414" fmla="*/ 3335382 w 6530351"/>
              <a:gd name="connsiteY414" fmla="*/ 5814508 h 6858285"/>
              <a:gd name="connsiteX415" fmla="*/ 3360129 w 6530351"/>
              <a:gd name="connsiteY415" fmla="*/ 5776264 h 6858285"/>
              <a:gd name="connsiteX416" fmla="*/ 3698973 w 6530351"/>
              <a:gd name="connsiteY416" fmla="*/ 5621374 h 6858285"/>
              <a:gd name="connsiteX417" fmla="*/ 3732525 w 6530351"/>
              <a:gd name="connsiteY417" fmla="*/ 5620418 h 6858285"/>
              <a:gd name="connsiteX418" fmla="*/ 2598321 w 6530351"/>
              <a:gd name="connsiteY418" fmla="*/ 5620418 h 6858285"/>
              <a:gd name="connsiteX419" fmla="*/ 2622592 w 6530351"/>
              <a:gd name="connsiteY419" fmla="*/ 5642408 h 6858285"/>
              <a:gd name="connsiteX420" fmla="*/ 2601652 w 6530351"/>
              <a:gd name="connsiteY420" fmla="*/ 5699775 h 6858285"/>
              <a:gd name="connsiteX421" fmla="*/ 2262808 w 6530351"/>
              <a:gd name="connsiteY421" fmla="*/ 5854665 h 6858285"/>
              <a:gd name="connsiteX422" fmla="*/ 2205699 w 6530351"/>
              <a:gd name="connsiteY422" fmla="*/ 5833630 h 6858285"/>
              <a:gd name="connsiteX423" fmla="*/ 2201892 w 6530351"/>
              <a:gd name="connsiteY423" fmla="*/ 5814508 h 6858285"/>
              <a:gd name="connsiteX424" fmla="*/ 2226639 w 6530351"/>
              <a:gd name="connsiteY424" fmla="*/ 5776264 h 6858285"/>
              <a:gd name="connsiteX425" fmla="*/ 2565483 w 6530351"/>
              <a:gd name="connsiteY425" fmla="*/ 5621374 h 6858285"/>
              <a:gd name="connsiteX426" fmla="*/ 2598321 w 6530351"/>
              <a:gd name="connsiteY426" fmla="*/ 5620418 h 6858285"/>
              <a:gd name="connsiteX427" fmla="*/ 3160328 w 6530351"/>
              <a:gd name="connsiteY427" fmla="*/ 5609262 h 6858285"/>
              <a:gd name="connsiteX428" fmla="*/ 3184582 w 6530351"/>
              <a:gd name="connsiteY428" fmla="*/ 5631142 h 6858285"/>
              <a:gd name="connsiteX429" fmla="*/ 3161755 w 6530351"/>
              <a:gd name="connsiteY429" fmla="*/ 5688219 h 6858285"/>
              <a:gd name="connsiteX430" fmla="*/ 2823158 w 6530351"/>
              <a:gd name="connsiteY430" fmla="*/ 5840426 h 6858285"/>
              <a:gd name="connsiteX431" fmla="*/ 2766091 w 6530351"/>
              <a:gd name="connsiteY431" fmla="*/ 5817595 h 6858285"/>
              <a:gd name="connsiteX432" fmla="*/ 2762287 w 6530351"/>
              <a:gd name="connsiteY432" fmla="*/ 5800472 h 6858285"/>
              <a:gd name="connsiteX433" fmla="*/ 2787016 w 6530351"/>
              <a:gd name="connsiteY433" fmla="*/ 5760517 h 6858285"/>
              <a:gd name="connsiteX434" fmla="*/ 3127515 w 6530351"/>
              <a:gd name="connsiteY434" fmla="*/ 5610214 h 6858285"/>
              <a:gd name="connsiteX435" fmla="*/ 3160328 w 6530351"/>
              <a:gd name="connsiteY435" fmla="*/ 5609262 h 6858285"/>
              <a:gd name="connsiteX436" fmla="*/ 6501987 w 6530351"/>
              <a:gd name="connsiteY436" fmla="*/ 5357485 h 6858285"/>
              <a:gd name="connsiteX437" fmla="*/ 6524387 w 6530351"/>
              <a:gd name="connsiteY437" fmla="*/ 5378415 h 6858285"/>
              <a:gd name="connsiteX438" fmla="*/ 6507229 w 6530351"/>
              <a:gd name="connsiteY438" fmla="*/ 5431690 h 6858285"/>
              <a:gd name="connsiteX439" fmla="*/ 6167883 w 6530351"/>
              <a:gd name="connsiteY439" fmla="*/ 5597222 h 6858285"/>
              <a:gd name="connsiteX440" fmla="*/ 6114503 w 6530351"/>
              <a:gd name="connsiteY440" fmla="*/ 5580098 h 6858285"/>
              <a:gd name="connsiteX441" fmla="*/ 6108783 w 6530351"/>
              <a:gd name="connsiteY441" fmla="*/ 5561071 h 6858285"/>
              <a:gd name="connsiteX442" fmla="*/ 6131661 w 6530351"/>
              <a:gd name="connsiteY442" fmla="*/ 5524920 h 6858285"/>
              <a:gd name="connsiteX443" fmla="*/ 6471007 w 6530351"/>
              <a:gd name="connsiteY443" fmla="*/ 5359388 h 6858285"/>
              <a:gd name="connsiteX444" fmla="*/ 6501987 w 6530351"/>
              <a:gd name="connsiteY444" fmla="*/ 5357485 h 6858285"/>
              <a:gd name="connsiteX445" fmla="*/ 5956831 w 6530351"/>
              <a:gd name="connsiteY445" fmla="*/ 5347056 h 6858285"/>
              <a:gd name="connsiteX446" fmla="*/ 5980185 w 6530351"/>
              <a:gd name="connsiteY446" fmla="*/ 5367196 h 6858285"/>
              <a:gd name="connsiteX447" fmla="*/ 5961121 w 6530351"/>
              <a:gd name="connsiteY447" fmla="*/ 5422166 h 6858285"/>
              <a:gd name="connsiteX448" fmla="*/ 5621775 w 6530351"/>
              <a:gd name="connsiteY448" fmla="*/ 5583285 h 6858285"/>
              <a:gd name="connsiteX449" fmla="*/ 5566487 w 6530351"/>
              <a:gd name="connsiteY449" fmla="*/ 5564330 h 6858285"/>
              <a:gd name="connsiteX450" fmla="*/ 5562675 w 6530351"/>
              <a:gd name="connsiteY450" fmla="*/ 5547270 h 6858285"/>
              <a:gd name="connsiteX451" fmla="*/ 5585553 w 6530351"/>
              <a:gd name="connsiteY451" fmla="*/ 5509360 h 6858285"/>
              <a:gd name="connsiteX452" fmla="*/ 5924899 w 6530351"/>
              <a:gd name="connsiteY452" fmla="*/ 5348240 h 6858285"/>
              <a:gd name="connsiteX453" fmla="*/ 5956831 w 6530351"/>
              <a:gd name="connsiteY453" fmla="*/ 5347056 h 6858285"/>
              <a:gd name="connsiteX454" fmla="*/ 398204 w 6530351"/>
              <a:gd name="connsiteY454" fmla="*/ 5347056 h 6858285"/>
              <a:gd name="connsiteX455" fmla="*/ 422273 w 6530351"/>
              <a:gd name="connsiteY455" fmla="*/ 5367196 h 6858285"/>
              <a:gd name="connsiteX456" fmla="*/ 401302 w 6530351"/>
              <a:gd name="connsiteY456" fmla="*/ 5422166 h 6858285"/>
              <a:gd name="connsiteX457" fmla="*/ 63862 w 6530351"/>
              <a:gd name="connsiteY457" fmla="*/ 5583285 h 6858285"/>
              <a:gd name="connsiteX458" fmla="*/ 8575 w 6530351"/>
              <a:gd name="connsiteY458" fmla="*/ 5564330 h 6858285"/>
              <a:gd name="connsiteX459" fmla="*/ 4762 w 6530351"/>
              <a:gd name="connsiteY459" fmla="*/ 5547270 h 6858285"/>
              <a:gd name="connsiteX460" fmla="*/ 27639 w 6530351"/>
              <a:gd name="connsiteY460" fmla="*/ 5509360 h 6858285"/>
              <a:gd name="connsiteX461" fmla="*/ 366986 w 6530351"/>
              <a:gd name="connsiteY461" fmla="*/ 5348240 h 6858285"/>
              <a:gd name="connsiteX462" fmla="*/ 398204 w 6530351"/>
              <a:gd name="connsiteY462" fmla="*/ 5347056 h 6858285"/>
              <a:gd name="connsiteX463" fmla="*/ 5409041 w 6530351"/>
              <a:gd name="connsiteY463" fmla="*/ 5334657 h 6858285"/>
              <a:gd name="connsiteX464" fmla="*/ 5432463 w 6530351"/>
              <a:gd name="connsiteY464" fmla="*/ 5356619 h 6858285"/>
              <a:gd name="connsiteX465" fmla="*/ 5411429 w 6530351"/>
              <a:gd name="connsiteY465" fmla="*/ 5412003 h 6858285"/>
              <a:gd name="connsiteX466" fmla="*/ 5071079 w 6530351"/>
              <a:gd name="connsiteY466" fmla="*/ 5570514 h 6858285"/>
              <a:gd name="connsiteX467" fmla="*/ 5015629 w 6530351"/>
              <a:gd name="connsiteY467" fmla="*/ 5549506 h 6858285"/>
              <a:gd name="connsiteX468" fmla="*/ 5011805 w 6530351"/>
              <a:gd name="connsiteY468" fmla="*/ 5532318 h 6858285"/>
              <a:gd name="connsiteX469" fmla="*/ 5036663 w 6530351"/>
              <a:gd name="connsiteY469" fmla="*/ 5494123 h 6858285"/>
              <a:gd name="connsiteX470" fmla="*/ 5377013 w 6530351"/>
              <a:gd name="connsiteY470" fmla="*/ 5335612 h 6858285"/>
              <a:gd name="connsiteX471" fmla="*/ 5409041 w 6530351"/>
              <a:gd name="connsiteY471" fmla="*/ 5334657 h 6858285"/>
              <a:gd name="connsiteX472" fmla="*/ 941876 w 6530351"/>
              <a:gd name="connsiteY472" fmla="*/ 5334657 h 6858285"/>
              <a:gd name="connsiteX473" fmla="*/ 965213 w 6530351"/>
              <a:gd name="connsiteY473" fmla="*/ 5356619 h 6858285"/>
              <a:gd name="connsiteX474" fmla="*/ 946163 w 6530351"/>
              <a:gd name="connsiteY474" fmla="*/ 5412003 h 6858285"/>
              <a:gd name="connsiteX475" fmla="*/ 605163 w 6530351"/>
              <a:gd name="connsiteY475" fmla="*/ 5570514 h 6858285"/>
              <a:gd name="connsiteX476" fmla="*/ 549917 w 6530351"/>
              <a:gd name="connsiteY476" fmla="*/ 5549506 h 6858285"/>
              <a:gd name="connsiteX477" fmla="*/ 546107 w 6530351"/>
              <a:gd name="connsiteY477" fmla="*/ 5532318 h 6858285"/>
              <a:gd name="connsiteX478" fmla="*/ 570872 w 6530351"/>
              <a:gd name="connsiteY478" fmla="*/ 5494123 h 6858285"/>
              <a:gd name="connsiteX479" fmla="*/ 909967 w 6530351"/>
              <a:gd name="connsiteY479" fmla="*/ 5335612 h 6858285"/>
              <a:gd name="connsiteX480" fmla="*/ 941876 w 6530351"/>
              <a:gd name="connsiteY480" fmla="*/ 5334657 h 6858285"/>
              <a:gd name="connsiteX481" fmla="*/ 4854215 w 6530351"/>
              <a:gd name="connsiteY481" fmla="*/ 5323794 h 6858285"/>
              <a:gd name="connsiteX482" fmla="*/ 4878467 w 6530351"/>
              <a:gd name="connsiteY482" fmla="*/ 5347457 h 6858285"/>
              <a:gd name="connsiteX483" fmla="*/ 4855641 w 6530351"/>
              <a:gd name="connsiteY483" fmla="*/ 5402912 h 6858285"/>
              <a:gd name="connsiteX484" fmla="*/ 4517045 w 6530351"/>
              <a:gd name="connsiteY484" fmla="*/ 5555889 h 6858285"/>
              <a:gd name="connsiteX485" fmla="*/ 4459977 w 6530351"/>
              <a:gd name="connsiteY485" fmla="*/ 5534855 h 6858285"/>
              <a:gd name="connsiteX486" fmla="*/ 4456173 w 6530351"/>
              <a:gd name="connsiteY486" fmla="*/ 5517645 h 6858285"/>
              <a:gd name="connsiteX487" fmla="*/ 4482805 w 6530351"/>
              <a:gd name="connsiteY487" fmla="*/ 5477488 h 6858285"/>
              <a:gd name="connsiteX488" fmla="*/ 4821401 w 6530351"/>
              <a:gd name="connsiteY488" fmla="*/ 5324511 h 6858285"/>
              <a:gd name="connsiteX489" fmla="*/ 4854215 w 6530351"/>
              <a:gd name="connsiteY489" fmla="*/ 5323794 h 6858285"/>
              <a:gd name="connsiteX490" fmla="*/ 1489595 w 6530351"/>
              <a:gd name="connsiteY490" fmla="*/ 5323794 h 6858285"/>
              <a:gd name="connsiteX491" fmla="*/ 1512914 w 6530351"/>
              <a:gd name="connsiteY491" fmla="*/ 5347457 h 6858285"/>
              <a:gd name="connsiteX492" fmla="*/ 1491974 w 6530351"/>
              <a:gd name="connsiteY492" fmla="*/ 5402912 h 6858285"/>
              <a:gd name="connsiteX493" fmla="*/ 1153130 w 6530351"/>
              <a:gd name="connsiteY493" fmla="*/ 5555889 h 6858285"/>
              <a:gd name="connsiteX494" fmla="*/ 1096021 w 6530351"/>
              <a:gd name="connsiteY494" fmla="*/ 5534855 h 6858285"/>
              <a:gd name="connsiteX495" fmla="*/ 1092214 w 6530351"/>
              <a:gd name="connsiteY495" fmla="*/ 5517645 h 6858285"/>
              <a:gd name="connsiteX496" fmla="*/ 1116961 w 6530351"/>
              <a:gd name="connsiteY496" fmla="*/ 5477488 h 6858285"/>
              <a:gd name="connsiteX497" fmla="*/ 1457709 w 6530351"/>
              <a:gd name="connsiteY497" fmla="*/ 5324511 h 6858285"/>
              <a:gd name="connsiteX498" fmla="*/ 1489595 w 6530351"/>
              <a:gd name="connsiteY498" fmla="*/ 5323794 h 6858285"/>
              <a:gd name="connsiteX499" fmla="*/ 4281207 w 6530351"/>
              <a:gd name="connsiteY499" fmla="*/ 5309970 h 6858285"/>
              <a:gd name="connsiteX500" fmla="*/ 4321211 w 6530351"/>
              <a:gd name="connsiteY500" fmla="*/ 5336223 h 6858285"/>
              <a:gd name="connsiteX501" fmla="*/ 4298301 w 6530351"/>
              <a:gd name="connsiteY501" fmla="*/ 5395278 h 6858285"/>
              <a:gd name="connsiteX502" fmla="*/ 3958461 w 6530351"/>
              <a:gd name="connsiteY502" fmla="*/ 5541963 h 6858285"/>
              <a:gd name="connsiteX503" fmla="*/ 3901183 w 6530351"/>
              <a:gd name="connsiteY503" fmla="*/ 5519103 h 6858285"/>
              <a:gd name="connsiteX504" fmla="*/ 3897365 w 6530351"/>
              <a:gd name="connsiteY504" fmla="*/ 5501958 h 6858285"/>
              <a:gd name="connsiteX505" fmla="*/ 3924095 w 6530351"/>
              <a:gd name="connsiteY505" fmla="*/ 5461953 h 6858285"/>
              <a:gd name="connsiteX506" fmla="*/ 4263935 w 6530351"/>
              <a:gd name="connsiteY506" fmla="*/ 5313363 h 6858285"/>
              <a:gd name="connsiteX507" fmla="*/ 4281207 w 6530351"/>
              <a:gd name="connsiteY507" fmla="*/ 5309970 h 6858285"/>
              <a:gd name="connsiteX508" fmla="*/ 2026943 w 6530351"/>
              <a:gd name="connsiteY508" fmla="*/ 5309969 h 6858285"/>
              <a:gd name="connsiteX509" fmla="*/ 2068527 w 6530351"/>
              <a:gd name="connsiteY509" fmla="*/ 5336223 h 6858285"/>
              <a:gd name="connsiteX510" fmla="*/ 2045633 w 6530351"/>
              <a:gd name="connsiteY510" fmla="*/ 5395278 h 6858285"/>
              <a:gd name="connsiteX511" fmla="*/ 1704135 w 6530351"/>
              <a:gd name="connsiteY511" fmla="*/ 5541963 h 6858285"/>
              <a:gd name="connsiteX512" fmla="*/ 1646901 w 6530351"/>
              <a:gd name="connsiteY512" fmla="*/ 5519103 h 6858285"/>
              <a:gd name="connsiteX513" fmla="*/ 1643085 w 6530351"/>
              <a:gd name="connsiteY513" fmla="*/ 5501958 h 6858285"/>
              <a:gd name="connsiteX514" fmla="*/ 1669794 w 6530351"/>
              <a:gd name="connsiteY514" fmla="*/ 5461953 h 6858285"/>
              <a:gd name="connsiteX515" fmla="*/ 2009385 w 6530351"/>
              <a:gd name="connsiteY515" fmla="*/ 5313363 h 6858285"/>
              <a:gd name="connsiteX516" fmla="*/ 2026943 w 6530351"/>
              <a:gd name="connsiteY516" fmla="*/ 5309969 h 6858285"/>
              <a:gd name="connsiteX517" fmla="*/ 3719263 w 6530351"/>
              <a:gd name="connsiteY517" fmla="*/ 5298894 h 6858285"/>
              <a:gd name="connsiteX518" fmla="*/ 3759237 w 6530351"/>
              <a:gd name="connsiteY518" fmla="*/ 5327059 h 6858285"/>
              <a:gd name="connsiteX519" fmla="*/ 3736343 w 6530351"/>
              <a:gd name="connsiteY519" fmla="*/ 5386191 h 6858285"/>
              <a:gd name="connsiteX520" fmla="*/ 3394845 w 6530351"/>
              <a:gd name="connsiteY520" fmla="*/ 5529250 h 6858285"/>
              <a:gd name="connsiteX521" fmla="*/ 3337611 w 6530351"/>
              <a:gd name="connsiteY521" fmla="*/ 5504453 h 6858285"/>
              <a:gd name="connsiteX522" fmla="*/ 3333795 w 6530351"/>
              <a:gd name="connsiteY522" fmla="*/ 5487286 h 6858285"/>
              <a:gd name="connsiteX523" fmla="*/ 3360504 w 6530351"/>
              <a:gd name="connsiteY523" fmla="*/ 5447229 h 6858285"/>
              <a:gd name="connsiteX524" fmla="*/ 3702003 w 6530351"/>
              <a:gd name="connsiteY524" fmla="*/ 5302262 h 6858285"/>
              <a:gd name="connsiteX525" fmla="*/ 3719263 w 6530351"/>
              <a:gd name="connsiteY525" fmla="*/ 5298894 h 6858285"/>
              <a:gd name="connsiteX526" fmla="*/ 2583562 w 6530351"/>
              <a:gd name="connsiteY526" fmla="*/ 5298894 h 6858285"/>
              <a:gd name="connsiteX527" fmla="*/ 2624193 w 6530351"/>
              <a:gd name="connsiteY527" fmla="*/ 5327059 h 6858285"/>
              <a:gd name="connsiteX528" fmla="*/ 2601383 w 6530351"/>
              <a:gd name="connsiteY528" fmla="*/ 5386191 h 6858285"/>
              <a:gd name="connsiteX529" fmla="*/ 2261131 w 6530351"/>
              <a:gd name="connsiteY529" fmla="*/ 5529250 h 6858285"/>
              <a:gd name="connsiteX530" fmla="*/ 2204106 w 6530351"/>
              <a:gd name="connsiteY530" fmla="*/ 5504453 h 6858285"/>
              <a:gd name="connsiteX531" fmla="*/ 2200304 w 6530351"/>
              <a:gd name="connsiteY531" fmla="*/ 5487286 h 6858285"/>
              <a:gd name="connsiteX532" fmla="*/ 2226916 w 6530351"/>
              <a:gd name="connsiteY532" fmla="*/ 5447229 h 6858285"/>
              <a:gd name="connsiteX533" fmla="*/ 2567167 w 6530351"/>
              <a:gd name="connsiteY533" fmla="*/ 5302262 h 6858285"/>
              <a:gd name="connsiteX534" fmla="*/ 2583562 w 6530351"/>
              <a:gd name="connsiteY534" fmla="*/ 5298894 h 6858285"/>
              <a:gd name="connsiteX535" fmla="*/ 3161728 w 6530351"/>
              <a:gd name="connsiteY535" fmla="*/ 5292225 h 6858285"/>
              <a:gd name="connsiteX536" fmla="*/ 3186184 w 6530351"/>
              <a:gd name="connsiteY536" fmla="*/ 5317400 h 6858285"/>
              <a:gd name="connsiteX537" fmla="*/ 3161490 w 6530351"/>
              <a:gd name="connsiteY537" fmla="*/ 5376300 h 6858285"/>
              <a:gd name="connsiteX538" fmla="*/ 2821483 w 6530351"/>
              <a:gd name="connsiteY538" fmla="*/ 5515000 h 6858285"/>
              <a:gd name="connsiteX539" fmla="*/ 2762599 w 6530351"/>
              <a:gd name="connsiteY539" fmla="*/ 5488400 h 6858285"/>
              <a:gd name="connsiteX540" fmla="*/ 2760700 w 6530351"/>
              <a:gd name="connsiteY540" fmla="*/ 5471300 h 6858285"/>
              <a:gd name="connsiteX541" fmla="*/ 2787293 w 6530351"/>
              <a:gd name="connsiteY541" fmla="*/ 5429500 h 6858285"/>
              <a:gd name="connsiteX542" fmla="*/ 3127300 w 6530351"/>
              <a:gd name="connsiteY542" fmla="*/ 5292700 h 6858285"/>
              <a:gd name="connsiteX543" fmla="*/ 3161728 w 6530351"/>
              <a:gd name="connsiteY543" fmla="*/ 5292225 h 6858285"/>
              <a:gd name="connsiteX544" fmla="*/ 6485691 w 6530351"/>
              <a:gd name="connsiteY544" fmla="*/ 5032625 h 6858285"/>
              <a:gd name="connsiteX545" fmla="*/ 6523141 w 6530351"/>
              <a:gd name="connsiteY545" fmla="*/ 5054565 h 6858285"/>
              <a:gd name="connsiteX546" fmla="*/ 6506021 w 6530351"/>
              <a:gd name="connsiteY546" fmla="*/ 5107840 h 6858285"/>
              <a:gd name="connsiteX547" fmla="*/ 6167435 w 6530351"/>
              <a:gd name="connsiteY547" fmla="*/ 5275274 h 6858285"/>
              <a:gd name="connsiteX548" fmla="*/ 6114175 w 6530351"/>
              <a:gd name="connsiteY548" fmla="*/ 5258150 h 6858285"/>
              <a:gd name="connsiteX549" fmla="*/ 6110371 w 6530351"/>
              <a:gd name="connsiteY549" fmla="*/ 5239124 h 6858285"/>
              <a:gd name="connsiteX550" fmla="*/ 6131293 w 6530351"/>
              <a:gd name="connsiteY550" fmla="*/ 5202973 h 6858285"/>
              <a:gd name="connsiteX551" fmla="*/ 6469879 w 6530351"/>
              <a:gd name="connsiteY551" fmla="*/ 5037441 h 6858285"/>
              <a:gd name="connsiteX552" fmla="*/ 6485691 w 6530351"/>
              <a:gd name="connsiteY552" fmla="*/ 5032625 h 6858285"/>
              <a:gd name="connsiteX553" fmla="*/ 5956831 w 6530351"/>
              <a:gd name="connsiteY553" fmla="*/ 5024845 h 6858285"/>
              <a:gd name="connsiteX554" fmla="*/ 5980185 w 6530351"/>
              <a:gd name="connsiteY554" fmla="*/ 5045110 h 6858285"/>
              <a:gd name="connsiteX555" fmla="*/ 5961121 w 6530351"/>
              <a:gd name="connsiteY555" fmla="*/ 5100424 h 6858285"/>
              <a:gd name="connsiteX556" fmla="*/ 5621775 w 6530351"/>
              <a:gd name="connsiteY556" fmla="*/ 5262551 h 6858285"/>
              <a:gd name="connsiteX557" fmla="*/ 5566487 w 6530351"/>
              <a:gd name="connsiteY557" fmla="*/ 5241570 h 6858285"/>
              <a:gd name="connsiteX558" fmla="*/ 5562675 w 6530351"/>
              <a:gd name="connsiteY558" fmla="*/ 5224403 h 6858285"/>
              <a:gd name="connsiteX559" fmla="*/ 5585553 w 6530351"/>
              <a:gd name="connsiteY559" fmla="*/ 5186256 h 6858285"/>
              <a:gd name="connsiteX560" fmla="*/ 5924899 w 6530351"/>
              <a:gd name="connsiteY560" fmla="*/ 5026037 h 6858285"/>
              <a:gd name="connsiteX561" fmla="*/ 5956831 w 6530351"/>
              <a:gd name="connsiteY561" fmla="*/ 5024845 h 6858285"/>
              <a:gd name="connsiteX562" fmla="*/ 398944 w 6530351"/>
              <a:gd name="connsiteY562" fmla="*/ 5024845 h 6858285"/>
              <a:gd name="connsiteX563" fmla="*/ 422281 w 6530351"/>
              <a:gd name="connsiteY563" fmla="*/ 5045110 h 6858285"/>
              <a:gd name="connsiteX564" fmla="*/ 401326 w 6530351"/>
              <a:gd name="connsiteY564" fmla="*/ 5100424 h 6858285"/>
              <a:gd name="connsiteX565" fmla="*/ 62231 w 6530351"/>
              <a:gd name="connsiteY565" fmla="*/ 5262551 h 6858285"/>
              <a:gd name="connsiteX566" fmla="*/ 8890 w 6530351"/>
              <a:gd name="connsiteY566" fmla="*/ 5241570 h 6858285"/>
              <a:gd name="connsiteX567" fmla="*/ 3175 w 6530351"/>
              <a:gd name="connsiteY567" fmla="*/ 5224403 h 6858285"/>
              <a:gd name="connsiteX568" fmla="*/ 27940 w 6530351"/>
              <a:gd name="connsiteY568" fmla="*/ 5186256 h 6858285"/>
              <a:gd name="connsiteX569" fmla="*/ 367035 w 6530351"/>
              <a:gd name="connsiteY569" fmla="*/ 5026037 h 6858285"/>
              <a:gd name="connsiteX570" fmla="*/ 398944 w 6530351"/>
              <a:gd name="connsiteY570" fmla="*/ 5024845 h 6858285"/>
              <a:gd name="connsiteX571" fmla="*/ 5409065 w 6530351"/>
              <a:gd name="connsiteY571" fmla="*/ 5014175 h 6858285"/>
              <a:gd name="connsiteX572" fmla="*/ 5432471 w 6530351"/>
              <a:gd name="connsiteY572" fmla="*/ 5037690 h 6858285"/>
              <a:gd name="connsiteX573" fmla="*/ 5411453 w 6530351"/>
              <a:gd name="connsiteY573" fmla="*/ 5092795 h 6858285"/>
              <a:gd name="connsiteX574" fmla="*/ 5071359 w 6530351"/>
              <a:gd name="connsiteY574" fmla="*/ 5246711 h 6858285"/>
              <a:gd name="connsiteX575" fmla="*/ 5014039 w 6530351"/>
              <a:gd name="connsiteY575" fmla="*/ 5225809 h 6858285"/>
              <a:gd name="connsiteX576" fmla="*/ 5010219 w 6530351"/>
              <a:gd name="connsiteY576" fmla="*/ 5208707 h 6858285"/>
              <a:gd name="connsiteX577" fmla="*/ 5036967 w 6530351"/>
              <a:gd name="connsiteY577" fmla="*/ 5168803 h 6858285"/>
              <a:gd name="connsiteX578" fmla="*/ 5377063 w 6530351"/>
              <a:gd name="connsiteY578" fmla="*/ 5014888 h 6858285"/>
              <a:gd name="connsiteX579" fmla="*/ 5409065 w 6530351"/>
              <a:gd name="connsiteY579" fmla="*/ 5014175 h 6858285"/>
              <a:gd name="connsiteX580" fmla="*/ 942536 w 6530351"/>
              <a:gd name="connsiteY580" fmla="*/ 5014175 h 6858285"/>
              <a:gd name="connsiteX581" fmla="*/ 966807 w 6530351"/>
              <a:gd name="connsiteY581" fmla="*/ 5037690 h 6858285"/>
              <a:gd name="connsiteX582" fmla="*/ 945867 w 6530351"/>
              <a:gd name="connsiteY582" fmla="*/ 5092795 h 6858285"/>
              <a:gd name="connsiteX583" fmla="*/ 605119 w 6530351"/>
              <a:gd name="connsiteY583" fmla="*/ 5246711 h 6858285"/>
              <a:gd name="connsiteX584" fmla="*/ 549914 w 6530351"/>
              <a:gd name="connsiteY584" fmla="*/ 5225809 h 6858285"/>
              <a:gd name="connsiteX585" fmla="*/ 546107 w 6530351"/>
              <a:gd name="connsiteY585" fmla="*/ 5208707 h 6858285"/>
              <a:gd name="connsiteX586" fmla="*/ 570854 w 6530351"/>
              <a:gd name="connsiteY586" fmla="*/ 5168803 h 6858285"/>
              <a:gd name="connsiteX587" fmla="*/ 909698 w 6530351"/>
              <a:gd name="connsiteY587" fmla="*/ 5014888 h 6858285"/>
              <a:gd name="connsiteX588" fmla="*/ 942536 w 6530351"/>
              <a:gd name="connsiteY588" fmla="*/ 5014175 h 6858285"/>
              <a:gd name="connsiteX589" fmla="*/ 4856099 w 6530351"/>
              <a:gd name="connsiteY589" fmla="*/ 5004627 h 6858285"/>
              <a:gd name="connsiteX590" fmla="*/ 4879707 w 6530351"/>
              <a:gd name="connsiteY590" fmla="*/ 5028079 h 6858285"/>
              <a:gd name="connsiteX591" fmla="*/ 4856813 w 6530351"/>
              <a:gd name="connsiteY591" fmla="*/ 5084934 h 6858285"/>
              <a:gd name="connsiteX592" fmla="*/ 4517223 w 6530351"/>
              <a:gd name="connsiteY592" fmla="*/ 5230861 h 6858285"/>
              <a:gd name="connsiteX593" fmla="*/ 4459989 w 6530351"/>
              <a:gd name="connsiteY593" fmla="*/ 5208119 h 6858285"/>
              <a:gd name="connsiteX594" fmla="*/ 4456173 w 6530351"/>
              <a:gd name="connsiteY594" fmla="*/ 5191063 h 6858285"/>
              <a:gd name="connsiteX595" fmla="*/ 4482883 w 6530351"/>
              <a:gd name="connsiteY595" fmla="*/ 5151264 h 6858285"/>
              <a:gd name="connsiteX596" fmla="*/ 4822473 w 6530351"/>
              <a:gd name="connsiteY596" fmla="*/ 5005338 h 6858285"/>
              <a:gd name="connsiteX597" fmla="*/ 4856099 w 6530351"/>
              <a:gd name="connsiteY597" fmla="*/ 5004627 h 6858285"/>
              <a:gd name="connsiteX598" fmla="*/ 1491745 w 6530351"/>
              <a:gd name="connsiteY598" fmla="*/ 5004627 h 6858285"/>
              <a:gd name="connsiteX599" fmla="*/ 1516069 w 6530351"/>
              <a:gd name="connsiteY599" fmla="*/ 5028079 h 6858285"/>
              <a:gd name="connsiteX600" fmla="*/ 1493175 w 6530351"/>
              <a:gd name="connsiteY600" fmla="*/ 5084934 h 6858285"/>
              <a:gd name="connsiteX601" fmla="*/ 1153585 w 6530351"/>
              <a:gd name="connsiteY601" fmla="*/ 5230861 h 6858285"/>
              <a:gd name="connsiteX602" fmla="*/ 1094443 w 6530351"/>
              <a:gd name="connsiteY602" fmla="*/ 5208119 h 6858285"/>
              <a:gd name="connsiteX603" fmla="*/ 1090627 w 6530351"/>
              <a:gd name="connsiteY603" fmla="*/ 5191063 h 6858285"/>
              <a:gd name="connsiteX604" fmla="*/ 1117336 w 6530351"/>
              <a:gd name="connsiteY604" fmla="*/ 5151264 h 6858285"/>
              <a:gd name="connsiteX605" fmla="*/ 1458835 w 6530351"/>
              <a:gd name="connsiteY605" fmla="*/ 5005338 h 6858285"/>
              <a:gd name="connsiteX606" fmla="*/ 1491745 w 6530351"/>
              <a:gd name="connsiteY606" fmla="*/ 5004627 h 6858285"/>
              <a:gd name="connsiteX607" fmla="*/ 4281261 w 6530351"/>
              <a:gd name="connsiteY607" fmla="*/ 4989339 h 6858285"/>
              <a:gd name="connsiteX608" fmla="*/ 4322813 w 6530351"/>
              <a:gd name="connsiteY608" fmla="*/ 5017541 h 6858285"/>
              <a:gd name="connsiteX609" fmla="*/ 4298031 w 6530351"/>
              <a:gd name="connsiteY609" fmla="*/ 5076750 h 6858285"/>
              <a:gd name="connsiteX610" fmla="*/ 3958689 w 6530351"/>
              <a:gd name="connsiteY610" fmla="*/ 5218087 h 6858285"/>
              <a:gd name="connsiteX611" fmla="*/ 3899591 w 6530351"/>
              <a:gd name="connsiteY611" fmla="*/ 5193257 h 6858285"/>
              <a:gd name="connsiteX612" fmla="*/ 3895779 w 6530351"/>
              <a:gd name="connsiteY612" fmla="*/ 5176068 h 6858285"/>
              <a:gd name="connsiteX613" fmla="*/ 3924375 w 6530351"/>
              <a:gd name="connsiteY613" fmla="*/ 5134049 h 6858285"/>
              <a:gd name="connsiteX614" fmla="*/ 4263715 w 6530351"/>
              <a:gd name="connsiteY614" fmla="*/ 4992712 h 6858285"/>
              <a:gd name="connsiteX615" fmla="*/ 4281261 w 6530351"/>
              <a:gd name="connsiteY615" fmla="*/ 4989339 h 6858285"/>
              <a:gd name="connsiteX616" fmla="*/ 2028604 w 6530351"/>
              <a:gd name="connsiteY616" fmla="*/ 4989339 h 6858285"/>
              <a:gd name="connsiteX617" fmla="*/ 2070128 w 6530351"/>
              <a:gd name="connsiteY617" fmla="*/ 5017541 h 6858285"/>
              <a:gd name="connsiteX618" fmla="*/ 2045363 w 6530351"/>
              <a:gd name="connsiteY618" fmla="*/ 5076750 h 6858285"/>
              <a:gd name="connsiteX619" fmla="*/ 1704363 w 6530351"/>
              <a:gd name="connsiteY619" fmla="*/ 5218087 h 6858285"/>
              <a:gd name="connsiteX620" fmla="*/ 1645307 w 6530351"/>
              <a:gd name="connsiteY620" fmla="*/ 5193257 h 6858285"/>
              <a:gd name="connsiteX621" fmla="*/ 1641497 w 6530351"/>
              <a:gd name="connsiteY621" fmla="*/ 5176068 h 6858285"/>
              <a:gd name="connsiteX622" fmla="*/ 1670072 w 6530351"/>
              <a:gd name="connsiteY622" fmla="*/ 5134049 h 6858285"/>
              <a:gd name="connsiteX623" fmla="*/ 2011072 w 6530351"/>
              <a:gd name="connsiteY623" fmla="*/ 4992712 h 6858285"/>
              <a:gd name="connsiteX624" fmla="*/ 2028604 w 6530351"/>
              <a:gd name="connsiteY624" fmla="*/ 4989339 h 6858285"/>
              <a:gd name="connsiteX625" fmla="*/ 3720415 w 6530351"/>
              <a:gd name="connsiteY625" fmla="*/ 4979828 h 6858285"/>
              <a:gd name="connsiteX626" fmla="*/ 3762743 w 6530351"/>
              <a:gd name="connsiteY626" fmla="*/ 5009832 h 6858285"/>
              <a:gd name="connsiteX627" fmla="*/ 3736073 w 6530351"/>
              <a:gd name="connsiteY627" fmla="*/ 5068887 h 6858285"/>
              <a:gd name="connsiteX628" fmla="*/ 3395073 w 6530351"/>
              <a:gd name="connsiteY628" fmla="*/ 5202237 h 6858285"/>
              <a:gd name="connsiteX629" fmla="*/ 3334112 w 6530351"/>
              <a:gd name="connsiteY629" fmla="*/ 5175567 h 6858285"/>
              <a:gd name="connsiteX630" fmla="*/ 3332207 w 6530351"/>
              <a:gd name="connsiteY630" fmla="*/ 5158422 h 6858285"/>
              <a:gd name="connsiteX631" fmla="*/ 3360782 w 6530351"/>
              <a:gd name="connsiteY631" fmla="*/ 5116512 h 6858285"/>
              <a:gd name="connsiteX632" fmla="*/ 3701783 w 6530351"/>
              <a:gd name="connsiteY632" fmla="*/ 4983162 h 6858285"/>
              <a:gd name="connsiteX633" fmla="*/ 3720415 w 6530351"/>
              <a:gd name="connsiteY633" fmla="*/ 4979828 h 6858285"/>
              <a:gd name="connsiteX634" fmla="*/ 2585938 w 6530351"/>
              <a:gd name="connsiteY634" fmla="*/ 4979828 h 6858285"/>
              <a:gd name="connsiteX635" fmla="*/ 2629225 w 6530351"/>
              <a:gd name="connsiteY635" fmla="*/ 5009832 h 6858285"/>
              <a:gd name="connsiteX636" fmla="*/ 2602458 w 6530351"/>
              <a:gd name="connsiteY636" fmla="*/ 5068887 h 6858285"/>
              <a:gd name="connsiteX637" fmla="*/ 2260223 w 6530351"/>
              <a:gd name="connsiteY637" fmla="*/ 5202237 h 6858285"/>
              <a:gd name="connsiteX638" fmla="*/ 2199041 w 6530351"/>
              <a:gd name="connsiteY638" fmla="*/ 5175567 h 6858285"/>
              <a:gd name="connsiteX639" fmla="*/ 2197129 w 6530351"/>
              <a:gd name="connsiteY639" fmla="*/ 5158422 h 6858285"/>
              <a:gd name="connsiteX640" fmla="*/ 2225808 w 6530351"/>
              <a:gd name="connsiteY640" fmla="*/ 5116512 h 6858285"/>
              <a:gd name="connsiteX641" fmla="*/ 2568043 w 6530351"/>
              <a:gd name="connsiteY641" fmla="*/ 4983162 h 6858285"/>
              <a:gd name="connsiteX642" fmla="*/ 2585938 w 6530351"/>
              <a:gd name="connsiteY642" fmla="*/ 4979828 h 6858285"/>
              <a:gd name="connsiteX643" fmla="*/ 3148516 w 6530351"/>
              <a:gd name="connsiteY643" fmla="*/ 4969031 h 6858285"/>
              <a:gd name="connsiteX644" fmla="*/ 3190904 w 6530351"/>
              <a:gd name="connsiteY644" fmla="*/ 5000728 h 6858285"/>
              <a:gd name="connsiteX645" fmla="*/ 3162288 w 6530351"/>
              <a:gd name="connsiteY645" fmla="*/ 5061853 h 6858285"/>
              <a:gd name="connsiteX646" fmla="*/ 2820801 w 6530351"/>
              <a:gd name="connsiteY646" fmla="*/ 5187924 h 6858285"/>
              <a:gd name="connsiteX647" fmla="*/ 2759753 w 6530351"/>
              <a:gd name="connsiteY647" fmla="*/ 5161182 h 6858285"/>
              <a:gd name="connsiteX648" fmla="*/ 2755937 w 6530351"/>
              <a:gd name="connsiteY648" fmla="*/ 5143990 h 6858285"/>
              <a:gd name="connsiteX649" fmla="*/ 2788369 w 6530351"/>
              <a:gd name="connsiteY649" fmla="*/ 5098146 h 6858285"/>
              <a:gd name="connsiteX650" fmla="*/ 3129856 w 6530351"/>
              <a:gd name="connsiteY650" fmla="*/ 4972076 h 6858285"/>
              <a:gd name="connsiteX651" fmla="*/ 3148516 w 6530351"/>
              <a:gd name="connsiteY651" fmla="*/ 4969031 h 6858285"/>
              <a:gd name="connsiteX652" fmla="*/ 6500077 w 6530351"/>
              <a:gd name="connsiteY652" fmla="*/ 4711372 h 6858285"/>
              <a:gd name="connsiteX653" fmla="*/ 6523141 w 6530351"/>
              <a:gd name="connsiteY653" fmla="*/ 4732302 h 6858285"/>
              <a:gd name="connsiteX654" fmla="*/ 6506021 w 6530351"/>
              <a:gd name="connsiteY654" fmla="*/ 4785577 h 6858285"/>
              <a:gd name="connsiteX655" fmla="*/ 6167435 w 6530351"/>
              <a:gd name="connsiteY655" fmla="*/ 4953011 h 6858285"/>
              <a:gd name="connsiteX656" fmla="*/ 6114175 w 6530351"/>
              <a:gd name="connsiteY656" fmla="*/ 4935887 h 6858285"/>
              <a:gd name="connsiteX657" fmla="*/ 6110371 w 6530351"/>
              <a:gd name="connsiteY657" fmla="*/ 4916861 h 6858285"/>
              <a:gd name="connsiteX658" fmla="*/ 6131293 w 6530351"/>
              <a:gd name="connsiteY658" fmla="*/ 4882613 h 6858285"/>
              <a:gd name="connsiteX659" fmla="*/ 6469879 w 6530351"/>
              <a:gd name="connsiteY659" fmla="*/ 4713275 h 6858285"/>
              <a:gd name="connsiteX660" fmla="*/ 6500077 w 6530351"/>
              <a:gd name="connsiteY660" fmla="*/ 4711372 h 6858285"/>
              <a:gd name="connsiteX661" fmla="*/ 5956831 w 6530351"/>
              <a:gd name="connsiteY661" fmla="*/ 4701876 h 6858285"/>
              <a:gd name="connsiteX662" fmla="*/ 5980185 w 6530351"/>
              <a:gd name="connsiteY662" fmla="*/ 4722883 h 6858285"/>
              <a:gd name="connsiteX663" fmla="*/ 5961121 w 6530351"/>
              <a:gd name="connsiteY663" fmla="*/ 4778267 h 6858285"/>
              <a:gd name="connsiteX664" fmla="*/ 5621775 w 6530351"/>
              <a:gd name="connsiteY664" fmla="*/ 4938688 h 6858285"/>
              <a:gd name="connsiteX665" fmla="*/ 5566487 w 6530351"/>
              <a:gd name="connsiteY665" fmla="*/ 4919590 h 6858285"/>
              <a:gd name="connsiteX666" fmla="*/ 5562675 w 6530351"/>
              <a:gd name="connsiteY666" fmla="*/ 4900492 h 6858285"/>
              <a:gd name="connsiteX667" fmla="*/ 5585553 w 6530351"/>
              <a:gd name="connsiteY667" fmla="*/ 4864207 h 6858285"/>
              <a:gd name="connsiteX668" fmla="*/ 5924899 w 6530351"/>
              <a:gd name="connsiteY668" fmla="*/ 4703786 h 6858285"/>
              <a:gd name="connsiteX669" fmla="*/ 5956831 w 6530351"/>
              <a:gd name="connsiteY669" fmla="*/ 4701876 h 6858285"/>
              <a:gd name="connsiteX670" fmla="*/ 398944 w 6530351"/>
              <a:gd name="connsiteY670" fmla="*/ 4701876 h 6858285"/>
              <a:gd name="connsiteX671" fmla="*/ 422281 w 6530351"/>
              <a:gd name="connsiteY671" fmla="*/ 4722883 h 6858285"/>
              <a:gd name="connsiteX672" fmla="*/ 401326 w 6530351"/>
              <a:gd name="connsiteY672" fmla="*/ 4778267 h 6858285"/>
              <a:gd name="connsiteX673" fmla="*/ 62231 w 6530351"/>
              <a:gd name="connsiteY673" fmla="*/ 4938688 h 6858285"/>
              <a:gd name="connsiteX674" fmla="*/ 6985 w 6530351"/>
              <a:gd name="connsiteY674" fmla="*/ 4919590 h 6858285"/>
              <a:gd name="connsiteX675" fmla="*/ 3175 w 6530351"/>
              <a:gd name="connsiteY675" fmla="*/ 4900492 h 6858285"/>
              <a:gd name="connsiteX676" fmla="*/ 27940 w 6530351"/>
              <a:gd name="connsiteY676" fmla="*/ 4864207 h 6858285"/>
              <a:gd name="connsiteX677" fmla="*/ 367035 w 6530351"/>
              <a:gd name="connsiteY677" fmla="*/ 4703786 h 6858285"/>
              <a:gd name="connsiteX678" fmla="*/ 398944 w 6530351"/>
              <a:gd name="connsiteY678" fmla="*/ 4701876 h 6858285"/>
              <a:gd name="connsiteX679" fmla="*/ 5409723 w 6530351"/>
              <a:gd name="connsiteY679" fmla="*/ 4693284 h 6858285"/>
              <a:gd name="connsiteX680" fmla="*/ 5434065 w 6530351"/>
              <a:gd name="connsiteY680" fmla="*/ 4715192 h 6858285"/>
              <a:gd name="connsiteX681" fmla="*/ 5411155 w 6530351"/>
              <a:gd name="connsiteY681" fmla="*/ 4772342 h 6858285"/>
              <a:gd name="connsiteX682" fmla="*/ 5071313 w 6530351"/>
              <a:gd name="connsiteY682" fmla="*/ 4922837 h 6858285"/>
              <a:gd name="connsiteX683" fmla="*/ 5014037 w 6530351"/>
              <a:gd name="connsiteY683" fmla="*/ 4901882 h 6858285"/>
              <a:gd name="connsiteX684" fmla="*/ 5010219 w 6530351"/>
              <a:gd name="connsiteY684" fmla="*/ 4882832 h 6858285"/>
              <a:gd name="connsiteX685" fmla="*/ 5036947 w 6530351"/>
              <a:gd name="connsiteY685" fmla="*/ 4842827 h 6858285"/>
              <a:gd name="connsiteX686" fmla="*/ 5376789 w 6530351"/>
              <a:gd name="connsiteY686" fmla="*/ 4694237 h 6858285"/>
              <a:gd name="connsiteX687" fmla="*/ 5409723 w 6530351"/>
              <a:gd name="connsiteY687" fmla="*/ 4693284 h 6858285"/>
              <a:gd name="connsiteX688" fmla="*/ 943153 w 6530351"/>
              <a:gd name="connsiteY688" fmla="*/ 4693284 h 6858285"/>
              <a:gd name="connsiteX689" fmla="*/ 966779 w 6530351"/>
              <a:gd name="connsiteY689" fmla="*/ 4715192 h 6858285"/>
              <a:gd name="connsiteX690" fmla="*/ 945777 w 6530351"/>
              <a:gd name="connsiteY690" fmla="*/ 4772342 h 6858285"/>
              <a:gd name="connsiteX691" fmla="*/ 604027 w 6530351"/>
              <a:gd name="connsiteY691" fmla="*/ 4922837 h 6858285"/>
              <a:gd name="connsiteX692" fmla="*/ 546750 w 6530351"/>
              <a:gd name="connsiteY692" fmla="*/ 4901882 h 6858285"/>
              <a:gd name="connsiteX693" fmla="*/ 542932 w 6530351"/>
              <a:gd name="connsiteY693" fmla="*/ 4882832 h 6858285"/>
              <a:gd name="connsiteX694" fmla="*/ 569661 w 6530351"/>
              <a:gd name="connsiteY694" fmla="*/ 4842827 h 6858285"/>
              <a:gd name="connsiteX695" fmla="*/ 909502 w 6530351"/>
              <a:gd name="connsiteY695" fmla="*/ 4694237 h 6858285"/>
              <a:gd name="connsiteX696" fmla="*/ 943153 w 6530351"/>
              <a:gd name="connsiteY696" fmla="*/ 4693284 h 6858285"/>
              <a:gd name="connsiteX697" fmla="*/ 4840067 w 6530351"/>
              <a:gd name="connsiteY697" fmla="*/ 4679736 h 6858285"/>
              <a:gd name="connsiteX698" fmla="*/ 4881621 w 6530351"/>
              <a:gd name="connsiteY698" fmla="*/ 4707755 h 6858285"/>
              <a:gd name="connsiteX699" fmla="*/ 4856837 w 6530351"/>
              <a:gd name="connsiteY699" fmla="*/ 4766579 h 6858285"/>
              <a:gd name="connsiteX700" fmla="*/ 4517497 w 6530351"/>
              <a:gd name="connsiteY700" fmla="*/ 4906999 h 6858285"/>
              <a:gd name="connsiteX701" fmla="*/ 4458397 w 6530351"/>
              <a:gd name="connsiteY701" fmla="*/ 4882331 h 6858285"/>
              <a:gd name="connsiteX702" fmla="*/ 4454585 w 6530351"/>
              <a:gd name="connsiteY702" fmla="*/ 4865253 h 6858285"/>
              <a:gd name="connsiteX703" fmla="*/ 4483181 w 6530351"/>
              <a:gd name="connsiteY703" fmla="*/ 4823506 h 6858285"/>
              <a:gd name="connsiteX704" fmla="*/ 4822523 w 6530351"/>
              <a:gd name="connsiteY704" fmla="*/ 4683087 h 6858285"/>
              <a:gd name="connsiteX705" fmla="*/ 4840067 w 6530351"/>
              <a:gd name="connsiteY705" fmla="*/ 4679736 h 6858285"/>
              <a:gd name="connsiteX706" fmla="*/ 1476109 w 6530351"/>
              <a:gd name="connsiteY706" fmla="*/ 4679736 h 6858285"/>
              <a:gd name="connsiteX707" fmla="*/ 1517663 w 6530351"/>
              <a:gd name="connsiteY707" fmla="*/ 4707755 h 6858285"/>
              <a:gd name="connsiteX708" fmla="*/ 1492880 w 6530351"/>
              <a:gd name="connsiteY708" fmla="*/ 4766579 h 6858285"/>
              <a:gd name="connsiteX709" fmla="*/ 1151632 w 6530351"/>
              <a:gd name="connsiteY709" fmla="*/ 4906999 h 6858285"/>
              <a:gd name="connsiteX710" fmla="*/ 1094440 w 6530351"/>
              <a:gd name="connsiteY710" fmla="*/ 4882331 h 6858285"/>
              <a:gd name="connsiteX711" fmla="*/ 1090627 w 6530351"/>
              <a:gd name="connsiteY711" fmla="*/ 4865253 h 6858285"/>
              <a:gd name="connsiteX712" fmla="*/ 1117317 w 6530351"/>
              <a:gd name="connsiteY712" fmla="*/ 4823506 h 6858285"/>
              <a:gd name="connsiteX713" fmla="*/ 1458564 w 6530351"/>
              <a:gd name="connsiteY713" fmla="*/ 4683087 h 6858285"/>
              <a:gd name="connsiteX714" fmla="*/ 1476109 w 6530351"/>
              <a:gd name="connsiteY714" fmla="*/ 4679736 h 6858285"/>
              <a:gd name="connsiteX715" fmla="*/ 4282923 w 6530351"/>
              <a:gd name="connsiteY715" fmla="*/ 4670533 h 6858285"/>
              <a:gd name="connsiteX716" fmla="*/ 4324415 w 6530351"/>
              <a:gd name="connsiteY716" fmla="*/ 4700269 h 6858285"/>
              <a:gd name="connsiteX717" fmla="*/ 4297765 w 6530351"/>
              <a:gd name="connsiteY717" fmla="*/ 4761229 h 6858285"/>
              <a:gd name="connsiteX718" fmla="*/ 3957011 w 6530351"/>
              <a:gd name="connsiteY718" fmla="*/ 4892674 h 6858285"/>
              <a:gd name="connsiteX719" fmla="*/ 3897997 w 6530351"/>
              <a:gd name="connsiteY719" fmla="*/ 4866004 h 6858285"/>
              <a:gd name="connsiteX720" fmla="*/ 3894191 w 6530351"/>
              <a:gd name="connsiteY720" fmla="*/ 4848859 h 6858285"/>
              <a:gd name="connsiteX721" fmla="*/ 3924649 w 6530351"/>
              <a:gd name="connsiteY721" fmla="*/ 4805044 h 6858285"/>
              <a:gd name="connsiteX722" fmla="*/ 4265403 w 6530351"/>
              <a:gd name="connsiteY722" fmla="*/ 4673599 h 6858285"/>
              <a:gd name="connsiteX723" fmla="*/ 4282923 w 6530351"/>
              <a:gd name="connsiteY723" fmla="*/ 4670533 h 6858285"/>
              <a:gd name="connsiteX724" fmla="*/ 2029462 w 6530351"/>
              <a:gd name="connsiteY724" fmla="*/ 4670533 h 6858285"/>
              <a:gd name="connsiteX725" fmla="*/ 2071729 w 6530351"/>
              <a:gd name="connsiteY725" fmla="*/ 4700269 h 6858285"/>
              <a:gd name="connsiteX726" fmla="*/ 2045097 w 6530351"/>
              <a:gd name="connsiteY726" fmla="*/ 4761229 h 6858285"/>
              <a:gd name="connsiteX727" fmla="*/ 1704587 w 6530351"/>
              <a:gd name="connsiteY727" fmla="*/ 4892674 h 6858285"/>
              <a:gd name="connsiteX728" fmla="*/ 1643714 w 6530351"/>
              <a:gd name="connsiteY728" fmla="*/ 4866004 h 6858285"/>
              <a:gd name="connsiteX729" fmla="*/ 1639909 w 6530351"/>
              <a:gd name="connsiteY729" fmla="*/ 4848859 h 6858285"/>
              <a:gd name="connsiteX730" fmla="*/ 1670346 w 6530351"/>
              <a:gd name="connsiteY730" fmla="*/ 4805044 h 6858285"/>
              <a:gd name="connsiteX731" fmla="*/ 2010855 w 6530351"/>
              <a:gd name="connsiteY731" fmla="*/ 4673599 h 6858285"/>
              <a:gd name="connsiteX732" fmla="*/ 2029462 w 6530351"/>
              <a:gd name="connsiteY732" fmla="*/ 4670533 h 6858285"/>
              <a:gd name="connsiteX733" fmla="*/ 3720845 w 6530351"/>
              <a:gd name="connsiteY733" fmla="*/ 4661020 h 6858285"/>
              <a:gd name="connsiteX734" fmla="*/ 3764007 w 6530351"/>
              <a:gd name="connsiteY734" fmla="*/ 4692545 h 6858285"/>
              <a:gd name="connsiteX735" fmla="*/ 3735411 w 6530351"/>
              <a:gd name="connsiteY735" fmla="*/ 4755238 h 6858285"/>
              <a:gd name="connsiteX736" fmla="*/ 3392262 w 6530351"/>
              <a:gd name="connsiteY736" fmla="*/ 4876825 h 6858285"/>
              <a:gd name="connsiteX737" fmla="*/ 3331258 w 6530351"/>
              <a:gd name="connsiteY737" fmla="*/ 4848328 h 6858285"/>
              <a:gd name="connsiteX738" fmla="*/ 3327445 w 6530351"/>
              <a:gd name="connsiteY738" fmla="*/ 4831230 h 6858285"/>
              <a:gd name="connsiteX739" fmla="*/ 3359854 w 6530351"/>
              <a:gd name="connsiteY739" fmla="*/ 4785635 h 6858285"/>
              <a:gd name="connsiteX740" fmla="*/ 3701097 w 6530351"/>
              <a:gd name="connsiteY740" fmla="*/ 4664048 h 6858285"/>
              <a:gd name="connsiteX741" fmla="*/ 3720845 w 6530351"/>
              <a:gd name="connsiteY741" fmla="*/ 4661020 h 6858285"/>
              <a:gd name="connsiteX742" fmla="*/ 2587354 w 6530351"/>
              <a:gd name="connsiteY742" fmla="*/ 4661020 h 6858285"/>
              <a:gd name="connsiteX743" fmla="*/ 2630516 w 6530351"/>
              <a:gd name="connsiteY743" fmla="*/ 4692545 h 6858285"/>
              <a:gd name="connsiteX744" fmla="*/ 2601920 w 6530351"/>
              <a:gd name="connsiteY744" fmla="*/ 4755238 h 6858285"/>
              <a:gd name="connsiteX745" fmla="*/ 2258771 w 6530351"/>
              <a:gd name="connsiteY745" fmla="*/ 4876825 h 6858285"/>
              <a:gd name="connsiteX746" fmla="*/ 2197767 w 6530351"/>
              <a:gd name="connsiteY746" fmla="*/ 4848328 h 6858285"/>
              <a:gd name="connsiteX747" fmla="*/ 2193954 w 6530351"/>
              <a:gd name="connsiteY747" fmla="*/ 4831230 h 6858285"/>
              <a:gd name="connsiteX748" fmla="*/ 2226363 w 6530351"/>
              <a:gd name="connsiteY748" fmla="*/ 4785635 h 6858285"/>
              <a:gd name="connsiteX749" fmla="*/ 2567605 w 6530351"/>
              <a:gd name="connsiteY749" fmla="*/ 4664048 h 6858285"/>
              <a:gd name="connsiteX750" fmla="*/ 2587354 w 6530351"/>
              <a:gd name="connsiteY750" fmla="*/ 4661020 h 6858285"/>
              <a:gd name="connsiteX751" fmla="*/ 3149672 w 6530351"/>
              <a:gd name="connsiteY751" fmla="*/ 4651820 h 6858285"/>
              <a:gd name="connsiteX752" fmla="*/ 3194410 w 6530351"/>
              <a:gd name="connsiteY752" fmla="*/ 4685085 h 6858285"/>
              <a:gd name="connsiteX753" fmla="*/ 3162024 w 6530351"/>
              <a:gd name="connsiteY753" fmla="*/ 4748038 h 6858285"/>
              <a:gd name="connsiteX754" fmla="*/ 2819120 w 6530351"/>
              <a:gd name="connsiteY754" fmla="*/ 4862498 h 6858285"/>
              <a:gd name="connsiteX755" fmla="*/ 2756254 w 6530351"/>
              <a:gd name="connsiteY755" fmla="*/ 4830068 h 6858285"/>
              <a:gd name="connsiteX756" fmla="*/ 2754349 w 6530351"/>
              <a:gd name="connsiteY756" fmla="*/ 4814807 h 6858285"/>
              <a:gd name="connsiteX757" fmla="*/ 2788639 w 6530351"/>
              <a:gd name="connsiteY757" fmla="*/ 4767115 h 6858285"/>
              <a:gd name="connsiteX758" fmla="*/ 3129639 w 6530351"/>
              <a:gd name="connsiteY758" fmla="*/ 4654562 h 6858285"/>
              <a:gd name="connsiteX759" fmla="*/ 3149672 w 6530351"/>
              <a:gd name="connsiteY759" fmla="*/ 4651820 h 6858285"/>
              <a:gd name="connsiteX760" fmla="*/ 6484889 w 6530351"/>
              <a:gd name="connsiteY760" fmla="*/ 4386504 h 6858285"/>
              <a:gd name="connsiteX761" fmla="*/ 6523141 w 6530351"/>
              <a:gd name="connsiteY761" fmla="*/ 4408417 h 6858285"/>
              <a:gd name="connsiteX762" fmla="*/ 6506021 w 6530351"/>
              <a:gd name="connsiteY762" fmla="*/ 4461627 h 6858285"/>
              <a:gd name="connsiteX763" fmla="*/ 6167435 w 6530351"/>
              <a:gd name="connsiteY763" fmla="*/ 4630760 h 6858285"/>
              <a:gd name="connsiteX764" fmla="*/ 6114175 w 6530351"/>
              <a:gd name="connsiteY764" fmla="*/ 4613657 h 6858285"/>
              <a:gd name="connsiteX765" fmla="*/ 6110371 w 6530351"/>
              <a:gd name="connsiteY765" fmla="*/ 4594653 h 6858285"/>
              <a:gd name="connsiteX766" fmla="*/ 6131293 w 6530351"/>
              <a:gd name="connsiteY766" fmla="*/ 4560446 h 6858285"/>
              <a:gd name="connsiteX767" fmla="*/ 6469879 w 6530351"/>
              <a:gd name="connsiteY767" fmla="*/ 4391314 h 6858285"/>
              <a:gd name="connsiteX768" fmla="*/ 6484889 w 6530351"/>
              <a:gd name="connsiteY768" fmla="*/ 4386504 h 6858285"/>
              <a:gd name="connsiteX769" fmla="*/ 5956857 w 6530351"/>
              <a:gd name="connsiteY769" fmla="*/ 4379613 h 6858285"/>
              <a:gd name="connsiteX770" fmla="*/ 5980193 w 6530351"/>
              <a:gd name="connsiteY770" fmla="*/ 4400620 h 6858285"/>
              <a:gd name="connsiteX771" fmla="*/ 5961143 w 6530351"/>
              <a:gd name="connsiteY771" fmla="*/ 4456004 h 6858285"/>
              <a:gd name="connsiteX772" fmla="*/ 5622049 w 6530351"/>
              <a:gd name="connsiteY772" fmla="*/ 4616425 h 6858285"/>
              <a:gd name="connsiteX773" fmla="*/ 5564899 w 6530351"/>
              <a:gd name="connsiteY773" fmla="*/ 4595417 h 6858285"/>
              <a:gd name="connsiteX774" fmla="*/ 5561087 w 6530351"/>
              <a:gd name="connsiteY774" fmla="*/ 4578229 h 6858285"/>
              <a:gd name="connsiteX775" fmla="*/ 5585853 w 6530351"/>
              <a:gd name="connsiteY775" fmla="*/ 4540034 h 6858285"/>
              <a:gd name="connsiteX776" fmla="*/ 5924949 w 6530351"/>
              <a:gd name="connsiteY776" fmla="*/ 4381523 h 6858285"/>
              <a:gd name="connsiteX777" fmla="*/ 5956857 w 6530351"/>
              <a:gd name="connsiteY777" fmla="*/ 4379613 h 6858285"/>
              <a:gd name="connsiteX778" fmla="*/ 398944 w 6530351"/>
              <a:gd name="connsiteY778" fmla="*/ 4379613 h 6858285"/>
              <a:gd name="connsiteX779" fmla="*/ 422281 w 6530351"/>
              <a:gd name="connsiteY779" fmla="*/ 4400620 h 6858285"/>
              <a:gd name="connsiteX780" fmla="*/ 401326 w 6530351"/>
              <a:gd name="connsiteY780" fmla="*/ 4456004 h 6858285"/>
              <a:gd name="connsiteX781" fmla="*/ 62231 w 6530351"/>
              <a:gd name="connsiteY781" fmla="*/ 4616425 h 6858285"/>
              <a:gd name="connsiteX782" fmla="*/ 6985 w 6530351"/>
              <a:gd name="connsiteY782" fmla="*/ 4595417 h 6858285"/>
              <a:gd name="connsiteX783" fmla="*/ 3175 w 6530351"/>
              <a:gd name="connsiteY783" fmla="*/ 4578229 h 6858285"/>
              <a:gd name="connsiteX784" fmla="*/ 27940 w 6530351"/>
              <a:gd name="connsiteY784" fmla="*/ 4540034 h 6858285"/>
              <a:gd name="connsiteX785" fmla="*/ 367035 w 6530351"/>
              <a:gd name="connsiteY785" fmla="*/ 4381523 h 6858285"/>
              <a:gd name="connsiteX786" fmla="*/ 398944 w 6530351"/>
              <a:gd name="connsiteY786" fmla="*/ 4379613 h 6858285"/>
              <a:gd name="connsiteX787" fmla="*/ 5410439 w 6530351"/>
              <a:gd name="connsiteY787" fmla="*/ 4371271 h 6858285"/>
              <a:gd name="connsiteX788" fmla="*/ 5434065 w 6530351"/>
              <a:gd name="connsiteY788" fmla="*/ 4394876 h 6858285"/>
              <a:gd name="connsiteX789" fmla="*/ 5411155 w 6530351"/>
              <a:gd name="connsiteY789" fmla="*/ 4452100 h 6858285"/>
              <a:gd name="connsiteX790" fmla="*/ 5071313 w 6530351"/>
              <a:gd name="connsiteY790" fmla="*/ 4598974 h 6858285"/>
              <a:gd name="connsiteX791" fmla="*/ 5014037 w 6530351"/>
              <a:gd name="connsiteY791" fmla="*/ 4576085 h 6858285"/>
              <a:gd name="connsiteX792" fmla="*/ 5010219 w 6530351"/>
              <a:gd name="connsiteY792" fmla="*/ 4558918 h 6858285"/>
              <a:gd name="connsiteX793" fmla="*/ 5036947 w 6530351"/>
              <a:gd name="connsiteY793" fmla="*/ 4518861 h 6858285"/>
              <a:gd name="connsiteX794" fmla="*/ 5376789 w 6530351"/>
              <a:gd name="connsiteY794" fmla="*/ 4371986 h 6858285"/>
              <a:gd name="connsiteX795" fmla="*/ 5410439 w 6530351"/>
              <a:gd name="connsiteY795" fmla="*/ 4371271 h 6858285"/>
              <a:gd name="connsiteX796" fmla="*/ 943811 w 6530351"/>
              <a:gd name="connsiteY796" fmla="*/ 4371271 h 6858285"/>
              <a:gd name="connsiteX797" fmla="*/ 968374 w 6530351"/>
              <a:gd name="connsiteY797" fmla="*/ 4394876 h 6858285"/>
              <a:gd name="connsiteX798" fmla="*/ 945480 w 6530351"/>
              <a:gd name="connsiteY798" fmla="*/ 4452100 h 6858285"/>
              <a:gd name="connsiteX799" fmla="*/ 603982 w 6530351"/>
              <a:gd name="connsiteY799" fmla="*/ 4598974 h 6858285"/>
              <a:gd name="connsiteX800" fmla="*/ 546748 w 6530351"/>
              <a:gd name="connsiteY800" fmla="*/ 4576085 h 6858285"/>
              <a:gd name="connsiteX801" fmla="*/ 542932 w 6530351"/>
              <a:gd name="connsiteY801" fmla="*/ 4558918 h 6858285"/>
              <a:gd name="connsiteX802" fmla="*/ 569641 w 6530351"/>
              <a:gd name="connsiteY802" fmla="*/ 4518861 h 6858285"/>
              <a:gd name="connsiteX803" fmla="*/ 909232 w 6530351"/>
              <a:gd name="connsiteY803" fmla="*/ 4371986 h 6858285"/>
              <a:gd name="connsiteX804" fmla="*/ 943811 w 6530351"/>
              <a:gd name="connsiteY804" fmla="*/ 4371271 h 6858285"/>
              <a:gd name="connsiteX805" fmla="*/ 4841693 w 6530351"/>
              <a:gd name="connsiteY805" fmla="*/ 4359077 h 6858285"/>
              <a:gd name="connsiteX806" fmla="*/ 4883215 w 6530351"/>
              <a:gd name="connsiteY806" fmla="*/ 4387168 h 6858285"/>
              <a:gd name="connsiteX807" fmla="*/ 4856545 w 6530351"/>
              <a:gd name="connsiteY807" fmla="*/ 4448048 h 6858285"/>
              <a:gd name="connsiteX808" fmla="*/ 4517451 w 6530351"/>
              <a:gd name="connsiteY808" fmla="*/ 4583124 h 6858285"/>
              <a:gd name="connsiteX809" fmla="*/ 4456491 w 6530351"/>
              <a:gd name="connsiteY809" fmla="*/ 4556490 h 6858285"/>
              <a:gd name="connsiteX810" fmla="*/ 4454585 w 6530351"/>
              <a:gd name="connsiteY810" fmla="*/ 4539367 h 6858285"/>
              <a:gd name="connsiteX811" fmla="*/ 4483161 w 6530351"/>
              <a:gd name="connsiteY811" fmla="*/ 4497513 h 6858285"/>
              <a:gd name="connsiteX812" fmla="*/ 4824161 w 6530351"/>
              <a:gd name="connsiteY812" fmla="*/ 4362436 h 6858285"/>
              <a:gd name="connsiteX813" fmla="*/ 4841693 w 6530351"/>
              <a:gd name="connsiteY813" fmla="*/ 4359077 h 6858285"/>
              <a:gd name="connsiteX814" fmla="*/ 1477218 w 6530351"/>
              <a:gd name="connsiteY814" fmla="*/ 4359077 h 6858285"/>
              <a:gd name="connsiteX815" fmla="*/ 1517670 w 6530351"/>
              <a:gd name="connsiteY815" fmla="*/ 4387168 h 6858285"/>
              <a:gd name="connsiteX816" fmla="*/ 1492905 w 6530351"/>
              <a:gd name="connsiteY816" fmla="*/ 4448048 h 6858285"/>
              <a:gd name="connsiteX817" fmla="*/ 1151905 w 6530351"/>
              <a:gd name="connsiteY817" fmla="*/ 4583124 h 6858285"/>
              <a:gd name="connsiteX818" fmla="*/ 1092849 w 6530351"/>
              <a:gd name="connsiteY818" fmla="*/ 4556490 h 6858285"/>
              <a:gd name="connsiteX819" fmla="*/ 1089039 w 6530351"/>
              <a:gd name="connsiteY819" fmla="*/ 4539367 h 6858285"/>
              <a:gd name="connsiteX820" fmla="*/ 1117614 w 6530351"/>
              <a:gd name="connsiteY820" fmla="*/ 4497513 h 6858285"/>
              <a:gd name="connsiteX821" fmla="*/ 1458614 w 6530351"/>
              <a:gd name="connsiteY821" fmla="*/ 4362436 h 6858285"/>
              <a:gd name="connsiteX822" fmla="*/ 1477218 w 6530351"/>
              <a:gd name="connsiteY822" fmla="*/ 4359077 h 6858285"/>
              <a:gd name="connsiteX823" fmla="*/ 4284047 w 6530351"/>
              <a:gd name="connsiteY823" fmla="*/ 4349914 h 6858285"/>
              <a:gd name="connsiteX824" fmla="*/ 4326017 w 6530351"/>
              <a:gd name="connsiteY824" fmla="*/ 4381655 h 6858285"/>
              <a:gd name="connsiteX825" fmla="*/ 4297503 w 6530351"/>
              <a:gd name="connsiteY825" fmla="*/ 4442865 h 6858285"/>
              <a:gd name="connsiteX826" fmla="*/ 3957235 w 6530351"/>
              <a:gd name="connsiteY826" fmla="*/ 4569111 h 6858285"/>
              <a:gd name="connsiteX827" fmla="*/ 3896405 w 6530351"/>
              <a:gd name="connsiteY827" fmla="*/ 4538506 h 6858285"/>
              <a:gd name="connsiteX828" fmla="*/ 3892603 w 6530351"/>
              <a:gd name="connsiteY828" fmla="*/ 4523203 h 6858285"/>
              <a:gd name="connsiteX829" fmla="*/ 3924919 w 6530351"/>
              <a:gd name="connsiteY829" fmla="*/ 4477296 h 6858285"/>
              <a:gd name="connsiteX830" fmla="*/ 4265187 w 6530351"/>
              <a:gd name="connsiteY830" fmla="*/ 4352963 h 6858285"/>
              <a:gd name="connsiteX831" fmla="*/ 4284047 w 6530351"/>
              <a:gd name="connsiteY831" fmla="*/ 4349914 h 6858285"/>
              <a:gd name="connsiteX832" fmla="*/ 2029797 w 6530351"/>
              <a:gd name="connsiteY832" fmla="*/ 4349914 h 6858285"/>
              <a:gd name="connsiteX833" fmla="*/ 2073637 w 6530351"/>
              <a:gd name="connsiteY833" fmla="*/ 4381655 h 6858285"/>
              <a:gd name="connsiteX834" fmla="*/ 2045123 w 6530351"/>
              <a:gd name="connsiteY834" fmla="*/ 4442865 h 6858285"/>
              <a:gd name="connsiteX835" fmla="*/ 1702954 w 6530351"/>
              <a:gd name="connsiteY835" fmla="*/ 4569111 h 6858285"/>
              <a:gd name="connsiteX836" fmla="*/ 1642124 w 6530351"/>
              <a:gd name="connsiteY836" fmla="*/ 4538506 h 6858285"/>
              <a:gd name="connsiteX837" fmla="*/ 1638322 w 6530351"/>
              <a:gd name="connsiteY837" fmla="*/ 4523203 h 6858285"/>
              <a:gd name="connsiteX838" fmla="*/ 1670638 w 6530351"/>
              <a:gd name="connsiteY838" fmla="*/ 4477296 h 6858285"/>
              <a:gd name="connsiteX839" fmla="*/ 2010906 w 6530351"/>
              <a:gd name="connsiteY839" fmla="*/ 4352963 h 6858285"/>
              <a:gd name="connsiteX840" fmla="*/ 2029797 w 6530351"/>
              <a:gd name="connsiteY840" fmla="*/ 4349914 h 6858285"/>
              <a:gd name="connsiteX841" fmla="*/ 3722775 w 6530351"/>
              <a:gd name="connsiteY841" fmla="*/ 4341193 h 6858285"/>
              <a:gd name="connsiteX842" fmla="*/ 3765607 w 6530351"/>
              <a:gd name="connsiteY842" fmla="*/ 4375580 h 6858285"/>
              <a:gd name="connsiteX843" fmla="*/ 3733245 w 6530351"/>
              <a:gd name="connsiteY843" fmla="*/ 4438622 h 6858285"/>
              <a:gd name="connsiteX844" fmla="*/ 3392486 w 6530351"/>
              <a:gd name="connsiteY844" fmla="*/ 4551335 h 6858285"/>
              <a:gd name="connsiteX845" fmla="*/ 3329664 w 6530351"/>
              <a:gd name="connsiteY845" fmla="*/ 4518858 h 6858285"/>
              <a:gd name="connsiteX846" fmla="*/ 3325857 w 6530351"/>
              <a:gd name="connsiteY846" fmla="*/ 4503575 h 6858285"/>
              <a:gd name="connsiteX847" fmla="*/ 3360123 w 6530351"/>
              <a:gd name="connsiteY847" fmla="*/ 4455816 h 6858285"/>
              <a:gd name="connsiteX848" fmla="*/ 3702787 w 6530351"/>
              <a:gd name="connsiteY848" fmla="*/ 4343103 h 6858285"/>
              <a:gd name="connsiteX849" fmla="*/ 3722775 w 6530351"/>
              <a:gd name="connsiteY849" fmla="*/ 4341193 h 6858285"/>
              <a:gd name="connsiteX850" fmla="*/ 2589285 w 6530351"/>
              <a:gd name="connsiteY850" fmla="*/ 4341193 h 6858285"/>
              <a:gd name="connsiteX851" fmla="*/ 2632118 w 6530351"/>
              <a:gd name="connsiteY851" fmla="*/ 4375580 h 6858285"/>
              <a:gd name="connsiteX852" fmla="*/ 2599755 w 6530351"/>
              <a:gd name="connsiteY852" fmla="*/ 4438622 h 6858285"/>
              <a:gd name="connsiteX853" fmla="*/ 2258996 w 6530351"/>
              <a:gd name="connsiteY853" fmla="*/ 4551335 h 6858285"/>
              <a:gd name="connsiteX854" fmla="*/ 2196174 w 6530351"/>
              <a:gd name="connsiteY854" fmla="*/ 4518858 h 6858285"/>
              <a:gd name="connsiteX855" fmla="*/ 2192367 w 6530351"/>
              <a:gd name="connsiteY855" fmla="*/ 4503575 h 6858285"/>
              <a:gd name="connsiteX856" fmla="*/ 2226633 w 6530351"/>
              <a:gd name="connsiteY856" fmla="*/ 4455816 h 6858285"/>
              <a:gd name="connsiteX857" fmla="*/ 2569296 w 6530351"/>
              <a:gd name="connsiteY857" fmla="*/ 4343103 h 6858285"/>
              <a:gd name="connsiteX858" fmla="*/ 2589285 w 6530351"/>
              <a:gd name="connsiteY858" fmla="*/ 4341193 h 6858285"/>
              <a:gd name="connsiteX859" fmla="*/ 3152162 w 6530351"/>
              <a:gd name="connsiteY859" fmla="*/ 4331988 h 6858285"/>
              <a:gd name="connsiteX860" fmla="*/ 3195706 w 6530351"/>
              <a:gd name="connsiteY860" fmla="*/ 4369816 h 6858285"/>
              <a:gd name="connsiteX861" fmla="*/ 3161512 w 6530351"/>
              <a:gd name="connsiteY861" fmla="*/ 4434681 h 6858285"/>
              <a:gd name="connsiteX862" fmla="*/ 2819564 w 6530351"/>
              <a:gd name="connsiteY862" fmla="*/ 4535794 h 6858285"/>
              <a:gd name="connsiteX863" fmla="*/ 2753074 w 6530351"/>
              <a:gd name="connsiteY863" fmla="*/ 4499546 h 6858285"/>
              <a:gd name="connsiteX864" fmla="*/ 2751174 w 6530351"/>
              <a:gd name="connsiteY864" fmla="*/ 4486191 h 6858285"/>
              <a:gd name="connsiteX865" fmla="*/ 2789168 w 6530351"/>
              <a:gd name="connsiteY865" fmla="*/ 4434681 h 6858285"/>
              <a:gd name="connsiteX866" fmla="*/ 3131116 w 6530351"/>
              <a:gd name="connsiteY866" fmla="*/ 4333568 h 6858285"/>
              <a:gd name="connsiteX867" fmla="*/ 3152162 w 6530351"/>
              <a:gd name="connsiteY867" fmla="*/ 4331988 h 6858285"/>
              <a:gd name="connsiteX868" fmla="*/ 6500077 w 6530351"/>
              <a:gd name="connsiteY868" fmla="*/ 4065058 h 6858285"/>
              <a:gd name="connsiteX869" fmla="*/ 6523141 w 6530351"/>
              <a:gd name="connsiteY869" fmla="*/ 4084416 h 6858285"/>
              <a:gd name="connsiteX870" fmla="*/ 6506021 w 6530351"/>
              <a:gd name="connsiteY870" fmla="*/ 4137951 h 6858285"/>
              <a:gd name="connsiteX871" fmla="*/ 6167435 w 6530351"/>
              <a:gd name="connsiteY871" fmla="*/ 4310027 h 6858285"/>
              <a:gd name="connsiteX872" fmla="*/ 6114175 w 6530351"/>
              <a:gd name="connsiteY872" fmla="*/ 4292819 h 6858285"/>
              <a:gd name="connsiteX873" fmla="*/ 6110371 w 6530351"/>
              <a:gd name="connsiteY873" fmla="*/ 4273700 h 6858285"/>
              <a:gd name="connsiteX874" fmla="*/ 6131293 w 6530351"/>
              <a:gd name="connsiteY874" fmla="*/ 4239285 h 6858285"/>
              <a:gd name="connsiteX875" fmla="*/ 6469879 w 6530351"/>
              <a:gd name="connsiteY875" fmla="*/ 4067209 h 6858285"/>
              <a:gd name="connsiteX876" fmla="*/ 6500077 w 6530351"/>
              <a:gd name="connsiteY876" fmla="*/ 4065058 h 6858285"/>
              <a:gd name="connsiteX877" fmla="*/ 5941081 w 6530351"/>
              <a:gd name="connsiteY877" fmla="*/ 4054778 h 6858285"/>
              <a:gd name="connsiteX878" fmla="*/ 5980193 w 6530351"/>
              <a:gd name="connsiteY878" fmla="*/ 4078680 h 6858285"/>
              <a:gd name="connsiteX879" fmla="*/ 5961143 w 6530351"/>
              <a:gd name="connsiteY879" fmla="*/ 4135973 h 6858285"/>
              <a:gd name="connsiteX880" fmla="*/ 5622049 w 6530351"/>
              <a:gd name="connsiteY880" fmla="*/ 4292575 h 6858285"/>
              <a:gd name="connsiteX881" fmla="*/ 5564899 w 6530351"/>
              <a:gd name="connsiteY881" fmla="*/ 4271567 h 6858285"/>
              <a:gd name="connsiteX882" fmla="*/ 5561087 w 6530351"/>
              <a:gd name="connsiteY882" fmla="*/ 4254379 h 6858285"/>
              <a:gd name="connsiteX883" fmla="*/ 5585853 w 6530351"/>
              <a:gd name="connsiteY883" fmla="*/ 4216184 h 6858285"/>
              <a:gd name="connsiteX884" fmla="*/ 5924949 w 6530351"/>
              <a:gd name="connsiteY884" fmla="*/ 4059583 h 6858285"/>
              <a:gd name="connsiteX885" fmla="*/ 5941081 w 6530351"/>
              <a:gd name="connsiteY885" fmla="*/ 4054778 h 6858285"/>
              <a:gd name="connsiteX886" fmla="*/ 383168 w 6530351"/>
              <a:gd name="connsiteY886" fmla="*/ 4054778 h 6858285"/>
              <a:gd name="connsiteX887" fmla="*/ 422281 w 6530351"/>
              <a:gd name="connsiteY887" fmla="*/ 4078680 h 6858285"/>
              <a:gd name="connsiteX888" fmla="*/ 401326 w 6530351"/>
              <a:gd name="connsiteY888" fmla="*/ 4135973 h 6858285"/>
              <a:gd name="connsiteX889" fmla="*/ 62231 w 6530351"/>
              <a:gd name="connsiteY889" fmla="*/ 4292575 h 6858285"/>
              <a:gd name="connsiteX890" fmla="*/ 6985 w 6530351"/>
              <a:gd name="connsiteY890" fmla="*/ 4271567 h 6858285"/>
              <a:gd name="connsiteX891" fmla="*/ 3175 w 6530351"/>
              <a:gd name="connsiteY891" fmla="*/ 4254379 h 6858285"/>
              <a:gd name="connsiteX892" fmla="*/ 27940 w 6530351"/>
              <a:gd name="connsiteY892" fmla="*/ 4216184 h 6858285"/>
              <a:gd name="connsiteX893" fmla="*/ 367035 w 6530351"/>
              <a:gd name="connsiteY893" fmla="*/ 4059583 h 6858285"/>
              <a:gd name="connsiteX894" fmla="*/ 383168 w 6530351"/>
              <a:gd name="connsiteY894" fmla="*/ 4054778 h 6858285"/>
              <a:gd name="connsiteX895" fmla="*/ 5394113 w 6530351"/>
              <a:gd name="connsiteY895" fmla="*/ 4046334 h 6858285"/>
              <a:gd name="connsiteX896" fmla="*/ 5435665 w 6530351"/>
              <a:gd name="connsiteY896" fmla="*/ 4072655 h 6858285"/>
              <a:gd name="connsiteX897" fmla="*/ 5410883 w 6530351"/>
              <a:gd name="connsiteY897" fmla="*/ 4131864 h 6858285"/>
              <a:gd name="connsiteX898" fmla="*/ 5071541 w 6530351"/>
              <a:gd name="connsiteY898" fmla="*/ 4275111 h 6858285"/>
              <a:gd name="connsiteX899" fmla="*/ 5012443 w 6530351"/>
              <a:gd name="connsiteY899" fmla="*/ 4252191 h 6858285"/>
              <a:gd name="connsiteX900" fmla="*/ 5008631 w 6530351"/>
              <a:gd name="connsiteY900" fmla="*/ 4235002 h 6858285"/>
              <a:gd name="connsiteX901" fmla="*/ 5037227 w 6530351"/>
              <a:gd name="connsiteY901" fmla="*/ 4192983 h 6858285"/>
              <a:gd name="connsiteX902" fmla="*/ 5376567 w 6530351"/>
              <a:gd name="connsiteY902" fmla="*/ 4049736 h 6858285"/>
              <a:gd name="connsiteX903" fmla="*/ 5394113 w 6530351"/>
              <a:gd name="connsiteY903" fmla="*/ 4046334 h 6858285"/>
              <a:gd name="connsiteX904" fmla="*/ 926790 w 6530351"/>
              <a:gd name="connsiteY904" fmla="*/ 4046333 h 6858285"/>
              <a:gd name="connsiteX905" fmla="*/ 968374 w 6530351"/>
              <a:gd name="connsiteY905" fmla="*/ 4072655 h 6858285"/>
              <a:gd name="connsiteX906" fmla="*/ 945480 w 6530351"/>
              <a:gd name="connsiteY906" fmla="*/ 4131864 h 6858285"/>
              <a:gd name="connsiteX907" fmla="*/ 603982 w 6530351"/>
              <a:gd name="connsiteY907" fmla="*/ 4275111 h 6858285"/>
              <a:gd name="connsiteX908" fmla="*/ 544840 w 6530351"/>
              <a:gd name="connsiteY908" fmla="*/ 4252191 h 6858285"/>
              <a:gd name="connsiteX909" fmla="*/ 542932 w 6530351"/>
              <a:gd name="connsiteY909" fmla="*/ 4235002 h 6858285"/>
              <a:gd name="connsiteX910" fmla="*/ 569641 w 6530351"/>
              <a:gd name="connsiteY910" fmla="*/ 4192983 h 6858285"/>
              <a:gd name="connsiteX911" fmla="*/ 909232 w 6530351"/>
              <a:gd name="connsiteY911" fmla="*/ 4049736 h 6858285"/>
              <a:gd name="connsiteX912" fmla="*/ 926790 w 6530351"/>
              <a:gd name="connsiteY912" fmla="*/ 4046333 h 6858285"/>
              <a:gd name="connsiteX913" fmla="*/ 4823945 w 6530351"/>
              <a:gd name="connsiteY913" fmla="*/ 4041415 h 6858285"/>
              <a:gd name="connsiteX914" fmla="*/ 4884817 w 6530351"/>
              <a:gd name="connsiteY914" fmla="*/ 4069836 h 6858285"/>
              <a:gd name="connsiteX915" fmla="*/ 4856283 w 6530351"/>
              <a:gd name="connsiteY915" fmla="*/ 4130469 h 6858285"/>
              <a:gd name="connsiteX916" fmla="*/ 4515773 w 6530351"/>
              <a:gd name="connsiteY916" fmla="*/ 4259312 h 6858285"/>
              <a:gd name="connsiteX917" fmla="*/ 4454901 w 6530351"/>
              <a:gd name="connsiteY917" fmla="*/ 4230891 h 6858285"/>
              <a:gd name="connsiteX918" fmla="*/ 4452999 w 6530351"/>
              <a:gd name="connsiteY918" fmla="*/ 4215733 h 6858285"/>
              <a:gd name="connsiteX919" fmla="*/ 4483435 w 6530351"/>
              <a:gd name="connsiteY919" fmla="*/ 4170258 h 6858285"/>
              <a:gd name="connsiteX920" fmla="*/ 4823945 w 6530351"/>
              <a:gd name="connsiteY920" fmla="*/ 4041415 h 6858285"/>
              <a:gd name="connsiteX921" fmla="*/ 1458398 w 6530351"/>
              <a:gd name="connsiteY921" fmla="*/ 4041415 h 6858285"/>
              <a:gd name="connsiteX922" fmla="*/ 1519272 w 6530351"/>
              <a:gd name="connsiteY922" fmla="*/ 4069836 h 6858285"/>
              <a:gd name="connsiteX923" fmla="*/ 1492639 w 6530351"/>
              <a:gd name="connsiteY923" fmla="*/ 4130469 h 6858285"/>
              <a:gd name="connsiteX924" fmla="*/ 1152130 w 6530351"/>
              <a:gd name="connsiteY924" fmla="*/ 4259312 h 6858285"/>
              <a:gd name="connsiteX925" fmla="*/ 1091257 w 6530351"/>
              <a:gd name="connsiteY925" fmla="*/ 4230891 h 6858285"/>
              <a:gd name="connsiteX926" fmla="*/ 1087452 w 6530351"/>
              <a:gd name="connsiteY926" fmla="*/ 4215733 h 6858285"/>
              <a:gd name="connsiteX927" fmla="*/ 1117889 w 6530351"/>
              <a:gd name="connsiteY927" fmla="*/ 4170258 h 6858285"/>
              <a:gd name="connsiteX928" fmla="*/ 1458398 w 6530351"/>
              <a:gd name="connsiteY928" fmla="*/ 4041415 h 6858285"/>
              <a:gd name="connsiteX929" fmla="*/ 4286123 w 6530351"/>
              <a:gd name="connsiteY929" fmla="*/ 4031097 h 6858285"/>
              <a:gd name="connsiteX930" fmla="*/ 4329137 w 6530351"/>
              <a:gd name="connsiteY930" fmla="*/ 4064316 h 6858285"/>
              <a:gd name="connsiteX931" fmla="*/ 4298549 w 6530351"/>
              <a:gd name="connsiteY931" fmla="*/ 4127181 h 6858285"/>
              <a:gd name="connsiteX932" fmla="*/ 3956339 w 6530351"/>
              <a:gd name="connsiteY932" fmla="*/ 4243386 h 6858285"/>
              <a:gd name="connsiteX933" fmla="*/ 3893251 w 6530351"/>
              <a:gd name="connsiteY933" fmla="*/ 4212906 h 6858285"/>
              <a:gd name="connsiteX934" fmla="*/ 3889427 w 6530351"/>
              <a:gd name="connsiteY934" fmla="*/ 4195761 h 6858285"/>
              <a:gd name="connsiteX935" fmla="*/ 3923839 w 6530351"/>
              <a:gd name="connsiteY935" fmla="*/ 4150041 h 6858285"/>
              <a:gd name="connsiteX936" fmla="*/ 4266049 w 6530351"/>
              <a:gd name="connsiteY936" fmla="*/ 4033836 h 6858285"/>
              <a:gd name="connsiteX937" fmla="*/ 4286123 w 6530351"/>
              <a:gd name="connsiteY937" fmla="*/ 4031097 h 6858285"/>
              <a:gd name="connsiteX938" fmla="*/ 2031420 w 6530351"/>
              <a:gd name="connsiteY938" fmla="*/ 4031097 h 6858285"/>
              <a:gd name="connsiteX939" fmla="*/ 2075230 w 6530351"/>
              <a:gd name="connsiteY939" fmla="*/ 4064316 h 6858285"/>
              <a:gd name="connsiteX940" fmla="*/ 2042936 w 6530351"/>
              <a:gd name="connsiteY940" fmla="*/ 4127181 h 6858285"/>
              <a:gd name="connsiteX941" fmla="*/ 1702908 w 6530351"/>
              <a:gd name="connsiteY941" fmla="*/ 4243386 h 6858285"/>
              <a:gd name="connsiteX942" fmla="*/ 1640222 w 6530351"/>
              <a:gd name="connsiteY942" fmla="*/ 4212906 h 6858285"/>
              <a:gd name="connsiteX943" fmla="*/ 1638322 w 6530351"/>
              <a:gd name="connsiteY943" fmla="*/ 4195761 h 6858285"/>
              <a:gd name="connsiteX944" fmla="*/ 1670615 w 6530351"/>
              <a:gd name="connsiteY944" fmla="*/ 4150041 h 6858285"/>
              <a:gd name="connsiteX945" fmla="*/ 2012543 w 6530351"/>
              <a:gd name="connsiteY945" fmla="*/ 4033836 h 6858285"/>
              <a:gd name="connsiteX946" fmla="*/ 2031420 w 6530351"/>
              <a:gd name="connsiteY946" fmla="*/ 4031097 h 6858285"/>
              <a:gd name="connsiteX947" fmla="*/ 3725869 w 6530351"/>
              <a:gd name="connsiteY947" fmla="*/ 4022416 h 6858285"/>
              <a:gd name="connsiteX948" fmla="*/ 3770671 w 6530351"/>
              <a:gd name="connsiteY948" fmla="*/ 4060189 h 6858285"/>
              <a:gd name="connsiteX949" fmla="*/ 3734425 w 6530351"/>
              <a:gd name="connsiteY949" fmla="*/ 4124959 h 6858285"/>
              <a:gd name="connsiteX950" fmla="*/ 3391039 w 6530351"/>
              <a:gd name="connsiteY950" fmla="*/ 4225924 h 6858285"/>
              <a:gd name="connsiteX951" fmla="*/ 3326178 w 6530351"/>
              <a:gd name="connsiteY951" fmla="*/ 4191634 h 6858285"/>
              <a:gd name="connsiteX952" fmla="*/ 3324270 w 6530351"/>
              <a:gd name="connsiteY952" fmla="*/ 4176394 h 6858285"/>
              <a:gd name="connsiteX953" fmla="*/ 3362424 w 6530351"/>
              <a:gd name="connsiteY953" fmla="*/ 4126864 h 6858285"/>
              <a:gd name="connsiteX954" fmla="*/ 3705809 w 6530351"/>
              <a:gd name="connsiteY954" fmla="*/ 4023994 h 6858285"/>
              <a:gd name="connsiteX955" fmla="*/ 3725869 w 6530351"/>
              <a:gd name="connsiteY955" fmla="*/ 4022416 h 6858285"/>
              <a:gd name="connsiteX956" fmla="*/ 2590975 w 6530351"/>
              <a:gd name="connsiteY956" fmla="*/ 4022416 h 6858285"/>
              <a:gd name="connsiteX957" fmla="*/ 2635619 w 6530351"/>
              <a:gd name="connsiteY957" fmla="*/ 4060189 h 6858285"/>
              <a:gd name="connsiteX958" fmla="*/ 2599499 w 6530351"/>
              <a:gd name="connsiteY958" fmla="*/ 4124959 h 6858285"/>
              <a:gd name="connsiteX959" fmla="*/ 2257315 w 6530351"/>
              <a:gd name="connsiteY959" fmla="*/ 4225924 h 6858285"/>
              <a:gd name="connsiteX960" fmla="*/ 2192680 w 6530351"/>
              <a:gd name="connsiteY960" fmla="*/ 4191634 h 6858285"/>
              <a:gd name="connsiteX961" fmla="*/ 2190779 w 6530351"/>
              <a:gd name="connsiteY961" fmla="*/ 4176394 h 6858285"/>
              <a:gd name="connsiteX962" fmla="*/ 2228800 w 6530351"/>
              <a:gd name="connsiteY962" fmla="*/ 4126864 h 6858285"/>
              <a:gd name="connsiteX963" fmla="*/ 2570984 w 6530351"/>
              <a:gd name="connsiteY963" fmla="*/ 4023994 h 6858285"/>
              <a:gd name="connsiteX964" fmla="*/ 2590975 w 6530351"/>
              <a:gd name="connsiteY964" fmla="*/ 4022416 h 6858285"/>
              <a:gd name="connsiteX965" fmla="*/ 3155340 w 6530351"/>
              <a:gd name="connsiteY965" fmla="*/ 4014776 h 6858285"/>
              <a:gd name="connsiteX966" fmla="*/ 3200739 w 6530351"/>
              <a:gd name="connsiteY966" fmla="*/ 4054156 h 6858285"/>
              <a:gd name="connsiteX967" fmla="*/ 3160623 w 6530351"/>
              <a:gd name="connsiteY967" fmla="*/ 4120831 h 6858285"/>
              <a:gd name="connsiteX968" fmla="*/ 2816770 w 6530351"/>
              <a:gd name="connsiteY968" fmla="*/ 4210366 h 6858285"/>
              <a:gd name="connsiteX969" fmla="*/ 2749909 w 6530351"/>
              <a:gd name="connsiteY969" fmla="*/ 4170361 h 6858285"/>
              <a:gd name="connsiteX970" fmla="*/ 2747999 w 6530351"/>
              <a:gd name="connsiteY970" fmla="*/ 4157026 h 6858285"/>
              <a:gd name="connsiteX971" fmla="*/ 2788115 w 6530351"/>
              <a:gd name="connsiteY971" fmla="*/ 4103686 h 6858285"/>
              <a:gd name="connsiteX972" fmla="*/ 3133879 w 6530351"/>
              <a:gd name="connsiteY972" fmla="*/ 4016056 h 6858285"/>
              <a:gd name="connsiteX973" fmla="*/ 3155340 w 6530351"/>
              <a:gd name="connsiteY973" fmla="*/ 4014776 h 6858285"/>
              <a:gd name="connsiteX974" fmla="*/ 6500077 w 6530351"/>
              <a:gd name="connsiteY974" fmla="*/ 3741436 h 6858285"/>
              <a:gd name="connsiteX975" fmla="*/ 6523141 w 6530351"/>
              <a:gd name="connsiteY975" fmla="*/ 3762442 h 6858285"/>
              <a:gd name="connsiteX976" fmla="*/ 6506021 w 6530351"/>
              <a:gd name="connsiteY976" fmla="*/ 3814001 h 6858285"/>
              <a:gd name="connsiteX977" fmla="*/ 6167435 w 6530351"/>
              <a:gd name="connsiteY977" fmla="*/ 3987775 h 6858285"/>
              <a:gd name="connsiteX978" fmla="*/ 6114175 w 6530351"/>
              <a:gd name="connsiteY978" fmla="*/ 3970588 h 6858285"/>
              <a:gd name="connsiteX979" fmla="*/ 6110371 w 6530351"/>
              <a:gd name="connsiteY979" fmla="*/ 3951492 h 6858285"/>
              <a:gd name="connsiteX980" fmla="*/ 6131293 w 6530351"/>
              <a:gd name="connsiteY980" fmla="*/ 3917120 h 6858285"/>
              <a:gd name="connsiteX981" fmla="*/ 6469879 w 6530351"/>
              <a:gd name="connsiteY981" fmla="*/ 3743346 h 6858285"/>
              <a:gd name="connsiteX982" fmla="*/ 6500077 w 6530351"/>
              <a:gd name="connsiteY982" fmla="*/ 3741436 h 6858285"/>
              <a:gd name="connsiteX983" fmla="*/ 5958263 w 6530351"/>
              <a:gd name="connsiteY983" fmla="*/ 3734455 h 6858285"/>
              <a:gd name="connsiteX984" fmla="*/ 5983341 w 6530351"/>
              <a:gd name="connsiteY984" fmla="*/ 3756417 h 6858285"/>
              <a:gd name="connsiteX985" fmla="*/ 5962323 w 6530351"/>
              <a:gd name="connsiteY985" fmla="*/ 3813710 h 6858285"/>
              <a:gd name="connsiteX986" fmla="*/ 5622229 w 6530351"/>
              <a:gd name="connsiteY986" fmla="*/ 3970312 h 6858285"/>
              <a:gd name="connsiteX987" fmla="*/ 5564909 w 6530351"/>
              <a:gd name="connsiteY987" fmla="*/ 3949304 h 6858285"/>
              <a:gd name="connsiteX988" fmla="*/ 5561087 w 6530351"/>
              <a:gd name="connsiteY988" fmla="*/ 3930207 h 6858285"/>
              <a:gd name="connsiteX989" fmla="*/ 5585927 w 6530351"/>
              <a:gd name="connsiteY989" fmla="*/ 3892011 h 6858285"/>
              <a:gd name="connsiteX990" fmla="*/ 5926021 w 6530351"/>
              <a:gd name="connsiteY990" fmla="*/ 3735410 h 6858285"/>
              <a:gd name="connsiteX991" fmla="*/ 5958263 w 6530351"/>
              <a:gd name="connsiteY991" fmla="*/ 3734455 h 6858285"/>
              <a:gd name="connsiteX992" fmla="*/ 398944 w 6530351"/>
              <a:gd name="connsiteY992" fmla="*/ 3734455 h 6858285"/>
              <a:gd name="connsiteX993" fmla="*/ 422281 w 6530351"/>
              <a:gd name="connsiteY993" fmla="*/ 3756417 h 6858285"/>
              <a:gd name="connsiteX994" fmla="*/ 401326 w 6530351"/>
              <a:gd name="connsiteY994" fmla="*/ 3813710 h 6858285"/>
              <a:gd name="connsiteX995" fmla="*/ 62231 w 6530351"/>
              <a:gd name="connsiteY995" fmla="*/ 3970312 h 6858285"/>
              <a:gd name="connsiteX996" fmla="*/ 6985 w 6530351"/>
              <a:gd name="connsiteY996" fmla="*/ 3949304 h 6858285"/>
              <a:gd name="connsiteX997" fmla="*/ 3175 w 6530351"/>
              <a:gd name="connsiteY997" fmla="*/ 3930207 h 6858285"/>
              <a:gd name="connsiteX998" fmla="*/ 27940 w 6530351"/>
              <a:gd name="connsiteY998" fmla="*/ 3892011 h 6858285"/>
              <a:gd name="connsiteX999" fmla="*/ 367035 w 6530351"/>
              <a:gd name="connsiteY999" fmla="*/ 3735410 h 6858285"/>
              <a:gd name="connsiteX1000" fmla="*/ 398944 w 6530351"/>
              <a:gd name="connsiteY1000" fmla="*/ 3734455 h 6858285"/>
              <a:gd name="connsiteX1001" fmla="*/ 5394113 w 6530351"/>
              <a:gd name="connsiteY1001" fmla="*/ 3725656 h 6858285"/>
              <a:gd name="connsiteX1002" fmla="*/ 5435665 w 6530351"/>
              <a:gd name="connsiteY1002" fmla="*/ 3753711 h 6858285"/>
              <a:gd name="connsiteX1003" fmla="*/ 5410883 w 6530351"/>
              <a:gd name="connsiteY1003" fmla="*/ 3812611 h 6858285"/>
              <a:gd name="connsiteX1004" fmla="*/ 5071541 w 6530351"/>
              <a:gd name="connsiteY1004" fmla="*/ 3951311 h 6858285"/>
              <a:gd name="connsiteX1005" fmla="*/ 5012443 w 6530351"/>
              <a:gd name="connsiteY1005" fmla="*/ 3928511 h 6858285"/>
              <a:gd name="connsiteX1006" fmla="*/ 5008631 w 6530351"/>
              <a:gd name="connsiteY1006" fmla="*/ 3911411 h 6858285"/>
              <a:gd name="connsiteX1007" fmla="*/ 5037227 w 6530351"/>
              <a:gd name="connsiteY1007" fmla="*/ 3869611 h 6858285"/>
              <a:gd name="connsiteX1008" fmla="*/ 5376567 w 6530351"/>
              <a:gd name="connsiteY1008" fmla="*/ 3729011 h 6858285"/>
              <a:gd name="connsiteX1009" fmla="*/ 5394113 w 6530351"/>
              <a:gd name="connsiteY1009" fmla="*/ 3725656 h 6858285"/>
              <a:gd name="connsiteX1010" fmla="*/ 927631 w 6530351"/>
              <a:gd name="connsiteY1010" fmla="*/ 3725656 h 6858285"/>
              <a:gd name="connsiteX1011" fmla="*/ 968380 w 6530351"/>
              <a:gd name="connsiteY1011" fmla="*/ 3753711 h 6858285"/>
              <a:gd name="connsiteX1012" fmla="*/ 945503 w 6530351"/>
              <a:gd name="connsiteY1012" fmla="*/ 3812611 h 6858285"/>
              <a:gd name="connsiteX1013" fmla="*/ 604256 w 6530351"/>
              <a:gd name="connsiteY1013" fmla="*/ 3951311 h 6858285"/>
              <a:gd name="connsiteX1014" fmla="*/ 545157 w 6530351"/>
              <a:gd name="connsiteY1014" fmla="*/ 3928511 h 6858285"/>
              <a:gd name="connsiteX1015" fmla="*/ 541344 w 6530351"/>
              <a:gd name="connsiteY1015" fmla="*/ 3911411 h 6858285"/>
              <a:gd name="connsiteX1016" fmla="*/ 569940 w 6530351"/>
              <a:gd name="connsiteY1016" fmla="*/ 3869611 h 6858285"/>
              <a:gd name="connsiteX1017" fmla="*/ 909281 w 6530351"/>
              <a:gd name="connsiteY1017" fmla="*/ 3729011 h 6858285"/>
              <a:gd name="connsiteX1018" fmla="*/ 927631 w 6530351"/>
              <a:gd name="connsiteY1018" fmla="*/ 3725656 h 6858285"/>
              <a:gd name="connsiteX1019" fmla="*/ 4842671 w 6530351"/>
              <a:gd name="connsiteY1019" fmla="*/ 3718044 h 6858285"/>
              <a:gd name="connsiteX1020" fmla="*/ 4884791 w 6530351"/>
              <a:gd name="connsiteY1020" fmla="*/ 3749569 h 6858285"/>
              <a:gd name="connsiteX1021" fmla="*/ 4856173 w 6530351"/>
              <a:gd name="connsiteY1021" fmla="*/ 3810362 h 6858285"/>
              <a:gd name="connsiteX1022" fmla="*/ 4514687 w 6530351"/>
              <a:gd name="connsiteY1022" fmla="*/ 3933849 h 6858285"/>
              <a:gd name="connsiteX1023" fmla="*/ 4453639 w 6530351"/>
              <a:gd name="connsiteY1023" fmla="*/ 3905352 h 6858285"/>
              <a:gd name="connsiteX1024" fmla="*/ 4449823 w 6530351"/>
              <a:gd name="connsiteY1024" fmla="*/ 3890154 h 6858285"/>
              <a:gd name="connsiteX1025" fmla="*/ 4482255 w 6530351"/>
              <a:gd name="connsiteY1025" fmla="*/ 3844559 h 6858285"/>
              <a:gd name="connsiteX1026" fmla="*/ 4823743 w 6530351"/>
              <a:gd name="connsiteY1026" fmla="*/ 3721072 h 6858285"/>
              <a:gd name="connsiteX1027" fmla="*/ 4842671 w 6530351"/>
              <a:gd name="connsiteY1027" fmla="*/ 3718044 h 6858285"/>
              <a:gd name="connsiteX1028" fmla="*/ 1478630 w 6530351"/>
              <a:gd name="connsiteY1028" fmla="*/ 3718044 h 6858285"/>
              <a:gd name="connsiteX1029" fmla="*/ 1520866 w 6530351"/>
              <a:gd name="connsiteY1029" fmla="*/ 3749569 h 6858285"/>
              <a:gd name="connsiteX1030" fmla="*/ 1492352 w 6530351"/>
              <a:gd name="connsiteY1030" fmla="*/ 3810362 h 6858285"/>
              <a:gd name="connsiteX1031" fmla="*/ 1152084 w 6530351"/>
              <a:gd name="connsiteY1031" fmla="*/ 3933849 h 6858285"/>
              <a:gd name="connsiteX1032" fmla="*/ 1089353 w 6530351"/>
              <a:gd name="connsiteY1032" fmla="*/ 3905352 h 6858285"/>
              <a:gd name="connsiteX1033" fmla="*/ 1087452 w 6530351"/>
              <a:gd name="connsiteY1033" fmla="*/ 3890154 h 6858285"/>
              <a:gd name="connsiteX1034" fmla="*/ 1117867 w 6530351"/>
              <a:gd name="connsiteY1034" fmla="*/ 3844559 h 6858285"/>
              <a:gd name="connsiteX1035" fmla="*/ 1460036 w 6530351"/>
              <a:gd name="connsiteY1035" fmla="*/ 3721072 h 6858285"/>
              <a:gd name="connsiteX1036" fmla="*/ 1478630 w 6530351"/>
              <a:gd name="connsiteY1036" fmla="*/ 3718044 h 6858285"/>
              <a:gd name="connsiteX1037" fmla="*/ 4287785 w 6530351"/>
              <a:gd name="connsiteY1037" fmla="*/ 3710433 h 6858285"/>
              <a:gd name="connsiteX1038" fmla="*/ 4330739 w 6530351"/>
              <a:gd name="connsiteY1038" fmla="*/ 3745426 h 6858285"/>
              <a:gd name="connsiteX1039" fmla="*/ 4298285 w 6530351"/>
              <a:gd name="connsiteY1039" fmla="*/ 3810012 h 6858285"/>
              <a:gd name="connsiteX1040" fmla="*/ 3954657 w 6530351"/>
              <a:gd name="connsiteY1040" fmla="*/ 3916388 h 6858285"/>
              <a:gd name="connsiteX1041" fmla="*/ 3891659 w 6530351"/>
              <a:gd name="connsiteY1041" fmla="*/ 3884095 h 6858285"/>
              <a:gd name="connsiteX1042" fmla="*/ 3887839 w 6530351"/>
              <a:gd name="connsiteY1042" fmla="*/ 3868899 h 6858285"/>
              <a:gd name="connsiteX1043" fmla="*/ 3924111 w 6530351"/>
              <a:gd name="connsiteY1043" fmla="*/ 3819510 h 6858285"/>
              <a:gd name="connsiteX1044" fmla="*/ 4267741 w 6530351"/>
              <a:gd name="connsiteY1044" fmla="*/ 3713134 h 6858285"/>
              <a:gd name="connsiteX1045" fmla="*/ 4287785 w 6530351"/>
              <a:gd name="connsiteY1045" fmla="*/ 3710433 h 6858285"/>
              <a:gd name="connsiteX1046" fmla="*/ 2033497 w 6530351"/>
              <a:gd name="connsiteY1046" fmla="*/ 3710433 h 6858285"/>
              <a:gd name="connsiteX1047" fmla="*/ 2078361 w 6530351"/>
              <a:gd name="connsiteY1047" fmla="*/ 3745426 h 6858285"/>
              <a:gd name="connsiteX1048" fmla="*/ 2043974 w 6530351"/>
              <a:gd name="connsiteY1048" fmla="*/ 3810012 h 6858285"/>
              <a:gd name="connsiteX1049" fmla="*/ 1702011 w 6530351"/>
              <a:gd name="connsiteY1049" fmla="*/ 3916388 h 6858285"/>
              <a:gd name="connsiteX1050" fmla="*/ 1637057 w 6530351"/>
              <a:gd name="connsiteY1050" fmla="*/ 3884095 h 6858285"/>
              <a:gd name="connsiteX1051" fmla="*/ 1635147 w 6530351"/>
              <a:gd name="connsiteY1051" fmla="*/ 3868899 h 6858285"/>
              <a:gd name="connsiteX1052" fmla="*/ 1669534 w 6530351"/>
              <a:gd name="connsiteY1052" fmla="*/ 3819510 h 6858285"/>
              <a:gd name="connsiteX1053" fmla="*/ 2013408 w 6530351"/>
              <a:gd name="connsiteY1053" fmla="*/ 3713134 h 6858285"/>
              <a:gd name="connsiteX1054" fmla="*/ 2033497 w 6530351"/>
              <a:gd name="connsiteY1054" fmla="*/ 3710433 h 6858285"/>
              <a:gd name="connsiteX1055" fmla="*/ 3726993 w 6530351"/>
              <a:gd name="connsiteY1055" fmla="*/ 3702861 h 6858285"/>
              <a:gd name="connsiteX1056" fmla="*/ 3772267 w 6530351"/>
              <a:gd name="connsiteY1056" fmla="*/ 3743251 h 6858285"/>
              <a:gd name="connsiteX1057" fmla="*/ 3734167 w 6530351"/>
              <a:gd name="connsiteY1057" fmla="*/ 3807924 h 6858285"/>
              <a:gd name="connsiteX1058" fmla="*/ 3391263 w 6530351"/>
              <a:gd name="connsiteY1058" fmla="*/ 3899227 h 6858285"/>
              <a:gd name="connsiteX1059" fmla="*/ 3324587 w 6530351"/>
              <a:gd name="connsiteY1059" fmla="*/ 3861184 h 6858285"/>
              <a:gd name="connsiteX1060" fmla="*/ 3322682 w 6530351"/>
              <a:gd name="connsiteY1060" fmla="*/ 3847869 h 6858285"/>
              <a:gd name="connsiteX1061" fmla="*/ 3362688 w 6530351"/>
              <a:gd name="connsiteY1061" fmla="*/ 3796512 h 6858285"/>
              <a:gd name="connsiteX1062" fmla="*/ 3705593 w 6530351"/>
              <a:gd name="connsiteY1062" fmla="*/ 3705209 h 6858285"/>
              <a:gd name="connsiteX1063" fmla="*/ 3726993 w 6530351"/>
              <a:gd name="connsiteY1063" fmla="*/ 3702861 h 6858285"/>
              <a:gd name="connsiteX1064" fmla="*/ 2593320 w 6530351"/>
              <a:gd name="connsiteY1064" fmla="*/ 3702861 h 6858285"/>
              <a:gd name="connsiteX1065" fmla="*/ 2638751 w 6530351"/>
              <a:gd name="connsiteY1065" fmla="*/ 3743251 h 6858285"/>
              <a:gd name="connsiteX1066" fmla="*/ 2600519 w 6530351"/>
              <a:gd name="connsiteY1066" fmla="*/ 3807924 h 6858285"/>
              <a:gd name="connsiteX1067" fmla="*/ 2256423 w 6530351"/>
              <a:gd name="connsiteY1067" fmla="*/ 3899227 h 6858285"/>
              <a:gd name="connsiteX1068" fmla="*/ 2189516 w 6530351"/>
              <a:gd name="connsiteY1068" fmla="*/ 3861184 h 6858285"/>
              <a:gd name="connsiteX1069" fmla="*/ 2187604 w 6530351"/>
              <a:gd name="connsiteY1069" fmla="*/ 3847869 h 6858285"/>
              <a:gd name="connsiteX1070" fmla="*/ 2227748 w 6530351"/>
              <a:gd name="connsiteY1070" fmla="*/ 3796512 h 6858285"/>
              <a:gd name="connsiteX1071" fmla="*/ 2571844 w 6530351"/>
              <a:gd name="connsiteY1071" fmla="*/ 3705209 h 6858285"/>
              <a:gd name="connsiteX1072" fmla="*/ 2593320 w 6530351"/>
              <a:gd name="connsiteY1072" fmla="*/ 3702861 h 6858285"/>
              <a:gd name="connsiteX1073" fmla="*/ 3135570 w 6530351"/>
              <a:gd name="connsiteY1073" fmla="*/ 3696651 h 6858285"/>
              <a:gd name="connsiteX1074" fmla="*/ 3202337 w 6530351"/>
              <a:gd name="connsiteY1074" fmla="*/ 3740466 h 6858285"/>
              <a:gd name="connsiteX1075" fmla="*/ 3160369 w 6530351"/>
              <a:gd name="connsiteY1075" fmla="*/ 3809046 h 6858285"/>
              <a:gd name="connsiteX1076" fmla="*/ 2815087 w 6530351"/>
              <a:gd name="connsiteY1076" fmla="*/ 3883341 h 6858285"/>
              <a:gd name="connsiteX1077" fmla="*/ 2746412 w 6530351"/>
              <a:gd name="connsiteY1077" fmla="*/ 3841431 h 6858285"/>
              <a:gd name="connsiteX1078" fmla="*/ 2746412 w 6530351"/>
              <a:gd name="connsiteY1078" fmla="*/ 3828096 h 6858285"/>
              <a:gd name="connsiteX1079" fmla="*/ 2790288 w 6530351"/>
              <a:gd name="connsiteY1079" fmla="*/ 3772851 h 6858285"/>
              <a:gd name="connsiteX1080" fmla="*/ 3135570 w 6530351"/>
              <a:gd name="connsiteY1080" fmla="*/ 3696651 h 6858285"/>
              <a:gd name="connsiteX1081" fmla="*/ 6499363 w 6530351"/>
              <a:gd name="connsiteY1081" fmla="*/ 3418935 h 6858285"/>
              <a:gd name="connsiteX1082" fmla="*/ 6523141 w 6530351"/>
              <a:gd name="connsiteY1082" fmla="*/ 3438269 h 6858285"/>
              <a:gd name="connsiteX1083" fmla="*/ 6506021 w 6530351"/>
              <a:gd name="connsiteY1083" fmla="*/ 3491738 h 6858285"/>
              <a:gd name="connsiteX1084" fmla="*/ 6167435 w 6530351"/>
              <a:gd name="connsiteY1084" fmla="*/ 3663602 h 6858285"/>
              <a:gd name="connsiteX1085" fmla="*/ 6116077 w 6530351"/>
              <a:gd name="connsiteY1085" fmla="*/ 3648325 h 6858285"/>
              <a:gd name="connsiteX1086" fmla="*/ 6110371 w 6530351"/>
              <a:gd name="connsiteY1086" fmla="*/ 3629229 h 6858285"/>
              <a:gd name="connsiteX1087" fmla="*/ 6131293 w 6530351"/>
              <a:gd name="connsiteY1087" fmla="*/ 3594857 h 6858285"/>
              <a:gd name="connsiteX1088" fmla="*/ 6469879 w 6530351"/>
              <a:gd name="connsiteY1088" fmla="*/ 3421085 h 6858285"/>
              <a:gd name="connsiteX1089" fmla="*/ 6499363 w 6530351"/>
              <a:gd name="connsiteY1089" fmla="*/ 3418935 h 6858285"/>
              <a:gd name="connsiteX1090" fmla="*/ 5958981 w 6530351"/>
              <a:gd name="connsiteY1090" fmla="*/ 3413738 h 6858285"/>
              <a:gd name="connsiteX1091" fmla="*/ 5983341 w 6530351"/>
              <a:gd name="connsiteY1091" fmla="*/ 3435588 h 6858285"/>
              <a:gd name="connsiteX1092" fmla="*/ 5962323 w 6530351"/>
              <a:gd name="connsiteY1092" fmla="*/ 3492594 h 6858285"/>
              <a:gd name="connsiteX1093" fmla="*/ 5622229 w 6530351"/>
              <a:gd name="connsiteY1093" fmla="*/ 3646509 h 6858285"/>
              <a:gd name="connsiteX1094" fmla="*/ 5564909 w 6530351"/>
              <a:gd name="connsiteY1094" fmla="*/ 3625607 h 6858285"/>
              <a:gd name="connsiteX1095" fmla="*/ 5561087 w 6530351"/>
              <a:gd name="connsiteY1095" fmla="*/ 3608505 h 6858285"/>
              <a:gd name="connsiteX1096" fmla="*/ 5585927 w 6530351"/>
              <a:gd name="connsiteY1096" fmla="*/ 3568601 h 6858285"/>
              <a:gd name="connsiteX1097" fmla="*/ 5926021 w 6530351"/>
              <a:gd name="connsiteY1097" fmla="*/ 3414687 h 6858285"/>
              <a:gd name="connsiteX1098" fmla="*/ 5958981 w 6530351"/>
              <a:gd name="connsiteY1098" fmla="*/ 3413738 h 6858285"/>
              <a:gd name="connsiteX1099" fmla="*/ 398652 w 6530351"/>
              <a:gd name="connsiteY1099" fmla="*/ 3413736 h 6858285"/>
              <a:gd name="connsiteX1100" fmla="*/ 421971 w 6530351"/>
              <a:gd name="connsiteY1100" fmla="*/ 3435588 h 6858285"/>
              <a:gd name="connsiteX1101" fmla="*/ 401031 w 6530351"/>
              <a:gd name="connsiteY1101" fmla="*/ 3492594 h 6858285"/>
              <a:gd name="connsiteX1102" fmla="*/ 62187 w 6530351"/>
              <a:gd name="connsiteY1102" fmla="*/ 3646509 h 6858285"/>
              <a:gd name="connsiteX1103" fmla="*/ 6982 w 6530351"/>
              <a:gd name="connsiteY1103" fmla="*/ 3625607 h 6858285"/>
              <a:gd name="connsiteX1104" fmla="*/ 3175 w 6530351"/>
              <a:gd name="connsiteY1104" fmla="*/ 3608505 h 6858285"/>
              <a:gd name="connsiteX1105" fmla="*/ 27922 w 6530351"/>
              <a:gd name="connsiteY1105" fmla="*/ 3568601 h 6858285"/>
              <a:gd name="connsiteX1106" fmla="*/ 366766 w 6530351"/>
              <a:gd name="connsiteY1106" fmla="*/ 3414687 h 6858285"/>
              <a:gd name="connsiteX1107" fmla="*/ 398652 w 6530351"/>
              <a:gd name="connsiteY1107" fmla="*/ 3413736 h 6858285"/>
              <a:gd name="connsiteX1108" fmla="*/ 5394971 w 6530351"/>
              <a:gd name="connsiteY1108" fmla="*/ 3403425 h 6858285"/>
              <a:gd name="connsiteX1109" fmla="*/ 5437269 w 6530351"/>
              <a:gd name="connsiteY1109" fmla="*/ 3433348 h 6858285"/>
              <a:gd name="connsiteX1110" fmla="*/ 5410617 w 6530351"/>
              <a:gd name="connsiteY1110" fmla="*/ 3492248 h 6858285"/>
              <a:gd name="connsiteX1111" fmla="*/ 5069863 w 6530351"/>
              <a:gd name="connsiteY1111" fmla="*/ 3629048 h 6858285"/>
              <a:gd name="connsiteX1112" fmla="*/ 5010851 w 6530351"/>
              <a:gd name="connsiteY1112" fmla="*/ 3602448 h 6858285"/>
              <a:gd name="connsiteX1113" fmla="*/ 5007043 w 6530351"/>
              <a:gd name="connsiteY1113" fmla="*/ 3585348 h 6858285"/>
              <a:gd name="connsiteX1114" fmla="*/ 5037501 w 6530351"/>
              <a:gd name="connsiteY1114" fmla="*/ 3543548 h 6858285"/>
              <a:gd name="connsiteX1115" fmla="*/ 5376351 w 6530351"/>
              <a:gd name="connsiteY1115" fmla="*/ 3406750 h 6858285"/>
              <a:gd name="connsiteX1116" fmla="*/ 5394971 w 6530351"/>
              <a:gd name="connsiteY1116" fmla="*/ 3403425 h 6858285"/>
              <a:gd name="connsiteX1117" fmla="*/ 928451 w 6530351"/>
              <a:gd name="connsiteY1117" fmla="*/ 3403423 h 6858285"/>
              <a:gd name="connsiteX1118" fmla="*/ 969975 w 6530351"/>
              <a:gd name="connsiteY1118" fmla="*/ 3433348 h 6858285"/>
              <a:gd name="connsiteX1119" fmla="*/ 945210 w 6530351"/>
              <a:gd name="connsiteY1119" fmla="*/ 3492248 h 6858285"/>
              <a:gd name="connsiteX1120" fmla="*/ 604210 w 6530351"/>
              <a:gd name="connsiteY1120" fmla="*/ 3629048 h 6858285"/>
              <a:gd name="connsiteX1121" fmla="*/ 543249 w 6530351"/>
              <a:gd name="connsiteY1121" fmla="*/ 3602448 h 6858285"/>
              <a:gd name="connsiteX1122" fmla="*/ 541344 w 6530351"/>
              <a:gd name="connsiteY1122" fmla="*/ 3585348 h 6858285"/>
              <a:gd name="connsiteX1123" fmla="*/ 569919 w 6530351"/>
              <a:gd name="connsiteY1123" fmla="*/ 3543548 h 6858285"/>
              <a:gd name="connsiteX1124" fmla="*/ 910919 w 6530351"/>
              <a:gd name="connsiteY1124" fmla="*/ 3406748 h 6858285"/>
              <a:gd name="connsiteX1125" fmla="*/ 928451 w 6530351"/>
              <a:gd name="connsiteY1125" fmla="*/ 3403423 h 6858285"/>
              <a:gd name="connsiteX1126" fmla="*/ 4843491 w 6530351"/>
              <a:gd name="connsiteY1126" fmla="*/ 3396586 h 6858285"/>
              <a:gd name="connsiteX1127" fmla="*/ 4886385 w 6530351"/>
              <a:gd name="connsiteY1127" fmla="*/ 3428999 h 6858285"/>
              <a:gd name="connsiteX1128" fmla="*/ 4855883 w 6530351"/>
              <a:gd name="connsiteY1128" fmla="*/ 3491863 h 6858285"/>
              <a:gd name="connsiteX1129" fmla="*/ 4514641 w 6530351"/>
              <a:gd name="connsiteY1129" fmla="*/ 3609973 h 6858285"/>
              <a:gd name="connsiteX1130" fmla="*/ 4451729 w 6530351"/>
              <a:gd name="connsiteY1130" fmla="*/ 3579493 h 6858285"/>
              <a:gd name="connsiteX1131" fmla="*/ 4449823 w 6530351"/>
              <a:gd name="connsiteY1131" fmla="*/ 3564253 h 6858285"/>
              <a:gd name="connsiteX1132" fmla="*/ 4482231 w 6530351"/>
              <a:gd name="connsiteY1132" fmla="*/ 3518533 h 6858285"/>
              <a:gd name="connsiteX1133" fmla="*/ 4823475 w 6530351"/>
              <a:gd name="connsiteY1133" fmla="*/ 3398521 h 6858285"/>
              <a:gd name="connsiteX1134" fmla="*/ 4843491 w 6530351"/>
              <a:gd name="connsiteY1134" fmla="*/ 3396586 h 6858285"/>
              <a:gd name="connsiteX1135" fmla="*/ 1478780 w 6530351"/>
              <a:gd name="connsiteY1135" fmla="*/ 3396584 h 6858285"/>
              <a:gd name="connsiteX1136" fmla="*/ 1522745 w 6530351"/>
              <a:gd name="connsiteY1136" fmla="*/ 3428999 h 6858285"/>
              <a:gd name="connsiteX1137" fmla="*/ 1492243 w 6530351"/>
              <a:gd name="connsiteY1137" fmla="*/ 3491863 h 6858285"/>
              <a:gd name="connsiteX1138" fmla="*/ 1149094 w 6530351"/>
              <a:gd name="connsiteY1138" fmla="*/ 3609973 h 6858285"/>
              <a:gd name="connsiteX1139" fmla="*/ 1088090 w 6530351"/>
              <a:gd name="connsiteY1139" fmla="*/ 3579493 h 6858285"/>
              <a:gd name="connsiteX1140" fmla="*/ 1084277 w 6530351"/>
              <a:gd name="connsiteY1140" fmla="*/ 3564253 h 6858285"/>
              <a:gd name="connsiteX1141" fmla="*/ 1116686 w 6530351"/>
              <a:gd name="connsiteY1141" fmla="*/ 3518533 h 6858285"/>
              <a:gd name="connsiteX1142" fmla="*/ 1459835 w 6530351"/>
              <a:gd name="connsiteY1142" fmla="*/ 3398519 h 6858285"/>
              <a:gd name="connsiteX1143" fmla="*/ 1478780 w 6530351"/>
              <a:gd name="connsiteY1143" fmla="*/ 3396584 h 6858285"/>
              <a:gd name="connsiteX1144" fmla="*/ 4288643 w 6530351"/>
              <a:gd name="connsiteY1144" fmla="*/ 3390089 h 6858285"/>
              <a:gd name="connsiteX1145" fmla="*/ 4332339 w 6530351"/>
              <a:gd name="connsiteY1145" fmla="*/ 3426840 h 6858285"/>
              <a:gd name="connsiteX1146" fmla="*/ 4298025 w 6530351"/>
              <a:gd name="connsiteY1146" fmla="*/ 3491704 h 6858285"/>
              <a:gd name="connsiteX1147" fmla="*/ 3954881 w 6530351"/>
              <a:gd name="connsiteY1147" fmla="*/ 3592817 h 6858285"/>
              <a:gd name="connsiteX1148" fmla="*/ 3888159 w 6530351"/>
              <a:gd name="connsiteY1148" fmla="*/ 3556569 h 6858285"/>
              <a:gd name="connsiteX1149" fmla="*/ 3886251 w 6530351"/>
              <a:gd name="connsiteY1149" fmla="*/ 3541306 h 6858285"/>
              <a:gd name="connsiteX1150" fmla="*/ 3924379 w 6530351"/>
              <a:gd name="connsiteY1150" fmla="*/ 3491704 h 6858285"/>
              <a:gd name="connsiteX1151" fmla="*/ 4267523 w 6530351"/>
              <a:gd name="connsiteY1151" fmla="*/ 3392503 h 6858285"/>
              <a:gd name="connsiteX1152" fmla="*/ 4288643 w 6530351"/>
              <a:gd name="connsiteY1152" fmla="*/ 3390089 h 6858285"/>
              <a:gd name="connsiteX1153" fmla="*/ 2035427 w 6530351"/>
              <a:gd name="connsiteY1153" fmla="*/ 3390086 h 6858285"/>
              <a:gd name="connsiteX1154" fmla="*/ 2079959 w 6530351"/>
              <a:gd name="connsiteY1154" fmla="*/ 3426840 h 6858285"/>
              <a:gd name="connsiteX1155" fmla="*/ 2043713 w 6530351"/>
              <a:gd name="connsiteY1155" fmla="*/ 3491704 h 6858285"/>
              <a:gd name="connsiteX1156" fmla="*/ 1700328 w 6530351"/>
              <a:gd name="connsiteY1156" fmla="*/ 3592817 h 6858285"/>
              <a:gd name="connsiteX1157" fmla="*/ 1635467 w 6530351"/>
              <a:gd name="connsiteY1157" fmla="*/ 3556569 h 6858285"/>
              <a:gd name="connsiteX1158" fmla="*/ 1633559 w 6530351"/>
              <a:gd name="connsiteY1158" fmla="*/ 3541306 h 6858285"/>
              <a:gd name="connsiteX1159" fmla="*/ 1671713 w 6530351"/>
              <a:gd name="connsiteY1159" fmla="*/ 3491704 h 6858285"/>
              <a:gd name="connsiteX1160" fmla="*/ 2015098 w 6530351"/>
              <a:gd name="connsiteY1160" fmla="*/ 3392501 h 6858285"/>
              <a:gd name="connsiteX1161" fmla="*/ 2035427 w 6530351"/>
              <a:gd name="connsiteY1161" fmla="*/ 3390086 h 6858285"/>
              <a:gd name="connsiteX1162" fmla="*/ 3729547 w 6530351"/>
              <a:gd name="connsiteY1162" fmla="*/ 3384850 h 6858285"/>
              <a:gd name="connsiteX1163" fmla="*/ 3773841 w 6530351"/>
              <a:gd name="connsiteY1163" fmla="*/ 3427575 h 6858285"/>
              <a:gd name="connsiteX1164" fmla="*/ 3733751 w 6530351"/>
              <a:gd name="connsiteY1164" fmla="*/ 3494041 h 6858285"/>
              <a:gd name="connsiteX1165" fmla="*/ 3388230 w 6530351"/>
              <a:gd name="connsiteY1165" fmla="*/ 3575701 h 6858285"/>
              <a:gd name="connsiteX1166" fmla="*/ 3321416 w 6530351"/>
              <a:gd name="connsiteY1166" fmla="*/ 3533921 h 6858285"/>
              <a:gd name="connsiteX1167" fmla="*/ 3319507 w 6530351"/>
              <a:gd name="connsiteY1167" fmla="*/ 3520628 h 6858285"/>
              <a:gd name="connsiteX1168" fmla="*/ 3361504 w 6530351"/>
              <a:gd name="connsiteY1168" fmla="*/ 3465555 h 6858285"/>
              <a:gd name="connsiteX1169" fmla="*/ 3707027 w 6530351"/>
              <a:gd name="connsiteY1169" fmla="*/ 3385799 h 6858285"/>
              <a:gd name="connsiteX1170" fmla="*/ 3729547 w 6530351"/>
              <a:gd name="connsiteY1170" fmla="*/ 3384850 h 6858285"/>
              <a:gd name="connsiteX1171" fmla="*/ 2596056 w 6530351"/>
              <a:gd name="connsiteY1171" fmla="*/ 3384845 h 6858285"/>
              <a:gd name="connsiteX1172" fmla="*/ 2640350 w 6530351"/>
              <a:gd name="connsiteY1172" fmla="*/ 3427574 h 6858285"/>
              <a:gd name="connsiteX1173" fmla="*/ 2598353 w 6530351"/>
              <a:gd name="connsiteY1173" fmla="*/ 3494041 h 6858285"/>
              <a:gd name="connsiteX1174" fmla="*/ 2254740 w 6530351"/>
              <a:gd name="connsiteY1174" fmla="*/ 3575701 h 6858285"/>
              <a:gd name="connsiteX1175" fmla="*/ 2187926 w 6530351"/>
              <a:gd name="connsiteY1175" fmla="*/ 3533921 h 6858285"/>
              <a:gd name="connsiteX1176" fmla="*/ 2186017 w 6530351"/>
              <a:gd name="connsiteY1176" fmla="*/ 3520628 h 6858285"/>
              <a:gd name="connsiteX1177" fmla="*/ 2228014 w 6530351"/>
              <a:gd name="connsiteY1177" fmla="*/ 3465555 h 6858285"/>
              <a:gd name="connsiteX1178" fmla="*/ 2573536 w 6530351"/>
              <a:gd name="connsiteY1178" fmla="*/ 3385794 h 6858285"/>
              <a:gd name="connsiteX1179" fmla="*/ 2596056 w 6530351"/>
              <a:gd name="connsiteY1179" fmla="*/ 3384845 h 6858285"/>
              <a:gd name="connsiteX1180" fmla="*/ 3137310 w 6530351"/>
              <a:gd name="connsiteY1180" fmla="*/ 3377570 h 6858285"/>
              <a:gd name="connsiteX1181" fmla="*/ 3205845 w 6530351"/>
              <a:gd name="connsiteY1181" fmla="*/ 3425189 h 6858285"/>
              <a:gd name="connsiteX1182" fmla="*/ 3158251 w 6530351"/>
              <a:gd name="connsiteY1182" fmla="*/ 3493768 h 6858285"/>
              <a:gd name="connsiteX1183" fmla="*/ 2813675 w 6530351"/>
              <a:gd name="connsiteY1183" fmla="*/ 3556633 h 6858285"/>
              <a:gd name="connsiteX1184" fmla="*/ 2745141 w 6530351"/>
              <a:gd name="connsiteY1184" fmla="*/ 3509008 h 6858285"/>
              <a:gd name="connsiteX1185" fmla="*/ 2743237 w 6530351"/>
              <a:gd name="connsiteY1185" fmla="*/ 3497578 h 6858285"/>
              <a:gd name="connsiteX1186" fmla="*/ 2792734 w 6530351"/>
              <a:gd name="connsiteY1186" fmla="*/ 3440428 h 6858285"/>
              <a:gd name="connsiteX1187" fmla="*/ 3137310 w 6530351"/>
              <a:gd name="connsiteY1187" fmla="*/ 3377570 h 6858285"/>
              <a:gd name="connsiteX1188" fmla="*/ 6499125 w 6530351"/>
              <a:gd name="connsiteY1188" fmla="*/ 3095110 h 6858285"/>
              <a:gd name="connsiteX1189" fmla="*/ 6521239 w 6530351"/>
              <a:gd name="connsiteY1189" fmla="*/ 3114446 h 6858285"/>
              <a:gd name="connsiteX1190" fmla="*/ 6506021 w 6530351"/>
              <a:gd name="connsiteY1190" fmla="*/ 3167912 h 6858285"/>
              <a:gd name="connsiteX1191" fmla="*/ 6167435 w 6530351"/>
              <a:gd name="connsiteY1191" fmla="*/ 3341681 h 6858285"/>
              <a:gd name="connsiteX1192" fmla="*/ 6116077 w 6530351"/>
              <a:gd name="connsiteY1192" fmla="*/ 3326402 h 6858285"/>
              <a:gd name="connsiteX1193" fmla="*/ 6110371 w 6530351"/>
              <a:gd name="connsiteY1193" fmla="*/ 3307308 h 6858285"/>
              <a:gd name="connsiteX1194" fmla="*/ 6131293 w 6530351"/>
              <a:gd name="connsiteY1194" fmla="*/ 3272939 h 6858285"/>
              <a:gd name="connsiteX1195" fmla="*/ 6469879 w 6530351"/>
              <a:gd name="connsiteY1195" fmla="*/ 3097261 h 6858285"/>
              <a:gd name="connsiteX1196" fmla="*/ 6499125 w 6530351"/>
              <a:gd name="connsiteY1196" fmla="*/ 3095110 h 6858285"/>
              <a:gd name="connsiteX1197" fmla="*/ 5958981 w 6530351"/>
              <a:gd name="connsiteY1197" fmla="*/ 3091501 h 6858285"/>
              <a:gd name="connsiteX1198" fmla="*/ 5983341 w 6530351"/>
              <a:gd name="connsiteY1198" fmla="*/ 3113352 h 6858285"/>
              <a:gd name="connsiteX1199" fmla="*/ 5962323 w 6530351"/>
              <a:gd name="connsiteY1199" fmla="*/ 3170357 h 6858285"/>
              <a:gd name="connsiteX1200" fmla="*/ 5620319 w 6530351"/>
              <a:gd name="connsiteY1200" fmla="*/ 3324265 h 6858285"/>
              <a:gd name="connsiteX1201" fmla="*/ 5564909 w 6530351"/>
              <a:gd name="connsiteY1201" fmla="*/ 3301466 h 6858285"/>
              <a:gd name="connsiteX1202" fmla="*/ 5561087 w 6530351"/>
              <a:gd name="connsiteY1202" fmla="*/ 3284366 h 6858285"/>
              <a:gd name="connsiteX1203" fmla="*/ 5585927 w 6530351"/>
              <a:gd name="connsiteY1203" fmla="*/ 3246361 h 6858285"/>
              <a:gd name="connsiteX1204" fmla="*/ 5926021 w 6530351"/>
              <a:gd name="connsiteY1204" fmla="*/ 3092452 h 6858285"/>
              <a:gd name="connsiteX1205" fmla="*/ 5958981 w 6530351"/>
              <a:gd name="connsiteY1205" fmla="*/ 3091501 h 6858285"/>
              <a:gd name="connsiteX1206" fmla="*/ 399604 w 6530351"/>
              <a:gd name="connsiteY1206" fmla="*/ 3091489 h 6858285"/>
              <a:gd name="connsiteX1207" fmla="*/ 423875 w 6530351"/>
              <a:gd name="connsiteY1207" fmla="*/ 3113341 h 6858285"/>
              <a:gd name="connsiteX1208" fmla="*/ 401031 w 6530351"/>
              <a:gd name="connsiteY1208" fmla="*/ 3170346 h 6858285"/>
              <a:gd name="connsiteX1209" fmla="*/ 62187 w 6530351"/>
              <a:gd name="connsiteY1209" fmla="*/ 3324257 h 6858285"/>
              <a:gd name="connsiteX1210" fmla="*/ 6982 w 6530351"/>
              <a:gd name="connsiteY1210" fmla="*/ 3301458 h 6858285"/>
              <a:gd name="connsiteX1211" fmla="*/ 3175 w 6530351"/>
              <a:gd name="connsiteY1211" fmla="*/ 3284355 h 6858285"/>
              <a:gd name="connsiteX1212" fmla="*/ 27922 w 6530351"/>
              <a:gd name="connsiteY1212" fmla="*/ 3246351 h 6858285"/>
              <a:gd name="connsiteX1213" fmla="*/ 366766 w 6530351"/>
              <a:gd name="connsiteY1213" fmla="*/ 3092440 h 6858285"/>
              <a:gd name="connsiteX1214" fmla="*/ 399604 w 6530351"/>
              <a:gd name="connsiteY1214" fmla="*/ 3091489 h 6858285"/>
              <a:gd name="connsiteX1215" fmla="*/ 5376351 w 6530351"/>
              <a:gd name="connsiteY1215" fmla="*/ 3084221 h 6858285"/>
              <a:gd name="connsiteX1216" fmla="*/ 5437269 w 6530351"/>
              <a:gd name="connsiteY1216" fmla="*/ 3110889 h 6858285"/>
              <a:gd name="connsiteX1217" fmla="*/ 5410617 w 6530351"/>
              <a:gd name="connsiteY1217" fmla="*/ 3171849 h 6858285"/>
              <a:gd name="connsiteX1218" fmla="*/ 5069863 w 6530351"/>
              <a:gd name="connsiteY1218" fmla="*/ 3305194 h 6858285"/>
              <a:gd name="connsiteX1219" fmla="*/ 5010851 w 6530351"/>
              <a:gd name="connsiteY1219" fmla="*/ 3278527 h 6858285"/>
              <a:gd name="connsiteX1220" fmla="*/ 5007043 w 6530351"/>
              <a:gd name="connsiteY1220" fmla="*/ 3261383 h 6858285"/>
              <a:gd name="connsiteX1221" fmla="*/ 5037501 w 6530351"/>
              <a:gd name="connsiteY1221" fmla="*/ 3217569 h 6858285"/>
              <a:gd name="connsiteX1222" fmla="*/ 5376351 w 6530351"/>
              <a:gd name="connsiteY1222" fmla="*/ 3084221 h 6858285"/>
              <a:gd name="connsiteX1223" fmla="*/ 910969 w 6530351"/>
              <a:gd name="connsiteY1223" fmla="*/ 3084205 h 6858285"/>
              <a:gd name="connsiteX1224" fmla="*/ 969983 w 6530351"/>
              <a:gd name="connsiteY1224" fmla="*/ 3110874 h 6858285"/>
              <a:gd name="connsiteX1225" fmla="*/ 945235 w 6530351"/>
              <a:gd name="connsiteY1225" fmla="*/ 3171835 h 6858285"/>
              <a:gd name="connsiteX1226" fmla="*/ 604481 w 6530351"/>
              <a:gd name="connsiteY1226" fmla="*/ 3305182 h 6858285"/>
              <a:gd name="connsiteX1227" fmla="*/ 543564 w 6530351"/>
              <a:gd name="connsiteY1227" fmla="*/ 3278513 h 6858285"/>
              <a:gd name="connsiteX1228" fmla="*/ 539757 w 6530351"/>
              <a:gd name="connsiteY1228" fmla="*/ 3261369 h 6858285"/>
              <a:gd name="connsiteX1229" fmla="*/ 570215 w 6530351"/>
              <a:gd name="connsiteY1229" fmla="*/ 3217554 h 6858285"/>
              <a:gd name="connsiteX1230" fmla="*/ 910969 w 6530351"/>
              <a:gd name="connsiteY1230" fmla="*/ 3084205 h 6858285"/>
              <a:gd name="connsiteX1231" fmla="*/ 4845165 w 6530351"/>
              <a:gd name="connsiteY1231" fmla="*/ 3075490 h 6858285"/>
              <a:gd name="connsiteX1232" fmla="*/ 4888295 w 6530351"/>
              <a:gd name="connsiteY1232" fmla="*/ 3110630 h 6858285"/>
              <a:gd name="connsiteX1233" fmla="*/ 4855911 w 6530351"/>
              <a:gd name="connsiteY1233" fmla="*/ 3173582 h 6858285"/>
              <a:gd name="connsiteX1234" fmla="*/ 4514911 w 6530351"/>
              <a:gd name="connsiteY1234" fmla="*/ 3286132 h 6858285"/>
              <a:gd name="connsiteX1235" fmla="*/ 4450141 w 6530351"/>
              <a:gd name="connsiteY1235" fmla="*/ 3253702 h 6858285"/>
              <a:gd name="connsiteX1236" fmla="*/ 4448235 w 6530351"/>
              <a:gd name="connsiteY1236" fmla="*/ 3238438 h 6858285"/>
              <a:gd name="connsiteX1237" fmla="*/ 4482525 w 6530351"/>
              <a:gd name="connsiteY1237" fmla="*/ 3190752 h 6858285"/>
              <a:gd name="connsiteX1238" fmla="*/ 4825431 w 6530351"/>
              <a:gd name="connsiteY1238" fmla="*/ 3078201 h 6858285"/>
              <a:gd name="connsiteX1239" fmla="*/ 4845165 w 6530351"/>
              <a:gd name="connsiteY1239" fmla="*/ 3075490 h 6858285"/>
              <a:gd name="connsiteX1240" fmla="*/ 1479607 w 6530351"/>
              <a:gd name="connsiteY1240" fmla="*/ 3075472 h 6858285"/>
              <a:gd name="connsiteX1241" fmla="*/ 1522440 w 6530351"/>
              <a:gd name="connsiteY1241" fmla="*/ 3110614 h 6858285"/>
              <a:gd name="connsiteX1242" fmla="*/ 1491981 w 6530351"/>
              <a:gd name="connsiteY1242" fmla="*/ 3173568 h 6858285"/>
              <a:gd name="connsiteX1243" fmla="*/ 1149318 w 6530351"/>
              <a:gd name="connsiteY1243" fmla="*/ 3286117 h 6858285"/>
              <a:gd name="connsiteX1244" fmla="*/ 1086496 w 6530351"/>
              <a:gd name="connsiteY1244" fmla="*/ 3253688 h 6858285"/>
              <a:gd name="connsiteX1245" fmla="*/ 1082689 w 6530351"/>
              <a:gd name="connsiteY1245" fmla="*/ 3238426 h 6858285"/>
              <a:gd name="connsiteX1246" fmla="*/ 1118859 w 6530351"/>
              <a:gd name="connsiteY1246" fmla="*/ 3190736 h 6858285"/>
              <a:gd name="connsiteX1247" fmla="*/ 1459618 w 6530351"/>
              <a:gd name="connsiteY1247" fmla="*/ 3078184 h 6858285"/>
              <a:gd name="connsiteX1248" fmla="*/ 1479607 w 6530351"/>
              <a:gd name="connsiteY1248" fmla="*/ 3075472 h 6858285"/>
              <a:gd name="connsiteX1249" fmla="*/ 4290303 w 6530351"/>
              <a:gd name="connsiteY1249" fmla="*/ 3070230 h 6858285"/>
              <a:gd name="connsiteX1250" fmla="*/ 4333941 w 6530351"/>
              <a:gd name="connsiteY1250" fmla="*/ 3109551 h 6858285"/>
              <a:gd name="connsiteX1251" fmla="*/ 4295867 w 6530351"/>
              <a:gd name="connsiteY1251" fmla="*/ 3176122 h 6858285"/>
              <a:gd name="connsiteX1252" fmla="*/ 3953199 w 6530351"/>
              <a:gd name="connsiteY1252" fmla="*/ 3267426 h 6858285"/>
              <a:gd name="connsiteX1253" fmla="*/ 3886569 w 6530351"/>
              <a:gd name="connsiteY1253" fmla="*/ 3229382 h 6858285"/>
              <a:gd name="connsiteX1254" fmla="*/ 3884665 w 6530351"/>
              <a:gd name="connsiteY1254" fmla="*/ 3216071 h 6858285"/>
              <a:gd name="connsiteX1255" fmla="*/ 3924643 w 6530351"/>
              <a:gd name="connsiteY1255" fmla="*/ 3164714 h 6858285"/>
              <a:gd name="connsiteX1256" fmla="*/ 4269215 w 6530351"/>
              <a:gd name="connsiteY1256" fmla="*/ 3071510 h 6858285"/>
              <a:gd name="connsiteX1257" fmla="*/ 4290303 w 6530351"/>
              <a:gd name="connsiteY1257" fmla="*/ 3070230 h 6858285"/>
              <a:gd name="connsiteX1258" fmla="*/ 2036284 w 6530351"/>
              <a:gd name="connsiteY1258" fmla="*/ 3070212 h 6858285"/>
              <a:gd name="connsiteX1259" fmla="*/ 2081558 w 6530351"/>
              <a:gd name="connsiteY1259" fmla="*/ 3109532 h 6858285"/>
              <a:gd name="connsiteX1260" fmla="*/ 2043457 w 6530351"/>
              <a:gd name="connsiteY1260" fmla="*/ 3176106 h 6858285"/>
              <a:gd name="connsiteX1261" fmla="*/ 1700553 w 6530351"/>
              <a:gd name="connsiteY1261" fmla="*/ 3267409 h 6858285"/>
              <a:gd name="connsiteX1262" fmla="*/ 1633877 w 6530351"/>
              <a:gd name="connsiteY1262" fmla="*/ 3229366 h 6858285"/>
              <a:gd name="connsiteX1263" fmla="*/ 1631972 w 6530351"/>
              <a:gd name="connsiteY1263" fmla="*/ 3216051 h 6858285"/>
              <a:gd name="connsiteX1264" fmla="*/ 1671978 w 6530351"/>
              <a:gd name="connsiteY1264" fmla="*/ 3164695 h 6858285"/>
              <a:gd name="connsiteX1265" fmla="*/ 2014882 w 6530351"/>
              <a:gd name="connsiteY1265" fmla="*/ 3071490 h 6858285"/>
              <a:gd name="connsiteX1266" fmla="*/ 2036284 w 6530351"/>
              <a:gd name="connsiteY1266" fmla="*/ 3070212 h 6858285"/>
              <a:gd name="connsiteX1267" fmla="*/ 3731235 w 6530351"/>
              <a:gd name="connsiteY1267" fmla="*/ 3064526 h 6858285"/>
              <a:gd name="connsiteX1268" fmla="*/ 3777345 w 6530351"/>
              <a:gd name="connsiteY1268" fmla="*/ 3109067 h 6858285"/>
              <a:gd name="connsiteX1269" fmla="*/ 3731593 w 6530351"/>
              <a:gd name="connsiteY1269" fmla="*/ 3177757 h 6858285"/>
              <a:gd name="connsiteX1270" fmla="*/ 3386548 w 6530351"/>
              <a:gd name="connsiteY1270" fmla="*/ 3250258 h 6858285"/>
              <a:gd name="connsiteX1271" fmla="*/ 3317920 w 6530351"/>
              <a:gd name="connsiteY1271" fmla="*/ 3204467 h 6858285"/>
              <a:gd name="connsiteX1272" fmla="*/ 3317920 w 6530351"/>
              <a:gd name="connsiteY1272" fmla="*/ 3193018 h 6858285"/>
              <a:gd name="connsiteX1273" fmla="*/ 3363672 w 6530351"/>
              <a:gd name="connsiteY1273" fmla="*/ 3135781 h 6858285"/>
              <a:gd name="connsiteX1274" fmla="*/ 3708717 w 6530351"/>
              <a:gd name="connsiteY1274" fmla="*/ 3065182 h 6858285"/>
              <a:gd name="connsiteX1275" fmla="*/ 3731235 w 6530351"/>
              <a:gd name="connsiteY1275" fmla="*/ 3064526 h 6858285"/>
              <a:gd name="connsiteX1276" fmla="*/ 2597745 w 6530351"/>
              <a:gd name="connsiteY1276" fmla="*/ 3064505 h 6858285"/>
              <a:gd name="connsiteX1277" fmla="*/ 2643854 w 6530351"/>
              <a:gd name="connsiteY1277" fmla="*/ 3109046 h 6858285"/>
              <a:gd name="connsiteX1278" fmla="*/ 2598102 w 6530351"/>
              <a:gd name="connsiteY1278" fmla="*/ 3177737 h 6858285"/>
              <a:gd name="connsiteX1279" fmla="*/ 2253057 w 6530351"/>
              <a:gd name="connsiteY1279" fmla="*/ 3250241 h 6858285"/>
              <a:gd name="connsiteX1280" fmla="*/ 2184429 w 6530351"/>
              <a:gd name="connsiteY1280" fmla="*/ 3204449 h 6858285"/>
              <a:gd name="connsiteX1281" fmla="*/ 2184429 w 6530351"/>
              <a:gd name="connsiteY1281" fmla="*/ 3193000 h 6858285"/>
              <a:gd name="connsiteX1282" fmla="*/ 2230181 w 6530351"/>
              <a:gd name="connsiteY1282" fmla="*/ 3135760 h 6858285"/>
              <a:gd name="connsiteX1283" fmla="*/ 2575226 w 6530351"/>
              <a:gd name="connsiteY1283" fmla="*/ 3065161 h 6858285"/>
              <a:gd name="connsiteX1284" fmla="*/ 2597745 w 6530351"/>
              <a:gd name="connsiteY1284" fmla="*/ 3064505 h 6858285"/>
              <a:gd name="connsiteX1285" fmla="*/ 3138997 w 6530351"/>
              <a:gd name="connsiteY1285" fmla="*/ 3058185 h 6858285"/>
              <a:gd name="connsiteX1286" fmla="*/ 3209341 w 6530351"/>
              <a:gd name="connsiteY1286" fmla="*/ 3111524 h 6858285"/>
              <a:gd name="connsiteX1287" fmla="*/ 3156107 w 6530351"/>
              <a:gd name="connsiteY1287" fmla="*/ 3180105 h 6858285"/>
              <a:gd name="connsiteX1288" fmla="*/ 2811993 w 6530351"/>
              <a:gd name="connsiteY1288" fmla="*/ 3231532 h 6858285"/>
              <a:gd name="connsiteX1289" fmla="*/ 2741649 w 6530351"/>
              <a:gd name="connsiteY1289" fmla="*/ 3180105 h 6858285"/>
              <a:gd name="connsiteX1290" fmla="*/ 2741649 w 6530351"/>
              <a:gd name="connsiteY1290" fmla="*/ 3170578 h 6858285"/>
              <a:gd name="connsiteX1291" fmla="*/ 2792981 w 6530351"/>
              <a:gd name="connsiteY1291" fmla="*/ 3109621 h 6858285"/>
              <a:gd name="connsiteX1292" fmla="*/ 3138997 w 6530351"/>
              <a:gd name="connsiteY1292" fmla="*/ 3058185 h 6858285"/>
              <a:gd name="connsiteX1293" fmla="*/ 6499417 w 6530351"/>
              <a:gd name="connsiteY1293" fmla="*/ 2774395 h 6858285"/>
              <a:gd name="connsiteX1294" fmla="*/ 6521545 w 6530351"/>
              <a:gd name="connsiteY1294" fmla="*/ 2793610 h 6858285"/>
              <a:gd name="connsiteX1295" fmla="*/ 6506317 w 6530351"/>
              <a:gd name="connsiteY1295" fmla="*/ 2844860 h 6858285"/>
              <a:gd name="connsiteX1296" fmla="*/ 6167477 w 6530351"/>
              <a:gd name="connsiteY1296" fmla="*/ 3019485 h 6858285"/>
              <a:gd name="connsiteX1297" fmla="*/ 6116081 w 6530351"/>
              <a:gd name="connsiteY1297" fmla="*/ 3002403 h 6858285"/>
              <a:gd name="connsiteX1298" fmla="*/ 6110371 w 6530351"/>
              <a:gd name="connsiteY1298" fmla="*/ 2985319 h 6858285"/>
              <a:gd name="connsiteX1299" fmla="*/ 6131309 w 6530351"/>
              <a:gd name="connsiteY1299" fmla="*/ 2951155 h 6858285"/>
              <a:gd name="connsiteX1300" fmla="*/ 6470149 w 6530351"/>
              <a:gd name="connsiteY1300" fmla="*/ 2776528 h 6858285"/>
              <a:gd name="connsiteX1301" fmla="*/ 6499417 w 6530351"/>
              <a:gd name="connsiteY1301" fmla="*/ 2774395 h 6858285"/>
              <a:gd name="connsiteX1302" fmla="*/ 5959697 w 6530351"/>
              <a:gd name="connsiteY1302" fmla="*/ 2769251 h 6858285"/>
              <a:gd name="connsiteX1303" fmla="*/ 5983341 w 6530351"/>
              <a:gd name="connsiteY1303" fmla="*/ 2791128 h 6858285"/>
              <a:gd name="connsiteX1304" fmla="*/ 5962323 w 6530351"/>
              <a:gd name="connsiteY1304" fmla="*/ 2848205 h 6858285"/>
              <a:gd name="connsiteX1305" fmla="*/ 5620319 w 6530351"/>
              <a:gd name="connsiteY1305" fmla="*/ 3000413 h 6858285"/>
              <a:gd name="connsiteX1306" fmla="*/ 5564909 w 6530351"/>
              <a:gd name="connsiteY1306" fmla="*/ 2979484 h 6858285"/>
              <a:gd name="connsiteX1307" fmla="*/ 5561087 w 6530351"/>
              <a:gd name="connsiteY1307" fmla="*/ 2960461 h 6858285"/>
              <a:gd name="connsiteX1308" fmla="*/ 5585927 w 6530351"/>
              <a:gd name="connsiteY1308" fmla="*/ 2922407 h 6858285"/>
              <a:gd name="connsiteX1309" fmla="*/ 5926021 w 6530351"/>
              <a:gd name="connsiteY1309" fmla="*/ 2770203 h 6858285"/>
              <a:gd name="connsiteX1310" fmla="*/ 5959697 w 6530351"/>
              <a:gd name="connsiteY1310" fmla="*/ 2769251 h 6858285"/>
              <a:gd name="connsiteX1311" fmla="*/ 399604 w 6530351"/>
              <a:gd name="connsiteY1311" fmla="*/ 2769236 h 6858285"/>
              <a:gd name="connsiteX1312" fmla="*/ 423875 w 6530351"/>
              <a:gd name="connsiteY1312" fmla="*/ 2791116 h 6858285"/>
              <a:gd name="connsiteX1313" fmla="*/ 401031 w 6530351"/>
              <a:gd name="connsiteY1313" fmla="*/ 2848194 h 6858285"/>
              <a:gd name="connsiteX1314" fmla="*/ 62187 w 6530351"/>
              <a:gd name="connsiteY1314" fmla="*/ 3000399 h 6858285"/>
              <a:gd name="connsiteX1315" fmla="*/ 6982 w 6530351"/>
              <a:gd name="connsiteY1315" fmla="*/ 2979471 h 6858285"/>
              <a:gd name="connsiteX1316" fmla="*/ 3175 w 6530351"/>
              <a:gd name="connsiteY1316" fmla="*/ 2960446 h 6858285"/>
              <a:gd name="connsiteX1317" fmla="*/ 27922 w 6530351"/>
              <a:gd name="connsiteY1317" fmla="*/ 2922394 h 6858285"/>
              <a:gd name="connsiteX1318" fmla="*/ 366766 w 6530351"/>
              <a:gd name="connsiteY1318" fmla="*/ 2770189 h 6858285"/>
              <a:gd name="connsiteX1319" fmla="*/ 399604 w 6530351"/>
              <a:gd name="connsiteY1319" fmla="*/ 2769236 h 6858285"/>
              <a:gd name="connsiteX1320" fmla="*/ 5396043 w 6530351"/>
              <a:gd name="connsiteY1320" fmla="*/ 2760541 h 6858285"/>
              <a:gd name="connsiteX1321" fmla="*/ 5437269 w 6530351"/>
              <a:gd name="connsiteY1321" fmla="*/ 2790581 h 6858285"/>
              <a:gd name="connsiteX1322" fmla="*/ 5410617 w 6530351"/>
              <a:gd name="connsiteY1322" fmla="*/ 2851623 h 6858285"/>
              <a:gd name="connsiteX1323" fmla="*/ 5069863 w 6530351"/>
              <a:gd name="connsiteY1323" fmla="*/ 2981339 h 6858285"/>
              <a:gd name="connsiteX1324" fmla="*/ 5008947 w 6530351"/>
              <a:gd name="connsiteY1324" fmla="*/ 2954633 h 6858285"/>
              <a:gd name="connsiteX1325" fmla="*/ 5007043 w 6530351"/>
              <a:gd name="connsiteY1325" fmla="*/ 2937464 h 6858285"/>
              <a:gd name="connsiteX1326" fmla="*/ 5037501 w 6530351"/>
              <a:gd name="connsiteY1326" fmla="*/ 2893591 h 6858285"/>
              <a:gd name="connsiteX1327" fmla="*/ 5378255 w 6530351"/>
              <a:gd name="connsiteY1327" fmla="*/ 2763877 h 6858285"/>
              <a:gd name="connsiteX1328" fmla="*/ 5396043 w 6530351"/>
              <a:gd name="connsiteY1328" fmla="*/ 2760541 h 6858285"/>
              <a:gd name="connsiteX1329" fmla="*/ 930712 w 6530351"/>
              <a:gd name="connsiteY1329" fmla="*/ 2760523 h 6858285"/>
              <a:gd name="connsiteX1330" fmla="*/ 973130 w 6530351"/>
              <a:gd name="connsiteY1330" fmla="*/ 2790565 h 6858285"/>
              <a:gd name="connsiteX1331" fmla="*/ 946402 w 6530351"/>
              <a:gd name="connsiteY1331" fmla="*/ 2851609 h 6858285"/>
              <a:gd name="connsiteX1332" fmla="*/ 604668 w 6530351"/>
              <a:gd name="connsiteY1332" fmla="*/ 2981323 h 6858285"/>
              <a:gd name="connsiteX1333" fmla="*/ 543575 w 6530351"/>
              <a:gd name="connsiteY1333" fmla="*/ 2954616 h 6858285"/>
              <a:gd name="connsiteX1334" fmla="*/ 539757 w 6530351"/>
              <a:gd name="connsiteY1334" fmla="*/ 2937448 h 6858285"/>
              <a:gd name="connsiteX1335" fmla="*/ 570303 w 6530351"/>
              <a:gd name="connsiteY1335" fmla="*/ 2893575 h 6858285"/>
              <a:gd name="connsiteX1336" fmla="*/ 912038 w 6530351"/>
              <a:gd name="connsiteY1336" fmla="*/ 2763862 h 6858285"/>
              <a:gd name="connsiteX1337" fmla="*/ 930712 w 6530351"/>
              <a:gd name="connsiteY1337" fmla="*/ 2760523 h 6858285"/>
              <a:gd name="connsiteX1338" fmla="*/ 4845219 w 6530351"/>
              <a:gd name="connsiteY1338" fmla="*/ 2755581 h 6858285"/>
              <a:gd name="connsiteX1339" fmla="*/ 4889895 w 6530351"/>
              <a:gd name="connsiteY1339" fmla="*/ 2791423 h 6858285"/>
              <a:gd name="connsiteX1340" fmla="*/ 4855653 w 6530351"/>
              <a:gd name="connsiteY1340" fmla="*/ 2856101 h 6858285"/>
              <a:gd name="connsiteX1341" fmla="*/ 4513231 w 6530351"/>
              <a:gd name="connsiteY1341" fmla="*/ 2962630 h 6858285"/>
              <a:gd name="connsiteX1342" fmla="*/ 4448551 w 6530351"/>
              <a:gd name="connsiteY1342" fmla="*/ 2928389 h 6858285"/>
              <a:gd name="connsiteX1343" fmla="*/ 4446647 w 6530351"/>
              <a:gd name="connsiteY1343" fmla="*/ 2913171 h 6858285"/>
              <a:gd name="connsiteX1344" fmla="*/ 4482793 w 6530351"/>
              <a:gd name="connsiteY1344" fmla="*/ 2863710 h 6858285"/>
              <a:gd name="connsiteX1345" fmla="*/ 4825215 w 6530351"/>
              <a:gd name="connsiteY1345" fmla="*/ 2757187 h 6858285"/>
              <a:gd name="connsiteX1346" fmla="*/ 4845219 w 6530351"/>
              <a:gd name="connsiteY1346" fmla="*/ 2755581 h 6858285"/>
              <a:gd name="connsiteX1347" fmla="*/ 1482634 w 6530351"/>
              <a:gd name="connsiteY1347" fmla="*/ 2755562 h 6858285"/>
              <a:gd name="connsiteX1348" fmla="*/ 1525588 w 6530351"/>
              <a:gd name="connsiteY1348" fmla="*/ 2791407 h 6858285"/>
              <a:gd name="connsiteX1349" fmla="*/ 1493134 w 6530351"/>
              <a:gd name="connsiteY1349" fmla="*/ 2856085 h 6858285"/>
              <a:gd name="connsiteX1350" fmla="*/ 1149506 w 6530351"/>
              <a:gd name="connsiteY1350" fmla="*/ 2962612 h 6858285"/>
              <a:gd name="connsiteX1351" fmla="*/ 1084598 w 6530351"/>
              <a:gd name="connsiteY1351" fmla="*/ 2928370 h 6858285"/>
              <a:gd name="connsiteX1352" fmla="*/ 1082689 w 6530351"/>
              <a:gd name="connsiteY1352" fmla="*/ 2913153 h 6858285"/>
              <a:gd name="connsiteX1353" fmla="*/ 1118961 w 6530351"/>
              <a:gd name="connsiteY1353" fmla="*/ 2863693 h 6858285"/>
              <a:gd name="connsiteX1354" fmla="*/ 1462589 w 6530351"/>
              <a:gd name="connsiteY1354" fmla="*/ 2757168 h 6858285"/>
              <a:gd name="connsiteX1355" fmla="*/ 1482634 w 6530351"/>
              <a:gd name="connsiteY1355" fmla="*/ 2755562 h 6858285"/>
              <a:gd name="connsiteX1356" fmla="*/ 4291673 w 6530351"/>
              <a:gd name="connsiteY1356" fmla="*/ 2750396 h 6858285"/>
              <a:gd name="connsiteX1357" fmla="*/ 4335845 w 6530351"/>
              <a:gd name="connsiteY1357" fmla="*/ 2792582 h 6858285"/>
              <a:gd name="connsiteX1358" fmla="*/ 4295867 w 6530351"/>
              <a:gd name="connsiteY1358" fmla="*/ 2859465 h 6858285"/>
              <a:gd name="connsiteX1359" fmla="*/ 3953199 w 6530351"/>
              <a:gd name="connsiteY1359" fmla="*/ 2943545 h 6858285"/>
              <a:gd name="connsiteX1360" fmla="*/ 3884665 w 6530351"/>
              <a:gd name="connsiteY1360" fmla="*/ 2901507 h 6858285"/>
              <a:gd name="connsiteX1361" fmla="*/ 3884665 w 6530351"/>
              <a:gd name="connsiteY1361" fmla="*/ 2888131 h 6858285"/>
              <a:gd name="connsiteX1362" fmla="*/ 3926547 w 6530351"/>
              <a:gd name="connsiteY1362" fmla="*/ 2834624 h 6858285"/>
              <a:gd name="connsiteX1363" fmla="*/ 4269215 w 6530351"/>
              <a:gd name="connsiteY1363" fmla="*/ 2750546 h 6858285"/>
              <a:gd name="connsiteX1364" fmla="*/ 4291673 w 6530351"/>
              <a:gd name="connsiteY1364" fmla="*/ 2750396 h 6858285"/>
              <a:gd name="connsiteX1365" fmla="*/ 2037944 w 6530351"/>
              <a:gd name="connsiteY1365" fmla="*/ 2750376 h 6858285"/>
              <a:gd name="connsiteX1366" fmla="*/ 2083155 w 6530351"/>
              <a:gd name="connsiteY1366" fmla="*/ 2792565 h 6858285"/>
              <a:gd name="connsiteX1367" fmla="*/ 2043205 w 6530351"/>
              <a:gd name="connsiteY1367" fmla="*/ 2859446 h 6858285"/>
              <a:gd name="connsiteX1368" fmla="*/ 1698870 w 6530351"/>
              <a:gd name="connsiteY1368" fmla="*/ 2943524 h 6858285"/>
              <a:gd name="connsiteX1369" fmla="*/ 1632286 w 6530351"/>
              <a:gd name="connsiteY1369" fmla="*/ 2901486 h 6858285"/>
              <a:gd name="connsiteX1370" fmla="*/ 1630384 w 6530351"/>
              <a:gd name="connsiteY1370" fmla="*/ 2888109 h 6858285"/>
              <a:gd name="connsiteX1371" fmla="*/ 1672237 w 6530351"/>
              <a:gd name="connsiteY1371" fmla="*/ 2834604 h 6858285"/>
              <a:gd name="connsiteX1372" fmla="*/ 2016571 w 6530351"/>
              <a:gd name="connsiteY1372" fmla="*/ 2750526 h 6858285"/>
              <a:gd name="connsiteX1373" fmla="*/ 2037944 w 6530351"/>
              <a:gd name="connsiteY1373" fmla="*/ 2750376 h 6858285"/>
              <a:gd name="connsiteX1374" fmla="*/ 3710455 w 6530351"/>
              <a:gd name="connsiteY1374" fmla="*/ 2745765 h 6858285"/>
              <a:gd name="connsiteX1375" fmla="*/ 3778943 w 6530351"/>
              <a:gd name="connsiteY1375" fmla="*/ 2795292 h 6858285"/>
              <a:gd name="connsiteX1376" fmla="*/ 3731383 w 6530351"/>
              <a:gd name="connsiteY1376" fmla="*/ 2863875 h 6858285"/>
              <a:gd name="connsiteX1377" fmla="*/ 3385136 w 6530351"/>
              <a:gd name="connsiteY1377" fmla="*/ 2924837 h 6858285"/>
              <a:gd name="connsiteX1378" fmla="*/ 3316647 w 6530351"/>
              <a:gd name="connsiteY1378" fmla="*/ 2875305 h 6858285"/>
              <a:gd name="connsiteX1379" fmla="*/ 3314745 w 6530351"/>
              <a:gd name="connsiteY1379" fmla="*/ 2865779 h 6858285"/>
              <a:gd name="connsiteX1380" fmla="*/ 3364209 w 6530351"/>
              <a:gd name="connsiteY1380" fmla="*/ 2806724 h 6858285"/>
              <a:gd name="connsiteX1381" fmla="*/ 3710455 w 6530351"/>
              <a:gd name="connsiteY1381" fmla="*/ 2745765 h 6858285"/>
              <a:gd name="connsiteX1382" fmla="*/ 2576964 w 6530351"/>
              <a:gd name="connsiteY1382" fmla="*/ 2745743 h 6858285"/>
              <a:gd name="connsiteX1383" fmla="*/ 2645453 w 6530351"/>
              <a:gd name="connsiteY1383" fmla="*/ 2795273 h 6858285"/>
              <a:gd name="connsiteX1384" fmla="*/ 2595989 w 6530351"/>
              <a:gd name="connsiteY1384" fmla="*/ 2863852 h 6858285"/>
              <a:gd name="connsiteX1385" fmla="*/ 2251645 w 6530351"/>
              <a:gd name="connsiteY1385" fmla="*/ 2924813 h 6858285"/>
              <a:gd name="connsiteX1386" fmla="*/ 2183156 w 6530351"/>
              <a:gd name="connsiteY1386" fmla="*/ 2875282 h 6858285"/>
              <a:gd name="connsiteX1387" fmla="*/ 2181254 w 6530351"/>
              <a:gd name="connsiteY1387" fmla="*/ 2865758 h 6858285"/>
              <a:gd name="connsiteX1388" fmla="*/ 2230718 w 6530351"/>
              <a:gd name="connsiteY1388" fmla="*/ 2806703 h 6858285"/>
              <a:gd name="connsiteX1389" fmla="*/ 2576964 w 6530351"/>
              <a:gd name="connsiteY1389" fmla="*/ 2745743 h 6858285"/>
              <a:gd name="connsiteX1390" fmla="*/ 3140484 w 6530351"/>
              <a:gd name="connsiteY1390" fmla="*/ 2739127 h 6858285"/>
              <a:gd name="connsiteX1391" fmla="*/ 3210923 w 6530351"/>
              <a:gd name="connsiteY1391" fmla="*/ 2796693 h 6858285"/>
              <a:gd name="connsiteX1392" fmla="*/ 3153811 w 6530351"/>
              <a:gd name="connsiteY1392" fmla="*/ 2867695 h 6858285"/>
              <a:gd name="connsiteX1393" fmla="*/ 2807326 w 6530351"/>
              <a:gd name="connsiteY1393" fmla="*/ 2906076 h 6858285"/>
              <a:gd name="connsiteX1394" fmla="*/ 2736887 w 6530351"/>
              <a:gd name="connsiteY1394" fmla="*/ 2848505 h 6858285"/>
              <a:gd name="connsiteX1395" fmla="*/ 2736887 w 6530351"/>
              <a:gd name="connsiteY1395" fmla="*/ 2840828 h 6858285"/>
              <a:gd name="connsiteX1396" fmla="*/ 2794000 w 6530351"/>
              <a:gd name="connsiteY1396" fmla="*/ 2777505 h 6858285"/>
              <a:gd name="connsiteX1397" fmla="*/ 3140484 w 6530351"/>
              <a:gd name="connsiteY1397" fmla="*/ 2739127 h 6858285"/>
              <a:gd name="connsiteX1398" fmla="*/ 6499393 w 6530351"/>
              <a:gd name="connsiteY1398" fmla="*/ 2450537 h 6858285"/>
              <a:gd name="connsiteX1399" fmla="*/ 6521539 w 6530351"/>
              <a:gd name="connsiteY1399" fmla="*/ 2469736 h 6858285"/>
              <a:gd name="connsiteX1400" fmla="*/ 6506299 w 6530351"/>
              <a:gd name="connsiteY1400" fmla="*/ 2520927 h 6858285"/>
              <a:gd name="connsiteX1401" fmla="*/ 6167203 w 6530351"/>
              <a:gd name="connsiteY1401" fmla="*/ 2697229 h 6858285"/>
              <a:gd name="connsiteX1402" fmla="*/ 6115769 w 6530351"/>
              <a:gd name="connsiteY1402" fmla="*/ 2680166 h 6858285"/>
              <a:gd name="connsiteX1403" fmla="*/ 6111959 w 6530351"/>
              <a:gd name="connsiteY1403" fmla="*/ 2663100 h 6858285"/>
              <a:gd name="connsiteX1404" fmla="*/ 6131009 w 6530351"/>
              <a:gd name="connsiteY1404" fmla="*/ 2628979 h 6858285"/>
              <a:gd name="connsiteX1405" fmla="*/ 6470103 w 6530351"/>
              <a:gd name="connsiteY1405" fmla="*/ 2452670 h 6858285"/>
              <a:gd name="connsiteX1406" fmla="*/ 6499393 w 6530351"/>
              <a:gd name="connsiteY1406" fmla="*/ 2450537 h 6858285"/>
              <a:gd name="connsiteX1407" fmla="*/ 5959697 w 6530351"/>
              <a:gd name="connsiteY1407" fmla="*/ 2446989 h 6858285"/>
              <a:gd name="connsiteX1408" fmla="*/ 5983341 w 6530351"/>
              <a:gd name="connsiteY1408" fmla="*/ 2468876 h 6858285"/>
              <a:gd name="connsiteX1409" fmla="*/ 5962323 w 6530351"/>
              <a:gd name="connsiteY1409" fmla="*/ 2525955 h 6858285"/>
              <a:gd name="connsiteX1410" fmla="*/ 5620319 w 6530351"/>
              <a:gd name="connsiteY1410" fmla="*/ 2676242 h 6858285"/>
              <a:gd name="connsiteX1411" fmla="*/ 5564909 w 6530351"/>
              <a:gd name="connsiteY1411" fmla="*/ 2655316 h 6858285"/>
              <a:gd name="connsiteX1412" fmla="*/ 5561087 w 6530351"/>
              <a:gd name="connsiteY1412" fmla="*/ 2638194 h 6858285"/>
              <a:gd name="connsiteX1413" fmla="*/ 5585927 w 6530351"/>
              <a:gd name="connsiteY1413" fmla="*/ 2598244 h 6858285"/>
              <a:gd name="connsiteX1414" fmla="*/ 5926021 w 6530351"/>
              <a:gd name="connsiteY1414" fmla="*/ 2447940 h 6858285"/>
              <a:gd name="connsiteX1415" fmla="*/ 5959697 w 6530351"/>
              <a:gd name="connsiteY1415" fmla="*/ 2446989 h 6858285"/>
              <a:gd name="connsiteX1416" fmla="*/ 399505 w 6530351"/>
              <a:gd name="connsiteY1416" fmla="*/ 2446974 h 6858285"/>
              <a:gd name="connsiteX1417" fmla="*/ 423847 w 6530351"/>
              <a:gd name="connsiteY1417" fmla="*/ 2468859 h 6858285"/>
              <a:gd name="connsiteX1418" fmla="*/ 400936 w 6530351"/>
              <a:gd name="connsiteY1418" fmla="*/ 2525937 h 6858285"/>
              <a:gd name="connsiteX1419" fmla="*/ 61095 w 6530351"/>
              <a:gd name="connsiteY1419" fmla="*/ 2676233 h 6858285"/>
              <a:gd name="connsiteX1420" fmla="*/ 3818 w 6530351"/>
              <a:gd name="connsiteY1420" fmla="*/ 2655306 h 6858285"/>
              <a:gd name="connsiteX1421" fmla="*/ 0 w 6530351"/>
              <a:gd name="connsiteY1421" fmla="*/ 2638182 h 6858285"/>
              <a:gd name="connsiteX1422" fmla="*/ 26729 w 6530351"/>
              <a:gd name="connsiteY1422" fmla="*/ 2598228 h 6858285"/>
              <a:gd name="connsiteX1423" fmla="*/ 366570 w 6530351"/>
              <a:gd name="connsiteY1423" fmla="*/ 2447925 h 6858285"/>
              <a:gd name="connsiteX1424" fmla="*/ 399505 w 6530351"/>
              <a:gd name="connsiteY1424" fmla="*/ 2446974 h 6858285"/>
              <a:gd name="connsiteX1425" fmla="*/ 5396633 w 6530351"/>
              <a:gd name="connsiteY1425" fmla="*/ 2440126 h 6858285"/>
              <a:gd name="connsiteX1426" fmla="*/ 5438869 w 6530351"/>
              <a:gd name="connsiteY1426" fmla="*/ 2471616 h 6858285"/>
              <a:gd name="connsiteX1427" fmla="*/ 5410355 w 6530351"/>
              <a:gd name="connsiteY1427" fmla="*/ 2532335 h 6858285"/>
              <a:gd name="connsiteX1428" fmla="*/ 5070087 w 6530351"/>
              <a:gd name="connsiteY1428" fmla="*/ 2657533 h 6858285"/>
              <a:gd name="connsiteX1429" fmla="*/ 5009257 w 6530351"/>
              <a:gd name="connsiteY1429" fmla="*/ 2629079 h 6858285"/>
              <a:gd name="connsiteX1430" fmla="*/ 5005455 w 6530351"/>
              <a:gd name="connsiteY1430" fmla="*/ 2613902 h 6858285"/>
              <a:gd name="connsiteX1431" fmla="*/ 5037771 w 6530351"/>
              <a:gd name="connsiteY1431" fmla="*/ 2568377 h 6858285"/>
              <a:gd name="connsiteX1432" fmla="*/ 5378039 w 6530351"/>
              <a:gd name="connsiteY1432" fmla="*/ 2443151 h 6858285"/>
              <a:gd name="connsiteX1433" fmla="*/ 5396633 w 6530351"/>
              <a:gd name="connsiteY1433" fmla="*/ 2440126 h 6858285"/>
              <a:gd name="connsiteX1434" fmla="*/ 930712 w 6530351"/>
              <a:gd name="connsiteY1434" fmla="*/ 2440109 h 6858285"/>
              <a:gd name="connsiteX1435" fmla="*/ 973130 w 6530351"/>
              <a:gd name="connsiteY1435" fmla="*/ 2471595 h 6858285"/>
              <a:gd name="connsiteX1436" fmla="*/ 944493 w 6530351"/>
              <a:gd name="connsiteY1436" fmla="*/ 2532310 h 6858285"/>
              <a:gd name="connsiteX1437" fmla="*/ 602758 w 6530351"/>
              <a:gd name="connsiteY1437" fmla="*/ 2657520 h 6858285"/>
              <a:gd name="connsiteX1438" fmla="*/ 541666 w 6530351"/>
              <a:gd name="connsiteY1438" fmla="*/ 2629065 h 6858285"/>
              <a:gd name="connsiteX1439" fmla="*/ 539757 w 6530351"/>
              <a:gd name="connsiteY1439" fmla="*/ 2613887 h 6858285"/>
              <a:gd name="connsiteX1440" fmla="*/ 570303 w 6530351"/>
              <a:gd name="connsiteY1440" fmla="*/ 2568357 h 6858285"/>
              <a:gd name="connsiteX1441" fmla="*/ 912038 w 6530351"/>
              <a:gd name="connsiteY1441" fmla="*/ 2443134 h 6858285"/>
              <a:gd name="connsiteX1442" fmla="*/ 930712 w 6530351"/>
              <a:gd name="connsiteY1442" fmla="*/ 2440109 h 6858285"/>
              <a:gd name="connsiteX1443" fmla="*/ 4847413 w 6530351"/>
              <a:gd name="connsiteY1443" fmla="*/ 2434954 h 6858285"/>
              <a:gd name="connsiteX1444" fmla="*/ 4891141 w 6530351"/>
              <a:gd name="connsiteY1444" fmla="*/ 2472786 h 6858285"/>
              <a:gd name="connsiteX1445" fmla="*/ 4856803 w 6530351"/>
              <a:gd name="connsiteY1445" fmla="*/ 2537659 h 6858285"/>
              <a:gd name="connsiteX1446" fmla="*/ 4513417 w 6530351"/>
              <a:gd name="connsiteY1446" fmla="*/ 2638754 h 6858285"/>
              <a:gd name="connsiteX1447" fmla="*/ 4448555 w 6530351"/>
              <a:gd name="connsiteY1447" fmla="*/ 2602511 h 6858285"/>
              <a:gd name="connsiteX1448" fmla="*/ 4446647 w 6530351"/>
              <a:gd name="connsiteY1448" fmla="*/ 2587251 h 6858285"/>
              <a:gd name="connsiteX1449" fmla="*/ 4482895 w 6530351"/>
              <a:gd name="connsiteY1449" fmla="*/ 2537659 h 6858285"/>
              <a:gd name="connsiteX1450" fmla="*/ 4826279 w 6530351"/>
              <a:gd name="connsiteY1450" fmla="*/ 2436532 h 6858285"/>
              <a:gd name="connsiteX1451" fmla="*/ 4847413 w 6530351"/>
              <a:gd name="connsiteY1451" fmla="*/ 2434954 h 6858285"/>
              <a:gd name="connsiteX1452" fmla="*/ 1482970 w 6530351"/>
              <a:gd name="connsiteY1452" fmla="*/ 2434934 h 6858285"/>
              <a:gd name="connsiteX1453" fmla="*/ 1527502 w 6530351"/>
              <a:gd name="connsiteY1453" fmla="*/ 2472764 h 6858285"/>
              <a:gd name="connsiteX1454" fmla="*/ 1491256 w 6530351"/>
              <a:gd name="connsiteY1454" fmla="*/ 2537631 h 6858285"/>
              <a:gd name="connsiteX1455" fmla="*/ 1147871 w 6530351"/>
              <a:gd name="connsiteY1455" fmla="*/ 2638738 h 6858285"/>
              <a:gd name="connsiteX1456" fmla="*/ 1083010 w 6530351"/>
              <a:gd name="connsiteY1456" fmla="*/ 2602491 h 6858285"/>
              <a:gd name="connsiteX1457" fmla="*/ 1081102 w 6530351"/>
              <a:gd name="connsiteY1457" fmla="*/ 2587229 h 6858285"/>
              <a:gd name="connsiteX1458" fmla="*/ 1119256 w 6530351"/>
              <a:gd name="connsiteY1458" fmla="*/ 2537631 h 6858285"/>
              <a:gd name="connsiteX1459" fmla="*/ 1462641 w 6530351"/>
              <a:gd name="connsiteY1459" fmla="*/ 2436514 h 6858285"/>
              <a:gd name="connsiteX1460" fmla="*/ 1482970 w 6530351"/>
              <a:gd name="connsiteY1460" fmla="*/ 2434934 h 6858285"/>
              <a:gd name="connsiteX1461" fmla="*/ 4270903 w 6530351"/>
              <a:gd name="connsiteY1461" fmla="*/ 2431440 h 6858285"/>
              <a:gd name="connsiteX1462" fmla="*/ 4339343 w 6530351"/>
              <a:gd name="connsiteY1462" fmla="*/ 2475259 h 6858285"/>
              <a:gd name="connsiteX1463" fmla="*/ 4295617 w 6530351"/>
              <a:gd name="connsiteY1463" fmla="*/ 2543850 h 6858285"/>
              <a:gd name="connsiteX1464" fmla="*/ 3951517 w 6530351"/>
              <a:gd name="connsiteY1464" fmla="*/ 2618129 h 6858285"/>
              <a:gd name="connsiteX1465" fmla="*/ 3883077 w 6530351"/>
              <a:gd name="connsiteY1465" fmla="*/ 2574325 h 6858285"/>
              <a:gd name="connsiteX1466" fmla="*/ 3883077 w 6530351"/>
              <a:gd name="connsiteY1466" fmla="*/ 2562897 h 6858285"/>
              <a:gd name="connsiteX1467" fmla="*/ 3926803 w 6530351"/>
              <a:gd name="connsiteY1467" fmla="*/ 2507652 h 6858285"/>
              <a:gd name="connsiteX1468" fmla="*/ 4270903 w 6530351"/>
              <a:gd name="connsiteY1468" fmla="*/ 2431440 h 6858285"/>
              <a:gd name="connsiteX1469" fmla="*/ 2016623 w 6530351"/>
              <a:gd name="connsiteY1469" fmla="*/ 2431420 h 6858285"/>
              <a:gd name="connsiteX1470" fmla="*/ 2085063 w 6530351"/>
              <a:gd name="connsiteY1470" fmla="*/ 2475236 h 6858285"/>
              <a:gd name="connsiteX1471" fmla="*/ 2041337 w 6530351"/>
              <a:gd name="connsiteY1471" fmla="*/ 2543819 h 6858285"/>
              <a:gd name="connsiteX1472" fmla="*/ 1697237 w 6530351"/>
              <a:gd name="connsiteY1472" fmla="*/ 2618110 h 6858285"/>
              <a:gd name="connsiteX1473" fmla="*/ 1630698 w 6530351"/>
              <a:gd name="connsiteY1473" fmla="*/ 2574297 h 6858285"/>
              <a:gd name="connsiteX1474" fmla="*/ 1628797 w 6530351"/>
              <a:gd name="connsiteY1474" fmla="*/ 2562869 h 6858285"/>
              <a:gd name="connsiteX1475" fmla="*/ 1674424 w 6530351"/>
              <a:gd name="connsiteY1475" fmla="*/ 2507623 h 6858285"/>
              <a:gd name="connsiteX1476" fmla="*/ 2016623 w 6530351"/>
              <a:gd name="connsiteY1476" fmla="*/ 2431420 h 6858285"/>
              <a:gd name="connsiteX1477" fmla="*/ 2799526 w 6530351"/>
              <a:gd name="connsiteY1477" fmla="*/ 2428900 h 6858285"/>
              <a:gd name="connsiteX1478" fmla="*/ 3148596 w 6530351"/>
              <a:gd name="connsiteY1478" fmla="*/ 2428900 h 6858285"/>
              <a:gd name="connsiteX1479" fmla="*/ 3221081 w 6530351"/>
              <a:gd name="connsiteY1479" fmla="*/ 2499556 h 6858285"/>
              <a:gd name="connsiteX1480" fmla="*/ 3148596 w 6530351"/>
              <a:gd name="connsiteY1480" fmla="*/ 2570198 h 6858285"/>
              <a:gd name="connsiteX1481" fmla="*/ 2799526 w 6530351"/>
              <a:gd name="connsiteY1481" fmla="*/ 2570198 h 6858285"/>
              <a:gd name="connsiteX1482" fmla="*/ 2728949 w 6530351"/>
              <a:gd name="connsiteY1482" fmla="*/ 2499556 h 6858285"/>
              <a:gd name="connsiteX1483" fmla="*/ 2799526 w 6530351"/>
              <a:gd name="connsiteY1483" fmla="*/ 2428900 h 6858285"/>
              <a:gd name="connsiteX1484" fmla="*/ 3713481 w 6530351"/>
              <a:gd name="connsiteY1484" fmla="*/ 2424773 h 6858285"/>
              <a:gd name="connsiteX1485" fmla="*/ 3782107 w 6530351"/>
              <a:gd name="connsiteY1485" fmla="*/ 2478118 h 6858285"/>
              <a:gd name="connsiteX1486" fmla="*/ 3730637 w 6530351"/>
              <a:gd name="connsiteY1486" fmla="*/ 2546706 h 6858285"/>
              <a:gd name="connsiteX1487" fmla="*/ 3383690 w 6530351"/>
              <a:gd name="connsiteY1487" fmla="*/ 2598127 h 6858285"/>
              <a:gd name="connsiteX1488" fmla="*/ 3315063 w 6530351"/>
              <a:gd name="connsiteY1488" fmla="*/ 2546706 h 6858285"/>
              <a:gd name="connsiteX1489" fmla="*/ 3313157 w 6530351"/>
              <a:gd name="connsiteY1489" fmla="*/ 2537183 h 6858285"/>
              <a:gd name="connsiteX1490" fmla="*/ 3366533 w 6530351"/>
              <a:gd name="connsiteY1490" fmla="*/ 2476213 h 6858285"/>
              <a:gd name="connsiteX1491" fmla="*/ 3713481 w 6530351"/>
              <a:gd name="connsiteY1491" fmla="*/ 2424773 h 6858285"/>
              <a:gd name="connsiteX1492" fmla="*/ 2578402 w 6530351"/>
              <a:gd name="connsiteY1492" fmla="*/ 2424750 h 6858285"/>
              <a:gd name="connsiteX1493" fmla="*/ 2647029 w 6530351"/>
              <a:gd name="connsiteY1493" fmla="*/ 2478093 h 6858285"/>
              <a:gd name="connsiteX1494" fmla="*/ 2595559 w 6530351"/>
              <a:gd name="connsiteY1494" fmla="*/ 2546673 h 6858285"/>
              <a:gd name="connsiteX1495" fmla="*/ 2248612 w 6530351"/>
              <a:gd name="connsiteY1495" fmla="*/ 2598105 h 6858285"/>
              <a:gd name="connsiteX1496" fmla="*/ 2179985 w 6530351"/>
              <a:gd name="connsiteY1496" fmla="*/ 2546673 h 6858285"/>
              <a:gd name="connsiteX1497" fmla="*/ 2178079 w 6530351"/>
              <a:gd name="connsiteY1497" fmla="*/ 2537148 h 6858285"/>
              <a:gd name="connsiteX1498" fmla="*/ 2231455 w 6530351"/>
              <a:gd name="connsiteY1498" fmla="*/ 2476187 h 6858285"/>
              <a:gd name="connsiteX1499" fmla="*/ 2578402 w 6530351"/>
              <a:gd name="connsiteY1499" fmla="*/ 2424750 h 6858285"/>
              <a:gd name="connsiteX1500" fmla="*/ 6500049 w 6530351"/>
              <a:gd name="connsiteY1500" fmla="*/ 2128300 h 6858285"/>
              <a:gd name="connsiteX1501" fmla="*/ 6522179 w 6530351"/>
              <a:gd name="connsiteY1501" fmla="*/ 2147616 h 6858285"/>
              <a:gd name="connsiteX1502" fmla="*/ 6527889 w 6530351"/>
              <a:gd name="connsiteY1502" fmla="*/ 2164783 h 6858285"/>
              <a:gd name="connsiteX1503" fmla="*/ 6506949 w 6530351"/>
              <a:gd name="connsiteY1503" fmla="*/ 2199112 h 6858285"/>
              <a:gd name="connsiteX1504" fmla="*/ 6168111 w 6530351"/>
              <a:gd name="connsiteY1504" fmla="*/ 2374577 h 6858285"/>
              <a:gd name="connsiteX1505" fmla="*/ 6116713 w 6530351"/>
              <a:gd name="connsiteY1505" fmla="*/ 2359320 h 6858285"/>
              <a:gd name="connsiteX1506" fmla="*/ 6131943 w 6530351"/>
              <a:gd name="connsiteY1506" fmla="*/ 2305905 h 6858285"/>
              <a:gd name="connsiteX1507" fmla="*/ 6470781 w 6530351"/>
              <a:gd name="connsiteY1507" fmla="*/ 2130447 h 6858285"/>
              <a:gd name="connsiteX1508" fmla="*/ 6500049 w 6530351"/>
              <a:gd name="connsiteY1508" fmla="*/ 2128300 h 6858285"/>
              <a:gd name="connsiteX1509" fmla="*/ 5959179 w 6530351"/>
              <a:gd name="connsiteY1509" fmla="*/ 2123124 h 6858285"/>
              <a:gd name="connsiteX1510" fmla="*/ 5982737 w 6530351"/>
              <a:gd name="connsiteY1510" fmla="*/ 2145006 h 6858285"/>
              <a:gd name="connsiteX1511" fmla="*/ 5986543 w 6530351"/>
              <a:gd name="connsiteY1511" fmla="*/ 2164031 h 6858285"/>
              <a:gd name="connsiteX1512" fmla="*/ 5961797 w 6530351"/>
              <a:gd name="connsiteY1512" fmla="*/ 2202083 h 6858285"/>
              <a:gd name="connsiteX1513" fmla="*/ 5621049 w 6530351"/>
              <a:gd name="connsiteY1513" fmla="*/ 2354284 h 6858285"/>
              <a:gd name="connsiteX1514" fmla="*/ 5565845 w 6530351"/>
              <a:gd name="connsiteY1514" fmla="*/ 2333356 h 6858285"/>
              <a:gd name="connsiteX1515" fmla="*/ 5586783 w 6530351"/>
              <a:gd name="connsiteY1515" fmla="*/ 2276277 h 6858285"/>
              <a:gd name="connsiteX1516" fmla="*/ 5925629 w 6530351"/>
              <a:gd name="connsiteY1516" fmla="*/ 2124073 h 6858285"/>
              <a:gd name="connsiteX1517" fmla="*/ 5959179 w 6530351"/>
              <a:gd name="connsiteY1517" fmla="*/ 2123124 h 6858285"/>
              <a:gd name="connsiteX1518" fmla="*/ 398985 w 6530351"/>
              <a:gd name="connsiteY1518" fmla="*/ 2123120 h 6858285"/>
              <a:gd name="connsiteX1519" fmla="*/ 423239 w 6530351"/>
              <a:gd name="connsiteY1519" fmla="*/ 2145003 h 6858285"/>
              <a:gd name="connsiteX1520" fmla="*/ 427043 w 6530351"/>
              <a:gd name="connsiteY1520" fmla="*/ 2164030 h 6858285"/>
              <a:gd name="connsiteX1521" fmla="*/ 402314 w 6530351"/>
              <a:gd name="connsiteY1521" fmla="*/ 2202079 h 6858285"/>
              <a:gd name="connsiteX1522" fmla="*/ 61815 w 6530351"/>
              <a:gd name="connsiteY1522" fmla="*/ 2354282 h 6858285"/>
              <a:gd name="connsiteX1523" fmla="*/ 6650 w 6530351"/>
              <a:gd name="connsiteY1523" fmla="*/ 2333354 h 6858285"/>
              <a:gd name="connsiteX1524" fmla="*/ 27575 w 6530351"/>
              <a:gd name="connsiteY1524" fmla="*/ 2276277 h 6858285"/>
              <a:gd name="connsiteX1525" fmla="*/ 366172 w 6530351"/>
              <a:gd name="connsiteY1525" fmla="*/ 2124071 h 6858285"/>
              <a:gd name="connsiteX1526" fmla="*/ 398985 w 6530351"/>
              <a:gd name="connsiteY1526" fmla="*/ 2123120 h 6858285"/>
              <a:gd name="connsiteX1527" fmla="*/ 5396861 w 6530351"/>
              <a:gd name="connsiteY1527" fmla="*/ 2116224 h 6858285"/>
              <a:gd name="connsiteX1528" fmla="*/ 5438205 w 6530351"/>
              <a:gd name="connsiteY1528" fmla="*/ 2145799 h 6858285"/>
              <a:gd name="connsiteX1529" fmla="*/ 5442023 w 6530351"/>
              <a:gd name="connsiteY1529" fmla="*/ 2162853 h 6858285"/>
              <a:gd name="connsiteX1530" fmla="*/ 5411477 w 6530351"/>
              <a:gd name="connsiteY1530" fmla="*/ 2206431 h 6858285"/>
              <a:gd name="connsiteX1531" fmla="*/ 5069743 w 6530351"/>
              <a:gd name="connsiteY1531" fmla="*/ 2335273 h 6858285"/>
              <a:gd name="connsiteX1532" fmla="*/ 5008651 w 6530351"/>
              <a:gd name="connsiteY1532" fmla="*/ 2308740 h 6858285"/>
              <a:gd name="connsiteX1533" fmla="*/ 5037287 w 6530351"/>
              <a:gd name="connsiteY1533" fmla="*/ 2248114 h 6858285"/>
              <a:gd name="connsiteX1534" fmla="*/ 5379023 w 6530351"/>
              <a:gd name="connsiteY1534" fmla="*/ 2119273 h 6858285"/>
              <a:gd name="connsiteX1535" fmla="*/ 5396861 w 6530351"/>
              <a:gd name="connsiteY1535" fmla="*/ 2116224 h 6858285"/>
              <a:gd name="connsiteX1536" fmla="*/ 930378 w 6530351"/>
              <a:gd name="connsiteY1536" fmla="*/ 2116219 h 6858285"/>
              <a:gd name="connsiteX1537" fmla="*/ 972827 w 6530351"/>
              <a:gd name="connsiteY1537" fmla="*/ 2145797 h 6858285"/>
              <a:gd name="connsiteX1538" fmla="*/ 974738 w 6530351"/>
              <a:gd name="connsiteY1538" fmla="*/ 2162851 h 6858285"/>
              <a:gd name="connsiteX1539" fmla="*/ 944170 w 6530351"/>
              <a:gd name="connsiteY1539" fmla="*/ 2206429 h 6858285"/>
              <a:gd name="connsiteX1540" fmla="*/ 602186 w 6530351"/>
              <a:gd name="connsiteY1540" fmla="*/ 2335271 h 6858285"/>
              <a:gd name="connsiteX1541" fmla="*/ 542960 w 6530351"/>
              <a:gd name="connsiteY1541" fmla="*/ 2308740 h 6858285"/>
              <a:gd name="connsiteX1542" fmla="*/ 569707 w 6530351"/>
              <a:gd name="connsiteY1542" fmla="*/ 2248111 h 6858285"/>
              <a:gd name="connsiteX1543" fmla="*/ 911691 w 6530351"/>
              <a:gd name="connsiteY1543" fmla="*/ 2119271 h 6858285"/>
              <a:gd name="connsiteX1544" fmla="*/ 930378 w 6530351"/>
              <a:gd name="connsiteY1544" fmla="*/ 2116219 h 6858285"/>
              <a:gd name="connsiteX1545" fmla="*/ 4846001 w 6530351"/>
              <a:gd name="connsiteY1545" fmla="*/ 2110276 h 6858285"/>
              <a:gd name="connsiteX1546" fmla="*/ 4890833 w 6530351"/>
              <a:gd name="connsiteY1546" fmla="*/ 2147137 h 6858285"/>
              <a:gd name="connsiteX1547" fmla="*/ 4892743 w 6530351"/>
              <a:gd name="connsiteY1547" fmla="*/ 2162335 h 6858285"/>
              <a:gd name="connsiteX1548" fmla="*/ 4856471 w 6530351"/>
              <a:gd name="connsiteY1548" fmla="*/ 2209823 h 6858285"/>
              <a:gd name="connsiteX1549" fmla="*/ 4512841 w 6530351"/>
              <a:gd name="connsiteY1549" fmla="*/ 2316194 h 6858285"/>
              <a:gd name="connsiteX1550" fmla="*/ 4449843 w 6530351"/>
              <a:gd name="connsiteY1550" fmla="*/ 2283894 h 6858285"/>
              <a:gd name="connsiteX1551" fmla="*/ 4482297 w 6530351"/>
              <a:gd name="connsiteY1551" fmla="*/ 2219319 h 6858285"/>
              <a:gd name="connsiteX1552" fmla="*/ 4825925 w 6530351"/>
              <a:gd name="connsiteY1552" fmla="*/ 2112946 h 6858285"/>
              <a:gd name="connsiteX1553" fmla="*/ 4846001 w 6530351"/>
              <a:gd name="connsiteY1553" fmla="*/ 2110276 h 6858285"/>
              <a:gd name="connsiteX1554" fmla="*/ 1482460 w 6530351"/>
              <a:gd name="connsiteY1554" fmla="*/ 2110273 h 6858285"/>
              <a:gd name="connsiteX1555" fmla="*/ 1525292 w 6530351"/>
              <a:gd name="connsiteY1555" fmla="*/ 2147134 h 6858285"/>
              <a:gd name="connsiteX1556" fmla="*/ 1527196 w 6530351"/>
              <a:gd name="connsiteY1556" fmla="*/ 2162332 h 6858285"/>
              <a:gd name="connsiteX1557" fmla="*/ 1492930 w 6530351"/>
              <a:gd name="connsiteY1557" fmla="*/ 2209820 h 6858285"/>
              <a:gd name="connsiteX1558" fmla="*/ 1150267 w 6530351"/>
              <a:gd name="connsiteY1558" fmla="*/ 2316193 h 6858285"/>
              <a:gd name="connsiteX1559" fmla="*/ 1085542 w 6530351"/>
              <a:gd name="connsiteY1559" fmla="*/ 2283894 h 6858285"/>
              <a:gd name="connsiteX1560" fmla="*/ 1119808 w 6530351"/>
              <a:gd name="connsiteY1560" fmla="*/ 2219317 h 6858285"/>
              <a:gd name="connsiteX1561" fmla="*/ 1462471 w 6530351"/>
              <a:gd name="connsiteY1561" fmla="*/ 2112944 h 6858285"/>
              <a:gd name="connsiteX1562" fmla="*/ 1482460 w 6530351"/>
              <a:gd name="connsiteY1562" fmla="*/ 2110273 h 6858285"/>
              <a:gd name="connsiteX1563" fmla="*/ 4292491 w 6530351"/>
              <a:gd name="connsiteY1563" fmla="*/ 2106610 h 6858285"/>
              <a:gd name="connsiteX1564" fmla="*/ 4338695 w 6530351"/>
              <a:gd name="connsiteY1564" fmla="*/ 2147674 h 6858285"/>
              <a:gd name="connsiteX1565" fmla="*/ 4338695 w 6530351"/>
              <a:gd name="connsiteY1565" fmla="*/ 2160948 h 6858285"/>
              <a:gd name="connsiteX1566" fmla="*/ 4296669 w 6530351"/>
              <a:gd name="connsiteY1566" fmla="*/ 2214040 h 6858285"/>
              <a:gd name="connsiteX1567" fmla="*/ 3952817 w 6530351"/>
              <a:gd name="connsiteY1567" fmla="*/ 2297465 h 6858285"/>
              <a:gd name="connsiteX1568" fmla="*/ 3884045 w 6530351"/>
              <a:gd name="connsiteY1568" fmla="*/ 2257651 h 6858285"/>
              <a:gd name="connsiteX1569" fmla="*/ 3926073 w 6530351"/>
              <a:gd name="connsiteY1569" fmla="*/ 2191286 h 6858285"/>
              <a:gd name="connsiteX1570" fmla="*/ 4269925 w 6530351"/>
              <a:gd name="connsiteY1570" fmla="*/ 2107856 h 6858285"/>
              <a:gd name="connsiteX1571" fmla="*/ 4292491 w 6530351"/>
              <a:gd name="connsiteY1571" fmla="*/ 2106610 h 6858285"/>
              <a:gd name="connsiteX1572" fmla="*/ 2038726 w 6530351"/>
              <a:gd name="connsiteY1572" fmla="*/ 2106607 h 6858285"/>
              <a:gd name="connsiteX1573" fmla="*/ 2084094 w 6530351"/>
              <a:gd name="connsiteY1573" fmla="*/ 2147672 h 6858285"/>
              <a:gd name="connsiteX1574" fmla="*/ 2086003 w 6530351"/>
              <a:gd name="connsiteY1574" fmla="*/ 2160946 h 6858285"/>
              <a:gd name="connsiteX1575" fmla="*/ 2044006 w 6530351"/>
              <a:gd name="connsiteY1575" fmla="*/ 2214037 h 6858285"/>
              <a:gd name="connsiteX1576" fmla="*/ 1698484 w 6530351"/>
              <a:gd name="connsiteY1576" fmla="*/ 2297465 h 6858285"/>
              <a:gd name="connsiteX1577" fmla="*/ 1631670 w 6530351"/>
              <a:gd name="connsiteY1577" fmla="*/ 2257649 h 6858285"/>
              <a:gd name="connsiteX1578" fmla="*/ 1671758 w 6530351"/>
              <a:gd name="connsiteY1578" fmla="*/ 2191284 h 6858285"/>
              <a:gd name="connsiteX1579" fmla="*/ 2017280 w 6530351"/>
              <a:gd name="connsiteY1579" fmla="*/ 2107852 h 6858285"/>
              <a:gd name="connsiteX1580" fmla="*/ 2038726 w 6530351"/>
              <a:gd name="connsiteY1580" fmla="*/ 2106607 h 6858285"/>
              <a:gd name="connsiteX1581" fmla="*/ 3734761 w 6530351"/>
              <a:gd name="connsiteY1581" fmla="*/ 2101210 h 6858285"/>
              <a:gd name="connsiteX1582" fmla="*/ 3779887 w 6530351"/>
              <a:gd name="connsiteY1582" fmla="*/ 2149163 h 6858285"/>
              <a:gd name="connsiteX1583" fmla="*/ 3779887 w 6530351"/>
              <a:gd name="connsiteY1583" fmla="*/ 2158688 h 6858285"/>
              <a:gd name="connsiteX1584" fmla="*/ 3732133 w 6530351"/>
              <a:gd name="connsiteY1584" fmla="*/ 2217741 h 6858285"/>
              <a:gd name="connsiteX1585" fmla="*/ 3384479 w 6530351"/>
              <a:gd name="connsiteY1585" fmla="*/ 2278699 h 6858285"/>
              <a:gd name="connsiteX1586" fmla="*/ 3315713 w 6530351"/>
              <a:gd name="connsiteY1586" fmla="*/ 2231076 h 6858285"/>
              <a:gd name="connsiteX1587" fmla="*/ 3363467 w 6530351"/>
              <a:gd name="connsiteY1587" fmla="*/ 2160593 h 6858285"/>
              <a:gd name="connsiteX1588" fmla="*/ 3711121 w 6530351"/>
              <a:gd name="connsiteY1588" fmla="*/ 2101538 h 6858285"/>
              <a:gd name="connsiteX1589" fmla="*/ 3734761 w 6530351"/>
              <a:gd name="connsiteY1589" fmla="*/ 2101210 h 6858285"/>
              <a:gd name="connsiteX1590" fmla="*/ 2601270 w 6530351"/>
              <a:gd name="connsiteY1590" fmla="*/ 2101207 h 6858285"/>
              <a:gd name="connsiteX1591" fmla="*/ 2646398 w 6530351"/>
              <a:gd name="connsiteY1591" fmla="*/ 2149158 h 6858285"/>
              <a:gd name="connsiteX1592" fmla="*/ 2646398 w 6530351"/>
              <a:gd name="connsiteY1592" fmla="*/ 2158685 h 6858285"/>
              <a:gd name="connsiteX1593" fmla="*/ 2596733 w 6530351"/>
              <a:gd name="connsiteY1593" fmla="*/ 2217739 h 6858285"/>
              <a:gd name="connsiteX1594" fmla="*/ 2250989 w 6530351"/>
              <a:gd name="connsiteY1594" fmla="*/ 2278698 h 6858285"/>
              <a:gd name="connsiteX1595" fmla="*/ 2182223 w 6530351"/>
              <a:gd name="connsiteY1595" fmla="*/ 2231074 h 6858285"/>
              <a:gd name="connsiteX1596" fmla="*/ 2229977 w 6530351"/>
              <a:gd name="connsiteY1596" fmla="*/ 2160590 h 6858285"/>
              <a:gd name="connsiteX1597" fmla="*/ 2577631 w 6530351"/>
              <a:gd name="connsiteY1597" fmla="*/ 2101535 h 6858285"/>
              <a:gd name="connsiteX1598" fmla="*/ 2601270 w 6530351"/>
              <a:gd name="connsiteY1598" fmla="*/ 2101207 h 6858285"/>
              <a:gd name="connsiteX1599" fmla="*/ 3141117 w 6530351"/>
              <a:gd name="connsiteY1599" fmla="*/ 2094543 h 6858285"/>
              <a:gd name="connsiteX1600" fmla="*/ 3211556 w 6530351"/>
              <a:gd name="connsiteY1600" fmla="*/ 2151589 h 6858285"/>
              <a:gd name="connsiteX1601" fmla="*/ 3211556 w 6530351"/>
              <a:gd name="connsiteY1601" fmla="*/ 2159195 h 6858285"/>
              <a:gd name="connsiteX1602" fmla="*/ 3156347 w 6530351"/>
              <a:gd name="connsiteY1602" fmla="*/ 2221944 h 6858285"/>
              <a:gd name="connsiteX1603" fmla="*/ 2807959 w 6530351"/>
              <a:gd name="connsiteY1603" fmla="*/ 2259975 h 6858285"/>
              <a:gd name="connsiteX1604" fmla="*/ 2737520 w 6530351"/>
              <a:gd name="connsiteY1604" fmla="*/ 2202929 h 6858285"/>
              <a:gd name="connsiteX1605" fmla="*/ 2794632 w 6530351"/>
              <a:gd name="connsiteY1605" fmla="*/ 2132570 h 6858285"/>
              <a:gd name="connsiteX1606" fmla="*/ 3141117 w 6530351"/>
              <a:gd name="connsiteY1606" fmla="*/ 2094543 h 6858285"/>
              <a:gd name="connsiteX1607" fmla="*/ 6499963 w 6530351"/>
              <a:gd name="connsiteY1607" fmla="*/ 1806060 h 6858285"/>
              <a:gd name="connsiteX1608" fmla="*/ 6522161 w 6530351"/>
              <a:gd name="connsiteY1608" fmla="*/ 1825395 h 6858285"/>
              <a:gd name="connsiteX1609" fmla="*/ 6527887 w 6530351"/>
              <a:gd name="connsiteY1609" fmla="*/ 1842582 h 6858285"/>
              <a:gd name="connsiteX1610" fmla="*/ 6506885 w 6530351"/>
              <a:gd name="connsiteY1610" fmla="*/ 1876955 h 6858285"/>
              <a:gd name="connsiteX1611" fmla="*/ 6167027 w 6530351"/>
              <a:gd name="connsiteY1611" fmla="*/ 2052636 h 6858285"/>
              <a:gd name="connsiteX1612" fmla="*/ 6115475 w 6530351"/>
              <a:gd name="connsiteY1612" fmla="*/ 2035451 h 6858285"/>
              <a:gd name="connsiteX1613" fmla="*/ 6130751 w 6530351"/>
              <a:gd name="connsiteY1613" fmla="*/ 1983892 h 6858285"/>
              <a:gd name="connsiteX1614" fmla="*/ 6470609 w 6530351"/>
              <a:gd name="connsiteY1614" fmla="*/ 1808208 h 6858285"/>
              <a:gd name="connsiteX1615" fmla="*/ 6499963 w 6530351"/>
              <a:gd name="connsiteY1615" fmla="*/ 1806060 h 6858285"/>
              <a:gd name="connsiteX1616" fmla="*/ 5958465 w 6530351"/>
              <a:gd name="connsiteY1616" fmla="*/ 1800926 h 6858285"/>
              <a:gd name="connsiteX1617" fmla="*/ 5982737 w 6530351"/>
              <a:gd name="connsiteY1617" fmla="*/ 1822945 h 6858285"/>
              <a:gd name="connsiteX1618" fmla="*/ 5986543 w 6530351"/>
              <a:gd name="connsiteY1618" fmla="*/ 1840178 h 6858285"/>
              <a:gd name="connsiteX1619" fmla="*/ 5961797 w 6530351"/>
              <a:gd name="connsiteY1619" fmla="*/ 1878473 h 6858285"/>
              <a:gd name="connsiteX1620" fmla="*/ 5622953 w 6530351"/>
              <a:gd name="connsiteY1620" fmla="*/ 2033561 h 6858285"/>
              <a:gd name="connsiteX1621" fmla="*/ 5565845 w 6530351"/>
              <a:gd name="connsiteY1621" fmla="*/ 2012501 h 6858285"/>
              <a:gd name="connsiteX1622" fmla="*/ 5586783 w 6530351"/>
              <a:gd name="connsiteY1622" fmla="*/ 1955060 h 6858285"/>
              <a:gd name="connsiteX1623" fmla="*/ 5925629 w 6530351"/>
              <a:gd name="connsiteY1623" fmla="*/ 1801884 h 6858285"/>
              <a:gd name="connsiteX1624" fmla="*/ 5958465 w 6530351"/>
              <a:gd name="connsiteY1624" fmla="*/ 1800926 h 6858285"/>
              <a:gd name="connsiteX1625" fmla="*/ 398965 w 6530351"/>
              <a:gd name="connsiteY1625" fmla="*/ 1800917 h 6858285"/>
              <a:gd name="connsiteX1626" fmla="*/ 423236 w 6530351"/>
              <a:gd name="connsiteY1626" fmla="*/ 1822936 h 6858285"/>
              <a:gd name="connsiteX1627" fmla="*/ 427043 w 6530351"/>
              <a:gd name="connsiteY1627" fmla="*/ 1840169 h 6858285"/>
              <a:gd name="connsiteX1628" fmla="*/ 400392 w 6530351"/>
              <a:gd name="connsiteY1628" fmla="*/ 1878463 h 6858285"/>
              <a:gd name="connsiteX1629" fmla="*/ 61548 w 6530351"/>
              <a:gd name="connsiteY1629" fmla="*/ 2033553 h 6858285"/>
              <a:gd name="connsiteX1630" fmla="*/ 6343 w 6530351"/>
              <a:gd name="connsiteY1630" fmla="*/ 2012491 h 6858285"/>
              <a:gd name="connsiteX1631" fmla="*/ 27283 w 6530351"/>
              <a:gd name="connsiteY1631" fmla="*/ 1955050 h 6858285"/>
              <a:gd name="connsiteX1632" fmla="*/ 366127 w 6530351"/>
              <a:gd name="connsiteY1632" fmla="*/ 1801874 h 6858285"/>
              <a:gd name="connsiteX1633" fmla="*/ 398965 w 6530351"/>
              <a:gd name="connsiteY1633" fmla="*/ 1800917 h 6858285"/>
              <a:gd name="connsiteX1634" fmla="*/ 5395755 w 6530351"/>
              <a:gd name="connsiteY1634" fmla="*/ 1792151 h 6858285"/>
              <a:gd name="connsiteX1635" fmla="*/ 5438203 w 6530351"/>
              <a:gd name="connsiteY1635" fmla="*/ 1822155 h 6858285"/>
              <a:gd name="connsiteX1636" fmla="*/ 5442023 w 6530351"/>
              <a:gd name="connsiteY1636" fmla="*/ 1839301 h 6858285"/>
              <a:gd name="connsiteX1637" fmla="*/ 5411455 w 6530351"/>
              <a:gd name="connsiteY1637" fmla="*/ 1883116 h 6858285"/>
              <a:gd name="connsiteX1638" fmla="*/ 5069471 w 6530351"/>
              <a:gd name="connsiteY1638" fmla="*/ 2014560 h 6858285"/>
              <a:gd name="connsiteX1639" fmla="*/ 5010245 w 6530351"/>
              <a:gd name="connsiteY1639" fmla="*/ 1989796 h 6858285"/>
              <a:gd name="connsiteX1640" fmla="*/ 5036993 w 6530351"/>
              <a:gd name="connsiteY1640" fmla="*/ 1928836 h 6858285"/>
              <a:gd name="connsiteX1641" fmla="*/ 5377067 w 6530351"/>
              <a:gd name="connsiteY1641" fmla="*/ 1795485 h 6858285"/>
              <a:gd name="connsiteX1642" fmla="*/ 5395755 w 6530351"/>
              <a:gd name="connsiteY1642" fmla="*/ 1792151 h 6858285"/>
              <a:gd name="connsiteX1643" fmla="*/ 929274 w 6530351"/>
              <a:gd name="connsiteY1643" fmla="*/ 1792140 h 6858285"/>
              <a:gd name="connsiteX1644" fmla="*/ 970917 w 6530351"/>
              <a:gd name="connsiteY1644" fmla="*/ 1822144 h 6858285"/>
              <a:gd name="connsiteX1645" fmla="*/ 974738 w 6530351"/>
              <a:gd name="connsiteY1645" fmla="*/ 1839289 h 6858285"/>
              <a:gd name="connsiteX1646" fmla="*/ 946080 w 6530351"/>
              <a:gd name="connsiteY1646" fmla="*/ 1883104 h 6858285"/>
              <a:gd name="connsiteX1647" fmla="*/ 604096 w 6530351"/>
              <a:gd name="connsiteY1647" fmla="*/ 2014549 h 6858285"/>
              <a:gd name="connsiteX1648" fmla="*/ 542960 w 6530351"/>
              <a:gd name="connsiteY1648" fmla="*/ 1989784 h 6858285"/>
              <a:gd name="connsiteX1649" fmla="*/ 569707 w 6530351"/>
              <a:gd name="connsiteY1649" fmla="*/ 1928824 h 6858285"/>
              <a:gd name="connsiteX1650" fmla="*/ 911691 w 6530351"/>
              <a:gd name="connsiteY1650" fmla="*/ 1795473 h 6858285"/>
              <a:gd name="connsiteX1651" fmla="*/ 929274 w 6530351"/>
              <a:gd name="connsiteY1651" fmla="*/ 1792140 h 6858285"/>
              <a:gd name="connsiteX1652" fmla="*/ 4845315 w 6530351"/>
              <a:gd name="connsiteY1652" fmla="*/ 1786416 h 6858285"/>
              <a:gd name="connsiteX1653" fmla="*/ 4889249 w 6530351"/>
              <a:gd name="connsiteY1653" fmla="*/ 1819728 h 6858285"/>
              <a:gd name="connsiteX1654" fmla="*/ 4891155 w 6530351"/>
              <a:gd name="connsiteY1654" fmla="*/ 1836922 h 6858285"/>
              <a:gd name="connsiteX1655" fmla="*/ 4856863 w 6530351"/>
              <a:gd name="connsiteY1655" fmla="*/ 1884682 h 6858285"/>
              <a:gd name="connsiteX1656" fmla="*/ 4515863 w 6530351"/>
              <a:gd name="connsiteY1656" fmla="*/ 1997394 h 6858285"/>
              <a:gd name="connsiteX1657" fmla="*/ 4451093 w 6530351"/>
              <a:gd name="connsiteY1657" fmla="*/ 1964918 h 6858285"/>
              <a:gd name="connsiteX1658" fmla="*/ 4483479 w 6530351"/>
              <a:gd name="connsiteY1658" fmla="*/ 1901876 h 6858285"/>
              <a:gd name="connsiteX1659" fmla="*/ 4826383 w 6530351"/>
              <a:gd name="connsiteY1659" fmla="*/ 1789162 h 6858285"/>
              <a:gd name="connsiteX1660" fmla="*/ 4845315 w 6530351"/>
              <a:gd name="connsiteY1660" fmla="*/ 1786416 h 6858285"/>
              <a:gd name="connsiteX1661" fmla="*/ 1480556 w 6530351"/>
              <a:gd name="connsiteY1661" fmla="*/ 1786402 h 6858285"/>
              <a:gd name="connsiteX1662" fmla="*/ 1523389 w 6530351"/>
              <a:gd name="connsiteY1662" fmla="*/ 1819714 h 6858285"/>
              <a:gd name="connsiteX1663" fmla="*/ 1527196 w 6530351"/>
              <a:gd name="connsiteY1663" fmla="*/ 1836908 h 6858285"/>
              <a:gd name="connsiteX1664" fmla="*/ 1492930 w 6530351"/>
              <a:gd name="connsiteY1664" fmla="*/ 1884667 h 6858285"/>
              <a:gd name="connsiteX1665" fmla="*/ 1150267 w 6530351"/>
              <a:gd name="connsiteY1665" fmla="*/ 1997380 h 6858285"/>
              <a:gd name="connsiteX1666" fmla="*/ 1087445 w 6530351"/>
              <a:gd name="connsiteY1666" fmla="*/ 1964903 h 6858285"/>
              <a:gd name="connsiteX1667" fmla="*/ 1119808 w 6530351"/>
              <a:gd name="connsiteY1667" fmla="*/ 1901861 h 6858285"/>
              <a:gd name="connsiteX1668" fmla="*/ 1460567 w 6530351"/>
              <a:gd name="connsiteY1668" fmla="*/ 1789148 h 6858285"/>
              <a:gd name="connsiteX1669" fmla="*/ 1480556 w 6530351"/>
              <a:gd name="connsiteY1669" fmla="*/ 1786402 h 6858285"/>
              <a:gd name="connsiteX1670" fmla="*/ 4289949 w 6530351"/>
              <a:gd name="connsiteY1670" fmla="*/ 1779638 h 6858285"/>
              <a:gd name="connsiteX1671" fmla="*/ 4333615 w 6530351"/>
              <a:gd name="connsiteY1671" fmla="*/ 1819255 h 6858285"/>
              <a:gd name="connsiteX1672" fmla="*/ 4335521 w 6530351"/>
              <a:gd name="connsiteY1672" fmla="*/ 1834586 h 6858285"/>
              <a:gd name="connsiteX1673" fmla="*/ 4295515 w 6530351"/>
              <a:gd name="connsiteY1673" fmla="*/ 1886331 h 6858285"/>
              <a:gd name="connsiteX1674" fmla="*/ 3952611 w 6530351"/>
              <a:gd name="connsiteY1674" fmla="*/ 1978320 h 6858285"/>
              <a:gd name="connsiteX1675" fmla="*/ 3885935 w 6530351"/>
              <a:gd name="connsiteY1675" fmla="*/ 1939991 h 6858285"/>
              <a:gd name="connsiteX1676" fmla="*/ 3924035 w 6530351"/>
              <a:gd name="connsiteY1676" fmla="*/ 1872916 h 6858285"/>
              <a:gd name="connsiteX1677" fmla="*/ 4268845 w 6530351"/>
              <a:gd name="connsiteY1677" fmla="*/ 1780925 h 6858285"/>
              <a:gd name="connsiteX1678" fmla="*/ 4289949 w 6530351"/>
              <a:gd name="connsiteY1678" fmla="*/ 1779638 h 6858285"/>
              <a:gd name="connsiteX1679" fmla="*/ 2035648 w 6530351"/>
              <a:gd name="connsiteY1679" fmla="*/ 1779621 h 6858285"/>
              <a:gd name="connsiteX1680" fmla="*/ 2080922 w 6530351"/>
              <a:gd name="connsiteY1680" fmla="*/ 1819238 h 6858285"/>
              <a:gd name="connsiteX1681" fmla="*/ 2082827 w 6530351"/>
              <a:gd name="connsiteY1681" fmla="*/ 1834569 h 6858285"/>
              <a:gd name="connsiteX1682" fmla="*/ 2042821 w 6530351"/>
              <a:gd name="connsiteY1682" fmla="*/ 1886314 h 6858285"/>
              <a:gd name="connsiteX1683" fmla="*/ 1699917 w 6530351"/>
              <a:gd name="connsiteY1683" fmla="*/ 1978302 h 6858285"/>
              <a:gd name="connsiteX1684" fmla="*/ 1633241 w 6530351"/>
              <a:gd name="connsiteY1684" fmla="*/ 1939974 h 6858285"/>
              <a:gd name="connsiteX1685" fmla="*/ 1671342 w 6530351"/>
              <a:gd name="connsiteY1685" fmla="*/ 1872898 h 6858285"/>
              <a:gd name="connsiteX1686" fmla="*/ 2014246 w 6530351"/>
              <a:gd name="connsiteY1686" fmla="*/ 1780909 h 6858285"/>
              <a:gd name="connsiteX1687" fmla="*/ 2035648 w 6530351"/>
              <a:gd name="connsiteY1687" fmla="*/ 1779621 h 6858285"/>
              <a:gd name="connsiteX1688" fmla="*/ 3732191 w 6530351"/>
              <a:gd name="connsiteY1688" fmla="*/ 1775473 h 6858285"/>
              <a:gd name="connsiteX1689" fmla="*/ 3778301 w 6530351"/>
              <a:gd name="connsiteY1689" fmla="*/ 1820015 h 6858285"/>
              <a:gd name="connsiteX1690" fmla="*/ 3778301 w 6530351"/>
              <a:gd name="connsiteY1690" fmla="*/ 1831463 h 6858285"/>
              <a:gd name="connsiteX1691" fmla="*/ 3732549 w 6530351"/>
              <a:gd name="connsiteY1691" fmla="*/ 1888705 h 6858285"/>
              <a:gd name="connsiteX1692" fmla="*/ 3387504 w 6530351"/>
              <a:gd name="connsiteY1692" fmla="*/ 1959303 h 6858285"/>
              <a:gd name="connsiteX1693" fmla="*/ 3318876 w 6530351"/>
              <a:gd name="connsiteY1693" fmla="*/ 1915418 h 6858285"/>
              <a:gd name="connsiteX1694" fmla="*/ 3364628 w 6530351"/>
              <a:gd name="connsiteY1694" fmla="*/ 1846728 h 6858285"/>
              <a:gd name="connsiteX1695" fmla="*/ 3709673 w 6530351"/>
              <a:gd name="connsiteY1695" fmla="*/ 1776129 h 6858285"/>
              <a:gd name="connsiteX1696" fmla="*/ 3732191 w 6530351"/>
              <a:gd name="connsiteY1696" fmla="*/ 1775473 h 6858285"/>
              <a:gd name="connsiteX1697" fmla="*/ 2597114 w 6530351"/>
              <a:gd name="connsiteY1697" fmla="*/ 1775454 h 6858285"/>
              <a:gd name="connsiteX1698" fmla="*/ 2643223 w 6530351"/>
              <a:gd name="connsiteY1698" fmla="*/ 1819995 h 6858285"/>
              <a:gd name="connsiteX1699" fmla="*/ 2643223 w 6530351"/>
              <a:gd name="connsiteY1699" fmla="*/ 1831444 h 6858285"/>
              <a:gd name="connsiteX1700" fmla="*/ 2597471 w 6530351"/>
              <a:gd name="connsiteY1700" fmla="*/ 1888685 h 6858285"/>
              <a:gd name="connsiteX1701" fmla="*/ 2252426 w 6530351"/>
              <a:gd name="connsiteY1701" fmla="*/ 1959283 h 6858285"/>
              <a:gd name="connsiteX1702" fmla="*/ 2183798 w 6530351"/>
              <a:gd name="connsiteY1702" fmla="*/ 1915398 h 6858285"/>
              <a:gd name="connsiteX1703" fmla="*/ 2229550 w 6530351"/>
              <a:gd name="connsiteY1703" fmla="*/ 1846708 h 6858285"/>
              <a:gd name="connsiteX1704" fmla="*/ 2574595 w 6530351"/>
              <a:gd name="connsiteY1704" fmla="*/ 1776110 h 6858285"/>
              <a:gd name="connsiteX1705" fmla="*/ 2597114 w 6530351"/>
              <a:gd name="connsiteY1705" fmla="*/ 1775454 h 6858285"/>
              <a:gd name="connsiteX1706" fmla="*/ 3139435 w 6530351"/>
              <a:gd name="connsiteY1706" fmla="*/ 1767852 h 6858285"/>
              <a:gd name="connsiteX1707" fmla="*/ 3209968 w 6530351"/>
              <a:gd name="connsiteY1707" fmla="*/ 1819198 h 6858285"/>
              <a:gd name="connsiteX1708" fmla="*/ 3209968 w 6530351"/>
              <a:gd name="connsiteY1708" fmla="*/ 1828706 h 6858285"/>
              <a:gd name="connsiteX1709" fmla="*/ 3156592 w 6530351"/>
              <a:gd name="connsiteY1709" fmla="*/ 1889561 h 6858285"/>
              <a:gd name="connsiteX1710" fmla="*/ 2811551 w 6530351"/>
              <a:gd name="connsiteY1710" fmla="*/ 1939005 h 6858285"/>
              <a:gd name="connsiteX1711" fmla="*/ 2741018 w 6530351"/>
              <a:gd name="connsiteY1711" fmla="*/ 1887660 h 6858285"/>
              <a:gd name="connsiteX1712" fmla="*/ 2792488 w 6530351"/>
              <a:gd name="connsiteY1712" fmla="*/ 1819198 h 6858285"/>
              <a:gd name="connsiteX1713" fmla="*/ 3139435 w 6530351"/>
              <a:gd name="connsiteY1713" fmla="*/ 1767852 h 6858285"/>
              <a:gd name="connsiteX1714" fmla="*/ 6500203 w 6530351"/>
              <a:gd name="connsiteY1714" fmla="*/ 1483796 h 6858285"/>
              <a:gd name="connsiteX1715" fmla="*/ 6524069 w 6530351"/>
              <a:gd name="connsiteY1715" fmla="*/ 1503130 h 6858285"/>
              <a:gd name="connsiteX1716" fmla="*/ 6527887 w 6530351"/>
              <a:gd name="connsiteY1716" fmla="*/ 1520316 h 6858285"/>
              <a:gd name="connsiteX1717" fmla="*/ 6506885 w 6530351"/>
              <a:gd name="connsiteY1717" fmla="*/ 1554689 h 6858285"/>
              <a:gd name="connsiteX1718" fmla="*/ 6167027 w 6530351"/>
              <a:gd name="connsiteY1718" fmla="*/ 1728465 h 6858285"/>
              <a:gd name="connsiteX1719" fmla="*/ 6113567 w 6530351"/>
              <a:gd name="connsiteY1719" fmla="*/ 1711279 h 6858285"/>
              <a:gd name="connsiteX1720" fmla="*/ 6130751 w 6530351"/>
              <a:gd name="connsiteY1720" fmla="*/ 1659718 h 6858285"/>
              <a:gd name="connsiteX1721" fmla="*/ 6470609 w 6530351"/>
              <a:gd name="connsiteY1721" fmla="*/ 1485944 h 6858285"/>
              <a:gd name="connsiteX1722" fmla="*/ 6500203 w 6530351"/>
              <a:gd name="connsiteY1722" fmla="*/ 1483796 h 6858285"/>
              <a:gd name="connsiteX1723" fmla="*/ 5958465 w 6530351"/>
              <a:gd name="connsiteY1723" fmla="*/ 1477063 h 6858285"/>
              <a:gd name="connsiteX1724" fmla="*/ 5982737 w 6530351"/>
              <a:gd name="connsiteY1724" fmla="*/ 1499053 h 6858285"/>
              <a:gd name="connsiteX1725" fmla="*/ 5986543 w 6530351"/>
              <a:gd name="connsiteY1725" fmla="*/ 1516262 h 6858285"/>
              <a:gd name="connsiteX1726" fmla="*/ 5961797 w 6530351"/>
              <a:gd name="connsiteY1726" fmla="*/ 1556419 h 6858285"/>
              <a:gd name="connsiteX1727" fmla="*/ 5622953 w 6530351"/>
              <a:gd name="connsiteY1727" fmla="*/ 1711312 h 6858285"/>
              <a:gd name="connsiteX1728" fmla="*/ 5565845 w 6530351"/>
              <a:gd name="connsiteY1728" fmla="*/ 1690277 h 6858285"/>
              <a:gd name="connsiteX1729" fmla="*/ 5586783 w 6530351"/>
              <a:gd name="connsiteY1729" fmla="*/ 1632909 h 6858285"/>
              <a:gd name="connsiteX1730" fmla="*/ 5925629 w 6530351"/>
              <a:gd name="connsiteY1730" fmla="*/ 1478018 h 6858285"/>
              <a:gd name="connsiteX1731" fmla="*/ 5958465 w 6530351"/>
              <a:gd name="connsiteY1731" fmla="*/ 1477063 h 6858285"/>
              <a:gd name="connsiteX1732" fmla="*/ 398251 w 6530351"/>
              <a:gd name="connsiteY1732" fmla="*/ 1477054 h 6858285"/>
              <a:gd name="connsiteX1733" fmla="*/ 423236 w 6530351"/>
              <a:gd name="connsiteY1733" fmla="*/ 1499043 h 6858285"/>
              <a:gd name="connsiteX1734" fmla="*/ 427043 w 6530351"/>
              <a:gd name="connsiteY1734" fmla="*/ 1516254 h 6858285"/>
              <a:gd name="connsiteX1735" fmla="*/ 402296 w 6530351"/>
              <a:gd name="connsiteY1735" fmla="*/ 1556411 h 6858285"/>
              <a:gd name="connsiteX1736" fmla="*/ 61548 w 6530351"/>
              <a:gd name="connsiteY1736" fmla="*/ 1711302 h 6858285"/>
              <a:gd name="connsiteX1737" fmla="*/ 6343 w 6530351"/>
              <a:gd name="connsiteY1737" fmla="*/ 1690267 h 6858285"/>
              <a:gd name="connsiteX1738" fmla="*/ 27283 w 6530351"/>
              <a:gd name="connsiteY1738" fmla="*/ 1632900 h 6858285"/>
              <a:gd name="connsiteX1739" fmla="*/ 366127 w 6530351"/>
              <a:gd name="connsiteY1739" fmla="*/ 1478010 h 6858285"/>
              <a:gd name="connsiteX1740" fmla="*/ 398251 w 6530351"/>
              <a:gd name="connsiteY1740" fmla="*/ 1477054 h 6858285"/>
              <a:gd name="connsiteX1741" fmla="*/ 5394617 w 6530351"/>
              <a:gd name="connsiteY1741" fmla="*/ 1468282 h 6858285"/>
              <a:gd name="connsiteX1742" fmla="*/ 5436943 w 6530351"/>
              <a:gd name="connsiteY1742" fmla="*/ 1498207 h 6858285"/>
              <a:gd name="connsiteX1743" fmla="*/ 5438849 w 6530351"/>
              <a:gd name="connsiteY1743" fmla="*/ 1515306 h 6858285"/>
              <a:gd name="connsiteX1744" fmla="*/ 5410273 w 6530351"/>
              <a:gd name="connsiteY1744" fmla="*/ 1557108 h 6858285"/>
              <a:gd name="connsiteX1745" fmla="*/ 5069273 w 6530351"/>
              <a:gd name="connsiteY1745" fmla="*/ 1693909 h 6858285"/>
              <a:gd name="connsiteX1746" fmla="*/ 5010219 w 6530351"/>
              <a:gd name="connsiteY1746" fmla="*/ 1667309 h 6858285"/>
              <a:gd name="connsiteX1747" fmla="*/ 5036889 w 6530351"/>
              <a:gd name="connsiteY1747" fmla="*/ 1608408 h 6858285"/>
              <a:gd name="connsiteX1748" fmla="*/ 5375983 w 6530351"/>
              <a:gd name="connsiteY1748" fmla="*/ 1471608 h 6858285"/>
              <a:gd name="connsiteX1749" fmla="*/ 5394617 w 6530351"/>
              <a:gd name="connsiteY1749" fmla="*/ 1468282 h 6858285"/>
              <a:gd name="connsiteX1750" fmla="*/ 929404 w 6530351"/>
              <a:gd name="connsiteY1750" fmla="*/ 1468271 h 6858285"/>
              <a:gd name="connsiteX1751" fmla="*/ 970928 w 6530351"/>
              <a:gd name="connsiteY1751" fmla="*/ 1498195 h 6858285"/>
              <a:gd name="connsiteX1752" fmla="*/ 974738 w 6530351"/>
              <a:gd name="connsiteY1752" fmla="*/ 1515296 h 6858285"/>
              <a:gd name="connsiteX1753" fmla="*/ 946163 w 6530351"/>
              <a:gd name="connsiteY1753" fmla="*/ 1557096 h 6858285"/>
              <a:gd name="connsiteX1754" fmla="*/ 605163 w 6530351"/>
              <a:gd name="connsiteY1754" fmla="*/ 1693897 h 6858285"/>
              <a:gd name="connsiteX1755" fmla="*/ 546107 w 6530351"/>
              <a:gd name="connsiteY1755" fmla="*/ 1667296 h 6858285"/>
              <a:gd name="connsiteX1756" fmla="*/ 570872 w 6530351"/>
              <a:gd name="connsiteY1756" fmla="*/ 1608396 h 6858285"/>
              <a:gd name="connsiteX1757" fmla="*/ 911872 w 6530351"/>
              <a:gd name="connsiteY1757" fmla="*/ 1471596 h 6858285"/>
              <a:gd name="connsiteX1758" fmla="*/ 929404 w 6530351"/>
              <a:gd name="connsiteY1758" fmla="*/ 1468271 h 6858285"/>
              <a:gd name="connsiteX1759" fmla="*/ 4844481 w 6530351"/>
              <a:gd name="connsiteY1759" fmla="*/ 1461443 h 6858285"/>
              <a:gd name="connsiteX1760" fmla="*/ 4887343 w 6530351"/>
              <a:gd name="connsiteY1760" fmla="*/ 1493857 h 6858285"/>
              <a:gd name="connsiteX1761" fmla="*/ 4891155 w 6530351"/>
              <a:gd name="connsiteY1761" fmla="*/ 1511001 h 6858285"/>
              <a:gd name="connsiteX1762" fmla="*/ 4856863 w 6530351"/>
              <a:gd name="connsiteY1762" fmla="*/ 1556723 h 6858285"/>
              <a:gd name="connsiteX1763" fmla="*/ 4515863 w 6530351"/>
              <a:gd name="connsiteY1763" fmla="*/ 1674834 h 6858285"/>
              <a:gd name="connsiteX1764" fmla="*/ 4452999 w 6530351"/>
              <a:gd name="connsiteY1764" fmla="*/ 1644353 h 6858285"/>
              <a:gd name="connsiteX1765" fmla="*/ 4483479 w 6530351"/>
              <a:gd name="connsiteY1765" fmla="*/ 1583392 h 6858285"/>
              <a:gd name="connsiteX1766" fmla="*/ 4824479 w 6530351"/>
              <a:gd name="connsiteY1766" fmla="*/ 1463377 h 6858285"/>
              <a:gd name="connsiteX1767" fmla="*/ 4844481 w 6530351"/>
              <a:gd name="connsiteY1767" fmla="*/ 1461443 h 6858285"/>
              <a:gd name="connsiteX1768" fmla="*/ 1479736 w 6530351"/>
              <a:gd name="connsiteY1768" fmla="*/ 1461429 h 6858285"/>
              <a:gd name="connsiteX1769" fmla="*/ 1523702 w 6530351"/>
              <a:gd name="connsiteY1769" fmla="*/ 1493843 h 6858285"/>
              <a:gd name="connsiteX1770" fmla="*/ 1525608 w 6530351"/>
              <a:gd name="connsiteY1770" fmla="*/ 1510988 h 6858285"/>
              <a:gd name="connsiteX1771" fmla="*/ 1493199 w 6530351"/>
              <a:gd name="connsiteY1771" fmla="*/ 1556708 h 6858285"/>
              <a:gd name="connsiteX1772" fmla="*/ 1150050 w 6530351"/>
              <a:gd name="connsiteY1772" fmla="*/ 1674820 h 6858285"/>
              <a:gd name="connsiteX1773" fmla="*/ 1089046 w 6530351"/>
              <a:gd name="connsiteY1773" fmla="*/ 1644339 h 6858285"/>
              <a:gd name="connsiteX1774" fmla="*/ 1117642 w 6530351"/>
              <a:gd name="connsiteY1774" fmla="*/ 1583379 h 6858285"/>
              <a:gd name="connsiteX1775" fmla="*/ 1460791 w 6530351"/>
              <a:gd name="connsiteY1775" fmla="*/ 1463363 h 6858285"/>
              <a:gd name="connsiteX1776" fmla="*/ 1479736 w 6530351"/>
              <a:gd name="connsiteY1776" fmla="*/ 1461429 h 6858285"/>
              <a:gd name="connsiteX1777" fmla="*/ 4288013 w 6530351"/>
              <a:gd name="connsiteY1777" fmla="*/ 1454945 h 6858285"/>
              <a:gd name="connsiteX1778" fmla="*/ 4331709 w 6530351"/>
              <a:gd name="connsiteY1778" fmla="*/ 1491699 h 6858285"/>
              <a:gd name="connsiteX1779" fmla="*/ 4335523 w 6530351"/>
              <a:gd name="connsiteY1779" fmla="*/ 1506961 h 6858285"/>
              <a:gd name="connsiteX1780" fmla="*/ 4297395 w 6530351"/>
              <a:gd name="connsiteY1780" fmla="*/ 1558472 h 6858285"/>
              <a:gd name="connsiteX1781" fmla="*/ 3954251 w 6530351"/>
              <a:gd name="connsiteY1781" fmla="*/ 1657678 h 6858285"/>
              <a:gd name="connsiteX1782" fmla="*/ 3887529 w 6530351"/>
              <a:gd name="connsiteY1782" fmla="*/ 1621430 h 6858285"/>
              <a:gd name="connsiteX1783" fmla="*/ 3923749 w 6530351"/>
              <a:gd name="connsiteY1783" fmla="*/ 1556564 h 6858285"/>
              <a:gd name="connsiteX1784" fmla="*/ 4266893 w 6530351"/>
              <a:gd name="connsiteY1784" fmla="*/ 1457360 h 6858285"/>
              <a:gd name="connsiteX1785" fmla="*/ 4288013 w 6530351"/>
              <a:gd name="connsiteY1785" fmla="*/ 1454945 h 6858285"/>
              <a:gd name="connsiteX1786" fmla="*/ 2034963 w 6530351"/>
              <a:gd name="connsiteY1786" fmla="*/ 1454929 h 6858285"/>
              <a:gd name="connsiteX1787" fmla="*/ 2079340 w 6530351"/>
              <a:gd name="connsiteY1787" fmla="*/ 1491683 h 6858285"/>
              <a:gd name="connsiteX1788" fmla="*/ 2081241 w 6530351"/>
              <a:gd name="connsiteY1788" fmla="*/ 1506945 h 6858285"/>
              <a:gd name="connsiteX1789" fmla="*/ 2043221 w 6530351"/>
              <a:gd name="connsiteY1789" fmla="*/ 1558456 h 6858285"/>
              <a:gd name="connsiteX1790" fmla="*/ 1701036 w 6530351"/>
              <a:gd name="connsiteY1790" fmla="*/ 1657662 h 6858285"/>
              <a:gd name="connsiteX1791" fmla="*/ 1636401 w 6530351"/>
              <a:gd name="connsiteY1791" fmla="*/ 1621413 h 6858285"/>
              <a:gd name="connsiteX1792" fmla="*/ 1672521 w 6530351"/>
              <a:gd name="connsiteY1792" fmla="*/ 1556548 h 6858285"/>
              <a:gd name="connsiteX1793" fmla="*/ 2014705 w 6530351"/>
              <a:gd name="connsiteY1793" fmla="*/ 1457343 h 6858285"/>
              <a:gd name="connsiteX1794" fmla="*/ 2034963 w 6530351"/>
              <a:gd name="connsiteY1794" fmla="*/ 1454929 h 6858285"/>
              <a:gd name="connsiteX1795" fmla="*/ 3729081 w 6530351"/>
              <a:gd name="connsiteY1795" fmla="*/ 1449674 h 6858285"/>
              <a:gd name="connsiteX1796" fmla="*/ 3773223 w 6530351"/>
              <a:gd name="connsiteY1796" fmla="*/ 1490533 h 6858285"/>
              <a:gd name="connsiteX1797" fmla="*/ 3775127 w 6530351"/>
              <a:gd name="connsiteY1797" fmla="*/ 1503826 h 6858285"/>
              <a:gd name="connsiteX1798" fmla="*/ 3733273 w 6530351"/>
              <a:gd name="connsiteY1798" fmla="*/ 1558900 h 6858285"/>
              <a:gd name="connsiteX1799" fmla="*/ 3388939 w 6530351"/>
              <a:gd name="connsiteY1799" fmla="*/ 1638661 h 6858285"/>
              <a:gd name="connsiteX1800" fmla="*/ 3322355 w 6530351"/>
              <a:gd name="connsiteY1800" fmla="*/ 1598781 h 6858285"/>
              <a:gd name="connsiteX1801" fmla="*/ 3362305 w 6530351"/>
              <a:gd name="connsiteY1801" fmla="*/ 1530413 h 6858285"/>
              <a:gd name="connsiteX1802" fmla="*/ 3706639 w 6530351"/>
              <a:gd name="connsiteY1802" fmla="*/ 1450653 h 6858285"/>
              <a:gd name="connsiteX1803" fmla="*/ 3729081 w 6530351"/>
              <a:gd name="connsiteY1803" fmla="*/ 1449674 h 6858285"/>
              <a:gd name="connsiteX1804" fmla="*/ 2595324 w 6530351"/>
              <a:gd name="connsiteY1804" fmla="*/ 1449656 h 6858285"/>
              <a:gd name="connsiteX1805" fmla="*/ 2639733 w 6530351"/>
              <a:gd name="connsiteY1805" fmla="*/ 1490515 h 6858285"/>
              <a:gd name="connsiteX1806" fmla="*/ 2641635 w 6530351"/>
              <a:gd name="connsiteY1806" fmla="*/ 1503809 h 6858285"/>
              <a:gd name="connsiteX1807" fmla="*/ 2597880 w 6530351"/>
              <a:gd name="connsiteY1807" fmla="*/ 1558882 h 6858285"/>
              <a:gd name="connsiteX1808" fmla="*/ 2255448 w 6530351"/>
              <a:gd name="connsiteY1808" fmla="*/ 1638643 h 6858285"/>
              <a:gd name="connsiteX1809" fmla="*/ 2188864 w 6530351"/>
              <a:gd name="connsiteY1809" fmla="*/ 1598762 h 6858285"/>
              <a:gd name="connsiteX1810" fmla="*/ 2228814 w 6530351"/>
              <a:gd name="connsiteY1810" fmla="*/ 1530396 h 6858285"/>
              <a:gd name="connsiteX1811" fmla="*/ 2573149 w 6530351"/>
              <a:gd name="connsiteY1811" fmla="*/ 1450635 h 6858285"/>
              <a:gd name="connsiteX1812" fmla="*/ 2595324 w 6530351"/>
              <a:gd name="connsiteY1812" fmla="*/ 1449656 h 6858285"/>
              <a:gd name="connsiteX1813" fmla="*/ 3137752 w 6530351"/>
              <a:gd name="connsiteY1813" fmla="*/ 1442422 h 6858285"/>
              <a:gd name="connsiteX1814" fmla="*/ 3206472 w 6530351"/>
              <a:gd name="connsiteY1814" fmla="*/ 1490047 h 6858285"/>
              <a:gd name="connsiteX1815" fmla="*/ 3208381 w 6530351"/>
              <a:gd name="connsiteY1815" fmla="*/ 1499571 h 6858285"/>
              <a:gd name="connsiteX1816" fmla="*/ 3158750 w 6530351"/>
              <a:gd name="connsiteY1816" fmla="*/ 1558627 h 6858285"/>
              <a:gd name="connsiteX1817" fmla="*/ 2813242 w 6530351"/>
              <a:gd name="connsiteY1817" fmla="*/ 1621493 h 6858285"/>
              <a:gd name="connsiteX1818" fmla="*/ 2744523 w 6530351"/>
              <a:gd name="connsiteY1818" fmla="*/ 1573867 h 6858285"/>
              <a:gd name="connsiteX1819" fmla="*/ 2792245 w 6530351"/>
              <a:gd name="connsiteY1819" fmla="*/ 1505286 h 6858285"/>
              <a:gd name="connsiteX1820" fmla="*/ 3137752 w 6530351"/>
              <a:gd name="connsiteY1820" fmla="*/ 1442422 h 6858285"/>
              <a:gd name="connsiteX1821" fmla="*/ 6500919 w 6530351"/>
              <a:gd name="connsiteY1821" fmla="*/ 1161543 h 6858285"/>
              <a:gd name="connsiteX1822" fmla="*/ 6524069 w 6530351"/>
              <a:gd name="connsiteY1822" fmla="*/ 1180903 h 6858285"/>
              <a:gd name="connsiteX1823" fmla="*/ 6527887 w 6530351"/>
              <a:gd name="connsiteY1823" fmla="*/ 1198110 h 6858285"/>
              <a:gd name="connsiteX1824" fmla="*/ 6506885 w 6530351"/>
              <a:gd name="connsiteY1824" fmla="*/ 1234435 h 6858285"/>
              <a:gd name="connsiteX1825" fmla="*/ 6167027 w 6530351"/>
              <a:gd name="connsiteY1825" fmla="*/ 1406514 h 6858285"/>
              <a:gd name="connsiteX1826" fmla="*/ 6113567 w 6530351"/>
              <a:gd name="connsiteY1826" fmla="*/ 1389305 h 6858285"/>
              <a:gd name="connsiteX1827" fmla="*/ 6130751 w 6530351"/>
              <a:gd name="connsiteY1827" fmla="*/ 1335769 h 6858285"/>
              <a:gd name="connsiteX1828" fmla="*/ 6470609 w 6530351"/>
              <a:gd name="connsiteY1828" fmla="*/ 1163695 h 6858285"/>
              <a:gd name="connsiteX1829" fmla="*/ 6500919 w 6530351"/>
              <a:gd name="connsiteY1829" fmla="*/ 1161543 h 6858285"/>
              <a:gd name="connsiteX1830" fmla="*/ 5957751 w 6530351"/>
              <a:gd name="connsiteY1830" fmla="*/ 1155623 h 6858285"/>
              <a:gd name="connsiteX1831" fmla="*/ 5982737 w 6530351"/>
              <a:gd name="connsiteY1831" fmla="*/ 1178188 h 6858285"/>
              <a:gd name="connsiteX1832" fmla="*/ 5986543 w 6530351"/>
              <a:gd name="connsiteY1832" fmla="*/ 1195291 h 6858285"/>
              <a:gd name="connsiteX1833" fmla="*/ 5961797 w 6530351"/>
              <a:gd name="connsiteY1833" fmla="*/ 1233291 h 6858285"/>
              <a:gd name="connsiteX1834" fmla="*/ 5622953 w 6530351"/>
              <a:gd name="connsiteY1834" fmla="*/ 1389109 h 6858285"/>
              <a:gd name="connsiteX1835" fmla="*/ 5565845 w 6530351"/>
              <a:gd name="connsiteY1835" fmla="*/ 1368207 h 6858285"/>
              <a:gd name="connsiteX1836" fmla="*/ 5586783 w 6530351"/>
              <a:gd name="connsiteY1836" fmla="*/ 1313099 h 6858285"/>
              <a:gd name="connsiteX1837" fmla="*/ 5925629 w 6530351"/>
              <a:gd name="connsiteY1837" fmla="*/ 1157286 h 6858285"/>
              <a:gd name="connsiteX1838" fmla="*/ 5957751 w 6530351"/>
              <a:gd name="connsiteY1838" fmla="*/ 1155623 h 6858285"/>
              <a:gd name="connsiteX1839" fmla="*/ 398309 w 6530351"/>
              <a:gd name="connsiteY1839" fmla="*/ 1155612 h 6858285"/>
              <a:gd name="connsiteX1840" fmla="*/ 421646 w 6530351"/>
              <a:gd name="connsiteY1840" fmla="*/ 1178178 h 6858285"/>
              <a:gd name="connsiteX1841" fmla="*/ 425456 w 6530351"/>
              <a:gd name="connsiteY1841" fmla="*/ 1195279 h 6858285"/>
              <a:gd name="connsiteX1842" fmla="*/ 402596 w 6530351"/>
              <a:gd name="connsiteY1842" fmla="*/ 1233281 h 6858285"/>
              <a:gd name="connsiteX1843" fmla="*/ 61596 w 6530351"/>
              <a:gd name="connsiteY1843" fmla="*/ 1389098 h 6858285"/>
              <a:gd name="connsiteX1844" fmla="*/ 6350 w 6530351"/>
              <a:gd name="connsiteY1844" fmla="*/ 1368196 h 6858285"/>
              <a:gd name="connsiteX1845" fmla="*/ 27305 w 6530351"/>
              <a:gd name="connsiteY1845" fmla="*/ 1313089 h 6858285"/>
              <a:gd name="connsiteX1846" fmla="*/ 366400 w 6530351"/>
              <a:gd name="connsiteY1846" fmla="*/ 1157275 h 6858285"/>
              <a:gd name="connsiteX1847" fmla="*/ 398309 w 6530351"/>
              <a:gd name="connsiteY1847" fmla="*/ 1155612 h 6858285"/>
              <a:gd name="connsiteX1848" fmla="*/ 5393481 w 6530351"/>
              <a:gd name="connsiteY1848" fmla="*/ 1144397 h 6858285"/>
              <a:gd name="connsiteX1849" fmla="*/ 5435035 w 6530351"/>
              <a:gd name="connsiteY1849" fmla="*/ 1172416 h 6858285"/>
              <a:gd name="connsiteX1850" fmla="*/ 5438847 w 6530351"/>
              <a:gd name="connsiteY1850" fmla="*/ 1189495 h 6858285"/>
              <a:gd name="connsiteX1851" fmla="*/ 5410251 w 6530351"/>
              <a:gd name="connsiteY1851" fmla="*/ 1231239 h 6858285"/>
              <a:gd name="connsiteX1852" fmla="*/ 5070911 w 6530351"/>
              <a:gd name="connsiteY1852" fmla="*/ 1371660 h 6858285"/>
              <a:gd name="connsiteX1853" fmla="*/ 5011813 w 6530351"/>
              <a:gd name="connsiteY1853" fmla="*/ 1346990 h 6858285"/>
              <a:gd name="connsiteX1854" fmla="*/ 5036595 w 6530351"/>
              <a:gd name="connsiteY1854" fmla="*/ 1288164 h 6858285"/>
              <a:gd name="connsiteX1855" fmla="*/ 5375937 w 6530351"/>
              <a:gd name="connsiteY1855" fmla="*/ 1147747 h 6858285"/>
              <a:gd name="connsiteX1856" fmla="*/ 5393481 w 6530351"/>
              <a:gd name="connsiteY1856" fmla="*/ 1144397 h 6858285"/>
              <a:gd name="connsiteX1857" fmla="*/ 929392 w 6530351"/>
              <a:gd name="connsiteY1857" fmla="*/ 1144384 h 6858285"/>
              <a:gd name="connsiteX1858" fmla="*/ 969337 w 6530351"/>
              <a:gd name="connsiteY1858" fmla="*/ 1172402 h 6858285"/>
              <a:gd name="connsiteX1859" fmla="*/ 973150 w 6530351"/>
              <a:gd name="connsiteY1859" fmla="*/ 1189481 h 6858285"/>
              <a:gd name="connsiteX1860" fmla="*/ 946460 w 6530351"/>
              <a:gd name="connsiteY1860" fmla="*/ 1231226 h 6858285"/>
              <a:gd name="connsiteX1861" fmla="*/ 605213 w 6530351"/>
              <a:gd name="connsiteY1861" fmla="*/ 1371647 h 6858285"/>
              <a:gd name="connsiteX1862" fmla="*/ 546114 w 6530351"/>
              <a:gd name="connsiteY1862" fmla="*/ 1346978 h 6858285"/>
              <a:gd name="connsiteX1863" fmla="*/ 570897 w 6530351"/>
              <a:gd name="connsiteY1863" fmla="*/ 1288153 h 6858285"/>
              <a:gd name="connsiteX1864" fmla="*/ 912145 w 6530351"/>
              <a:gd name="connsiteY1864" fmla="*/ 1147734 h 6858285"/>
              <a:gd name="connsiteX1865" fmla="*/ 929392 w 6530351"/>
              <a:gd name="connsiteY1865" fmla="*/ 1144384 h 6858285"/>
              <a:gd name="connsiteX1866" fmla="*/ 4842207 w 6530351"/>
              <a:gd name="connsiteY1866" fmla="*/ 1136792 h 6858285"/>
              <a:gd name="connsiteX1867" fmla="*/ 4884177 w 6530351"/>
              <a:gd name="connsiteY1867" fmla="*/ 1168317 h 6858285"/>
              <a:gd name="connsiteX1868" fmla="*/ 4887979 w 6530351"/>
              <a:gd name="connsiteY1868" fmla="*/ 1185417 h 6858285"/>
              <a:gd name="connsiteX1869" fmla="*/ 4855663 w 6530351"/>
              <a:gd name="connsiteY1869" fmla="*/ 1231009 h 6858285"/>
              <a:gd name="connsiteX1870" fmla="*/ 4515395 w 6530351"/>
              <a:gd name="connsiteY1870" fmla="*/ 1354496 h 6858285"/>
              <a:gd name="connsiteX1871" fmla="*/ 4454565 w 6530351"/>
              <a:gd name="connsiteY1871" fmla="*/ 1325999 h 6858285"/>
              <a:gd name="connsiteX1872" fmla="*/ 4483079 w 6530351"/>
              <a:gd name="connsiteY1872" fmla="*/ 1263303 h 6858285"/>
              <a:gd name="connsiteX1873" fmla="*/ 4823347 w 6530351"/>
              <a:gd name="connsiteY1873" fmla="*/ 1139820 h 6858285"/>
              <a:gd name="connsiteX1874" fmla="*/ 4842207 w 6530351"/>
              <a:gd name="connsiteY1874" fmla="*/ 1136792 h 6858285"/>
              <a:gd name="connsiteX1875" fmla="*/ 1478264 w 6530351"/>
              <a:gd name="connsiteY1875" fmla="*/ 1136777 h 6858285"/>
              <a:gd name="connsiteX1876" fmla="*/ 1520531 w 6530351"/>
              <a:gd name="connsiteY1876" fmla="*/ 1168302 h 6858285"/>
              <a:gd name="connsiteX1877" fmla="*/ 1522433 w 6530351"/>
              <a:gd name="connsiteY1877" fmla="*/ 1185401 h 6858285"/>
              <a:gd name="connsiteX1878" fmla="*/ 1491996 w 6530351"/>
              <a:gd name="connsiteY1878" fmla="*/ 1230995 h 6858285"/>
              <a:gd name="connsiteX1879" fmla="*/ 1151487 w 6530351"/>
              <a:gd name="connsiteY1879" fmla="*/ 1354481 h 6858285"/>
              <a:gd name="connsiteX1880" fmla="*/ 1088711 w 6530351"/>
              <a:gd name="connsiteY1880" fmla="*/ 1325984 h 6858285"/>
              <a:gd name="connsiteX1881" fmla="*/ 1117245 w 6530351"/>
              <a:gd name="connsiteY1881" fmla="*/ 1263291 h 6858285"/>
              <a:gd name="connsiteX1882" fmla="*/ 1459657 w 6530351"/>
              <a:gd name="connsiteY1882" fmla="*/ 1139805 h 6858285"/>
              <a:gd name="connsiteX1883" fmla="*/ 1478264 w 6530351"/>
              <a:gd name="connsiteY1883" fmla="*/ 1136777 h 6858285"/>
              <a:gd name="connsiteX1884" fmla="*/ 4287327 w 6530351"/>
              <a:gd name="connsiteY1884" fmla="*/ 1129708 h 6858285"/>
              <a:gd name="connsiteX1885" fmla="*/ 4330129 w 6530351"/>
              <a:gd name="connsiteY1885" fmla="*/ 1165821 h 6858285"/>
              <a:gd name="connsiteX1886" fmla="*/ 4333935 w 6530351"/>
              <a:gd name="connsiteY1886" fmla="*/ 1181040 h 6858285"/>
              <a:gd name="connsiteX1887" fmla="*/ 4297789 w 6530351"/>
              <a:gd name="connsiteY1887" fmla="*/ 1228594 h 6858285"/>
              <a:gd name="connsiteX1888" fmla="*/ 3955367 w 6530351"/>
              <a:gd name="connsiteY1888" fmla="*/ 1337024 h 6858285"/>
              <a:gd name="connsiteX1889" fmla="*/ 3890687 w 6530351"/>
              <a:gd name="connsiteY1889" fmla="*/ 1302782 h 6858285"/>
              <a:gd name="connsiteX1890" fmla="*/ 3924929 w 6530351"/>
              <a:gd name="connsiteY1890" fmla="*/ 1240007 h 6858285"/>
              <a:gd name="connsiteX1891" fmla="*/ 4267351 w 6530351"/>
              <a:gd name="connsiteY1891" fmla="*/ 1131580 h 6858285"/>
              <a:gd name="connsiteX1892" fmla="*/ 4287327 w 6530351"/>
              <a:gd name="connsiteY1892" fmla="*/ 1129708 h 6858285"/>
              <a:gd name="connsiteX1893" fmla="*/ 2033043 w 6530351"/>
              <a:gd name="connsiteY1893" fmla="*/ 1129690 h 6858285"/>
              <a:gd name="connsiteX1894" fmla="*/ 2077749 w 6530351"/>
              <a:gd name="connsiteY1894" fmla="*/ 1165803 h 6858285"/>
              <a:gd name="connsiteX1895" fmla="*/ 2079653 w 6530351"/>
              <a:gd name="connsiteY1895" fmla="*/ 1181022 h 6858285"/>
              <a:gd name="connsiteX1896" fmla="*/ 2043483 w 6530351"/>
              <a:gd name="connsiteY1896" fmla="*/ 1228577 h 6858285"/>
              <a:gd name="connsiteX1897" fmla="*/ 1702724 w 6530351"/>
              <a:gd name="connsiteY1897" fmla="*/ 1337007 h 6858285"/>
              <a:gd name="connsiteX1898" fmla="*/ 1637999 w 6530351"/>
              <a:gd name="connsiteY1898" fmla="*/ 1302766 h 6858285"/>
              <a:gd name="connsiteX1899" fmla="*/ 1670361 w 6530351"/>
              <a:gd name="connsiteY1899" fmla="*/ 1239991 h 6858285"/>
              <a:gd name="connsiteX1900" fmla="*/ 2013024 w 6530351"/>
              <a:gd name="connsiteY1900" fmla="*/ 1131563 h 6858285"/>
              <a:gd name="connsiteX1901" fmla="*/ 2033043 w 6530351"/>
              <a:gd name="connsiteY1901" fmla="*/ 1129690 h 6858285"/>
              <a:gd name="connsiteX1902" fmla="*/ 3726359 w 6530351"/>
              <a:gd name="connsiteY1902" fmla="*/ 1122412 h 6858285"/>
              <a:gd name="connsiteX1903" fmla="*/ 3771633 w 6530351"/>
              <a:gd name="connsiteY1903" fmla="*/ 1162029 h 6858285"/>
              <a:gd name="connsiteX1904" fmla="*/ 3773539 w 6530351"/>
              <a:gd name="connsiteY1904" fmla="*/ 1175444 h 6858285"/>
              <a:gd name="connsiteX1905" fmla="*/ 3733533 w 6530351"/>
              <a:gd name="connsiteY1905" fmla="*/ 1229103 h 6858285"/>
              <a:gd name="connsiteX1906" fmla="*/ 3390628 w 6530351"/>
              <a:gd name="connsiteY1906" fmla="*/ 1321092 h 6858285"/>
              <a:gd name="connsiteX1907" fmla="*/ 3323952 w 6530351"/>
              <a:gd name="connsiteY1907" fmla="*/ 1282761 h 6858285"/>
              <a:gd name="connsiteX1908" fmla="*/ 3362053 w 6530351"/>
              <a:gd name="connsiteY1908" fmla="*/ 1215690 h 6858285"/>
              <a:gd name="connsiteX1909" fmla="*/ 3704957 w 6530351"/>
              <a:gd name="connsiteY1909" fmla="*/ 1123700 h 6858285"/>
              <a:gd name="connsiteX1910" fmla="*/ 3726359 w 6530351"/>
              <a:gd name="connsiteY1910" fmla="*/ 1122412 h 6858285"/>
              <a:gd name="connsiteX1911" fmla="*/ 2592869 w 6530351"/>
              <a:gd name="connsiteY1911" fmla="*/ 1122392 h 6858285"/>
              <a:gd name="connsiteX1912" fmla="*/ 2638143 w 6530351"/>
              <a:gd name="connsiteY1912" fmla="*/ 1162008 h 6858285"/>
              <a:gd name="connsiteX1913" fmla="*/ 2640048 w 6530351"/>
              <a:gd name="connsiteY1913" fmla="*/ 1175424 h 6858285"/>
              <a:gd name="connsiteX1914" fmla="*/ 2600042 w 6530351"/>
              <a:gd name="connsiteY1914" fmla="*/ 1229084 h 6858285"/>
              <a:gd name="connsiteX1915" fmla="*/ 2257138 w 6530351"/>
              <a:gd name="connsiteY1915" fmla="*/ 1321073 h 6858285"/>
              <a:gd name="connsiteX1916" fmla="*/ 2190462 w 6530351"/>
              <a:gd name="connsiteY1916" fmla="*/ 1282744 h 6858285"/>
              <a:gd name="connsiteX1917" fmla="*/ 2228563 w 6530351"/>
              <a:gd name="connsiteY1917" fmla="*/ 1215669 h 6858285"/>
              <a:gd name="connsiteX1918" fmla="*/ 2571467 w 6530351"/>
              <a:gd name="connsiteY1918" fmla="*/ 1123680 h 6858285"/>
              <a:gd name="connsiteX1919" fmla="*/ 2592869 w 6530351"/>
              <a:gd name="connsiteY1919" fmla="*/ 1122392 h 6858285"/>
              <a:gd name="connsiteX1920" fmla="*/ 3157606 w 6530351"/>
              <a:gd name="connsiteY1920" fmla="*/ 1116352 h 6858285"/>
              <a:gd name="connsiteX1921" fmla="*/ 3201718 w 6530351"/>
              <a:gd name="connsiteY1921" fmla="*/ 1159215 h 6858285"/>
              <a:gd name="connsiteX1922" fmla="*/ 3203619 w 6530351"/>
              <a:gd name="connsiteY1922" fmla="*/ 1172550 h 6858285"/>
              <a:gd name="connsiteX1923" fmla="*/ 3159894 w 6530351"/>
              <a:gd name="connsiteY1923" fmla="*/ 1227794 h 6858285"/>
              <a:gd name="connsiteX1924" fmla="*/ 2815793 w 6530351"/>
              <a:gd name="connsiteY1924" fmla="*/ 1303992 h 6858285"/>
              <a:gd name="connsiteX1925" fmla="*/ 2747353 w 6530351"/>
              <a:gd name="connsiteY1925" fmla="*/ 1260177 h 6858285"/>
              <a:gd name="connsiteX1926" fmla="*/ 2791079 w 6530351"/>
              <a:gd name="connsiteY1926" fmla="*/ 1191600 h 6858285"/>
              <a:gd name="connsiteX1927" fmla="*/ 3135179 w 6530351"/>
              <a:gd name="connsiteY1927" fmla="*/ 1117304 h 6858285"/>
              <a:gd name="connsiteX1928" fmla="*/ 3157606 w 6530351"/>
              <a:gd name="connsiteY1928" fmla="*/ 1116352 h 6858285"/>
              <a:gd name="connsiteX1929" fmla="*/ 6485675 w 6530351"/>
              <a:gd name="connsiteY1929" fmla="*/ 836904 h 6858285"/>
              <a:gd name="connsiteX1930" fmla="*/ 6524069 w 6530351"/>
              <a:gd name="connsiteY1930" fmla="*/ 858924 h 6858285"/>
              <a:gd name="connsiteX1931" fmla="*/ 6527887 w 6530351"/>
              <a:gd name="connsiteY1931" fmla="*/ 876110 h 6858285"/>
              <a:gd name="connsiteX1932" fmla="*/ 6506885 w 6530351"/>
              <a:gd name="connsiteY1932" fmla="*/ 912393 h 6858285"/>
              <a:gd name="connsiteX1933" fmla="*/ 6167027 w 6530351"/>
              <a:gd name="connsiteY1933" fmla="*/ 1082352 h 6858285"/>
              <a:gd name="connsiteX1934" fmla="*/ 6113567 w 6530351"/>
              <a:gd name="connsiteY1934" fmla="*/ 1065166 h 6858285"/>
              <a:gd name="connsiteX1935" fmla="*/ 6130751 w 6530351"/>
              <a:gd name="connsiteY1935" fmla="*/ 1011692 h 6858285"/>
              <a:gd name="connsiteX1936" fmla="*/ 6470609 w 6530351"/>
              <a:gd name="connsiteY1936" fmla="*/ 841738 h 6858285"/>
              <a:gd name="connsiteX1937" fmla="*/ 6485675 w 6530351"/>
              <a:gd name="connsiteY1937" fmla="*/ 836904 h 6858285"/>
              <a:gd name="connsiteX1938" fmla="*/ 5957811 w 6530351"/>
              <a:gd name="connsiteY1938" fmla="*/ 832471 h 6858285"/>
              <a:gd name="connsiteX1939" fmla="*/ 5981147 w 6530351"/>
              <a:gd name="connsiteY1939" fmla="*/ 854296 h 6858285"/>
              <a:gd name="connsiteX1940" fmla="*/ 5984957 w 6530351"/>
              <a:gd name="connsiteY1940" fmla="*/ 871376 h 6858285"/>
              <a:gd name="connsiteX1941" fmla="*/ 5962097 w 6530351"/>
              <a:gd name="connsiteY1941" fmla="*/ 909333 h 6858285"/>
              <a:gd name="connsiteX1942" fmla="*/ 5623001 w 6530351"/>
              <a:gd name="connsiteY1942" fmla="*/ 1066858 h 6858285"/>
              <a:gd name="connsiteX1943" fmla="*/ 5565851 w 6530351"/>
              <a:gd name="connsiteY1943" fmla="*/ 1045977 h 6858285"/>
              <a:gd name="connsiteX1944" fmla="*/ 5586807 w 6530351"/>
              <a:gd name="connsiteY1944" fmla="*/ 990940 h 6858285"/>
              <a:gd name="connsiteX1945" fmla="*/ 5925901 w 6530351"/>
              <a:gd name="connsiteY1945" fmla="*/ 833419 h 6858285"/>
              <a:gd name="connsiteX1946" fmla="*/ 5957811 w 6530351"/>
              <a:gd name="connsiteY1946" fmla="*/ 832471 h 6858285"/>
              <a:gd name="connsiteX1947" fmla="*/ 398309 w 6530351"/>
              <a:gd name="connsiteY1947" fmla="*/ 832461 h 6858285"/>
              <a:gd name="connsiteX1948" fmla="*/ 421646 w 6530351"/>
              <a:gd name="connsiteY1948" fmla="*/ 854286 h 6858285"/>
              <a:gd name="connsiteX1949" fmla="*/ 425456 w 6530351"/>
              <a:gd name="connsiteY1949" fmla="*/ 871366 h 6858285"/>
              <a:gd name="connsiteX1950" fmla="*/ 400691 w 6530351"/>
              <a:gd name="connsiteY1950" fmla="*/ 909323 h 6858285"/>
              <a:gd name="connsiteX1951" fmla="*/ 61596 w 6530351"/>
              <a:gd name="connsiteY1951" fmla="*/ 1066847 h 6858285"/>
              <a:gd name="connsiteX1952" fmla="*/ 6350 w 6530351"/>
              <a:gd name="connsiteY1952" fmla="*/ 1045967 h 6858285"/>
              <a:gd name="connsiteX1953" fmla="*/ 27305 w 6530351"/>
              <a:gd name="connsiteY1953" fmla="*/ 990930 h 6858285"/>
              <a:gd name="connsiteX1954" fmla="*/ 366400 w 6530351"/>
              <a:gd name="connsiteY1954" fmla="*/ 833409 h 6858285"/>
              <a:gd name="connsiteX1955" fmla="*/ 398309 w 6530351"/>
              <a:gd name="connsiteY1955" fmla="*/ 832461 h 6858285"/>
              <a:gd name="connsiteX1956" fmla="*/ 5410491 w 6530351"/>
              <a:gd name="connsiteY1956" fmla="*/ 824769 h 6858285"/>
              <a:gd name="connsiteX1957" fmla="*/ 5435035 w 6530351"/>
              <a:gd name="connsiteY1957" fmla="*/ 848252 h 6858285"/>
              <a:gd name="connsiteX1958" fmla="*/ 5438847 w 6530351"/>
              <a:gd name="connsiteY1958" fmla="*/ 865330 h 6858285"/>
              <a:gd name="connsiteX1959" fmla="*/ 5410251 w 6530351"/>
              <a:gd name="connsiteY1959" fmla="*/ 907076 h 6858285"/>
              <a:gd name="connsiteX1960" fmla="*/ 5070911 w 6530351"/>
              <a:gd name="connsiteY1960" fmla="*/ 1049392 h 6858285"/>
              <a:gd name="connsiteX1961" fmla="*/ 5011813 w 6530351"/>
              <a:gd name="connsiteY1961" fmla="*/ 1024725 h 6858285"/>
              <a:gd name="connsiteX1962" fmla="*/ 5034689 w 6530351"/>
              <a:gd name="connsiteY1962" fmla="*/ 967798 h 6858285"/>
              <a:gd name="connsiteX1963" fmla="*/ 5375937 w 6530351"/>
              <a:gd name="connsiteY1963" fmla="*/ 825481 h 6858285"/>
              <a:gd name="connsiteX1964" fmla="*/ 5410491 w 6530351"/>
              <a:gd name="connsiteY1964" fmla="*/ 824769 h 6858285"/>
              <a:gd name="connsiteX1965" fmla="*/ 944792 w 6530351"/>
              <a:gd name="connsiteY1965" fmla="*/ 824757 h 6858285"/>
              <a:gd name="connsiteX1966" fmla="*/ 969337 w 6530351"/>
              <a:gd name="connsiteY1966" fmla="*/ 848240 h 6858285"/>
              <a:gd name="connsiteX1967" fmla="*/ 973150 w 6530351"/>
              <a:gd name="connsiteY1967" fmla="*/ 865318 h 6858285"/>
              <a:gd name="connsiteX1968" fmla="*/ 946460 w 6530351"/>
              <a:gd name="connsiteY1968" fmla="*/ 907064 h 6858285"/>
              <a:gd name="connsiteX1969" fmla="*/ 605213 w 6530351"/>
              <a:gd name="connsiteY1969" fmla="*/ 1049381 h 6858285"/>
              <a:gd name="connsiteX1970" fmla="*/ 546114 w 6530351"/>
              <a:gd name="connsiteY1970" fmla="*/ 1024713 h 6858285"/>
              <a:gd name="connsiteX1971" fmla="*/ 570897 w 6530351"/>
              <a:gd name="connsiteY1971" fmla="*/ 967786 h 6858285"/>
              <a:gd name="connsiteX1972" fmla="*/ 910238 w 6530351"/>
              <a:gd name="connsiteY1972" fmla="*/ 825469 h 6858285"/>
              <a:gd name="connsiteX1973" fmla="*/ 944792 w 6530351"/>
              <a:gd name="connsiteY1973" fmla="*/ 824757 h 6858285"/>
              <a:gd name="connsiteX1974" fmla="*/ 4842191 w 6530351"/>
              <a:gd name="connsiteY1974" fmla="*/ 812936 h 6858285"/>
              <a:gd name="connsiteX1975" fmla="*/ 4884489 w 6530351"/>
              <a:gd name="connsiteY1975" fmla="*/ 842712 h 6858285"/>
              <a:gd name="connsiteX1976" fmla="*/ 4886391 w 6530351"/>
              <a:gd name="connsiteY1976" fmla="*/ 859880 h 6858285"/>
              <a:gd name="connsiteX1977" fmla="*/ 4855933 w 6530351"/>
              <a:gd name="connsiteY1977" fmla="*/ 903754 h 6858285"/>
              <a:gd name="connsiteX1978" fmla="*/ 4515179 w 6530351"/>
              <a:gd name="connsiteY1978" fmla="*/ 1033468 h 6858285"/>
              <a:gd name="connsiteX1979" fmla="*/ 4454263 w 6530351"/>
              <a:gd name="connsiteY1979" fmla="*/ 1006762 h 6858285"/>
              <a:gd name="connsiteX1980" fmla="*/ 4482817 w 6530351"/>
              <a:gd name="connsiteY1980" fmla="*/ 945720 h 6858285"/>
              <a:gd name="connsiteX1981" fmla="*/ 4823571 w 6530351"/>
              <a:gd name="connsiteY1981" fmla="*/ 816006 h 6858285"/>
              <a:gd name="connsiteX1982" fmla="*/ 4842191 w 6530351"/>
              <a:gd name="connsiteY1982" fmla="*/ 812936 h 6858285"/>
              <a:gd name="connsiteX1983" fmla="*/ 1476362 w 6530351"/>
              <a:gd name="connsiteY1983" fmla="*/ 812922 h 6858285"/>
              <a:gd name="connsiteX1984" fmla="*/ 1518628 w 6530351"/>
              <a:gd name="connsiteY1984" fmla="*/ 842698 h 6858285"/>
              <a:gd name="connsiteX1985" fmla="*/ 1522433 w 6530351"/>
              <a:gd name="connsiteY1985" fmla="*/ 859866 h 6858285"/>
              <a:gd name="connsiteX1986" fmla="*/ 1491996 w 6530351"/>
              <a:gd name="connsiteY1986" fmla="*/ 903740 h 6858285"/>
              <a:gd name="connsiteX1987" fmla="*/ 1151487 w 6530351"/>
              <a:gd name="connsiteY1987" fmla="*/ 1033454 h 6858285"/>
              <a:gd name="connsiteX1988" fmla="*/ 1090613 w 6530351"/>
              <a:gd name="connsiteY1988" fmla="*/ 1006748 h 6858285"/>
              <a:gd name="connsiteX1989" fmla="*/ 1117245 w 6530351"/>
              <a:gd name="connsiteY1989" fmla="*/ 945706 h 6858285"/>
              <a:gd name="connsiteX1990" fmla="*/ 1457755 w 6530351"/>
              <a:gd name="connsiteY1990" fmla="*/ 815992 h 6858285"/>
              <a:gd name="connsiteX1991" fmla="*/ 1476362 w 6530351"/>
              <a:gd name="connsiteY1991" fmla="*/ 812922 h 6858285"/>
              <a:gd name="connsiteX1992" fmla="*/ 4285673 w 6530351"/>
              <a:gd name="connsiteY1992" fmla="*/ 804253 h 6858285"/>
              <a:gd name="connsiteX1993" fmla="*/ 4328535 w 6530351"/>
              <a:gd name="connsiteY1993" fmla="*/ 838591 h 6858285"/>
              <a:gd name="connsiteX1994" fmla="*/ 4332347 w 6530351"/>
              <a:gd name="connsiteY1994" fmla="*/ 853852 h 6858285"/>
              <a:gd name="connsiteX1995" fmla="*/ 4298055 w 6530351"/>
              <a:gd name="connsiteY1995" fmla="*/ 901544 h 6858285"/>
              <a:gd name="connsiteX1996" fmla="*/ 3957055 w 6530351"/>
              <a:gd name="connsiteY1996" fmla="*/ 1017912 h 6858285"/>
              <a:gd name="connsiteX1997" fmla="*/ 3894191 w 6530351"/>
              <a:gd name="connsiteY1997" fmla="*/ 985481 h 6858285"/>
              <a:gd name="connsiteX1998" fmla="*/ 3924671 w 6530351"/>
              <a:gd name="connsiteY1998" fmla="*/ 922528 h 6858285"/>
              <a:gd name="connsiteX1999" fmla="*/ 4265671 w 6530351"/>
              <a:gd name="connsiteY1999" fmla="*/ 806161 h 6858285"/>
              <a:gd name="connsiteX2000" fmla="*/ 4285673 w 6530351"/>
              <a:gd name="connsiteY2000" fmla="*/ 804253 h 6858285"/>
              <a:gd name="connsiteX2001" fmla="*/ 2032225 w 6530351"/>
              <a:gd name="connsiteY2001" fmla="*/ 804237 h 6858285"/>
              <a:gd name="connsiteX2002" fmla="*/ 2076160 w 6530351"/>
              <a:gd name="connsiteY2002" fmla="*/ 838575 h 6858285"/>
              <a:gd name="connsiteX2003" fmla="*/ 2078065 w 6530351"/>
              <a:gd name="connsiteY2003" fmla="*/ 853837 h 6858285"/>
              <a:gd name="connsiteX2004" fmla="*/ 2043775 w 6530351"/>
              <a:gd name="connsiteY2004" fmla="*/ 901528 h 6858285"/>
              <a:gd name="connsiteX2005" fmla="*/ 1702775 w 6530351"/>
              <a:gd name="connsiteY2005" fmla="*/ 1017896 h 6858285"/>
              <a:gd name="connsiteX2006" fmla="*/ 1639909 w 6530351"/>
              <a:gd name="connsiteY2006" fmla="*/ 985466 h 6858285"/>
              <a:gd name="connsiteX2007" fmla="*/ 1670390 w 6530351"/>
              <a:gd name="connsiteY2007" fmla="*/ 922513 h 6858285"/>
              <a:gd name="connsiteX2008" fmla="*/ 2013294 w 6530351"/>
              <a:gd name="connsiteY2008" fmla="*/ 806145 h 6858285"/>
              <a:gd name="connsiteX2009" fmla="*/ 2032225 w 6530351"/>
              <a:gd name="connsiteY2009" fmla="*/ 804237 h 6858285"/>
              <a:gd name="connsiteX2010" fmla="*/ 3725241 w 6530351"/>
              <a:gd name="connsiteY2010" fmla="*/ 796615 h 6858285"/>
              <a:gd name="connsiteX2011" fmla="*/ 3770043 w 6530351"/>
              <a:gd name="connsiteY2011" fmla="*/ 832564 h 6858285"/>
              <a:gd name="connsiteX2012" fmla="*/ 3771951 w 6530351"/>
              <a:gd name="connsiteY2012" fmla="*/ 847826 h 6858285"/>
              <a:gd name="connsiteX2013" fmla="*/ 3733797 w 6530351"/>
              <a:gd name="connsiteY2013" fmla="*/ 897429 h 6858285"/>
              <a:gd name="connsiteX2014" fmla="*/ 3390412 w 6530351"/>
              <a:gd name="connsiteY2014" fmla="*/ 1000449 h 6858285"/>
              <a:gd name="connsiteX2015" fmla="*/ 3325551 w 6530351"/>
              <a:gd name="connsiteY2015" fmla="*/ 964201 h 6858285"/>
              <a:gd name="connsiteX2016" fmla="*/ 3361797 w 6530351"/>
              <a:gd name="connsiteY2016" fmla="*/ 899337 h 6858285"/>
              <a:gd name="connsiteX2017" fmla="*/ 3705181 w 6530351"/>
              <a:gd name="connsiteY2017" fmla="*/ 798224 h 6858285"/>
              <a:gd name="connsiteX2018" fmla="*/ 3725241 w 6530351"/>
              <a:gd name="connsiteY2018" fmla="*/ 796615 h 6858285"/>
              <a:gd name="connsiteX2019" fmla="*/ 2591752 w 6530351"/>
              <a:gd name="connsiteY2019" fmla="*/ 796597 h 6858285"/>
              <a:gd name="connsiteX2020" fmla="*/ 2636552 w 6530351"/>
              <a:gd name="connsiteY2020" fmla="*/ 832546 h 6858285"/>
              <a:gd name="connsiteX2021" fmla="*/ 2638460 w 6530351"/>
              <a:gd name="connsiteY2021" fmla="*/ 847809 h 6858285"/>
              <a:gd name="connsiteX2022" fmla="*/ 2600306 w 6530351"/>
              <a:gd name="connsiteY2022" fmla="*/ 897411 h 6858285"/>
              <a:gd name="connsiteX2023" fmla="*/ 2256921 w 6530351"/>
              <a:gd name="connsiteY2023" fmla="*/ 1000432 h 6858285"/>
              <a:gd name="connsiteX2024" fmla="*/ 2192060 w 6530351"/>
              <a:gd name="connsiteY2024" fmla="*/ 964184 h 6858285"/>
              <a:gd name="connsiteX2025" fmla="*/ 2228306 w 6530351"/>
              <a:gd name="connsiteY2025" fmla="*/ 899319 h 6858285"/>
              <a:gd name="connsiteX2026" fmla="*/ 2571691 w 6530351"/>
              <a:gd name="connsiteY2026" fmla="*/ 798206 h 6858285"/>
              <a:gd name="connsiteX2027" fmla="*/ 2591752 w 6530351"/>
              <a:gd name="connsiteY2027" fmla="*/ 796597 h 6858285"/>
              <a:gd name="connsiteX2028" fmla="*/ 3154884 w 6530351"/>
              <a:gd name="connsiteY2028" fmla="*/ 787706 h 6858285"/>
              <a:gd name="connsiteX2029" fmla="*/ 3200127 w 6530351"/>
              <a:gd name="connsiteY2029" fmla="*/ 828693 h 6858285"/>
              <a:gd name="connsiteX2030" fmla="*/ 3202031 w 6530351"/>
              <a:gd name="connsiteY2030" fmla="*/ 842028 h 6858285"/>
              <a:gd name="connsiteX2031" fmla="*/ 3160149 w 6530351"/>
              <a:gd name="connsiteY2031" fmla="*/ 895367 h 6858285"/>
              <a:gd name="connsiteX2032" fmla="*/ 2817482 w 6530351"/>
              <a:gd name="connsiteY2032" fmla="*/ 982997 h 6858285"/>
              <a:gd name="connsiteX2033" fmla="*/ 2750852 w 6530351"/>
              <a:gd name="connsiteY2033" fmla="*/ 944898 h 6858285"/>
              <a:gd name="connsiteX2034" fmla="*/ 2788926 w 6530351"/>
              <a:gd name="connsiteY2034" fmla="*/ 878223 h 6858285"/>
              <a:gd name="connsiteX2035" fmla="*/ 3133497 w 6530351"/>
              <a:gd name="connsiteY2035" fmla="*/ 788688 h 6858285"/>
              <a:gd name="connsiteX2036" fmla="*/ 3154884 w 6530351"/>
              <a:gd name="connsiteY2036" fmla="*/ 787706 h 6858285"/>
              <a:gd name="connsiteX2037" fmla="*/ 6500919 w 6530351"/>
              <a:gd name="connsiteY2037" fmla="*/ 517209 h 6858285"/>
              <a:gd name="connsiteX2038" fmla="*/ 6524069 w 6530351"/>
              <a:gd name="connsiteY2038" fmla="*/ 538113 h 6858285"/>
              <a:gd name="connsiteX2039" fmla="*/ 6527887 w 6530351"/>
              <a:gd name="connsiteY2039" fmla="*/ 555216 h 6858285"/>
              <a:gd name="connsiteX2040" fmla="*/ 6506885 w 6530351"/>
              <a:gd name="connsiteY2040" fmla="*/ 591323 h 6858285"/>
              <a:gd name="connsiteX2041" fmla="*/ 6167027 w 6530351"/>
              <a:gd name="connsiteY2041" fmla="*/ 760455 h 6858285"/>
              <a:gd name="connsiteX2042" fmla="*/ 6113567 w 6530351"/>
              <a:gd name="connsiteY2042" fmla="*/ 743352 h 6858285"/>
              <a:gd name="connsiteX2043" fmla="*/ 6130751 w 6530351"/>
              <a:gd name="connsiteY2043" fmla="*/ 690142 h 6858285"/>
              <a:gd name="connsiteX2044" fmla="*/ 6470609 w 6530351"/>
              <a:gd name="connsiteY2044" fmla="*/ 519109 h 6858285"/>
              <a:gd name="connsiteX2045" fmla="*/ 6500919 w 6530351"/>
              <a:gd name="connsiteY2045" fmla="*/ 517209 h 6858285"/>
              <a:gd name="connsiteX2046" fmla="*/ 5942035 w 6530351"/>
              <a:gd name="connsiteY2046" fmla="*/ 506688 h 6858285"/>
              <a:gd name="connsiteX2047" fmla="*/ 5981147 w 6530351"/>
              <a:gd name="connsiteY2047" fmla="*/ 530411 h 6858285"/>
              <a:gd name="connsiteX2048" fmla="*/ 5984957 w 6530351"/>
              <a:gd name="connsiteY2048" fmla="*/ 547470 h 6858285"/>
              <a:gd name="connsiteX2049" fmla="*/ 5962097 w 6530351"/>
              <a:gd name="connsiteY2049" fmla="*/ 585381 h 6858285"/>
              <a:gd name="connsiteX2050" fmla="*/ 5623001 w 6530351"/>
              <a:gd name="connsiteY2050" fmla="*/ 744604 h 6858285"/>
              <a:gd name="connsiteX2051" fmla="*/ 5565851 w 6530351"/>
              <a:gd name="connsiteY2051" fmla="*/ 723754 h 6858285"/>
              <a:gd name="connsiteX2052" fmla="*/ 5586807 w 6530351"/>
              <a:gd name="connsiteY2052" fmla="*/ 668784 h 6858285"/>
              <a:gd name="connsiteX2053" fmla="*/ 5925901 w 6530351"/>
              <a:gd name="connsiteY2053" fmla="*/ 511455 h 6858285"/>
              <a:gd name="connsiteX2054" fmla="*/ 5942035 w 6530351"/>
              <a:gd name="connsiteY2054" fmla="*/ 506688 h 6858285"/>
              <a:gd name="connsiteX2055" fmla="*/ 382533 w 6530351"/>
              <a:gd name="connsiteY2055" fmla="*/ 506676 h 6858285"/>
              <a:gd name="connsiteX2056" fmla="*/ 421646 w 6530351"/>
              <a:gd name="connsiteY2056" fmla="*/ 530400 h 6858285"/>
              <a:gd name="connsiteX2057" fmla="*/ 425456 w 6530351"/>
              <a:gd name="connsiteY2057" fmla="*/ 547459 h 6858285"/>
              <a:gd name="connsiteX2058" fmla="*/ 400691 w 6530351"/>
              <a:gd name="connsiteY2058" fmla="*/ 585369 h 6858285"/>
              <a:gd name="connsiteX2059" fmla="*/ 61596 w 6530351"/>
              <a:gd name="connsiteY2059" fmla="*/ 744593 h 6858285"/>
              <a:gd name="connsiteX2060" fmla="*/ 6350 w 6530351"/>
              <a:gd name="connsiteY2060" fmla="*/ 723742 h 6858285"/>
              <a:gd name="connsiteX2061" fmla="*/ 27305 w 6530351"/>
              <a:gd name="connsiteY2061" fmla="*/ 668772 h 6858285"/>
              <a:gd name="connsiteX2062" fmla="*/ 366400 w 6530351"/>
              <a:gd name="connsiteY2062" fmla="*/ 511444 h 6858285"/>
              <a:gd name="connsiteX2063" fmla="*/ 382533 w 6530351"/>
              <a:gd name="connsiteY2063" fmla="*/ 506676 h 6858285"/>
              <a:gd name="connsiteX2064" fmla="*/ 5409837 w 6530351"/>
              <a:gd name="connsiteY2064" fmla="*/ 500968 h 6858285"/>
              <a:gd name="connsiteX2065" fmla="*/ 5433445 w 6530351"/>
              <a:gd name="connsiteY2065" fmla="*/ 524572 h 6858285"/>
              <a:gd name="connsiteX2066" fmla="*/ 5437261 w 6530351"/>
              <a:gd name="connsiteY2066" fmla="*/ 541739 h 6858285"/>
              <a:gd name="connsiteX2067" fmla="*/ 5410551 w 6530351"/>
              <a:gd name="connsiteY2067" fmla="*/ 581796 h 6858285"/>
              <a:gd name="connsiteX2068" fmla="*/ 5070961 w 6530351"/>
              <a:gd name="connsiteY2068" fmla="*/ 728671 h 6858285"/>
              <a:gd name="connsiteX2069" fmla="*/ 5011819 w 6530351"/>
              <a:gd name="connsiteY2069" fmla="*/ 705781 h 6858285"/>
              <a:gd name="connsiteX2070" fmla="*/ 5034713 w 6530351"/>
              <a:gd name="connsiteY2070" fmla="*/ 648557 h 6858285"/>
              <a:gd name="connsiteX2071" fmla="*/ 5376211 w 6530351"/>
              <a:gd name="connsiteY2071" fmla="*/ 501683 h 6858285"/>
              <a:gd name="connsiteX2072" fmla="*/ 5409837 w 6530351"/>
              <a:gd name="connsiteY2072" fmla="*/ 500968 h 6858285"/>
              <a:gd name="connsiteX2073" fmla="*/ 943582 w 6530351"/>
              <a:gd name="connsiteY2073" fmla="*/ 500954 h 6858285"/>
              <a:gd name="connsiteX2074" fmla="*/ 968073 w 6530351"/>
              <a:gd name="connsiteY2074" fmla="*/ 524559 h 6858285"/>
              <a:gd name="connsiteX2075" fmla="*/ 969975 w 6530351"/>
              <a:gd name="connsiteY2075" fmla="*/ 541726 h 6858285"/>
              <a:gd name="connsiteX2076" fmla="*/ 945246 w 6530351"/>
              <a:gd name="connsiteY2076" fmla="*/ 581783 h 6858285"/>
              <a:gd name="connsiteX2077" fmla="*/ 604747 w 6530351"/>
              <a:gd name="connsiteY2077" fmla="*/ 728657 h 6858285"/>
              <a:gd name="connsiteX2078" fmla="*/ 547680 w 6530351"/>
              <a:gd name="connsiteY2078" fmla="*/ 705768 h 6858285"/>
              <a:gd name="connsiteX2079" fmla="*/ 570507 w 6530351"/>
              <a:gd name="connsiteY2079" fmla="*/ 648544 h 6858285"/>
              <a:gd name="connsiteX2080" fmla="*/ 909104 w 6530351"/>
              <a:gd name="connsiteY2080" fmla="*/ 501669 h 6858285"/>
              <a:gd name="connsiteX2081" fmla="*/ 943582 w 6530351"/>
              <a:gd name="connsiteY2081" fmla="*/ 500954 h 6858285"/>
              <a:gd name="connsiteX2082" fmla="*/ 4841091 w 6530351"/>
              <a:gd name="connsiteY2082" fmla="*/ 488774 h 6858285"/>
              <a:gd name="connsiteX2083" fmla="*/ 4882585 w 6530351"/>
              <a:gd name="connsiteY2083" fmla="*/ 516865 h 6858285"/>
              <a:gd name="connsiteX2084" fmla="*/ 4886391 w 6530351"/>
              <a:gd name="connsiteY2084" fmla="*/ 533988 h 6858285"/>
              <a:gd name="connsiteX2085" fmla="*/ 4855933 w 6530351"/>
              <a:gd name="connsiteY2085" fmla="*/ 577744 h 6858285"/>
              <a:gd name="connsiteX2086" fmla="*/ 4517083 w 6530351"/>
              <a:gd name="connsiteY2086" fmla="*/ 712820 h 6858285"/>
              <a:gd name="connsiteX2087" fmla="*/ 4456167 w 6530351"/>
              <a:gd name="connsiteY2087" fmla="*/ 686186 h 6858285"/>
              <a:gd name="connsiteX2088" fmla="*/ 4482817 w 6530351"/>
              <a:gd name="connsiteY2088" fmla="*/ 627209 h 6858285"/>
              <a:gd name="connsiteX2089" fmla="*/ 4823571 w 6530351"/>
              <a:gd name="connsiteY2089" fmla="*/ 492133 h 6858285"/>
              <a:gd name="connsiteX2090" fmla="*/ 4841091 w 6530351"/>
              <a:gd name="connsiteY2090" fmla="*/ 488774 h 6858285"/>
              <a:gd name="connsiteX2091" fmla="*/ 1475779 w 6530351"/>
              <a:gd name="connsiteY2091" fmla="*/ 488758 h 6858285"/>
              <a:gd name="connsiteX2092" fmla="*/ 1517035 w 6530351"/>
              <a:gd name="connsiteY2092" fmla="*/ 516849 h 6858285"/>
              <a:gd name="connsiteX2093" fmla="*/ 1520845 w 6530351"/>
              <a:gd name="connsiteY2093" fmla="*/ 533972 h 6858285"/>
              <a:gd name="connsiteX2094" fmla="*/ 1492270 w 6530351"/>
              <a:gd name="connsiteY2094" fmla="*/ 577729 h 6858285"/>
              <a:gd name="connsiteX2095" fmla="*/ 1151270 w 6530351"/>
              <a:gd name="connsiteY2095" fmla="*/ 712805 h 6858285"/>
              <a:gd name="connsiteX2096" fmla="*/ 1092214 w 6530351"/>
              <a:gd name="connsiteY2096" fmla="*/ 686170 h 6858285"/>
              <a:gd name="connsiteX2097" fmla="*/ 1116979 w 6530351"/>
              <a:gd name="connsiteY2097" fmla="*/ 627193 h 6858285"/>
              <a:gd name="connsiteX2098" fmla="*/ 1457979 w 6530351"/>
              <a:gd name="connsiteY2098" fmla="*/ 492117 h 6858285"/>
              <a:gd name="connsiteX2099" fmla="*/ 1475779 w 6530351"/>
              <a:gd name="connsiteY2099" fmla="*/ 488758 h 6858285"/>
              <a:gd name="connsiteX2100" fmla="*/ 4284555 w 6530351"/>
              <a:gd name="connsiteY2100" fmla="*/ 479567 h 6858285"/>
              <a:gd name="connsiteX2101" fmla="*/ 4326943 w 6530351"/>
              <a:gd name="connsiteY2101" fmla="*/ 511091 h 6858285"/>
              <a:gd name="connsiteX2102" fmla="*/ 4330759 w 6530351"/>
              <a:gd name="connsiteY2102" fmla="*/ 528189 h 6858285"/>
              <a:gd name="connsiteX2103" fmla="*/ 4298327 w 6530351"/>
              <a:gd name="connsiteY2103" fmla="*/ 571884 h 6858285"/>
              <a:gd name="connsiteX2104" fmla="*/ 3956839 w 6530351"/>
              <a:gd name="connsiteY2104" fmla="*/ 695371 h 6858285"/>
              <a:gd name="connsiteX2105" fmla="*/ 3895791 w 6530351"/>
              <a:gd name="connsiteY2105" fmla="*/ 666874 h 6858285"/>
              <a:gd name="connsiteX2106" fmla="*/ 3924409 w 6530351"/>
              <a:gd name="connsiteY2106" fmla="*/ 606080 h 6858285"/>
              <a:gd name="connsiteX2107" fmla="*/ 4265895 w 6530351"/>
              <a:gd name="connsiteY2107" fmla="*/ 482594 h 6858285"/>
              <a:gd name="connsiteX2108" fmla="*/ 4284555 w 6530351"/>
              <a:gd name="connsiteY2108" fmla="*/ 479567 h 6858285"/>
              <a:gd name="connsiteX2109" fmla="*/ 2030573 w 6530351"/>
              <a:gd name="connsiteY2109" fmla="*/ 479549 h 6858285"/>
              <a:gd name="connsiteX2110" fmla="*/ 2074570 w 6530351"/>
              <a:gd name="connsiteY2110" fmla="*/ 511073 h 6858285"/>
              <a:gd name="connsiteX2111" fmla="*/ 2076478 w 6530351"/>
              <a:gd name="connsiteY2111" fmla="*/ 528172 h 6858285"/>
              <a:gd name="connsiteX2112" fmla="*/ 2045954 w 6530351"/>
              <a:gd name="connsiteY2112" fmla="*/ 571867 h 6858285"/>
              <a:gd name="connsiteX2113" fmla="*/ 1702559 w 6530351"/>
              <a:gd name="connsiteY2113" fmla="*/ 695353 h 6858285"/>
              <a:gd name="connsiteX2114" fmla="*/ 1641511 w 6530351"/>
              <a:gd name="connsiteY2114" fmla="*/ 666857 h 6858285"/>
              <a:gd name="connsiteX2115" fmla="*/ 1670127 w 6530351"/>
              <a:gd name="connsiteY2115" fmla="*/ 606063 h 6858285"/>
              <a:gd name="connsiteX2116" fmla="*/ 2011614 w 6530351"/>
              <a:gd name="connsiteY2116" fmla="*/ 482577 h 6858285"/>
              <a:gd name="connsiteX2117" fmla="*/ 2030573 w 6530351"/>
              <a:gd name="connsiteY2117" fmla="*/ 479549 h 6858285"/>
              <a:gd name="connsiteX2118" fmla="*/ 3723559 w 6530351"/>
              <a:gd name="connsiteY2118" fmla="*/ 470397 h 6858285"/>
              <a:gd name="connsiteX2119" fmla="*/ 3766543 w 6530351"/>
              <a:gd name="connsiteY2119" fmla="*/ 505539 h 6858285"/>
              <a:gd name="connsiteX2120" fmla="*/ 3770363 w 6530351"/>
              <a:gd name="connsiteY2120" fmla="*/ 520800 h 6858285"/>
              <a:gd name="connsiteX2121" fmla="*/ 3734065 w 6530351"/>
              <a:gd name="connsiteY2121" fmla="*/ 568492 h 6858285"/>
              <a:gd name="connsiteX2122" fmla="*/ 3392102 w 6530351"/>
              <a:gd name="connsiteY2122" fmla="*/ 681044 h 6858285"/>
              <a:gd name="connsiteX2123" fmla="*/ 3329059 w 6530351"/>
              <a:gd name="connsiteY2123" fmla="*/ 648614 h 6858285"/>
              <a:gd name="connsiteX2124" fmla="*/ 3359626 w 6530351"/>
              <a:gd name="connsiteY2124" fmla="*/ 585661 h 6858285"/>
              <a:gd name="connsiteX2125" fmla="*/ 3703499 w 6530351"/>
              <a:gd name="connsiteY2125" fmla="*/ 473109 h 6858285"/>
              <a:gd name="connsiteX2126" fmla="*/ 3723559 w 6530351"/>
              <a:gd name="connsiteY2126" fmla="*/ 470397 h 6858285"/>
              <a:gd name="connsiteX2127" fmla="*/ 2590068 w 6530351"/>
              <a:gd name="connsiteY2127" fmla="*/ 470376 h 6858285"/>
              <a:gd name="connsiteX2128" fmla="*/ 2633052 w 6530351"/>
              <a:gd name="connsiteY2128" fmla="*/ 505519 h 6858285"/>
              <a:gd name="connsiteX2129" fmla="*/ 2636873 w 6530351"/>
              <a:gd name="connsiteY2129" fmla="*/ 520780 h 6858285"/>
              <a:gd name="connsiteX2130" fmla="*/ 2600575 w 6530351"/>
              <a:gd name="connsiteY2130" fmla="*/ 568472 h 6858285"/>
              <a:gd name="connsiteX2131" fmla="*/ 2258612 w 6530351"/>
              <a:gd name="connsiteY2131" fmla="*/ 681025 h 6858285"/>
              <a:gd name="connsiteX2132" fmla="*/ 2195569 w 6530351"/>
              <a:gd name="connsiteY2132" fmla="*/ 648594 h 6858285"/>
              <a:gd name="connsiteX2133" fmla="*/ 2226136 w 6530351"/>
              <a:gd name="connsiteY2133" fmla="*/ 585641 h 6858285"/>
              <a:gd name="connsiteX2134" fmla="*/ 2570009 w 6530351"/>
              <a:gd name="connsiteY2134" fmla="*/ 473089 h 6858285"/>
              <a:gd name="connsiteX2135" fmla="*/ 2590068 w 6530351"/>
              <a:gd name="connsiteY2135" fmla="*/ 470376 h 6858285"/>
              <a:gd name="connsiteX2136" fmla="*/ 3153221 w 6530351"/>
              <a:gd name="connsiteY2136" fmla="*/ 461684 h 6858285"/>
              <a:gd name="connsiteX2137" fmla="*/ 3196948 w 6530351"/>
              <a:gd name="connsiteY2137" fmla="*/ 499511 h 6858285"/>
              <a:gd name="connsiteX2138" fmla="*/ 3198856 w 6530351"/>
              <a:gd name="connsiteY2138" fmla="*/ 512866 h 6858285"/>
              <a:gd name="connsiteX2139" fmla="*/ 3162610 w 6530351"/>
              <a:gd name="connsiteY2139" fmla="*/ 564376 h 6858285"/>
              <a:gd name="connsiteX2140" fmla="*/ 2819225 w 6530351"/>
              <a:gd name="connsiteY2140" fmla="*/ 665488 h 6858285"/>
              <a:gd name="connsiteX2141" fmla="*/ 2754363 w 6530351"/>
              <a:gd name="connsiteY2141" fmla="*/ 629241 h 6858285"/>
              <a:gd name="connsiteX2142" fmla="*/ 2788702 w 6530351"/>
              <a:gd name="connsiteY2142" fmla="*/ 564376 h 6858285"/>
              <a:gd name="connsiteX2143" fmla="*/ 3132087 w 6530351"/>
              <a:gd name="connsiteY2143" fmla="*/ 463264 h 6858285"/>
              <a:gd name="connsiteX2144" fmla="*/ 3153221 w 6530351"/>
              <a:gd name="connsiteY2144" fmla="*/ 461684 h 6858285"/>
              <a:gd name="connsiteX2145" fmla="*/ 6500919 w 6530351"/>
              <a:gd name="connsiteY2145" fmla="*/ 194958 h 6858285"/>
              <a:gd name="connsiteX2146" fmla="*/ 6524069 w 6530351"/>
              <a:gd name="connsiteY2146" fmla="*/ 215887 h 6858285"/>
              <a:gd name="connsiteX2147" fmla="*/ 6527887 w 6530351"/>
              <a:gd name="connsiteY2147" fmla="*/ 233011 h 6858285"/>
              <a:gd name="connsiteX2148" fmla="*/ 6506885 w 6530351"/>
              <a:gd name="connsiteY2148" fmla="*/ 269161 h 6858285"/>
              <a:gd name="connsiteX2149" fmla="*/ 6167027 w 6530351"/>
              <a:gd name="connsiteY2149" fmla="*/ 436596 h 6858285"/>
              <a:gd name="connsiteX2150" fmla="*/ 6113567 w 6530351"/>
              <a:gd name="connsiteY2150" fmla="*/ 419472 h 6858285"/>
              <a:gd name="connsiteX2151" fmla="*/ 6130751 w 6530351"/>
              <a:gd name="connsiteY2151" fmla="*/ 366197 h 6858285"/>
              <a:gd name="connsiteX2152" fmla="*/ 6470609 w 6530351"/>
              <a:gd name="connsiteY2152" fmla="*/ 196860 h 6858285"/>
              <a:gd name="connsiteX2153" fmla="*/ 6500919 w 6530351"/>
              <a:gd name="connsiteY2153" fmla="*/ 194958 h 6858285"/>
              <a:gd name="connsiteX2154" fmla="*/ 5957811 w 6530351"/>
              <a:gd name="connsiteY2154" fmla="*/ 186362 h 6858285"/>
              <a:gd name="connsiteX2155" fmla="*/ 5981147 w 6530351"/>
              <a:gd name="connsiteY2155" fmla="*/ 208187 h 6858285"/>
              <a:gd name="connsiteX2156" fmla="*/ 5984957 w 6530351"/>
              <a:gd name="connsiteY2156" fmla="*/ 225268 h 6858285"/>
              <a:gd name="connsiteX2157" fmla="*/ 5962097 w 6530351"/>
              <a:gd name="connsiteY2157" fmla="*/ 263225 h 6858285"/>
              <a:gd name="connsiteX2158" fmla="*/ 5623001 w 6530351"/>
              <a:gd name="connsiteY2158" fmla="*/ 420745 h 6858285"/>
              <a:gd name="connsiteX2159" fmla="*/ 5567757 w 6530351"/>
              <a:gd name="connsiteY2159" fmla="*/ 401767 h 6858285"/>
              <a:gd name="connsiteX2160" fmla="*/ 5586807 w 6530351"/>
              <a:gd name="connsiteY2160" fmla="*/ 346729 h 6858285"/>
              <a:gd name="connsiteX2161" fmla="*/ 5925901 w 6530351"/>
              <a:gd name="connsiteY2161" fmla="*/ 187311 h 6858285"/>
              <a:gd name="connsiteX2162" fmla="*/ 5957811 w 6530351"/>
              <a:gd name="connsiteY2162" fmla="*/ 186362 h 6858285"/>
              <a:gd name="connsiteX2163" fmla="*/ 398309 w 6530351"/>
              <a:gd name="connsiteY2163" fmla="*/ 186349 h 6858285"/>
              <a:gd name="connsiteX2164" fmla="*/ 421646 w 6530351"/>
              <a:gd name="connsiteY2164" fmla="*/ 208174 h 6858285"/>
              <a:gd name="connsiteX2165" fmla="*/ 425456 w 6530351"/>
              <a:gd name="connsiteY2165" fmla="*/ 225255 h 6858285"/>
              <a:gd name="connsiteX2166" fmla="*/ 400691 w 6530351"/>
              <a:gd name="connsiteY2166" fmla="*/ 263212 h 6858285"/>
              <a:gd name="connsiteX2167" fmla="*/ 61596 w 6530351"/>
              <a:gd name="connsiteY2167" fmla="*/ 420733 h 6858285"/>
              <a:gd name="connsiteX2168" fmla="*/ 6350 w 6530351"/>
              <a:gd name="connsiteY2168" fmla="*/ 401754 h 6858285"/>
              <a:gd name="connsiteX2169" fmla="*/ 27305 w 6530351"/>
              <a:gd name="connsiteY2169" fmla="*/ 346717 h 6858285"/>
              <a:gd name="connsiteX2170" fmla="*/ 366400 w 6530351"/>
              <a:gd name="connsiteY2170" fmla="*/ 187298 h 6858285"/>
              <a:gd name="connsiteX2171" fmla="*/ 398309 w 6530351"/>
              <a:gd name="connsiteY2171" fmla="*/ 186349 h 6858285"/>
              <a:gd name="connsiteX2172" fmla="*/ 5409203 w 6530351"/>
              <a:gd name="connsiteY2172" fmla="*/ 176869 h 6858285"/>
              <a:gd name="connsiteX2173" fmla="*/ 5433457 w 6530351"/>
              <a:gd name="connsiteY2173" fmla="*/ 198777 h 6858285"/>
              <a:gd name="connsiteX2174" fmla="*/ 5437261 w 6530351"/>
              <a:gd name="connsiteY2174" fmla="*/ 217827 h 6858285"/>
              <a:gd name="connsiteX2175" fmla="*/ 5410629 w 6530351"/>
              <a:gd name="connsiteY2175" fmla="*/ 255927 h 6858285"/>
              <a:gd name="connsiteX2176" fmla="*/ 5072033 w 6530351"/>
              <a:gd name="connsiteY2176" fmla="*/ 406421 h 6858285"/>
              <a:gd name="connsiteX2177" fmla="*/ 5014967 w 6530351"/>
              <a:gd name="connsiteY2177" fmla="*/ 385466 h 6858285"/>
              <a:gd name="connsiteX2178" fmla="*/ 5035891 w 6530351"/>
              <a:gd name="connsiteY2178" fmla="*/ 328316 h 6858285"/>
              <a:gd name="connsiteX2179" fmla="*/ 5376389 w 6530351"/>
              <a:gd name="connsiteY2179" fmla="*/ 177822 h 6858285"/>
              <a:gd name="connsiteX2180" fmla="*/ 5409203 w 6530351"/>
              <a:gd name="connsiteY2180" fmla="*/ 176869 h 6858285"/>
              <a:gd name="connsiteX2181" fmla="*/ 942630 w 6530351"/>
              <a:gd name="connsiteY2181" fmla="*/ 176854 h 6858285"/>
              <a:gd name="connsiteX2182" fmla="*/ 966171 w 6530351"/>
              <a:gd name="connsiteY2182" fmla="*/ 198761 h 6858285"/>
              <a:gd name="connsiteX2183" fmla="*/ 969975 w 6530351"/>
              <a:gd name="connsiteY2183" fmla="*/ 217811 h 6858285"/>
              <a:gd name="connsiteX2184" fmla="*/ 945246 w 6530351"/>
              <a:gd name="connsiteY2184" fmla="*/ 255911 h 6858285"/>
              <a:gd name="connsiteX2185" fmla="*/ 604747 w 6530351"/>
              <a:gd name="connsiteY2185" fmla="*/ 406406 h 6858285"/>
              <a:gd name="connsiteX2186" fmla="*/ 547680 w 6530351"/>
              <a:gd name="connsiteY2186" fmla="*/ 385451 h 6858285"/>
              <a:gd name="connsiteX2187" fmla="*/ 570507 w 6530351"/>
              <a:gd name="connsiteY2187" fmla="*/ 328301 h 6858285"/>
              <a:gd name="connsiteX2188" fmla="*/ 909104 w 6530351"/>
              <a:gd name="connsiteY2188" fmla="*/ 177807 h 6858285"/>
              <a:gd name="connsiteX2189" fmla="*/ 942630 w 6530351"/>
              <a:gd name="connsiteY2189" fmla="*/ 176854 h 6858285"/>
              <a:gd name="connsiteX2190" fmla="*/ 4856445 w 6530351"/>
              <a:gd name="connsiteY2190" fmla="*/ 167559 h 6858285"/>
              <a:gd name="connsiteX2191" fmla="*/ 4880991 w 6530351"/>
              <a:gd name="connsiteY2191" fmla="*/ 191072 h 6858285"/>
              <a:gd name="connsiteX2192" fmla="*/ 4884803 w 6530351"/>
              <a:gd name="connsiteY2192" fmla="*/ 208171 h 6858285"/>
              <a:gd name="connsiteX2193" fmla="*/ 4856207 w 6530351"/>
              <a:gd name="connsiteY2193" fmla="*/ 249971 h 6858285"/>
              <a:gd name="connsiteX2194" fmla="*/ 4516865 w 6530351"/>
              <a:gd name="connsiteY2194" fmla="*/ 390571 h 6858285"/>
              <a:gd name="connsiteX2195" fmla="*/ 4457767 w 6530351"/>
              <a:gd name="connsiteY2195" fmla="*/ 367771 h 6858285"/>
              <a:gd name="connsiteX2196" fmla="*/ 4482551 w 6530351"/>
              <a:gd name="connsiteY2196" fmla="*/ 308871 h 6858285"/>
              <a:gd name="connsiteX2197" fmla="*/ 4821891 w 6530351"/>
              <a:gd name="connsiteY2197" fmla="*/ 168272 h 6858285"/>
              <a:gd name="connsiteX2198" fmla="*/ 4856445 w 6530351"/>
              <a:gd name="connsiteY2198" fmla="*/ 167559 h 6858285"/>
              <a:gd name="connsiteX2199" fmla="*/ 1492487 w 6530351"/>
              <a:gd name="connsiteY2199" fmla="*/ 167542 h 6858285"/>
              <a:gd name="connsiteX2200" fmla="*/ 1517032 w 6530351"/>
              <a:gd name="connsiteY2200" fmla="*/ 191054 h 6858285"/>
              <a:gd name="connsiteX2201" fmla="*/ 1520845 w 6530351"/>
              <a:gd name="connsiteY2201" fmla="*/ 208154 h 6858285"/>
              <a:gd name="connsiteX2202" fmla="*/ 1492249 w 6530351"/>
              <a:gd name="connsiteY2202" fmla="*/ 249954 h 6858285"/>
              <a:gd name="connsiteX2203" fmla="*/ 1151001 w 6530351"/>
              <a:gd name="connsiteY2203" fmla="*/ 390554 h 6858285"/>
              <a:gd name="connsiteX2204" fmla="*/ 1093809 w 6530351"/>
              <a:gd name="connsiteY2204" fmla="*/ 367754 h 6858285"/>
              <a:gd name="connsiteX2205" fmla="*/ 1116686 w 6530351"/>
              <a:gd name="connsiteY2205" fmla="*/ 308854 h 6858285"/>
              <a:gd name="connsiteX2206" fmla="*/ 1457933 w 6530351"/>
              <a:gd name="connsiteY2206" fmla="*/ 168254 h 6858285"/>
              <a:gd name="connsiteX2207" fmla="*/ 1492487 w 6530351"/>
              <a:gd name="connsiteY2207" fmla="*/ 167542 h 6858285"/>
              <a:gd name="connsiteX2208" fmla="*/ 4266123 w 6530351"/>
              <a:gd name="connsiteY2208" fmla="*/ 156877 h 6858285"/>
              <a:gd name="connsiteX2209" fmla="*/ 4325349 w 6530351"/>
              <a:gd name="connsiteY2209" fmla="*/ 183583 h 6858285"/>
              <a:gd name="connsiteX2210" fmla="*/ 4329171 w 6530351"/>
              <a:gd name="connsiteY2210" fmla="*/ 200751 h 6858285"/>
              <a:gd name="connsiteX2211" fmla="*/ 4298603 w 6530351"/>
              <a:gd name="connsiteY2211" fmla="*/ 244625 h 6858285"/>
              <a:gd name="connsiteX2212" fmla="*/ 3956619 w 6530351"/>
              <a:gd name="connsiteY2212" fmla="*/ 376246 h 6858285"/>
              <a:gd name="connsiteX2213" fmla="*/ 3897393 w 6530351"/>
              <a:gd name="connsiteY2213" fmla="*/ 349541 h 6858285"/>
              <a:gd name="connsiteX2214" fmla="*/ 3924139 w 6530351"/>
              <a:gd name="connsiteY2214" fmla="*/ 290406 h 6858285"/>
              <a:gd name="connsiteX2215" fmla="*/ 4266123 w 6530351"/>
              <a:gd name="connsiteY2215" fmla="*/ 156877 h 6858285"/>
              <a:gd name="connsiteX2216" fmla="*/ 2010482 w 6530351"/>
              <a:gd name="connsiteY2216" fmla="*/ 156857 h 6858285"/>
              <a:gd name="connsiteX2217" fmla="*/ 2071399 w 6530351"/>
              <a:gd name="connsiteY2217" fmla="*/ 183563 h 6858285"/>
              <a:gd name="connsiteX2218" fmla="*/ 2073303 w 6530351"/>
              <a:gd name="connsiteY2218" fmla="*/ 200731 h 6858285"/>
              <a:gd name="connsiteX2219" fmla="*/ 2044748 w 6530351"/>
              <a:gd name="connsiteY2219" fmla="*/ 244605 h 6858285"/>
              <a:gd name="connsiteX2220" fmla="*/ 1703994 w 6530351"/>
              <a:gd name="connsiteY2220" fmla="*/ 376227 h 6858285"/>
              <a:gd name="connsiteX2221" fmla="*/ 1643077 w 6530351"/>
              <a:gd name="connsiteY2221" fmla="*/ 349521 h 6858285"/>
              <a:gd name="connsiteX2222" fmla="*/ 1669728 w 6530351"/>
              <a:gd name="connsiteY2222" fmla="*/ 290387 h 6858285"/>
              <a:gd name="connsiteX2223" fmla="*/ 2010482 w 6530351"/>
              <a:gd name="connsiteY2223" fmla="*/ 156857 h 6858285"/>
              <a:gd name="connsiteX2224" fmla="*/ 3720661 w 6530351"/>
              <a:gd name="connsiteY2224" fmla="*/ 144606 h 6858285"/>
              <a:gd name="connsiteX2225" fmla="*/ 3763701 w 6530351"/>
              <a:gd name="connsiteY2225" fmla="*/ 176130 h 6858285"/>
              <a:gd name="connsiteX2226" fmla="*/ 3765601 w 6530351"/>
              <a:gd name="connsiteY2226" fmla="*/ 193228 h 6858285"/>
              <a:gd name="connsiteX2227" fmla="*/ 3735185 w 6530351"/>
              <a:gd name="connsiteY2227" fmla="*/ 238823 h 6858285"/>
              <a:gd name="connsiteX2228" fmla="*/ 3393017 w 6530351"/>
              <a:gd name="connsiteY2228" fmla="*/ 360410 h 6858285"/>
              <a:gd name="connsiteX2229" fmla="*/ 3332187 w 6530351"/>
              <a:gd name="connsiteY2229" fmla="*/ 331913 h 6858285"/>
              <a:gd name="connsiteX2230" fmla="*/ 3360701 w 6530351"/>
              <a:gd name="connsiteY2230" fmla="*/ 271120 h 6858285"/>
              <a:gd name="connsiteX2231" fmla="*/ 3700969 w 6530351"/>
              <a:gd name="connsiteY2231" fmla="*/ 147634 h 6858285"/>
              <a:gd name="connsiteX2232" fmla="*/ 3720661 w 6530351"/>
              <a:gd name="connsiteY2232" fmla="*/ 144606 h 6858285"/>
              <a:gd name="connsiteX2233" fmla="*/ 2587010 w 6530351"/>
              <a:gd name="connsiteY2233" fmla="*/ 144584 h 6858285"/>
              <a:gd name="connsiteX2234" fmla="*/ 2630202 w 6530351"/>
              <a:gd name="connsiteY2234" fmla="*/ 176109 h 6858285"/>
              <a:gd name="connsiteX2235" fmla="*/ 2632110 w 6530351"/>
              <a:gd name="connsiteY2235" fmla="*/ 193207 h 6858285"/>
              <a:gd name="connsiteX2236" fmla="*/ 2601586 w 6530351"/>
              <a:gd name="connsiteY2236" fmla="*/ 238802 h 6858285"/>
              <a:gd name="connsiteX2237" fmla="*/ 2258191 w 6530351"/>
              <a:gd name="connsiteY2237" fmla="*/ 360389 h 6858285"/>
              <a:gd name="connsiteX2238" fmla="*/ 2197143 w 6530351"/>
              <a:gd name="connsiteY2238" fmla="*/ 331892 h 6858285"/>
              <a:gd name="connsiteX2239" fmla="*/ 2225759 w 6530351"/>
              <a:gd name="connsiteY2239" fmla="*/ 271098 h 6858285"/>
              <a:gd name="connsiteX2240" fmla="*/ 2567246 w 6530351"/>
              <a:gd name="connsiteY2240" fmla="*/ 147612 h 6858285"/>
              <a:gd name="connsiteX2241" fmla="*/ 2587010 w 6530351"/>
              <a:gd name="connsiteY2241" fmla="*/ 144584 h 6858285"/>
              <a:gd name="connsiteX2242" fmla="*/ 3149041 w 6530351"/>
              <a:gd name="connsiteY2242" fmla="*/ 135359 h 6858285"/>
              <a:gd name="connsiteX2243" fmla="*/ 3191874 w 6530351"/>
              <a:gd name="connsiteY2243" fmla="*/ 168391 h 6858285"/>
              <a:gd name="connsiteX2244" fmla="*/ 3195681 w 6530351"/>
              <a:gd name="connsiteY2244" fmla="*/ 185439 h 6858285"/>
              <a:gd name="connsiteX2245" fmla="*/ 3161415 w 6530351"/>
              <a:gd name="connsiteY2245" fmla="*/ 232797 h 6858285"/>
              <a:gd name="connsiteX2246" fmla="*/ 2818752 w 6530351"/>
              <a:gd name="connsiteY2246" fmla="*/ 344562 h 6858285"/>
              <a:gd name="connsiteX2247" fmla="*/ 2755930 w 6530351"/>
              <a:gd name="connsiteY2247" fmla="*/ 314253 h 6858285"/>
              <a:gd name="connsiteX2248" fmla="*/ 2788293 w 6530351"/>
              <a:gd name="connsiteY2248" fmla="*/ 249846 h 6858285"/>
              <a:gd name="connsiteX2249" fmla="*/ 3129052 w 6530351"/>
              <a:gd name="connsiteY2249" fmla="*/ 138082 h 6858285"/>
              <a:gd name="connsiteX2250" fmla="*/ 3149041 w 6530351"/>
              <a:gd name="connsiteY2250" fmla="*/ 135359 h 6858285"/>
              <a:gd name="connsiteX2251" fmla="*/ 6214753 w 6530351"/>
              <a:gd name="connsiteY2251" fmla="*/ 24 h 6858285"/>
              <a:gd name="connsiteX2252" fmla="*/ 6396123 w 6530351"/>
              <a:gd name="connsiteY2252" fmla="*/ 24 h 6858285"/>
              <a:gd name="connsiteX2253" fmla="*/ 6167023 w 6530351"/>
              <a:gd name="connsiteY2253" fmla="*/ 114324 h 6858285"/>
              <a:gd name="connsiteX2254" fmla="*/ 6113565 w 6530351"/>
              <a:gd name="connsiteY2254" fmla="*/ 95274 h 6858285"/>
              <a:gd name="connsiteX2255" fmla="*/ 6130749 w 6530351"/>
              <a:gd name="connsiteY2255" fmla="*/ 41934 h 6858285"/>
              <a:gd name="connsiteX2256" fmla="*/ 6214753 w 6530351"/>
              <a:gd name="connsiteY2256" fmla="*/ 24 h 6858285"/>
              <a:gd name="connsiteX2257" fmla="*/ 5637645 w 6530351"/>
              <a:gd name="connsiteY2257" fmla="*/ 24 h 6858285"/>
              <a:gd name="connsiteX2258" fmla="*/ 5829379 w 6530351"/>
              <a:gd name="connsiteY2258" fmla="*/ 24 h 6858285"/>
              <a:gd name="connsiteX2259" fmla="*/ 5622457 w 6530351"/>
              <a:gd name="connsiteY2259" fmla="*/ 99953 h 6858285"/>
              <a:gd name="connsiteX2260" fmla="*/ 5567405 w 6530351"/>
              <a:gd name="connsiteY2260" fmla="*/ 80736 h 6858285"/>
              <a:gd name="connsiteX2261" fmla="*/ 5586389 w 6530351"/>
              <a:gd name="connsiteY2261" fmla="*/ 25006 h 6858285"/>
              <a:gd name="connsiteX2262" fmla="*/ 5637645 w 6530351"/>
              <a:gd name="connsiteY2262" fmla="*/ 24 h 6858285"/>
              <a:gd name="connsiteX2263" fmla="*/ 5051003 w 6530351"/>
              <a:gd name="connsiteY2263" fmla="*/ 24 h 6858285"/>
              <a:gd name="connsiteX2264" fmla="*/ 5257871 w 6530351"/>
              <a:gd name="connsiteY2264" fmla="*/ 24 h 6858285"/>
              <a:gd name="connsiteX2265" fmla="*/ 5071881 w 6530351"/>
              <a:gd name="connsiteY2265" fmla="*/ 83844 h 6858285"/>
              <a:gd name="connsiteX2266" fmla="*/ 5014945 w 6530351"/>
              <a:gd name="connsiteY2266" fmla="*/ 62889 h 6858285"/>
              <a:gd name="connsiteX2267" fmla="*/ 5037719 w 6530351"/>
              <a:gd name="connsiteY2267" fmla="*/ 7644 h 6858285"/>
              <a:gd name="connsiteX2268" fmla="*/ 5051003 w 6530351"/>
              <a:gd name="connsiteY2268" fmla="*/ 24 h 6858285"/>
              <a:gd name="connsiteX2269" fmla="*/ 4468153 w 6530351"/>
              <a:gd name="connsiteY2269" fmla="*/ 24 h 6858285"/>
              <a:gd name="connsiteX2270" fmla="*/ 4678427 w 6530351"/>
              <a:gd name="connsiteY2270" fmla="*/ 24 h 6858285"/>
              <a:gd name="connsiteX2271" fmla="*/ 4517407 w 6530351"/>
              <a:gd name="connsiteY2271" fmla="*/ 71348 h 6858285"/>
              <a:gd name="connsiteX2272" fmla="*/ 4460575 w 6530351"/>
              <a:gd name="connsiteY2272" fmla="*/ 48216 h 6858285"/>
              <a:gd name="connsiteX2273" fmla="*/ 4468153 w 6530351"/>
              <a:gd name="connsiteY2273" fmla="*/ 24 h 6858285"/>
              <a:gd name="connsiteX2274" fmla="*/ 3898007 w 6530351"/>
              <a:gd name="connsiteY2274" fmla="*/ 24 h 6858285"/>
              <a:gd name="connsiteX2275" fmla="*/ 4092631 w 6530351"/>
              <a:gd name="connsiteY2275" fmla="*/ 24 h 6858285"/>
              <a:gd name="connsiteX2276" fmla="*/ 3959065 w 6530351"/>
              <a:gd name="connsiteY2276" fmla="*/ 55540 h 6858285"/>
              <a:gd name="connsiteX2277" fmla="*/ 3899915 w 6530351"/>
              <a:gd name="connsiteY2277" fmla="*/ 30653 h 6858285"/>
              <a:gd name="connsiteX2278" fmla="*/ 3898007 w 6530351"/>
              <a:gd name="connsiteY2278" fmla="*/ 24 h 6858285"/>
              <a:gd name="connsiteX2279" fmla="*/ 3332207 w 6530351"/>
              <a:gd name="connsiteY2279" fmla="*/ 24 h 6858285"/>
              <a:gd name="connsiteX2280" fmla="*/ 3497309 w 6530351"/>
              <a:gd name="connsiteY2280" fmla="*/ 24 h 6858285"/>
              <a:gd name="connsiteX2281" fmla="*/ 3394832 w 6530351"/>
              <a:gd name="connsiteY2281" fmla="*/ 41665 h 6858285"/>
              <a:gd name="connsiteX2282" fmla="*/ 3334105 w 6530351"/>
              <a:gd name="connsiteY2282" fmla="*/ 15166 h 6858285"/>
              <a:gd name="connsiteX2283" fmla="*/ 3332207 w 6530351"/>
              <a:gd name="connsiteY2283" fmla="*/ 24 h 6858285"/>
              <a:gd name="connsiteX2284" fmla="*/ 2760700 w 6530351"/>
              <a:gd name="connsiteY2284" fmla="*/ 23 h 6858285"/>
              <a:gd name="connsiteX2285" fmla="*/ 2890877 w 6530351"/>
              <a:gd name="connsiteY2285" fmla="*/ 23 h 6858285"/>
              <a:gd name="connsiteX2286" fmla="*/ 2821072 w 6530351"/>
              <a:gd name="connsiteY2286" fmla="*/ 27187 h 6858285"/>
              <a:gd name="connsiteX2287" fmla="*/ 2760700 w 6530351"/>
              <a:gd name="connsiteY2287" fmla="*/ 23 h 6858285"/>
              <a:gd name="connsiteX2288" fmla="*/ 76929 w 6530351"/>
              <a:gd name="connsiteY2288" fmla="*/ 9 h 6858285"/>
              <a:gd name="connsiteX2289" fmla="*/ 271466 w 6530351"/>
              <a:gd name="connsiteY2289" fmla="*/ 9 h 6858285"/>
              <a:gd name="connsiteX2290" fmla="*/ 63578 w 6530351"/>
              <a:gd name="connsiteY2290" fmla="*/ 99939 h 6858285"/>
              <a:gd name="connsiteX2291" fmla="*/ 8268 w 6530351"/>
              <a:gd name="connsiteY2291" fmla="*/ 80722 h 6858285"/>
              <a:gd name="connsiteX2292" fmla="*/ 27341 w 6530351"/>
              <a:gd name="connsiteY2292" fmla="*/ 24992 h 6858285"/>
              <a:gd name="connsiteX2293" fmla="*/ 76929 w 6530351"/>
              <a:gd name="connsiteY2293" fmla="*/ 9 h 6858285"/>
              <a:gd name="connsiteX2294" fmla="*/ 583739 w 6530351"/>
              <a:gd name="connsiteY2294" fmla="*/ 7 h 6858285"/>
              <a:gd name="connsiteX2295" fmla="*/ 792173 w 6530351"/>
              <a:gd name="connsiteY2295" fmla="*/ 7 h 6858285"/>
              <a:gd name="connsiteX2296" fmla="*/ 604773 w 6530351"/>
              <a:gd name="connsiteY2296" fmla="*/ 83827 h 6858285"/>
              <a:gd name="connsiteX2297" fmla="*/ 549318 w 6530351"/>
              <a:gd name="connsiteY2297" fmla="*/ 62872 h 6858285"/>
              <a:gd name="connsiteX2298" fmla="*/ 570353 w 6530351"/>
              <a:gd name="connsiteY2298" fmla="*/ 7627 h 6858285"/>
              <a:gd name="connsiteX2299" fmla="*/ 583739 w 6530351"/>
              <a:gd name="connsiteY2299" fmla="*/ 7 h 6858285"/>
              <a:gd name="connsiteX2300" fmla="*/ 1102318 w 6530351"/>
              <a:gd name="connsiteY2300" fmla="*/ 5 h 6858285"/>
              <a:gd name="connsiteX2301" fmla="*/ 1312880 w 6530351"/>
              <a:gd name="connsiteY2301" fmla="*/ 5 h 6858285"/>
              <a:gd name="connsiteX2302" fmla="*/ 1153536 w 6530351"/>
              <a:gd name="connsiteY2302" fmla="*/ 71329 h 6858285"/>
              <a:gd name="connsiteX2303" fmla="*/ 1094730 w 6530351"/>
              <a:gd name="connsiteY2303" fmla="*/ 48197 h 6858285"/>
              <a:gd name="connsiteX2304" fmla="*/ 1102318 w 6530351"/>
              <a:gd name="connsiteY2304" fmla="*/ 5 h 6858285"/>
              <a:gd name="connsiteX2305" fmla="*/ 1643408 w 6530351"/>
              <a:gd name="connsiteY2305" fmla="*/ 2 h 6858285"/>
              <a:gd name="connsiteX2306" fmla="*/ 1838350 w 6530351"/>
              <a:gd name="connsiteY2306" fmla="*/ 2 h 6858285"/>
              <a:gd name="connsiteX2307" fmla="*/ 1704566 w 6530351"/>
              <a:gd name="connsiteY2307" fmla="*/ 55519 h 6858285"/>
              <a:gd name="connsiteX2308" fmla="*/ 1645319 w 6530351"/>
              <a:gd name="connsiteY2308" fmla="*/ 30632 h 6858285"/>
              <a:gd name="connsiteX2309" fmla="*/ 1643408 w 6530351"/>
              <a:gd name="connsiteY2309" fmla="*/ 2 h 6858285"/>
              <a:gd name="connsiteX2310" fmla="*/ 2197129 w 6530351"/>
              <a:gd name="connsiteY2310" fmla="*/ 0 h 6858285"/>
              <a:gd name="connsiteX2311" fmla="*/ 2363819 w 6530351"/>
              <a:gd name="connsiteY2311" fmla="*/ 0 h 6858285"/>
              <a:gd name="connsiteX2312" fmla="*/ 2260356 w 6530351"/>
              <a:gd name="connsiteY2312" fmla="*/ 41642 h 6858285"/>
              <a:gd name="connsiteX2313" fmla="*/ 2199045 w 6530351"/>
              <a:gd name="connsiteY2313" fmla="*/ 15142 h 6858285"/>
              <a:gd name="connsiteX2314" fmla="*/ 2197129 w 6530351"/>
              <a:gd name="connsiteY2314" fmla="*/ 0 h 6858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</a:cxnLst>
            <a:rect l="l" t="t" r="r" b="b"/>
            <a:pathLst>
              <a:path w="6530351" h="6858285">
                <a:moveTo>
                  <a:pt x="6502939" y="6648860"/>
                </a:moveTo>
                <a:cubicBezTo>
                  <a:pt x="6512949" y="6652438"/>
                  <a:pt x="6521527" y="6659592"/>
                  <a:pt x="6526293" y="6669131"/>
                </a:cubicBezTo>
                <a:cubicBezTo>
                  <a:pt x="6535827" y="6690116"/>
                  <a:pt x="6528201" y="6714918"/>
                  <a:pt x="6507229" y="6724457"/>
                </a:cubicBezTo>
                <a:cubicBezTo>
                  <a:pt x="6507229" y="6724457"/>
                  <a:pt x="6507229" y="6724457"/>
                  <a:pt x="6226983" y="6858002"/>
                </a:cubicBezTo>
                <a:cubicBezTo>
                  <a:pt x="6226983" y="6858002"/>
                  <a:pt x="6226983" y="6858002"/>
                  <a:pt x="6108783" y="6858002"/>
                </a:cubicBezTo>
                <a:cubicBezTo>
                  <a:pt x="6108783" y="6856094"/>
                  <a:pt x="6108783" y="6852279"/>
                  <a:pt x="6108783" y="6850371"/>
                </a:cubicBezTo>
                <a:cubicBezTo>
                  <a:pt x="6108783" y="6835109"/>
                  <a:pt x="6118315" y="6819846"/>
                  <a:pt x="6131661" y="6812215"/>
                </a:cubicBezTo>
                <a:cubicBezTo>
                  <a:pt x="6131661" y="6812215"/>
                  <a:pt x="6131661" y="6812215"/>
                  <a:pt x="6471007" y="6650053"/>
                </a:cubicBezTo>
                <a:cubicBezTo>
                  <a:pt x="6481493" y="6645283"/>
                  <a:pt x="6492931" y="6645283"/>
                  <a:pt x="6502939" y="6648860"/>
                </a:cubicBezTo>
                <a:close/>
                <a:moveTo>
                  <a:pt x="5955459" y="6635423"/>
                </a:moveTo>
                <a:cubicBezTo>
                  <a:pt x="5965237" y="6638752"/>
                  <a:pt x="5973823" y="6645886"/>
                  <a:pt x="5978591" y="6656349"/>
                </a:cubicBezTo>
                <a:cubicBezTo>
                  <a:pt x="5988131" y="6675373"/>
                  <a:pt x="5980499" y="6700104"/>
                  <a:pt x="5961421" y="6709616"/>
                </a:cubicBezTo>
                <a:cubicBezTo>
                  <a:pt x="5961421" y="6709616"/>
                  <a:pt x="5961421" y="6709616"/>
                  <a:pt x="5656161" y="6858002"/>
                </a:cubicBezTo>
                <a:cubicBezTo>
                  <a:pt x="5656161" y="6858002"/>
                  <a:pt x="5656161" y="6858002"/>
                  <a:pt x="5568399" y="6858002"/>
                </a:cubicBezTo>
                <a:cubicBezTo>
                  <a:pt x="5568399" y="6858002"/>
                  <a:pt x="5568399" y="6858002"/>
                  <a:pt x="5566491" y="6858002"/>
                </a:cubicBezTo>
                <a:cubicBezTo>
                  <a:pt x="5564583" y="6852295"/>
                  <a:pt x="5562675" y="6844686"/>
                  <a:pt x="5562675" y="6838978"/>
                </a:cubicBezTo>
                <a:cubicBezTo>
                  <a:pt x="5562675" y="6823759"/>
                  <a:pt x="5572215" y="6810443"/>
                  <a:pt x="5585569" y="6802833"/>
                </a:cubicBezTo>
                <a:cubicBezTo>
                  <a:pt x="5585569" y="6802833"/>
                  <a:pt x="5585569" y="6802833"/>
                  <a:pt x="5925171" y="6637326"/>
                </a:cubicBezTo>
                <a:cubicBezTo>
                  <a:pt x="5934711" y="6632570"/>
                  <a:pt x="5945681" y="6632094"/>
                  <a:pt x="5955459" y="6635423"/>
                </a:cubicBezTo>
                <a:close/>
                <a:moveTo>
                  <a:pt x="396080" y="6635423"/>
                </a:moveTo>
                <a:cubicBezTo>
                  <a:pt x="405821" y="6638752"/>
                  <a:pt x="414374" y="6645886"/>
                  <a:pt x="419126" y="6656349"/>
                </a:cubicBezTo>
                <a:cubicBezTo>
                  <a:pt x="428630" y="6675373"/>
                  <a:pt x="421027" y="6700104"/>
                  <a:pt x="400119" y="6709616"/>
                </a:cubicBezTo>
                <a:cubicBezTo>
                  <a:pt x="400119" y="6709616"/>
                  <a:pt x="400119" y="6709616"/>
                  <a:pt x="97899" y="6858002"/>
                </a:cubicBezTo>
                <a:cubicBezTo>
                  <a:pt x="97899" y="6858002"/>
                  <a:pt x="97899" y="6858002"/>
                  <a:pt x="10464" y="6858002"/>
                </a:cubicBezTo>
                <a:cubicBezTo>
                  <a:pt x="10464" y="6858002"/>
                  <a:pt x="8564" y="6858002"/>
                  <a:pt x="8564" y="6858002"/>
                </a:cubicBezTo>
                <a:cubicBezTo>
                  <a:pt x="6663" y="6852295"/>
                  <a:pt x="4762" y="6844686"/>
                  <a:pt x="4762" y="6838978"/>
                </a:cubicBezTo>
                <a:cubicBezTo>
                  <a:pt x="4762" y="6823759"/>
                  <a:pt x="12365" y="6810443"/>
                  <a:pt x="27571" y="6802833"/>
                </a:cubicBezTo>
                <a:cubicBezTo>
                  <a:pt x="27571" y="6802833"/>
                  <a:pt x="27571" y="6802833"/>
                  <a:pt x="365905" y="6637326"/>
                </a:cubicBezTo>
                <a:cubicBezTo>
                  <a:pt x="375409" y="6632570"/>
                  <a:pt x="386338" y="6632094"/>
                  <a:pt x="396080" y="6635423"/>
                </a:cubicBezTo>
                <a:close/>
                <a:moveTo>
                  <a:pt x="5405399" y="6619807"/>
                </a:moveTo>
                <a:cubicBezTo>
                  <a:pt x="5414911" y="6622907"/>
                  <a:pt x="5422995" y="6630060"/>
                  <a:pt x="5427751" y="6640551"/>
                </a:cubicBezTo>
                <a:cubicBezTo>
                  <a:pt x="5437261" y="6659625"/>
                  <a:pt x="5429653" y="6682515"/>
                  <a:pt x="5410631" y="6693960"/>
                </a:cubicBezTo>
                <a:cubicBezTo>
                  <a:pt x="5410631" y="6693960"/>
                  <a:pt x="5410631" y="6693960"/>
                  <a:pt x="5083459" y="6858002"/>
                </a:cubicBezTo>
                <a:cubicBezTo>
                  <a:pt x="5083459" y="6858002"/>
                  <a:pt x="5083459" y="6858002"/>
                  <a:pt x="5028295" y="6858002"/>
                </a:cubicBezTo>
                <a:cubicBezTo>
                  <a:pt x="5024491" y="6856095"/>
                  <a:pt x="5022589" y="6852280"/>
                  <a:pt x="5020687" y="6846557"/>
                </a:cubicBezTo>
                <a:cubicBezTo>
                  <a:pt x="5016883" y="6840835"/>
                  <a:pt x="5014979" y="6835113"/>
                  <a:pt x="5014979" y="6829390"/>
                </a:cubicBezTo>
                <a:cubicBezTo>
                  <a:pt x="5014979" y="6814131"/>
                  <a:pt x="5024491" y="6800778"/>
                  <a:pt x="5037807" y="6793148"/>
                </a:cubicBezTo>
                <a:cubicBezTo>
                  <a:pt x="5037807" y="6793148"/>
                  <a:pt x="5037807" y="6793148"/>
                  <a:pt x="5374489" y="6623384"/>
                </a:cubicBezTo>
                <a:cubicBezTo>
                  <a:pt x="5384951" y="6617661"/>
                  <a:pt x="5395889" y="6616708"/>
                  <a:pt x="5405399" y="6619807"/>
                </a:cubicBezTo>
                <a:close/>
                <a:moveTo>
                  <a:pt x="939737" y="6619807"/>
                </a:moveTo>
                <a:cubicBezTo>
                  <a:pt x="949284" y="6622907"/>
                  <a:pt x="957876" y="6630060"/>
                  <a:pt x="963603" y="6640551"/>
                </a:cubicBezTo>
                <a:cubicBezTo>
                  <a:pt x="973150" y="6659625"/>
                  <a:pt x="965513" y="6682515"/>
                  <a:pt x="944510" y="6693960"/>
                </a:cubicBezTo>
                <a:cubicBezTo>
                  <a:pt x="944510" y="6693960"/>
                  <a:pt x="944510" y="6693960"/>
                  <a:pt x="618017" y="6858002"/>
                </a:cubicBezTo>
                <a:cubicBezTo>
                  <a:pt x="618017" y="6858002"/>
                  <a:pt x="618017" y="6858002"/>
                  <a:pt x="562647" y="6858002"/>
                </a:cubicBezTo>
                <a:cubicBezTo>
                  <a:pt x="558829" y="6856095"/>
                  <a:pt x="555010" y="6852280"/>
                  <a:pt x="553101" y="6846557"/>
                </a:cubicBezTo>
                <a:cubicBezTo>
                  <a:pt x="549282" y="6840835"/>
                  <a:pt x="549282" y="6835113"/>
                  <a:pt x="549282" y="6829390"/>
                </a:cubicBezTo>
                <a:cubicBezTo>
                  <a:pt x="549282" y="6814131"/>
                  <a:pt x="556919" y="6800778"/>
                  <a:pt x="570284" y="6793148"/>
                </a:cubicBezTo>
                <a:cubicBezTo>
                  <a:pt x="570284" y="6793148"/>
                  <a:pt x="570284" y="6793148"/>
                  <a:pt x="910143" y="6623384"/>
                </a:cubicBezTo>
                <a:cubicBezTo>
                  <a:pt x="919690" y="6617661"/>
                  <a:pt x="930191" y="6616707"/>
                  <a:pt x="939737" y="6619807"/>
                </a:cubicBezTo>
                <a:close/>
                <a:moveTo>
                  <a:pt x="4850617" y="6606629"/>
                </a:moveTo>
                <a:cubicBezTo>
                  <a:pt x="4860373" y="6609729"/>
                  <a:pt x="4868941" y="6616404"/>
                  <a:pt x="4873699" y="6625941"/>
                </a:cubicBezTo>
                <a:cubicBezTo>
                  <a:pt x="4883215" y="6645014"/>
                  <a:pt x="4875601" y="6667901"/>
                  <a:pt x="4856565" y="6677438"/>
                </a:cubicBezTo>
                <a:cubicBezTo>
                  <a:pt x="4856565" y="6677438"/>
                  <a:pt x="4856565" y="6677438"/>
                  <a:pt x="4519631" y="6852909"/>
                </a:cubicBezTo>
                <a:cubicBezTo>
                  <a:pt x="4500595" y="6864352"/>
                  <a:pt x="4477751" y="6856723"/>
                  <a:pt x="4466331" y="6837650"/>
                </a:cubicBezTo>
                <a:cubicBezTo>
                  <a:pt x="4464427" y="6831928"/>
                  <a:pt x="4462523" y="6824299"/>
                  <a:pt x="4462523" y="6818577"/>
                </a:cubicBezTo>
                <a:cubicBezTo>
                  <a:pt x="4462523" y="6805226"/>
                  <a:pt x="4470137" y="6791875"/>
                  <a:pt x="4483463" y="6784246"/>
                </a:cubicBezTo>
                <a:cubicBezTo>
                  <a:pt x="4483463" y="6784246"/>
                  <a:pt x="4483463" y="6784246"/>
                  <a:pt x="4820397" y="6608775"/>
                </a:cubicBezTo>
                <a:cubicBezTo>
                  <a:pt x="4829915" y="6604007"/>
                  <a:pt x="4840861" y="6603530"/>
                  <a:pt x="4850617" y="6606629"/>
                </a:cubicBezTo>
                <a:close/>
                <a:moveTo>
                  <a:pt x="1485707" y="6606629"/>
                </a:moveTo>
                <a:cubicBezTo>
                  <a:pt x="1494987" y="6609729"/>
                  <a:pt x="1503078" y="6616404"/>
                  <a:pt x="1507836" y="6625941"/>
                </a:cubicBezTo>
                <a:cubicBezTo>
                  <a:pt x="1519258" y="6645014"/>
                  <a:pt x="1511644" y="6667901"/>
                  <a:pt x="1492608" y="6677438"/>
                </a:cubicBezTo>
                <a:cubicBezTo>
                  <a:pt x="1492608" y="6677438"/>
                  <a:pt x="1492608" y="6677438"/>
                  <a:pt x="1153769" y="6852909"/>
                </a:cubicBezTo>
                <a:cubicBezTo>
                  <a:pt x="1134733" y="6864352"/>
                  <a:pt x="1111890" y="6856723"/>
                  <a:pt x="1102372" y="6837650"/>
                </a:cubicBezTo>
                <a:cubicBezTo>
                  <a:pt x="1098565" y="6831928"/>
                  <a:pt x="1098565" y="6824299"/>
                  <a:pt x="1098565" y="6818577"/>
                </a:cubicBezTo>
                <a:cubicBezTo>
                  <a:pt x="1098565" y="6805226"/>
                  <a:pt x="1106179" y="6791875"/>
                  <a:pt x="1119504" y="6784246"/>
                </a:cubicBezTo>
                <a:cubicBezTo>
                  <a:pt x="1119504" y="6784246"/>
                  <a:pt x="1119504" y="6784246"/>
                  <a:pt x="1456440" y="6608775"/>
                </a:cubicBezTo>
                <a:cubicBezTo>
                  <a:pt x="1465958" y="6604007"/>
                  <a:pt x="1476427" y="6603530"/>
                  <a:pt x="1485707" y="6606629"/>
                </a:cubicBezTo>
                <a:close/>
                <a:moveTo>
                  <a:pt x="4291151" y="6592968"/>
                </a:moveTo>
                <a:cubicBezTo>
                  <a:pt x="4300437" y="6595588"/>
                  <a:pt x="4308533" y="6601779"/>
                  <a:pt x="4313295" y="6611304"/>
                </a:cubicBezTo>
                <a:cubicBezTo>
                  <a:pt x="4322821" y="6630354"/>
                  <a:pt x="4317105" y="6653214"/>
                  <a:pt x="4298055" y="6662739"/>
                </a:cubicBezTo>
                <a:cubicBezTo>
                  <a:pt x="4298055" y="6662739"/>
                  <a:pt x="4298055" y="6662739"/>
                  <a:pt x="3960865" y="6841809"/>
                </a:cubicBezTo>
                <a:cubicBezTo>
                  <a:pt x="3941815" y="6853239"/>
                  <a:pt x="3918955" y="6845619"/>
                  <a:pt x="3909431" y="6826569"/>
                </a:cubicBezTo>
                <a:cubicBezTo>
                  <a:pt x="3905621" y="6820854"/>
                  <a:pt x="3903715" y="6815139"/>
                  <a:pt x="3903715" y="6809424"/>
                </a:cubicBezTo>
                <a:cubicBezTo>
                  <a:pt x="3903715" y="6796089"/>
                  <a:pt x="3911335" y="6782754"/>
                  <a:pt x="3924671" y="6775134"/>
                </a:cubicBezTo>
                <a:cubicBezTo>
                  <a:pt x="3924671" y="6775134"/>
                  <a:pt x="3924671" y="6775134"/>
                  <a:pt x="4261861" y="6596064"/>
                </a:cubicBezTo>
                <a:cubicBezTo>
                  <a:pt x="4271387" y="6591301"/>
                  <a:pt x="4281863" y="6590349"/>
                  <a:pt x="4291151" y="6592968"/>
                </a:cubicBezTo>
                <a:close/>
                <a:moveTo>
                  <a:pt x="2037028" y="6592968"/>
                </a:moveTo>
                <a:cubicBezTo>
                  <a:pt x="2046315" y="6595587"/>
                  <a:pt x="2054888" y="6601779"/>
                  <a:pt x="2060603" y="6611304"/>
                </a:cubicBezTo>
                <a:cubicBezTo>
                  <a:pt x="2070128" y="6630354"/>
                  <a:pt x="2062508" y="6653214"/>
                  <a:pt x="2043458" y="6662739"/>
                </a:cubicBezTo>
                <a:cubicBezTo>
                  <a:pt x="2043458" y="6662739"/>
                  <a:pt x="2043458" y="6662739"/>
                  <a:pt x="1706268" y="6841809"/>
                </a:cubicBezTo>
                <a:cubicBezTo>
                  <a:pt x="1687218" y="6853239"/>
                  <a:pt x="1664357" y="6845619"/>
                  <a:pt x="1654832" y="6826569"/>
                </a:cubicBezTo>
                <a:cubicBezTo>
                  <a:pt x="1652927" y="6820854"/>
                  <a:pt x="1651022" y="6815139"/>
                  <a:pt x="1651022" y="6809424"/>
                </a:cubicBezTo>
                <a:cubicBezTo>
                  <a:pt x="1651022" y="6796089"/>
                  <a:pt x="1658642" y="6782754"/>
                  <a:pt x="1670072" y="6775134"/>
                </a:cubicBezTo>
                <a:cubicBezTo>
                  <a:pt x="1670072" y="6775134"/>
                  <a:pt x="1670072" y="6775134"/>
                  <a:pt x="2009167" y="6596064"/>
                </a:cubicBezTo>
                <a:cubicBezTo>
                  <a:pt x="2017740" y="6591301"/>
                  <a:pt x="2027741" y="6590349"/>
                  <a:pt x="2037028" y="6592968"/>
                </a:cubicBezTo>
                <a:close/>
                <a:moveTo>
                  <a:pt x="3727793" y="6578028"/>
                </a:moveTo>
                <a:cubicBezTo>
                  <a:pt x="3736849" y="6580642"/>
                  <a:pt x="3744951" y="6586818"/>
                  <a:pt x="3749717" y="6595371"/>
                </a:cubicBezTo>
                <a:cubicBezTo>
                  <a:pt x="3759251" y="6614376"/>
                  <a:pt x="3753531" y="6635282"/>
                  <a:pt x="3734465" y="6646685"/>
                </a:cubicBezTo>
                <a:cubicBezTo>
                  <a:pt x="3734465" y="6646685"/>
                  <a:pt x="3734465" y="6646685"/>
                  <a:pt x="3397020" y="6831037"/>
                </a:cubicBezTo>
                <a:cubicBezTo>
                  <a:pt x="3379861" y="6840539"/>
                  <a:pt x="3356984" y="6832937"/>
                  <a:pt x="3347451" y="6815832"/>
                </a:cubicBezTo>
                <a:cubicBezTo>
                  <a:pt x="3343638" y="6810131"/>
                  <a:pt x="3341732" y="6804429"/>
                  <a:pt x="3341732" y="6798728"/>
                </a:cubicBezTo>
                <a:cubicBezTo>
                  <a:pt x="3341732" y="6785424"/>
                  <a:pt x="3349358" y="6772120"/>
                  <a:pt x="3362703" y="6764518"/>
                </a:cubicBezTo>
                <a:cubicBezTo>
                  <a:pt x="3362703" y="6764518"/>
                  <a:pt x="3362703" y="6764518"/>
                  <a:pt x="3700149" y="6582067"/>
                </a:cubicBezTo>
                <a:cubicBezTo>
                  <a:pt x="3708729" y="6576365"/>
                  <a:pt x="3718737" y="6575415"/>
                  <a:pt x="3727793" y="6578028"/>
                </a:cubicBezTo>
                <a:close/>
                <a:moveTo>
                  <a:pt x="2592715" y="6578028"/>
                </a:moveTo>
                <a:cubicBezTo>
                  <a:pt x="2601771" y="6580641"/>
                  <a:pt x="2609874" y="6586818"/>
                  <a:pt x="2614640" y="6595371"/>
                </a:cubicBezTo>
                <a:cubicBezTo>
                  <a:pt x="2624172" y="6614376"/>
                  <a:pt x="2618453" y="6635282"/>
                  <a:pt x="2599388" y="6646685"/>
                </a:cubicBezTo>
                <a:cubicBezTo>
                  <a:pt x="2599388" y="6646685"/>
                  <a:pt x="2599388" y="6646685"/>
                  <a:pt x="2261942" y="6831037"/>
                </a:cubicBezTo>
                <a:cubicBezTo>
                  <a:pt x="2244783" y="6840539"/>
                  <a:pt x="2221906" y="6832937"/>
                  <a:pt x="2212373" y="6815832"/>
                </a:cubicBezTo>
                <a:cubicBezTo>
                  <a:pt x="2208560" y="6810131"/>
                  <a:pt x="2206654" y="6804429"/>
                  <a:pt x="2206654" y="6798728"/>
                </a:cubicBezTo>
                <a:cubicBezTo>
                  <a:pt x="2206654" y="6785424"/>
                  <a:pt x="2214280" y="6772120"/>
                  <a:pt x="2225719" y="6764518"/>
                </a:cubicBezTo>
                <a:cubicBezTo>
                  <a:pt x="2225719" y="6764518"/>
                  <a:pt x="2225719" y="6764518"/>
                  <a:pt x="2565071" y="6582067"/>
                </a:cubicBezTo>
                <a:cubicBezTo>
                  <a:pt x="2573651" y="6576365"/>
                  <a:pt x="2583660" y="6575415"/>
                  <a:pt x="2592715" y="6578028"/>
                </a:cubicBezTo>
                <a:close/>
                <a:moveTo>
                  <a:pt x="3153207" y="6564133"/>
                </a:moveTo>
                <a:cubicBezTo>
                  <a:pt x="3162235" y="6566506"/>
                  <a:pt x="3170313" y="6572201"/>
                  <a:pt x="3175065" y="6580744"/>
                </a:cubicBezTo>
                <a:cubicBezTo>
                  <a:pt x="3184568" y="6599727"/>
                  <a:pt x="3178866" y="6620609"/>
                  <a:pt x="3161760" y="6630101"/>
                </a:cubicBezTo>
                <a:cubicBezTo>
                  <a:pt x="3161760" y="6630101"/>
                  <a:pt x="3161760" y="6630101"/>
                  <a:pt x="2825344" y="6819936"/>
                </a:cubicBezTo>
                <a:cubicBezTo>
                  <a:pt x="2808238" y="6829427"/>
                  <a:pt x="2785430" y="6823732"/>
                  <a:pt x="2775927" y="6804749"/>
                </a:cubicBezTo>
                <a:cubicBezTo>
                  <a:pt x="2772126" y="6799054"/>
                  <a:pt x="2770225" y="6793359"/>
                  <a:pt x="2770225" y="6787664"/>
                </a:cubicBezTo>
                <a:cubicBezTo>
                  <a:pt x="2770225" y="6774375"/>
                  <a:pt x="2777828" y="6762985"/>
                  <a:pt x="2789232" y="6757290"/>
                </a:cubicBezTo>
                <a:cubicBezTo>
                  <a:pt x="2789232" y="6757290"/>
                  <a:pt x="2789232" y="6757290"/>
                  <a:pt x="3125648" y="6567455"/>
                </a:cubicBezTo>
                <a:cubicBezTo>
                  <a:pt x="3134201" y="6562710"/>
                  <a:pt x="3144179" y="6561760"/>
                  <a:pt x="3153207" y="6564133"/>
                </a:cubicBezTo>
                <a:close/>
                <a:moveTo>
                  <a:pt x="6502939" y="6327421"/>
                </a:moveTo>
                <a:cubicBezTo>
                  <a:pt x="6512949" y="6330738"/>
                  <a:pt x="6521527" y="6337846"/>
                  <a:pt x="6526293" y="6348272"/>
                </a:cubicBezTo>
                <a:cubicBezTo>
                  <a:pt x="6535827" y="6367227"/>
                  <a:pt x="6528201" y="6391869"/>
                  <a:pt x="6507229" y="6401346"/>
                </a:cubicBezTo>
                <a:cubicBezTo>
                  <a:pt x="6507229" y="6401346"/>
                  <a:pt x="6507229" y="6401346"/>
                  <a:pt x="6167883" y="6564361"/>
                </a:cubicBezTo>
                <a:cubicBezTo>
                  <a:pt x="6146911" y="6573839"/>
                  <a:pt x="6122129" y="6566257"/>
                  <a:pt x="6112595" y="6545406"/>
                </a:cubicBezTo>
                <a:cubicBezTo>
                  <a:pt x="6110689" y="6539719"/>
                  <a:pt x="6108783" y="6534033"/>
                  <a:pt x="6108783" y="6528346"/>
                </a:cubicBezTo>
                <a:cubicBezTo>
                  <a:pt x="6108783" y="6513182"/>
                  <a:pt x="6118315" y="6498018"/>
                  <a:pt x="6131661" y="6490436"/>
                </a:cubicBezTo>
                <a:cubicBezTo>
                  <a:pt x="6131661" y="6490436"/>
                  <a:pt x="6131661" y="6490436"/>
                  <a:pt x="6471007" y="6329316"/>
                </a:cubicBezTo>
                <a:cubicBezTo>
                  <a:pt x="6481493" y="6324578"/>
                  <a:pt x="6492931" y="6324104"/>
                  <a:pt x="6502939" y="6327421"/>
                </a:cubicBezTo>
                <a:close/>
                <a:moveTo>
                  <a:pt x="5955879" y="6313171"/>
                </a:moveTo>
                <a:cubicBezTo>
                  <a:pt x="5965411" y="6316505"/>
                  <a:pt x="5973513" y="6323648"/>
                  <a:pt x="5978279" y="6334126"/>
                </a:cubicBezTo>
                <a:cubicBezTo>
                  <a:pt x="5989719" y="6353176"/>
                  <a:pt x="5980185" y="6377941"/>
                  <a:pt x="5961121" y="6387466"/>
                </a:cubicBezTo>
                <a:cubicBezTo>
                  <a:pt x="5961121" y="6387466"/>
                  <a:pt x="5961121" y="6387466"/>
                  <a:pt x="5621775" y="6553201"/>
                </a:cubicBezTo>
                <a:cubicBezTo>
                  <a:pt x="5600803" y="6562726"/>
                  <a:pt x="5576021" y="6553201"/>
                  <a:pt x="5566487" y="6534151"/>
                </a:cubicBezTo>
                <a:cubicBezTo>
                  <a:pt x="5564581" y="6528436"/>
                  <a:pt x="5562675" y="6522721"/>
                  <a:pt x="5562675" y="6517006"/>
                </a:cubicBezTo>
                <a:cubicBezTo>
                  <a:pt x="5562675" y="6501766"/>
                  <a:pt x="5572207" y="6486526"/>
                  <a:pt x="5585553" y="6478906"/>
                </a:cubicBezTo>
                <a:cubicBezTo>
                  <a:pt x="5585553" y="6478906"/>
                  <a:pt x="5585553" y="6478906"/>
                  <a:pt x="5924899" y="6315076"/>
                </a:cubicBezTo>
                <a:cubicBezTo>
                  <a:pt x="5935385" y="6310313"/>
                  <a:pt x="5946347" y="6309837"/>
                  <a:pt x="5955879" y="6313171"/>
                </a:cubicBezTo>
                <a:close/>
                <a:moveTo>
                  <a:pt x="396080" y="6313171"/>
                </a:moveTo>
                <a:cubicBezTo>
                  <a:pt x="405821" y="6316504"/>
                  <a:pt x="414374" y="6323648"/>
                  <a:pt x="419126" y="6334126"/>
                </a:cubicBezTo>
                <a:cubicBezTo>
                  <a:pt x="428630" y="6353176"/>
                  <a:pt x="421027" y="6377941"/>
                  <a:pt x="400119" y="6387466"/>
                </a:cubicBezTo>
                <a:cubicBezTo>
                  <a:pt x="400119" y="6387466"/>
                  <a:pt x="400119" y="6387466"/>
                  <a:pt x="63685" y="6553201"/>
                </a:cubicBezTo>
                <a:cubicBezTo>
                  <a:pt x="42777" y="6562726"/>
                  <a:pt x="18067" y="6553201"/>
                  <a:pt x="8564" y="6534151"/>
                </a:cubicBezTo>
                <a:cubicBezTo>
                  <a:pt x="6663" y="6528436"/>
                  <a:pt x="4762" y="6522721"/>
                  <a:pt x="4762" y="6517006"/>
                </a:cubicBezTo>
                <a:cubicBezTo>
                  <a:pt x="4762" y="6501766"/>
                  <a:pt x="12365" y="6486526"/>
                  <a:pt x="27571" y="6478906"/>
                </a:cubicBezTo>
                <a:cubicBezTo>
                  <a:pt x="27571" y="6478906"/>
                  <a:pt x="27571" y="6478906"/>
                  <a:pt x="365905" y="6315076"/>
                </a:cubicBezTo>
                <a:cubicBezTo>
                  <a:pt x="375409" y="6310313"/>
                  <a:pt x="386338" y="6309837"/>
                  <a:pt x="396080" y="6313171"/>
                </a:cubicBezTo>
                <a:close/>
                <a:moveTo>
                  <a:pt x="5405347" y="6300224"/>
                </a:moveTo>
                <a:cubicBezTo>
                  <a:pt x="5415089" y="6303315"/>
                  <a:pt x="5423643" y="6309975"/>
                  <a:pt x="5429345" y="6319488"/>
                </a:cubicBezTo>
                <a:cubicBezTo>
                  <a:pt x="5438847" y="6340417"/>
                  <a:pt x="5431245" y="6363250"/>
                  <a:pt x="5410337" y="6372763"/>
                </a:cubicBezTo>
                <a:cubicBezTo>
                  <a:pt x="5410337" y="6372763"/>
                  <a:pt x="5410337" y="6372763"/>
                  <a:pt x="5072003" y="6540198"/>
                </a:cubicBezTo>
                <a:cubicBezTo>
                  <a:pt x="5052995" y="6551614"/>
                  <a:pt x="5028285" y="6542100"/>
                  <a:pt x="5018781" y="6523074"/>
                </a:cubicBezTo>
                <a:cubicBezTo>
                  <a:pt x="5016881" y="6517366"/>
                  <a:pt x="5014979" y="6511658"/>
                  <a:pt x="5014979" y="6505950"/>
                </a:cubicBezTo>
                <a:cubicBezTo>
                  <a:pt x="5014979" y="6490728"/>
                  <a:pt x="5022583" y="6475507"/>
                  <a:pt x="5037789" y="6469799"/>
                </a:cubicBezTo>
                <a:cubicBezTo>
                  <a:pt x="5037789" y="6469799"/>
                  <a:pt x="5037789" y="6469799"/>
                  <a:pt x="5374223" y="6302364"/>
                </a:cubicBezTo>
                <a:cubicBezTo>
                  <a:pt x="5384677" y="6297608"/>
                  <a:pt x="5395607" y="6297132"/>
                  <a:pt x="5405347" y="6300224"/>
                </a:cubicBezTo>
                <a:close/>
                <a:moveTo>
                  <a:pt x="940479" y="6300224"/>
                </a:moveTo>
                <a:cubicBezTo>
                  <a:pt x="950257" y="6303315"/>
                  <a:pt x="958842" y="6309975"/>
                  <a:pt x="963612" y="6319488"/>
                </a:cubicBezTo>
                <a:cubicBezTo>
                  <a:pt x="973151" y="6340417"/>
                  <a:pt x="965519" y="6363250"/>
                  <a:pt x="944533" y="6372763"/>
                </a:cubicBezTo>
                <a:cubicBezTo>
                  <a:pt x="944533" y="6372763"/>
                  <a:pt x="944533" y="6372763"/>
                  <a:pt x="606839" y="6540198"/>
                </a:cubicBezTo>
                <a:cubicBezTo>
                  <a:pt x="585852" y="6551614"/>
                  <a:pt x="562958" y="6542100"/>
                  <a:pt x="551511" y="6523074"/>
                </a:cubicBezTo>
                <a:cubicBezTo>
                  <a:pt x="549603" y="6517366"/>
                  <a:pt x="547695" y="6511658"/>
                  <a:pt x="547695" y="6505950"/>
                </a:cubicBezTo>
                <a:cubicBezTo>
                  <a:pt x="547695" y="6490728"/>
                  <a:pt x="557234" y="6475507"/>
                  <a:pt x="570589" y="6469799"/>
                </a:cubicBezTo>
                <a:cubicBezTo>
                  <a:pt x="570589" y="6469799"/>
                  <a:pt x="570589" y="6469799"/>
                  <a:pt x="910191" y="6302364"/>
                </a:cubicBezTo>
                <a:cubicBezTo>
                  <a:pt x="919731" y="6297608"/>
                  <a:pt x="930701" y="6297132"/>
                  <a:pt x="940479" y="6300224"/>
                </a:cubicBezTo>
                <a:close/>
                <a:moveTo>
                  <a:pt x="4851417" y="6285982"/>
                </a:moveTo>
                <a:cubicBezTo>
                  <a:pt x="4860955" y="6289093"/>
                  <a:pt x="4869541" y="6295793"/>
                  <a:pt x="4875265" y="6305364"/>
                </a:cubicBezTo>
                <a:cubicBezTo>
                  <a:pt x="4884803" y="6324508"/>
                  <a:pt x="4877173" y="6349394"/>
                  <a:pt x="4856185" y="6358966"/>
                </a:cubicBezTo>
                <a:cubicBezTo>
                  <a:pt x="4856185" y="6358966"/>
                  <a:pt x="4856185" y="6358966"/>
                  <a:pt x="4518493" y="6529342"/>
                </a:cubicBezTo>
                <a:cubicBezTo>
                  <a:pt x="4497505" y="6538914"/>
                  <a:pt x="4474611" y="6531256"/>
                  <a:pt x="4465071" y="6512113"/>
                </a:cubicBezTo>
                <a:cubicBezTo>
                  <a:pt x="4461255" y="6506370"/>
                  <a:pt x="4459347" y="6500627"/>
                  <a:pt x="4459347" y="6494884"/>
                </a:cubicBezTo>
                <a:cubicBezTo>
                  <a:pt x="4459347" y="6479569"/>
                  <a:pt x="4468887" y="6466169"/>
                  <a:pt x="4482243" y="6458512"/>
                </a:cubicBezTo>
                <a:cubicBezTo>
                  <a:pt x="4482243" y="6458512"/>
                  <a:pt x="4482243" y="6458512"/>
                  <a:pt x="4821845" y="6288135"/>
                </a:cubicBezTo>
                <a:cubicBezTo>
                  <a:pt x="4831385" y="6283350"/>
                  <a:pt x="4841877" y="6282871"/>
                  <a:pt x="4851417" y="6285982"/>
                </a:cubicBezTo>
                <a:close/>
                <a:moveTo>
                  <a:pt x="1486683" y="6285982"/>
                </a:moveTo>
                <a:cubicBezTo>
                  <a:pt x="1496432" y="6289093"/>
                  <a:pt x="1504992" y="6295793"/>
                  <a:pt x="1509747" y="6305364"/>
                </a:cubicBezTo>
                <a:cubicBezTo>
                  <a:pt x="1519258" y="6324508"/>
                  <a:pt x="1511649" y="6349394"/>
                  <a:pt x="1492628" y="6358966"/>
                </a:cubicBezTo>
                <a:cubicBezTo>
                  <a:pt x="1492628" y="6358966"/>
                  <a:pt x="1492628" y="6358966"/>
                  <a:pt x="1154042" y="6529342"/>
                </a:cubicBezTo>
                <a:cubicBezTo>
                  <a:pt x="1135020" y="6538914"/>
                  <a:pt x="1110292" y="6531256"/>
                  <a:pt x="1100781" y="6512113"/>
                </a:cubicBezTo>
                <a:cubicBezTo>
                  <a:pt x="1098879" y="6506370"/>
                  <a:pt x="1096977" y="6500627"/>
                  <a:pt x="1096977" y="6494884"/>
                </a:cubicBezTo>
                <a:cubicBezTo>
                  <a:pt x="1096977" y="6479569"/>
                  <a:pt x="1104586" y="6466169"/>
                  <a:pt x="1117901" y="6458512"/>
                </a:cubicBezTo>
                <a:cubicBezTo>
                  <a:pt x="1117901" y="6458512"/>
                  <a:pt x="1117901" y="6458512"/>
                  <a:pt x="1456487" y="6288135"/>
                </a:cubicBezTo>
                <a:cubicBezTo>
                  <a:pt x="1465998" y="6283350"/>
                  <a:pt x="1476935" y="6282871"/>
                  <a:pt x="1486683" y="6285982"/>
                </a:cubicBezTo>
                <a:close/>
                <a:moveTo>
                  <a:pt x="4292547" y="6273228"/>
                </a:moveTo>
                <a:cubicBezTo>
                  <a:pt x="4302059" y="6276316"/>
                  <a:pt x="4310143" y="6282967"/>
                  <a:pt x="4314899" y="6292469"/>
                </a:cubicBezTo>
                <a:cubicBezTo>
                  <a:pt x="4324409" y="6311473"/>
                  <a:pt x="4316801" y="6334277"/>
                  <a:pt x="4297779" y="6345679"/>
                </a:cubicBezTo>
                <a:cubicBezTo>
                  <a:pt x="4297779" y="6345679"/>
                  <a:pt x="4297779" y="6345679"/>
                  <a:pt x="3961095" y="6516712"/>
                </a:cubicBezTo>
                <a:cubicBezTo>
                  <a:pt x="3940171" y="6526214"/>
                  <a:pt x="3917345" y="6518612"/>
                  <a:pt x="3907835" y="6499609"/>
                </a:cubicBezTo>
                <a:cubicBezTo>
                  <a:pt x="3904031" y="6493908"/>
                  <a:pt x="3902127" y="6488206"/>
                  <a:pt x="3902127" y="6482505"/>
                </a:cubicBezTo>
                <a:cubicBezTo>
                  <a:pt x="3902127" y="6467302"/>
                  <a:pt x="3911639" y="6454000"/>
                  <a:pt x="3924955" y="6446398"/>
                </a:cubicBezTo>
                <a:cubicBezTo>
                  <a:pt x="3924955" y="6446398"/>
                  <a:pt x="3924955" y="6446398"/>
                  <a:pt x="4261637" y="6275366"/>
                </a:cubicBezTo>
                <a:cubicBezTo>
                  <a:pt x="4272099" y="6270615"/>
                  <a:pt x="4283037" y="6270140"/>
                  <a:pt x="4292547" y="6273228"/>
                </a:cubicBezTo>
                <a:close/>
                <a:moveTo>
                  <a:pt x="2038428" y="6273228"/>
                </a:moveTo>
                <a:cubicBezTo>
                  <a:pt x="2047939" y="6276316"/>
                  <a:pt x="2056499" y="6282967"/>
                  <a:pt x="2062205" y="6292469"/>
                </a:cubicBezTo>
                <a:cubicBezTo>
                  <a:pt x="2071716" y="6311473"/>
                  <a:pt x="2064107" y="6334277"/>
                  <a:pt x="2045086" y="6345679"/>
                </a:cubicBezTo>
                <a:cubicBezTo>
                  <a:pt x="2045086" y="6345679"/>
                  <a:pt x="2045086" y="6345679"/>
                  <a:pt x="1706500" y="6516712"/>
                </a:cubicBezTo>
                <a:cubicBezTo>
                  <a:pt x="1687478" y="6526214"/>
                  <a:pt x="1662750" y="6518612"/>
                  <a:pt x="1653239" y="6499609"/>
                </a:cubicBezTo>
                <a:cubicBezTo>
                  <a:pt x="1651337" y="6493908"/>
                  <a:pt x="1649435" y="6488206"/>
                  <a:pt x="1649435" y="6482505"/>
                </a:cubicBezTo>
                <a:cubicBezTo>
                  <a:pt x="1649435" y="6467302"/>
                  <a:pt x="1657044" y="6454000"/>
                  <a:pt x="1670359" y="6446398"/>
                </a:cubicBezTo>
                <a:cubicBezTo>
                  <a:pt x="1670359" y="6446398"/>
                  <a:pt x="1670359" y="6446398"/>
                  <a:pt x="2008945" y="6275366"/>
                </a:cubicBezTo>
                <a:cubicBezTo>
                  <a:pt x="2018456" y="6270615"/>
                  <a:pt x="2028917" y="6270140"/>
                  <a:pt x="2038428" y="6273228"/>
                </a:cubicBezTo>
                <a:close/>
                <a:moveTo>
                  <a:pt x="3729191" y="6260519"/>
                </a:moveTo>
                <a:cubicBezTo>
                  <a:pt x="3738471" y="6263603"/>
                  <a:pt x="3746563" y="6270247"/>
                  <a:pt x="3751321" y="6279737"/>
                </a:cubicBezTo>
                <a:cubicBezTo>
                  <a:pt x="3760839" y="6298718"/>
                  <a:pt x="3755127" y="6321495"/>
                  <a:pt x="3736091" y="6330986"/>
                </a:cubicBezTo>
                <a:cubicBezTo>
                  <a:pt x="3736091" y="6330986"/>
                  <a:pt x="3736091" y="6330986"/>
                  <a:pt x="3397253" y="6505611"/>
                </a:cubicBezTo>
                <a:cubicBezTo>
                  <a:pt x="3378217" y="6515102"/>
                  <a:pt x="3355374" y="6507509"/>
                  <a:pt x="3345856" y="6488528"/>
                </a:cubicBezTo>
                <a:cubicBezTo>
                  <a:pt x="3342049" y="6482834"/>
                  <a:pt x="3340145" y="6477140"/>
                  <a:pt x="3340145" y="6469547"/>
                </a:cubicBezTo>
                <a:cubicBezTo>
                  <a:pt x="3340145" y="6456261"/>
                  <a:pt x="3347759" y="6442974"/>
                  <a:pt x="3361084" y="6435381"/>
                </a:cubicBezTo>
                <a:cubicBezTo>
                  <a:pt x="3361084" y="6435381"/>
                  <a:pt x="3361084" y="6435381"/>
                  <a:pt x="3699923" y="6262654"/>
                </a:cubicBezTo>
                <a:cubicBezTo>
                  <a:pt x="3709441" y="6257909"/>
                  <a:pt x="3719911" y="6257435"/>
                  <a:pt x="3729191" y="6260519"/>
                </a:cubicBezTo>
                <a:close/>
                <a:moveTo>
                  <a:pt x="2595581" y="6260519"/>
                </a:moveTo>
                <a:cubicBezTo>
                  <a:pt x="2604896" y="6263603"/>
                  <a:pt x="2613017" y="6270247"/>
                  <a:pt x="2617794" y="6279737"/>
                </a:cubicBezTo>
                <a:cubicBezTo>
                  <a:pt x="2627348" y="6298718"/>
                  <a:pt x="2621616" y="6321495"/>
                  <a:pt x="2600597" y="6330986"/>
                </a:cubicBezTo>
                <a:cubicBezTo>
                  <a:pt x="2600597" y="6330986"/>
                  <a:pt x="2600597" y="6330986"/>
                  <a:pt x="2262390" y="6505611"/>
                </a:cubicBezTo>
                <a:cubicBezTo>
                  <a:pt x="2243282" y="6515102"/>
                  <a:pt x="2220353" y="6507509"/>
                  <a:pt x="2210799" y="6488528"/>
                </a:cubicBezTo>
                <a:cubicBezTo>
                  <a:pt x="2206978" y="6482834"/>
                  <a:pt x="2205067" y="6477140"/>
                  <a:pt x="2205067" y="6469547"/>
                </a:cubicBezTo>
                <a:cubicBezTo>
                  <a:pt x="2205067" y="6456261"/>
                  <a:pt x="2212710" y="6442974"/>
                  <a:pt x="2226086" y="6435381"/>
                </a:cubicBezTo>
                <a:cubicBezTo>
                  <a:pt x="2226086" y="6435381"/>
                  <a:pt x="2226086" y="6435381"/>
                  <a:pt x="2566203" y="6262654"/>
                </a:cubicBezTo>
                <a:cubicBezTo>
                  <a:pt x="2575757" y="6257909"/>
                  <a:pt x="2586266" y="6257435"/>
                  <a:pt x="2595581" y="6260519"/>
                </a:cubicBezTo>
                <a:close/>
                <a:moveTo>
                  <a:pt x="3155654" y="6245321"/>
                </a:moveTo>
                <a:cubicBezTo>
                  <a:pt x="3164969" y="6247947"/>
                  <a:pt x="3173090" y="6254153"/>
                  <a:pt x="3177866" y="6263701"/>
                </a:cubicBezTo>
                <a:cubicBezTo>
                  <a:pt x="3189331" y="6282797"/>
                  <a:pt x="3181688" y="6305712"/>
                  <a:pt x="3162580" y="6317169"/>
                </a:cubicBezTo>
                <a:cubicBezTo>
                  <a:pt x="3162580" y="6317169"/>
                  <a:pt x="3162580" y="6317169"/>
                  <a:pt x="2822462" y="6492853"/>
                </a:cubicBezTo>
                <a:cubicBezTo>
                  <a:pt x="2805265" y="6502401"/>
                  <a:pt x="2780425" y="6496672"/>
                  <a:pt x="2770872" y="6477576"/>
                </a:cubicBezTo>
                <a:cubicBezTo>
                  <a:pt x="2768961" y="6471847"/>
                  <a:pt x="2767050" y="6466118"/>
                  <a:pt x="2767050" y="6458480"/>
                </a:cubicBezTo>
                <a:cubicBezTo>
                  <a:pt x="2767050" y="6445113"/>
                  <a:pt x="2774693" y="6431746"/>
                  <a:pt x="2788069" y="6426017"/>
                </a:cubicBezTo>
                <a:cubicBezTo>
                  <a:pt x="2788069" y="6426017"/>
                  <a:pt x="2788069" y="6426017"/>
                  <a:pt x="3126275" y="6248424"/>
                </a:cubicBezTo>
                <a:cubicBezTo>
                  <a:pt x="3135829" y="6243650"/>
                  <a:pt x="3146339" y="6242695"/>
                  <a:pt x="3155654" y="6245321"/>
                </a:cubicBezTo>
                <a:close/>
                <a:moveTo>
                  <a:pt x="6502939" y="6003608"/>
                </a:moveTo>
                <a:cubicBezTo>
                  <a:pt x="6512947" y="6006942"/>
                  <a:pt x="6521527" y="6014085"/>
                  <a:pt x="6526293" y="6024563"/>
                </a:cubicBezTo>
                <a:cubicBezTo>
                  <a:pt x="6535827" y="6045518"/>
                  <a:pt x="6526293" y="6070283"/>
                  <a:pt x="6507229" y="6079808"/>
                </a:cubicBezTo>
                <a:cubicBezTo>
                  <a:pt x="6507229" y="6079808"/>
                  <a:pt x="6507229" y="6079808"/>
                  <a:pt x="6167883" y="6243638"/>
                </a:cubicBezTo>
                <a:cubicBezTo>
                  <a:pt x="6146911" y="6253163"/>
                  <a:pt x="6124035" y="6243638"/>
                  <a:pt x="6112595" y="6224588"/>
                </a:cubicBezTo>
                <a:cubicBezTo>
                  <a:pt x="6110689" y="6218873"/>
                  <a:pt x="6108783" y="6213158"/>
                  <a:pt x="6108783" y="6207443"/>
                </a:cubicBezTo>
                <a:cubicBezTo>
                  <a:pt x="6108783" y="6192203"/>
                  <a:pt x="6118315" y="6176963"/>
                  <a:pt x="6131661" y="6169343"/>
                </a:cubicBezTo>
                <a:cubicBezTo>
                  <a:pt x="6131661" y="6169343"/>
                  <a:pt x="6131661" y="6169343"/>
                  <a:pt x="6471007" y="6005513"/>
                </a:cubicBezTo>
                <a:cubicBezTo>
                  <a:pt x="6481493" y="6000750"/>
                  <a:pt x="6492931" y="6000274"/>
                  <a:pt x="6502939" y="6003608"/>
                </a:cubicBezTo>
                <a:close/>
                <a:moveTo>
                  <a:pt x="5940775" y="5988309"/>
                </a:moveTo>
                <a:cubicBezTo>
                  <a:pt x="5956593" y="5987059"/>
                  <a:pt x="5971607" y="5995988"/>
                  <a:pt x="5980185" y="6010276"/>
                </a:cubicBezTo>
                <a:cubicBezTo>
                  <a:pt x="5989719" y="6031231"/>
                  <a:pt x="5980185" y="6055996"/>
                  <a:pt x="5961121" y="6065521"/>
                </a:cubicBezTo>
                <a:cubicBezTo>
                  <a:pt x="5961121" y="6065521"/>
                  <a:pt x="5961121" y="6065521"/>
                  <a:pt x="5621775" y="6229351"/>
                </a:cubicBezTo>
                <a:cubicBezTo>
                  <a:pt x="5600803" y="6238876"/>
                  <a:pt x="5576021" y="6231256"/>
                  <a:pt x="5566487" y="6210301"/>
                </a:cubicBezTo>
                <a:cubicBezTo>
                  <a:pt x="5564581" y="6204586"/>
                  <a:pt x="5562675" y="6198871"/>
                  <a:pt x="5562675" y="6193156"/>
                </a:cubicBezTo>
                <a:cubicBezTo>
                  <a:pt x="5562675" y="6177916"/>
                  <a:pt x="5570301" y="6162676"/>
                  <a:pt x="5585553" y="6156961"/>
                </a:cubicBezTo>
                <a:cubicBezTo>
                  <a:pt x="5585553" y="6156961"/>
                  <a:pt x="5585553" y="6156961"/>
                  <a:pt x="5924899" y="5993131"/>
                </a:cubicBezTo>
                <a:cubicBezTo>
                  <a:pt x="5930141" y="5990273"/>
                  <a:pt x="5935503" y="5988725"/>
                  <a:pt x="5940775" y="5988309"/>
                </a:cubicBezTo>
                <a:close/>
                <a:moveTo>
                  <a:pt x="380903" y="5988309"/>
                </a:moveTo>
                <a:cubicBezTo>
                  <a:pt x="396317" y="5987059"/>
                  <a:pt x="411998" y="5995988"/>
                  <a:pt x="419126" y="6010276"/>
                </a:cubicBezTo>
                <a:cubicBezTo>
                  <a:pt x="428630" y="6031231"/>
                  <a:pt x="421027" y="6055996"/>
                  <a:pt x="400119" y="6065521"/>
                </a:cubicBezTo>
                <a:cubicBezTo>
                  <a:pt x="400119" y="6065521"/>
                  <a:pt x="400119" y="6065521"/>
                  <a:pt x="63685" y="6229351"/>
                </a:cubicBezTo>
                <a:cubicBezTo>
                  <a:pt x="42777" y="6238876"/>
                  <a:pt x="18067" y="6231256"/>
                  <a:pt x="8564" y="6210301"/>
                </a:cubicBezTo>
                <a:cubicBezTo>
                  <a:pt x="6663" y="6204586"/>
                  <a:pt x="4762" y="6198871"/>
                  <a:pt x="4762" y="6193156"/>
                </a:cubicBezTo>
                <a:cubicBezTo>
                  <a:pt x="4762" y="6177916"/>
                  <a:pt x="12365" y="6162676"/>
                  <a:pt x="27571" y="6156961"/>
                </a:cubicBezTo>
                <a:cubicBezTo>
                  <a:pt x="27571" y="6156961"/>
                  <a:pt x="27571" y="6156961"/>
                  <a:pt x="365905" y="5993131"/>
                </a:cubicBezTo>
                <a:cubicBezTo>
                  <a:pt x="370657" y="5990273"/>
                  <a:pt x="375765" y="5988725"/>
                  <a:pt x="380903" y="5988309"/>
                </a:cubicBezTo>
                <a:close/>
                <a:moveTo>
                  <a:pt x="5406299" y="5978208"/>
                </a:moveTo>
                <a:cubicBezTo>
                  <a:pt x="5416039" y="5981542"/>
                  <a:pt x="5424593" y="5988685"/>
                  <a:pt x="5429345" y="5999163"/>
                </a:cubicBezTo>
                <a:cubicBezTo>
                  <a:pt x="5438847" y="6018213"/>
                  <a:pt x="5431245" y="6042978"/>
                  <a:pt x="5410337" y="6052503"/>
                </a:cubicBezTo>
                <a:cubicBezTo>
                  <a:pt x="5410337" y="6052503"/>
                  <a:pt x="5410337" y="6052503"/>
                  <a:pt x="5072003" y="6218238"/>
                </a:cubicBezTo>
                <a:cubicBezTo>
                  <a:pt x="5052995" y="6227763"/>
                  <a:pt x="5028285" y="6218238"/>
                  <a:pt x="5018781" y="6199188"/>
                </a:cubicBezTo>
                <a:cubicBezTo>
                  <a:pt x="5014979" y="6193473"/>
                  <a:pt x="5014979" y="6185853"/>
                  <a:pt x="5014979" y="6180138"/>
                </a:cubicBezTo>
                <a:cubicBezTo>
                  <a:pt x="5014979" y="6164898"/>
                  <a:pt x="5022583" y="6151563"/>
                  <a:pt x="5037789" y="6143943"/>
                </a:cubicBezTo>
                <a:cubicBezTo>
                  <a:pt x="5037789" y="6143943"/>
                  <a:pt x="5037789" y="6143943"/>
                  <a:pt x="5376123" y="5980113"/>
                </a:cubicBezTo>
                <a:cubicBezTo>
                  <a:pt x="5385627" y="5975350"/>
                  <a:pt x="5396557" y="5974874"/>
                  <a:pt x="5406299" y="5978208"/>
                </a:cubicBezTo>
                <a:close/>
                <a:moveTo>
                  <a:pt x="940184" y="5978208"/>
                </a:moveTo>
                <a:cubicBezTo>
                  <a:pt x="949954" y="5981541"/>
                  <a:pt x="958533" y="5988685"/>
                  <a:pt x="963299" y="5999163"/>
                </a:cubicBezTo>
                <a:cubicBezTo>
                  <a:pt x="974738" y="6018213"/>
                  <a:pt x="965206" y="6042978"/>
                  <a:pt x="944235" y="6052503"/>
                </a:cubicBezTo>
                <a:cubicBezTo>
                  <a:pt x="944235" y="6052503"/>
                  <a:pt x="944235" y="6052503"/>
                  <a:pt x="606795" y="6218238"/>
                </a:cubicBezTo>
                <a:cubicBezTo>
                  <a:pt x="585824" y="6227763"/>
                  <a:pt x="561040" y="6218238"/>
                  <a:pt x="551508" y="6199188"/>
                </a:cubicBezTo>
                <a:cubicBezTo>
                  <a:pt x="549601" y="6193473"/>
                  <a:pt x="547695" y="6185853"/>
                  <a:pt x="547695" y="6180138"/>
                </a:cubicBezTo>
                <a:cubicBezTo>
                  <a:pt x="547695" y="6164898"/>
                  <a:pt x="555321" y="6151563"/>
                  <a:pt x="570572" y="6143943"/>
                </a:cubicBezTo>
                <a:cubicBezTo>
                  <a:pt x="570572" y="6143943"/>
                  <a:pt x="570572" y="6143943"/>
                  <a:pt x="909919" y="5980113"/>
                </a:cubicBezTo>
                <a:cubicBezTo>
                  <a:pt x="919451" y="5975350"/>
                  <a:pt x="930413" y="5974874"/>
                  <a:pt x="940184" y="5978208"/>
                </a:cubicBezTo>
                <a:close/>
                <a:moveTo>
                  <a:pt x="4852131" y="5966222"/>
                </a:moveTo>
                <a:cubicBezTo>
                  <a:pt x="4861909" y="5969794"/>
                  <a:pt x="4870495" y="5976938"/>
                  <a:pt x="4875265" y="5986463"/>
                </a:cubicBezTo>
                <a:cubicBezTo>
                  <a:pt x="4884803" y="6007418"/>
                  <a:pt x="4877173" y="6032183"/>
                  <a:pt x="4856185" y="6041708"/>
                </a:cubicBezTo>
                <a:cubicBezTo>
                  <a:pt x="4856185" y="6041708"/>
                  <a:pt x="4856185" y="6041708"/>
                  <a:pt x="4516585" y="6205538"/>
                </a:cubicBezTo>
                <a:cubicBezTo>
                  <a:pt x="4497505" y="6215063"/>
                  <a:pt x="4472703" y="6207443"/>
                  <a:pt x="4463163" y="6186488"/>
                </a:cubicBezTo>
                <a:cubicBezTo>
                  <a:pt x="4459347" y="6180773"/>
                  <a:pt x="4459347" y="6175058"/>
                  <a:pt x="4459347" y="6169343"/>
                </a:cubicBezTo>
                <a:cubicBezTo>
                  <a:pt x="4459347" y="6154103"/>
                  <a:pt x="4466979" y="6138863"/>
                  <a:pt x="4482243" y="6131243"/>
                </a:cubicBezTo>
                <a:cubicBezTo>
                  <a:pt x="4482243" y="6131243"/>
                  <a:pt x="4482243" y="6131243"/>
                  <a:pt x="4821845" y="5967413"/>
                </a:cubicBezTo>
                <a:cubicBezTo>
                  <a:pt x="4831385" y="5962650"/>
                  <a:pt x="4842355" y="5962650"/>
                  <a:pt x="4852131" y="5966222"/>
                </a:cubicBezTo>
                <a:close/>
                <a:moveTo>
                  <a:pt x="1487959" y="5966222"/>
                </a:moveTo>
                <a:cubicBezTo>
                  <a:pt x="1497968" y="5969794"/>
                  <a:pt x="1506547" y="5976938"/>
                  <a:pt x="1511313" y="5986463"/>
                </a:cubicBezTo>
                <a:cubicBezTo>
                  <a:pt x="1520845" y="6007418"/>
                  <a:pt x="1513219" y="6032183"/>
                  <a:pt x="1492248" y="6041708"/>
                </a:cubicBezTo>
                <a:cubicBezTo>
                  <a:pt x="1492248" y="6041708"/>
                  <a:pt x="1492248" y="6041708"/>
                  <a:pt x="1152902" y="6205538"/>
                </a:cubicBezTo>
                <a:cubicBezTo>
                  <a:pt x="1131931" y="6215063"/>
                  <a:pt x="1109054" y="6207443"/>
                  <a:pt x="1097615" y="6186488"/>
                </a:cubicBezTo>
                <a:cubicBezTo>
                  <a:pt x="1095708" y="6180773"/>
                  <a:pt x="1093802" y="6175058"/>
                  <a:pt x="1093802" y="6169343"/>
                </a:cubicBezTo>
                <a:cubicBezTo>
                  <a:pt x="1093802" y="6154103"/>
                  <a:pt x="1103334" y="6138863"/>
                  <a:pt x="1116679" y="6131243"/>
                </a:cubicBezTo>
                <a:cubicBezTo>
                  <a:pt x="1116679" y="6131243"/>
                  <a:pt x="1116679" y="6131243"/>
                  <a:pt x="1456026" y="5967413"/>
                </a:cubicBezTo>
                <a:cubicBezTo>
                  <a:pt x="1466512" y="5962650"/>
                  <a:pt x="1477950" y="5962650"/>
                  <a:pt x="1487959" y="5966222"/>
                </a:cubicBezTo>
                <a:close/>
                <a:moveTo>
                  <a:pt x="4293447" y="5952817"/>
                </a:moveTo>
                <a:cubicBezTo>
                  <a:pt x="4303187" y="5956155"/>
                  <a:pt x="4311741" y="5963308"/>
                  <a:pt x="4316493" y="5973798"/>
                </a:cubicBezTo>
                <a:cubicBezTo>
                  <a:pt x="4325995" y="5992872"/>
                  <a:pt x="4318393" y="6017668"/>
                  <a:pt x="4297485" y="6027205"/>
                </a:cubicBezTo>
                <a:cubicBezTo>
                  <a:pt x="4297485" y="6027205"/>
                  <a:pt x="4297485" y="6027205"/>
                  <a:pt x="3959151" y="6191239"/>
                </a:cubicBezTo>
                <a:cubicBezTo>
                  <a:pt x="3940143" y="6200776"/>
                  <a:pt x="3915433" y="6193146"/>
                  <a:pt x="3905929" y="6172165"/>
                </a:cubicBezTo>
                <a:cubicBezTo>
                  <a:pt x="3902127" y="6166443"/>
                  <a:pt x="3902127" y="6160721"/>
                  <a:pt x="3902127" y="6154999"/>
                </a:cubicBezTo>
                <a:cubicBezTo>
                  <a:pt x="3902127" y="6139740"/>
                  <a:pt x="3909731" y="6124481"/>
                  <a:pt x="3924937" y="6118759"/>
                </a:cubicBezTo>
                <a:cubicBezTo>
                  <a:pt x="3924937" y="6118759"/>
                  <a:pt x="3924937" y="6118759"/>
                  <a:pt x="4263271" y="5954725"/>
                </a:cubicBezTo>
                <a:cubicBezTo>
                  <a:pt x="4272775" y="5949956"/>
                  <a:pt x="4283705" y="5949479"/>
                  <a:pt x="4293447" y="5952817"/>
                </a:cubicBezTo>
                <a:close/>
                <a:moveTo>
                  <a:pt x="2039827" y="5952817"/>
                </a:moveTo>
                <a:cubicBezTo>
                  <a:pt x="2049561" y="5956155"/>
                  <a:pt x="2058108" y="5963308"/>
                  <a:pt x="2063806" y="5973798"/>
                </a:cubicBezTo>
                <a:cubicBezTo>
                  <a:pt x="2073303" y="5992872"/>
                  <a:pt x="2063806" y="6017668"/>
                  <a:pt x="2044813" y="6027205"/>
                </a:cubicBezTo>
                <a:cubicBezTo>
                  <a:pt x="2044813" y="6027205"/>
                  <a:pt x="2044813" y="6027205"/>
                  <a:pt x="1706727" y="6191239"/>
                </a:cubicBezTo>
                <a:cubicBezTo>
                  <a:pt x="1685834" y="6200776"/>
                  <a:pt x="1661143" y="6193146"/>
                  <a:pt x="1651646" y="6172165"/>
                </a:cubicBezTo>
                <a:cubicBezTo>
                  <a:pt x="1649746" y="6166443"/>
                  <a:pt x="1647847" y="6160721"/>
                  <a:pt x="1647847" y="6154999"/>
                </a:cubicBezTo>
                <a:cubicBezTo>
                  <a:pt x="1647847" y="6139740"/>
                  <a:pt x="1655444" y="6124481"/>
                  <a:pt x="1670639" y="6118759"/>
                </a:cubicBezTo>
                <a:cubicBezTo>
                  <a:pt x="1670639" y="6118759"/>
                  <a:pt x="1670639" y="6118759"/>
                  <a:pt x="2008725" y="5954725"/>
                </a:cubicBezTo>
                <a:cubicBezTo>
                  <a:pt x="2019172" y="5949956"/>
                  <a:pt x="2030093" y="5949479"/>
                  <a:pt x="2039827" y="5952817"/>
                </a:cubicBezTo>
                <a:close/>
                <a:moveTo>
                  <a:pt x="3730413" y="5940108"/>
                </a:moveTo>
                <a:cubicBezTo>
                  <a:pt x="3740183" y="5943442"/>
                  <a:pt x="3748763" y="5950585"/>
                  <a:pt x="3754481" y="5961063"/>
                </a:cubicBezTo>
                <a:cubicBezTo>
                  <a:pt x="3764013" y="5982018"/>
                  <a:pt x="3754481" y="6004878"/>
                  <a:pt x="3735417" y="6016308"/>
                </a:cubicBezTo>
                <a:cubicBezTo>
                  <a:pt x="3735417" y="6016308"/>
                  <a:pt x="3735417" y="6016308"/>
                  <a:pt x="3396070" y="6180138"/>
                </a:cubicBezTo>
                <a:cubicBezTo>
                  <a:pt x="3375099" y="6189663"/>
                  <a:pt x="3350315" y="6180138"/>
                  <a:pt x="3340783" y="6161088"/>
                </a:cubicBezTo>
                <a:cubicBezTo>
                  <a:pt x="3338876" y="6155373"/>
                  <a:pt x="3336970" y="6149658"/>
                  <a:pt x="3336970" y="6142038"/>
                </a:cubicBezTo>
                <a:cubicBezTo>
                  <a:pt x="3336970" y="6126798"/>
                  <a:pt x="3346502" y="6113463"/>
                  <a:pt x="3359847" y="6105843"/>
                </a:cubicBezTo>
                <a:cubicBezTo>
                  <a:pt x="3359847" y="6105843"/>
                  <a:pt x="3359847" y="6105843"/>
                  <a:pt x="3699193" y="5942013"/>
                </a:cubicBezTo>
                <a:cubicBezTo>
                  <a:pt x="3709679" y="5937250"/>
                  <a:pt x="3720641" y="5936774"/>
                  <a:pt x="3730413" y="5940108"/>
                </a:cubicBezTo>
                <a:close/>
                <a:moveTo>
                  <a:pt x="2596921" y="5940108"/>
                </a:moveTo>
                <a:cubicBezTo>
                  <a:pt x="2606692" y="5943442"/>
                  <a:pt x="2615271" y="5950585"/>
                  <a:pt x="2620990" y="5961063"/>
                </a:cubicBezTo>
                <a:cubicBezTo>
                  <a:pt x="2630522" y="5982018"/>
                  <a:pt x="2620990" y="6004878"/>
                  <a:pt x="2601925" y="6016308"/>
                </a:cubicBezTo>
                <a:cubicBezTo>
                  <a:pt x="2601925" y="6016308"/>
                  <a:pt x="2601925" y="6016308"/>
                  <a:pt x="2262579" y="6180138"/>
                </a:cubicBezTo>
                <a:cubicBezTo>
                  <a:pt x="2241608" y="6189663"/>
                  <a:pt x="2216824" y="6180138"/>
                  <a:pt x="2207292" y="6161088"/>
                </a:cubicBezTo>
                <a:cubicBezTo>
                  <a:pt x="2205385" y="6155373"/>
                  <a:pt x="2203479" y="6149658"/>
                  <a:pt x="2203479" y="6142038"/>
                </a:cubicBezTo>
                <a:cubicBezTo>
                  <a:pt x="2203479" y="6126798"/>
                  <a:pt x="2211105" y="6113463"/>
                  <a:pt x="2226356" y="6105843"/>
                </a:cubicBezTo>
                <a:cubicBezTo>
                  <a:pt x="2226356" y="6105843"/>
                  <a:pt x="2226356" y="6105843"/>
                  <a:pt x="2565703" y="5942013"/>
                </a:cubicBezTo>
                <a:cubicBezTo>
                  <a:pt x="2576189" y="5937250"/>
                  <a:pt x="2587151" y="5936774"/>
                  <a:pt x="2596921" y="5940108"/>
                </a:cubicBezTo>
                <a:close/>
                <a:moveTo>
                  <a:pt x="3158032" y="5928122"/>
                </a:moveTo>
                <a:cubicBezTo>
                  <a:pt x="3168041" y="5931694"/>
                  <a:pt x="3176620" y="5938838"/>
                  <a:pt x="3181386" y="5948363"/>
                </a:cubicBezTo>
                <a:cubicBezTo>
                  <a:pt x="3190918" y="5969318"/>
                  <a:pt x="3183292" y="5994083"/>
                  <a:pt x="3162321" y="6003608"/>
                </a:cubicBezTo>
                <a:cubicBezTo>
                  <a:pt x="3162321" y="6003608"/>
                  <a:pt x="3162321" y="6003608"/>
                  <a:pt x="2822975" y="6167438"/>
                </a:cubicBezTo>
                <a:cubicBezTo>
                  <a:pt x="2803910" y="6176963"/>
                  <a:pt x="2779127" y="6169343"/>
                  <a:pt x="2769594" y="6148388"/>
                </a:cubicBezTo>
                <a:cubicBezTo>
                  <a:pt x="2765781" y="6142673"/>
                  <a:pt x="2763875" y="6136958"/>
                  <a:pt x="2763875" y="6131243"/>
                </a:cubicBezTo>
                <a:cubicBezTo>
                  <a:pt x="2763875" y="6116003"/>
                  <a:pt x="2773407" y="6100763"/>
                  <a:pt x="2788659" y="6093143"/>
                </a:cubicBezTo>
                <a:cubicBezTo>
                  <a:pt x="2788659" y="6093143"/>
                  <a:pt x="2788659" y="6093143"/>
                  <a:pt x="3126099" y="5929313"/>
                </a:cubicBezTo>
                <a:cubicBezTo>
                  <a:pt x="3136585" y="5924550"/>
                  <a:pt x="3148023" y="5924550"/>
                  <a:pt x="3158032" y="5928122"/>
                </a:cubicBezTo>
                <a:close/>
                <a:moveTo>
                  <a:pt x="6486883" y="5678738"/>
                </a:moveTo>
                <a:cubicBezTo>
                  <a:pt x="6502701" y="5677489"/>
                  <a:pt x="6517715" y="5686408"/>
                  <a:pt x="6526293" y="5700678"/>
                </a:cubicBezTo>
                <a:cubicBezTo>
                  <a:pt x="6535827" y="5721607"/>
                  <a:pt x="6526293" y="5746342"/>
                  <a:pt x="6507229" y="5755855"/>
                </a:cubicBezTo>
                <a:cubicBezTo>
                  <a:pt x="6507229" y="5755855"/>
                  <a:pt x="6507229" y="5755855"/>
                  <a:pt x="6167883" y="5921387"/>
                </a:cubicBezTo>
                <a:cubicBezTo>
                  <a:pt x="6146911" y="5930901"/>
                  <a:pt x="6124035" y="5921387"/>
                  <a:pt x="6114503" y="5902361"/>
                </a:cubicBezTo>
                <a:cubicBezTo>
                  <a:pt x="6110689" y="5896653"/>
                  <a:pt x="6108783" y="5890945"/>
                  <a:pt x="6108783" y="5883334"/>
                </a:cubicBezTo>
                <a:cubicBezTo>
                  <a:pt x="6108783" y="5870015"/>
                  <a:pt x="6118315" y="5854794"/>
                  <a:pt x="6131661" y="5847183"/>
                </a:cubicBezTo>
                <a:cubicBezTo>
                  <a:pt x="6131661" y="5847183"/>
                  <a:pt x="6131661" y="5847183"/>
                  <a:pt x="6471007" y="5683554"/>
                </a:cubicBezTo>
                <a:cubicBezTo>
                  <a:pt x="6476249" y="5680700"/>
                  <a:pt x="6481611" y="5679154"/>
                  <a:pt x="6486883" y="5678738"/>
                </a:cubicBezTo>
                <a:close/>
                <a:moveTo>
                  <a:pt x="5956831" y="5667772"/>
                </a:moveTo>
                <a:cubicBezTo>
                  <a:pt x="5966841" y="5671344"/>
                  <a:pt x="5975419" y="5678488"/>
                  <a:pt x="5980185" y="5688013"/>
                </a:cubicBezTo>
                <a:cubicBezTo>
                  <a:pt x="5989719" y="5708968"/>
                  <a:pt x="5980185" y="5733733"/>
                  <a:pt x="5961121" y="5743258"/>
                </a:cubicBezTo>
                <a:cubicBezTo>
                  <a:pt x="5961121" y="5743258"/>
                  <a:pt x="5961121" y="5743258"/>
                  <a:pt x="5621775" y="5907088"/>
                </a:cubicBezTo>
                <a:cubicBezTo>
                  <a:pt x="5600803" y="5916613"/>
                  <a:pt x="5576021" y="5907088"/>
                  <a:pt x="5566487" y="5888038"/>
                </a:cubicBezTo>
                <a:cubicBezTo>
                  <a:pt x="5564581" y="5882323"/>
                  <a:pt x="5562675" y="5874703"/>
                  <a:pt x="5562675" y="5868988"/>
                </a:cubicBezTo>
                <a:cubicBezTo>
                  <a:pt x="5562675" y="5853748"/>
                  <a:pt x="5570301" y="5840413"/>
                  <a:pt x="5585553" y="5832793"/>
                </a:cubicBezTo>
                <a:cubicBezTo>
                  <a:pt x="5585553" y="5832793"/>
                  <a:pt x="5585553" y="5832793"/>
                  <a:pt x="5924899" y="5668963"/>
                </a:cubicBezTo>
                <a:cubicBezTo>
                  <a:pt x="5935385" y="5664200"/>
                  <a:pt x="5946823" y="5664200"/>
                  <a:pt x="5956831" y="5667772"/>
                </a:cubicBezTo>
                <a:close/>
                <a:moveTo>
                  <a:pt x="397251" y="5667772"/>
                </a:moveTo>
                <a:cubicBezTo>
                  <a:pt x="407021" y="5671344"/>
                  <a:pt x="415600" y="5678488"/>
                  <a:pt x="420366" y="5688013"/>
                </a:cubicBezTo>
                <a:cubicBezTo>
                  <a:pt x="431805" y="5708968"/>
                  <a:pt x="422273" y="5733733"/>
                  <a:pt x="401302" y="5743258"/>
                </a:cubicBezTo>
                <a:cubicBezTo>
                  <a:pt x="401302" y="5743258"/>
                  <a:pt x="401302" y="5743258"/>
                  <a:pt x="63862" y="5907088"/>
                </a:cubicBezTo>
                <a:cubicBezTo>
                  <a:pt x="42891" y="5916613"/>
                  <a:pt x="18107" y="5907088"/>
                  <a:pt x="8575" y="5888038"/>
                </a:cubicBezTo>
                <a:cubicBezTo>
                  <a:pt x="4762" y="5882323"/>
                  <a:pt x="4762" y="5874703"/>
                  <a:pt x="4762" y="5868988"/>
                </a:cubicBezTo>
                <a:cubicBezTo>
                  <a:pt x="4762" y="5853748"/>
                  <a:pt x="12388" y="5840413"/>
                  <a:pt x="27639" y="5832793"/>
                </a:cubicBezTo>
                <a:cubicBezTo>
                  <a:pt x="27639" y="5832793"/>
                  <a:pt x="27639" y="5832793"/>
                  <a:pt x="366986" y="5668963"/>
                </a:cubicBezTo>
                <a:cubicBezTo>
                  <a:pt x="376518" y="5664200"/>
                  <a:pt x="387480" y="5664200"/>
                  <a:pt x="397251" y="5667772"/>
                </a:cubicBezTo>
                <a:close/>
                <a:moveTo>
                  <a:pt x="5407607" y="5656671"/>
                </a:moveTo>
                <a:cubicBezTo>
                  <a:pt x="5417645" y="5660247"/>
                  <a:pt x="5426727" y="5667400"/>
                  <a:pt x="5432463" y="5676936"/>
                </a:cubicBezTo>
                <a:cubicBezTo>
                  <a:pt x="5442023" y="5697917"/>
                  <a:pt x="5432463" y="5722713"/>
                  <a:pt x="5411429" y="5732250"/>
                </a:cubicBezTo>
                <a:cubicBezTo>
                  <a:pt x="5411429" y="5732250"/>
                  <a:pt x="5411429" y="5732250"/>
                  <a:pt x="5071079" y="5894377"/>
                </a:cubicBezTo>
                <a:cubicBezTo>
                  <a:pt x="5050047" y="5903914"/>
                  <a:pt x="5025189" y="5894377"/>
                  <a:pt x="5015629" y="5873396"/>
                </a:cubicBezTo>
                <a:cubicBezTo>
                  <a:pt x="5013717" y="5867674"/>
                  <a:pt x="5011805" y="5861952"/>
                  <a:pt x="5011805" y="5856229"/>
                </a:cubicBezTo>
                <a:cubicBezTo>
                  <a:pt x="5011805" y="5840970"/>
                  <a:pt x="5021365" y="5825711"/>
                  <a:pt x="5036663" y="5818082"/>
                </a:cubicBezTo>
                <a:cubicBezTo>
                  <a:pt x="5036663" y="5818082"/>
                  <a:pt x="5036663" y="5818082"/>
                  <a:pt x="5377013" y="5657863"/>
                </a:cubicBezTo>
                <a:cubicBezTo>
                  <a:pt x="5386573" y="5653094"/>
                  <a:pt x="5397567" y="5653094"/>
                  <a:pt x="5407607" y="5656671"/>
                </a:cubicBezTo>
                <a:close/>
                <a:moveTo>
                  <a:pt x="941852" y="5656671"/>
                </a:moveTo>
                <a:cubicBezTo>
                  <a:pt x="951861" y="5660247"/>
                  <a:pt x="960440" y="5667400"/>
                  <a:pt x="965206" y="5676936"/>
                </a:cubicBezTo>
                <a:cubicBezTo>
                  <a:pt x="974738" y="5697917"/>
                  <a:pt x="965206" y="5722713"/>
                  <a:pt x="946141" y="5732250"/>
                </a:cubicBezTo>
                <a:cubicBezTo>
                  <a:pt x="946141" y="5732250"/>
                  <a:pt x="946141" y="5732250"/>
                  <a:pt x="606795" y="5894377"/>
                </a:cubicBezTo>
                <a:cubicBezTo>
                  <a:pt x="585824" y="5903914"/>
                  <a:pt x="561040" y="5894377"/>
                  <a:pt x="551508" y="5873396"/>
                </a:cubicBezTo>
                <a:cubicBezTo>
                  <a:pt x="547695" y="5867674"/>
                  <a:pt x="547695" y="5861952"/>
                  <a:pt x="547695" y="5856229"/>
                </a:cubicBezTo>
                <a:cubicBezTo>
                  <a:pt x="547695" y="5840970"/>
                  <a:pt x="555321" y="5825711"/>
                  <a:pt x="570572" y="5818082"/>
                </a:cubicBezTo>
                <a:cubicBezTo>
                  <a:pt x="570572" y="5818082"/>
                  <a:pt x="570572" y="5818082"/>
                  <a:pt x="909919" y="5657863"/>
                </a:cubicBezTo>
                <a:cubicBezTo>
                  <a:pt x="920405" y="5653094"/>
                  <a:pt x="931843" y="5653094"/>
                  <a:pt x="941852" y="5656671"/>
                </a:cubicBezTo>
                <a:close/>
                <a:moveTo>
                  <a:pt x="4853529" y="5644852"/>
                </a:moveTo>
                <a:cubicBezTo>
                  <a:pt x="4863531" y="5648194"/>
                  <a:pt x="4872103" y="5655356"/>
                  <a:pt x="4876865" y="5665859"/>
                </a:cubicBezTo>
                <a:cubicBezTo>
                  <a:pt x="4886391" y="5686867"/>
                  <a:pt x="4876865" y="5711694"/>
                  <a:pt x="4855911" y="5723153"/>
                </a:cubicBezTo>
                <a:cubicBezTo>
                  <a:pt x="4855911" y="5723153"/>
                  <a:pt x="4855911" y="5723153"/>
                  <a:pt x="4516815" y="5881664"/>
                </a:cubicBezTo>
                <a:cubicBezTo>
                  <a:pt x="4495861" y="5891213"/>
                  <a:pt x="4471095" y="5881664"/>
                  <a:pt x="4461571" y="5860656"/>
                </a:cubicBezTo>
                <a:cubicBezTo>
                  <a:pt x="4459665" y="5854927"/>
                  <a:pt x="4457759" y="5849198"/>
                  <a:pt x="4457759" y="5843468"/>
                </a:cubicBezTo>
                <a:cubicBezTo>
                  <a:pt x="4457759" y="5828190"/>
                  <a:pt x="4467285" y="5812912"/>
                  <a:pt x="4482525" y="5805273"/>
                </a:cubicBezTo>
                <a:cubicBezTo>
                  <a:pt x="4482525" y="5805273"/>
                  <a:pt x="4482525" y="5805273"/>
                  <a:pt x="4821621" y="5646762"/>
                </a:cubicBezTo>
                <a:cubicBezTo>
                  <a:pt x="4832099" y="5641987"/>
                  <a:pt x="4843529" y="5641510"/>
                  <a:pt x="4853529" y="5644852"/>
                </a:cubicBezTo>
                <a:close/>
                <a:moveTo>
                  <a:pt x="1487905" y="5644852"/>
                </a:moveTo>
                <a:cubicBezTo>
                  <a:pt x="1498144" y="5648194"/>
                  <a:pt x="1507193" y="5655356"/>
                  <a:pt x="1512908" y="5665859"/>
                </a:cubicBezTo>
                <a:cubicBezTo>
                  <a:pt x="1522433" y="5686867"/>
                  <a:pt x="1512908" y="5711694"/>
                  <a:pt x="1491953" y="5723153"/>
                </a:cubicBezTo>
                <a:cubicBezTo>
                  <a:pt x="1491953" y="5723153"/>
                  <a:pt x="1491953" y="5723153"/>
                  <a:pt x="1152858" y="5881664"/>
                </a:cubicBezTo>
                <a:cubicBezTo>
                  <a:pt x="1131903" y="5891213"/>
                  <a:pt x="1107137" y="5881664"/>
                  <a:pt x="1097612" y="5860656"/>
                </a:cubicBezTo>
                <a:cubicBezTo>
                  <a:pt x="1093802" y="5854927"/>
                  <a:pt x="1093802" y="5849198"/>
                  <a:pt x="1093802" y="5843468"/>
                </a:cubicBezTo>
                <a:cubicBezTo>
                  <a:pt x="1093802" y="5828190"/>
                  <a:pt x="1101422" y="5812912"/>
                  <a:pt x="1116662" y="5805273"/>
                </a:cubicBezTo>
                <a:cubicBezTo>
                  <a:pt x="1116662" y="5805273"/>
                  <a:pt x="1116662" y="5805273"/>
                  <a:pt x="1455757" y="5646762"/>
                </a:cubicBezTo>
                <a:cubicBezTo>
                  <a:pt x="1466235" y="5641987"/>
                  <a:pt x="1477665" y="5641510"/>
                  <a:pt x="1487905" y="5644852"/>
                </a:cubicBezTo>
                <a:close/>
                <a:moveTo>
                  <a:pt x="4280353" y="5631126"/>
                </a:moveTo>
                <a:cubicBezTo>
                  <a:pt x="4296665" y="5629969"/>
                  <a:pt x="4312441" y="5639221"/>
                  <a:pt x="4319611" y="5654878"/>
                </a:cubicBezTo>
                <a:cubicBezTo>
                  <a:pt x="4329171" y="5677652"/>
                  <a:pt x="4319611" y="5702324"/>
                  <a:pt x="4298577" y="5711813"/>
                </a:cubicBezTo>
                <a:cubicBezTo>
                  <a:pt x="4298577" y="5711813"/>
                  <a:pt x="4298577" y="5711813"/>
                  <a:pt x="3958227" y="5867437"/>
                </a:cubicBezTo>
                <a:cubicBezTo>
                  <a:pt x="3937195" y="5876926"/>
                  <a:pt x="3912337" y="5867437"/>
                  <a:pt x="3902777" y="5846560"/>
                </a:cubicBezTo>
                <a:cubicBezTo>
                  <a:pt x="3898953" y="5840867"/>
                  <a:pt x="3898953" y="5835173"/>
                  <a:pt x="3898953" y="5829480"/>
                </a:cubicBezTo>
                <a:cubicBezTo>
                  <a:pt x="3898953" y="5812399"/>
                  <a:pt x="3906601" y="5797216"/>
                  <a:pt x="3923811" y="5789625"/>
                </a:cubicBezTo>
                <a:cubicBezTo>
                  <a:pt x="3923811" y="5789625"/>
                  <a:pt x="3923811" y="5789625"/>
                  <a:pt x="4264161" y="5635900"/>
                </a:cubicBezTo>
                <a:cubicBezTo>
                  <a:pt x="4269419" y="5633053"/>
                  <a:pt x="4274917" y="5631511"/>
                  <a:pt x="4280353" y="5631126"/>
                </a:cubicBezTo>
                <a:close/>
                <a:moveTo>
                  <a:pt x="2025816" y="5631125"/>
                </a:moveTo>
                <a:cubicBezTo>
                  <a:pt x="2042206" y="5629969"/>
                  <a:pt x="2058327" y="5639221"/>
                  <a:pt x="2066925" y="5654878"/>
                </a:cubicBezTo>
                <a:cubicBezTo>
                  <a:pt x="2076478" y="5677652"/>
                  <a:pt x="2066925" y="5702324"/>
                  <a:pt x="2045908" y="5711813"/>
                </a:cubicBezTo>
                <a:cubicBezTo>
                  <a:pt x="2045908" y="5711813"/>
                  <a:pt x="2045908" y="5711813"/>
                  <a:pt x="1705813" y="5867437"/>
                </a:cubicBezTo>
                <a:cubicBezTo>
                  <a:pt x="1682885" y="5876926"/>
                  <a:pt x="1658047" y="5867437"/>
                  <a:pt x="1648493" y="5846560"/>
                </a:cubicBezTo>
                <a:cubicBezTo>
                  <a:pt x="1646583" y="5840867"/>
                  <a:pt x="1644672" y="5835173"/>
                  <a:pt x="1644672" y="5829480"/>
                </a:cubicBezTo>
                <a:cubicBezTo>
                  <a:pt x="1644672" y="5812399"/>
                  <a:pt x="1654225" y="5797216"/>
                  <a:pt x="1669510" y="5789625"/>
                </a:cubicBezTo>
                <a:cubicBezTo>
                  <a:pt x="1669510" y="5789625"/>
                  <a:pt x="1669510" y="5789625"/>
                  <a:pt x="2009605" y="5635900"/>
                </a:cubicBezTo>
                <a:cubicBezTo>
                  <a:pt x="2014860" y="5633053"/>
                  <a:pt x="2020353" y="5631511"/>
                  <a:pt x="2025816" y="5631125"/>
                </a:cubicBezTo>
                <a:close/>
                <a:moveTo>
                  <a:pt x="3732525" y="5620418"/>
                </a:moveTo>
                <a:cubicBezTo>
                  <a:pt x="3742757" y="5624242"/>
                  <a:pt x="3751323" y="5631891"/>
                  <a:pt x="3756081" y="5642408"/>
                </a:cubicBezTo>
                <a:cubicBezTo>
                  <a:pt x="3765599" y="5665355"/>
                  <a:pt x="3756081" y="5690214"/>
                  <a:pt x="3735143" y="5699775"/>
                </a:cubicBezTo>
                <a:cubicBezTo>
                  <a:pt x="3735143" y="5699775"/>
                  <a:pt x="3735143" y="5699775"/>
                  <a:pt x="3396298" y="5854665"/>
                </a:cubicBezTo>
                <a:cubicBezTo>
                  <a:pt x="3373454" y="5864226"/>
                  <a:pt x="3348707" y="5854665"/>
                  <a:pt x="3339189" y="5833630"/>
                </a:cubicBezTo>
                <a:cubicBezTo>
                  <a:pt x="3337286" y="5827894"/>
                  <a:pt x="3335382" y="5820245"/>
                  <a:pt x="3335382" y="5814508"/>
                </a:cubicBezTo>
                <a:cubicBezTo>
                  <a:pt x="3335382" y="5799210"/>
                  <a:pt x="3344900" y="5783913"/>
                  <a:pt x="3360129" y="5776264"/>
                </a:cubicBezTo>
                <a:cubicBezTo>
                  <a:pt x="3360129" y="5776264"/>
                  <a:pt x="3360129" y="5776264"/>
                  <a:pt x="3698973" y="5621374"/>
                </a:cubicBezTo>
                <a:cubicBezTo>
                  <a:pt x="3710395" y="5616593"/>
                  <a:pt x="3722293" y="5616593"/>
                  <a:pt x="3732525" y="5620418"/>
                </a:cubicBezTo>
                <a:close/>
                <a:moveTo>
                  <a:pt x="2598321" y="5620418"/>
                </a:moveTo>
                <a:cubicBezTo>
                  <a:pt x="2608791" y="5624242"/>
                  <a:pt x="2617833" y="5631891"/>
                  <a:pt x="2622592" y="5642408"/>
                </a:cubicBezTo>
                <a:cubicBezTo>
                  <a:pt x="2632110" y="5665355"/>
                  <a:pt x="2622592" y="5690214"/>
                  <a:pt x="2601652" y="5699775"/>
                </a:cubicBezTo>
                <a:cubicBezTo>
                  <a:pt x="2601652" y="5699775"/>
                  <a:pt x="2601652" y="5699775"/>
                  <a:pt x="2262808" y="5854665"/>
                </a:cubicBezTo>
                <a:cubicBezTo>
                  <a:pt x="2239964" y="5864226"/>
                  <a:pt x="2215217" y="5854665"/>
                  <a:pt x="2205699" y="5833630"/>
                </a:cubicBezTo>
                <a:cubicBezTo>
                  <a:pt x="2203796" y="5827894"/>
                  <a:pt x="2201892" y="5820245"/>
                  <a:pt x="2201892" y="5814508"/>
                </a:cubicBezTo>
                <a:cubicBezTo>
                  <a:pt x="2201892" y="5799210"/>
                  <a:pt x="2211410" y="5783913"/>
                  <a:pt x="2226639" y="5776264"/>
                </a:cubicBezTo>
                <a:cubicBezTo>
                  <a:pt x="2226639" y="5776264"/>
                  <a:pt x="2226639" y="5776264"/>
                  <a:pt x="2565483" y="5621374"/>
                </a:cubicBezTo>
                <a:cubicBezTo>
                  <a:pt x="2575953" y="5616593"/>
                  <a:pt x="2587851" y="5616593"/>
                  <a:pt x="2598321" y="5620418"/>
                </a:cubicBezTo>
                <a:close/>
                <a:moveTo>
                  <a:pt x="3160328" y="5609262"/>
                </a:moveTo>
                <a:cubicBezTo>
                  <a:pt x="3170791" y="5613068"/>
                  <a:pt x="3179827" y="5620678"/>
                  <a:pt x="3184582" y="5631142"/>
                </a:cubicBezTo>
                <a:cubicBezTo>
                  <a:pt x="3194093" y="5653973"/>
                  <a:pt x="3184582" y="5678707"/>
                  <a:pt x="3161755" y="5688219"/>
                </a:cubicBezTo>
                <a:cubicBezTo>
                  <a:pt x="3161755" y="5688219"/>
                  <a:pt x="3161755" y="5688219"/>
                  <a:pt x="2823158" y="5840426"/>
                </a:cubicBezTo>
                <a:cubicBezTo>
                  <a:pt x="2800332" y="5849939"/>
                  <a:pt x="2775603" y="5840426"/>
                  <a:pt x="2766091" y="5817595"/>
                </a:cubicBezTo>
                <a:cubicBezTo>
                  <a:pt x="2764189" y="5811887"/>
                  <a:pt x="2762287" y="5806179"/>
                  <a:pt x="2762287" y="5800472"/>
                </a:cubicBezTo>
                <a:cubicBezTo>
                  <a:pt x="2762287" y="5783348"/>
                  <a:pt x="2771798" y="5768128"/>
                  <a:pt x="2787016" y="5760517"/>
                </a:cubicBezTo>
                <a:cubicBezTo>
                  <a:pt x="2787016" y="5760517"/>
                  <a:pt x="2787016" y="5760517"/>
                  <a:pt x="3127515" y="5610214"/>
                </a:cubicBezTo>
                <a:cubicBezTo>
                  <a:pt x="3137977" y="5605457"/>
                  <a:pt x="3149866" y="5605457"/>
                  <a:pt x="3160328" y="5609262"/>
                </a:cubicBezTo>
                <a:close/>
                <a:moveTo>
                  <a:pt x="6501987" y="5357485"/>
                </a:moveTo>
                <a:cubicBezTo>
                  <a:pt x="6511519" y="5360815"/>
                  <a:pt x="6519621" y="5367950"/>
                  <a:pt x="6524387" y="5378415"/>
                </a:cubicBezTo>
                <a:cubicBezTo>
                  <a:pt x="6535827" y="5397441"/>
                  <a:pt x="6526293" y="5422176"/>
                  <a:pt x="6507229" y="5431690"/>
                </a:cubicBezTo>
                <a:cubicBezTo>
                  <a:pt x="6507229" y="5431690"/>
                  <a:pt x="6507229" y="5431690"/>
                  <a:pt x="6167883" y="5597222"/>
                </a:cubicBezTo>
                <a:cubicBezTo>
                  <a:pt x="6148819" y="5608638"/>
                  <a:pt x="6124035" y="5599124"/>
                  <a:pt x="6114503" y="5580098"/>
                </a:cubicBezTo>
                <a:cubicBezTo>
                  <a:pt x="6110689" y="5574390"/>
                  <a:pt x="6108783" y="5568682"/>
                  <a:pt x="6108783" y="5561071"/>
                </a:cubicBezTo>
                <a:cubicBezTo>
                  <a:pt x="6108783" y="5547752"/>
                  <a:pt x="6118315" y="5532531"/>
                  <a:pt x="6131661" y="5524920"/>
                </a:cubicBezTo>
                <a:cubicBezTo>
                  <a:pt x="6131661" y="5524920"/>
                  <a:pt x="6131661" y="5524920"/>
                  <a:pt x="6471007" y="5359388"/>
                </a:cubicBezTo>
                <a:cubicBezTo>
                  <a:pt x="6481493" y="5354632"/>
                  <a:pt x="6492455" y="5354156"/>
                  <a:pt x="6501987" y="5357485"/>
                </a:cubicBezTo>
                <a:close/>
                <a:moveTo>
                  <a:pt x="5956831" y="5347056"/>
                </a:moveTo>
                <a:cubicBezTo>
                  <a:pt x="5966841" y="5350610"/>
                  <a:pt x="5975419" y="5357718"/>
                  <a:pt x="5980185" y="5367196"/>
                </a:cubicBezTo>
                <a:cubicBezTo>
                  <a:pt x="5989719" y="5388046"/>
                  <a:pt x="5980185" y="5412688"/>
                  <a:pt x="5961121" y="5422166"/>
                </a:cubicBezTo>
                <a:cubicBezTo>
                  <a:pt x="5961121" y="5422166"/>
                  <a:pt x="5961121" y="5422166"/>
                  <a:pt x="5621775" y="5583285"/>
                </a:cubicBezTo>
                <a:cubicBezTo>
                  <a:pt x="5600803" y="5592763"/>
                  <a:pt x="5576021" y="5585181"/>
                  <a:pt x="5566487" y="5564330"/>
                </a:cubicBezTo>
                <a:cubicBezTo>
                  <a:pt x="5562675" y="5558643"/>
                  <a:pt x="5562675" y="5552957"/>
                  <a:pt x="5562675" y="5547270"/>
                </a:cubicBezTo>
                <a:cubicBezTo>
                  <a:pt x="5562675" y="5532106"/>
                  <a:pt x="5570301" y="5516942"/>
                  <a:pt x="5585553" y="5509360"/>
                </a:cubicBezTo>
                <a:cubicBezTo>
                  <a:pt x="5585553" y="5509360"/>
                  <a:pt x="5585553" y="5509360"/>
                  <a:pt x="5924899" y="5348240"/>
                </a:cubicBezTo>
                <a:cubicBezTo>
                  <a:pt x="5935385" y="5343502"/>
                  <a:pt x="5946823" y="5343502"/>
                  <a:pt x="5956831" y="5347056"/>
                </a:cubicBezTo>
                <a:close/>
                <a:moveTo>
                  <a:pt x="398204" y="5347056"/>
                </a:moveTo>
                <a:cubicBezTo>
                  <a:pt x="407975" y="5350610"/>
                  <a:pt x="416554" y="5357718"/>
                  <a:pt x="422273" y="5367196"/>
                </a:cubicBezTo>
                <a:cubicBezTo>
                  <a:pt x="431805" y="5388046"/>
                  <a:pt x="422273" y="5412688"/>
                  <a:pt x="401302" y="5422166"/>
                </a:cubicBezTo>
                <a:cubicBezTo>
                  <a:pt x="401302" y="5422166"/>
                  <a:pt x="401302" y="5422166"/>
                  <a:pt x="63862" y="5583285"/>
                </a:cubicBezTo>
                <a:cubicBezTo>
                  <a:pt x="42891" y="5592763"/>
                  <a:pt x="18107" y="5585181"/>
                  <a:pt x="8575" y="5564330"/>
                </a:cubicBezTo>
                <a:cubicBezTo>
                  <a:pt x="4762" y="5558643"/>
                  <a:pt x="4762" y="5552957"/>
                  <a:pt x="4762" y="5547270"/>
                </a:cubicBezTo>
                <a:cubicBezTo>
                  <a:pt x="4762" y="5532106"/>
                  <a:pt x="12388" y="5516942"/>
                  <a:pt x="27639" y="5509360"/>
                </a:cubicBezTo>
                <a:cubicBezTo>
                  <a:pt x="27639" y="5509360"/>
                  <a:pt x="27639" y="5509360"/>
                  <a:pt x="366986" y="5348240"/>
                </a:cubicBezTo>
                <a:cubicBezTo>
                  <a:pt x="377472" y="5343502"/>
                  <a:pt x="388434" y="5343502"/>
                  <a:pt x="398204" y="5347056"/>
                </a:cubicBezTo>
                <a:close/>
                <a:moveTo>
                  <a:pt x="5409041" y="5334657"/>
                </a:moveTo>
                <a:cubicBezTo>
                  <a:pt x="5419079" y="5338476"/>
                  <a:pt x="5427683" y="5346116"/>
                  <a:pt x="5432463" y="5356619"/>
                </a:cubicBezTo>
                <a:cubicBezTo>
                  <a:pt x="5442023" y="5377627"/>
                  <a:pt x="5432463" y="5402454"/>
                  <a:pt x="5411429" y="5412003"/>
                </a:cubicBezTo>
                <a:cubicBezTo>
                  <a:pt x="5411429" y="5412003"/>
                  <a:pt x="5411429" y="5412003"/>
                  <a:pt x="5071079" y="5570514"/>
                </a:cubicBezTo>
                <a:cubicBezTo>
                  <a:pt x="5050047" y="5580063"/>
                  <a:pt x="5025189" y="5570514"/>
                  <a:pt x="5015629" y="5549506"/>
                </a:cubicBezTo>
                <a:cubicBezTo>
                  <a:pt x="5011805" y="5543777"/>
                  <a:pt x="5011805" y="5538048"/>
                  <a:pt x="5011805" y="5532318"/>
                </a:cubicBezTo>
                <a:cubicBezTo>
                  <a:pt x="5011805" y="5515130"/>
                  <a:pt x="5021365" y="5499852"/>
                  <a:pt x="5036663" y="5494123"/>
                </a:cubicBezTo>
                <a:cubicBezTo>
                  <a:pt x="5036663" y="5494123"/>
                  <a:pt x="5036663" y="5494123"/>
                  <a:pt x="5377013" y="5335612"/>
                </a:cubicBezTo>
                <a:cubicBezTo>
                  <a:pt x="5387529" y="5330837"/>
                  <a:pt x="5399001" y="5330837"/>
                  <a:pt x="5409041" y="5334657"/>
                </a:cubicBezTo>
                <a:close/>
                <a:moveTo>
                  <a:pt x="941876" y="5334657"/>
                </a:moveTo>
                <a:cubicBezTo>
                  <a:pt x="951878" y="5338476"/>
                  <a:pt x="960451" y="5346116"/>
                  <a:pt x="965213" y="5356619"/>
                </a:cubicBezTo>
                <a:cubicBezTo>
                  <a:pt x="974738" y="5377627"/>
                  <a:pt x="967118" y="5402454"/>
                  <a:pt x="946163" y="5412003"/>
                </a:cubicBezTo>
                <a:cubicBezTo>
                  <a:pt x="946163" y="5412003"/>
                  <a:pt x="946163" y="5412003"/>
                  <a:pt x="605163" y="5570514"/>
                </a:cubicBezTo>
                <a:cubicBezTo>
                  <a:pt x="584208" y="5580063"/>
                  <a:pt x="559442" y="5570514"/>
                  <a:pt x="549917" y="5549506"/>
                </a:cubicBezTo>
                <a:cubicBezTo>
                  <a:pt x="548012" y="5543777"/>
                  <a:pt x="546107" y="5538048"/>
                  <a:pt x="546107" y="5532318"/>
                </a:cubicBezTo>
                <a:cubicBezTo>
                  <a:pt x="546107" y="5515130"/>
                  <a:pt x="555632" y="5499852"/>
                  <a:pt x="570872" y="5494123"/>
                </a:cubicBezTo>
                <a:cubicBezTo>
                  <a:pt x="570872" y="5494123"/>
                  <a:pt x="570872" y="5494123"/>
                  <a:pt x="909967" y="5335612"/>
                </a:cubicBezTo>
                <a:cubicBezTo>
                  <a:pt x="920445" y="5330837"/>
                  <a:pt x="931875" y="5330837"/>
                  <a:pt x="941876" y="5334657"/>
                </a:cubicBezTo>
                <a:close/>
                <a:moveTo>
                  <a:pt x="4854215" y="5323794"/>
                </a:moveTo>
                <a:cubicBezTo>
                  <a:pt x="4864677" y="5327857"/>
                  <a:pt x="4873713" y="5335984"/>
                  <a:pt x="4878467" y="5347457"/>
                </a:cubicBezTo>
                <a:cubicBezTo>
                  <a:pt x="4887979" y="5368492"/>
                  <a:pt x="4878467" y="5393351"/>
                  <a:pt x="4855641" y="5402912"/>
                </a:cubicBezTo>
                <a:cubicBezTo>
                  <a:pt x="4855641" y="5402912"/>
                  <a:pt x="4855641" y="5402912"/>
                  <a:pt x="4517045" y="5555889"/>
                </a:cubicBezTo>
                <a:cubicBezTo>
                  <a:pt x="4496119" y="5567363"/>
                  <a:pt x="4471391" y="5557802"/>
                  <a:pt x="4459977" y="5534855"/>
                </a:cubicBezTo>
                <a:cubicBezTo>
                  <a:pt x="4458075" y="5529118"/>
                  <a:pt x="4456173" y="5523382"/>
                  <a:pt x="4456173" y="5517645"/>
                </a:cubicBezTo>
                <a:cubicBezTo>
                  <a:pt x="4456173" y="5500435"/>
                  <a:pt x="4465685" y="5485137"/>
                  <a:pt x="4482805" y="5477488"/>
                </a:cubicBezTo>
                <a:cubicBezTo>
                  <a:pt x="4482805" y="5477488"/>
                  <a:pt x="4482805" y="5477488"/>
                  <a:pt x="4821401" y="5324511"/>
                </a:cubicBezTo>
                <a:cubicBezTo>
                  <a:pt x="4831863" y="5319730"/>
                  <a:pt x="4843753" y="5319730"/>
                  <a:pt x="4854215" y="5323794"/>
                </a:cubicBezTo>
                <a:close/>
                <a:moveTo>
                  <a:pt x="1489595" y="5323794"/>
                </a:moveTo>
                <a:cubicBezTo>
                  <a:pt x="1499589" y="5327857"/>
                  <a:pt x="1508155" y="5335984"/>
                  <a:pt x="1512914" y="5347457"/>
                </a:cubicBezTo>
                <a:cubicBezTo>
                  <a:pt x="1522432" y="5368492"/>
                  <a:pt x="1512914" y="5393351"/>
                  <a:pt x="1491974" y="5402912"/>
                </a:cubicBezTo>
                <a:cubicBezTo>
                  <a:pt x="1491974" y="5402912"/>
                  <a:pt x="1491974" y="5402912"/>
                  <a:pt x="1153130" y="5555889"/>
                </a:cubicBezTo>
                <a:cubicBezTo>
                  <a:pt x="1130286" y="5567363"/>
                  <a:pt x="1105539" y="5557802"/>
                  <a:pt x="1096021" y="5534855"/>
                </a:cubicBezTo>
                <a:cubicBezTo>
                  <a:pt x="1094118" y="5529118"/>
                  <a:pt x="1092214" y="5523382"/>
                  <a:pt x="1092214" y="5517645"/>
                </a:cubicBezTo>
                <a:cubicBezTo>
                  <a:pt x="1092214" y="5500435"/>
                  <a:pt x="1101732" y="5485137"/>
                  <a:pt x="1116961" y="5477488"/>
                </a:cubicBezTo>
                <a:cubicBezTo>
                  <a:pt x="1116961" y="5477488"/>
                  <a:pt x="1116961" y="5477488"/>
                  <a:pt x="1457709" y="5324511"/>
                </a:cubicBezTo>
                <a:cubicBezTo>
                  <a:pt x="1468179" y="5319730"/>
                  <a:pt x="1479601" y="5319730"/>
                  <a:pt x="1489595" y="5323794"/>
                </a:cubicBezTo>
                <a:close/>
                <a:moveTo>
                  <a:pt x="4281207" y="5309970"/>
                </a:moveTo>
                <a:cubicBezTo>
                  <a:pt x="4298301" y="5310148"/>
                  <a:pt x="4314051" y="5320507"/>
                  <a:pt x="4321211" y="5336223"/>
                </a:cubicBezTo>
                <a:cubicBezTo>
                  <a:pt x="4330759" y="5359083"/>
                  <a:pt x="4321211" y="5383848"/>
                  <a:pt x="4298301" y="5395278"/>
                </a:cubicBezTo>
                <a:cubicBezTo>
                  <a:pt x="4298301" y="5395278"/>
                  <a:pt x="4298301" y="5395278"/>
                  <a:pt x="3958461" y="5541963"/>
                </a:cubicBezTo>
                <a:cubicBezTo>
                  <a:pt x="3935549" y="5551488"/>
                  <a:pt x="3910729" y="5541963"/>
                  <a:pt x="3901183" y="5519103"/>
                </a:cubicBezTo>
                <a:cubicBezTo>
                  <a:pt x="3897365" y="5513388"/>
                  <a:pt x="3897365" y="5507673"/>
                  <a:pt x="3897365" y="5501958"/>
                </a:cubicBezTo>
                <a:cubicBezTo>
                  <a:pt x="3897365" y="5484813"/>
                  <a:pt x="3906911" y="5469573"/>
                  <a:pt x="3924095" y="5461953"/>
                </a:cubicBezTo>
                <a:cubicBezTo>
                  <a:pt x="3924095" y="5461953"/>
                  <a:pt x="3924095" y="5461953"/>
                  <a:pt x="4263935" y="5313363"/>
                </a:cubicBezTo>
                <a:cubicBezTo>
                  <a:pt x="4269663" y="5310982"/>
                  <a:pt x="4275509" y="5309910"/>
                  <a:pt x="4281207" y="5309970"/>
                </a:cubicBezTo>
                <a:close/>
                <a:moveTo>
                  <a:pt x="2026943" y="5309969"/>
                </a:moveTo>
                <a:cubicBezTo>
                  <a:pt x="2044561" y="5310148"/>
                  <a:pt x="2061373" y="5320506"/>
                  <a:pt x="2068527" y="5336223"/>
                </a:cubicBezTo>
                <a:cubicBezTo>
                  <a:pt x="2078066" y="5359083"/>
                  <a:pt x="2066619" y="5383848"/>
                  <a:pt x="2045633" y="5395278"/>
                </a:cubicBezTo>
                <a:cubicBezTo>
                  <a:pt x="2045633" y="5395278"/>
                  <a:pt x="2045633" y="5395278"/>
                  <a:pt x="1704135" y="5541963"/>
                </a:cubicBezTo>
                <a:cubicBezTo>
                  <a:pt x="1683149" y="5551488"/>
                  <a:pt x="1656440" y="5541963"/>
                  <a:pt x="1646901" y="5519103"/>
                </a:cubicBezTo>
                <a:cubicBezTo>
                  <a:pt x="1644993" y="5513388"/>
                  <a:pt x="1643085" y="5507673"/>
                  <a:pt x="1643085" y="5501958"/>
                </a:cubicBezTo>
                <a:cubicBezTo>
                  <a:pt x="1643085" y="5484813"/>
                  <a:pt x="1652624" y="5469573"/>
                  <a:pt x="1669794" y="5461953"/>
                </a:cubicBezTo>
                <a:cubicBezTo>
                  <a:pt x="1669794" y="5461953"/>
                  <a:pt x="1669794" y="5461953"/>
                  <a:pt x="2009385" y="5313363"/>
                </a:cubicBezTo>
                <a:cubicBezTo>
                  <a:pt x="2015109" y="5310981"/>
                  <a:pt x="2021071" y="5309910"/>
                  <a:pt x="2026943" y="5309969"/>
                </a:cubicBezTo>
                <a:close/>
                <a:moveTo>
                  <a:pt x="3719263" y="5298894"/>
                </a:moveTo>
                <a:cubicBezTo>
                  <a:pt x="3736343" y="5299163"/>
                  <a:pt x="3752083" y="5309892"/>
                  <a:pt x="3759237" y="5327059"/>
                </a:cubicBezTo>
                <a:cubicBezTo>
                  <a:pt x="3768775" y="5349949"/>
                  <a:pt x="3759237" y="5376653"/>
                  <a:pt x="3736343" y="5386191"/>
                </a:cubicBezTo>
                <a:cubicBezTo>
                  <a:pt x="3736343" y="5386191"/>
                  <a:pt x="3736343" y="5386191"/>
                  <a:pt x="3394845" y="5529250"/>
                </a:cubicBezTo>
                <a:cubicBezTo>
                  <a:pt x="3371951" y="5538788"/>
                  <a:pt x="3347150" y="5527343"/>
                  <a:pt x="3337611" y="5504453"/>
                </a:cubicBezTo>
                <a:cubicBezTo>
                  <a:pt x="3333795" y="5498731"/>
                  <a:pt x="3333795" y="5493009"/>
                  <a:pt x="3333795" y="5487286"/>
                </a:cubicBezTo>
                <a:cubicBezTo>
                  <a:pt x="3333795" y="5470119"/>
                  <a:pt x="3343334" y="5454859"/>
                  <a:pt x="3360504" y="5447229"/>
                </a:cubicBezTo>
                <a:cubicBezTo>
                  <a:pt x="3360504" y="5447229"/>
                  <a:pt x="3360504" y="5447229"/>
                  <a:pt x="3702003" y="5302262"/>
                </a:cubicBezTo>
                <a:cubicBezTo>
                  <a:pt x="3707727" y="5299878"/>
                  <a:pt x="3713569" y="5298805"/>
                  <a:pt x="3719263" y="5298894"/>
                </a:cubicBezTo>
                <a:close/>
                <a:moveTo>
                  <a:pt x="2583562" y="5298894"/>
                </a:moveTo>
                <a:cubicBezTo>
                  <a:pt x="2600314" y="5299163"/>
                  <a:pt x="2617065" y="5309892"/>
                  <a:pt x="2624193" y="5327059"/>
                </a:cubicBezTo>
                <a:cubicBezTo>
                  <a:pt x="2633697" y="5349949"/>
                  <a:pt x="2624193" y="5376653"/>
                  <a:pt x="2601383" y="5386191"/>
                </a:cubicBezTo>
                <a:cubicBezTo>
                  <a:pt x="2601383" y="5386191"/>
                  <a:pt x="2601383" y="5386191"/>
                  <a:pt x="2261131" y="5529250"/>
                </a:cubicBezTo>
                <a:cubicBezTo>
                  <a:pt x="2238321" y="5538788"/>
                  <a:pt x="2213610" y="5527343"/>
                  <a:pt x="2204106" y="5504453"/>
                </a:cubicBezTo>
                <a:cubicBezTo>
                  <a:pt x="2200304" y="5498731"/>
                  <a:pt x="2200304" y="5493009"/>
                  <a:pt x="2200304" y="5487286"/>
                </a:cubicBezTo>
                <a:cubicBezTo>
                  <a:pt x="2200304" y="5470119"/>
                  <a:pt x="2209808" y="5454859"/>
                  <a:pt x="2226916" y="5447229"/>
                </a:cubicBezTo>
                <a:cubicBezTo>
                  <a:pt x="2226916" y="5447229"/>
                  <a:pt x="2226916" y="5447229"/>
                  <a:pt x="2567167" y="5302262"/>
                </a:cubicBezTo>
                <a:cubicBezTo>
                  <a:pt x="2572395" y="5299878"/>
                  <a:pt x="2577979" y="5298805"/>
                  <a:pt x="2583562" y="5298894"/>
                </a:cubicBezTo>
                <a:close/>
                <a:moveTo>
                  <a:pt x="3161728" y="5292225"/>
                </a:moveTo>
                <a:cubicBezTo>
                  <a:pt x="3172412" y="5296500"/>
                  <a:pt x="3181435" y="5305050"/>
                  <a:pt x="3186184" y="5317400"/>
                </a:cubicBezTo>
                <a:cubicBezTo>
                  <a:pt x="3195681" y="5340200"/>
                  <a:pt x="3184284" y="5366800"/>
                  <a:pt x="3161490" y="5376300"/>
                </a:cubicBezTo>
                <a:cubicBezTo>
                  <a:pt x="3161490" y="5376300"/>
                  <a:pt x="3161490" y="5376300"/>
                  <a:pt x="2821483" y="5515000"/>
                </a:cubicBezTo>
                <a:cubicBezTo>
                  <a:pt x="2798690" y="5524500"/>
                  <a:pt x="2772097" y="5513100"/>
                  <a:pt x="2762599" y="5488400"/>
                </a:cubicBezTo>
                <a:cubicBezTo>
                  <a:pt x="2760700" y="5484600"/>
                  <a:pt x="2760700" y="5477000"/>
                  <a:pt x="2760700" y="5471300"/>
                </a:cubicBezTo>
                <a:cubicBezTo>
                  <a:pt x="2760700" y="5454200"/>
                  <a:pt x="2770197" y="5437100"/>
                  <a:pt x="2787293" y="5429500"/>
                </a:cubicBezTo>
                <a:cubicBezTo>
                  <a:pt x="2787293" y="5429500"/>
                  <a:pt x="2787293" y="5429500"/>
                  <a:pt x="3127300" y="5292700"/>
                </a:cubicBezTo>
                <a:cubicBezTo>
                  <a:pt x="3138697" y="5287950"/>
                  <a:pt x="3151043" y="5287950"/>
                  <a:pt x="3161728" y="5292225"/>
                </a:cubicBezTo>
                <a:close/>
                <a:moveTo>
                  <a:pt x="6485691" y="5032625"/>
                </a:moveTo>
                <a:cubicBezTo>
                  <a:pt x="6501383" y="5031376"/>
                  <a:pt x="6516007" y="5040295"/>
                  <a:pt x="6523141" y="5054565"/>
                </a:cubicBezTo>
                <a:cubicBezTo>
                  <a:pt x="6532651" y="5075494"/>
                  <a:pt x="6525043" y="5098326"/>
                  <a:pt x="6506021" y="5107840"/>
                </a:cubicBezTo>
                <a:cubicBezTo>
                  <a:pt x="6506021" y="5107840"/>
                  <a:pt x="6506021" y="5107840"/>
                  <a:pt x="6167435" y="5275274"/>
                </a:cubicBezTo>
                <a:cubicBezTo>
                  <a:pt x="6148413" y="5284788"/>
                  <a:pt x="6123685" y="5277177"/>
                  <a:pt x="6114175" y="5258150"/>
                </a:cubicBezTo>
                <a:cubicBezTo>
                  <a:pt x="6110371" y="5252442"/>
                  <a:pt x="6110371" y="5246734"/>
                  <a:pt x="6110371" y="5239124"/>
                </a:cubicBezTo>
                <a:cubicBezTo>
                  <a:pt x="6110371" y="5225805"/>
                  <a:pt x="6117979" y="5210584"/>
                  <a:pt x="6131293" y="5202973"/>
                </a:cubicBezTo>
                <a:cubicBezTo>
                  <a:pt x="6131293" y="5202973"/>
                  <a:pt x="6131293" y="5202973"/>
                  <a:pt x="6469879" y="5037441"/>
                </a:cubicBezTo>
                <a:cubicBezTo>
                  <a:pt x="6475111" y="5034587"/>
                  <a:pt x="6480459" y="5033041"/>
                  <a:pt x="6485691" y="5032625"/>
                </a:cubicBezTo>
                <a:close/>
                <a:moveTo>
                  <a:pt x="5956831" y="5024845"/>
                </a:moveTo>
                <a:cubicBezTo>
                  <a:pt x="5966841" y="5028421"/>
                  <a:pt x="5975419" y="5035574"/>
                  <a:pt x="5980185" y="5045110"/>
                </a:cubicBezTo>
                <a:cubicBezTo>
                  <a:pt x="5989719" y="5066091"/>
                  <a:pt x="5980185" y="5090887"/>
                  <a:pt x="5961121" y="5100424"/>
                </a:cubicBezTo>
                <a:cubicBezTo>
                  <a:pt x="5961121" y="5100424"/>
                  <a:pt x="5961121" y="5100424"/>
                  <a:pt x="5621775" y="5262551"/>
                </a:cubicBezTo>
                <a:cubicBezTo>
                  <a:pt x="5600803" y="5272088"/>
                  <a:pt x="5576021" y="5262551"/>
                  <a:pt x="5566487" y="5241570"/>
                </a:cubicBezTo>
                <a:cubicBezTo>
                  <a:pt x="5562675" y="5235848"/>
                  <a:pt x="5562675" y="5230126"/>
                  <a:pt x="5562675" y="5224403"/>
                </a:cubicBezTo>
                <a:cubicBezTo>
                  <a:pt x="5562675" y="5209144"/>
                  <a:pt x="5570301" y="5193885"/>
                  <a:pt x="5585553" y="5186256"/>
                </a:cubicBezTo>
                <a:cubicBezTo>
                  <a:pt x="5585553" y="5186256"/>
                  <a:pt x="5585553" y="5186256"/>
                  <a:pt x="5924899" y="5026037"/>
                </a:cubicBezTo>
                <a:cubicBezTo>
                  <a:pt x="5935385" y="5021268"/>
                  <a:pt x="5946823" y="5021268"/>
                  <a:pt x="5956831" y="5024845"/>
                </a:cubicBezTo>
                <a:close/>
                <a:moveTo>
                  <a:pt x="398944" y="5024845"/>
                </a:moveTo>
                <a:cubicBezTo>
                  <a:pt x="408946" y="5028421"/>
                  <a:pt x="417519" y="5035573"/>
                  <a:pt x="422281" y="5045110"/>
                </a:cubicBezTo>
                <a:cubicBezTo>
                  <a:pt x="431806" y="5066091"/>
                  <a:pt x="422281" y="5090887"/>
                  <a:pt x="401326" y="5100424"/>
                </a:cubicBezTo>
                <a:cubicBezTo>
                  <a:pt x="401326" y="5100424"/>
                  <a:pt x="401326" y="5100424"/>
                  <a:pt x="62231" y="5262551"/>
                </a:cubicBezTo>
                <a:cubicBezTo>
                  <a:pt x="43181" y="5272088"/>
                  <a:pt x="18415" y="5262551"/>
                  <a:pt x="8890" y="5241570"/>
                </a:cubicBezTo>
                <a:cubicBezTo>
                  <a:pt x="5080" y="5235848"/>
                  <a:pt x="3175" y="5230126"/>
                  <a:pt x="3175" y="5224403"/>
                </a:cubicBezTo>
                <a:cubicBezTo>
                  <a:pt x="3175" y="5209144"/>
                  <a:pt x="12700" y="5193885"/>
                  <a:pt x="27940" y="5186256"/>
                </a:cubicBezTo>
                <a:cubicBezTo>
                  <a:pt x="27940" y="5186256"/>
                  <a:pt x="27940" y="5186256"/>
                  <a:pt x="367035" y="5026037"/>
                </a:cubicBezTo>
                <a:cubicBezTo>
                  <a:pt x="377513" y="5021268"/>
                  <a:pt x="388943" y="5021268"/>
                  <a:pt x="398944" y="5024845"/>
                </a:cubicBezTo>
                <a:close/>
                <a:moveTo>
                  <a:pt x="5409065" y="5014175"/>
                </a:moveTo>
                <a:cubicBezTo>
                  <a:pt x="5419097" y="5018213"/>
                  <a:pt x="5427695" y="5026289"/>
                  <a:pt x="5432471" y="5037690"/>
                </a:cubicBezTo>
                <a:cubicBezTo>
                  <a:pt x="5442023" y="5058592"/>
                  <a:pt x="5434381" y="5083295"/>
                  <a:pt x="5411453" y="5092795"/>
                </a:cubicBezTo>
                <a:cubicBezTo>
                  <a:pt x="5411453" y="5092795"/>
                  <a:pt x="5411453" y="5092795"/>
                  <a:pt x="5071359" y="5246711"/>
                </a:cubicBezTo>
                <a:cubicBezTo>
                  <a:pt x="5050341" y="5256212"/>
                  <a:pt x="5025503" y="5246711"/>
                  <a:pt x="5014039" y="5225809"/>
                </a:cubicBezTo>
                <a:cubicBezTo>
                  <a:pt x="5012129" y="5220108"/>
                  <a:pt x="5010219" y="5214408"/>
                  <a:pt x="5010219" y="5208707"/>
                </a:cubicBezTo>
                <a:cubicBezTo>
                  <a:pt x="5010219" y="5191605"/>
                  <a:pt x="5019771" y="5176404"/>
                  <a:pt x="5036967" y="5168803"/>
                </a:cubicBezTo>
                <a:cubicBezTo>
                  <a:pt x="5036967" y="5168803"/>
                  <a:pt x="5036967" y="5168803"/>
                  <a:pt x="5377063" y="5014888"/>
                </a:cubicBezTo>
                <a:cubicBezTo>
                  <a:pt x="5387571" y="5010137"/>
                  <a:pt x="5399035" y="5010137"/>
                  <a:pt x="5409065" y="5014175"/>
                </a:cubicBezTo>
                <a:close/>
                <a:moveTo>
                  <a:pt x="942536" y="5014175"/>
                </a:moveTo>
                <a:cubicBezTo>
                  <a:pt x="953006" y="5018213"/>
                  <a:pt x="962048" y="5026289"/>
                  <a:pt x="966807" y="5037690"/>
                </a:cubicBezTo>
                <a:cubicBezTo>
                  <a:pt x="976325" y="5058592"/>
                  <a:pt x="966807" y="5083295"/>
                  <a:pt x="945867" y="5092795"/>
                </a:cubicBezTo>
                <a:cubicBezTo>
                  <a:pt x="945867" y="5092795"/>
                  <a:pt x="945867" y="5092795"/>
                  <a:pt x="605119" y="5246711"/>
                </a:cubicBezTo>
                <a:cubicBezTo>
                  <a:pt x="584179" y="5256212"/>
                  <a:pt x="559432" y="5246711"/>
                  <a:pt x="549914" y="5225809"/>
                </a:cubicBezTo>
                <a:cubicBezTo>
                  <a:pt x="546107" y="5220108"/>
                  <a:pt x="546107" y="5214408"/>
                  <a:pt x="546107" y="5208707"/>
                </a:cubicBezTo>
                <a:cubicBezTo>
                  <a:pt x="546107" y="5191605"/>
                  <a:pt x="555625" y="5176404"/>
                  <a:pt x="570854" y="5168803"/>
                </a:cubicBezTo>
                <a:cubicBezTo>
                  <a:pt x="570854" y="5168803"/>
                  <a:pt x="570854" y="5168803"/>
                  <a:pt x="909698" y="5014888"/>
                </a:cubicBezTo>
                <a:cubicBezTo>
                  <a:pt x="920168" y="5010137"/>
                  <a:pt x="932066" y="5010137"/>
                  <a:pt x="942536" y="5014175"/>
                </a:cubicBezTo>
                <a:close/>
                <a:moveTo>
                  <a:pt x="4856099" y="5004627"/>
                </a:moveTo>
                <a:cubicBezTo>
                  <a:pt x="4866353" y="5008654"/>
                  <a:pt x="4874939" y="5016709"/>
                  <a:pt x="4879707" y="5028079"/>
                </a:cubicBezTo>
                <a:cubicBezTo>
                  <a:pt x="4891155" y="5050821"/>
                  <a:pt x="4879707" y="5075458"/>
                  <a:pt x="4856813" y="5084934"/>
                </a:cubicBezTo>
                <a:cubicBezTo>
                  <a:pt x="4856813" y="5084934"/>
                  <a:pt x="4856813" y="5084934"/>
                  <a:pt x="4517223" y="5230861"/>
                </a:cubicBezTo>
                <a:cubicBezTo>
                  <a:pt x="4494329" y="5240337"/>
                  <a:pt x="4469527" y="5230861"/>
                  <a:pt x="4459989" y="5208119"/>
                </a:cubicBezTo>
                <a:cubicBezTo>
                  <a:pt x="4456173" y="5202434"/>
                  <a:pt x="4456173" y="5196748"/>
                  <a:pt x="4456173" y="5191063"/>
                </a:cubicBezTo>
                <a:cubicBezTo>
                  <a:pt x="4456173" y="5174006"/>
                  <a:pt x="4465713" y="5158845"/>
                  <a:pt x="4482883" y="5151264"/>
                </a:cubicBezTo>
                <a:cubicBezTo>
                  <a:pt x="4482883" y="5151264"/>
                  <a:pt x="4482883" y="5151264"/>
                  <a:pt x="4822473" y="5005338"/>
                </a:cubicBezTo>
                <a:cubicBezTo>
                  <a:pt x="4833921" y="5000600"/>
                  <a:pt x="4845845" y="5000600"/>
                  <a:pt x="4856099" y="5004627"/>
                </a:cubicBezTo>
                <a:close/>
                <a:moveTo>
                  <a:pt x="1491745" y="5004627"/>
                </a:moveTo>
                <a:cubicBezTo>
                  <a:pt x="1502238" y="5008654"/>
                  <a:pt x="1511300" y="5016708"/>
                  <a:pt x="1516069" y="5028079"/>
                </a:cubicBezTo>
                <a:cubicBezTo>
                  <a:pt x="1525608" y="5050821"/>
                  <a:pt x="1516069" y="5075458"/>
                  <a:pt x="1493175" y="5084934"/>
                </a:cubicBezTo>
                <a:cubicBezTo>
                  <a:pt x="1493175" y="5084934"/>
                  <a:pt x="1493175" y="5084934"/>
                  <a:pt x="1153585" y="5230861"/>
                </a:cubicBezTo>
                <a:cubicBezTo>
                  <a:pt x="1130691" y="5240337"/>
                  <a:pt x="1103982" y="5230861"/>
                  <a:pt x="1094443" y="5208119"/>
                </a:cubicBezTo>
                <a:cubicBezTo>
                  <a:pt x="1092535" y="5202434"/>
                  <a:pt x="1090627" y="5196748"/>
                  <a:pt x="1090627" y="5191063"/>
                </a:cubicBezTo>
                <a:cubicBezTo>
                  <a:pt x="1090627" y="5174006"/>
                  <a:pt x="1102074" y="5158845"/>
                  <a:pt x="1117336" y="5151264"/>
                </a:cubicBezTo>
                <a:cubicBezTo>
                  <a:pt x="1117336" y="5151264"/>
                  <a:pt x="1117336" y="5151264"/>
                  <a:pt x="1458835" y="5005338"/>
                </a:cubicBezTo>
                <a:cubicBezTo>
                  <a:pt x="1469328" y="5000600"/>
                  <a:pt x="1481252" y="5000600"/>
                  <a:pt x="1491745" y="5004627"/>
                </a:cubicBezTo>
                <a:close/>
                <a:moveTo>
                  <a:pt x="4281261" y="4989339"/>
                </a:moveTo>
                <a:cubicBezTo>
                  <a:pt x="4298865" y="4989608"/>
                  <a:pt x="4315665" y="5000352"/>
                  <a:pt x="4322813" y="5017541"/>
                </a:cubicBezTo>
                <a:cubicBezTo>
                  <a:pt x="4332347" y="5040461"/>
                  <a:pt x="4320907" y="5067200"/>
                  <a:pt x="4298031" y="5076750"/>
                </a:cubicBezTo>
                <a:cubicBezTo>
                  <a:pt x="4298031" y="5076750"/>
                  <a:pt x="4298031" y="5076750"/>
                  <a:pt x="3958689" y="5218087"/>
                </a:cubicBezTo>
                <a:cubicBezTo>
                  <a:pt x="3933907" y="5227637"/>
                  <a:pt x="3909123" y="5216177"/>
                  <a:pt x="3899591" y="5193257"/>
                </a:cubicBezTo>
                <a:cubicBezTo>
                  <a:pt x="3895779" y="5187528"/>
                  <a:pt x="3895779" y="5181798"/>
                  <a:pt x="3895779" y="5176068"/>
                </a:cubicBezTo>
                <a:cubicBezTo>
                  <a:pt x="3895779" y="5156968"/>
                  <a:pt x="3905311" y="5141689"/>
                  <a:pt x="3924375" y="5134049"/>
                </a:cubicBezTo>
                <a:cubicBezTo>
                  <a:pt x="3924375" y="5134049"/>
                  <a:pt x="3924375" y="5134049"/>
                  <a:pt x="4263715" y="4992712"/>
                </a:cubicBezTo>
                <a:cubicBezTo>
                  <a:pt x="4269435" y="4990324"/>
                  <a:pt x="4275393" y="4989250"/>
                  <a:pt x="4281261" y="4989339"/>
                </a:cubicBezTo>
                <a:close/>
                <a:moveTo>
                  <a:pt x="2028604" y="4989339"/>
                </a:moveTo>
                <a:cubicBezTo>
                  <a:pt x="2046196" y="4989608"/>
                  <a:pt x="2062984" y="5000352"/>
                  <a:pt x="2070128" y="5017541"/>
                </a:cubicBezTo>
                <a:cubicBezTo>
                  <a:pt x="2079653" y="5040461"/>
                  <a:pt x="2068223" y="5067200"/>
                  <a:pt x="2045363" y="5076750"/>
                </a:cubicBezTo>
                <a:cubicBezTo>
                  <a:pt x="2045363" y="5076750"/>
                  <a:pt x="2045363" y="5076750"/>
                  <a:pt x="1704363" y="5218087"/>
                </a:cubicBezTo>
                <a:cubicBezTo>
                  <a:pt x="1681503" y="5227637"/>
                  <a:pt x="1654832" y="5216177"/>
                  <a:pt x="1645307" y="5193257"/>
                </a:cubicBezTo>
                <a:cubicBezTo>
                  <a:pt x="1643402" y="5187528"/>
                  <a:pt x="1641497" y="5181798"/>
                  <a:pt x="1641497" y="5176068"/>
                </a:cubicBezTo>
                <a:cubicBezTo>
                  <a:pt x="1641497" y="5156968"/>
                  <a:pt x="1652927" y="5141689"/>
                  <a:pt x="1670072" y="5134049"/>
                </a:cubicBezTo>
                <a:cubicBezTo>
                  <a:pt x="1670072" y="5134049"/>
                  <a:pt x="1670072" y="5134049"/>
                  <a:pt x="2011072" y="4992712"/>
                </a:cubicBezTo>
                <a:cubicBezTo>
                  <a:pt x="2016787" y="4990324"/>
                  <a:pt x="2022740" y="4989250"/>
                  <a:pt x="2028604" y="4989339"/>
                </a:cubicBezTo>
                <a:close/>
                <a:moveTo>
                  <a:pt x="3720415" y="4979828"/>
                </a:moveTo>
                <a:cubicBezTo>
                  <a:pt x="3738811" y="4980185"/>
                  <a:pt x="3755599" y="4991258"/>
                  <a:pt x="3762743" y="5009832"/>
                </a:cubicBezTo>
                <a:cubicBezTo>
                  <a:pt x="3770363" y="5032692"/>
                  <a:pt x="3758933" y="5059362"/>
                  <a:pt x="3736073" y="5068887"/>
                </a:cubicBezTo>
                <a:cubicBezTo>
                  <a:pt x="3736073" y="5068887"/>
                  <a:pt x="3736073" y="5068887"/>
                  <a:pt x="3395073" y="5202237"/>
                </a:cubicBezTo>
                <a:cubicBezTo>
                  <a:pt x="3370308" y="5211762"/>
                  <a:pt x="3343637" y="5200332"/>
                  <a:pt x="3334112" y="5175567"/>
                </a:cubicBezTo>
                <a:cubicBezTo>
                  <a:pt x="3332207" y="5169852"/>
                  <a:pt x="3332207" y="5164137"/>
                  <a:pt x="3332207" y="5158422"/>
                </a:cubicBezTo>
                <a:cubicBezTo>
                  <a:pt x="3332207" y="5141277"/>
                  <a:pt x="3343637" y="5122227"/>
                  <a:pt x="3360782" y="5116512"/>
                </a:cubicBezTo>
                <a:cubicBezTo>
                  <a:pt x="3360782" y="5116512"/>
                  <a:pt x="3360782" y="5116512"/>
                  <a:pt x="3701783" y="4983162"/>
                </a:cubicBezTo>
                <a:cubicBezTo>
                  <a:pt x="3707975" y="4980781"/>
                  <a:pt x="3714285" y="4979709"/>
                  <a:pt x="3720415" y="4979828"/>
                </a:cubicBezTo>
                <a:close/>
                <a:moveTo>
                  <a:pt x="2585938" y="4979828"/>
                </a:moveTo>
                <a:cubicBezTo>
                  <a:pt x="2604132" y="4980185"/>
                  <a:pt x="2622056" y="4991258"/>
                  <a:pt x="2629225" y="5009832"/>
                </a:cubicBezTo>
                <a:cubicBezTo>
                  <a:pt x="2636873" y="5032692"/>
                  <a:pt x="2625401" y="5059362"/>
                  <a:pt x="2602458" y="5068887"/>
                </a:cubicBezTo>
                <a:cubicBezTo>
                  <a:pt x="2602458" y="5068887"/>
                  <a:pt x="2602458" y="5068887"/>
                  <a:pt x="2260223" y="5202237"/>
                </a:cubicBezTo>
                <a:cubicBezTo>
                  <a:pt x="2235368" y="5211762"/>
                  <a:pt x="2208601" y="5200332"/>
                  <a:pt x="2199041" y="5175567"/>
                </a:cubicBezTo>
                <a:cubicBezTo>
                  <a:pt x="2197129" y="5169852"/>
                  <a:pt x="2197129" y="5164137"/>
                  <a:pt x="2197129" y="5158422"/>
                </a:cubicBezTo>
                <a:cubicBezTo>
                  <a:pt x="2197129" y="5141277"/>
                  <a:pt x="2206689" y="5122227"/>
                  <a:pt x="2225808" y="5116512"/>
                </a:cubicBezTo>
                <a:cubicBezTo>
                  <a:pt x="2225808" y="5116512"/>
                  <a:pt x="2225808" y="5116512"/>
                  <a:pt x="2568043" y="4983162"/>
                </a:cubicBezTo>
                <a:cubicBezTo>
                  <a:pt x="2573779" y="4980780"/>
                  <a:pt x="2579874" y="4979709"/>
                  <a:pt x="2585938" y="4979828"/>
                </a:cubicBezTo>
                <a:close/>
                <a:moveTo>
                  <a:pt x="3148516" y="4969031"/>
                </a:moveTo>
                <a:cubicBezTo>
                  <a:pt x="3166938" y="4969927"/>
                  <a:pt x="3183750" y="4982104"/>
                  <a:pt x="3190904" y="5000728"/>
                </a:cubicBezTo>
                <a:cubicBezTo>
                  <a:pt x="3200443" y="5025560"/>
                  <a:pt x="3187089" y="5052302"/>
                  <a:pt x="3162288" y="5061853"/>
                </a:cubicBezTo>
                <a:cubicBezTo>
                  <a:pt x="3162288" y="5061853"/>
                  <a:pt x="3162288" y="5061853"/>
                  <a:pt x="2820801" y="5187924"/>
                </a:cubicBezTo>
                <a:cubicBezTo>
                  <a:pt x="2796000" y="5197475"/>
                  <a:pt x="2769291" y="5184104"/>
                  <a:pt x="2759753" y="5161182"/>
                </a:cubicBezTo>
                <a:cubicBezTo>
                  <a:pt x="2757845" y="5155451"/>
                  <a:pt x="2755937" y="5149721"/>
                  <a:pt x="2755937" y="5143990"/>
                </a:cubicBezTo>
                <a:cubicBezTo>
                  <a:pt x="2755937" y="5124889"/>
                  <a:pt x="2767384" y="5105787"/>
                  <a:pt x="2788369" y="5098146"/>
                </a:cubicBezTo>
                <a:cubicBezTo>
                  <a:pt x="2788369" y="5098146"/>
                  <a:pt x="2788369" y="5098146"/>
                  <a:pt x="3129856" y="4972076"/>
                </a:cubicBezTo>
                <a:cubicBezTo>
                  <a:pt x="3136056" y="4969688"/>
                  <a:pt x="3142376" y="4968733"/>
                  <a:pt x="3148516" y="4969031"/>
                </a:cubicBezTo>
                <a:close/>
                <a:moveTo>
                  <a:pt x="6500077" y="4711372"/>
                </a:moveTo>
                <a:cubicBezTo>
                  <a:pt x="6509825" y="4714702"/>
                  <a:pt x="6518385" y="4721837"/>
                  <a:pt x="6523141" y="4732302"/>
                </a:cubicBezTo>
                <a:cubicBezTo>
                  <a:pt x="6532651" y="4751328"/>
                  <a:pt x="6525043" y="4774161"/>
                  <a:pt x="6506021" y="4785577"/>
                </a:cubicBezTo>
                <a:cubicBezTo>
                  <a:pt x="6506021" y="4785577"/>
                  <a:pt x="6506021" y="4785577"/>
                  <a:pt x="6167435" y="4953011"/>
                </a:cubicBezTo>
                <a:cubicBezTo>
                  <a:pt x="6148413" y="4962525"/>
                  <a:pt x="6123685" y="4954914"/>
                  <a:pt x="6114175" y="4935887"/>
                </a:cubicBezTo>
                <a:cubicBezTo>
                  <a:pt x="6110371" y="4930179"/>
                  <a:pt x="6110371" y="4924471"/>
                  <a:pt x="6110371" y="4916861"/>
                </a:cubicBezTo>
                <a:cubicBezTo>
                  <a:pt x="6110371" y="4903542"/>
                  <a:pt x="6117979" y="4888321"/>
                  <a:pt x="6131293" y="4882613"/>
                </a:cubicBezTo>
                <a:cubicBezTo>
                  <a:pt x="6131293" y="4882613"/>
                  <a:pt x="6131293" y="4882613"/>
                  <a:pt x="6469879" y="4713275"/>
                </a:cubicBezTo>
                <a:cubicBezTo>
                  <a:pt x="6479389" y="4708519"/>
                  <a:pt x="6490327" y="4708043"/>
                  <a:pt x="6500077" y="4711372"/>
                </a:cubicBezTo>
                <a:close/>
                <a:moveTo>
                  <a:pt x="5956831" y="4701876"/>
                </a:moveTo>
                <a:cubicBezTo>
                  <a:pt x="5966841" y="4705218"/>
                  <a:pt x="5975419" y="4712380"/>
                  <a:pt x="5980185" y="4722883"/>
                </a:cubicBezTo>
                <a:cubicBezTo>
                  <a:pt x="5989719" y="4743891"/>
                  <a:pt x="5982093" y="4768718"/>
                  <a:pt x="5961121" y="4778267"/>
                </a:cubicBezTo>
                <a:cubicBezTo>
                  <a:pt x="5961121" y="4778267"/>
                  <a:pt x="5961121" y="4778267"/>
                  <a:pt x="5621775" y="4938688"/>
                </a:cubicBezTo>
                <a:cubicBezTo>
                  <a:pt x="5600803" y="4948237"/>
                  <a:pt x="5576021" y="4940598"/>
                  <a:pt x="5566487" y="4919590"/>
                </a:cubicBezTo>
                <a:cubicBezTo>
                  <a:pt x="5562675" y="4913861"/>
                  <a:pt x="5562675" y="4906222"/>
                  <a:pt x="5562675" y="4900492"/>
                </a:cubicBezTo>
                <a:cubicBezTo>
                  <a:pt x="5562675" y="4885214"/>
                  <a:pt x="5570301" y="4869936"/>
                  <a:pt x="5585553" y="4864207"/>
                </a:cubicBezTo>
                <a:cubicBezTo>
                  <a:pt x="5585553" y="4864207"/>
                  <a:pt x="5585553" y="4864207"/>
                  <a:pt x="5924899" y="4703786"/>
                </a:cubicBezTo>
                <a:cubicBezTo>
                  <a:pt x="5935385" y="4699011"/>
                  <a:pt x="5946823" y="4698534"/>
                  <a:pt x="5956831" y="4701876"/>
                </a:cubicBezTo>
                <a:close/>
                <a:moveTo>
                  <a:pt x="398944" y="4701876"/>
                </a:moveTo>
                <a:cubicBezTo>
                  <a:pt x="408946" y="4705218"/>
                  <a:pt x="417519" y="4712380"/>
                  <a:pt x="422281" y="4722883"/>
                </a:cubicBezTo>
                <a:cubicBezTo>
                  <a:pt x="431806" y="4743891"/>
                  <a:pt x="422281" y="4768718"/>
                  <a:pt x="401326" y="4778267"/>
                </a:cubicBezTo>
                <a:cubicBezTo>
                  <a:pt x="401326" y="4778267"/>
                  <a:pt x="401326" y="4778267"/>
                  <a:pt x="62231" y="4938688"/>
                </a:cubicBezTo>
                <a:cubicBezTo>
                  <a:pt x="43181" y="4948237"/>
                  <a:pt x="16510" y="4940598"/>
                  <a:pt x="6985" y="4919590"/>
                </a:cubicBezTo>
                <a:cubicBezTo>
                  <a:pt x="5080" y="4913861"/>
                  <a:pt x="3175" y="4906222"/>
                  <a:pt x="3175" y="4900492"/>
                </a:cubicBezTo>
                <a:cubicBezTo>
                  <a:pt x="3175" y="4885214"/>
                  <a:pt x="12700" y="4869936"/>
                  <a:pt x="27940" y="4864207"/>
                </a:cubicBezTo>
                <a:cubicBezTo>
                  <a:pt x="27940" y="4864207"/>
                  <a:pt x="27940" y="4864207"/>
                  <a:pt x="367035" y="4703786"/>
                </a:cubicBezTo>
                <a:cubicBezTo>
                  <a:pt x="377513" y="4699011"/>
                  <a:pt x="388943" y="4698534"/>
                  <a:pt x="398944" y="4701876"/>
                </a:cubicBezTo>
                <a:close/>
                <a:moveTo>
                  <a:pt x="5409723" y="4693284"/>
                </a:moveTo>
                <a:cubicBezTo>
                  <a:pt x="5420223" y="4697094"/>
                  <a:pt x="5429293" y="4704714"/>
                  <a:pt x="5434065" y="4715192"/>
                </a:cubicBezTo>
                <a:cubicBezTo>
                  <a:pt x="5443611" y="4738052"/>
                  <a:pt x="5434065" y="4762817"/>
                  <a:pt x="5411155" y="4772342"/>
                </a:cubicBezTo>
                <a:cubicBezTo>
                  <a:pt x="5411155" y="4772342"/>
                  <a:pt x="5411155" y="4772342"/>
                  <a:pt x="5071313" y="4922837"/>
                </a:cubicBezTo>
                <a:cubicBezTo>
                  <a:pt x="5048403" y="4932362"/>
                  <a:pt x="5023583" y="4922837"/>
                  <a:pt x="5014037" y="4901882"/>
                </a:cubicBezTo>
                <a:cubicBezTo>
                  <a:pt x="5012127" y="4894262"/>
                  <a:pt x="5010219" y="4888547"/>
                  <a:pt x="5010219" y="4882832"/>
                </a:cubicBezTo>
                <a:cubicBezTo>
                  <a:pt x="5010219" y="4867592"/>
                  <a:pt x="5019765" y="4850447"/>
                  <a:pt x="5036947" y="4842827"/>
                </a:cubicBezTo>
                <a:cubicBezTo>
                  <a:pt x="5036947" y="4842827"/>
                  <a:pt x="5036947" y="4842827"/>
                  <a:pt x="5376789" y="4694237"/>
                </a:cubicBezTo>
                <a:cubicBezTo>
                  <a:pt x="5387289" y="4689474"/>
                  <a:pt x="5399221" y="4689474"/>
                  <a:pt x="5409723" y="4693284"/>
                </a:cubicBezTo>
                <a:close/>
                <a:moveTo>
                  <a:pt x="943153" y="4693284"/>
                </a:moveTo>
                <a:cubicBezTo>
                  <a:pt x="953415" y="4697094"/>
                  <a:pt x="962006" y="4704714"/>
                  <a:pt x="966779" y="4715192"/>
                </a:cubicBezTo>
                <a:cubicBezTo>
                  <a:pt x="976325" y="4738052"/>
                  <a:pt x="966779" y="4762817"/>
                  <a:pt x="945777" y="4772342"/>
                </a:cubicBezTo>
                <a:cubicBezTo>
                  <a:pt x="945777" y="4772342"/>
                  <a:pt x="945777" y="4772342"/>
                  <a:pt x="604027" y="4922837"/>
                </a:cubicBezTo>
                <a:cubicBezTo>
                  <a:pt x="583026" y="4932362"/>
                  <a:pt x="556297" y="4922837"/>
                  <a:pt x="546750" y="4901882"/>
                </a:cubicBezTo>
                <a:cubicBezTo>
                  <a:pt x="544841" y="4894262"/>
                  <a:pt x="542932" y="4888547"/>
                  <a:pt x="542932" y="4882832"/>
                </a:cubicBezTo>
                <a:cubicBezTo>
                  <a:pt x="542932" y="4867592"/>
                  <a:pt x="552478" y="4850447"/>
                  <a:pt x="569661" y="4842827"/>
                </a:cubicBezTo>
                <a:cubicBezTo>
                  <a:pt x="569661" y="4842827"/>
                  <a:pt x="569661" y="4842827"/>
                  <a:pt x="909502" y="4694237"/>
                </a:cubicBezTo>
                <a:cubicBezTo>
                  <a:pt x="920958" y="4689474"/>
                  <a:pt x="932890" y="4689474"/>
                  <a:pt x="943153" y="4693284"/>
                </a:cubicBezTo>
                <a:close/>
                <a:moveTo>
                  <a:pt x="4840067" y="4679736"/>
                </a:moveTo>
                <a:cubicBezTo>
                  <a:pt x="4857671" y="4680003"/>
                  <a:pt x="4874473" y="4690677"/>
                  <a:pt x="4881621" y="4707755"/>
                </a:cubicBezTo>
                <a:cubicBezTo>
                  <a:pt x="4891153" y="4730526"/>
                  <a:pt x="4879715" y="4757092"/>
                  <a:pt x="4856837" y="4766579"/>
                </a:cubicBezTo>
                <a:cubicBezTo>
                  <a:pt x="4856837" y="4766579"/>
                  <a:pt x="4856837" y="4766579"/>
                  <a:pt x="4517497" y="4906999"/>
                </a:cubicBezTo>
                <a:cubicBezTo>
                  <a:pt x="4494619" y="4916487"/>
                  <a:pt x="4467929" y="4905101"/>
                  <a:pt x="4458397" y="4882331"/>
                </a:cubicBezTo>
                <a:cubicBezTo>
                  <a:pt x="4456491" y="4876638"/>
                  <a:pt x="4454585" y="4870945"/>
                  <a:pt x="4454585" y="4865253"/>
                </a:cubicBezTo>
                <a:cubicBezTo>
                  <a:pt x="4454585" y="4848175"/>
                  <a:pt x="4466023" y="4831096"/>
                  <a:pt x="4483181" y="4823506"/>
                </a:cubicBezTo>
                <a:cubicBezTo>
                  <a:pt x="4483181" y="4823506"/>
                  <a:pt x="4483181" y="4823506"/>
                  <a:pt x="4822523" y="4683087"/>
                </a:cubicBezTo>
                <a:cubicBezTo>
                  <a:pt x="4828243" y="4680715"/>
                  <a:pt x="4834199" y="4679647"/>
                  <a:pt x="4840067" y="4679736"/>
                </a:cubicBezTo>
                <a:close/>
                <a:moveTo>
                  <a:pt x="1476109" y="4679736"/>
                </a:moveTo>
                <a:cubicBezTo>
                  <a:pt x="1493714" y="4680003"/>
                  <a:pt x="1510514" y="4690677"/>
                  <a:pt x="1517663" y="4707755"/>
                </a:cubicBezTo>
                <a:cubicBezTo>
                  <a:pt x="1527195" y="4730526"/>
                  <a:pt x="1515757" y="4757092"/>
                  <a:pt x="1492880" y="4766579"/>
                </a:cubicBezTo>
                <a:cubicBezTo>
                  <a:pt x="1492880" y="4766579"/>
                  <a:pt x="1492880" y="4766579"/>
                  <a:pt x="1151632" y="4906999"/>
                </a:cubicBezTo>
                <a:cubicBezTo>
                  <a:pt x="1128755" y="4916487"/>
                  <a:pt x="1102065" y="4905101"/>
                  <a:pt x="1094440" y="4882331"/>
                </a:cubicBezTo>
                <a:cubicBezTo>
                  <a:pt x="1090627" y="4876638"/>
                  <a:pt x="1090627" y="4870945"/>
                  <a:pt x="1090627" y="4865253"/>
                </a:cubicBezTo>
                <a:cubicBezTo>
                  <a:pt x="1090627" y="4848175"/>
                  <a:pt x="1100159" y="4831096"/>
                  <a:pt x="1117317" y="4823506"/>
                </a:cubicBezTo>
                <a:cubicBezTo>
                  <a:pt x="1117317" y="4823506"/>
                  <a:pt x="1117317" y="4823506"/>
                  <a:pt x="1458564" y="4683087"/>
                </a:cubicBezTo>
                <a:cubicBezTo>
                  <a:pt x="1464283" y="4680715"/>
                  <a:pt x="1470241" y="4679647"/>
                  <a:pt x="1476109" y="4679736"/>
                </a:cubicBezTo>
                <a:close/>
                <a:moveTo>
                  <a:pt x="4282923" y="4670533"/>
                </a:moveTo>
                <a:cubicBezTo>
                  <a:pt x="4300501" y="4671337"/>
                  <a:pt x="4317277" y="4683124"/>
                  <a:pt x="4324415" y="4700269"/>
                </a:cubicBezTo>
                <a:cubicBezTo>
                  <a:pt x="4333935" y="4725034"/>
                  <a:pt x="4322513" y="4751704"/>
                  <a:pt x="4297765" y="4761229"/>
                </a:cubicBezTo>
                <a:cubicBezTo>
                  <a:pt x="4297765" y="4761229"/>
                  <a:pt x="4297765" y="4761229"/>
                  <a:pt x="3957011" y="4892674"/>
                </a:cubicBezTo>
                <a:cubicBezTo>
                  <a:pt x="3934167" y="4902199"/>
                  <a:pt x="3907515" y="4890769"/>
                  <a:pt x="3897997" y="4866004"/>
                </a:cubicBezTo>
                <a:cubicBezTo>
                  <a:pt x="3896093" y="4860289"/>
                  <a:pt x="3894191" y="4854574"/>
                  <a:pt x="3894191" y="4848859"/>
                </a:cubicBezTo>
                <a:cubicBezTo>
                  <a:pt x="3894191" y="4829809"/>
                  <a:pt x="3905611" y="4812664"/>
                  <a:pt x="3924649" y="4805044"/>
                </a:cubicBezTo>
                <a:cubicBezTo>
                  <a:pt x="3924649" y="4805044"/>
                  <a:pt x="3924649" y="4805044"/>
                  <a:pt x="4265403" y="4673599"/>
                </a:cubicBezTo>
                <a:cubicBezTo>
                  <a:pt x="4271115" y="4671218"/>
                  <a:pt x="4277063" y="4670265"/>
                  <a:pt x="4282923" y="4670533"/>
                </a:cubicBezTo>
                <a:close/>
                <a:moveTo>
                  <a:pt x="2029462" y="4670533"/>
                </a:moveTo>
                <a:cubicBezTo>
                  <a:pt x="2047831" y="4671337"/>
                  <a:pt x="2064595" y="4683124"/>
                  <a:pt x="2071729" y="4700269"/>
                </a:cubicBezTo>
                <a:cubicBezTo>
                  <a:pt x="2081240" y="4725034"/>
                  <a:pt x="2067924" y="4751704"/>
                  <a:pt x="2045097" y="4761229"/>
                </a:cubicBezTo>
                <a:cubicBezTo>
                  <a:pt x="2045097" y="4761229"/>
                  <a:pt x="2045097" y="4761229"/>
                  <a:pt x="1704587" y="4892674"/>
                </a:cubicBezTo>
                <a:cubicBezTo>
                  <a:pt x="1679857" y="4902199"/>
                  <a:pt x="1653225" y="4890769"/>
                  <a:pt x="1643714" y="4866004"/>
                </a:cubicBezTo>
                <a:cubicBezTo>
                  <a:pt x="1641811" y="4860289"/>
                  <a:pt x="1639909" y="4854574"/>
                  <a:pt x="1639909" y="4848859"/>
                </a:cubicBezTo>
                <a:cubicBezTo>
                  <a:pt x="1639909" y="4829809"/>
                  <a:pt x="1651323" y="4812664"/>
                  <a:pt x="1670346" y="4805044"/>
                </a:cubicBezTo>
                <a:cubicBezTo>
                  <a:pt x="1670346" y="4805044"/>
                  <a:pt x="1670346" y="4805044"/>
                  <a:pt x="2010855" y="4673599"/>
                </a:cubicBezTo>
                <a:cubicBezTo>
                  <a:pt x="2017038" y="4671218"/>
                  <a:pt x="2023339" y="4670265"/>
                  <a:pt x="2029462" y="4670533"/>
                </a:cubicBezTo>
                <a:close/>
                <a:moveTo>
                  <a:pt x="3720845" y="4661020"/>
                </a:moveTo>
                <a:cubicBezTo>
                  <a:pt x="3740057" y="4661910"/>
                  <a:pt x="3756859" y="4674022"/>
                  <a:pt x="3764007" y="4692545"/>
                </a:cubicBezTo>
                <a:cubicBezTo>
                  <a:pt x="3773539" y="4717242"/>
                  <a:pt x="3760195" y="4745739"/>
                  <a:pt x="3735411" y="4755238"/>
                </a:cubicBezTo>
                <a:cubicBezTo>
                  <a:pt x="3735411" y="4755238"/>
                  <a:pt x="3735411" y="4755238"/>
                  <a:pt x="3392262" y="4876825"/>
                </a:cubicBezTo>
                <a:cubicBezTo>
                  <a:pt x="3367479" y="4886324"/>
                  <a:pt x="3340790" y="4873025"/>
                  <a:pt x="3331258" y="4848328"/>
                </a:cubicBezTo>
                <a:cubicBezTo>
                  <a:pt x="3329351" y="4842628"/>
                  <a:pt x="3327445" y="4836929"/>
                  <a:pt x="3327445" y="4831230"/>
                </a:cubicBezTo>
                <a:cubicBezTo>
                  <a:pt x="3327445" y="4812232"/>
                  <a:pt x="3340790" y="4793234"/>
                  <a:pt x="3359854" y="4785635"/>
                </a:cubicBezTo>
                <a:cubicBezTo>
                  <a:pt x="3359854" y="4785635"/>
                  <a:pt x="3359854" y="4785635"/>
                  <a:pt x="3701097" y="4664048"/>
                </a:cubicBezTo>
                <a:cubicBezTo>
                  <a:pt x="3707769" y="4661673"/>
                  <a:pt x="3714441" y="4660723"/>
                  <a:pt x="3720845" y="4661020"/>
                </a:cubicBezTo>
                <a:close/>
                <a:moveTo>
                  <a:pt x="2587354" y="4661020"/>
                </a:moveTo>
                <a:cubicBezTo>
                  <a:pt x="2606567" y="4661910"/>
                  <a:pt x="2623367" y="4674022"/>
                  <a:pt x="2630516" y="4692545"/>
                </a:cubicBezTo>
                <a:cubicBezTo>
                  <a:pt x="2640048" y="4717242"/>
                  <a:pt x="2626703" y="4745739"/>
                  <a:pt x="2601920" y="4755238"/>
                </a:cubicBezTo>
                <a:cubicBezTo>
                  <a:pt x="2601920" y="4755238"/>
                  <a:pt x="2601920" y="4755238"/>
                  <a:pt x="2258771" y="4876825"/>
                </a:cubicBezTo>
                <a:cubicBezTo>
                  <a:pt x="2233988" y="4886324"/>
                  <a:pt x="2207299" y="4873025"/>
                  <a:pt x="2197767" y="4848328"/>
                </a:cubicBezTo>
                <a:cubicBezTo>
                  <a:pt x="2195860" y="4842628"/>
                  <a:pt x="2193954" y="4836929"/>
                  <a:pt x="2193954" y="4831230"/>
                </a:cubicBezTo>
                <a:cubicBezTo>
                  <a:pt x="2193954" y="4812232"/>
                  <a:pt x="2207299" y="4793234"/>
                  <a:pt x="2226363" y="4785635"/>
                </a:cubicBezTo>
                <a:cubicBezTo>
                  <a:pt x="2226363" y="4785635"/>
                  <a:pt x="2226363" y="4785635"/>
                  <a:pt x="2567605" y="4664048"/>
                </a:cubicBezTo>
                <a:cubicBezTo>
                  <a:pt x="2574278" y="4661673"/>
                  <a:pt x="2580950" y="4660723"/>
                  <a:pt x="2587354" y="4661020"/>
                </a:cubicBezTo>
                <a:close/>
                <a:moveTo>
                  <a:pt x="3149672" y="4651820"/>
                </a:moveTo>
                <a:cubicBezTo>
                  <a:pt x="3169406" y="4653251"/>
                  <a:pt x="3187266" y="4666485"/>
                  <a:pt x="3194410" y="4685085"/>
                </a:cubicBezTo>
                <a:cubicBezTo>
                  <a:pt x="3202030" y="4711792"/>
                  <a:pt x="3188695" y="4740407"/>
                  <a:pt x="3162024" y="4748038"/>
                </a:cubicBezTo>
                <a:cubicBezTo>
                  <a:pt x="3162024" y="4748038"/>
                  <a:pt x="3162024" y="4748038"/>
                  <a:pt x="2819120" y="4862498"/>
                </a:cubicBezTo>
                <a:cubicBezTo>
                  <a:pt x="2794355" y="4872037"/>
                  <a:pt x="2765779" y="4856775"/>
                  <a:pt x="2756254" y="4830068"/>
                </a:cubicBezTo>
                <a:cubicBezTo>
                  <a:pt x="2754349" y="4826253"/>
                  <a:pt x="2754349" y="4820530"/>
                  <a:pt x="2754349" y="4814807"/>
                </a:cubicBezTo>
                <a:cubicBezTo>
                  <a:pt x="2754349" y="4793822"/>
                  <a:pt x="2767684" y="4774745"/>
                  <a:pt x="2788639" y="4767115"/>
                </a:cubicBezTo>
                <a:cubicBezTo>
                  <a:pt x="2788639" y="4767115"/>
                  <a:pt x="2788639" y="4767115"/>
                  <a:pt x="3129639" y="4654562"/>
                </a:cubicBezTo>
                <a:cubicBezTo>
                  <a:pt x="3136307" y="4652178"/>
                  <a:pt x="3143093" y="4651343"/>
                  <a:pt x="3149672" y="4651820"/>
                </a:cubicBezTo>
                <a:close/>
                <a:moveTo>
                  <a:pt x="6484889" y="4386504"/>
                </a:moveTo>
                <a:cubicBezTo>
                  <a:pt x="6500315" y="4385257"/>
                  <a:pt x="6516007" y="4394165"/>
                  <a:pt x="6523141" y="4408417"/>
                </a:cubicBezTo>
                <a:cubicBezTo>
                  <a:pt x="6532651" y="4427421"/>
                  <a:pt x="6525043" y="4452126"/>
                  <a:pt x="6506021" y="4461627"/>
                </a:cubicBezTo>
                <a:cubicBezTo>
                  <a:pt x="6506021" y="4461627"/>
                  <a:pt x="6506021" y="4461627"/>
                  <a:pt x="6167435" y="4630760"/>
                </a:cubicBezTo>
                <a:cubicBezTo>
                  <a:pt x="6148413" y="4640262"/>
                  <a:pt x="6123685" y="4632660"/>
                  <a:pt x="6114175" y="4613657"/>
                </a:cubicBezTo>
                <a:cubicBezTo>
                  <a:pt x="6112273" y="4607956"/>
                  <a:pt x="6110371" y="4600354"/>
                  <a:pt x="6110371" y="4594653"/>
                </a:cubicBezTo>
                <a:cubicBezTo>
                  <a:pt x="6110371" y="4581350"/>
                  <a:pt x="6117979" y="4566148"/>
                  <a:pt x="6131293" y="4560446"/>
                </a:cubicBezTo>
                <a:cubicBezTo>
                  <a:pt x="6131293" y="4560446"/>
                  <a:pt x="6131293" y="4560446"/>
                  <a:pt x="6469879" y="4391314"/>
                </a:cubicBezTo>
                <a:cubicBezTo>
                  <a:pt x="6474635" y="4388463"/>
                  <a:pt x="6479747" y="4386919"/>
                  <a:pt x="6484889" y="4386504"/>
                </a:cubicBezTo>
                <a:close/>
                <a:moveTo>
                  <a:pt x="5956857" y="4379613"/>
                </a:moveTo>
                <a:cubicBezTo>
                  <a:pt x="5966859" y="4382955"/>
                  <a:pt x="5975431" y="4390117"/>
                  <a:pt x="5980193" y="4400620"/>
                </a:cubicBezTo>
                <a:cubicBezTo>
                  <a:pt x="5989719" y="4421628"/>
                  <a:pt x="5982099" y="4446455"/>
                  <a:pt x="5961143" y="4456004"/>
                </a:cubicBezTo>
                <a:cubicBezTo>
                  <a:pt x="5961143" y="4456004"/>
                  <a:pt x="5961143" y="4456004"/>
                  <a:pt x="5622049" y="4616425"/>
                </a:cubicBezTo>
                <a:cubicBezTo>
                  <a:pt x="5601093" y="4625974"/>
                  <a:pt x="5576329" y="4616425"/>
                  <a:pt x="5564899" y="4595417"/>
                </a:cubicBezTo>
                <a:cubicBezTo>
                  <a:pt x="5562993" y="4589688"/>
                  <a:pt x="5561087" y="4583959"/>
                  <a:pt x="5561087" y="4578229"/>
                </a:cubicBezTo>
                <a:cubicBezTo>
                  <a:pt x="5561087" y="4561041"/>
                  <a:pt x="5570613" y="4547673"/>
                  <a:pt x="5585853" y="4540034"/>
                </a:cubicBezTo>
                <a:cubicBezTo>
                  <a:pt x="5585853" y="4540034"/>
                  <a:pt x="5585853" y="4540034"/>
                  <a:pt x="5924949" y="4381523"/>
                </a:cubicBezTo>
                <a:cubicBezTo>
                  <a:pt x="5935427" y="4376748"/>
                  <a:pt x="5946857" y="4376271"/>
                  <a:pt x="5956857" y="4379613"/>
                </a:cubicBezTo>
                <a:close/>
                <a:moveTo>
                  <a:pt x="398944" y="4379613"/>
                </a:moveTo>
                <a:cubicBezTo>
                  <a:pt x="408946" y="4382955"/>
                  <a:pt x="417519" y="4390116"/>
                  <a:pt x="422281" y="4400620"/>
                </a:cubicBezTo>
                <a:cubicBezTo>
                  <a:pt x="431806" y="4421628"/>
                  <a:pt x="422281" y="4446455"/>
                  <a:pt x="401326" y="4456004"/>
                </a:cubicBezTo>
                <a:cubicBezTo>
                  <a:pt x="401326" y="4456004"/>
                  <a:pt x="401326" y="4456004"/>
                  <a:pt x="62231" y="4616425"/>
                </a:cubicBezTo>
                <a:cubicBezTo>
                  <a:pt x="41276" y="4625974"/>
                  <a:pt x="16510" y="4616425"/>
                  <a:pt x="6985" y="4595417"/>
                </a:cubicBezTo>
                <a:cubicBezTo>
                  <a:pt x="5080" y="4589688"/>
                  <a:pt x="3175" y="4583959"/>
                  <a:pt x="3175" y="4578229"/>
                </a:cubicBezTo>
                <a:cubicBezTo>
                  <a:pt x="3175" y="4561041"/>
                  <a:pt x="12700" y="4547673"/>
                  <a:pt x="27940" y="4540034"/>
                </a:cubicBezTo>
                <a:cubicBezTo>
                  <a:pt x="27940" y="4540034"/>
                  <a:pt x="27940" y="4540034"/>
                  <a:pt x="367035" y="4381523"/>
                </a:cubicBezTo>
                <a:cubicBezTo>
                  <a:pt x="377513" y="4376748"/>
                  <a:pt x="388943" y="4376271"/>
                  <a:pt x="398944" y="4379613"/>
                </a:cubicBezTo>
                <a:close/>
                <a:moveTo>
                  <a:pt x="5410439" y="4371271"/>
                </a:moveTo>
                <a:cubicBezTo>
                  <a:pt x="5420701" y="4375324"/>
                  <a:pt x="5429293" y="4383431"/>
                  <a:pt x="5434065" y="4394876"/>
                </a:cubicBezTo>
                <a:cubicBezTo>
                  <a:pt x="5443611" y="4415858"/>
                  <a:pt x="5434065" y="4442562"/>
                  <a:pt x="5411155" y="4452100"/>
                </a:cubicBezTo>
                <a:cubicBezTo>
                  <a:pt x="5411155" y="4452100"/>
                  <a:pt x="5411155" y="4452100"/>
                  <a:pt x="5071313" y="4598974"/>
                </a:cubicBezTo>
                <a:cubicBezTo>
                  <a:pt x="5048403" y="4608512"/>
                  <a:pt x="5023583" y="4598974"/>
                  <a:pt x="5014037" y="4576085"/>
                </a:cubicBezTo>
                <a:cubicBezTo>
                  <a:pt x="5010219" y="4570362"/>
                  <a:pt x="5010219" y="4564640"/>
                  <a:pt x="5010219" y="4558918"/>
                </a:cubicBezTo>
                <a:cubicBezTo>
                  <a:pt x="5010219" y="4541750"/>
                  <a:pt x="5019765" y="4526491"/>
                  <a:pt x="5036947" y="4518861"/>
                </a:cubicBezTo>
                <a:cubicBezTo>
                  <a:pt x="5036947" y="4518861"/>
                  <a:pt x="5036947" y="4518861"/>
                  <a:pt x="5376789" y="4371986"/>
                </a:cubicBezTo>
                <a:cubicBezTo>
                  <a:pt x="5388245" y="4367218"/>
                  <a:pt x="5400177" y="4367218"/>
                  <a:pt x="5410439" y="4371271"/>
                </a:cubicBezTo>
                <a:close/>
                <a:moveTo>
                  <a:pt x="943811" y="4371271"/>
                </a:moveTo>
                <a:cubicBezTo>
                  <a:pt x="954543" y="4375324"/>
                  <a:pt x="963605" y="4383431"/>
                  <a:pt x="968374" y="4394876"/>
                </a:cubicBezTo>
                <a:cubicBezTo>
                  <a:pt x="977913" y="4415858"/>
                  <a:pt x="966466" y="4442562"/>
                  <a:pt x="945480" y="4452100"/>
                </a:cubicBezTo>
                <a:cubicBezTo>
                  <a:pt x="945480" y="4452100"/>
                  <a:pt x="945480" y="4452100"/>
                  <a:pt x="603982" y="4598974"/>
                </a:cubicBezTo>
                <a:cubicBezTo>
                  <a:pt x="581088" y="4608512"/>
                  <a:pt x="556287" y="4598974"/>
                  <a:pt x="546748" y="4576085"/>
                </a:cubicBezTo>
                <a:cubicBezTo>
                  <a:pt x="544840" y="4570362"/>
                  <a:pt x="542932" y="4564640"/>
                  <a:pt x="542932" y="4558918"/>
                </a:cubicBezTo>
                <a:cubicBezTo>
                  <a:pt x="542932" y="4541750"/>
                  <a:pt x="552471" y="4526491"/>
                  <a:pt x="569641" y="4518861"/>
                </a:cubicBezTo>
                <a:cubicBezTo>
                  <a:pt x="569641" y="4518861"/>
                  <a:pt x="569641" y="4518861"/>
                  <a:pt x="909232" y="4371986"/>
                </a:cubicBezTo>
                <a:cubicBezTo>
                  <a:pt x="920679" y="4367218"/>
                  <a:pt x="933080" y="4367218"/>
                  <a:pt x="943811" y="4371271"/>
                </a:cubicBezTo>
                <a:close/>
                <a:moveTo>
                  <a:pt x="4841693" y="4359077"/>
                </a:moveTo>
                <a:cubicBezTo>
                  <a:pt x="4859285" y="4359345"/>
                  <a:pt x="4876073" y="4370046"/>
                  <a:pt x="4883215" y="4387168"/>
                </a:cubicBezTo>
                <a:cubicBezTo>
                  <a:pt x="4892741" y="4411901"/>
                  <a:pt x="4881311" y="4438536"/>
                  <a:pt x="4856545" y="4448048"/>
                </a:cubicBezTo>
                <a:cubicBezTo>
                  <a:pt x="4856545" y="4448048"/>
                  <a:pt x="4856545" y="4448048"/>
                  <a:pt x="4517451" y="4583124"/>
                </a:cubicBezTo>
                <a:cubicBezTo>
                  <a:pt x="4492685" y="4592637"/>
                  <a:pt x="4466015" y="4581222"/>
                  <a:pt x="4456491" y="4556490"/>
                </a:cubicBezTo>
                <a:cubicBezTo>
                  <a:pt x="4454585" y="4550782"/>
                  <a:pt x="4454585" y="4545075"/>
                  <a:pt x="4454585" y="4539367"/>
                </a:cubicBezTo>
                <a:cubicBezTo>
                  <a:pt x="4454585" y="4522245"/>
                  <a:pt x="4464111" y="4505122"/>
                  <a:pt x="4483161" y="4497513"/>
                </a:cubicBezTo>
                <a:cubicBezTo>
                  <a:pt x="4483161" y="4497513"/>
                  <a:pt x="4483161" y="4497513"/>
                  <a:pt x="4824161" y="4362436"/>
                </a:cubicBezTo>
                <a:cubicBezTo>
                  <a:pt x="4829877" y="4360058"/>
                  <a:pt x="4835829" y="4358988"/>
                  <a:pt x="4841693" y="4359077"/>
                </a:cubicBezTo>
                <a:close/>
                <a:moveTo>
                  <a:pt x="1477218" y="4359077"/>
                </a:moveTo>
                <a:cubicBezTo>
                  <a:pt x="1495524" y="4359345"/>
                  <a:pt x="1511955" y="4370046"/>
                  <a:pt x="1517670" y="4387168"/>
                </a:cubicBezTo>
                <a:cubicBezTo>
                  <a:pt x="1527195" y="4411901"/>
                  <a:pt x="1515765" y="4438536"/>
                  <a:pt x="1492905" y="4448048"/>
                </a:cubicBezTo>
                <a:cubicBezTo>
                  <a:pt x="1492905" y="4448048"/>
                  <a:pt x="1492905" y="4448048"/>
                  <a:pt x="1151905" y="4583124"/>
                </a:cubicBezTo>
                <a:cubicBezTo>
                  <a:pt x="1129045" y="4592637"/>
                  <a:pt x="1102374" y="4581222"/>
                  <a:pt x="1092849" y="4556490"/>
                </a:cubicBezTo>
                <a:cubicBezTo>
                  <a:pt x="1090944" y="4550782"/>
                  <a:pt x="1089039" y="4545075"/>
                  <a:pt x="1089039" y="4539367"/>
                </a:cubicBezTo>
                <a:cubicBezTo>
                  <a:pt x="1089039" y="4522245"/>
                  <a:pt x="1100469" y="4505122"/>
                  <a:pt x="1117614" y="4497513"/>
                </a:cubicBezTo>
                <a:cubicBezTo>
                  <a:pt x="1117614" y="4497513"/>
                  <a:pt x="1117614" y="4497513"/>
                  <a:pt x="1458614" y="4362436"/>
                </a:cubicBezTo>
                <a:cubicBezTo>
                  <a:pt x="1464805" y="4360058"/>
                  <a:pt x="1471116" y="4358988"/>
                  <a:pt x="1477218" y="4359077"/>
                </a:cubicBezTo>
                <a:close/>
                <a:moveTo>
                  <a:pt x="4284047" y="4349914"/>
                </a:moveTo>
                <a:cubicBezTo>
                  <a:pt x="4302849" y="4350811"/>
                  <a:pt x="4320315" y="4363005"/>
                  <a:pt x="4326017" y="4381655"/>
                </a:cubicBezTo>
                <a:cubicBezTo>
                  <a:pt x="4335523" y="4406522"/>
                  <a:pt x="4322215" y="4435214"/>
                  <a:pt x="4297503" y="4442865"/>
                </a:cubicBezTo>
                <a:cubicBezTo>
                  <a:pt x="4297503" y="4442865"/>
                  <a:pt x="4297503" y="4442865"/>
                  <a:pt x="3957235" y="4569111"/>
                </a:cubicBezTo>
                <a:cubicBezTo>
                  <a:pt x="3932523" y="4576762"/>
                  <a:pt x="3904009" y="4565285"/>
                  <a:pt x="3896405" y="4538506"/>
                </a:cubicBezTo>
                <a:cubicBezTo>
                  <a:pt x="3894503" y="4534680"/>
                  <a:pt x="3892603" y="4528941"/>
                  <a:pt x="3892603" y="4523203"/>
                </a:cubicBezTo>
                <a:cubicBezTo>
                  <a:pt x="3892603" y="4502162"/>
                  <a:pt x="3904009" y="4484947"/>
                  <a:pt x="3924919" y="4477296"/>
                </a:cubicBezTo>
                <a:cubicBezTo>
                  <a:pt x="3924919" y="4477296"/>
                  <a:pt x="3924919" y="4477296"/>
                  <a:pt x="4265187" y="4352963"/>
                </a:cubicBezTo>
                <a:cubicBezTo>
                  <a:pt x="4271365" y="4350572"/>
                  <a:pt x="4277781" y="4349615"/>
                  <a:pt x="4284047" y="4349914"/>
                </a:cubicBezTo>
                <a:close/>
                <a:moveTo>
                  <a:pt x="2029797" y="4349914"/>
                </a:moveTo>
                <a:cubicBezTo>
                  <a:pt x="2048687" y="4350811"/>
                  <a:pt x="2066509" y="4363005"/>
                  <a:pt x="2073637" y="4381655"/>
                </a:cubicBezTo>
                <a:cubicBezTo>
                  <a:pt x="2081241" y="4406522"/>
                  <a:pt x="2069835" y="4435214"/>
                  <a:pt x="2045123" y="4442865"/>
                </a:cubicBezTo>
                <a:cubicBezTo>
                  <a:pt x="2045123" y="4442865"/>
                  <a:pt x="2045123" y="4442865"/>
                  <a:pt x="1702954" y="4569111"/>
                </a:cubicBezTo>
                <a:cubicBezTo>
                  <a:pt x="1678242" y="4576762"/>
                  <a:pt x="1651629" y="4565285"/>
                  <a:pt x="1642124" y="4538506"/>
                </a:cubicBezTo>
                <a:cubicBezTo>
                  <a:pt x="1640223" y="4534680"/>
                  <a:pt x="1638322" y="4528941"/>
                  <a:pt x="1638322" y="4523203"/>
                </a:cubicBezTo>
                <a:cubicBezTo>
                  <a:pt x="1638322" y="4502162"/>
                  <a:pt x="1651629" y="4484947"/>
                  <a:pt x="1670638" y="4477296"/>
                </a:cubicBezTo>
                <a:cubicBezTo>
                  <a:pt x="1670638" y="4477296"/>
                  <a:pt x="1670638" y="4477296"/>
                  <a:pt x="2010906" y="4352963"/>
                </a:cubicBezTo>
                <a:cubicBezTo>
                  <a:pt x="2017084" y="4350572"/>
                  <a:pt x="2023500" y="4349615"/>
                  <a:pt x="2029797" y="4349914"/>
                </a:cubicBezTo>
                <a:close/>
                <a:moveTo>
                  <a:pt x="3722775" y="4341193"/>
                </a:moveTo>
                <a:cubicBezTo>
                  <a:pt x="3742407" y="4342984"/>
                  <a:pt x="3759897" y="4355521"/>
                  <a:pt x="3765607" y="4375580"/>
                </a:cubicBezTo>
                <a:cubicBezTo>
                  <a:pt x="3775127" y="4402325"/>
                  <a:pt x="3759897" y="4430981"/>
                  <a:pt x="3733245" y="4438622"/>
                </a:cubicBezTo>
                <a:cubicBezTo>
                  <a:pt x="3733245" y="4438622"/>
                  <a:pt x="3733245" y="4438622"/>
                  <a:pt x="3392486" y="4551335"/>
                </a:cubicBezTo>
                <a:cubicBezTo>
                  <a:pt x="3365834" y="4560887"/>
                  <a:pt x="3337279" y="4545604"/>
                  <a:pt x="3329664" y="4518858"/>
                </a:cubicBezTo>
                <a:cubicBezTo>
                  <a:pt x="3327761" y="4515038"/>
                  <a:pt x="3325857" y="4509306"/>
                  <a:pt x="3325857" y="4503575"/>
                </a:cubicBezTo>
                <a:cubicBezTo>
                  <a:pt x="3325857" y="4482561"/>
                  <a:pt x="3339183" y="4463457"/>
                  <a:pt x="3360123" y="4455816"/>
                </a:cubicBezTo>
                <a:cubicBezTo>
                  <a:pt x="3360123" y="4455816"/>
                  <a:pt x="3360123" y="4455816"/>
                  <a:pt x="3702787" y="4343103"/>
                </a:cubicBezTo>
                <a:cubicBezTo>
                  <a:pt x="3709449" y="4341193"/>
                  <a:pt x="3716231" y="4340596"/>
                  <a:pt x="3722775" y="4341193"/>
                </a:cubicBezTo>
                <a:close/>
                <a:moveTo>
                  <a:pt x="2589285" y="4341193"/>
                </a:moveTo>
                <a:cubicBezTo>
                  <a:pt x="2608917" y="4342984"/>
                  <a:pt x="2626407" y="4355521"/>
                  <a:pt x="2632118" y="4375580"/>
                </a:cubicBezTo>
                <a:cubicBezTo>
                  <a:pt x="2641636" y="4402325"/>
                  <a:pt x="2626407" y="4430981"/>
                  <a:pt x="2599755" y="4438622"/>
                </a:cubicBezTo>
                <a:cubicBezTo>
                  <a:pt x="2599755" y="4438622"/>
                  <a:pt x="2599755" y="4438622"/>
                  <a:pt x="2258996" y="4551335"/>
                </a:cubicBezTo>
                <a:cubicBezTo>
                  <a:pt x="2232344" y="4560887"/>
                  <a:pt x="2203789" y="4545604"/>
                  <a:pt x="2196174" y="4518858"/>
                </a:cubicBezTo>
                <a:cubicBezTo>
                  <a:pt x="2194271" y="4515038"/>
                  <a:pt x="2192367" y="4509306"/>
                  <a:pt x="2192367" y="4503575"/>
                </a:cubicBezTo>
                <a:cubicBezTo>
                  <a:pt x="2192367" y="4482561"/>
                  <a:pt x="2205693" y="4463457"/>
                  <a:pt x="2226633" y="4455816"/>
                </a:cubicBezTo>
                <a:cubicBezTo>
                  <a:pt x="2226633" y="4455816"/>
                  <a:pt x="2226633" y="4455816"/>
                  <a:pt x="2569296" y="4343103"/>
                </a:cubicBezTo>
                <a:cubicBezTo>
                  <a:pt x="2575959" y="4341193"/>
                  <a:pt x="2582741" y="4340596"/>
                  <a:pt x="2589285" y="4341193"/>
                </a:cubicBezTo>
                <a:close/>
                <a:moveTo>
                  <a:pt x="3152162" y="4331988"/>
                </a:moveTo>
                <a:cubicBezTo>
                  <a:pt x="3172554" y="4334403"/>
                  <a:pt x="3190008" y="4348353"/>
                  <a:pt x="3195706" y="4369816"/>
                </a:cubicBezTo>
                <a:cubicBezTo>
                  <a:pt x="3205205" y="4396525"/>
                  <a:pt x="3188108" y="4427050"/>
                  <a:pt x="3161512" y="4434681"/>
                </a:cubicBezTo>
                <a:cubicBezTo>
                  <a:pt x="3161512" y="4434681"/>
                  <a:pt x="3161512" y="4434681"/>
                  <a:pt x="2819564" y="4535794"/>
                </a:cubicBezTo>
                <a:cubicBezTo>
                  <a:pt x="2791068" y="4543425"/>
                  <a:pt x="2762572" y="4528162"/>
                  <a:pt x="2753074" y="4499546"/>
                </a:cubicBezTo>
                <a:cubicBezTo>
                  <a:pt x="2753074" y="4495730"/>
                  <a:pt x="2751174" y="4490007"/>
                  <a:pt x="2751174" y="4486191"/>
                </a:cubicBezTo>
                <a:cubicBezTo>
                  <a:pt x="2751174" y="4463298"/>
                  <a:pt x="2766372" y="4442312"/>
                  <a:pt x="2789168" y="4434681"/>
                </a:cubicBezTo>
                <a:cubicBezTo>
                  <a:pt x="2789168" y="4434681"/>
                  <a:pt x="2789168" y="4434681"/>
                  <a:pt x="3131116" y="4333568"/>
                </a:cubicBezTo>
                <a:cubicBezTo>
                  <a:pt x="3138240" y="4331660"/>
                  <a:pt x="3145364" y="4331183"/>
                  <a:pt x="3152162" y="4331988"/>
                </a:cubicBezTo>
                <a:close/>
                <a:moveTo>
                  <a:pt x="6500077" y="4065058"/>
                </a:moveTo>
                <a:cubicBezTo>
                  <a:pt x="6509825" y="4068165"/>
                  <a:pt x="6518385" y="4074857"/>
                  <a:pt x="6523141" y="4084416"/>
                </a:cubicBezTo>
                <a:cubicBezTo>
                  <a:pt x="6532651" y="4103536"/>
                  <a:pt x="6525043" y="4128391"/>
                  <a:pt x="6506021" y="4137951"/>
                </a:cubicBezTo>
                <a:cubicBezTo>
                  <a:pt x="6506021" y="4137951"/>
                  <a:pt x="6506021" y="4137951"/>
                  <a:pt x="6167435" y="4310027"/>
                </a:cubicBezTo>
                <a:cubicBezTo>
                  <a:pt x="6148413" y="4319587"/>
                  <a:pt x="6123685" y="4311939"/>
                  <a:pt x="6114175" y="4292819"/>
                </a:cubicBezTo>
                <a:cubicBezTo>
                  <a:pt x="6112273" y="4287084"/>
                  <a:pt x="6110371" y="4279436"/>
                  <a:pt x="6110371" y="4273700"/>
                </a:cubicBezTo>
                <a:cubicBezTo>
                  <a:pt x="6110371" y="4260316"/>
                  <a:pt x="6117979" y="4245020"/>
                  <a:pt x="6131293" y="4239285"/>
                </a:cubicBezTo>
                <a:cubicBezTo>
                  <a:pt x="6131293" y="4239285"/>
                  <a:pt x="6131293" y="4239285"/>
                  <a:pt x="6469879" y="4067209"/>
                </a:cubicBezTo>
                <a:cubicBezTo>
                  <a:pt x="6479389" y="4062429"/>
                  <a:pt x="6490327" y="4061951"/>
                  <a:pt x="6500077" y="4065058"/>
                </a:cubicBezTo>
                <a:close/>
                <a:moveTo>
                  <a:pt x="5941081" y="4054778"/>
                </a:moveTo>
                <a:cubicBezTo>
                  <a:pt x="5957333" y="4053614"/>
                  <a:pt x="5973051" y="4062925"/>
                  <a:pt x="5980193" y="4078680"/>
                </a:cubicBezTo>
                <a:cubicBezTo>
                  <a:pt x="5989719" y="4099688"/>
                  <a:pt x="5982099" y="4124515"/>
                  <a:pt x="5961143" y="4135973"/>
                </a:cubicBezTo>
                <a:cubicBezTo>
                  <a:pt x="5961143" y="4135973"/>
                  <a:pt x="5961143" y="4135973"/>
                  <a:pt x="5622049" y="4292575"/>
                </a:cubicBezTo>
                <a:cubicBezTo>
                  <a:pt x="5601093" y="4302124"/>
                  <a:pt x="5574423" y="4292575"/>
                  <a:pt x="5564899" y="4271567"/>
                </a:cubicBezTo>
                <a:cubicBezTo>
                  <a:pt x="5562993" y="4265838"/>
                  <a:pt x="5561087" y="4260109"/>
                  <a:pt x="5561087" y="4254379"/>
                </a:cubicBezTo>
                <a:cubicBezTo>
                  <a:pt x="5561087" y="4239101"/>
                  <a:pt x="5570613" y="4223823"/>
                  <a:pt x="5585853" y="4216184"/>
                </a:cubicBezTo>
                <a:cubicBezTo>
                  <a:pt x="5585853" y="4216184"/>
                  <a:pt x="5585853" y="4216184"/>
                  <a:pt x="5924949" y="4059583"/>
                </a:cubicBezTo>
                <a:cubicBezTo>
                  <a:pt x="5930187" y="4056718"/>
                  <a:pt x="5935665" y="4055166"/>
                  <a:pt x="5941081" y="4054778"/>
                </a:cubicBezTo>
                <a:close/>
                <a:moveTo>
                  <a:pt x="383168" y="4054778"/>
                </a:moveTo>
                <a:cubicBezTo>
                  <a:pt x="399421" y="4053614"/>
                  <a:pt x="415137" y="4062925"/>
                  <a:pt x="422281" y="4078680"/>
                </a:cubicBezTo>
                <a:cubicBezTo>
                  <a:pt x="431806" y="4099688"/>
                  <a:pt x="424186" y="4124515"/>
                  <a:pt x="401326" y="4135973"/>
                </a:cubicBezTo>
                <a:cubicBezTo>
                  <a:pt x="401326" y="4135973"/>
                  <a:pt x="401326" y="4135973"/>
                  <a:pt x="62231" y="4292575"/>
                </a:cubicBezTo>
                <a:cubicBezTo>
                  <a:pt x="41276" y="4302124"/>
                  <a:pt x="16510" y="4292575"/>
                  <a:pt x="6985" y="4271567"/>
                </a:cubicBezTo>
                <a:cubicBezTo>
                  <a:pt x="5080" y="4265838"/>
                  <a:pt x="3175" y="4260109"/>
                  <a:pt x="3175" y="4254379"/>
                </a:cubicBezTo>
                <a:cubicBezTo>
                  <a:pt x="3175" y="4239101"/>
                  <a:pt x="12700" y="4223823"/>
                  <a:pt x="27940" y="4216184"/>
                </a:cubicBezTo>
                <a:cubicBezTo>
                  <a:pt x="27940" y="4216184"/>
                  <a:pt x="27940" y="4216184"/>
                  <a:pt x="367035" y="4059583"/>
                </a:cubicBezTo>
                <a:cubicBezTo>
                  <a:pt x="372274" y="4056718"/>
                  <a:pt x="377751" y="4055166"/>
                  <a:pt x="383168" y="4054778"/>
                </a:cubicBezTo>
                <a:close/>
                <a:moveTo>
                  <a:pt x="5394113" y="4046334"/>
                </a:moveTo>
                <a:cubicBezTo>
                  <a:pt x="5411717" y="4046513"/>
                  <a:pt x="5428517" y="4056898"/>
                  <a:pt x="5435665" y="4072655"/>
                </a:cubicBezTo>
                <a:cubicBezTo>
                  <a:pt x="5445199" y="4095575"/>
                  <a:pt x="5433759" y="4122314"/>
                  <a:pt x="5410883" y="4131864"/>
                </a:cubicBezTo>
                <a:cubicBezTo>
                  <a:pt x="5410883" y="4131864"/>
                  <a:pt x="5410883" y="4131864"/>
                  <a:pt x="5071541" y="4275111"/>
                </a:cubicBezTo>
                <a:cubicBezTo>
                  <a:pt x="5048665" y="4284661"/>
                  <a:pt x="5021975" y="4275111"/>
                  <a:pt x="5012443" y="4252191"/>
                </a:cubicBezTo>
                <a:cubicBezTo>
                  <a:pt x="5010537" y="4246462"/>
                  <a:pt x="5008631" y="4240732"/>
                  <a:pt x="5008631" y="4235002"/>
                </a:cubicBezTo>
                <a:cubicBezTo>
                  <a:pt x="5008631" y="4217812"/>
                  <a:pt x="5020069" y="4200622"/>
                  <a:pt x="5037227" y="4192983"/>
                </a:cubicBezTo>
                <a:cubicBezTo>
                  <a:pt x="5037227" y="4192983"/>
                  <a:pt x="5037227" y="4192983"/>
                  <a:pt x="5376567" y="4049736"/>
                </a:cubicBezTo>
                <a:cubicBezTo>
                  <a:pt x="5382287" y="4047348"/>
                  <a:pt x="5388245" y="4046274"/>
                  <a:pt x="5394113" y="4046334"/>
                </a:cubicBezTo>
                <a:close/>
                <a:moveTo>
                  <a:pt x="926790" y="4046333"/>
                </a:moveTo>
                <a:cubicBezTo>
                  <a:pt x="944408" y="4046513"/>
                  <a:pt x="961220" y="4056898"/>
                  <a:pt x="968374" y="4072655"/>
                </a:cubicBezTo>
                <a:cubicBezTo>
                  <a:pt x="977913" y="4095575"/>
                  <a:pt x="966466" y="4122314"/>
                  <a:pt x="945480" y="4131864"/>
                </a:cubicBezTo>
                <a:cubicBezTo>
                  <a:pt x="945480" y="4131864"/>
                  <a:pt x="945480" y="4131864"/>
                  <a:pt x="603982" y="4275111"/>
                </a:cubicBezTo>
                <a:cubicBezTo>
                  <a:pt x="581088" y="4284661"/>
                  <a:pt x="554379" y="4275111"/>
                  <a:pt x="544840" y="4252191"/>
                </a:cubicBezTo>
                <a:cubicBezTo>
                  <a:pt x="542932" y="4246462"/>
                  <a:pt x="542932" y="4240732"/>
                  <a:pt x="542932" y="4235002"/>
                </a:cubicBezTo>
                <a:cubicBezTo>
                  <a:pt x="542932" y="4217812"/>
                  <a:pt x="552471" y="4200622"/>
                  <a:pt x="569641" y="4192983"/>
                </a:cubicBezTo>
                <a:cubicBezTo>
                  <a:pt x="569641" y="4192983"/>
                  <a:pt x="569641" y="4192983"/>
                  <a:pt x="909232" y="4049736"/>
                </a:cubicBezTo>
                <a:cubicBezTo>
                  <a:pt x="914956" y="4047348"/>
                  <a:pt x="920918" y="4046274"/>
                  <a:pt x="926790" y="4046333"/>
                </a:cubicBezTo>
                <a:close/>
                <a:moveTo>
                  <a:pt x="4823945" y="4041415"/>
                </a:moveTo>
                <a:cubicBezTo>
                  <a:pt x="4848675" y="4033836"/>
                  <a:pt x="4875307" y="4045204"/>
                  <a:pt x="4884817" y="4069836"/>
                </a:cubicBezTo>
                <a:cubicBezTo>
                  <a:pt x="4894329" y="4092573"/>
                  <a:pt x="4881013" y="4120995"/>
                  <a:pt x="4856283" y="4130469"/>
                </a:cubicBezTo>
                <a:cubicBezTo>
                  <a:pt x="4856283" y="4130469"/>
                  <a:pt x="4856283" y="4130469"/>
                  <a:pt x="4515773" y="4259312"/>
                </a:cubicBezTo>
                <a:cubicBezTo>
                  <a:pt x="4492947" y="4268786"/>
                  <a:pt x="4464411" y="4255522"/>
                  <a:pt x="4454901" y="4230891"/>
                </a:cubicBezTo>
                <a:cubicBezTo>
                  <a:pt x="4452999" y="4225206"/>
                  <a:pt x="4452999" y="4219522"/>
                  <a:pt x="4452999" y="4215733"/>
                </a:cubicBezTo>
                <a:cubicBezTo>
                  <a:pt x="4452999" y="4196785"/>
                  <a:pt x="4464411" y="4177837"/>
                  <a:pt x="4483435" y="4170258"/>
                </a:cubicBezTo>
                <a:cubicBezTo>
                  <a:pt x="4483435" y="4170258"/>
                  <a:pt x="4483435" y="4170258"/>
                  <a:pt x="4823945" y="4041415"/>
                </a:cubicBezTo>
                <a:close/>
                <a:moveTo>
                  <a:pt x="1458398" y="4041415"/>
                </a:moveTo>
                <a:cubicBezTo>
                  <a:pt x="1483128" y="4033836"/>
                  <a:pt x="1509760" y="4045204"/>
                  <a:pt x="1519272" y="4069836"/>
                </a:cubicBezTo>
                <a:cubicBezTo>
                  <a:pt x="1528783" y="4092573"/>
                  <a:pt x="1517369" y="4120995"/>
                  <a:pt x="1492639" y="4130469"/>
                </a:cubicBezTo>
                <a:cubicBezTo>
                  <a:pt x="1492639" y="4130469"/>
                  <a:pt x="1492639" y="4130469"/>
                  <a:pt x="1152130" y="4259312"/>
                </a:cubicBezTo>
                <a:cubicBezTo>
                  <a:pt x="1127400" y="4268786"/>
                  <a:pt x="1100768" y="4255522"/>
                  <a:pt x="1091257" y="4230891"/>
                </a:cubicBezTo>
                <a:cubicBezTo>
                  <a:pt x="1089354" y="4225206"/>
                  <a:pt x="1087452" y="4219522"/>
                  <a:pt x="1087452" y="4215733"/>
                </a:cubicBezTo>
                <a:cubicBezTo>
                  <a:pt x="1087452" y="4196785"/>
                  <a:pt x="1098866" y="4177837"/>
                  <a:pt x="1117889" y="4170258"/>
                </a:cubicBezTo>
                <a:cubicBezTo>
                  <a:pt x="1117889" y="4170258"/>
                  <a:pt x="1117889" y="4170258"/>
                  <a:pt x="1458398" y="4041415"/>
                </a:cubicBezTo>
                <a:close/>
                <a:moveTo>
                  <a:pt x="4286123" y="4031097"/>
                </a:moveTo>
                <a:cubicBezTo>
                  <a:pt x="4305837" y="4032526"/>
                  <a:pt x="4323401" y="4045742"/>
                  <a:pt x="4329137" y="4064316"/>
                </a:cubicBezTo>
                <a:cubicBezTo>
                  <a:pt x="4338695" y="4090986"/>
                  <a:pt x="4325313" y="4119561"/>
                  <a:pt x="4298549" y="4127181"/>
                </a:cubicBezTo>
                <a:cubicBezTo>
                  <a:pt x="4298549" y="4127181"/>
                  <a:pt x="4298549" y="4127181"/>
                  <a:pt x="3956339" y="4243386"/>
                </a:cubicBezTo>
                <a:cubicBezTo>
                  <a:pt x="3929575" y="4252911"/>
                  <a:pt x="3900897" y="4237671"/>
                  <a:pt x="3893251" y="4212906"/>
                </a:cubicBezTo>
                <a:cubicBezTo>
                  <a:pt x="3891339" y="4207191"/>
                  <a:pt x="3889427" y="4201476"/>
                  <a:pt x="3889427" y="4195761"/>
                </a:cubicBezTo>
                <a:cubicBezTo>
                  <a:pt x="3889427" y="4174806"/>
                  <a:pt x="3902809" y="4155756"/>
                  <a:pt x="3923839" y="4150041"/>
                </a:cubicBezTo>
                <a:cubicBezTo>
                  <a:pt x="3923839" y="4150041"/>
                  <a:pt x="3923839" y="4150041"/>
                  <a:pt x="4266049" y="4033836"/>
                </a:cubicBezTo>
                <a:cubicBezTo>
                  <a:pt x="4272741" y="4031455"/>
                  <a:pt x="4279551" y="4030621"/>
                  <a:pt x="4286123" y="4031097"/>
                </a:cubicBezTo>
                <a:close/>
                <a:moveTo>
                  <a:pt x="2031420" y="4031097"/>
                </a:moveTo>
                <a:cubicBezTo>
                  <a:pt x="2050298" y="4032526"/>
                  <a:pt x="2068107" y="4045742"/>
                  <a:pt x="2075230" y="4064316"/>
                </a:cubicBezTo>
                <a:cubicBezTo>
                  <a:pt x="2082828" y="4090986"/>
                  <a:pt x="2069531" y="4119561"/>
                  <a:pt x="2042936" y="4127181"/>
                </a:cubicBezTo>
                <a:cubicBezTo>
                  <a:pt x="2042936" y="4127181"/>
                  <a:pt x="2042936" y="4127181"/>
                  <a:pt x="1702908" y="4243386"/>
                </a:cubicBezTo>
                <a:cubicBezTo>
                  <a:pt x="1676314" y="4252911"/>
                  <a:pt x="1649720" y="4237671"/>
                  <a:pt x="1640222" y="4212906"/>
                </a:cubicBezTo>
                <a:cubicBezTo>
                  <a:pt x="1638322" y="4207191"/>
                  <a:pt x="1638322" y="4201476"/>
                  <a:pt x="1638322" y="4195761"/>
                </a:cubicBezTo>
                <a:cubicBezTo>
                  <a:pt x="1638322" y="4174806"/>
                  <a:pt x="1649720" y="4155756"/>
                  <a:pt x="1670615" y="4150041"/>
                </a:cubicBezTo>
                <a:cubicBezTo>
                  <a:pt x="1670615" y="4150041"/>
                  <a:pt x="1670615" y="4150041"/>
                  <a:pt x="2012543" y="4033836"/>
                </a:cubicBezTo>
                <a:cubicBezTo>
                  <a:pt x="2018717" y="4031455"/>
                  <a:pt x="2025128" y="4030621"/>
                  <a:pt x="2031420" y="4031097"/>
                </a:cubicBezTo>
                <a:close/>
                <a:moveTo>
                  <a:pt x="3725869" y="4022416"/>
                </a:moveTo>
                <a:cubicBezTo>
                  <a:pt x="3745631" y="4024827"/>
                  <a:pt x="3763517" y="4038758"/>
                  <a:pt x="3770671" y="4060189"/>
                </a:cubicBezTo>
                <a:cubicBezTo>
                  <a:pt x="3778301" y="4086859"/>
                  <a:pt x="3763039" y="4115434"/>
                  <a:pt x="3734425" y="4124959"/>
                </a:cubicBezTo>
                <a:cubicBezTo>
                  <a:pt x="3734425" y="4124959"/>
                  <a:pt x="3734425" y="4124959"/>
                  <a:pt x="3391039" y="4225924"/>
                </a:cubicBezTo>
                <a:cubicBezTo>
                  <a:pt x="3364332" y="4235449"/>
                  <a:pt x="3335716" y="4218304"/>
                  <a:pt x="3326178" y="4191634"/>
                </a:cubicBezTo>
                <a:cubicBezTo>
                  <a:pt x="3326178" y="4185919"/>
                  <a:pt x="3324270" y="4182109"/>
                  <a:pt x="3324270" y="4176394"/>
                </a:cubicBezTo>
                <a:cubicBezTo>
                  <a:pt x="3324270" y="4153534"/>
                  <a:pt x="3339532" y="4132579"/>
                  <a:pt x="3362424" y="4126864"/>
                </a:cubicBezTo>
                <a:cubicBezTo>
                  <a:pt x="3362424" y="4126864"/>
                  <a:pt x="3362424" y="4126864"/>
                  <a:pt x="3705809" y="4023994"/>
                </a:cubicBezTo>
                <a:cubicBezTo>
                  <a:pt x="3712487" y="4022089"/>
                  <a:pt x="3719283" y="4021613"/>
                  <a:pt x="3725869" y="4022416"/>
                </a:cubicBezTo>
                <a:close/>
                <a:moveTo>
                  <a:pt x="2590975" y="4022416"/>
                </a:moveTo>
                <a:cubicBezTo>
                  <a:pt x="2610668" y="4024827"/>
                  <a:pt x="2628490" y="4038758"/>
                  <a:pt x="2635619" y="4060189"/>
                </a:cubicBezTo>
                <a:cubicBezTo>
                  <a:pt x="2643223" y="4086859"/>
                  <a:pt x="2628015" y="4115434"/>
                  <a:pt x="2599499" y="4124959"/>
                </a:cubicBezTo>
                <a:cubicBezTo>
                  <a:pt x="2599499" y="4124959"/>
                  <a:pt x="2599499" y="4124959"/>
                  <a:pt x="2257315" y="4225924"/>
                </a:cubicBezTo>
                <a:cubicBezTo>
                  <a:pt x="2230701" y="4235449"/>
                  <a:pt x="2202185" y="4218304"/>
                  <a:pt x="2192680" y="4191634"/>
                </a:cubicBezTo>
                <a:cubicBezTo>
                  <a:pt x="2190779" y="4185919"/>
                  <a:pt x="2190779" y="4182109"/>
                  <a:pt x="2190779" y="4176394"/>
                </a:cubicBezTo>
                <a:cubicBezTo>
                  <a:pt x="2190779" y="4153534"/>
                  <a:pt x="2205987" y="4132579"/>
                  <a:pt x="2228800" y="4126864"/>
                </a:cubicBezTo>
                <a:cubicBezTo>
                  <a:pt x="2228800" y="4126864"/>
                  <a:pt x="2228800" y="4126864"/>
                  <a:pt x="2570984" y="4023994"/>
                </a:cubicBezTo>
                <a:cubicBezTo>
                  <a:pt x="2577638" y="4022089"/>
                  <a:pt x="2584410" y="4021613"/>
                  <a:pt x="2590975" y="4022416"/>
                </a:cubicBezTo>
                <a:close/>
                <a:moveTo>
                  <a:pt x="3155340" y="4014776"/>
                </a:moveTo>
                <a:cubicBezTo>
                  <a:pt x="3176383" y="4017723"/>
                  <a:pt x="3195008" y="4032725"/>
                  <a:pt x="3200739" y="4054156"/>
                </a:cubicBezTo>
                <a:cubicBezTo>
                  <a:pt x="3208380" y="4084636"/>
                  <a:pt x="3189277" y="4113211"/>
                  <a:pt x="3160623" y="4120831"/>
                </a:cubicBezTo>
                <a:cubicBezTo>
                  <a:pt x="3160623" y="4120831"/>
                  <a:pt x="3160623" y="4120831"/>
                  <a:pt x="2816770" y="4210366"/>
                </a:cubicBezTo>
                <a:cubicBezTo>
                  <a:pt x="2786205" y="4217986"/>
                  <a:pt x="2757550" y="4198936"/>
                  <a:pt x="2749909" y="4170361"/>
                </a:cubicBezTo>
                <a:cubicBezTo>
                  <a:pt x="2747999" y="4166551"/>
                  <a:pt x="2747999" y="4160836"/>
                  <a:pt x="2747999" y="4157026"/>
                </a:cubicBezTo>
                <a:cubicBezTo>
                  <a:pt x="2747999" y="4132261"/>
                  <a:pt x="2765192" y="4109401"/>
                  <a:pt x="2788115" y="4103686"/>
                </a:cubicBezTo>
                <a:cubicBezTo>
                  <a:pt x="2788115" y="4103686"/>
                  <a:pt x="2788115" y="4103686"/>
                  <a:pt x="3133879" y="4016056"/>
                </a:cubicBezTo>
                <a:cubicBezTo>
                  <a:pt x="3141043" y="4014151"/>
                  <a:pt x="3148326" y="4013794"/>
                  <a:pt x="3155340" y="4014776"/>
                </a:cubicBezTo>
                <a:close/>
                <a:moveTo>
                  <a:pt x="6500077" y="3741436"/>
                </a:moveTo>
                <a:cubicBezTo>
                  <a:pt x="6509825" y="3744778"/>
                  <a:pt x="6518385" y="3751939"/>
                  <a:pt x="6523141" y="3762442"/>
                </a:cubicBezTo>
                <a:cubicBezTo>
                  <a:pt x="6532651" y="3781538"/>
                  <a:pt x="6525043" y="3804453"/>
                  <a:pt x="6506021" y="3814001"/>
                </a:cubicBezTo>
                <a:cubicBezTo>
                  <a:pt x="6506021" y="3814001"/>
                  <a:pt x="6506021" y="3814001"/>
                  <a:pt x="6167435" y="3987775"/>
                </a:cubicBezTo>
                <a:cubicBezTo>
                  <a:pt x="6148413" y="3997323"/>
                  <a:pt x="6125587" y="3989684"/>
                  <a:pt x="6114175" y="3970588"/>
                </a:cubicBezTo>
                <a:cubicBezTo>
                  <a:pt x="6112273" y="3964860"/>
                  <a:pt x="6110371" y="3957221"/>
                  <a:pt x="6110371" y="3951492"/>
                </a:cubicBezTo>
                <a:cubicBezTo>
                  <a:pt x="6110371" y="3938125"/>
                  <a:pt x="6117979" y="3922848"/>
                  <a:pt x="6131293" y="3917120"/>
                </a:cubicBezTo>
                <a:cubicBezTo>
                  <a:pt x="6131293" y="3917120"/>
                  <a:pt x="6131293" y="3917120"/>
                  <a:pt x="6469879" y="3743346"/>
                </a:cubicBezTo>
                <a:cubicBezTo>
                  <a:pt x="6479391" y="3738572"/>
                  <a:pt x="6490327" y="3738095"/>
                  <a:pt x="6500077" y="3741436"/>
                </a:cubicBezTo>
                <a:close/>
                <a:moveTo>
                  <a:pt x="5958263" y="3734455"/>
                </a:moveTo>
                <a:cubicBezTo>
                  <a:pt x="5968533" y="3738274"/>
                  <a:pt x="5977609" y="3745914"/>
                  <a:pt x="5983341" y="3756417"/>
                </a:cubicBezTo>
                <a:cubicBezTo>
                  <a:pt x="5992895" y="3777425"/>
                  <a:pt x="5983341" y="3804162"/>
                  <a:pt x="5962323" y="3813710"/>
                </a:cubicBezTo>
                <a:cubicBezTo>
                  <a:pt x="5962323" y="3813710"/>
                  <a:pt x="5962323" y="3813710"/>
                  <a:pt x="5622229" y="3970312"/>
                </a:cubicBezTo>
                <a:cubicBezTo>
                  <a:pt x="5599301" y="3979861"/>
                  <a:pt x="5574463" y="3970312"/>
                  <a:pt x="5564909" y="3949304"/>
                </a:cubicBezTo>
                <a:cubicBezTo>
                  <a:pt x="5562999" y="3943575"/>
                  <a:pt x="5561087" y="3935936"/>
                  <a:pt x="5561087" y="3930207"/>
                </a:cubicBezTo>
                <a:cubicBezTo>
                  <a:pt x="5561087" y="3914929"/>
                  <a:pt x="5570641" y="3899650"/>
                  <a:pt x="5585927" y="3892011"/>
                </a:cubicBezTo>
                <a:cubicBezTo>
                  <a:pt x="5585927" y="3892011"/>
                  <a:pt x="5585927" y="3892011"/>
                  <a:pt x="5926021" y="3735410"/>
                </a:cubicBezTo>
                <a:cubicBezTo>
                  <a:pt x="5936531" y="3730635"/>
                  <a:pt x="5947995" y="3730635"/>
                  <a:pt x="5958263" y="3734455"/>
                </a:cubicBezTo>
                <a:close/>
                <a:moveTo>
                  <a:pt x="398944" y="3734455"/>
                </a:moveTo>
                <a:cubicBezTo>
                  <a:pt x="408946" y="3738274"/>
                  <a:pt x="417519" y="3745914"/>
                  <a:pt x="422281" y="3756417"/>
                </a:cubicBezTo>
                <a:cubicBezTo>
                  <a:pt x="431806" y="3777425"/>
                  <a:pt x="424186" y="3804162"/>
                  <a:pt x="401326" y="3813710"/>
                </a:cubicBezTo>
                <a:cubicBezTo>
                  <a:pt x="401326" y="3813710"/>
                  <a:pt x="401326" y="3813710"/>
                  <a:pt x="62231" y="3970312"/>
                </a:cubicBezTo>
                <a:cubicBezTo>
                  <a:pt x="41276" y="3979861"/>
                  <a:pt x="16510" y="3970312"/>
                  <a:pt x="6985" y="3949304"/>
                </a:cubicBezTo>
                <a:cubicBezTo>
                  <a:pt x="5080" y="3943575"/>
                  <a:pt x="3175" y="3935936"/>
                  <a:pt x="3175" y="3930207"/>
                </a:cubicBezTo>
                <a:cubicBezTo>
                  <a:pt x="3175" y="3914929"/>
                  <a:pt x="12700" y="3899650"/>
                  <a:pt x="27940" y="3892011"/>
                </a:cubicBezTo>
                <a:cubicBezTo>
                  <a:pt x="27940" y="3892011"/>
                  <a:pt x="27940" y="3892011"/>
                  <a:pt x="367035" y="3735410"/>
                </a:cubicBezTo>
                <a:cubicBezTo>
                  <a:pt x="377513" y="3730635"/>
                  <a:pt x="388943" y="3730635"/>
                  <a:pt x="398944" y="3734455"/>
                </a:cubicBezTo>
                <a:close/>
                <a:moveTo>
                  <a:pt x="5394113" y="3725656"/>
                </a:moveTo>
                <a:cubicBezTo>
                  <a:pt x="5411717" y="3725923"/>
                  <a:pt x="5428517" y="3736611"/>
                  <a:pt x="5435665" y="3753711"/>
                </a:cubicBezTo>
                <a:cubicBezTo>
                  <a:pt x="5445199" y="3776511"/>
                  <a:pt x="5433759" y="3803111"/>
                  <a:pt x="5410883" y="3812611"/>
                </a:cubicBezTo>
                <a:cubicBezTo>
                  <a:pt x="5410883" y="3812611"/>
                  <a:pt x="5410883" y="3812611"/>
                  <a:pt x="5071541" y="3951311"/>
                </a:cubicBezTo>
                <a:cubicBezTo>
                  <a:pt x="5046759" y="3960811"/>
                  <a:pt x="5021975" y="3951311"/>
                  <a:pt x="5012443" y="3928511"/>
                </a:cubicBezTo>
                <a:cubicBezTo>
                  <a:pt x="5008631" y="3922811"/>
                  <a:pt x="5008631" y="3917111"/>
                  <a:pt x="5008631" y="3911411"/>
                </a:cubicBezTo>
                <a:cubicBezTo>
                  <a:pt x="5008631" y="3892411"/>
                  <a:pt x="5018163" y="3875311"/>
                  <a:pt x="5037227" y="3869611"/>
                </a:cubicBezTo>
                <a:cubicBezTo>
                  <a:pt x="5037227" y="3869611"/>
                  <a:pt x="5037227" y="3869611"/>
                  <a:pt x="5376567" y="3729011"/>
                </a:cubicBezTo>
                <a:cubicBezTo>
                  <a:pt x="5382287" y="3726636"/>
                  <a:pt x="5388245" y="3725567"/>
                  <a:pt x="5394113" y="3725656"/>
                </a:cubicBezTo>
                <a:close/>
                <a:moveTo>
                  <a:pt x="927631" y="3725656"/>
                </a:moveTo>
                <a:cubicBezTo>
                  <a:pt x="945504" y="3725923"/>
                  <a:pt x="961231" y="3736611"/>
                  <a:pt x="968380" y="3753711"/>
                </a:cubicBezTo>
                <a:cubicBezTo>
                  <a:pt x="977912" y="3776511"/>
                  <a:pt x="968380" y="3803111"/>
                  <a:pt x="945503" y="3812611"/>
                </a:cubicBezTo>
                <a:cubicBezTo>
                  <a:pt x="945503" y="3812611"/>
                  <a:pt x="945503" y="3812611"/>
                  <a:pt x="604256" y="3951311"/>
                </a:cubicBezTo>
                <a:cubicBezTo>
                  <a:pt x="581379" y="3960811"/>
                  <a:pt x="554689" y="3951311"/>
                  <a:pt x="545157" y="3928511"/>
                </a:cubicBezTo>
                <a:cubicBezTo>
                  <a:pt x="543250" y="3922811"/>
                  <a:pt x="541344" y="3917111"/>
                  <a:pt x="541344" y="3911411"/>
                </a:cubicBezTo>
                <a:cubicBezTo>
                  <a:pt x="541344" y="3892411"/>
                  <a:pt x="552782" y="3875311"/>
                  <a:pt x="569940" y="3869611"/>
                </a:cubicBezTo>
                <a:cubicBezTo>
                  <a:pt x="569940" y="3869611"/>
                  <a:pt x="569940" y="3869611"/>
                  <a:pt x="909281" y="3729011"/>
                </a:cubicBezTo>
                <a:cubicBezTo>
                  <a:pt x="915477" y="3726636"/>
                  <a:pt x="921673" y="3725567"/>
                  <a:pt x="927631" y="3725656"/>
                </a:cubicBezTo>
                <a:close/>
                <a:moveTo>
                  <a:pt x="4842671" y="3718044"/>
                </a:moveTo>
                <a:cubicBezTo>
                  <a:pt x="4861539" y="3718935"/>
                  <a:pt x="4879067" y="3731046"/>
                  <a:pt x="4884791" y="3749569"/>
                </a:cubicBezTo>
                <a:cubicBezTo>
                  <a:pt x="4894329" y="3774266"/>
                  <a:pt x="4880975" y="3802763"/>
                  <a:pt x="4856173" y="3810362"/>
                </a:cubicBezTo>
                <a:cubicBezTo>
                  <a:pt x="4856173" y="3810362"/>
                  <a:pt x="4856173" y="3810362"/>
                  <a:pt x="4514687" y="3933849"/>
                </a:cubicBezTo>
                <a:cubicBezTo>
                  <a:pt x="4489885" y="3943348"/>
                  <a:pt x="4463177" y="3930049"/>
                  <a:pt x="4453639" y="3905352"/>
                </a:cubicBezTo>
                <a:cubicBezTo>
                  <a:pt x="4451731" y="3901552"/>
                  <a:pt x="4449823" y="3895853"/>
                  <a:pt x="4449823" y="3890154"/>
                </a:cubicBezTo>
                <a:cubicBezTo>
                  <a:pt x="4449823" y="3869256"/>
                  <a:pt x="4463177" y="3852158"/>
                  <a:pt x="4482255" y="3844559"/>
                </a:cubicBezTo>
                <a:cubicBezTo>
                  <a:pt x="4482255" y="3844559"/>
                  <a:pt x="4482255" y="3844559"/>
                  <a:pt x="4823743" y="3721072"/>
                </a:cubicBezTo>
                <a:cubicBezTo>
                  <a:pt x="4829943" y="3718697"/>
                  <a:pt x="4836381" y="3717747"/>
                  <a:pt x="4842671" y="3718044"/>
                </a:cubicBezTo>
                <a:close/>
                <a:moveTo>
                  <a:pt x="1478630" y="3718044"/>
                </a:moveTo>
                <a:cubicBezTo>
                  <a:pt x="1496986" y="3718935"/>
                  <a:pt x="1513738" y="3731046"/>
                  <a:pt x="1520866" y="3749569"/>
                </a:cubicBezTo>
                <a:cubicBezTo>
                  <a:pt x="1530371" y="3774266"/>
                  <a:pt x="1517064" y="3802763"/>
                  <a:pt x="1492352" y="3810362"/>
                </a:cubicBezTo>
                <a:cubicBezTo>
                  <a:pt x="1492352" y="3810362"/>
                  <a:pt x="1492352" y="3810362"/>
                  <a:pt x="1152084" y="3933849"/>
                </a:cubicBezTo>
                <a:cubicBezTo>
                  <a:pt x="1127372" y="3943348"/>
                  <a:pt x="1098858" y="3930049"/>
                  <a:pt x="1089353" y="3905352"/>
                </a:cubicBezTo>
                <a:cubicBezTo>
                  <a:pt x="1087452" y="3901552"/>
                  <a:pt x="1087452" y="3895853"/>
                  <a:pt x="1087452" y="3890154"/>
                </a:cubicBezTo>
                <a:cubicBezTo>
                  <a:pt x="1087452" y="3869256"/>
                  <a:pt x="1098858" y="3852158"/>
                  <a:pt x="1117867" y="3844559"/>
                </a:cubicBezTo>
                <a:cubicBezTo>
                  <a:pt x="1117867" y="3844559"/>
                  <a:pt x="1117867" y="3844559"/>
                  <a:pt x="1460036" y="3721072"/>
                </a:cubicBezTo>
                <a:cubicBezTo>
                  <a:pt x="1466214" y="3718697"/>
                  <a:pt x="1472511" y="3717747"/>
                  <a:pt x="1478630" y="3718044"/>
                </a:cubicBezTo>
                <a:close/>
                <a:moveTo>
                  <a:pt x="4287785" y="3710433"/>
                </a:moveTo>
                <a:cubicBezTo>
                  <a:pt x="4307473" y="3711947"/>
                  <a:pt x="4325013" y="3725481"/>
                  <a:pt x="4330739" y="3745426"/>
                </a:cubicBezTo>
                <a:cubicBezTo>
                  <a:pt x="4340283" y="3772020"/>
                  <a:pt x="4325011" y="3800514"/>
                  <a:pt x="4298285" y="3810012"/>
                </a:cubicBezTo>
                <a:cubicBezTo>
                  <a:pt x="4298285" y="3810012"/>
                  <a:pt x="4298285" y="3810012"/>
                  <a:pt x="3954657" y="3916388"/>
                </a:cubicBezTo>
                <a:cubicBezTo>
                  <a:pt x="3927929" y="3925886"/>
                  <a:pt x="3899295" y="3910689"/>
                  <a:pt x="3891659" y="3884095"/>
                </a:cubicBezTo>
                <a:cubicBezTo>
                  <a:pt x="3889749" y="3878397"/>
                  <a:pt x="3887839" y="3874597"/>
                  <a:pt x="3887839" y="3868899"/>
                </a:cubicBezTo>
                <a:cubicBezTo>
                  <a:pt x="3887839" y="3846104"/>
                  <a:pt x="3903113" y="3827108"/>
                  <a:pt x="3924111" y="3819510"/>
                </a:cubicBezTo>
                <a:cubicBezTo>
                  <a:pt x="3924111" y="3819510"/>
                  <a:pt x="3924111" y="3819510"/>
                  <a:pt x="4267741" y="3713134"/>
                </a:cubicBezTo>
                <a:cubicBezTo>
                  <a:pt x="4274423" y="3710759"/>
                  <a:pt x="4281223" y="3709928"/>
                  <a:pt x="4287785" y="3710433"/>
                </a:cubicBezTo>
                <a:close/>
                <a:moveTo>
                  <a:pt x="2033497" y="3710433"/>
                </a:moveTo>
                <a:cubicBezTo>
                  <a:pt x="2053287" y="3711947"/>
                  <a:pt x="2071197" y="3725481"/>
                  <a:pt x="2078361" y="3745426"/>
                </a:cubicBezTo>
                <a:cubicBezTo>
                  <a:pt x="2086003" y="3772020"/>
                  <a:pt x="2070720" y="3800514"/>
                  <a:pt x="2043974" y="3810012"/>
                </a:cubicBezTo>
                <a:cubicBezTo>
                  <a:pt x="2043974" y="3810012"/>
                  <a:pt x="2043974" y="3810012"/>
                  <a:pt x="1702011" y="3916388"/>
                </a:cubicBezTo>
                <a:cubicBezTo>
                  <a:pt x="1673355" y="3925886"/>
                  <a:pt x="1644699" y="3910689"/>
                  <a:pt x="1637057" y="3884095"/>
                </a:cubicBezTo>
                <a:cubicBezTo>
                  <a:pt x="1635147" y="3878397"/>
                  <a:pt x="1635147" y="3874597"/>
                  <a:pt x="1635147" y="3868899"/>
                </a:cubicBezTo>
                <a:cubicBezTo>
                  <a:pt x="1635147" y="3846104"/>
                  <a:pt x="1648520" y="3827108"/>
                  <a:pt x="1669534" y="3819510"/>
                </a:cubicBezTo>
                <a:cubicBezTo>
                  <a:pt x="1669534" y="3819510"/>
                  <a:pt x="1669534" y="3819510"/>
                  <a:pt x="2013408" y="3713134"/>
                </a:cubicBezTo>
                <a:cubicBezTo>
                  <a:pt x="2020094" y="3710759"/>
                  <a:pt x="2026900" y="3709928"/>
                  <a:pt x="2033497" y="3710433"/>
                </a:cubicBezTo>
                <a:close/>
                <a:moveTo>
                  <a:pt x="3726993" y="3702861"/>
                </a:moveTo>
                <a:cubicBezTo>
                  <a:pt x="3747979" y="3705090"/>
                  <a:pt x="3766553" y="3720426"/>
                  <a:pt x="3772267" y="3743251"/>
                </a:cubicBezTo>
                <a:cubicBezTo>
                  <a:pt x="3779887" y="3771784"/>
                  <a:pt x="3762743" y="3800316"/>
                  <a:pt x="3734167" y="3807924"/>
                </a:cubicBezTo>
                <a:cubicBezTo>
                  <a:pt x="3734167" y="3807924"/>
                  <a:pt x="3734167" y="3807924"/>
                  <a:pt x="3391263" y="3899227"/>
                </a:cubicBezTo>
                <a:cubicBezTo>
                  <a:pt x="3360783" y="3906836"/>
                  <a:pt x="3332207" y="3889717"/>
                  <a:pt x="3324587" y="3861184"/>
                </a:cubicBezTo>
                <a:cubicBezTo>
                  <a:pt x="3322682" y="3857380"/>
                  <a:pt x="3322682" y="3851674"/>
                  <a:pt x="3322682" y="3847869"/>
                </a:cubicBezTo>
                <a:cubicBezTo>
                  <a:pt x="3322682" y="3823142"/>
                  <a:pt x="3337922" y="3802218"/>
                  <a:pt x="3362688" y="3796512"/>
                </a:cubicBezTo>
                <a:cubicBezTo>
                  <a:pt x="3362688" y="3796512"/>
                  <a:pt x="3362688" y="3796512"/>
                  <a:pt x="3705593" y="3705209"/>
                </a:cubicBezTo>
                <a:cubicBezTo>
                  <a:pt x="3712737" y="3702831"/>
                  <a:pt x="3719999" y="3702118"/>
                  <a:pt x="3726993" y="3702861"/>
                </a:cubicBezTo>
                <a:close/>
                <a:moveTo>
                  <a:pt x="2593320" y="3702861"/>
                </a:moveTo>
                <a:cubicBezTo>
                  <a:pt x="2614378" y="3705090"/>
                  <a:pt x="2633017" y="3720426"/>
                  <a:pt x="2638751" y="3743251"/>
                </a:cubicBezTo>
                <a:cubicBezTo>
                  <a:pt x="2646398" y="3771784"/>
                  <a:pt x="2629193" y="3800316"/>
                  <a:pt x="2600519" y="3807924"/>
                </a:cubicBezTo>
                <a:cubicBezTo>
                  <a:pt x="2600519" y="3807924"/>
                  <a:pt x="2600519" y="3807924"/>
                  <a:pt x="2256423" y="3899227"/>
                </a:cubicBezTo>
                <a:cubicBezTo>
                  <a:pt x="2225837" y="3906836"/>
                  <a:pt x="2197162" y="3889717"/>
                  <a:pt x="2189516" y="3861184"/>
                </a:cubicBezTo>
                <a:cubicBezTo>
                  <a:pt x="2187604" y="3857380"/>
                  <a:pt x="2187604" y="3851674"/>
                  <a:pt x="2187604" y="3847869"/>
                </a:cubicBezTo>
                <a:cubicBezTo>
                  <a:pt x="2187604" y="3823142"/>
                  <a:pt x="2202897" y="3802218"/>
                  <a:pt x="2227748" y="3796512"/>
                </a:cubicBezTo>
                <a:cubicBezTo>
                  <a:pt x="2227748" y="3796512"/>
                  <a:pt x="2227748" y="3796512"/>
                  <a:pt x="2571844" y="3705209"/>
                </a:cubicBezTo>
                <a:cubicBezTo>
                  <a:pt x="2579013" y="3702831"/>
                  <a:pt x="2586301" y="3702118"/>
                  <a:pt x="2593320" y="3702861"/>
                </a:cubicBezTo>
                <a:close/>
                <a:moveTo>
                  <a:pt x="3135570" y="3696651"/>
                </a:moveTo>
                <a:cubicBezTo>
                  <a:pt x="3166092" y="3690936"/>
                  <a:pt x="3196615" y="3709986"/>
                  <a:pt x="3202337" y="3740466"/>
                </a:cubicBezTo>
                <a:cubicBezTo>
                  <a:pt x="3209968" y="3770946"/>
                  <a:pt x="3190892" y="3801426"/>
                  <a:pt x="3160369" y="3809046"/>
                </a:cubicBezTo>
                <a:cubicBezTo>
                  <a:pt x="3160369" y="3809046"/>
                  <a:pt x="3160369" y="3809046"/>
                  <a:pt x="2815087" y="3883341"/>
                </a:cubicBezTo>
                <a:cubicBezTo>
                  <a:pt x="2784565" y="3890961"/>
                  <a:pt x="2754043" y="3871911"/>
                  <a:pt x="2746412" y="3841431"/>
                </a:cubicBezTo>
                <a:cubicBezTo>
                  <a:pt x="2746412" y="3835716"/>
                  <a:pt x="2746412" y="3831906"/>
                  <a:pt x="2746412" y="3828096"/>
                </a:cubicBezTo>
                <a:cubicBezTo>
                  <a:pt x="2746412" y="3801426"/>
                  <a:pt x="2763581" y="3778566"/>
                  <a:pt x="2790288" y="3772851"/>
                </a:cubicBezTo>
                <a:cubicBezTo>
                  <a:pt x="2790288" y="3772851"/>
                  <a:pt x="2790288" y="3772851"/>
                  <a:pt x="3135570" y="3696651"/>
                </a:cubicBezTo>
                <a:close/>
                <a:moveTo>
                  <a:pt x="6499363" y="3418935"/>
                </a:moveTo>
                <a:cubicBezTo>
                  <a:pt x="6508873" y="3422039"/>
                  <a:pt x="6517433" y="3428722"/>
                  <a:pt x="6523141" y="3438269"/>
                </a:cubicBezTo>
                <a:cubicBezTo>
                  <a:pt x="6532651" y="3457365"/>
                  <a:pt x="6525043" y="3480281"/>
                  <a:pt x="6506021" y="3491738"/>
                </a:cubicBezTo>
                <a:cubicBezTo>
                  <a:pt x="6506021" y="3491738"/>
                  <a:pt x="6506021" y="3491738"/>
                  <a:pt x="6167435" y="3663602"/>
                </a:cubicBezTo>
                <a:cubicBezTo>
                  <a:pt x="6148413" y="3675060"/>
                  <a:pt x="6125587" y="3667421"/>
                  <a:pt x="6116077" y="3648325"/>
                </a:cubicBezTo>
                <a:cubicBezTo>
                  <a:pt x="6112273" y="3642597"/>
                  <a:pt x="6110371" y="3634958"/>
                  <a:pt x="6110371" y="3629229"/>
                </a:cubicBezTo>
                <a:cubicBezTo>
                  <a:pt x="6110371" y="3615862"/>
                  <a:pt x="6117979" y="3602495"/>
                  <a:pt x="6131293" y="3594857"/>
                </a:cubicBezTo>
                <a:cubicBezTo>
                  <a:pt x="6131293" y="3594857"/>
                  <a:pt x="6131293" y="3594857"/>
                  <a:pt x="6469879" y="3421085"/>
                </a:cubicBezTo>
                <a:cubicBezTo>
                  <a:pt x="6479391" y="3416311"/>
                  <a:pt x="6489853" y="3415834"/>
                  <a:pt x="6499363" y="3418935"/>
                </a:cubicBezTo>
                <a:close/>
                <a:moveTo>
                  <a:pt x="5958981" y="3413738"/>
                </a:moveTo>
                <a:cubicBezTo>
                  <a:pt x="5969489" y="3417537"/>
                  <a:pt x="5978565" y="3425137"/>
                  <a:pt x="5983341" y="3435588"/>
                </a:cubicBezTo>
                <a:cubicBezTo>
                  <a:pt x="5992895" y="3456490"/>
                  <a:pt x="5983341" y="3483093"/>
                  <a:pt x="5962323" y="3492594"/>
                </a:cubicBezTo>
                <a:cubicBezTo>
                  <a:pt x="5962323" y="3492594"/>
                  <a:pt x="5962323" y="3492594"/>
                  <a:pt x="5622229" y="3646509"/>
                </a:cubicBezTo>
                <a:cubicBezTo>
                  <a:pt x="5599301" y="3656010"/>
                  <a:pt x="5574463" y="3646509"/>
                  <a:pt x="5564909" y="3625607"/>
                </a:cubicBezTo>
                <a:cubicBezTo>
                  <a:pt x="5562999" y="3619906"/>
                  <a:pt x="5561087" y="3614206"/>
                  <a:pt x="5561087" y="3608505"/>
                </a:cubicBezTo>
                <a:cubicBezTo>
                  <a:pt x="5561087" y="3591403"/>
                  <a:pt x="5570641" y="3576202"/>
                  <a:pt x="5585927" y="3568601"/>
                </a:cubicBezTo>
                <a:cubicBezTo>
                  <a:pt x="5585927" y="3568601"/>
                  <a:pt x="5585927" y="3568601"/>
                  <a:pt x="5926021" y="3414687"/>
                </a:cubicBezTo>
                <a:cubicBezTo>
                  <a:pt x="5936531" y="3409939"/>
                  <a:pt x="5948471" y="3409939"/>
                  <a:pt x="5958981" y="3413738"/>
                </a:cubicBezTo>
                <a:close/>
                <a:moveTo>
                  <a:pt x="398652" y="3413736"/>
                </a:moveTo>
                <a:cubicBezTo>
                  <a:pt x="408646" y="3417537"/>
                  <a:pt x="417212" y="3425137"/>
                  <a:pt x="421971" y="3435588"/>
                </a:cubicBezTo>
                <a:cubicBezTo>
                  <a:pt x="433393" y="3456490"/>
                  <a:pt x="423875" y="3483093"/>
                  <a:pt x="401031" y="3492594"/>
                </a:cubicBezTo>
                <a:cubicBezTo>
                  <a:pt x="401031" y="3492594"/>
                  <a:pt x="401031" y="3492594"/>
                  <a:pt x="62187" y="3646509"/>
                </a:cubicBezTo>
                <a:cubicBezTo>
                  <a:pt x="41247" y="3656010"/>
                  <a:pt x="16500" y="3646509"/>
                  <a:pt x="6982" y="3625607"/>
                </a:cubicBezTo>
                <a:cubicBezTo>
                  <a:pt x="3175" y="3619906"/>
                  <a:pt x="3175" y="3614206"/>
                  <a:pt x="3175" y="3608505"/>
                </a:cubicBezTo>
                <a:cubicBezTo>
                  <a:pt x="3175" y="3591403"/>
                  <a:pt x="12693" y="3576202"/>
                  <a:pt x="27922" y="3568601"/>
                </a:cubicBezTo>
                <a:cubicBezTo>
                  <a:pt x="27922" y="3568601"/>
                  <a:pt x="27922" y="3568601"/>
                  <a:pt x="366766" y="3414687"/>
                </a:cubicBezTo>
                <a:cubicBezTo>
                  <a:pt x="377236" y="3409937"/>
                  <a:pt x="388658" y="3409937"/>
                  <a:pt x="398652" y="3413736"/>
                </a:cubicBezTo>
                <a:close/>
                <a:moveTo>
                  <a:pt x="5394971" y="3403425"/>
                </a:moveTo>
                <a:cubicBezTo>
                  <a:pt x="5413355" y="3403782"/>
                  <a:pt x="5430131" y="3414824"/>
                  <a:pt x="5437269" y="3433348"/>
                </a:cubicBezTo>
                <a:cubicBezTo>
                  <a:pt x="5446787" y="3456148"/>
                  <a:pt x="5435365" y="3482748"/>
                  <a:pt x="5410617" y="3492248"/>
                </a:cubicBezTo>
                <a:cubicBezTo>
                  <a:pt x="5410617" y="3492248"/>
                  <a:pt x="5410617" y="3492248"/>
                  <a:pt x="5069863" y="3629048"/>
                </a:cubicBezTo>
                <a:cubicBezTo>
                  <a:pt x="5047019" y="3638548"/>
                  <a:pt x="5020369" y="3627148"/>
                  <a:pt x="5010851" y="3602448"/>
                </a:cubicBezTo>
                <a:cubicBezTo>
                  <a:pt x="5008947" y="3596748"/>
                  <a:pt x="5007043" y="3591048"/>
                  <a:pt x="5007043" y="3585348"/>
                </a:cubicBezTo>
                <a:cubicBezTo>
                  <a:pt x="5007043" y="3568248"/>
                  <a:pt x="5018465" y="3551148"/>
                  <a:pt x="5037501" y="3543548"/>
                </a:cubicBezTo>
                <a:cubicBezTo>
                  <a:pt x="5037501" y="3543548"/>
                  <a:pt x="5037501" y="3543548"/>
                  <a:pt x="5376351" y="3406750"/>
                </a:cubicBezTo>
                <a:cubicBezTo>
                  <a:pt x="5382539" y="3404377"/>
                  <a:pt x="5388845" y="3403307"/>
                  <a:pt x="5394971" y="3403425"/>
                </a:cubicBezTo>
                <a:close/>
                <a:moveTo>
                  <a:pt x="928451" y="3403423"/>
                </a:moveTo>
                <a:cubicBezTo>
                  <a:pt x="946043" y="3403779"/>
                  <a:pt x="962831" y="3414824"/>
                  <a:pt x="969975" y="3433348"/>
                </a:cubicBezTo>
                <a:cubicBezTo>
                  <a:pt x="979500" y="3456148"/>
                  <a:pt x="968070" y="3482748"/>
                  <a:pt x="945210" y="3492248"/>
                </a:cubicBezTo>
                <a:cubicBezTo>
                  <a:pt x="945210" y="3492248"/>
                  <a:pt x="945210" y="3492248"/>
                  <a:pt x="604210" y="3629048"/>
                </a:cubicBezTo>
                <a:cubicBezTo>
                  <a:pt x="579445" y="3638548"/>
                  <a:pt x="552774" y="3627148"/>
                  <a:pt x="543249" y="3602448"/>
                </a:cubicBezTo>
                <a:cubicBezTo>
                  <a:pt x="541344" y="3596748"/>
                  <a:pt x="541344" y="3591048"/>
                  <a:pt x="541344" y="3585348"/>
                </a:cubicBezTo>
                <a:cubicBezTo>
                  <a:pt x="541344" y="3568248"/>
                  <a:pt x="550869" y="3551148"/>
                  <a:pt x="569919" y="3543548"/>
                </a:cubicBezTo>
                <a:cubicBezTo>
                  <a:pt x="569919" y="3543548"/>
                  <a:pt x="569919" y="3543548"/>
                  <a:pt x="910919" y="3406748"/>
                </a:cubicBezTo>
                <a:cubicBezTo>
                  <a:pt x="916634" y="3404375"/>
                  <a:pt x="922587" y="3403304"/>
                  <a:pt x="928451" y="3403423"/>
                </a:cubicBezTo>
                <a:close/>
                <a:moveTo>
                  <a:pt x="4843491" y="3396586"/>
                </a:moveTo>
                <a:cubicBezTo>
                  <a:pt x="4863151" y="3398284"/>
                  <a:pt x="4880665" y="3410428"/>
                  <a:pt x="4886385" y="3428999"/>
                </a:cubicBezTo>
                <a:cubicBezTo>
                  <a:pt x="4895917" y="3455668"/>
                  <a:pt x="4882573" y="3484243"/>
                  <a:pt x="4855883" y="3491863"/>
                </a:cubicBezTo>
                <a:cubicBezTo>
                  <a:pt x="4855883" y="3491863"/>
                  <a:pt x="4855883" y="3491863"/>
                  <a:pt x="4514641" y="3609973"/>
                </a:cubicBezTo>
                <a:cubicBezTo>
                  <a:pt x="4487951" y="3619498"/>
                  <a:pt x="4461261" y="3606163"/>
                  <a:pt x="4451729" y="3579493"/>
                </a:cubicBezTo>
                <a:cubicBezTo>
                  <a:pt x="4449823" y="3575683"/>
                  <a:pt x="4449823" y="3569968"/>
                  <a:pt x="4449823" y="3564253"/>
                </a:cubicBezTo>
                <a:cubicBezTo>
                  <a:pt x="4449823" y="3543298"/>
                  <a:pt x="4461261" y="3524248"/>
                  <a:pt x="4482231" y="3518533"/>
                </a:cubicBezTo>
                <a:cubicBezTo>
                  <a:pt x="4482231" y="3518533"/>
                  <a:pt x="4482231" y="3518533"/>
                  <a:pt x="4823475" y="3398521"/>
                </a:cubicBezTo>
                <a:cubicBezTo>
                  <a:pt x="4830147" y="3396616"/>
                  <a:pt x="4836939" y="3396021"/>
                  <a:pt x="4843491" y="3396586"/>
                </a:cubicBezTo>
                <a:close/>
                <a:moveTo>
                  <a:pt x="1478780" y="3396584"/>
                </a:moveTo>
                <a:cubicBezTo>
                  <a:pt x="1497725" y="3398280"/>
                  <a:pt x="1515597" y="3410426"/>
                  <a:pt x="1522745" y="3428999"/>
                </a:cubicBezTo>
                <a:cubicBezTo>
                  <a:pt x="1530371" y="3455668"/>
                  <a:pt x="1517026" y="3484243"/>
                  <a:pt x="1492243" y="3491863"/>
                </a:cubicBezTo>
                <a:cubicBezTo>
                  <a:pt x="1492243" y="3491863"/>
                  <a:pt x="1492243" y="3491863"/>
                  <a:pt x="1149094" y="3609973"/>
                </a:cubicBezTo>
                <a:cubicBezTo>
                  <a:pt x="1124311" y="3619498"/>
                  <a:pt x="1095715" y="3606163"/>
                  <a:pt x="1088090" y="3579493"/>
                </a:cubicBezTo>
                <a:cubicBezTo>
                  <a:pt x="1086183" y="3575683"/>
                  <a:pt x="1084277" y="3569968"/>
                  <a:pt x="1084277" y="3564253"/>
                </a:cubicBezTo>
                <a:cubicBezTo>
                  <a:pt x="1084277" y="3543298"/>
                  <a:pt x="1097622" y="3524248"/>
                  <a:pt x="1116686" y="3518533"/>
                </a:cubicBezTo>
                <a:cubicBezTo>
                  <a:pt x="1116686" y="3518533"/>
                  <a:pt x="1116686" y="3518533"/>
                  <a:pt x="1459835" y="3398519"/>
                </a:cubicBezTo>
                <a:cubicBezTo>
                  <a:pt x="1466031" y="3396614"/>
                  <a:pt x="1472465" y="3396018"/>
                  <a:pt x="1478780" y="3396584"/>
                </a:cubicBezTo>
                <a:close/>
                <a:moveTo>
                  <a:pt x="4288643" y="3390089"/>
                </a:moveTo>
                <a:cubicBezTo>
                  <a:pt x="4309105" y="3392145"/>
                  <a:pt x="4326619" y="3406810"/>
                  <a:pt x="4332339" y="3426840"/>
                </a:cubicBezTo>
                <a:cubicBezTo>
                  <a:pt x="4341871" y="3455456"/>
                  <a:pt x="4324713" y="3484073"/>
                  <a:pt x="4298025" y="3491704"/>
                </a:cubicBezTo>
                <a:cubicBezTo>
                  <a:pt x="4298025" y="3491704"/>
                  <a:pt x="4298025" y="3491704"/>
                  <a:pt x="3954881" y="3592817"/>
                </a:cubicBezTo>
                <a:cubicBezTo>
                  <a:pt x="3926285" y="3600448"/>
                  <a:pt x="3897691" y="3585186"/>
                  <a:pt x="3888159" y="3556569"/>
                </a:cubicBezTo>
                <a:cubicBezTo>
                  <a:pt x="3888159" y="3552753"/>
                  <a:pt x="3886251" y="3547030"/>
                  <a:pt x="3886251" y="3541306"/>
                </a:cubicBezTo>
                <a:cubicBezTo>
                  <a:pt x="3886251" y="3518413"/>
                  <a:pt x="3901503" y="3497427"/>
                  <a:pt x="3924379" y="3491704"/>
                </a:cubicBezTo>
                <a:cubicBezTo>
                  <a:pt x="3924379" y="3491704"/>
                  <a:pt x="3924379" y="3491704"/>
                  <a:pt x="4267523" y="3392503"/>
                </a:cubicBezTo>
                <a:cubicBezTo>
                  <a:pt x="4274673" y="3390119"/>
                  <a:pt x="4281821" y="3389402"/>
                  <a:pt x="4288643" y="3390089"/>
                </a:cubicBezTo>
                <a:close/>
                <a:moveTo>
                  <a:pt x="2035427" y="3390086"/>
                </a:moveTo>
                <a:cubicBezTo>
                  <a:pt x="2055636" y="3392143"/>
                  <a:pt x="2074236" y="3406808"/>
                  <a:pt x="2079959" y="3426840"/>
                </a:cubicBezTo>
                <a:cubicBezTo>
                  <a:pt x="2087590" y="3455456"/>
                  <a:pt x="2072328" y="3484073"/>
                  <a:pt x="2043713" y="3491704"/>
                </a:cubicBezTo>
                <a:cubicBezTo>
                  <a:pt x="2043713" y="3491704"/>
                  <a:pt x="2043713" y="3491704"/>
                  <a:pt x="1700328" y="3592817"/>
                </a:cubicBezTo>
                <a:cubicBezTo>
                  <a:pt x="1671713" y="3600448"/>
                  <a:pt x="1643097" y="3585186"/>
                  <a:pt x="1635467" y="3556569"/>
                </a:cubicBezTo>
                <a:cubicBezTo>
                  <a:pt x="1633559" y="3552753"/>
                  <a:pt x="1633559" y="3547030"/>
                  <a:pt x="1633559" y="3541306"/>
                </a:cubicBezTo>
                <a:cubicBezTo>
                  <a:pt x="1633559" y="3518413"/>
                  <a:pt x="1648821" y="3497427"/>
                  <a:pt x="1671713" y="3491704"/>
                </a:cubicBezTo>
                <a:cubicBezTo>
                  <a:pt x="1671713" y="3491704"/>
                  <a:pt x="1671713" y="3491704"/>
                  <a:pt x="2015098" y="3392501"/>
                </a:cubicBezTo>
                <a:cubicBezTo>
                  <a:pt x="2021775" y="3390117"/>
                  <a:pt x="2028690" y="3389400"/>
                  <a:pt x="2035427" y="3390086"/>
                </a:cubicBezTo>
                <a:close/>
                <a:moveTo>
                  <a:pt x="3729547" y="3384850"/>
                </a:moveTo>
                <a:cubicBezTo>
                  <a:pt x="3751291" y="3388411"/>
                  <a:pt x="3769545" y="3404789"/>
                  <a:pt x="3773841" y="3427575"/>
                </a:cubicBezTo>
                <a:cubicBezTo>
                  <a:pt x="3781475" y="3456060"/>
                  <a:pt x="3762387" y="3486445"/>
                  <a:pt x="3733751" y="3494041"/>
                </a:cubicBezTo>
                <a:cubicBezTo>
                  <a:pt x="3733751" y="3494041"/>
                  <a:pt x="3733751" y="3494041"/>
                  <a:pt x="3388230" y="3575701"/>
                </a:cubicBezTo>
                <a:cubicBezTo>
                  <a:pt x="3357686" y="3581398"/>
                  <a:pt x="3327143" y="3564306"/>
                  <a:pt x="3321416" y="3533921"/>
                </a:cubicBezTo>
                <a:cubicBezTo>
                  <a:pt x="3319507" y="3528224"/>
                  <a:pt x="3319507" y="3524426"/>
                  <a:pt x="3319507" y="3520628"/>
                </a:cubicBezTo>
                <a:cubicBezTo>
                  <a:pt x="3319507" y="3495940"/>
                  <a:pt x="3336688" y="3473151"/>
                  <a:pt x="3361504" y="3465555"/>
                </a:cubicBezTo>
                <a:cubicBezTo>
                  <a:pt x="3361504" y="3465555"/>
                  <a:pt x="3361504" y="3465555"/>
                  <a:pt x="3707027" y="3385799"/>
                </a:cubicBezTo>
                <a:cubicBezTo>
                  <a:pt x="3714663" y="3383903"/>
                  <a:pt x="3722299" y="3383661"/>
                  <a:pt x="3729547" y="3384850"/>
                </a:cubicBezTo>
                <a:close/>
                <a:moveTo>
                  <a:pt x="2596056" y="3384845"/>
                </a:moveTo>
                <a:cubicBezTo>
                  <a:pt x="2617801" y="3388406"/>
                  <a:pt x="2636055" y="3404787"/>
                  <a:pt x="2640350" y="3427574"/>
                </a:cubicBezTo>
                <a:cubicBezTo>
                  <a:pt x="2647986" y="3456060"/>
                  <a:pt x="2628896" y="3486445"/>
                  <a:pt x="2598353" y="3494041"/>
                </a:cubicBezTo>
                <a:cubicBezTo>
                  <a:pt x="2598353" y="3494041"/>
                  <a:pt x="2598353" y="3494041"/>
                  <a:pt x="2254740" y="3575701"/>
                </a:cubicBezTo>
                <a:cubicBezTo>
                  <a:pt x="2224196" y="3581398"/>
                  <a:pt x="2193653" y="3564306"/>
                  <a:pt x="2187926" y="3533921"/>
                </a:cubicBezTo>
                <a:cubicBezTo>
                  <a:pt x="2186017" y="3528224"/>
                  <a:pt x="2186017" y="3524426"/>
                  <a:pt x="2186017" y="3520628"/>
                </a:cubicBezTo>
                <a:cubicBezTo>
                  <a:pt x="2186017" y="3495940"/>
                  <a:pt x="2203198" y="3473151"/>
                  <a:pt x="2228014" y="3465555"/>
                </a:cubicBezTo>
                <a:cubicBezTo>
                  <a:pt x="2228014" y="3465555"/>
                  <a:pt x="2228014" y="3465555"/>
                  <a:pt x="2573536" y="3385794"/>
                </a:cubicBezTo>
                <a:cubicBezTo>
                  <a:pt x="2581172" y="3383896"/>
                  <a:pt x="2588808" y="3383659"/>
                  <a:pt x="2596056" y="3384845"/>
                </a:cubicBezTo>
                <a:close/>
                <a:moveTo>
                  <a:pt x="3137310" y="3377570"/>
                </a:moveTo>
                <a:cubicBezTo>
                  <a:pt x="3169674" y="3371857"/>
                  <a:pt x="3200134" y="3392806"/>
                  <a:pt x="3205845" y="3425189"/>
                </a:cubicBezTo>
                <a:cubicBezTo>
                  <a:pt x="3211556" y="3457573"/>
                  <a:pt x="3190615" y="3488053"/>
                  <a:pt x="3158251" y="3493768"/>
                </a:cubicBezTo>
                <a:cubicBezTo>
                  <a:pt x="3158251" y="3493768"/>
                  <a:pt x="3158251" y="3493768"/>
                  <a:pt x="2813675" y="3556633"/>
                </a:cubicBezTo>
                <a:cubicBezTo>
                  <a:pt x="2781312" y="3562348"/>
                  <a:pt x="2750852" y="3541393"/>
                  <a:pt x="2745141" y="3509008"/>
                </a:cubicBezTo>
                <a:cubicBezTo>
                  <a:pt x="2743237" y="3505198"/>
                  <a:pt x="2743237" y="3501388"/>
                  <a:pt x="2743237" y="3497578"/>
                </a:cubicBezTo>
                <a:cubicBezTo>
                  <a:pt x="2743237" y="3470908"/>
                  <a:pt x="2764178" y="3446143"/>
                  <a:pt x="2792734" y="3440428"/>
                </a:cubicBezTo>
                <a:cubicBezTo>
                  <a:pt x="2792734" y="3440428"/>
                  <a:pt x="2792734" y="3440428"/>
                  <a:pt x="3137310" y="3377570"/>
                </a:cubicBezTo>
                <a:close/>
                <a:moveTo>
                  <a:pt x="6499125" y="3095110"/>
                </a:moveTo>
                <a:cubicBezTo>
                  <a:pt x="6508399" y="3098216"/>
                  <a:pt x="6516483" y="3104898"/>
                  <a:pt x="6521239" y="3114446"/>
                </a:cubicBezTo>
                <a:cubicBezTo>
                  <a:pt x="6532651" y="3133543"/>
                  <a:pt x="6525043" y="3158365"/>
                  <a:pt x="6506021" y="3167912"/>
                </a:cubicBezTo>
                <a:cubicBezTo>
                  <a:pt x="6506021" y="3167912"/>
                  <a:pt x="6506021" y="3167912"/>
                  <a:pt x="6167435" y="3341681"/>
                </a:cubicBezTo>
                <a:cubicBezTo>
                  <a:pt x="6148413" y="3351227"/>
                  <a:pt x="6125587" y="3345496"/>
                  <a:pt x="6116077" y="3326402"/>
                </a:cubicBezTo>
                <a:cubicBezTo>
                  <a:pt x="6112273" y="3320675"/>
                  <a:pt x="6110371" y="3313037"/>
                  <a:pt x="6110371" y="3307308"/>
                </a:cubicBezTo>
                <a:cubicBezTo>
                  <a:pt x="6110371" y="3293942"/>
                  <a:pt x="6117979" y="3280578"/>
                  <a:pt x="6131293" y="3272939"/>
                </a:cubicBezTo>
                <a:cubicBezTo>
                  <a:pt x="6131293" y="3272939"/>
                  <a:pt x="6131293" y="3272939"/>
                  <a:pt x="6469879" y="3097261"/>
                </a:cubicBezTo>
                <a:cubicBezTo>
                  <a:pt x="6479389" y="3092485"/>
                  <a:pt x="6489851" y="3092008"/>
                  <a:pt x="6499125" y="3095110"/>
                </a:cubicBezTo>
                <a:close/>
                <a:moveTo>
                  <a:pt x="5958981" y="3091501"/>
                </a:moveTo>
                <a:cubicBezTo>
                  <a:pt x="5969489" y="3095300"/>
                  <a:pt x="5978565" y="3102902"/>
                  <a:pt x="5983341" y="3113352"/>
                </a:cubicBezTo>
                <a:cubicBezTo>
                  <a:pt x="5992895" y="3134255"/>
                  <a:pt x="5983341" y="3160857"/>
                  <a:pt x="5962323" y="3170357"/>
                </a:cubicBezTo>
                <a:cubicBezTo>
                  <a:pt x="5962323" y="3170357"/>
                  <a:pt x="5962323" y="3170357"/>
                  <a:pt x="5620319" y="3324265"/>
                </a:cubicBezTo>
                <a:cubicBezTo>
                  <a:pt x="5599301" y="3333765"/>
                  <a:pt x="5574463" y="3324265"/>
                  <a:pt x="5564909" y="3301466"/>
                </a:cubicBezTo>
                <a:cubicBezTo>
                  <a:pt x="5562999" y="3295766"/>
                  <a:pt x="5561087" y="3290066"/>
                  <a:pt x="5561087" y="3284366"/>
                </a:cubicBezTo>
                <a:cubicBezTo>
                  <a:pt x="5561087" y="3269165"/>
                  <a:pt x="5570641" y="3252063"/>
                  <a:pt x="5585927" y="3246361"/>
                </a:cubicBezTo>
                <a:cubicBezTo>
                  <a:pt x="5585927" y="3246361"/>
                  <a:pt x="5585927" y="3246361"/>
                  <a:pt x="5926021" y="3092452"/>
                </a:cubicBezTo>
                <a:cubicBezTo>
                  <a:pt x="5936531" y="3087702"/>
                  <a:pt x="5948471" y="3087702"/>
                  <a:pt x="5958981" y="3091501"/>
                </a:cubicBezTo>
                <a:close/>
                <a:moveTo>
                  <a:pt x="399604" y="3091489"/>
                </a:moveTo>
                <a:cubicBezTo>
                  <a:pt x="410074" y="3095288"/>
                  <a:pt x="419116" y="3102890"/>
                  <a:pt x="423875" y="3113341"/>
                </a:cubicBezTo>
                <a:cubicBezTo>
                  <a:pt x="433393" y="3134243"/>
                  <a:pt x="423875" y="3160845"/>
                  <a:pt x="401031" y="3170346"/>
                </a:cubicBezTo>
                <a:cubicBezTo>
                  <a:pt x="401031" y="3170346"/>
                  <a:pt x="401031" y="3170346"/>
                  <a:pt x="62187" y="3324257"/>
                </a:cubicBezTo>
                <a:cubicBezTo>
                  <a:pt x="41247" y="3333758"/>
                  <a:pt x="16500" y="3324257"/>
                  <a:pt x="6982" y="3301458"/>
                </a:cubicBezTo>
                <a:cubicBezTo>
                  <a:pt x="3175" y="3295756"/>
                  <a:pt x="3175" y="3290055"/>
                  <a:pt x="3175" y="3284355"/>
                </a:cubicBezTo>
                <a:cubicBezTo>
                  <a:pt x="3175" y="3269153"/>
                  <a:pt x="12693" y="3252053"/>
                  <a:pt x="27922" y="3246351"/>
                </a:cubicBezTo>
                <a:cubicBezTo>
                  <a:pt x="27922" y="3246351"/>
                  <a:pt x="27922" y="3246351"/>
                  <a:pt x="366766" y="3092440"/>
                </a:cubicBezTo>
                <a:cubicBezTo>
                  <a:pt x="377236" y="3087688"/>
                  <a:pt x="389134" y="3087688"/>
                  <a:pt x="399604" y="3091489"/>
                </a:cubicBezTo>
                <a:close/>
                <a:moveTo>
                  <a:pt x="5376351" y="3084221"/>
                </a:moveTo>
                <a:cubicBezTo>
                  <a:pt x="5401099" y="3076602"/>
                  <a:pt x="5427751" y="3088030"/>
                  <a:pt x="5437269" y="3110889"/>
                </a:cubicBezTo>
                <a:cubicBezTo>
                  <a:pt x="5446787" y="3135655"/>
                  <a:pt x="5435365" y="3162324"/>
                  <a:pt x="5410617" y="3171849"/>
                </a:cubicBezTo>
                <a:cubicBezTo>
                  <a:pt x="5410617" y="3171849"/>
                  <a:pt x="5410617" y="3171849"/>
                  <a:pt x="5069863" y="3305194"/>
                </a:cubicBezTo>
                <a:cubicBezTo>
                  <a:pt x="5047019" y="3314717"/>
                  <a:pt x="5020369" y="3301384"/>
                  <a:pt x="5010851" y="3278527"/>
                </a:cubicBezTo>
                <a:cubicBezTo>
                  <a:pt x="5008947" y="3272812"/>
                  <a:pt x="5007043" y="3267095"/>
                  <a:pt x="5007043" y="3261383"/>
                </a:cubicBezTo>
                <a:cubicBezTo>
                  <a:pt x="5007043" y="3242330"/>
                  <a:pt x="5018465" y="3225187"/>
                  <a:pt x="5037501" y="3217569"/>
                </a:cubicBezTo>
                <a:cubicBezTo>
                  <a:pt x="5037501" y="3217569"/>
                  <a:pt x="5037501" y="3217569"/>
                  <a:pt x="5376351" y="3084221"/>
                </a:cubicBezTo>
                <a:close/>
                <a:moveTo>
                  <a:pt x="910969" y="3084205"/>
                </a:moveTo>
                <a:cubicBezTo>
                  <a:pt x="933813" y="3076586"/>
                  <a:pt x="960464" y="3088016"/>
                  <a:pt x="969983" y="3110874"/>
                </a:cubicBezTo>
                <a:cubicBezTo>
                  <a:pt x="979501" y="3135641"/>
                  <a:pt x="968079" y="3162310"/>
                  <a:pt x="945235" y="3171835"/>
                </a:cubicBezTo>
                <a:cubicBezTo>
                  <a:pt x="945235" y="3171835"/>
                  <a:pt x="945235" y="3171835"/>
                  <a:pt x="604481" y="3305182"/>
                </a:cubicBezTo>
                <a:cubicBezTo>
                  <a:pt x="579734" y="3314707"/>
                  <a:pt x="553083" y="3301372"/>
                  <a:pt x="543564" y="3278513"/>
                </a:cubicBezTo>
                <a:cubicBezTo>
                  <a:pt x="541661" y="3272798"/>
                  <a:pt x="539757" y="3267083"/>
                  <a:pt x="539757" y="3261369"/>
                </a:cubicBezTo>
                <a:cubicBezTo>
                  <a:pt x="539757" y="3242317"/>
                  <a:pt x="551179" y="3225173"/>
                  <a:pt x="570215" y="3217554"/>
                </a:cubicBezTo>
                <a:cubicBezTo>
                  <a:pt x="570215" y="3217554"/>
                  <a:pt x="570215" y="3217554"/>
                  <a:pt x="910969" y="3084205"/>
                </a:cubicBezTo>
                <a:close/>
                <a:moveTo>
                  <a:pt x="4845165" y="3075490"/>
                </a:moveTo>
                <a:cubicBezTo>
                  <a:pt x="4864365" y="3077010"/>
                  <a:pt x="4881153" y="3090600"/>
                  <a:pt x="4888295" y="3110630"/>
                </a:cubicBezTo>
                <a:cubicBezTo>
                  <a:pt x="4895915" y="3137339"/>
                  <a:pt x="4882581" y="3165951"/>
                  <a:pt x="4855911" y="3173582"/>
                </a:cubicBezTo>
                <a:cubicBezTo>
                  <a:pt x="4855911" y="3173582"/>
                  <a:pt x="4855911" y="3173582"/>
                  <a:pt x="4514911" y="3286132"/>
                </a:cubicBezTo>
                <a:cubicBezTo>
                  <a:pt x="4488241" y="3295669"/>
                  <a:pt x="4459665" y="3280410"/>
                  <a:pt x="4450141" y="3253702"/>
                </a:cubicBezTo>
                <a:cubicBezTo>
                  <a:pt x="4448235" y="3249887"/>
                  <a:pt x="4448235" y="3244162"/>
                  <a:pt x="4448235" y="3238438"/>
                </a:cubicBezTo>
                <a:cubicBezTo>
                  <a:pt x="4448235" y="3217457"/>
                  <a:pt x="4461571" y="3198380"/>
                  <a:pt x="4482525" y="3190752"/>
                </a:cubicBezTo>
                <a:cubicBezTo>
                  <a:pt x="4482525" y="3190752"/>
                  <a:pt x="4482525" y="3190752"/>
                  <a:pt x="4825431" y="3078201"/>
                </a:cubicBezTo>
                <a:cubicBezTo>
                  <a:pt x="4832099" y="3075817"/>
                  <a:pt x="4838767" y="3074983"/>
                  <a:pt x="4845165" y="3075490"/>
                </a:cubicBezTo>
                <a:close/>
                <a:moveTo>
                  <a:pt x="1479607" y="3075472"/>
                </a:moveTo>
                <a:cubicBezTo>
                  <a:pt x="1499239" y="3076991"/>
                  <a:pt x="1516729" y="3090584"/>
                  <a:pt x="1522440" y="3110614"/>
                </a:cubicBezTo>
                <a:cubicBezTo>
                  <a:pt x="1531958" y="3137321"/>
                  <a:pt x="1516729" y="3165935"/>
                  <a:pt x="1491981" y="3173568"/>
                </a:cubicBezTo>
                <a:cubicBezTo>
                  <a:pt x="1491981" y="3173568"/>
                  <a:pt x="1491981" y="3173568"/>
                  <a:pt x="1149318" y="3286117"/>
                </a:cubicBezTo>
                <a:cubicBezTo>
                  <a:pt x="1122666" y="3295656"/>
                  <a:pt x="1094111" y="3280396"/>
                  <a:pt x="1086496" y="3253688"/>
                </a:cubicBezTo>
                <a:cubicBezTo>
                  <a:pt x="1084593" y="3249872"/>
                  <a:pt x="1082689" y="3244148"/>
                  <a:pt x="1082689" y="3238426"/>
                </a:cubicBezTo>
                <a:cubicBezTo>
                  <a:pt x="1082689" y="3217441"/>
                  <a:pt x="1097918" y="3198366"/>
                  <a:pt x="1118859" y="3190736"/>
                </a:cubicBezTo>
                <a:cubicBezTo>
                  <a:pt x="1118859" y="3190736"/>
                  <a:pt x="1118859" y="3190736"/>
                  <a:pt x="1459618" y="3078184"/>
                </a:cubicBezTo>
                <a:cubicBezTo>
                  <a:pt x="1466281" y="3075800"/>
                  <a:pt x="1473063" y="3074965"/>
                  <a:pt x="1479607" y="3075472"/>
                </a:cubicBezTo>
                <a:close/>
                <a:moveTo>
                  <a:pt x="4290303" y="3070230"/>
                </a:moveTo>
                <a:cubicBezTo>
                  <a:pt x="4310739" y="3073173"/>
                  <a:pt x="4328229" y="3088153"/>
                  <a:pt x="4333941" y="3109551"/>
                </a:cubicBezTo>
                <a:cubicBezTo>
                  <a:pt x="4343459" y="3139987"/>
                  <a:pt x="4326325" y="3168517"/>
                  <a:pt x="4295867" y="3176122"/>
                </a:cubicBezTo>
                <a:cubicBezTo>
                  <a:pt x="4295867" y="3176122"/>
                  <a:pt x="4295867" y="3176122"/>
                  <a:pt x="3953199" y="3267426"/>
                </a:cubicBezTo>
                <a:cubicBezTo>
                  <a:pt x="3924643" y="3275036"/>
                  <a:pt x="3894183" y="3257916"/>
                  <a:pt x="3886569" y="3229382"/>
                </a:cubicBezTo>
                <a:cubicBezTo>
                  <a:pt x="3886569" y="3225578"/>
                  <a:pt x="3884665" y="3219872"/>
                  <a:pt x="3884665" y="3216071"/>
                </a:cubicBezTo>
                <a:cubicBezTo>
                  <a:pt x="3884665" y="3191341"/>
                  <a:pt x="3901799" y="3170420"/>
                  <a:pt x="3924643" y="3164714"/>
                </a:cubicBezTo>
                <a:cubicBezTo>
                  <a:pt x="3924643" y="3164714"/>
                  <a:pt x="3924643" y="3164714"/>
                  <a:pt x="4269215" y="3071510"/>
                </a:cubicBezTo>
                <a:cubicBezTo>
                  <a:pt x="4276353" y="3069607"/>
                  <a:pt x="4283493" y="3069251"/>
                  <a:pt x="4290303" y="3070230"/>
                </a:cubicBezTo>
                <a:close/>
                <a:moveTo>
                  <a:pt x="2036284" y="3070212"/>
                </a:moveTo>
                <a:cubicBezTo>
                  <a:pt x="2057269" y="3073154"/>
                  <a:pt x="2075843" y="3088134"/>
                  <a:pt x="2081558" y="3109532"/>
                </a:cubicBezTo>
                <a:cubicBezTo>
                  <a:pt x="2089178" y="3139966"/>
                  <a:pt x="2072033" y="3168499"/>
                  <a:pt x="2043457" y="3176106"/>
                </a:cubicBezTo>
                <a:cubicBezTo>
                  <a:pt x="2043457" y="3176106"/>
                  <a:pt x="2043457" y="3176106"/>
                  <a:pt x="1700553" y="3267409"/>
                </a:cubicBezTo>
                <a:cubicBezTo>
                  <a:pt x="1670073" y="3275018"/>
                  <a:pt x="1641497" y="3257898"/>
                  <a:pt x="1633877" y="3229366"/>
                </a:cubicBezTo>
                <a:cubicBezTo>
                  <a:pt x="1631972" y="3225562"/>
                  <a:pt x="1631972" y="3219855"/>
                  <a:pt x="1631972" y="3216051"/>
                </a:cubicBezTo>
                <a:cubicBezTo>
                  <a:pt x="1631972" y="3191325"/>
                  <a:pt x="1647212" y="3170401"/>
                  <a:pt x="1671978" y="3164695"/>
                </a:cubicBezTo>
                <a:cubicBezTo>
                  <a:pt x="1671978" y="3164695"/>
                  <a:pt x="1671978" y="3164695"/>
                  <a:pt x="2014882" y="3071490"/>
                </a:cubicBezTo>
                <a:cubicBezTo>
                  <a:pt x="2022026" y="3069588"/>
                  <a:pt x="2029289" y="3069230"/>
                  <a:pt x="2036284" y="3070212"/>
                </a:cubicBezTo>
                <a:close/>
                <a:moveTo>
                  <a:pt x="3731235" y="3064526"/>
                </a:moveTo>
                <a:cubicBezTo>
                  <a:pt x="3753039" y="3068642"/>
                  <a:pt x="3771625" y="3086171"/>
                  <a:pt x="3777345" y="3109067"/>
                </a:cubicBezTo>
                <a:cubicBezTo>
                  <a:pt x="3783063" y="3141504"/>
                  <a:pt x="3762095" y="3172032"/>
                  <a:pt x="3731593" y="3177757"/>
                </a:cubicBezTo>
                <a:cubicBezTo>
                  <a:pt x="3731593" y="3177757"/>
                  <a:pt x="3731593" y="3177757"/>
                  <a:pt x="3386548" y="3250258"/>
                </a:cubicBezTo>
                <a:cubicBezTo>
                  <a:pt x="3356047" y="3255985"/>
                  <a:pt x="3325545" y="3234992"/>
                  <a:pt x="3317920" y="3204467"/>
                </a:cubicBezTo>
                <a:cubicBezTo>
                  <a:pt x="3317920" y="3200651"/>
                  <a:pt x="3317920" y="3196834"/>
                  <a:pt x="3317920" y="3193018"/>
                </a:cubicBezTo>
                <a:cubicBezTo>
                  <a:pt x="3317920" y="3166307"/>
                  <a:pt x="3335077" y="3141504"/>
                  <a:pt x="3363672" y="3135781"/>
                </a:cubicBezTo>
                <a:cubicBezTo>
                  <a:pt x="3363672" y="3135781"/>
                  <a:pt x="3363672" y="3135781"/>
                  <a:pt x="3708717" y="3065182"/>
                </a:cubicBezTo>
                <a:cubicBezTo>
                  <a:pt x="3716343" y="3063275"/>
                  <a:pt x="3723967" y="3063157"/>
                  <a:pt x="3731235" y="3064526"/>
                </a:cubicBezTo>
                <a:close/>
                <a:moveTo>
                  <a:pt x="2597745" y="3064505"/>
                </a:moveTo>
                <a:cubicBezTo>
                  <a:pt x="2619548" y="3068620"/>
                  <a:pt x="2638135" y="3086150"/>
                  <a:pt x="2643854" y="3109046"/>
                </a:cubicBezTo>
                <a:cubicBezTo>
                  <a:pt x="2649573" y="3141483"/>
                  <a:pt x="2628603" y="3172011"/>
                  <a:pt x="2598102" y="3177737"/>
                </a:cubicBezTo>
                <a:cubicBezTo>
                  <a:pt x="2598102" y="3177737"/>
                  <a:pt x="2598102" y="3177737"/>
                  <a:pt x="2253057" y="3250241"/>
                </a:cubicBezTo>
                <a:cubicBezTo>
                  <a:pt x="2222556" y="3255966"/>
                  <a:pt x="2192054" y="3234975"/>
                  <a:pt x="2184429" y="3204449"/>
                </a:cubicBezTo>
                <a:cubicBezTo>
                  <a:pt x="2184429" y="3200633"/>
                  <a:pt x="2184429" y="3196817"/>
                  <a:pt x="2184429" y="3193000"/>
                </a:cubicBezTo>
                <a:cubicBezTo>
                  <a:pt x="2184429" y="3166289"/>
                  <a:pt x="2201586" y="3141483"/>
                  <a:pt x="2230181" y="3135760"/>
                </a:cubicBezTo>
                <a:cubicBezTo>
                  <a:pt x="2230181" y="3135760"/>
                  <a:pt x="2230181" y="3135760"/>
                  <a:pt x="2575226" y="3065161"/>
                </a:cubicBezTo>
                <a:cubicBezTo>
                  <a:pt x="2582851" y="3063252"/>
                  <a:pt x="2590477" y="3063132"/>
                  <a:pt x="2597745" y="3064505"/>
                </a:cubicBezTo>
                <a:close/>
                <a:moveTo>
                  <a:pt x="3138997" y="3058185"/>
                </a:moveTo>
                <a:cubicBezTo>
                  <a:pt x="3173218" y="3054375"/>
                  <a:pt x="3203637" y="3077235"/>
                  <a:pt x="3209341" y="3111524"/>
                </a:cubicBezTo>
                <a:cubicBezTo>
                  <a:pt x="3213143" y="3143909"/>
                  <a:pt x="3190329" y="3176294"/>
                  <a:pt x="3156107" y="3180105"/>
                </a:cubicBezTo>
                <a:cubicBezTo>
                  <a:pt x="3156107" y="3180105"/>
                  <a:pt x="3156107" y="3180105"/>
                  <a:pt x="2811993" y="3231532"/>
                </a:cubicBezTo>
                <a:cubicBezTo>
                  <a:pt x="2777772" y="3235344"/>
                  <a:pt x="2747353" y="3212490"/>
                  <a:pt x="2741649" y="3180105"/>
                </a:cubicBezTo>
                <a:cubicBezTo>
                  <a:pt x="2741649" y="3176294"/>
                  <a:pt x="2741649" y="3172482"/>
                  <a:pt x="2741649" y="3170578"/>
                </a:cubicBezTo>
                <a:cubicBezTo>
                  <a:pt x="2741649" y="3140101"/>
                  <a:pt x="2762562" y="3113431"/>
                  <a:pt x="2792981" y="3109621"/>
                </a:cubicBezTo>
                <a:cubicBezTo>
                  <a:pt x="2792981" y="3109621"/>
                  <a:pt x="2792981" y="3109621"/>
                  <a:pt x="3138997" y="3058185"/>
                </a:cubicBezTo>
                <a:close/>
                <a:moveTo>
                  <a:pt x="6499417" y="2774395"/>
                </a:moveTo>
                <a:cubicBezTo>
                  <a:pt x="6508695" y="2777477"/>
                  <a:pt x="6516785" y="2784121"/>
                  <a:pt x="6521545" y="2793610"/>
                </a:cubicBezTo>
                <a:cubicBezTo>
                  <a:pt x="6531063" y="2812591"/>
                  <a:pt x="6525353" y="2835368"/>
                  <a:pt x="6506317" y="2844860"/>
                </a:cubicBezTo>
                <a:cubicBezTo>
                  <a:pt x="6506317" y="2844860"/>
                  <a:pt x="6506317" y="2844860"/>
                  <a:pt x="6167477" y="3019485"/>
                </a:cubicBezTo>
                <a:cubicBezTo>
                  <a:pt x="6148441" y="3028977"/>
                  <a:pt x="6125599" y="3021384"/>
                  <a:pt x="6116081" y="3002403"/>
                </a:cubicBezTo>
                <a:cubicBezTo>
                  <a:pt x="6112273" y="2996707"/>
                  <a:pt x="6110371" y="2991015"/>
                  <a:pt x="6110371" y="2985319"/>
                </a:cubicBezTo>
                <a:cubicBezTo>
                  <a:pt x="6110371" y="2972034"/>
                  <a:pt x="6117985" y="2958746"/>
                  <a:pt x="6131309" y="2951155"/>
                </a:cubicBezTo>
                <a:cubicBezTo>
                  <a:pt x="6131309" y="2951155"/>
                  <a:pt x="6131309" y="2951155"/>
                  <a:pt x="6470149" y="2776528"/>
                </a:cubicBezTo>
                <a:cubicBezTo>
                  <a:pt x="6479667" y="2771783"/>
                  <a:pt x="6490137" y="2771307"/>
                  <a:pt x="6499417" y="2774395"/>
                </a:cubicBezTo>
                <a:close/>
                <a:moveTo>
                  <a:pt x="5959697" y="2769251"/>
                </a:moveTo>
                <a:cubicBezTo>
                  <a:pt x="5969967" y="2773057"/>
                  <a:pt x="5978565" y="2780664"/>
                  <a:pt x="5983341" y="2791128"/>
                </a:cubicBezTo>
                <a:cubicBezTo>
                  <a:pt x="5992895" y="2812056"/>
                  <a:pt x="5983341" y="2838693"/>
                  <a:pt x="5962323" y="2848205"/>
                </a:cubicBezTo>
                <a:cubicBezTo>
                  <a:pt x="5962323" y="2848205"/>
                  <a:pt x="5962323" y="2848205"/>
                  <a:pt x="5620319" y="3000413"/>
                </a:cubicBezTo>
                <a:cubicBezTo>
                  <a:pt x="5599301" y="3009926"/>
                  <a:pt x="5574463" y="3000413"/>
                  <a:pt x="5564909" y="2979484"/>
                </a:cubicBezTo>
                <a:cubicBezTo>
                  <a:pt x="5561087" y="2973778"/>
                  <a:pt x="5561087" y="2968070"/>
                  <a:pt x="5561087" y="2960461"/>
                </a:cubicBezTo>
                <a:cubicBezTo>
                  <a:pt x="5561087" y="2945239"/>
                  <a:pt x="5570641" y="2930017"/>
                  <a:pt x="5585927" y="2922407"/>
                </a:cubicBezTo>
                <a:cubicBezTo>
                  <a:pt x="5585927" y="2922407"/>
                  <a:pt x="5585927" y="2922407"/>
                  <a:pt x="5926021" y="2770203"/>
                </a:cubicBezTo>
                <a:cubicBezTo>
                  <a:pt x="5937485" y="2765445"/>
                  <a:pt x="5949427" y="2765445"/>
                  <a:pt x="5959697" y="2769251"/>
                </a:cubicBezTo>
                <a:close/>
                <a:moveTo>
                  <a:pt x="399604" y="2769236"/>
                </a:moveTo>
                <a:cubicBezTo>
                  <a:pt x="410074" y="2773041"/>
                  <a:pt x="419116" y="2780652"/>
                  <a:pt x="423875" y="2791116"/>
                </a:cubicBezTo>
                <a:cubicBezTo>
                  <a:pt x="433393" y="2812044"/>
                  <a:pt x="423875" y="2838680"/>
                  <a:pt x="401031" y="2848194"/>
                </a:cubicBezTo>
                <a:cubicBezTo>
                  <a:pt x="401031" y="2848194"/>
                  <a:pt x="401031" y="2848194"/>
                  <a:pt x="62187" y="3000399"/>
                </a:cubicBezTo>
                <a:cubicBezTo>
                  <a:pt x="41247" y="3009914"/>
                  <a:pt x="16500" y="3000399"/>
                  <a:pt x="6982" y="2979471"/>
                </a:cubicBezTo>
                <a:cubicBezTo>
                  <a:pt x="3175" y="2973763"/>
                  <a:pt x="3175" y="2968056"/>
                  <a:pt x="3175" y="2960446"/>
                </a:cubicBezTo>
                <a:cubicBezTo>
                  <a:pt x="3175" y="2945225"/>
                  <a:pt x="10789" y="2930005"/>
                  <a:pt x="27922" y="2922394"/>
                </a:cubicBezTo>
                <a:cubicBezTo>
                  <a:pt x="27922" y="2922394"/>
                  <a:pt x="27922" y="2922394"/>
                  <a:pt x="366766" y="2770189"/>
                </a:cubicBezTo>
                <a:cubicBezTo>
                  <a:pt x="377236" y="2765431"/>
                  <a:pt x="389134" y="2765431"/>
                  <a:pt x="399604" y="2769236"/>
                </a:cubicBezTo>
                <a:close/>
                <a:moveTo>
                  <a:pt x="5396043" y="2760541"/>
                </a:moveTo>
                <a:cubicBezTo>
                  <a:pt x="5414069" y="2760897"/>
                  <a:pt x="5431559" y="2771982"/>
                  <a:pt x="5437269" y="2790581"/>
                </a:cubicBezTo>
                <a:cubicBezTo>
                  <a:pt x="5446787" y="2815378"/>
                  <a:pt x="5435365" y="2842085"/>
                  <a:pt x="5410617" y="2851623"/>
                </a:cubicBezTo>
                <a:cubicBezTo>
                  <a:pt x="5410617" y="2851623"/>
                  <a:pt x="5410617" y="2851623"/>
                  <a:pt x="5069863" y="2981339"/>
                </a:cubicBezTo>
                <a:cubicBezTo>
                  <a:pt x="5045117" y="2990875"/>
                  <a:pt x="5018465" y="2977522"/>
                  <a:pt x="5008947" y="2954633"/>
                </a:cubicBezTo>
                <a:cubicBezTo>
                  <a:pt x="5007043" y="2948910"/>
                  <a:pt x="5007043" y="2943188"/>
                  <a:pt x="5007043" y="2937464"/>
                </a:cubicBezTo>
                <a:cubicBezTo>
                  <a:pt x="5007043" y="2918390"/>
                  <a:pt x="5018465" y="2899314"/>
                  <a:pt x="5037501" y="2893591"/>
                </a:cubicBezTo>
                <a:cubicBezTo>
                  <a:pt x="5037501" y="2893591"/>
                  <a:pt x="5037501" y="2893591"/>
                  <a:pt x="5378255" y="2763877"/>
                </a:cubicBezTo>
                <a:cubicBezTo>
                  <a:pt x="5383967" y="2761495"/>
                  <a:pt x="5390035" y="2760420"/>
                  <a:pt x="5396043" y="2760541"/>
                </a:cubicBezTo>
                <a:close/>
                <a:moveTo>
                  <a:pt x="930712" y="2760523"/>
                </a:moveTo>
                <a:cubicBezTo>
                  <a:pt x="949147" y="2760880"/>
                  <a:pt x="965971" y="2771968"/>
                  <a:pt x="973130" y="2790565"/>
                </a:cubicBezTo>
                <a:cubicBezTo>
                  <a:pt x="982676" y="2815364"/>
                  <a:pt x="969312" y="2842071"/>
                  <a:pt x="946402" y="2851609"/>
                </a:cubicBezTo>
                <a:cubicBezTo>
                  <a:pt x="946402" y="2851609"/>
                  <a:pt x="946402" y="2851609"/>
                  <a:pt x="604668" y="2981323"/>
                </a:cubicBezTo>
                <a:cubicBezTo>
                  <a:pt x="579849" y="2990862"/>
                  <a:pt x="551212" y="2977508"/>
                  <a:pt x="543575" y="2954616"/>
                </a:cubicBezTo>
                <a:cubicBezTo>
                  <a:pt x="541666" y="2948894"/>
                  <a:pt x="539757" y="2943172"/>
                  <a:pt x="539757" y="2937448"/>
                </a:cubicBezTo>
                <a:cubicBezTo>
                  <a:pt x="539757" y="2918374"/>
                  <a:pt x="551212" y="2899297"/>
                  <a:pt x="570303" y="2893575"/>
                </a:cubicBezTo>
                <a:cubicBezTo>
                  <a:pt x="570303" y="2893575"/>
                  <a:pt x="570303" y="2893575"/>
                  <a:pt x="912038" y="2763862"/>
                </a:cubicBezTo>
                <a:cubicBezTo>
                  <a:pt x="918243" y="2761479"/>
                  <a:pt x="924567" y="2760403"/>
                  <a:pt x="930712" y="2760523"/>
                </a:cubicBezTo>
                <a:close/>
                <a:moveTo>
                  <a:pt x="4845219" y="2755581"/>
                </a:moveTo>
                <a:cubicBezTo>
                  <a:pt x="4864927" y="2757900"/>
                  <a:pt x="4882761" y="2771451"/>
                  <a:pt x="4889895" y="2791423"/>
                </a:cubicBezTo>
                <a:cubicBezTo>
                  <a:pt x="4897503" y="2818056"/>
                  <a:pt x="4882285" y="2846591"/>
                  <a:pt x="4855653" y="2856101"/>
                </a:cubicBezTo>
                <a:cubicBezTo>
                  <a:pt x="4855653" y="2856101"/>
                  <a:pt x="4855653" y="2856101"/>
                  <a:pt x="4513231" y="2962630"/>
                </a:cubicBezTo>
                <a:cubicBezTo>
                  <a:pt x="4486597" y="2970238"/>
                  <a:pt x="4458063" y="2955019"/>
                  <a:pt x="4448551" y="2928389"/>
                </a:cubicBezTo>
                <a:cubicBezTo>
                  <a:pt x="4448551" y="2924585"/>
                  <a:pt x="4446647" y="2918879"/>
                  <a:pt x="4446647" y="2913171"/>
                </a:cubicBezTo>
                <a:cubicBezTo>
                  <a:pt x="4446647" y="2892246"/>
                  <a:pt x="4461867" y="2871320"/>
                  <a:pt x="4482793" y="2863710"/>
                </a:cubicBezTo>
                <a:cubicBezTo>
                  <a:pt x="4482793" y="2863710"/>
                  <a:pt x="4482793" y="2863710"/>
                  <a:pt x="4825215" y="2757187"/>
                </a:cubicBezTo>
                <a:cubicBezTo>
                  <a:pt x="4831873" y="2755282"/>
                  <a:pt x="4838651" y="2754807"/>
                  <a:pt x="4845219" y="2755581"/>
                </a:cubicBezTo>
                <a:close/>
                <a:moveTo>
                  <a:pt x="1482634" y="2755562"/>
                </a:moveTo>
                <a:cubicBezTo>
                  <a:pt x="1502322" y="2757882"/>
                  <a:pt x="1519861" y="2771434"/>
                  <a:pt x="1525588" y="2791407"/>
                </a:cubicBezTo>
                <a:cubicBezTo>
                  <a:pt x="1535133" y="2818039"/>
                  <a:pt x="1519861" y="2846572"/>
                  <a:pt x="1493134" y="2856085"/>
                </a:cubicBezTo>
                <a:cubicBezTo>
                  <a:pt x="1493134" y="2856085"/>
                  <a:pt x="1493134" y="2856085"/>
                  <a:pt x="1149506" y="2962612"/>
                </a:cubicBezTo>
                <a:cubicBezTo>
                  <a:pt x="1122779" y="2970220"/>
                  <a:pt x="1092234" y="2955002"/>
                  <a:pt x="1084598" y="2928370"/>
                </a:cubicBezTo>
                <a:cubicBezTo>
                  <a:pt x="1082689" y="2924566"/>
                  <a:pt x="1082689" y="2918859"/>
                  <a:pt x="1082689" y="2913153"/>
                </a:cubicBezTo>
                <a:cubicBezTo>
                  <a:pt x="1082689" y="2892227"/>
                  <a:pt x="1096052" y="2871303"/>
                  <a:pt x="1118961" y="2863693"/>
                </a:cubicBezTo>
                <a:cubicBezTo>
                  <a:pt x="1118961" y="2863693"/>
                  <a:pt x="1118961" y="2863693"/>
                  <a:pt x="1462589" y="2757168"/>
                </a:cubicBezTo>
                <a:cubicBezTo>
                  <a:pt x="1469271" y="2755265"/>
                  <a:pt x="1476072" y="2754790"/>
                  <a:pt x="1482634" y="2755562"/>
                </a:cubicBezTo>
                <a:close/>
                <a:moveTo>
                  <a:pt x="4291673" y="2750396"/>
                </a:moveTo>
                <a:cubicBezTo>
                  <a:pt x="4313357" y="2754247"/>
                  <a:pt x="4331561" y="2769654"/>
                  <a:pt x="4335845" y="2792582"/>
                </a:cubicBezTo>
                <a:cubicBezTo>
                  <a:pt x="4343459" y="2821247"/>
                  <a:pt x="4326325" y="2851820"/>
                  <a:pt x="4295867" y="2859465"/>
                </a:cubicBezTo>
                <a:cubicBezTo>
                  <a:pt x="4295867" y="2859465"/>
                  <a:pt x="4295867" y="2859465"/>
                  <a:pt x="3953199" y="2943545"/>
                </a:cubicBezTo>
                <a:cubicBezTo>
                  <a:pt x="3922739" y="2951190"/>
                  <a:pt x="3892279" y="2932080"/>
                  <a:pt x="3884665" y="2901507"/>
                </a:cubicBezTo>
                <a:cubicBezTo>
                  <a:pt x="3884665" y="2897685"/>
                  <a:pt x="3884665" y="2893863"/>
                  <a:pt x="3884665" y="2888131"/>
                </a:cubicBezTo>
                <a:cubicBezTo>
                  <a:pt x="3884665" y="2863287"/>
                  <a:pt x="3899895" y="2840356"/>
                  <a:pt x="3926547" y="2834624"/>
                </a:cubicBezTo>
                <a:cubicBezTo>
                  <a:pt x="3926547" y="2834624"/>
                  <a:pt x="3926547" y="2834624"/>
                  <a:pt x="4269215" y="2750546"/>
                </a:cubicBezTo>
                <a:cubicBezTo>
                  <a:pt x="4276829" y="2749112"/>
                  <a:pt x="4284445" y="2749112"/>
                  <a:pt x="4291673" y="2750396"/>
                </a:cubicBezTo>
                <a:close/>
                <a:moveTo>
                  <a:pt x="2037944" y="2750376"/>
                </a:moveTo>
                <a:cubicBezTo>
                  <a:pt x="2058900" y="2754227"/>
                  <a:pt x="2077448" y="2769633"/>
                  <a:pt x="2083155" y="2792565"/>
                </a:cubicBezTo>
                <a:cubicBezTo>
                  <a:pt x="2090765" y="2821228"/>
                  <a:pt x="2071741" y="2851802"/>
                  <a:pt x="2043205" y="2859446"/>
                </a:cubicBezTo>
                <a:cubicBezTo>
                  <a:pt x="2043205" y="2859446"/>
                  <a:pt x="2043205" y="2859446"/>
                  <a:pt x="1698870" y="2943524"/>
                </a:cubicBezTo>
                <a:cubicBezTo>
                  <a:pt x="1668432" y="2951168"/>
                  <a:pt x="1639896" y="2932060"/>
                  <a:pt x="1632286" y="2901486"/>
                </a:cubicBezTo>
                <a:cubicBezTo>
                  <a:pt x="1630384" y="2897664"/>
                  <a:pt x="1630384" y="2893842"/>
                  <a:pt x="1630384" y="2888109"/>
                </a:cubicBezTo>
                <a:cubicBezTo>
                  <a:pt x="1630384" y="2863268"/>
                  <a:pt x="1647506" y="2840337"/>
                  <a:pt x="1672237" y="2834604"/>
                </a:cubicBezTo>
                <a:cubicBezTo>
                  <a:pt x="1672237" y="2834604"/>
                  <a:pt x="1672237" y="2834604"/>
                  <a:pt x="2016571" y="2750526"/>
                </a:cubicBezTo>
                <a:cubicBezTo>
                  <a:pt x="2023705" y="2749093"/>
                  <a:pt x="2030958" y="2749093"/>
                  <a:pt x="2037944" y="2750376"/>
                </a:cubicBezTo>
                <a:close/>
                <a:moveTo>
                  <a:pt x="3710455" y="2745765"/>
                </a:moveTo>
                <a:cubicBezTo>
                  <a:pt x="3742797" y="2740051"/>
                  <a:pt x="3773237" y="2762911"/>
                  <a:pt x="3778943" y="2795292"/>
                </a:cubicBezTo>
                <a:cubicBezTo>
                  <a:pt x="3784651" y="2827678"/>
                  <a:pt x="3763723" y="2858160"/>
                  <a:pt x="3731383" y="2863875"/>
                </a:cubicBezTo>
                <a:cubicBezTo>
                  <a:pt x="3731383" y="2863875"/>
                  <a:pt x="3731383" y="2863875"/>
                  <a:pt x="3385136" y="2924837"/>
                </a:cubicBezTo>
                <a:cubicBezTo>
                  <a:pt x="3352794" y="2930551"/>
                  <a:pt x="3322355" y="2907691"/>
                  <a:pt x="3316647" y="2875305"/>
                </a:cubicBezTo>
                <a:cubicBezTo>
                  <a:pt x="3316647" y="2871495"/>
                  <a:pt x="3314745" y="2869590"/>
                  <a:pt x="3314745" y="2865779"/>
                </a:cubicBezTo>
                <a:cubicBezTo>
                  <a:pt x="3314745" y="2837202"/>
                  <a:pt x="3335672" y="2812439"/>
                  <a:pt x="3364209" y="2806724"/>
                </a:cubicBezTo>
                <a:cubicBezTo>
                  <a:pt x="3364209" y="2806724"/>
                  <a:pt x="3364209" y="2806724"/>
                  <a:pt x="3710455" y="2745765"/>
                </a:cubicBezTo>
                <a:close/>
                <a:moveTo>
                  <a:pt x="2576964" y="2745743"/>
                </a:moveTo>
                <a:cubicBezTo>
                  <a:pt x="2609306" y="2740028"/>
                  <a:pt x="2639745" y="2762887"/>
                  <a:pt x="2645453" y="2795273"/>
                </a:cubicBezTo>
                <a:cubicBezTo>
                  <a:pt x="2651160" y="2827657"/>
                  <a:pt x="2630233" y="2858138"/>
                  <a:pt x="2595989" y="2863852"/>
                </a:cubicBezTo>
                <a:cubicBezTo>
                  <a:pt x="2595989" y="2863852"/>
                  <a:pt x="2595989" y="2863852"/>
                  <a:pt x="2251645" y="2924813"/>
                </a:cubicBezTo>
                <a:cubicBezTo>
                  <a:pt x="2219303" y="2930528"/>
                  <a:pt x="2188864" y="2907668"/>
                  <a:pt x="2183156" y="2875282"/>
                </a:cubicBezTo>
                <a:cubicBezTo>
                  <a:pt x="2183156" y="2871473"/>
                  <a:pt x="2181254" y="2869568"/>
                  <a:pt x="2181254" y="2865758"/>
                </a:cubicBezTo>
                <a:cubicBezTo>
                  <a:pt x="2181254" y="2837183"/>
                  <a:pt x="2202181" y="2812418"/>
                  <a:pt x="2230718" y="2806703"/>
                </a:cubicBezTo>
                <a:cubicBezTo>
                  <a:pt x="2230718" y="2806703"/>
                  <a:pt x="2230718" y="2806703"/>
                  <a:pt x="2576964" y="2745743"/>
                </a:cubicBezTo>
                <a:close/>
                <a:moveTo>
                  <a:pt x="3140484" y="2739127"/>
                </a:moveTo>
                <a:cubicBezTo>
                  <a:pt x="3176656" y="2735289"/>
                  <a:pt x="3207116" y="2760236"/>
                  <a:pt x="3210923" y="2796693"/>
                </a:cubicBezTo>
                <a:cubicBezTo>
                  <a:pt x="3214731" y="2831234"/>
                  <a:pt x="3189982" y="2863857"/>
                  <a:pt x="3153811" y="2867695"/>
                </a:cubicBezTo>
                <a:cubicBezTo>
                  <a:pt x="3153811" y="2867695"/>
                  <a:pt x="3153811" y="2867695"/>
                  <a:pt x="2807326" y="2906076"/>
                </a:cubicBezTo>
                <a:cubicBezTo>
                  <a:pt x="2773058" y="2909915"/>
                  <a:pt x="2740695" y="2883048"/>
                  <a:pt x="2736887" y="2848505"/>
                </a:cubicBezTo>
                <a:cubicBezTo>
                  <a:pt x="2736887" y="2846586"/>
                  <a:pt x="2736887" y="2842748"/>
                  <a:pt x="2736887" y="2840828"/>
                </a:cubicBezTo>
                <a:cubicBezTo>
                  <a:pt x="2736887" y="2808208"/>
                  <a:pt x="2761636" y="2781342"/>
                  <a:pt x="2794000" y="2777505"/>
                </a:cubicBezTo>
                <a:cubicBezTo>
                  <a:pt x="2794000" y="2777505"/>
                  <a:pt x="2794000" y="2777505"/>
                  <a:pt x="3140484" y="2739127"/>
                </a:cubicBezTo>
                <a:close/>
                <a:moveTo>
                  <a:pt x="6499393" y="2450537"/>
                </a:moveTo>
                <a:cubicBezTo>
                  <a:pt x="6508679" y="2453617"/>
                  <a:pt x="6516775" y="2460254"/>
                  <a:pt x="6521539" y="2469736"/>
                </a:cubicBezTo>
                <a:cubicBezTo>
                  <a:pt x="6531063" y="2488696"/>
                  <a:pt x="6523443" y="2511450"/>
                  <a:pt x="6506299" y="2520927"/>
                </a:cubicBezTo>
                <a:cubicBezTo>
                  <a:pt x="6506299" y="2520927"/>
                  <a:pt x="6506299" y="2520927"/>
                  <a:pt x="6167203" y="2697229"/>
                </a:cubicBezTo>
                <a:cubicBezTo>
                  <a:pt x="6148153" y="2706708"/>
                  <a:pt x="6125293" y="2699125"/>
                  <a:pt x="6115769" y="2680166"/>
                </a:cubicBezTo>
                <a:cubicBezTo>
                  <a:pt x="6111959" y="2674476"/>
                  <a:pt x="6111959" y="2668789"/>
                  <a:pt x="6111959" y="2663100"/>
                </a:cubicBezTo>
                <a:cubicBezTo>
                  <a:pt x="6111959" y="2649833"/>
                  <a:pt x="6119579" y="2636563"/>
                  <a:pt x="6131009" y="2628979"/>
                </a:cubicBezTo>
                <a:cubicBezTo>
                  <a:pt x="6131009" y="2628979"/>
                  <a:pt x="6131009" y="2628979"/>
                  <a:pt x="6470103" y="2452670"/>
                </a:cubicBezTo>
                <a:cubicBezTo>
                  <a:pt x="6479629" y="2447930"/>
                  <a:pt x="6490105" y="2447455"/>
                  <a:pt x="6499393" y="2450537"/>
                </a:cubicBezTo>
                <a:close/>
                <a:moveTo>
                  <a:pt x="5959697" y="2446989"/>
                </a:moveTo>
                <a:cubicBezTo>
                  <a:pt x="5969967" y="2450795"/>
                  <a:pt x="5978565" y="2458406"/>
                  <a:pt x="5983341" y="2468876"/>
                </a:cubicBezTo>
                <a:cubicBezTo>
                  <a:pt x="5992895" y="2491708"/>
                  <a:pt x="5983341" y="2516441"/>
                  <a:pt x="5962323" y="2525955"/>
                </a:cubicBezTo>
                <a:cubicBezTo>
                  <a:pt x="5962323" y="2525955"/>
                  <a:pt x="5962323" y="2525955"/>
                  <a:pt x="5620319" y="2676242"/>
                </a:cubicBezTo>
                <a:cubicBezTo>
                  <a:pt x="5599301" y="2687659"/>
                  <a:pt x="5574463" y="2676242"/>
                  <a:pt x="5564909" y="2655316"/>
                </a:cubicBezTo>
                <a:cubicBezTo>
                  <a:pt x="5561087" y="2649609"/>
                  <a:pt x="5561087" y="2643900"/>
                  <a:pt x="5561087" y="2638194"/>
                </a:cubicBezTo>
                <a:cubicBezTo>
                  <a:pt x="5561087" y="2621072"/>
                  <a:pt x="5570641" y="2605853"/>
                  <a:pt x="5585927" y="2598244"/>
                </a:cubicBezTo>
                <a:cubicBezTo>
                  <a:pt x="5585927" y="2598244"/>
                  <a:pt x="5585927" y="2598244"/>
                  <a:pt x="5926021" y="2447940"/>
                </a:cubicBezTo>
                <a:cubicBezTo>
                  <a:pt x="5937485" y="2443184"/>
                  <a:pt x="5949427" y="2443184"/>
                  <a:pt x="5959697" y="2446989"/>
                </a:cubicBezTo>
                <a:close/>
                <a:moveTo>
                  <a:pt x="399505" y="2446974"/>
                </a:moveTo>
                <a:cubicBezTo>
                  <a:pt x="410005" y="2450780"/>
                  <a:pt x="419074" y="2458390"/>
                  <a:pt x="423847" y="2468859"/>
                </a:cubicBezTo>
                <a:cubicBezTo>
                  <a:pt x="433393" y="2491688"/>
                  <a:pt x="423847" y="2516422"/>
                  <a:pt x="400936" y="2525937"/>
                </a:cubicBezTo>
                <a:cubicBezTo>
                  <a:pt x="400936" y="2525937"/>
                  <a:pt x="400936" y="2525937"/>
                  <a:pt x="61095" y="2676233"/>
                </a:cubicBezTo>
                <a:cubicBezTo>
                  <a:pt x="40094" y="2687647"/>
                  <a:pt x="13365" y="2676233"/>
                  <a:pt x="3818" y="2655306"/>
                </a:cubicBezTo>
                <a:cubicBezTo>
                  <a:pt x="1909" y="2649597"/>
                  <a:pt x="0" y="2643887"/>
                  <a:pt x="0" y="2638182"/>
                </a:cubicBezTo>
                <a:cubicBezTo>
                  <a:pt x="0" y="2621058"/>
                  <a:pt x="9546" y="2605839"/>
                  <a:pt x="26729" y="2598228"/>
                </a:cubicBezTo>
                <a:cubicBezTo>
                  <a:pt x="26729" y="2598228"/>
                  <a:pt x="26729" y="2598228"/>
                  <a:pt x="366570" y="2447925"/>
                </a:cubicBezTo>
                <a:cubicBezTo>
                  <a:pt x="377071" y="2443169"/>
                  <a:pt x="389004" y="2443169"/>
                  <a:pt x="399505" y="2446974"/>
                </a:cubicBezTo>
                <a:close/>
                <a:moveTo>
                  <a:pt x="5396633" y="2440126"/>
                </a:moveTo>
                <a:cubicBezTo>
                  <a:pt x="5414989" y="2441016"/>
                  <a:pt x="5431741" y="2453112"/>
                  <a:pt x="5438869" y="2471616"/>
                </a:cubicBezTo>
                <a:cubicBezTo>
                  <a:pt x="5448375" y="2496282"/>
                  <a:pt x="5435067" y="2522842"/>
                  <a:pt x="5410355" y="2532335"/>
                </a:cubicBezTo>
                <a:cubicBezTo>
                  <a:pt x="5410355" y="2532335"/>
                  <a:pt x="5410355" y="2532335"/>
                  <a:pt x="5070087" y="2657533"/>
                </a:cubicBezTo>
                <a:cubicBezTo>
                  <a:pt x="5045375" y="2667018"/>
                  <a:pt x="5018761" y="2653739"/>
                  <a:pt x="5009257" y="2629079"/>
                </a:cubicBezTo>
                <a:cubicBezTo>
                  <a:pt x="5007355" y="2623388"/>
                  <a:pt x="5005455" y="2617696"/>
                  <a:pt x="5005455" y="2613902"/>
                </a:cubicBezTo>
                <a:cubicBezTo>
                  <a:pt x="5005455" y="2593035"/>
                  <a:pt x="5018761" y="2575966"/>
                  <a:pt x="5037771" y="2568377"/>
                </a:cubicBezTo>
                <a:cubicBezTo>
                  <a:pt x="5037771" y="2568377"/>
                  <a:pt x="5037771" y="2568377"/>
                  <a:pt x="5378039" y="2443151"/>
                </a:cubicBezTo>
                <a:cubicBezTo>
                  <a:pt x="5384217" y="2440778"/>
                  <a:pt x="5390513" y="2439830"/>
                  <a:pt x="5396633" y="2440126"/>
                </a:cubicBezTo>
                <a:close/>
                <a:moveTo>
                  <a:pt x="930712" y="2440109"/>
                </a:moveTo>
                <a:cubicBezTo>
                  <a:pt x="949147" y="2441000"/>
                  <a:pt x="965971" y="2453095"/>
                  <a:pt x="973130" y="2471595"/>
                </a:cubicBezTo>
                <a:cubicBezTo>
                  <a:pt x="982676" y="2496260"/>
                  <a:pt x="969312" y="2522822"/>
                  <a:pt x="944493" y="2532310"/>
                </a:cubicBezTo>
                <a:cubicBezTo>
                  <a:pt x="944493" y="2532310"/>
                  <a:pt x="944493" y="2532310"/>
                  <a:pt x="602758" y="2657520"/>
                </a:cubicBezTo>
                <a:cubicBezTo>
                  <a:pt x="577940" y="2667007"/>
                  <a:pt x="551212" y="2653725"/>
                  <a:pt x="541666" y="2629065"/>
                </a:cubicBezTo>
                <a:cubicBezTo>
                  <a:pt x="539757" y="2623373"/>
                  <a:pt x="539757" y="2617681"/>
                  <a:pt x="539757" y="2613887"/>
                </a:cubicBezTo>
                <a:cubicBezTo>
                  <a:pt x="539757" y="2593017"/>
                  <a:pt x="551212" y="2575945"/>
                  <a:pt x="570303" y="2568357"/>
                </a:cubicBezTo>
                <a:cubicBezTo>
                  <a:pt x="570303" y="2568357"/>
                  <a:pt x="570303" y="2568357"/>
                  <a:pt x="912038" y="2443134"/>
                </a:cubicBezTo>
                <a:cubicBezTo>
                  <a:pt x="918243" y="2440761"/>
                  <a:pt x="924567" y="2439813"/>
                  <a:pt x="930712" y="2440109"/>
                </a:cubicBezTo>
                <a:close/>
                <a:moveTo>
                  <a:pt x="4847413" y="2434954"/>
                </a:moveTo>
                <a:cubicBezTo>
                  <a:pt x="4867891" y="2437368"/>
                  <a:pt x="4885417" y="2451318"/>
                  <a:pt x="4891141" y="2472786"/>
                </a:cubicBezTo>
                <a:cubicBezTo>
                  <a:pt x="4900679" y="2499500"/>
                  <a:pt x="4883509" y="2528118"/>
                  <a:pt x="4856803" y="2537659"/>
                </a:cubicBezTo>
                <a:cubicBezTo>
                  <a:pt x="4856803" y="2537659"/>
                  <a:pt x="4856803" y="2537659"/>
                  <a:pt x="4513417" y="2638754"/>
                </a:cubicBezTo>
                <a:cubicBezTo>
                  <a:pt x="4484801" y="2646384"/>
                  <a:pt x="4456187" y="2631124"/>
                  <a:pt x="4448555" y="2602511"/>
                </a:cubicBezTo>
                <a:cubicBezTo>
                  <a:pt x="4446647" y="2596787"/>
                  <a:pt x="4446647" y="2592973"/>
                  <a:pt x="4446647" y="2587251"/>
                </a:cubicBezTo>
                <a:cubicBezTo>
                  <a:pt x="4446647" y="2564365"/>
                  <a:pt x="4460001" y="2545289"/>
                  <a:pt x="4482895" y="2537659"/>
                </a:cubicBezTo>
                <a:cubicBezTo>
                  <a:pt x="4482895" y="2537659"/>
                  <a:pt x="4482895" y="2537659"/>
                  <a:pt x="4826279" y="2436532"/>
                </a:cubicBezTo>
                <a:cubicBezTo>
                  <a:pt x="4833433" y="2434625"/>
                  <a:pt x="4840587" y="2434147"/>
                  <a:pt x="4847413" y="2434954"/>
                </a:cubicBezTo>
                <a:close/>
                <a:moveTo>
                  <a:pt x="1482970" y="2434934"/>
                </a:moveTo>
                <a:cubicBezTo>
                  <a:pt x="1503179" y="2437349"/>
                  <a:pt x="1521779" y="2451300"/>
                  <a:pt x="1527502" y="2472764"/>
                </a:cubicBezTo>
                <a:cubicBezTo>
                  <a:pt x="1535133" y="2499474"/>
                  <a:pt x="1519871" y="2528092"/>
                  <a:pt x="1491256" y="2537631"/>
                </a:cubicBezTo>
                <a:cubicBezTo>
                  <a:pt x="1491256" y="2537631"/>
                  <a:pt x="1491256" y="2537631"/>
                  <a:pt x="1147871" y="2638738"/>
                </a:cubicBezTo>
                <a:cubicBezTo>
                  <a:pt x="1121164" y="2646368"/>
                  <a:pt x="1092548" y="2631108"/>
                  <a:pt x="1083010" y="2602491"/>
                </a:cubicBezTo>
                <a:cubicBezTo>
                  <a:pt x="1081102" y="2596768"/>
                  <a:pt x="1081102" y="2592952"/>
                  <a:pt x="1081102" y="2587229"/>
                </a:cubicBezTo>
                <a:cubicBezTo>
                  <a:pt x="1081102" y="2564338"/>
                  <a:pt x="1096364" y="2545262"/>
                  <a:pt x="1119256" y="2537631"/>
                </a:cubicBezTo>
                <a:cubicBezTo>
                  <a:pt x="1119256" y="2537631"/>
                  <a:pt x="1119256" y="2537631"/>
                  <a:pt x="1462641" y="2436514"/>
                </a:cubicBezTo>
                <a:cubicBezTo>
                  <a:pt x="1469318" y="2434606"/>
                  <a:pt x="1476233" y="2434129"/>
                  <a:pt x="1482970" y="2434934"/>
                </a:cubicBezTo>
                <a:close/>
                <a:moveTo>
                  <a:pt x="4270903" y="2431440"/>
                </a:moveTo>
                <a:cubicBezTo>
                  <a:pt x="4301321" y="2425725"/>
                  <a:pt x="4331739" y="2444776"/>
                  <a:pt x="4339343" y="2475259"/>
                </a:cubicBezTo>
                <a:cubicBezTo>
                  <a:pt x="4345047" y="2505747"/>
                  <a:pt x="4326035" y="2536230"/>
                  <a:pt x="4295617" y="2543850"/>
                </a:cubicBezTo>
                <a:cubicBezTo>
                  <a:pt x="4295617" y="2543850"/>
                  <a:pt x="4295617" y="2543850"/>
                  <a:pt x="3951517" y="2618129"/>
                </a:cubicBezTo>
                <a:cubicBezTo>
                  <a:pt x="3921099" y="2625749"/>
                  <a:pt x="3890681" y="2606702"/>
                  <a:pt x="3883077" y="2574325"/>
                </a:cubicBezTo>
                <a:cubicBezTo>
                  <a:pt x="3883077" y="2570513"/>
                  <a:pt x="3883077" y="2566705"/>
                  <a:pt x="3883077" y="2562897"/>
                </a:cubicBezTo>
                <a:cubicBezTo>
                  <a:pt x="3883077" y="2536230"/>
                  <a:pt x="3900187" y="2513366"/>
                  <a:pt x="3926803" y="2507652"/>
                </a:cubicBezTo>
                <a:cubicBezTo>
                  <a:pt x="3926803" y="2507652"/>
                  <a:pt x="3926803" y="2507652"/>
                  <a:pt x="4270903" y="2431440"/>
                </a:cubicBezTo>
                <a:close/>
                <a:moveTo>
                  <a:pt x="2016623" y="2431420"/>
                </a:moveTo>
                <a:cubicBezTo>
                  <a:pt x="2047041" y="2425705"/>
                  <a:pt x="2077458" y="2444755"/>
                  <a:pt x="2085063" y="2475236"/>
                </a:cubicBezTo>
                <a:cubicBezTo>
                  <a:pt x="2090766" y="2505718"/>
                  <a:pt x="2071755" y="2536199"/>
                  <a:pt x="2041337" y="2543819"/>
                </a:cubicBezTo>
                <a:cubicBezTo>
                  <a:pt x="2041337" y="2543819"/>
                  <a:pt x="2041337" y="2543819"/>
                  <a:pt x="1697237" y="2618110"/>
                </a:cubicBezTo>
                <a:cubicBezTo>
                  <a:pt x="1666819" y="2625730"/>
                  <a:pt x="1636401" y="2606681"/>
                  <a:pt x="1630698" y="2574297"/>
                </a:cubicBezTo>
                <a:cubicBezTo>
                  <a:pt x="1628797" y="2570488"/>
                  <a:pt x="1628797" y="2566678"/>
                  <a:pt x="1628797" y="2562869"/>
                </a:cubicBezTo>
                <a:cubicBezTo>
                  <a:pt x="1628797" y="2536199"/>
                  <a:pt x="1647808" y="2513338"/>
                  <a:pt x="1674424" y="2507623"/>
                </a:cubicBezTo>
                <a:cubicBezTo>
                  <a:pt x="1674424" y="2507623"/>
                  <a:pt x="1674424" y="2507623"/>
                  <a:pt x="2016623" y="2431420"/>
                </a:cubicBezTo>
                <a:close/>
                <a:moveTo>
                  <a:pt x="2799526" y="2428900"/>
                </a:moveTo>
                <a:cubicBezTo>
                  <a:pt x="2799526" y="2428900"/>
                  <a:pt x="2799526" y="2428900"/>
                  <a:pt x="3148596" y="2428900"/>
                </a:cubicBezTo>
                <a:cubicBezTo>
                  <a:pt x="3188654" y="2428900"/>
                  <a:pt x="3221081" y="2459451"/>
                  <a:pt x="3221081" y="2499556"/>
                </a:cubicBezTo>
                <a:cubicBezTo>
                  <a:pt x="3221081" y="2537746"/>
                  <a:pt x="3188654" y="2570198"/>
                  <a:pt x="3148596" y="2570198"/>
                </a:cubicBezTo>
                <a:cubicBezTo>
                  <a:pt x="3148596" y="2570198"/>
                  <a:pt x="3148596" y="2570198"/>
                  <a:pt x="2799526" y="2570198"/>
                </a:cubicBezTo>
                <a:cubicBezTo>
                  <a:pt x="2761376" y="2570198"/>
                  <a:pt x="2728949" y="2537746"/>
                  <a:pt x="2728949" y="2499556"/>
                </a:cubicBezTo>
                <a:cubicBezTo>
                  <a:pt x="2728949" y="2459451"/>
                  <a:pt x="2761376" y="2428900"/>
                  <a:pt x="2799526" y="2428900"/>
                </a:cubicBezTo>
                <a:close/>
                <a:moveTo>
                  <a:pt x="3713481" y="2424773"/>
                </a:moveTo>
                <a:cubicBezTo>
                  <a:pt x="3745887" y="2420960"/>
                  <a:pt x="3778295" y="2443824"/>
                  <a:pt x="3782107" y="2478118"/>
                </a:cubicBezTo>
                <a:cubicBezTo>
                  <a:pt x="3787827" y="2510510"/>
                  <a:pt x="3764951" y="2542896"/>
                  <a:pt x="3730637" y="2546706"/>
                </a:cubicBezTo>
                <a:cubicBezTo>
                  <a:pt x="3730637" y="2546706"/>
                  <a:pt x="3730637" y="2546706"/>
                  <a:pt x="3383690" y="2598127"/>
                </a:cubicBezTo>
                <a:cubicBezTo>
                  <a:pt x="3351283" y="2601938"/>
                  <a:pt x="3318876" y="2579083"/>
                  <a:pt x="3315063" y="2546706"/>
                </a:cubicBezTo>
                <a:cubicBezTo>
                  <a:pt x="3313157" y="2542896"/>
                  <a:pt x="3313157" y="2539086"/>
                  <a:pt x="3313157" y="2537183"/>
                </a:cubicBezTo>
                <a:cubicBezTo>
                  <a:pt x="3313157" y="2506700"/>
                  <a:pt x="3336033" y="2480026"/>
                  <a:pt x="3366533" y="2476213"/>
                </a:cubicBezTo>
                <a:cubicBezTo>
                  <a:pt x="3366533" y="2476213"/>
                  <a:pt x="3366533" y="2476213"/>
                  <a:pt x="3713481" y="2424773"/>
                </a:cubicBezTo>
                <a:close/>
                <a:moveTo>
                  <a:pt x="2578402" y="2424750"/>
                </a:moveTo>
                <a:cubicBezTo>
                  <a:pt x="2610809" y="2420940"/>
                  <a:pt x="2643217" y="2443801"/>
                  <a:pt x="2647029" y="2478093"/>
                </a:cubicBezTo>
                <a:cubicBezTo>
                  <a:pt x="2652748" y="2510478"/>
                  <a:pt x="2629872" y="2542862"/>
                  <a:pt x="2595559" y="2546673"/>
                </a:cubicBezTo>
                <a:cubicBezTo>
                  <a:pt x="2595559" y="2546673"/>
                  <a:pt x="2595559" y="2546673"/>
                  <a:pt x="2248612" y="2598105"/>
                </a:cubicBezTo>
                <a:cubicBezTo>
                  <a:pt x="2216205" y="2601915"/>
                  <a:pt x="2183798" y="2579056"/>
                  <a:pt x="2179985" y="2546673"/>
                </a:cubicBezTo>
                <a:cubicBezTo>
                  <a:pt x="2178079" y="2542862"/>
                  <a:pt x="2178079" y="2539052"/>
                  <a:pt x="2178079" y="2537148"/>
                </a:cubicBezTo>
                <a:cubicBezTo>
                  <a:pt x="2178079" y="2506667"/>
                  <a:pt x="2200955" y="2479996"/>
                  <a:pt x="2231455" y="2476187"/>
                </a:cubicBezTo>
                <a:cubicBezTo>
                  <a:pt x="2231455" y="2476187"/>
                  <a:pt x="2231455" y="2476187"/>
                  <a:pt x="2578402" y="2424750"/>
                </a:cubicBezTo>
                <a:close/>
                <a:moveTo>
                  <a:pt x="6500049" y="2128300"/>
                </a:moveTo>
                <a:cubicBezTo>
                  <a:pt x="6509329" y="2131399"/>
                  <a:pt x="6517421" y="2138076"/>
                  <a:pt x="6522179" y="2147616"/>
                </a:cubicBezTo>
                <a:cubicBezTo>
                  <a:pt x="6525985" y="2153339"/>
                  <a:pt x="6527889" y="2159060"/>
                  <a:pt x="6527889" y="2164783"/>
                </a:cubicBezTo>
                <a:cubicBezTo>
                  <a:pt x="6527889" y="2180041"/>
                  <a:pt x="6520275" y="2193391"/>
                  <a:pt x="6506949" y="2199112"/>
                </a:cubicBezTo>
                <a:cubicBezTo>
                  <a:pt x="6506949" y="2199112"/>
                  <a:pt x="6506949" y="2199112"/>
                  <a:pt x="6168111" y="2374577"/>
                </a:cubicBezTo>
                <a:cubicBezTo>
                  <a:pt x="6149075" y="2386022"/>
                  <a:pt x="6126231" y="2378393"/>
                  <a:pt x="6116713" y="2359320"/>
                </a:cubicBezTo>
                <a:cubicBezTo>
                  <a:pt x="6107195" y="2340248"/>
                  <a:pt x="6114811" y="2317360"/>
                  <a:pt x="6131943" y="2305905"/>
                </a:cubicBezTo>
                <a:cubicBezTo>
                  <a:pt x="6131943" y="2305905"/>
                  <a:pt x="6131943" y="2305905"/>
                  <a:pt x="6470781" y="2130447"/>
                </a:cubicBezTo>
                <a:cubicBezTo>
                  <a:pt x="6480299" y="2125679"/>
                  <a:pt x="6490769" y="2125202"/>
                  <a:pt x="6500049" y="2128300"/>
                </a:cubicBezTo>
                <a:close/>
                <a:moveTo>
                  <a:pt x="5959179" y="2123124"/>
                </a:moveTo>
                <a:cubicBezTo>
                  <a:pt x="5969411" y="2126926"/>
                  <a:pt x="5977979" y="2134535"/>
                  <a:pt x="5982737" y="2145006"/>
                </a:cubicBezTo>
                <a:cubicBezTo>
                  <a:pt x="5984641" y="2150712"/>
                  <a:pt x="5986543" y="2158323"/>
                  <a:pt x="5986543" y="2164031"/>
                </a:cubicBezTo>
                <a:cubicBezTo>
                  <a:pt x="5986543" y="2179252"/>
                  <a:pt x="5977025" y="2196376"/>
                  <a:pt x="5961797" y="2202083"/>
                </a:cubicBezTo>
                <a:cubicBezTo>
                  <a:pt x="5961797" y="2202083"/>
                  <a:pt x="5961797" y="2202083"/>
                  <a:pt x="5621049" y="2354284"/>
                </a:cubicBezTo>
                <a:cubicBezTo>
                  <a:pt x="5600109" y="2363796"/>
                  <a:pt x="5575363" y="2354284"/>
                  <a:pt x="5565845" y="2333356"/>
                </a:cubicBezTo>
                <a:cubicBezTo>
                  <a:pt x="5556327" y="2312426"/>
                  <a:pt x="5565845" y="2285781"/>
                  <a:pt x="5586783" y="2276277"/>
                </a:cubicBezTo>
                <a:cubicBezTo>
                  <a:pt x="5586783" y="2276277"/>
                  <a:pt x="5586783" y="2276277"/>
                  <a:pt x="5925629" y="2124073"/>
                </a:cubicBezTo>
                <a:cubicBezTo>
                  <a:pt x="5937051" y="2119318"/>
                  <a:pt x="5948947" y="2119318"/>
                  <a:pt x="5959179" y="2123124"/>
                </a:cubicBezTo>
                <a:close/>
                <a:moveTo>
                  <a:pt x="398985" y="2123120"/>
                </a:moveTo>
                <a:cubicBezTo>
                  <a:pt x="409447" y="2126926"/>
                  <a:pt x="418483" y="2134534"/>
                  <a:pt x="423239" y="2145003"/>
                </a:cubicBezTo>
                <a:cubicBezTo>
                  <a:pt x="425141" y="2150710"/>
                  <a:pt x="427043" y="2158322"/>
                  <a:pt x="427043" y="2164030"/>
                </a:cubicBezTo>
                <a:cubicBezTo>
                  <a:pt x="427043" y="2179250"/>
                  <a:pt x="417532" y="2196374"/>
                  <a:pt x="402314" y="2202079"/>
                </a:cubicBezTo>
                <a:cubicBezTo>
                  <a:pt x="402314" y="2202079"/>
                  <a:pt x="402314" y="2202079"/>
                  <a:pt x="61815" y="2354282"/>
                </a:cubicBezTo>
                <a:cubicBezTo>
                  <a:pt x="40890" y="2363796"/>
                  <a:pt x="16162" y="2354282"/>
                  <a:pt x="6650" y="2333354"/>
                </a:cubicBezTo>
                <a:cubicBezTo>
                  <a:pt x="-4763" y="2312425"/>
                  <a:pt x="4748" y="2285781"/>
                  <a:pt x="27575" y="2276277"/>
                </a:cubicBezTo>
                <a:cubicBezTo>
                  <a:pt x="27575" y="2276277"/>
                  <a:pt x="27575" y="2276277"/>
                  <a:pt x="366172" y="2124071"/>
                </a:cubicBezTo>
                <a:cubicBezTo>
                  <a:pt x="376634" y="2119317"/>
                  <a:pt x="388523" y="2119317"/>
                  <a:pt x="398985" y="2123120"/>
                </a:cubicBezTo>
                <a:close/>
                <a:moveTo>
                  <a:pt x="5396861" y="2116224"/>
                </a:moveTo>
                <a:cubicBezTo>
                  <a:pt x="5414939" y="2117022"/>
                  <a:pt x="5432479" y="2128742"/>
                  <a:pt x="5438205" y="2145799"/>
                </a:cubicBezTo>
                <a:cubicBezTo>
                  <a:pt x="5442023" y="2151485"/>
                  <a:pt x="5442023" y="2157168"/>
                  <a:pt x="5442023" y="2162853"/>
                </a:cubicBezTo>
                <a:cubicBezTo>
                  <a:pt x="5442023" y="2181802"/>
                  <a:pt x="5430569" y="2198854"/>
                  <a:pt x="5411477" y="2206431"/>
                </a:cubicBezTo>
                <a:cubicBezTo>
                  <a:pt x="5411477" y="2206431"/>
                  <a:pt x="5411477" y="2206431"/>
                  <a:pt x="5069743" y="2335273"/>
                </a:cubicBezTo>
                <a:cubicBezTo>
                  <a:pt x="5044925" y="2344742"/>
                  <a:pt x="5018197" y="2333378"/>
                  <a:pt x="5008651" y="2308740"/>
                </a:cubicBezTo>
                <a:cubicBezTo>
                  <a:pt x="4999105" y="2284105"/>
                  <a:pt x="5012469" y="2257588"/>
                  <a:pt x="5037287" y="2248114"/>
                </a:cubicBezTo>
                <a:cubicBezTo>
                  <a:pt x="5037287" y="2248114"/>
                  <a:pt x="5037287" y="2248114"/>
                  <a:pt x="5379023" y="2119273"/>
                </a:cubicBezTo>
                <a:cubicBezTo>
                  <a:pt x="5384751" y="2116904"/>
                  <a:pt x="5390837" y="2115957"/>
                  <a:pt x="5396861" y="2116224"/>
                </a:cubicBezTo>
                <a:close/>
                <a:moveTo>
                  <a:pt x="930378" y="2116219"/>
                </a:moveTo>
                <a:cubicBezTo>
                  <a:pt x="948827" y="2117022"/>
                  <a:pt x="965663" y="2128742"/>
                  <a:pt x="972827" y="2145797"/>
                </a:cubicBezTo>
                <a:cubicBezTo>
                  <a:pt x="974738" y="2151482"/>
                  <a:pt x="974738" y="2157168"/>
                  <a:pt x="974738" y="2162851"/>
                </a:cubicBezTo>
                <a:cubicBezTo>
                  <a:pt x="974738" y="2181799"/>
                  <a:pt x="963275" y="2198852"/>
                  <a:pt x="944170" y="2206429"/>
                </a:cubicBezTo>
                <a:cubicBezTo>
                  <a:pt x="944170" y="2206429"/>
                  <a:pt x="944170" y="2206429"/>
                  <a:pt x="602186" y="2335271"/>
                </a:cubicBezTo>
                <a:cubicBezTo>
                  <a:pt x="579260" y="2344740"/>
                  <a:pt x="550602" y="2333375"/>
                  <a:pt x="542960" y="2308740"/>
                </a:cubicBezTo>
                <a:cubicBezTo>
                  <a:pt x="533407" y="2284105"/>
                  <a:pt x="544870" y="2257586"/>
                  <a:pt x="569707" y="2248111"/>
                </a:cubicBezTo>
                <a:cubicBezTo>
                  <a:pt x="569707" y="2248111"/>
                  <a:pt x="569707" y="2248111"/>
                  <a:pt x="911691" y="2119271"/>
                </a:cubicBezTo>
                <a:cubicBezTo>
                  <a:pt x="917900" y="2116901"/>
                  <a:pt x="924229" y="2115954"/>
                  <a:pt x="930378" y="2116219"/>
                </a:cubicBezTo>
                <a:close/>
                <a:moveTo>
                  <a:pt x="4846001" y="2110276"/>
                </a:moveTo>
                <a:cubicBezTo>
                  <a:pt x="4865777" y="2111876"/>
                  <a:pt x="4883673" y="2125762"/>
                  <a:pt x="4890833" y="2147137"/>
                </a:cubicBezTo>
                <a:cubicBezTo>
                  <a:pt x="4892743" y="2150938"/>
                  <a:pt x="4892743" y="2156636"/>
                  <a:pt x="4892743" y="2162335"/>
                </a:cubicBezTo>
                <a:cubicBezTo>
                  <a:pt x="4892743" y="2183230"/>
                  <a:pt x="4879379" y="2204124"/>
                  <a:pt x="4856471" y="2209823"/>
                </a:cubicBezTo>
                <a:cubicBezTo>
                  <a:pt x="4856471" y="2209823"/>
                  <a:pt x="4856471" y="2209823"/>
                  <a:pt x="4512841" y="2316194"/>
                </a:cubicBezTo>
                <a:cubicBezTo>
                  <a:pt x="4486115" y="2325694"/>
                  <a:pt x="4457479" y="2310492"/>
                  <a:pt x="4449843" y="2283894"/>
                </a:cubicBezTo>
                <a:cubicBezTo>
                  <a:pt x="4440299" y="2255411"/>
                  <a:pt x="4455571" y="2226918"/>
                  <a:pt x="4482297" y="2219319"/>
                </a:cubicBezTo>
                <a:cubicBezTo>
                  <a:pt x="4482297" y="2219319"/>
                  <a:pt x="4482297" y="2219319"/>
                  <a:pt x="4825925" y="2112946"/>
                </a:cubicBezTo>
                <a:cubicBezTo>
                  <a:pt x="4832607" y="2110571"/>
                  <a:pt x="4839409" y="2109741"/>
                  <a:pt x="4846001" y="2110276"/>
                </a:cubicBezTo>
                <a:close/>
                <a:moveTo>
                  <a:pt x="1482460" y="2110273"/>
                </a:moveTo>
                <a:cubicBezTo>
                  <a:pt x="1502091" y="2111874"/>
                  <a:pt x="1519582" y="2125762"/>
                  <a:pt x="1525292" y="2147134"/>
                </a:cubicBezTo>
                <a:cubicBezTo>
                  <a:pt x="1527196" y="2150933"/>
                  <a:pt x="1527196" y="2156633"/>
                  <a:pt x="1527196" y="2162332"/>
                </a:cubicBezTo>
                <a:cubicBezTo>
                  <a:pt x="1527196" y="2183226"/>
                  <a:pt x="1513870" y="2204123"/>
                  <a:pt x="1492930" y="2209820"/>
                </a:cubicBezTo>
                <a:cubicBezTo>
                  <a:pt x="1492930" y="2209820"/>
                  <a:pt x="1492930" y="2209820"/>
                  <a:pt x="1150267" y="2316193"/>
                </a:cubicBezTo>
                <a:cubicBezTo>
                  <a:pt x="1123615" y="2325693"/>
                  <a:pt x="1093156" y="2310492"/>
                  <a:pt x="1085542" y="2283894"/>
                </a:cubicBezTo>
                <a:cubicBezTo>
                  <a:pt x="1077927" y="2255409"/>
                  <a:pt x="1093156" y="2226917"/>
                  <a:pt x="1119808" y="2219317"/>
                </a:cubicBezTo>
                <a:cubicBezTo>
                  <a:pt x="1119808" y="2219317"/>
                  <a:pt x="1119808" y="2219317"/>
                  <a:pt x="1462471" y="2112944"/>
                </a:cubicBezTo>
                <a:cubicBezTo>
                  <a:pt x="1469134" y="2110569"/>
                  <a:pt x="1475916" y="2109738"/>
                  <a:pt x="1482460" y="2110273"/>
                </a:cubicBezTo>
                <a:close/>
                <a:moveTo>
                  <a:pt x="4292491" y="2106610"/>
                </a:moveTo>
                <a:cubicBezTo>
                  <a:pt x="4314341" y="2109634"/>
                  <a:pt x="4332965" y="2124916"/>
                  <a:pt x="4338695" y="2147674"/>
                </a:cubicBezTo>
                <a:cubicBezTo>
                  <a:pt x="4338695" y="2151466"/>
                  <a:pt x="4338695" y="2157154"/>
                  <a:pt x="4338695" y="2160948"/>
                </a:cubicBezTo>
                <a:cubicBezTo>
                  <a:pt x="4338695" y="2185599"/>
                  <a:pt x="4321503" y="2208350"/>
                  <a:pt x="4296669" y="2214040"/>
                </a:cubicBezTo>
                <a:cubicBezTo>
                  <a:pt x="4296669" y="2214040"/>
                  <a:pt x="4296669" y="2214040"/>
                  <a:pt x="3952817" y="2297465"/>
                </a:cubicBezTo>
                <a:cubicBezTo>
                  <a:pt x="3922251" y="2305051"/>
                  <a:pt x="3891687" y="2286085"/>
                  <a:pt x="3884045" y="2257651"/>
                </a:cubicBezTo>
                <a:cubicBezTo>
                  <a:pt x="3878315" y="2227314"/>
                  <a:pt x="3895507" y="2196975"/>
                  <a:pt x="3926073" y="2191286"/>
                </a:cubicBezTo>
                <a:cubicBezTo>
                  <a:pt x="3926073" y="2191286"/>
                  <a:pt x="3926073" y="2191286"/>
                  <a:pt x="4269925" y="2107856"/>
                </a:cubicBezTo>
                <a:cubicBezTo>
                  <a:pt x="4277567" y="2105958"/>
                  <a:pt x="4285209" y="2105604"/>
                  <a:pt x="4292491" y="2106610"/>
                </a:cubicBezTo>
                <a:close/>
                <a:moveTo>
                  <a:pt x="2038726" y="2106607"/>
                </a:moveTo>
                <a:cubicBezTo>
                  <a:pt x="2059755" y="2109629"/>
                  <a:pt x="2078367" y="2124916"/>
                  <a:pt x="2084094" y="2147672"/>
                </a:cubicBezTo>
                <a:cubicBezTo>
                  <a:pt x="2084094" y="2151465"/>
                  <a:pt x="2086003" y="2157154"/>
                  <a:pt x="2086003" y="2160946"/>
                </a:cubicBezTo>
                <a:cubicBezTo>
                  <a:pt x="2086003" y="2185596"/>
                  <a:pt x="2068822" y="2208348"/>
                  <a:pt x="2044006" y="2214037"/>
                </a:cubicBezTo>
                <a:cubicBezTo>
                  <a:pt x="2044006" y="2214037"/>
                  <a:pt x="2044006" y="2214037"/>
                  <a:pt x="1698484" y="2297465"/>
                </a:cubicBezTo>
                <a:cubicBezTo>
                  <a:pt x="1667940" y="2305051"/>
                  <a:pt x="1639306" y="2286085"/>
                  <a:pt x="1631670" y="2257649"/>
                </a:cubicBezTo>
                <a:cubicBezTo>
                  <a:pt x="1624034" y="2227312"/>
                  <a:pt x="1643124" y="2196972"/>
                  <a:pt x="1671758" y="2191284"/>
                </a:cubicBezTo>
                <a:cubicBezTo>
                  <a:pt x="1671758" y="2191284"/>
                  <a:pt x="1671758" y="2191284"/>
                  <a:pt x="2017280" y="2107852"/>
                </a:cubicBezTo>
                <a:cubicBezTo>
                  <a:pt x="2024439" y="2105955"/>
                  <a:pt x="2031717" y="2105600"/>
                  <a:pt x="2038726" y="2106607"/>
                </a:cubicBezTo>
                <a:close/>
                <a:moveTo>
                  <a:pt x="3734761" y="2101210"/>
                </a:moveTo>
                <a:cubicBezTo>
                  <a:pt x="3757325" y="2105942"/>
                  <a:pt x="3775589" y="2124873"/>
                  <a:pt x="3779887" y="2149163"/>
                </a:cubicBezTo>
                <a:cubicBezTo>
                  <a:pt x="3779887" y="2152972"/>
                  <a:pt x="3779887" y="2156782"/>
                  <a:pt x="3779887" y="2158688"/>
                </a:cubicBezTo>
                <a:cubicBezTo>
                  <a:pt x="3779887" y="2187262"/>
                  <a:pt x="3760787" y="2212026"/>
                  <a:pt x="3732133" y="2217741"/>
                </a:cubicBezTo>
                <a:cubicBezTo>
                  <a:pt x="3732133" y="2217741"/>
                  <a:pt x="3732133" y="2217741"/>
                  <a:pt x="3384479" y="2278699"/>
                </a:cubicBezTo>
                <a:cubicBezTo>
                  <a:pt x="3352006" y="2284410"/>
                  <a:pt x="3321443" y="2263461"/>
                  <a:pt x="3315713" y="2231076"/>
                </a:cubicBezTo>
                <a:cubicBezTo>
                  <a:pt x="3309982" y="2198691"/>
                  <a:pt x="3330994" y="2166308"/>
                  <a:pt x="3363467" y="2160593"/>
                </a:cubicBezTo>
                <a:cubicBezTo>
                  <a:pt x="3363467" y="2160593"/>
                  <a:pt x="3363467" y="2160593"/>
                  <a:pt x="3711121" y="2101538"/>
                </a:cubicBezTo>
                <a:cubicBezTo>
                  <a:pt x="3719239" y="2099633"/>
                  <a:pt x="3727239" y="2099633"/>
                  <a:pt x="3734761" y="2101210"/>
                </a:cubicBezTo>
                <a:close/>
                <a:moveTo>
                  <a:pt x="2601270" y="2101207"/>
                </a:moveTo>
                <a:cubicBezTo>
                  <a:pt x="2623834" y="2105940"/>
                  <a:pt x="2642100" y="2124870"/>
                  <a:pt x="2646398" y="2149158"/>
                </a:cubicBezTo>
                <a:cubicBezTo>
                  <a:pt x="2646398" y="2152969"/>
                  <a:pt x="2646398" y="2156780"/>
                  <a:pt x="2646398" y="2158685"/>
                </a:cubicBezTo>
                <a:cubicBezTo>
                  <a:pt x="2646398" y="2187260"/>
                  <a:pt x="2627296" y="2212024"/>
                  <a:pt x="2596733" y="2217739"/>
                </a:cubicBezTo>
                <a:cubicBezTo>
                  <a:pt x="2596733" y="2217739"/>
                  <a:pt x="2596733" y="2217739"/>
                  <a:pt x="2250989" y="2278698"/>
                </a:cubicBezTo>
                <a:cubicBezTo>
                  <a:pt x="2218516" y="2284410"/>
                  <a:pt x="2187953" y="2263459"/>
                  <a:pt x="2182223" y="2231074"/>
                </a:cubicBezTo>
                <a:cubicBezTo>
                  <a:pt x="2176492" y="2198689"/>
                  <a:pt x="2197504" y="2166304"/>
                  <a:pt x="2229977" y="2160590"/>
                </a:cubicBezTo>
                <a:cubicBezTo>
                  <a:pt x="2229977" y="2160590"/>
                  <a:pt x="2229977" y="2160590"/>
                  <a:pt x="2577631" y="2101535"/>
                </a:cubicBezTo>
                <a:cubicBezTo>
                  <a:pt x="2585749" y="2099630"/>
                  <a:pt x="2593748" y="2099630"/>
                  <a:pt x="2601270" y="2101207"/>
                </a:cubicBezTo>
                <a:close/>
                <a:moveTo>
                  <a:pt x="3141117" y="2094543"/>
                </a:moveTo>
                <a:cubicBezTo>
                  <a:pt x="3177288" y="2090740"/>
                  <a:pt x="3207748" y="2117360"/>
                  <a:pt x="3211556" y="2151589"/>
                </a:cubicBezTo>
                <a:cubicBezTo>
                  <a:pt x="3211556" y="2153490"/>
                  <a:pt x="3211556" y="2157291"/>
                  <a:pt x="3211556" y="2159195"/>
                </a:cubicBezTo>
                <a:cubicBezTo>
                  <a:pt x="3211556" y="2191522"/>
                  <a:pt x="3188711" y="2218141"/>
                  <a:pt x="3156347" y="2221944"/>
                </a:cubicBezTo>
                <a:cubicBezTo>
                  <a:pt x="3156347" y="2221944"/>
                  <a:pt x="3156347" y="2221944"/>
                  <a:pt x="2807959" y="2259975"/>
                </a:cubicBezTo>
                <a:cubicBezTo>
                  <a:pt x="2773691" y="2263775"/>
                  <a:pt x="2741327" y="2239058"/>
                  <a:pt x="2737520" y="2202929"/>
                </a:cubicBezTo>
                <a:cubicBezTo>
                  <a:pt x="2733712" y="2168703"/>
                  <a:pt x="2760365" y="2136375"/>
                  <a:pt x="2794632" y="2132570"/>
                </a:cubicBezTo>
                <a:cubicBezTo>
                  <a:pt x="2794632" y="2132570"/>
                  <a:pt x="2794632" y="2132570"/>
                  <a:pt x="3141117" y="2094543"/>
                </a:cubicBezTo>
                <a:close/>
                <a:moveTo>
                  <a:pt x="6499963" y="1806060"/>
                </a:moveTo>
                <a:cubicBezTo>
                  <a:pt x="6509271" y="1809163"/>
                  <a:pt x="6517387" y="1815847"/>
                  <a:pt x="6522161" y="1825395"/>
                </a:cubicBezTo>
                <a:cubicBezTo>
                  <a:pt x="6525979" y="1831124"/>
                  <a:pt x="6527887" y="1836853"/>
                  <a:pt x="6527887" y="1842582"/>
                </a:cubicBezTo>
                <a:cubicBezTo>
                  <a:pt x="6527887" y="1857859"/>
                  <a:pt x="6520251" y="1871226"/>
                  <a:pt x="6506885" y="1876955"/>
                </a:cubicBezTo>
                <a:cubicBezTo>
                  <a:pt x="6506885" y="1876955"/>
                  <a:pt x="6506885" y="1876955"/>
                  <a:pt x="6167027" y="2052636"/>
                </a:cubicBezTo>
                <a:cubicBezTo>
                  <a:pt x="6147935" y="2062185"/>
                  <a:pt x="6125023" y="2054546"/>
                  <a:pt x="6115475" y="2035451"/>
                </a:cubicBezTo>
                <a:cubicBezTo>
                  <a:pt x="6104019" y="2016355"/>
                  <a:pt x="6111657" y="1993440"/>
                  <a:pt x="6130751" y="1983892"/>
                </a:cubicBezTo>
                <a:cubicBezTo>
                  <a:pt x="6130751" y="1983892"/>
                  <a:pt x="6130751" y="1983892"/>
                  <a:pt x="6470609" y="1808208"/>
                </a:cubicBezTo>
                <a:cubicBezTo>
                  <a:pt x="6480155" y="1803434"/>
                  <a:pt x="6490655" y="1802957"/>
                  <a:pt x="6499963" y="1806060"/>
                </a:cubicBezTo>
                <a:close/>
                <a:moveTo>
                  <a:pt x="5958465" y="1800926"/>
                </a:moveTo>
                <a:cubicBezTo>
                  <a:pt x="5968935" y="1804756"/>
                  <a:pt x="5977979" y="1812415"/>
                  <a:pt x="5982737" y="1822945"/>
                </a:cubicBezTo>
                <a:cubicBezTo>
                  <a:pt x="5984641" y="1828690"/>
                  <a:pt x="5986543" y="1834433"/>
                  <a:pt x="5986543" y="1840178"/>
                </a:cubicBezTo>
                <a:cubicBezTo>
                  <a:pt x="5986543" y="1857411"/>
                  <a:pt x="5977025" y="1872728"/>
                  <a:pt x="5961797" y="1878473"/>
                </a:cubicBezTo>
                <a:cubicBezTo>
                  <a:pt x="5961797" y="1878473"/>
                  <a:pt x="5961797" y="1878473"/>
                  <a:pt x="5622953" y="2033561"/>
                </a:cubicBezTo>
                <a:cubicBezTo>
                  <a:pt x="5600109" y="2043135"/>
                  <a:pt x="5575363" y="2033561"/>
                  <a:pt x="5565845" y="2012501"/>
                </a:cubicBezTo>
                <a:cubicBezTo>
                  <a:pt x="5556327" y="1991439"/>
                  <a:pt x="5565845" y="1964634"/>
                  <a:pt x="5586783" y="1955060"/>
                </a:cubicBezTo>
                <a:cubicBezTo>
                  <a:pt x="5586783" y="1955060"/>
                  <a:pt x="5586783" y="1955060"/>
                  <a:pt x="5925629" y="1801884"/>
                </a:cubicBezTo>
                <a:cubicBezTo>
                  <a:pt x="5936099" y="1797097"/>
                  <a:pt x="5947995" y="1797097"/>
                  <a:pt x="5958465" y="1800926"/>
                </a:cubicBezTo>
                <a:close/>
                <a:moveTo>
                  <a:pt x="398965" y="1800917"/>
                </a:moveTo>
                <a:cubicBezTo>
                  <a:pt x="409435" y="1804747"/>
                  <a:pt x="418477" y="1812406"/>
                  <a:pt x="423236" y="1822936"/>
                </a:cubicBezTo>
                <a:cubicBezTo>
                  <a:pt x="425139" y="1828681"/>
                  <a:pt x="427043" y="1834425"/>
                  <a:pt x="427043" y="1840169"/>
                </a:cubicBezTo>
                <a:cubicBezTo>
                  <a:pt x="427043" y="1857402"/>
                  <a:pt x="417525" y="1872719"/>
                  <a:pt x="400392" y="1878463"/>
                </a:cubicBezTo>
                <a:cubicBezTo>
                  <a:pt x="400392" y="1878463"/>
                  <a:pt x="400392" y="1878463"/>
                  <a:pt x="61548" y="2033553"/>
                </a:cubicBezTo>
                <a:cubicBezTo>
                  <a:pt x="40608" y="2043126"/>
                  <a:pt x="15861" y="2033553"/>
                  <a:pt x="6343" y="2012491"/>
                </a:cubicBezTo>
                <a:cubicBezTo>
                  <a:pt x="-3175" y="1991430"/>
                  <a:pt x="6343" y="1964624"/>
                  <a:pt x="27283" y="1955050"/>
                </a:cubicBezTo>
                <a:cubicBezTo>
                  <a:pt x="27283" y="1955050"/>
                  <a:pt x="27283" y="1955050"/>
                  <a:pt x="366127" y="1801874"/>
                </a:cubicBezTo>
                <a:cubicBezTo>
                  <a:pt x="376597" y="1797088"/>
                  <a:pt x="388495" y="1797088"/>
                  <a:pt x="398965" y="1800917"/>
                </a:cubicBezTo>
                <a:close/>
                <a:moveTo>
                  <a:pt x="5395755" y="1792151"/>
                </a:moveTo>
                <a:cubicBezTo>
                  <a:pt x="5414203" y="1792508"/>
                  <a:pt x="5431039" y="1803581"/>
                  <a:pt x="5438203" y="1822155"/>
                </a:cubicBezTo>
                <a:cubicBezTo>
                  <a:pt x="5440113" y="1827871"/>
                  <a:pt x="5442023" y="1833586"/>
                  <a:pt x="5442023" y="1839301"/>
                </a:cubicBezTo>
                <a:cubicBezTo>
                  <a:pt x="5442023" y="1858351"/>
                  <a:pt x="5430561" y="1875496"/>
                  <a:pt x="5411455" y="1883116"/>
                </a:cubicBezTo>
                <a:cubicBezTo>
                  <a:pt x="5411455" y="1883116"/>
                  <a:pt x="5411455" y="1883116"/>
                  <a:pt x="5069471" y="2014560"/>
                </a:cubicBezTo>
                <a:cubicBezTo>
                  <a:pt x="5046545" y="2024085"/>
                  <a:pt x="5019799" y="2012655"/>
                  <a:pt x="5010245" y="1989796"/>
                </a:cubicBezTo>
                <a:cubicBezTo>
                  <a:pt x="5000693" y="1965031"/>
                  <a:pt x="5012157" y="1938361"/>
                  <a:pt x="5036993" y="1928836"/>
                </a:cubicBezTo>
                <a:cubicBezTo>
                  <a:pt x="5036993" y="1928836"/>
                  <a:pt x="5036993" y="1928836"/>
                  <a:pt x="5377067" y="1795485"/>
                </a:cubicBezTo>
                <a:cubicBezTo>
                  <a:pt x="5383277" y="1793104"/>
                  <a:pt x="5389605" y="1792032"/>
                  <a:pt x="5395755" y="1792151"/>
                </a:cubicBezTo>
                <a:close/>
                <a:moveTo>
                  <a:pt x="929274" y="1792140"/>
                </a:moveTo>
                <a:cubicBezTo>
                  <a:pt x="946916" y="1792497"/>
                  <a:pt x="963752" y="1803570"/>
                  <a:pt x="970917" y="1822144"/>
                </a:cubicBezTo>
                <a:cubicBezTo>
                  <a:pt x="974738" y="1827859"/>
                  <a:pt x="974738" y="1833574"/>
                  <a:pt x="974738" y="1839289"/>
                </a:cubicBezTo>
                <a:cubicBezTo>
                  <a:pt x="974738" y="1858339"/>
                  <a:pt x="963275" y="1875484"/>
                  <a:pt x="946080" y="1883104"/>
                </a:cubicBezTo>
                <a:cubicBezTo>
                  <a:pt x="946080" y="1883104"/>
                  <a:pt x="946080" y="1883104"/>
                  <a:pt x="604096" y="2014549"/>
                </a:cubicBezTo>
                <a:cubicBezTo>
                  <a:pt x="579260" y="2024073"/>
                  <a:pt x="552512" y="2012644"/>
                  <a:pt x="542960" y="1989784"/>
                </a:cubicBezTo>
                <a:cubicBezTo>
                  <a:pt x="533407" y="1965019"/>
                  <a:pt x="544870" y="1938349"/>
                  <a:pt x="569707" y="1928824"/>
                </a:cubicBezTo>
                <a:cubicBezTo>
                  <a:pt x="569707" y="1928824"/>
                  <a:pt x="569707" y="1928824"/>
                  <a:pt x="911691" y="1795473"/>
                </a:cubicBezTo>
                <a:cubicBezTo>
                  <a:pt x="917423" y="1793092"/>
                  <a:pt x="923393" y="1792021"/>
                  <a:pt x="929274" y="1792140"/>
                </a:cubicBezTo>
                <a:close/>
                <a:moveTo>
                  <a:pt x="4845315" y="1786416"/>
                </a:moveTo>
                <a:cubicBezTo>
                  <a:pt x="4864245" y="1787849"/>
                  <a:pt x="4882105" y="1801102"/>
                  <a:pt x="4889249" y="1819728"/>
                </a:cubicBezTo>
                <a:cubicBezTo>
                  <a:pt x="4891155" y="1825459"/>
                  <a:pt x="4891155" y="1831190"/>
                  <a:pt x="4891155" y="1836922"/>
                </a:cubicBezTo>
                <a:cubicBezTo>
                  <a:pt x="4891155" y="1857937"/>
                  <a:pt x="4877819" y="1877041"/>
                  <a:pt x="4856863" y="1884682"/>
                </a:cubicBezTo>
                <a:cubicBezTo>
                  <a:pt x="4856863" y="1884682"/>
                  <a:pt x="4856863" y="1884682"/>
                  <a:pt x="4515863" y="1997394"/>
                </a:cubicBezTo>
                <a:cubicBezTo>
                  <a:pt x="4489193" y="2005036"/>
                  <a:pt x="4460619" y="1991663"/>
                  <a:pt x="4451093" y="1964918"/>
                </a:cubicBezTo>
                <a:cubicBezTo>
                  <a:pt x="4443473" y="1938173"/>
                  <a:pt x="4456809" y="1909517"/>
                  <a:pt x="4483479" y="1901876"/>
                </a:cubicBezTo>
                <a:cubicBezTo>
                  <a:pt x="4483479" y="1901876"/>
                  <a:pt x="4483479" y="1901876"/>
                  <a:pt x="4826383" y="1789162"/>
                </a:cubicBezTo>
                <a:cubicBezTo>
                  <a:pt x="4832575" y="1786774"/>
                  <a:pt x="4839005" y="1785938"/>
                  <a:pt x="4845315" y="1786416"/>
                </a:cubicBezTo>
                <a:close/>
                <a:moveTo>
                  <a:pt x="1480556" y="1786402"/>
                </a:moveTo>
                <a:cubicBezTo>
                  <a:pt x="1500188" y="1787834"/>
                  <a:pt x="1517678" y="1801087"/>
                  <a:pt x="1523389" y="1819714"/>
                </a:cubicBezTo>
                <a:cubicBezTo>
                  <a:pt x="1525292" y="1825445"/>
                  <a:pt x="1527196" y="1831176"/>
                  <a:pt x="1527196" y="1836908"/>
                </a:cubicBezTo>
                <a:cubicBezTo>
                  <a:pt x="1527196" y="1857922"/>
                  <a:pt x="1513870" y="1877026"/>
                  <a:pt x="1492930" y="1884667"/>
                </a:cubicBezTo>
                <a:cubicBezTo>
                  <a:pt x="1492930" y="1884667"/>
                  <a:pt x="1492930" y="1884667"/>
                  <a:pt x="1150267" y="1997380"/>
                </a:cubicBezTo>
                <a:cubicBezTo>
                  <a:pt x="1123615" y="2005020"/>
                  <a:pt x="1095060" y="1991648"/>
                  <a:pt x="1087445" y="1964903"/>
                </a:cubicBezTo>
                <a:cubicBezTo>
                  <a:pt x="1077927" y="1938158"/>
                  <a:pt x="1093156" y="1909502"/>
                  <a:pt x="1119808" y="1901861"/>
                </a:cubicBezTo>
                <a:cubicBezTo>
                  <a:pt x="1119808" y="1901861"/>
                  <a:pt x="1119808" y="1901861"/>
                  <a:pt x="1460567" y="1789148"/>
                </a:cubicBezTo>
                <a:cubicBezTo>
                  <a:pt x="1467230" y="1786760"/>
                  <a:pt x="1474012" y="1785924"/>
                  <a:pt x="1480556" y="1786402"/>
                </a:cubicBezTo>
                <a:close/>
                <a:moveTo>
                  <a:pt x="4289949" y="1779638"/>
                </a:moveTo>
                <a:cubicBezTo>
                  <a:pt x="4310399" y="1782603"/>
                  <a:pt x="4327901" y="1797695"/>
                  <a:pt x="4333615" y="1819255"/>
                </a:cubicBezTo>
                <a:cubicBezTo>
                  <a:pt x="4335521" y="1825004"/>
                  <a:pt x="4335521" y="1828837"/>
                  <a:pt x="4335521" y="1834586"/>
                </a:cubicBezTo>
                <a:cubicBezTo>
                  <a:pt x="4335521" y="1857584"/>
                  <a:pt x="4320281" y="1878665"/>
                  <a:pt x="4295515" y="1886331"/>
                </a:cubicBezTo>
                <a:cubicBezTo>
                  <a:pt x="4295515" y="1886331"/>
                  <a:pt x="4295515" y="1886331"/>
                  <a:pt x="3952611" y="1978320"/>
                </a:cubicBezTo>
                <a:cubicBezTo>
                  <a:pt x="3924035" y="1985985"/>
                  <a:pt x="3893555" y="1968738"/>
                  <a:pt x="3885935" y="1939991"/>
                </a:cubicBezTo>
                <a:cubicBezTo>
                  <a:pt x="3878315" y="1911245"/>
                  <a:pt x="3895461" y="1880581"/>
                  <a:pt x="3924035" y="1872916"/>
                </a:cubicBezTo>
                <a:cubicBezTo>
                  <a:pt x="3924035" y="1872916"/>
                  <a:pt x="3924035" y="1872916"/>
                  <a:pt x="4268845" y="1780925"/>
                </a:cubicBezTo>
                <a:cubicBezTo>
                  <a:pt x="4275989" y="1779009"/>
                  <a:pt x="4283133" y="1778650"/>
                  <a:pt x="4289949" y="1779638"/>
                </a:cubicBezTo>
                <a:close/>
                <a:moveTo>
                  <a:pt x="2035648" y="1779621"/>
                </a:moveTo>
                <a:cubicBezTo>
                  <a:pt x="2056633" y="1782586"/>
                  <a:pt x="2075207" y="1797678"/>
                  <a:pt x="2080922" y="1819238"/>
                </a:cubicBezTo>
                <a:cubicBezTo>
                  <a:pt x="2082827" y="1824987"/>
                  <a:pt x="2082827" y="1828820"/>
                  <a:pt x="2082827" y="1834569"/>
                </a:cubicBezTo>
                <a:cubicBezTo>
                  <a:pt x="2082827" y="1857567"/>
                  <a:pt x="2065682" y="1878648"/>
                  <a:pt x="2042821" y="1886314"/>
                </a:cubicBezTo>
                <a:cubicBezTo>
                  <a:pt x="2042821" y="1886314"/>
                  <a:pt x="2042821" y="1886314"/>
                  <a:pt x="1699917" y="1978302"/>
                </a:cubicBezTo>
                <a:cubicBezTo>
                  <a:pt x="1669437" y="1985968"/>
                  <a:pt x="1640861" y="1968720"/>
                  <a:pt x="1633241" y="1939974"/>
                </a:cubicBezTo>
                <a:cubicBezTo>
                  <a:pt x="1625621" y="1911227"/>
                  <a:pt x="1642766" y="1880564"/>
                  <a:pt x="1671342" y="1872898"/>
                </a:cubicBezTo>
                <a:cubicBezTo>
                  <a:pt x="1671342" y="1872898"/>
                  <a:pt x="1671342" y="1872898"/>
                  <a:pt x="2014246" y="1780909"/>
                </a:cubicBezTo>
                <a:cubicBezTo>
                  <a:pt x="2021390" y="1778992"/>
                  <a:pt x="2028653" y="1778633"/>
                  <a:pt x="2035648" y="1779621"/>
                </a:cubicBezTo>
                <a:close/>
                <a:moveTo>
                  <a:pt x="3732191" y="1775473"/>
                </a:moveTo>
                <a:cubicBezTo>
                  <a:pt x="3753995" y="1779587"/>
                  <a:pt x="3772581" y="1797118"/>
                  <a:pt x="3778301" y="1820015"/>
                </a:cubicBezTo>
                <a:cubicBezTo>
                  <a:pt x="3778301" y="1823830"/>
                  <a:pt x="3778301" y="1827647"/>
                  <a:pt x="3778301" y="1831463"/>
                </a:cubicBezTo>
                <a:cubicBezTo>
                  <a:pt x="3778301" y="1858176"/>
                  <a:pt x="3759237" y="1882981"/>
                  <a:pt x="3732549" y="1888705"/>
                </a:cubicBezTo>
                <a:cubicBezTo>
                  <a:pt x="3732549" y="1888705"/>
                  <a:pt x="3732549" y="1888705"/>
                  <a:pt x="3387504" y="1959303"/>
                </a:cubicBezTo>
                <a:cubicBezTo>
                  <a:pt x="3357003" y="1966936"/>
                  <a:pt x="3326501" y="1945947"/>
                  <a:pt x="3318876" y="1915418"/>
                </a:cubicBezTo>
                <a:cubicBezTo>
                  <a:pt x="3313157" y="1882981"/>
                  <a:pt x="3332220" y="1852452"/>
                  <a:pt x="3364628" y="1846728"/>
                </a:cubicBezTo>
                <a:cubicBezTo>
                  <a:pt x="3364628" y="1846728"/>
                  <a:pt x="3364628" y="1846728"/>
                  <a:pt x="3709673" y="1776129"/>
                </a:cubicBezTo>
                <a:cubicBezTo>
                  <a:pt x="3717299" y="1774221"/>
                  <a:pt x="3724923" y="1774102"/>
                  <a:pt x="3732191" y="1775473"/>
                </a:cubicBezTo>
                <a:close/>
                <a:moveTo>
                  <a:pt x="2597114" y="1775454"/>
                </a:moveTo>
                <a:cubicBezTo>
                  <a:pt x="2618917" y="1779568"/>
                  <a:pt x="2637504" y="1797098"/>
                  <a:pt x="2643223" y="1819995"/>
                </a:cubicBezTo>
                <a:cubicBezTo>
                  <a:pt x="2643223" y="1823811"/>
                  <a:pt x="2643223" y="1827627"/>
                  <a:pt x="2643223" y="1831444"/>
                </a:cubicBezTo>
                <a:cubicBezTo>
                  <a:pt x="2643223" y="1858156"/>
                  <a:pt x="2624160" y="1882961"/>
                  <a:pt x="2597471" y="1888685"/>
                </a:cubicBezTo>
                <a:cubicBezTo>
                  <a:pt x="2597471" y="1888685"/>
                  <a:pt x="2597471" y="1888685"/>
                  <a:pt x="2252426" y="1959283"/>
                </a:cubicBezTo>
                <a:cubicBezTo>
                  <a:pt x="2221925" y="1966916"/>
                  <a:pt x="2191423" y="1945927"/>
                  <a:pt x="2183798" y="1915398"/>
                </a:cubicBezTo>
                <a:cubicBezTo>
                  <a:pt x="2178079" y="1882961"/>
                  <a:pt x="2197142" y="1852432"/>
                  <a:pt x="2229550" y="1846708"/>
                </a:cubicBezTo>
                <a:cubicBezTo>
                  <a:pt x="2229550" y="1846708"/>
                  <a:pt x="2229550" y="1846708"/>
                  <a:pt x="2574595" y="1776110"/>
                </a:cubicBezTo>
                <a:cubicBezTo>
                  <a:pt x="2582220" y="1774201"/>
                  <a:pt x="2589846" y="1774082"/>
                  <a:pt x="2597114" y="1775454"/>
                </a:cubicBezTo>
                <a:close/>
                <a:moveTo>
                  <a:pt x="3139435" y="1767852"/>
                </a:moveTo>
                <a:cubicBezTo>
                  <a:pt x="3173748" y="1762146"/>
                  <a:pt x="3204249" y="1786869"/>
                  <a:pt x="3209968" y="1819198"/>
                </a:cubicBezTo>
                <a:cubicBezTo>
                  <a:pt x="3209968" y="1823001"/>
                  <a:pt x="3209968" y="1826805"/>
                  <a:pt x="3209968" y="1828706"/>
                </a:cubicBezTo>
                <a:cubicBezTo>
                  <a:pt x="3209968" y="1859134"/>
                  <a:pt x="3187092" y="1885758"/>
                  <a:pt x="3156592" y="1889561"/>
                </a:cubicBezTo>
                <a:cubicBezTo>
                  <a:pt x="3156592" y="1889561"/>
                  <a:pt x="3156592" y="1889561"/>
                  <a:pt x="2811551" y="1939005"/>
                </a:cubicBezTo>
                <a:cubicBezTo>
                  <a:pt x="2777238" y="1944711"/>
                  <a:pt x="2746737" y="1921890"/>
                  <a:pt x="2741018" y="1887660"/>
                </a:cubicBezTo>
                <a:cubicBezTo>
                  <a:pt x="2735299" y="1853429"/>
                  <a:pt x="2760081" y="1823001"/>
                  <a:pt x="2792488" y="1819198"/>
                </a:cubicBezTo>
                <a:cubicBezTo>
                  <a:pt x="2792488" y="1819198"/>
                  <a:pt x="2792488" y="1819198"/>
                  <a:pt x="3139435" y="1767852"/>
                </a:cubicBezTo>
                <a:close/>
                <a:moveTo>
                  <a:pt x="6500203" y="1483796"/>
                </a:moveTo>
                <a:cubicBezTo>
                  <a:pt x="6509749" y="1486898"/>
                  <a:pt x="6518341" y="1493581"/>
                  <a:pt x="6524069" y="1503130"/>
                </a:cubicBezTo>
                <a:cubicBezTo>
                  <a:pt x="6525979" y="1508858"/>
                  <a:pt x="6527887" y="1514587"/>
                  <a:pt x="6527887" y="1520316"/>
                </a:cubicBezTo>
                <a:cubicBezTo>
                  <a:pt x="6527887" y="1535593"/>
                  <a:pt x="6520251" y="1548959"/>
                  <a:pt x="6506885" y="1554689"/>
                </a:cubicBezTo>
                <a:cubicBezTo>
                  <a:pt x="6506885" y="1554689"/>
                  <a:pt x="6506885" y="1554689"/>
                  <a:pt x="6167027" y="1728465"/>
                </a:cubicBezTo>
                <a:cubicBezTo>
                  <a:pt x="6147935" y="1739923"/>
                  <a:pt x="6125023" y="1732285"/>
                  <a:pt x="6113567" y="1711279"/>
                </a:cubicBezTo>
                <a:cubicBezTo>
                  <a:pt x="6104019" y="1692183"/>
                  <a:pt x="6111657" y="1669267"/>
                  <a:pt x="6130751" y="1659718"/>
                </a:cubicBezTo>
                <a:cubicBezTo>
                  <a:pt x="6130751" y="1659718"/>
                  <a:pt x="6130751" y="1659718"/>
                  <a:pt x="6470609" y="1485944"/>
                </a:cubicBezTo>
                <a:cubicBezTo>
                  <a:pt x="6480155" y="1481169"/>
                  <a:pt x="6490655" y="1480692"/>
                  <a:pt x="6500203" y="1483796"/>
                </a:cubicBezTo>
                <a:close/>
                <a:moveTo>
                  <a:pt x="5958465" y="1477063"/>
                </a:moveTo>
                <a:cubicBezTo>
                  <a:pt x="5968935" y="1480887"/>
                  <a:pt x="5977979" y="1488535"/>
                  <a:pt x="5982737" y="1499053"/>
                </a:cubicBezTo>
                <a:cubicBezTo>
                  <a:pt x="5984641" y="1504790"/>
                  <a:pt x="5986543" y="1510525"/>
                  <a:pt x="5986543" y="1516262"/>
                </a:cubicBezTo>
                <a:cubicBezTo>
                  <a:pt x="5986543" y="1533472"/>
                  <a:pt x="5977025" y="1548771"/>
                  <a:pt x="5961797" y="1556419"/>
                </a:cubicBezTo>
                <a:cubicBezTo>
                  <a:pt x="5961797" y="1556419"/>
                  <a:pt x="5961797" y="1556419"/>
                  <a:pt x="5622953" y="1711312"/>
                </a:cubicBezTo>
                <a:cubicBezTo>
                  <a:pt x="5600109" y="1720872"/>
                  <a:pt x="5575363" y="1711312"/>
                  <a:pt x="5565845" y="1690277"/>
                </a:cubicBezTo>
                <a:cubicBezTo>
                  <a:pt x="5556327" y="1669242"/>
                  <a:pt x="5565845" y="1644382"/>
                  <a:pt x="5586783" y="1632909"/>
                </a:cubicBezTo>
                <a:cubicBezTo>
                  <a:pt x="5586783" y="1632909"/>
                  <a:pt x="5586783" y="1632909"/>
                  <a:pt x="5925629" y="1478018"/>
                </a:cubicBezTo>
                <a:cubicBezTo>
                  <a:pt x="5936099" y="1473237"/>
                  <a:pt x="5947995" y="1473237"/>
                  <a:pt x="5958465" y="1477063"/>
                </a:cubicBezTo>
                <a:close/>
                <a:moveTo>
                  <a:pt x="398251" y="1477054"/>
                </a:moveTo>
                <a:cubicBezTo>
                  <a:pt x="408483" y="1480877"/>
                  <a:pt x="417525" y="1488527"/>
                  <a:pt x="423236" y="1499043"/>
                </a:cubicBezTo>
                <a:cubicBezTo>
                  <a:pt x="425139" y="1504780"/>
                  <a:pt x="427043" y="1510517"/>
                  <a:pt x="427043" y="1516254"/>
                </a:cubicBezTo>
                <a:cubicBezTo>
                  <a:pt x="427043" y="1533463"/>
                  <a:pt x="417525" y="1548761"/>
                  <a:pt x="402296" y="1556411"/>
                </a:cubicBezTo>
                <a:cubicBezTo>
                  <a:pt x="402296" y="1556411"/>
                  <a:pt x="402296" y="1556411"/>
                  <a:pt x="61548" y="1711302"/>
                </a:cubicBezTo>
                <a:cubicBezTo>
                  <a:pt x="40608" y="1720863"/>
                  <a:pt x="15861" y="1711302"/>
                  <a:pt x="6343" y="1690267"/>
                </a:cubicBezTo>
                <a:cubicBezTo>
                  <a:pt x="-3175" y="1669232"/>
                  <a:pt x="6343" y="1644373"/>
                  <a:pt x="27283" y="1632900"/>
                </a:cubicBezTo>
                <a:cubicBezTo>
                  <a:pt x="27283" y="1632900"/>
                  <a:pt x="27283" y="1632900"/>
                  <a:pt x="366127" y="1478010"/>
                </a:cubicBezTo>
                <a:cubicBezTo>
                  <a:pt x="376597" y="1473229"/>
                  <a:pt x="388019" y="1473229"/>
                  <a:pt x="398251" y="1477054"/>
                </a:cubicBezTo>
                <a:close/>
                <a:moveTo>
                  <a:pt x="5394617" y="1468282"/>
                </a:moveTo>
                <a:cubicBezTo>
                  <a:pt x="5413013" y="1468638"/>
                  <a:pt x="5429801" y="1479682"/>
                  <a:pt x="5436943" y="1498207"/>
                </a:cubicBezTo>
                <a:cubicBezTo>
                  <a:pt x="5438849" y="1503907"/>
                  <a:pt x="5438849" y="1509607"/>
                  <a:pt x="5438849" y="1515306"/>
                </a:cubicBezTo>
                <a:cubicBezTo>
                  <a:pt x="5438849" y="1532407"/>
                  <a:pt x="5429323" y="1549507"/>
                  <a:pt x="5410273" y="1557108"/>
                </a:cubicBezTo>
                <a:cubicBezTo>
                  <a:pt x="5410273" y="1557108"/>
                  <a:pt x="5410273" y="1557108"/>
                  <a:pt x="5069273" y="1693909"/>
                </a:cubicBezTo>
                <a:cubicBezTo>
                  <a:pt x="5046413" y="1703410"/>
                  <a:pt x="5019743" y="1692010"/>
                  <a:pt x="5010219" y="1667309"/>
                </a:cubicBezTo>
                <a:cubicBezTo>
                  <a:pt x="5000693" y="1644508"/>
                  <a:pt x="5012123" y="1617908"/>
                  <a:pt x="5036889" y="1608408"/>
                </a:cubicBezTo>
                <a:cubicBezTo>
                  <a:pt x="5036889" y="1608408"/>
                  <a:pt x="5036889" y="1608408"/>
                  <a:pt x="5375983" y="1471608"/>
                </a:cubicBezTo>
                <a:cubicBezTo>
                  <a:pt x="5382175" y="1469232"/>
                  <a:pt x="5388485" y="1468163"/>
                  <a:pt x="5394617" y="1468282"/>
                </a:cubicBezTo>
                <a:close/>
                <a:moveTo>
                  <a:pt x="929404" y="1468271"/>
                </a:moveTo>
                <a:cubicBezTo>
                  <a:pt x="946996" y="1468627"/>
                  <a:pt x="963784" y="1479671"/>
                  <a:pt x="970928" y="1498195"/>
                </a:cubicBezTo>
                <a:cubicBezTo>
                  <a:pt x="972833" y="1503895"/>
                  <a:pt x="974738" y="1509596"/>
                  <a:pt x="974738" y="1515296"/>
                </a:cubicBezTo>
                <a:cubicBezTo>
                  <a:pt x="974738" y="1532396"/>
                  <a:pt x="963308" y="1549496"/>
                  <a:pt x="946163" y="1557096"/>
                </a:cubicBezTo>
                <a:cubicBezTo>
                  <a:pt x="946163" y="1557096"/>
                  <a:pt x="946163" y="1557096"/>
                  <a:pt x="605163" y="1693897"/>
                </a:cubicBezTo>
                <a:cubicBezTo>
                  <a:pt x="580398" y="1703397"/>
                  <a:pt x="553727" y="1691997"/>
                  <a:pt x="546107" y="1667296"/>
                </a:cubicBezTo>
                <a:cubicBezTo>
                  <a:pt x="536582" y="1644496"/>
                  <a:pt x="548012" y="1617896"/>
                  <a:pt x="570872" y="1608396"/>
                </a:cubicBezTo>
                <a:cubicBezTo>
                  <a:pt x="570872" y="1608396"/>
                  <a:pt x="570872" y="1608396"/>
                  <a:pt x="911872" y="1471596"/>
                </a:cubicBezTo>
                <a:cubicBezTo>
                  <a:pt x="917587" y="1469221"/>
                  <a:pt x="923540" y="1468152"/>
                  <a:pt x="929404" y="1468271"/>
                </a:cubicBezTo>
                <a:close/>
                <a:moveTo>
                  <a:pt x="4844481" y="1461443"/>
                </a:moveTo>
                <a:cubicBezTo>
                  <a:pt x="4864127" y="1463139"/>
                  <a:pt x="4881629" y="1475284"/>
                  <a:pt x="4887343" y="1493857"/>
                </a:cubicBezTo>
                <a:cubicBezTo>
                  <a:pt x="4889249" y="1499571"/>
                  <a:pt x="4891155" y="1505287"/>
                  <a:pt x="4891155" y="1511001"/>
                </a:cubicBezTo>
                <a:cubicBezTo>
                  <a:pt x="4891155" y="1531957"/>
                  <a:pt x="4877819" y="1551007"/>
                  <a:pt x="4856863" y="1556723"/>
                </a:cubicBezTo>
                <a:cubicBezTo>
                  <a:pt x="4856863" y="1556723"/>
                  <a:pt x="4856863" y="1556723"/>
                  <a:pt x="4515863" y="1674834"/>
                </a:cubicBezTo>
                <a:cubicBezTo>
                  <a:pt x="4489193" y="1684359"/>
                  <a:pt x="4462523" y="1671024"/>
                  <a:pt x="4452999" y="1644353"/>
                </a:cubicBezTo>
                <a:cubicBezTo>
                  <a:pt x="4443473" y="1619588"/>
                  <a:pt x="4456809" y="1591012"/>
                  <a:pt x="4483479" y="1583392"/>
                </a:cubicBezTo>
                <a:cubicBezTo>
                  <a:pt x="4483479" y="1583392"/>
                  <a:pt x="4483479" y="1583392"/>
                  <a:pt x="4824479" y="1463377"/>
                </a:cubicBezTo>
                <a:cubicBezTo>
                  <a:pt x="4831147" y="1461472"/>
                  <a:pt x="4837933" y="1460877"/>
                  <a:pt x="4844481" y="1461443"/>
                </a:cubicBezTo>
                <a:close/>
                <a:moveTo>
                  <a:pt x="1479736" y="1461429"/>
                </a:moveTo>
                <a:cubicBezTo>
                  <a:pt x="1498681" y="1463125"/>
                  <a:pt x="1516553" y="1475270"/>
                  <a:pt x="1523702" y="1493843"/>
                </a:cubicBezTo>
                <a:cubicBezTo>
                  <a:pt x="1525608" y="1499559"/>
                  <a:pt x="1525608" y="1505273"/>
                  <a:pt x="1525608" y="1510988"/>
                </a:cubicBezTo>
                <a:cubicBezTo>
                  <a:pt x="1525608" y="1531943"/>
                  <a:pt x="1512263" y="1550994"/>
                  <a:pt x="1493199" y="1556708"/>
                </a:cubicBezTo>
                <a:cubicBezTo>
                  <a:pt x="1493199" y="1556708"/>
                  <a:pt x="1493199" y="1556708"/>
                  <a:pt x="1150050" y="1674820"/>
                </a:cubicBezTo>
                <a:cubicBezTo>
                  <a:pt x="1125267" y="1684344"/>
                  <a:pt x="1096671" y="1671009"/>
                  <a:pt x="1089046" y="1644339"/>
                </a:cubicBezTo>
                <a:cubicBezTo>
                  <a:pt x="1079514" y="1619574"/>
                  <a:pt x="1092859" y="1590999"/>
                  <a:pt x="1117642" y="1583379"/>
                </a:cubicBezTo>
                <a:cubicBezTo>
                  <a:pt x="1117642" y="1583379"/>
                  <a:pt x="1117642" y="1583379"/>
                  <a:pt x="1460791" y="1463363"/>
                </a:cubicBezTo>
                <a:cubicBezTo>
                  <a:pt x="1466987" y="1461459"/>
                  <a:pt x="1473421" y="1460863"/>
                  <a:pt x="1479736" y="1461429"/>
                </a:cubicBezTo>
                <a:close/>
                <a:moveTo>
                  <a:pt x="4288013" y="1454945"/>
                </a:moveTo>
                <a:cubicBezTo>
                  <a:pt x="4308475" y="1457002"/>
                  <a:pt x="4325989" y="1471667"/>
                  <a:pt x="4331709" y="1491699"/>
                </a:cubicBezTo>
                <a:cubicBezTo>
                  <a:pt x="4333615" y="1497422"/>
                  <a:pt x="4335523" y="1501238"/>
                  <a:pt x="4335523" y="1506961"/>
                </a:cubicBezTo>
                <a:cubicBezTo>
                  <a:pt x="4335523" y="1529854"/>
                  <a:pt x="4320271" y="1550841"/>
                  <a:pt x="4297395" y="1558472"/>
                </a:cubicBezTo>
                <a:cubicBezTo>
                  <a:pt x="4297395" y="1558472"/>
                  <a:pt x="4297395" y="1558472"/>
                  <a:pt x="3954251" y="1657678"/>
                </a:cubicBezTo>
                <a:cubicBezTo>
                  <a:pt x="3925655" y="1665310"/>
                  <a:pt x="3897061" y="1650048"/>
                  <a:pt x="3887529" y="1621430"/>
                </a:cubicBezTo>
                <a:cubicBezTo>
                  <a:pt x="3879903" y="1594720"/>
                  <a:pt x="3897061" y="1564195"/>
                  <a:pt x="3923749" y="1556564"/>
                </a:cubicBezTo>
                <a:cubicBezTo>
                  <a:pt x="3923749" y="1556564"/>
                  <a:pt x="3923749" y="1556564"/>
                  <a:pt x="4266893" y="1457360"/>
                </a:cubicBezTo>
                <a:cubicBezTo>
                  <a:pt x="4274043" y="1454976"/>
                  <a:pt x="4281191" y="1454259"/>
                  <a:pt x="4288013" y="1454945"/>
                </a:cubicBezTo>
                <a:close/>
                <a:moveTo>
                  <a:pt x="2034963" y="1454929"/>
                </a:moveTo>
                <a:cubicBezTo>
                  <a:pt x="2055102" y="1456986"/>
                  <a:pt x="2073637" y="1471652"/>
                  <a:pt x="2079340" y="1491683"/>
                </a:cubicBezTo>
                <a:cubicBezTo>
                  <a:pt x="2081241" y="1497407"/>
                  <a:pt x="2081241" y="1501222"/>
                  <a:pt x="2081241" y="1506945"/>
                </a:cubicBezTo>
                <a:cubicBezTo>
                  <a:pt x="2081241" y="1529839"/>
                  <a:pt x="2066033" y="1550825"/>
                  <a:pt x="2043221" y="1558456"/>
                </a:cubicBezTo>
                <a:cubicBezTo>
                  <a:pt x="2043221" y="1558456"/>
                  <a:pt x="2043221" y="1558456"/>
                  <a:pt x="1701036" y="1657662"/>
                </a:cubicBezTo>
                <a:cubicBezTo>
                  <a:pt x="1672521" y="1665293"/>
                  <a:pt x="1644005" y="1650030"/>
                  <a:pt x="1636401" y="1621413"/>
                </a:cubicBezTo>
                <a:cubicBezTo>
                  <a:pt x="1628797" y="1594704"/>
                  <a:pt x="1644005" y="1564179"/>
                  <a:pt x="1672521" y="1556548"/>
                </a:cubicBezTo>
                <a:cubicBezTo>
                  <a:pt x="1672521" y="1556548"/>
                  <a:pt x="1672521" y="1556548"/>
                  <a:pt x="2014705" y="1457343"/>
                </a:cubicBezTo>
                <a:cubicBezTo>
                  <a:pt x="2021359" y="1454958"/>
                  <a:pt x="2028250" y="1454243"/>
                  <a:pt x="2034963" y="1454929"/>
                </a:cubicBezTo>
                <a:close/>
                <a:moveTo>
                  <a:pt x="3729081" y="1449674"/>
                </a:moveTo>
                <a:cubicBezTo>
                  <a:pt x="3750751" y="1453146"/>
                  <a:pt x="3768943" y="1469169"/>
                  <a:pt x="3773223" y="1490533"/>
                </a:cubicBezTo>
                <a:cubicBezTo>
                  <a:pt x="3775127" y="1496230"/>
                  <a:pt x="3775127" y="1500029"/>
                  <a:pt x="3775127" y="1503826"/>
                </a:cubicBezTo>
                <a:cubicBezTo>
                  <a:pt x="3775127" y="1528514"/>
                  <a:pt x="3758005" y="1553203"/>
                  <a:pt x="3733273" y="1558900"/>
                </a:cubicBezTo>
                <a:cubicBezTo>
                  <a:pt x="3733273" y="1558900"/>
                  <a:pt x="3733273" y="1558900"/>
                  <a:pt x="3388939" y="1638661"/>
                </a:cubicBezTo>
                <a:cubicBezTo>
                  <a:pt x="3358500" y="1646258"/>
                  <a:pt x="3328062" y="1627267"/>
                  <a:pt x="3322355" y="1598781"/>
                </a:cubicBezTo>
                <a:cubicBezTo>
                  <a:pt x="3314745" y="1568395"/>
                  <a:pt x="3333769" y="1538010"/>
                  <a:pt x="3362305" y="1530413"/>
                </a:cubicBezTo>
                <a:cubicBezTo>
                  <a:pt x="3362305" y="1530413"/>
                  <a:pt x="3362305" y="1530413"/>
                  <a:pt x="3706639" y="1450653"/>
                </a:cubicBezTo>
                <a:cubicBezTo>
                  <a:pt x="3714249" y="1448755"/>
                  <a:pt x="3721859" y="1448517"/>
                  <a:pt x="3729081" y="1449674"/>
                </a:cubicBezTo>
                <a:close/>
                <a:moveTo>
                  <a:pt x="2595324" y="1449656"/>
                </a:moveTo>
                <a:cubicBezTo>
                  <a:pt x="2616547" y="1453128"/>
                  <a:pt x="2634026" y="1469151"/>
                  <a:pt x="2639733" y="1490515"/>
                </a:cubicBezTo>
                <a:cubicBezTo>
                  <a:pt x="2641635" y="1496212"/>
                  <a:pt x="2641635" y="1500010"/>
                  <a:pt x="2641635" y="1503809"/>
                </a:cubicBezTo>
                <a:cubicBezTo>
                  <a:pt x="2641635" y="1528497"/>
                  <a:pt x="2624513" y="1553184"/>
                  <a:pt x="2597880" y="1558882"/>
                </a:cubicBezTo>
                <a:cubicBezTo>
                  <a:pt x="2597880" y="1558882"/>
                  <a:pt x="2597880" y="1558882"/>
                  <a:pt x="2255448" y="1638643"/>
                </a:cubicBezTo>
                <a:cubicBezTo>
                  <a:pt x="2225009" y="1646239"/>
                  <a:pt x="2194571" y="1627248"/>
                  <a:pt x="2188864" y="1598762"/>
                </a:cubicBezTo>
                <a:cubicBezTo>
                  <a:pt x="2181254" y="1568377"/>
                  <a:pt x="2200278" y="1537992"/>
                  <a:pt x="2228814" y="1530396"/>
                </a:cubicBezTo>
                <a:cubicBezTo>
                  <a:pt x="2228814" y="1530396"/>
                  <a:pt x="2228814" y="1530396"/>
                  <a:pt x="2573149" y="1450635"/>
                </a:cubicBezTo>
                <a:cubicBezTo>
                  <a:pt x="2580759" y="1448736"/>
                  <a:pt x="2588249" y="1448498"/>
                  <a:pt x="2595324" y="1449656"/>
                </a:cubicBezTo>
                <a:close/>
                <a:moveTo>
                  <a:pt x="3137752" y="1442422"/>
                </a:moveTo>
                <a:cubicBezTo>
                  <a:pt x="3170203" y="1436707"/>
                  <a:pt x="3200745" y="1457662"/>
                  <a:pt x="3206472" y="1490047"/>
                </a:cubicBezTo>
                <a:cubicBezTo>
                  <a:pt x="3206472" y="1493857"/>
                  <a:pt x="3208381" y="1497666"/>
                  <a:pt x="3208381" y="1499571"/>
                </a:cubicBezTo>
                <a:cubicBezTo>
                  <a:pt x="3208381" y="1528146"/>
                  <a:pt x="3187383" y="1552912"/>
                  <a:pt x="3158750" y="1558627"/>
                </a:cubicBezTo>
                <a:cubicBezTo>
                  <a:pt x="3158750" y="1558627"/>
                  <a:pt x="3158750" y="1558627"/>
                  <a:pt x="2813242" y="1621493"/>
                </a:cubicBezTo>
                <a:cubicBezTo>
                  <a:pt x="2780791" y="1627208"/>
                  <a:pt x="2750249" y="1606252"/>
                  <a:pt x="2744523" y="1573867"/>
                </a:cubicBezTo>
                <a:cubicBezTo>
                  <a:pt x="2736887" y="1541481"/>
                  <a:pt x="2759794" y="1511001"/>
                  <a:pt x="2792245" y="1505286"/>
                </a:cubicBezTo>
                <a:cubicBezTo>
                  <a:pt x="2792245" y="1505286"/>
                  <a:pt x="2792245" y="1505286"/>
                  <a:pt x="3137752" y="1442422"/>
                </a:cubicBezTo>
                <a:close/>
                <a:moveTo>
                  <a:pt x="6500919" y="1161543"/>
                </a:moveTo>
                <a:cubicBezTo>
                  <a:pt x="6510703" y="1164651"/>
                  <a:pt x="6519295" y="1171342"/>
                  <a:pt x="6524069" y="1180903"/>
                </a:cubicBezTo>
                <a:cubicBezTo>
                  <a:pt x="6525979" y="1186639"/>
                  <a:pt x="6527887" y="1192374"/>
                  <a:pt x="6527887" y="1198110"/>
                </a:cubicBezTo>
                <a:cubicBezTo>
                  <a:pt x="6527887" y="1213407"/>
                  <a:pt x="6520251" y="1226789"/>
                  <a:pt x="6506885" y="1234435"/>
                </a:cubicBezTo>
                <a:cubicBezTo>
                  <a:pt x="6506885" y="1234435"/>
                  <a:pt x="6506885" y="1234435"/>
                  <a:pt x="6167027" y="1406514"/>
                </a:cubicBezTo>
                <a:cubicBezTo>
                  <a:pt x="6147935" y="1416074"/>
                  <a:pt x="6123113" y="1408427"/>
                  <a:pt x="6113567" y="1389305"/>
                </a:cubicBezTo>
                <a:cubicBezTo>
                  <a:pt x="6104019" y="1370186"/>
                  <a:pt x="6111657" y="1345329"/>
                  <a:pt x="6130751" y="1335769"/>
                </a:cubicBezTo>
                <a:cubicBezTo>
                  <a:pt x="6130751" y="1335769"/>
                  <a:pt x="6130751" y="1335769"/>
                  <a:pt x="6470609" y="1163695"/>
                </a:cubicBezTo>
                <a:cubicBezTo>
                  <a:pt x="6480155" y="1158914"/>
                  <a:pt x="6491133" y="1158437"/>
                  <a:pt x="6500919" y="1161543"/>
                </a:cubicBezTo>
                <a:close/>
                <a:moveTo>
                  <a:pt x="5957751" y="1155623"/>
                </a:moveTo>
                <a:cubicBezTo>
                  <a:pt x="5967983" y="1159186"/>
                  <a:pt x="5977027" y="1166787"/>
                  <a:pt x="5982737" y="1178188"/>
                </a:cubicBezTo>
                <a:cubicBezTo>
                  <a:pt x="5984641" y="1183889"/>
                  <a:pt x="5986543" y="1189591"/>
                  <a:pt x="5986543" y="1195291"/>
                </a:cubicBezTo>
                <a:cubicBezTo>
                  <a:pt x="5986543" y="1210493"/>
                  <a:pt x="5977025" y="1225692"/>
                  <a:pt x="5961797" y="1233291"/>
                </a:cubicBezTo>
                <a:cubicBezTo>
                  <a:pt x="5961797" y="1233291"/>
                  <a:pt x="5961797" y="1233291"/>
                  <a:pt x="5622953" y="1389109"/>
                </a:cubicBezTo>
                <a:cubicBezTo>
                  <a:pt x="5600109" y="1398609"/>
                  <a:pt x="5575363" y="1389109"/>
                  <a:pt x="5565845" y="1368207"/>
                </a:cubicBezTo>
                <a:cubicBezTo>
                  <a:pt x="5556327" y="1347304"/>
                  <a:pt x="5565845" y="1322600"/>
                  <a:pt x="5586783" y="1313099"/>
                </a:cubicBezTo>
                <a:cubicBezTo>
                  <a:pt x="5586783" y="1313099"/>
                  <a:pt x="5586783" y="1313099"/>
                  <a:pt x="5925629" y="1157286"/>
                </a:cubicBezTo>
                <a:cubicBezTo>
                  <a:pt x="5936099" y="1152535"/>
                  <a:pt x="5947519" y="1152060"/>
                  <a:pt x="5957751" y="1155623"/>
                </a:cubicBezTo>
                <a:close/>
                <a:moveTo>
                  <a:pt x="398309" y="1155612"/>
                </a:moveTo>
                <a:cubicBezTo>
                  <a:pt x="408311" y="1159175"/>
                  <a:pt x="416884" y="1166776"/>
                  <a:pt x="421646" y="1178178"/>
                </a:cubicBezTo>
                <a:cubicBezTo>
                  <a:pt x="425456" y="1183878"/>
                  <a:pt x="425456" y="1189578"/>
                  <a:pt x="425456" y="1195279"/>
                </a:cubicBezTo>
                <a:cubicBezTo>
                  <a:pt x="425456" y="1210481"/>
                  <a:pt x="417836" y="1225680"/>
                  <a:pt x="402596" y="1233281"/>
                </a:cubicBezTo>
                <a:cubicBezTo>
                  <a:pt x="402596" y="1233281"/>
                  <a:pt x="402596" y="1233281"/>
                  <a:pt x="61596" y="1389098"/>
                </a:cubicBezTo>
                <a:cubicBezTo>
                  <a:pt x="40641" y="1398599"/>
                  <a:pt x="15875" y="1389098"/>
                  <a:pt x="6350" y="1368196"/>
                </a:cubicBezTo>
                <a:cubicBezTo>
                  <a:pt x="-3175" y="1347292"/>
                  <a:pt x="6350" y="1322591"/>
                  <a:pt x="27305" y="1313089"/>
                </a:cubicBezTo>
                <a:cubicBezTo>
                  <a:pt x="27305" y="1313089"/>
                  <a:pt x="27305" y="1313089"/>
                  <a:pt x="366400" y="1157275"/>
                </a:cubicBezTo>
                <a:cubicBezTo>
                  <a:pt x="376878" y="1152524"/>
                  <a:pt x="388308" y="1152049"/>
                  <a:pt x="398309" y="1155612"/>
                </a:cubicBezTo>
                <a:close/>
                <a:moveTo>
                  <a:pt x="5393481" y="1144397"/>
                </a:moveTo>
                <a:cubicBezTo>
                  <a:pt x="5411085" y="1144664"/>
                  <a:pt x="5427887" y="1155337"/>
                  <a:pt x="5435035" y="1172416"/>
                </a:cubicBezTo>
                <a:cubicBezTo>
                  <a:pt x="5436941" y="1178109"/>
                  <a:pt x="5438847" y="1183803"/>
                  <a:pt x="5438847" y="1189495"/>
                </a:cubicBezTo>
                <a:cubicBezTo>
                  <a:pt x="5438847" y="1208471"/>
                  <a:pt x="5427409" y="1225547"/>
                  <a:pt x="5410251" y="1231239"/>
                </a:cubicBezTo>
                <a:cubicBezTo>
                  <a:pt x="5410251" y="1231239"/>
                  <a:pt x="5410251" y="1231239"/>
                  <a:pt x="5070911" y="1371660"/>
                </a:cubicBezTo>
                <a:cubicBezTo>
                  <a:pt x="5046127" y="1381147"/>
                  <a:pt x="5021345" y="1369762"/>
                  <a:pt x="5011813" y="1346990"/>
                </a:cubicBezTo>
                <a:cubicBezTo>
                  <a:pt x="5002279" y="1324219"/>
                  <a:pt x="5011813" y="1297652"/>
                  <a:pt x="5036595" y="1288164"/>
                </a:cubicBezTo>
                <a:cubicBezTo>
                  <a:pt x="5036595" y="1288164"/>
                  <a:pt x="5036595" y="1288164"/>
                  <a:pt x="5375937" y="1147747"/>
                </a:cubicBezTo>
                <a:cubicBezTo>
                  <a:pt x="5381657" y="1145376"/>
                  <a:pt x="5387613" y="1144308"/>
                  <a:pt x="5393481" y="1144397"/>
                </a:cubicBezTo>
                <a:close/>
                <a:moveTo>
                  <a:pt x="929392" y="1144384"/>
                </a:moveTo>
                <a:cubicBezTo>
                  <a:pt x="946460" y="1144651"/>
                  <a:pt x="962188" y="1155325"/>
                  <a:pt x="969337" y="1172402"/>
                </a:cubicBezTo>
                <a:cubicBezTo>
                  <a:pt x="973150" y="1178096"/>
                  <a:pt x="973150" y="1183789"/>
                  <a:pt x="973150" y="1189481"/>
                </a:cubicBezTo>
                <a:cubicBezTo>
                  <a:pt x="973150" y="1208456"/>
                  <a:pt x="963618" y="1225533"/>
                  <a:pt x="946460" y="1231226"/>
                </a:cubicBezTo>
                <a:cubicBezTo>
                  <a:pt x="946460" y="1231226"/>
                  <a:pt x="946460" y="1231226"/>
                  <a:pt x="605213" y="1371647"/>
                </a:cubicBezTo>
                <a:cubicBezTo>
                  <a:pt x="582336" y="1381135"/>
                  <a:pt x="555646" y="1369750"/>
                  <a:pt x="546114" y="1346978"/>
                </a:cubicBezTo>
                <a:cubicBezTo>
                  <a:pt x="536582" y="1324207"/>
                  <a:pt x="548020" y="1297641"/>
                  <a:pt x="570897" y="1288153"/>
                </a:cubicBezTo>
                <a:cubicBezTo>
                  <a:pt x="570897" y="1288153"/>
                  <a:pt x="570897" y="1288153"/>
                  <a:pt x="912145" y="1147734"/>
                </a:cubicBezTo>
                <a:cubicBezTo>
                  <a:pt x="917864" y="1145362"/>
                  <a:pt x="923703" y="1144295"/>
                  <a:pt x="929392" y="1144384"/>
                </a:cubicBezTo>
                <a:close/>
                <a:moveTo>
                  <a:pt x="4842207" y="1136792"/>
                </a:moveTo>
                <a:cubicBezTo>
                  <a:pt x="4861009" y="1137683"/>
                  <a:pt x="4878475" y="1149795"/>
                  <a:pt x="4884177" y="1168317"/>
                </a:cubicBezTo>
                <a:cubicBezTo>
                  <a:pt x="4886079" y="1174017"/>
                  <a:pt x="4887979" y="1179717"/>
                  <a:pt x="4887979" y="1185417"/>
                </a:cubicBezTo>
                <a:cubicBezTo>
                  <a:pt x="4887979" y="1204415"/>
                  <a:pt x="4876573" y="1223411"/>
                  <a:pt x="4855663" y="1231009"/>
                </a:cubicBezTo>
                <a:cubicBezTo>
                  <a:pt x="4855663" y="1231009"/>
                  <a:pt x="4855663" y="1231009"/>
                  <a:pt x="4515395" y="1354496"/>
                </a:cubicBezTo>
                <a:cubicBezTo>
                  <a:pt x="4490683" y="1362097"/>
                  <a:pt x="4462169" y="1350697"/>
                  <a:pt x="4454565" y="1325999"/>
                </a:cubicBezTo>
                <a:cubicBezTo>
                  <a:pt x="4445059" y="1301300"/>
                  <a:pt x="4458367" y="1272803"/>
                  <a:pt x="4483079" y="1263303"/>
                </a:cubicBezTo>
                <a:cubicBezTo>
                  <a:pt x="4483079" y="1263303"/>
                  <a:pt x="4483079" y="1263303"/>
                  <a:pt x="4823347" y="1139820"/>
                </a:cubicBezTo>
                <a:cubicBezTo>
                  <a:pt x="4829525" y="1137446"/>
                  <a:pt x="4835941" y="1136496"/>
                  <a:pt x="4842207" y="1136792"/>
                </a:cubicBezTo>
                <a:close/>
                <a:moveTo>
                  <a:pt x="1478264" y="1136777"/>
                </a:moveTo>
                <a:cubicBezTo>
                  <a:pt x="1496633" y="1137668"/>
                  <a:pt x="1513397" y="1149779"/>
                  <a:pt x="1520531" y="1168302"/>
                </a:cubicBezTo>
                <a:cubicBezTo>
                  <a:pt x="1522433" y="1174002"/>
                  <a:pt x="1522433" y="1179701"/>
                  <a:pt x="1522433" y="1185401"/>
                </a:cubicBezTo>
                <a:cubicBezTo>
                  <a:pt x="1522433" y="1204399"/>
                  <a:pt x="1511019" y="1223396"/>
                  <a:pt x="1491996" y="1230995"/>
                </a:cubicBezTo>
                <a:cubicBezTo>
                  <a:pt x="1491996" y="1230995"/>
                  <a:pt x="1491996" y="1230995"/>
                  <a:pt x="1151487" y="1354481"/>
                </a:cubicBezTo>
                <a:cubicBezTo>
                  <a:pt x="1124855" y="1362081"/>
                  <a:pt x="1098223" y="1350681"/>
                  <a:pt x="1088711" y="1325984"/>
                </a:cubicBezTo>
                <a:cubicBezTo>
                  <a:pt x="1081102" y="1301286"/>
                  <a:pt x="1092516" y="1272790"/>
                  <a:pt x="1117245" y="1263291"/>
                </a:cubicBezTo>
                <a:cubicBezTo>
                  <a:pt x="1117245" y="1263291"/>
                  <a:pt x="1117245" y="1263291"/>
                  <a:pt x="1459657" y="1139805"/>
                </a:cubicBezTo>
                <a:cubicBezTo>
                  <a:pt x="1465840" y="1137431"/>
                  <a:pt x="1472141" y="1136480"/>
                  <a:pt x="1478264" y="1136777"/>
                </a:cubicBezTo>
                <a:close/>
                <a:moveTo>
                  <a:pt x="4287327" y="1129708"/>
                </a:moveTo>
                <a:cubicBezTo>
                  <a:pt x="4306945" y="1131580"/>
                  <a:pt x="4324421" y="1144420"/>
                  <a:pt x="4330129" y="1165821"/>
                </a:cubicBezTo>
                <a:cubicBezTo>
                  <a:pt x="4332031" y="1169626"/>
                  <a:pt x="4333935" y="1175333"/>
                  <a:pt x="4333935" y="1181040"/>
                </a:cubicBezTo>
                <a:cubicBezTo>
                  <a:pt x="4333935" y="1201965"/>
                  <a:pt x="4318715" y="1222889"/>
                  <a:pt x="4297789" y="1228594"/>
                </a:cubicBezTo>
                <a:cubicBezTo>
                  <a:pt x="4297789" y="1228594"/>
                  <a:pt x="4297789" y="1228594"/>
                  <a:pt x="3955367" y="1337024"/>
                </a:cubicBezTo>
                <a:cubicBezTo>
                  <a:pt x="3928735" y="1344633"/>
                  <a:pt x="3900199" y="1329414"/>
                  <a:pt x="3890687" y="1302782"/>
                </a:cubicBezTo>
                <a:cubicBezTo>
                  <a:pt x="3883079" y="1276150"/>
                  <a:pt x="3898297" y="1247615"/>
                  <a:pt x="3924929" y="1240007"/>
                </a:cubicBezTo>
                <a:cubicBezTo>
                  <a:pt x="3924929" y="1240007"/>
                  <a:pt x="3924929" y="1240007"/>
                  <a:pt x="4267351" y="1131580"/>
                </a:cubicBezTo>
                <a:cubicBezTo>
                  <a:pt x="4274009" y="1129678"/>
                  <a:pt x="4280787" y="1129084"/>
                  <a:pt x="4287327" y="1129708"/>
                </a:cubicBezTo>
                <a:close/>
                <a:moveTo>
                  <a:pt x="2033043" y="1129690"/>
                </a:moveTo>
                <a:cubicBezTo>
                  <a:pt x="2052764" y="1131563"/>
                  <a:pt x="2070611" y="1144403"/>
                  <a:pt x="2077749" y="1165803"/>
                </a:cubicBezTo>
                <a:cubicBezTo>
                  <a:pt x="2079653" y="1169608"/>
                  <a:pt x="2079653" y="1175315"/>
                  <a:pt x="2079653" y="1181022"/>
                </a:cubicBezTo>
                <a:cubicBezTo>
                  <a:pt x="2079653" y="1201947"/>
                  <a:pt x="2066327" y="1222871"/>
                  <a:pt x="2043483" y="1228577"/>
                </a:cubicBezTo>
                <a:cubicBezTo>
                  <a:pt x="2043483" y="1228577"/>
                  <a:pt x="2043483" y="1228577"/>
                  <a:pt x="1702724" y="1337007"/>
                </a:cubicBezTo>
                <a:cubicBezTo>
                  <a:pt x="1674169" y="1344616"/>
                  <a:pt x="1645613" y="1329398"/>
                  <a:pt x="1637999" y="1302766"/>
                </a:cubicBezTo>
                <a:cubicBezTo>
                  <a:pt x="1630384" y="1276134"/>
                  <a:pt x="1643710" y="1247600"/>
                  <a:pt x="1670361" y="1239991"/>
                </a:cubicBezTo>
                <a:cubicBezTo>
                  <a:pt x="1670361" y="1239991"/>
                  <a:pt x="1670361" y="1239991"/>
                  <a:pt x="2013024" y="1131563"/>
                </a:cubicBezTo>
                <a:cubicBezTo>
                  <a:pt x="2019687" y="1129660"/>
                  <a:pt x="2026469" y="1129066"/>
                  <a:pt x="2033043" y="1129690"/>
                </a:cubicBezTo>
                <a:close/>
                <a:moveTo>
                  <a:pt x="3726359" y="1122412"/>
                </a:moveTo>
                <a:cubicBezTo>
                  <a:pt x="3747345" y="1125377"/>
                  <a:pt x="3765919" y="1140469"/>
                  <a:pt x="3771633" y="1162029"/>
                </a:cubicBezTo>
                <a:cubicBezTo>
                  <a:pt x="3773539" y="1165862"/>
                  <a:pt x="3773539" y="1171611"/>
                  <a:pt x="3773539" y="1175444"/>
                </a:cubicBezTo>
                <a:cubicBezTo>
                  <a:pt x="3773539" y="1200359"/>
                  <a:pt x="3758297" y="1221437"/>
                  <a:pt x="3733533" y="1229103"/>
                </a:cubicBezTo>
                <a:cubicBezTo>
                  <a:pt x="3733533" y="1229103"/>
                  <a:pt x="3733533" y="1229103"/>
                  <a:pt x="3390628" y="1321092"/>
                </a:cubicBezTo>
                <a:cubicBezTo>
                  <a:pt x="3362053" y="1328758"/>
                  <a:pt x="3331572" y="1311508"/>
                  <a:pt x="3323952" y="1282761"/>
                </a:cubicBezTo>
                <a:cubicBezTo>
                  <a:pt x="3316332" y="1254015"/>
                  <a:pt x="3333477" y="1223355"/>
                  <a:pt x="3362053" y="1215690"/>
                </a:cubicBezTo>
                <a:cubicBezTo>
                  <a:pt x="3362053" y="1215690"/>
                  <a:pt x="3362053" y="1215690"/>
                  <a:pt x="3704957" y="1123700"/>
                </a:cubicBezTo>
                <a:cubicBezTo>
                  <a:pt x="3712101" y="1121784"/>
                  <a:pt x="3719365" y="1121424"/>
                  <a:pt x="3726359" y="1122412"/>
                </a:cubicBezTo>
                <a:close/>
                <a:moveTo>
                  <a:pt x="2592869" y="1122392"/>
                </a:moveTo>
                <a:cubicBezTo>
                  <a:pt x="2613854" y="1125356"/>
                  <a:pt x="2632428" y="1140449"/>
                  <a:pt x="2638143" y="1162008"/>
                </a:cubicBezTo>
                <a:cubicBezTo>
                  <a:pt x="2640048" y="1165841"/>
                  <a:pt x="2640048" y="1171591"/>
                  <a:pt x="2640048" y="1175424"/>
                </a:cubicBezTo>
                <a:cubicBezTo>
                  <a:pt x="2640048" y="1200338"/>
                  <a:pt x="2622903" y="1221418"/>
                  <a:pt x="2600042" y="1229084"/>
                </a:cubicBezTo>
                <a:cubicBezTo>
                  <a:pt x="2600042" y="1229084"/>
                  <a:pt x="2600042" y="1229084"/>
                  <a:pt x="2257138" y="1321073"/>
                </a:cubicBezTo>
                <a:cubicBezTo>
                  <a:pt x="2226658" y="1328739"/>
                  <a:pt x="2198082" y="1311491"/>
                  <a:pt x="2190462" y="1282744"/>
                </a:cubicBezTo>
                <a:cubicBezTo>
                  <a:pt x="2182842" y="1253997"/>
                  <a:pt x="2199987" y="1223335"/>
                  <a:pt x="2228563" y="1215669"/>
                </a:cubicBezTo>
                <a:cubicBezTo>
                  <a:pt x="2228563" y="1215669"/>
                  <a:pt x="2228563" y="1215669"/>
                  <a:pt x="2571467" y="1123680"/>
                </a:cubicBezTo>
                <a:cubicBezTo>
                  <a:pt x="2578611" y="1121763"/>
                  <a:pt x="2585874" y="1121404"/>
                  <a:pt x="2592869" y="1122392"/>
                </a:cubicBezTo>
                <a:close/>
                <a:moveTo>
                  <a:pt x="3157606" y="1116352"/>
                </a:moveTo>
                <a:cubicBezTo>
                  <a:pt x="3179261" y="1119924"/>
                  <a:pt x="3197441" y="1136354"/>
                  <a:pt x="3201718" y="1159215"/>
                </a:cubicBezTo>
                <a:cubicBezTo>
                  <a:pt x="3203619" y="1163024"/>
                  <a:pt x="3203619" y="1168739"/>
                  <a:pt x="3203619" y="1172550"/>
                </a:cubicBezTo>
                <a:cubicBezTo>
                  <a:pt x="3203619" y="1197316"/>
                  <a:pt x="3186509" y="1222078"/>
                  <a:pt x="3159894" y="1227794"/>
                </a:cubicBezTo>
                <a:cubicBezTo>
                  <a:pt x="3159894" y="1227794"/>
                  <a:pt x="3159894" y="1227794"/>
                  <a:pt x="2815793" y="1303992"/>
                </a:cubicBezTo>
                <a:cubicBezTo>
                  <a:pt x="2785375" y="1309707"/>
                  <a:pt x="2754958" y="1290657"/>
                  <a:pt x="2747353" y="1260177"/>
                </a:cubicBezTo>
                <a:cubicBezTo>
                  <a:pt x="2741650" y="1229698"/>
                  <a:pt x="2760661" y="1199220"/>
                  <a:pt x="2791079" y="1191600"/>
                </a:cubicBezTo>
                <a:cubicBezTo>
                  <a:pt x="2791079" y="1191600"/>
                  <a:pt x="2791079" y="1191600"/>
                  <a:pt x="3135179" y="1117304"/>
                </a:cubicBezTo>
                <a:cubicBezTo>
                  <a:pt x="3142784" y="1115399"/>
                  <a:pt x="3150388" y="1115161"/>
                  <a:pt x="3157606" y="1116352"/>
                </a:cubicBezTo>
                <a:close/>
                <a:moveTo>
                  <a:pt x="6485675" y="836904"/>
                </a:moveTo>
                <a:cubicBezTo>
                  <a:pt x="6501157" y="835651"/>
                  <a:pt x="6516909" y="844602"/>
                  <a:pt x="6524069" y="858924"/>
                </a:cubicBezTo>
                <a:cubicBezTo>
                  <a:pt x="6525979" y="864653"/>
                  <a:pt x="6527887" y="870382"/>
                  <a:pt x="6527887" y="876110"/>
                </a:cubicBezTo>
                <a:cubicBezTo>
                  <a:pt x="6527887" y="891387"/>
                  <a:pt x="6520251" y="904754"/>
                  <a:pt x="6506885" y="912393"/>
                </a:cubicBezTo>
                <a:cubicBezTo>
                  <a:pt x="6506885" y="912393"/>
                  <a:pt x="6506885" y="912393"/>
                  <a:pt x="6167027" y="1082352"/>
                </a:cubicBezTo>
                <a:cubicBezTo>
                  <a:pt x="6147935" y="1093810"/>
                  <a:pt x="6123113" y="1084261"/>
                  <a:pt x="6113567" y="1065166"/>
                </a:cubicBezTo>
                <a:cubicBezTo>
                  <a:pt x="6104019" y="1046065"/>
                  <a:pt x="6111657" y="1023149"/>
                  <a:pt x="6130751" y="1011692"/>
                </a:cubicBezTo>
                <a:cubicBezTo>
                  <a:pt x="6130751" y="1011692"/>
                  <a:pt x="6130751" y="1011692"/>
                  <a:pt x="6470609" y="841738"/>
                </a:cubicBezTo>
                <a:cubicBezTo>
                  <a:pt x="6475381" y="838873"/>
                  <a:pt x="6480513" y="837322"/>
                  <a:pt x="6485675" y="836904"/>
                </a:cubicBezTo>
                <a:close/>
                <a:moveTo>
                  <a:pt x="5957811" y="832471"/>
                </a:moveTo>
                <a:cubicBezTo>
                  <a:pt x="5967811" y="836266"/>
                  <a:pt x="5976385" y="843858"/>
                  <a:pt x="5981147" y="854296"/>
                </a:cubicBezTo>
                <a:cubicBezTo>
                  <a:pt x="5984957" y="859989"/>
                  <a:pt x="5984957" y="865683"/>
                  <a:pt x="5984957" y="871376"/>
                </a:cubicBezTo>
                <a:cubicBezTo>
                  <a:pt x="5984957" y="886559"/>
                  <a:pt x="5977337" y="901741"/>
                  <a:pt x="5962097" y="909333"/>
                </a:cubicBezTo>
                <a:cubicBezTo>
                  <a:pt x="5962097" y="909333"/>
                  <a:pt x="5962097" y="909333"/>
                  <a:pt x="5623001" y="1066858"/>
                </a:cubicBezTo>
                <a:cubicBezTo>
                  <a:pt x="5602047" y="1076348"/>
                  <a:pt x="5575377" y="1066858"/>
                  <a:pt x="5565851" y="1045977"/>
                </a:cubicBezTo>
                <a:cubicBezTo>
                  <a:pt x="5556327" y="1025101"/>
                  <a:pt x="5565851" y="1000429"/>
                  <a:pt x="5586807" y="990940"/>
                </a:cubicBezTo>
                <a:cubicBezTo>
                  <a:pt x="5586807" y="990940"/>
                  <a:pt x="5586807" y="990940"/>
                  <a:pt x="5925901" y="833419"/>
                </a:cubicBezTo>
                <a:cubicBezTo>
                  <a:pt x="5936379" y="828675"/>
                  <a:pt x="5947809" y="828675"/>
                  <a:pt x="5957811" y="832471"/>
                </a:cubicBezTo>
                <a:close/>
                <a:moveTo>
                  <a:pt x="398309" y="832461"/>
                </a:moveTo>
                <a:cubicBezTo>
                  <a:pt x="408311" y="836256"/>
                  <a:pt x="416884" y="843848"/>
                  <a:pt x="421646" y="854286"/>
                </a:cubicBezTo>
                <a:cubicBezTo>
                  <a:pt x="425456" y="859979"/>
                  <a:pt x="425456" y="865673"/>
                  <a:pt x="425456" y="871366"/>
                </a:cubicBezTo>
                <a:cubicBezTo>
                  <a:pt x="425456" y="886549"/>
                  <a:pt x="417836" y="901732"/>
                  <a:pt x="400691" y="909323"/>
                </a:cubicBezTo>
                <a:cubicBezTo>
                  <a:pt x="400691" y="909323"/>
                  <a:pt x="400691" y="909323"/>
                  <a:pt x="61596" y="1066847"/>
                </a:cubicBezTo>
                <a:cubicBezTo>
                  <a:pt x="40641" y="1076336"/>
                  <a:pt x="15875" y="1066847"/>
                  <a:pt x="6350" y="1045967"/>
                </a:cubicBezTo>
                <a:cubicBezTo>
                  <a:pt x="-3175" y="1025091"/>
                  <a:pt x="6350" y="1000419"/>
                  <a:pt x="27305" y="990930"/>
                </a:cubicBezTo>
                <a:cubicBezTo>
                  <a:pt x="27305" y="990930"/>
                  <a:pt x="27305" y="990930"/>
                  <a:pt x="366400" y="833409"/>
                </a:cubicBezTo>
                <a:cubicBezTo>
                  <a:pt x="376878" y="828665"/>
                  <a:pt x="388308" y="828665"/>
                  <a:pt x="398309" y="832461"/>
                </a:cubicBezTo>
                <a:close/>
                <a:moveTo>
                  <a:pt x="5410491" y="824769"/>
                </a:moveTo>
                <a:cubicBezTo>
                  <a:pt x="5421213" y="828802"/>
                  <a:pt x="5430269" y="836866"/>
                  <a:pt x="5435035" y="848252"/>
                </a:cubicBezTo>
                <a:cubicBezTo>
                  <a:pt x="5436941" y="853944"/>
                  <a:pt x="5438847" y="859637"/>
                  <a:pt x="5438847" y="865330"/>
                </a:cubicBezTo>
                <a:cubicBezTo>
                  <a:pt x="5438847" y="882408"/>
                  <a:pt x="5427409" y="899486"/>
                  <a:pt x="5410251" y="907076"/>
                </a:cubicBezTo>
                <a:cubicBezTo>
                  <a:pt x="5410251" y="907076"/>
                  <a:pt x="5410251" y="907076"/>
                  <a:pt x="5070911" y="1049392"/>
                </a:cubicBezTo>
                <a:cubicBezTo>
                  <a:pt x="5048033" y="1058886"/>
                  <a:pt x="5021345" y="1047495"/>
                  <a:pt x="5011813" y="1024725"/>
                </a:cubicBezTo>
                <a:cubicBezTo>
                  <a:pt x="5002279" y="1003851"/>
                  <a:pt x="5013719" y="977286"/>
                  <a:pt x="5034689" y="967798"/>
                </a:cubicBezTo>
                <a:cubicBezTo>
                  <a:pt x="5034689" y="967798"/>
                  <a:pt x="5034689" y="967798"/>
                  <a:pt x="5375937" y="825481"/>
                </a:cubicBezTo>
                <a:cubicBezTo>
                  <a:pt x="5387375" y="820737"/>
                  <a:pt x="5399767" y="820737"/>
                  <a:pt x="5410491" y="824769"/>
                </a:cubicBezTo>
                <a:close/>
                <a:moveTo>
                  <a:pt x="944792" y="824757"/>
                </a:moveTo>
                <a:cubicBezTo>
                  <a:pt x="955516" y="828790"/>
                  <a:pt x="964571" y="836854"/>
                  <a:pt x="969337" y="848240"/>
                </a:cubicBezTo>
                <a:cubicBezTo>
                  <a:pt x="971244" y="853932"/>
                  <a:pt x="973150" y="859625"/>
                  <a:pt x="973150" y="865318"/>
                </a:cubicBezTo>
                <a:cubicBezTo>
                  <a:pt x="973150" y="882396"/>
                  <a:pt x="963618" y="899474"/>
                  <a:pt x="946460" y="907064"/>
                </a:cubicBezTo>
                <a:cubicBezTo>
                  <a:pt x="946460" y="907064"/>
                  <a:pt x="946460" y="907064"/>
                  <a:pt x="605213" y="1049381"/>
                </a:cubicBezTo>
                <a:cubicBezTo>
                  <a:pt x="582336" y="1058872"/>
                  <a:pt x="555646" y="1047484"/>
                  <a:pt x="546114" y="1024713"/>
                </a:cubicBezTo>
                <a:cubicBezTo>
                  <a:pt x="536582" y="1003840"/>
                  <a:pt x="548020" y="977274"/>
                  <a:pt x="570897" y="967786"/>
                </a:cubicBezTo>
                <a:cubicBezTo>
                  <a:pt x="570897" y="967786"/>
                  <a:pt x="570897" y="967786"/>
                  <a:pt x="910238" y="825469"/>
                </a:cubicBezTo>
                <a:cubicBezTo>
                  <a:pt x="921677" y="820725"/>
                  <a:pt x="934068" y="820725"/>
                  <a:pt x="944792" y="824757"/>
                </a:cubicBezTo>
                <a:close/>
                <a:moveTo>
                  <a:pt x="4842191" y="812936"/>
                </a:moveTo>
                <a:cubicBezTo>
                  <a:pt x="4860575" y="813741"/>
                  <a:pt x="4877351" y="825544"/>
                  <a:pt x="4884489" y="842712"/>
                </a:cubicBezTo>
                <a:cubicBezTo>
                  <a:pt x="4886391" y="848435"/>
                  <a:pt x="4886391" y="854157"/>
                  <a:pt x="4886391" y="859880"/>
                </a:cubicBezTo>
                <a:cubicBezTo>
                  <a:pt x="4886391" y="878955"/>
                  <a:pt x="4874971" y="898031"/>
                  <a:pt x="4855933" y="903754"/>
                </a:cubicBezTo>
                <a:cubicBezTo>
                  <a:pt x="4855933" y="903754"/>
                  <a:pt x="4855933" y="903754"/>
                  <a:pt x="4515179" y="1033468"/>
                </a:cubicBezTo>
                <a:cubicBezTo>
                  <a:pt x="4492335" y="1043005"/>
                  <a:pt x="4463781" y="1031560"/>
                  <a:pt x="4454263" y="1006762"/>
                </a:cubicBezTo>
                <a:cubicBezTo>
                  <a:pt x="4446647" y="981963"/>
                  <a:pt x="4458069" y="955258"/>
                  <a:pt x="4482817" y="945720"/>
                </a:cubicBezTo>
                <a:cubicBezTo>
                  <a:pt x="4482817" y="945720"/>
                  <a:pt x="4482817" y="945720"/>
                  <a:pt x="4823571" y="816006"/>
                </a:cubicBezTo>
                <a:cubicBezTo>
                  <a:pt x="4829759" y="813621"/>
                  <a:pt x="4836065" y="812668"/>
                  <a:pt x="4842191" y="812936"/>
                </a:cubicBezTo>
                <a:close/>
                <a:moveTo>
                  <a:pt x="1476362" y="812922"/>
                </a:moveTo>
                <a:cubicBezTo>
                  <a:pt x="1494731" y="813727"/>
                  <a:pt x="1511495" y="825530"/>
                  <a:pt x="1518628" y="842698"/>
                </a:cubicBezTo>
                <a:cubicBezTo>
                  <a:pt x="1520531" y="848421"/>
                  <a:pt x="1522433" y="854143"/>
                  <a:pt x="1522433" y="859866"/>
                </a:cubicBezTo>
                <a:cubicBezTo>
                  <a:pt x="1522433" y="878941"/>
                  <a:pt x="1511019" y="898017"/>
                  <a:pt x="1491996" y="903740"/>
                </a:cubicBezTo>
                <a:cubicBezTo>
                  <a:pt x="1491996" y="903740"/>
                  <a:pt x="1491996" y="903740"/>
                  <a:pt x="1151487" y="1033454"/>
                </a:cubicBezTo>
                <a:cubicBezTo>
                  <a:pt x="1126757" y="1042992"/>
                  <a:pt x="1100125" y="1031547"/>
                  <a:pt x="1090613" y="1006748"/>
                </a:cubicBezTo>
                <a:cubicBezTo>
                  <a:pt x="1081102" y="981950"/>
                  <a:pt x="1094418" y="955244"/>
                  <a:pt x="1117245" y="945706"/>
                </a:cubicBezTo>
                <a:cubicBezTo>
                  <a:pt x="1117245" y="945706"/>
                  <a:pt x="1117245" y="945706"/>
                  <a:pt x="1457755" y="815992"/>
                </a:cubicBezTo>
                <a:cubicBezTo>
                  <a:pt x="1463938" y="813608"/>
                  <a:pt x="1470239" y="812654"/>
                  <a:pt x="1476362" y="812922"/>
                </a:cubicBezTo>
                <a:close/>
                <a:moveTo>
                  <a:pt x="4285673" y="804253"/>
                </a:moveTo>
                <a:cubicBezTo>
                  <a:pt x="4305319" y="806042"/>
                  <a:pt x="4322821" y="818561"/>
                  <a:pt x="4328535" y="838591"/>
                </a:cubicBezTo>
                <a:cubicBezTo>
                  <a:pt x="4330441" y="844314"/>
                  <a:pt x="4332347" y="848129"/>
                  <a:pt x="4332347" y="853852"/>
                </a:cubicBezTo>
                <a:cubicBezTo>
                  <a:pt x="4332347" y="874837"/>
                  <a:pt x="4319011" y="893913"/>
                  <a:pt x="4298055" y="901544"/>
                </a:cubicBezTo>
                <a:cubicBezTo>
                  <a:pt x="4298055" y="901544"/>
                  <a:pt x="4298055" y="901544"/>
                  <a:pt x="3957055" y="1017912"/>
                </a:cubicBezTo>
                <a:cubicBezTo>
                  <a:pt x="3930385" y="1025543"/>
                  <a:pt x="3901811" y="1012189"/>
                  <a:pt x="3894191" y="985481"/>
                </a:cubicBezTo>
                <a:cubicBezTo>
                  <a:pt x="3884665" y="960682"/>
                  <a:pt x="3898001" y="932067"/>
                  <a:pt x="3924671" y="922528"/>
                </a:cubicBezTo>
                <a:cubicBezTo>
                  <a:pt x="3924671" y="922528"/>
                  <a:pt x="3924671" y="922528"/>
                  <a:pt x="4265671" y="806161"/>
                </a:cubicBezTo>
                <a:cubicBezTo>
                  <a:pt x="4272339" y="804253"/>
                  <a:pt x="4279125" y="803657"/>
                  <a:pt x="4285673" y="804253"/>
                </a:cubicBezTo>
                <a:close/>
                <a:moveTo>
                  <a:pt x="2032225" y="804237"/>
                </a:moveTo>
                <a:cubicBezTo>
                  <a:pt x="2051156" y="806026"/>
                  <a:pt x="2069016" y="818545"/>
                  <a:pt x="2076160" y="838575"/>
                </a:cubicBezTo>
                <a:cubicBezTo>
                  <a:pt x="2078065" y="844298"/>
                  <a:pt x="2078065" y="848114"/>
                  <a:pt x="2078065" y="853837"/>
                </a:cubicBezTo>
                <a:cubicBezTo>
                  <a:pt x="2078065" y="874821"/>
                  <a:pt x="2064730" y="893898"/>
                  <a:pt x="2043775" y="901528"/>
                </a:cubicBezTo>
                <a:cubicBezTo>
                  <a:pt x="2043775" y="901528"/>
                  <a:pt x="2043775" y="901528"/>
                  <a:pt x="1702775" y="1017896"/>
                </a:cubicBezTo>
                <a:cubicBezTo>
                  <a:pt x="1676105" y="1025527"/>
                  <a:pt x="1649434" y="1012173"/>
                  <a:pt x="1639909" y="985466"/>
                </a:cubicBezTo>
                <a:cubicBezTo>
                  <a:pt x="1630384" y="960666"/>
                  <a:pt x="1645624" y="932051"/>
                  <a:pt x="1670390" y="922513"/>
                </a:cubicBezTo>
                <a:cubicBezTo>
                  <a:pt x="1670390" y="922513"/>
                  <a:pt x="1670390" y="922513"/>
                  <a:pt x="2013294" y="806145"/>
                </a:cubicBezTo>
                <a:cubicBezTo>
                  <a:pt x="2019485" y="804237"/>
                  <a:pt x="2025915" y="803641"/>
                  <a:pt x="2032225" y="804237"/>
                </a:cubicBezTo>
                <a:close/>
                <a:moveTo>
                  <a:pt x="3725241" y="796615"/>
                </a:moveTo>
                <a:cubicBezTo>
                  <a:pt x="3745005" y="798940"/>
                  <a:pt x="3762889" y="812533"/>
                  <a:pt x="3770043" y="832564"/>
                </a:cubicBezTo>
                <a:cubicBezTo>
                  <a:pt x="3770043" y="838288"/>
                  <a:pt x="3771951" y="844011"/>
                  <a:pt x="3771951" y="847826"/>
                </a:cubicBezTo>
                <a:cubicBezTo>
                  <a:pt x="3771951" y="870720"/>
                  <a:pt x="3756689" y="891705"/>
                  <a:pt x="3733797" y="897429"/>
                </a:cubicBezTo>
                <a:cubicBezTo>
                  <a:pt x="3733797" y="897429"/>
                  <a:pt x="3733797" y="897429"/>
                  <a:pt x="3390412" y="1000449"/>
                </a:cubicBezTo>
                <a:cubicBezTo>
                  <a:pt x="3363705" y="1008080"/>
                  <a:pt x="3335089" y="992818"/>
                  <a:pt x="3325551" y="964201"/>
                </a:cubicBezTo>
                <a:cubicBezTo>
                  <a:pt x="3317920" y="937492"/>
                  <a:pt x="3333182" y="908876"/>
                  <a:pt x="3361797" y="899337"/>
                </a:cubicBezTo>
                <a:cubicBezTo>
                  <a:pt x="3361797" y="899337"/>
                  <a:pt x="3361797" y="899337"/>
                  <a:pt x="3705181" y="798224"/>
                </a:cubicBezTo>
                <a:cubicBezTo>
                  <a:pt x="3711859" y="796316"/>
                  <a:pt x="3718655" y="795840"/>
                  <a:pt x="3725241" y="796615"/>
                </a:cubicBezTo>
                <a:close/>
                <a:moveTo>
                  <a:pt x="2591752" y="796597"/>
                </a:moveTo>
                <a:cubicBezTo>
                  <a:pt x="2611514" y="798922"/>
                  <a:pt x="2629399" y="812515"/>
                  <a:pt x="2636552" y="832546"/>
                </a:cubicBezTo>
                <a:cubicBezTo>
                  <a:pt x="2636552" y="838270"/>
                  <a:pt x="2638460" y="843993"/>
                  <a:pt x="2638460" y="847809"/>
                </a:cubicBezTo>
                <a:cubicBezTo>
                  <a:pt x="2638460" y="870702"/>
                  <a:pt x="2623198" y="891688"/>
                  <a:pt x="2600306" y="897411"/>
                </a:cubicBezTo>
                <a:cubicBezTo>
                  <a:pt x="2600306" y="897411"/>
                  <a:pt x="2600306" y="897411"/>
                  <a:pt x="2256921" y="1000432"/>
                </a:cubicBezTo>
                <a:cubicBezTo>
                  <a:pt x="2230214" y="1008063"/>
                  <a:pt x="2201598" y="992801"/>
                  <a:pt x="2192060" y="964184"/>
                </a:cubicBezTo>
                <a:cubicBezTo>
                  <a:pt x="2184429" y="937475"/>
                  <a:pt x="2199691" y="908858"/>
                  <a:pt x="2228306" y="899319"/>
                </a:cubicBezTo>
                <a:cubicBezTo>
                  <a:pt x="2228306" y="899319"/>
                  <a:pt x="2228306" y="899319"/>
                  <a:pt x="2571691" y="798206"/>
                </a:cubicBezTo>
                <a:cubicBezTo>
                  <a:pt x="2578368" y="796299"/>
                  <a:pt x="2585164" y="795822"/>
                  <a:pt x="2591752" y="796597"/>
                </a:cubicBezTo>
                <a:close/>
                <a:moveTo>
                  <a:pt x="3154884" y="787706"/>
                </a:moveTo>
                <a:cubicBezTo>
                  <a:pt x="3175855" y="791188"/>
                  <a:pt x="3194416" y="807261"/>
                  <a:pt x="3200127" y="828693"/>
                </a:cubicBezTo>
                <a:cubicBezTo>
                  <a:pt x="3200127" y="832503"/>
                  <a:pt x="3202031" y="838218"/>
                  <a:pt x="3202031" y="842028"/>
                </a:cubicBezTo>
                <a:cubicBezTo>
                  <a:pt x="3202031" y="866793"/>
                  <a:pt x="3184898" y="887747"/>
                  <a:pt x="3160149" y="895367"/>
                </a:cubicBezTo>
                <a:cubicBezTo>
                  <a:pt x="3160149" y="895367"/>
                  <a:pt x="3160149" y="895367"/>
                  <a:pt x="2817482" y="982997"/>
                </a:cubicBezTo>
                <a:cubicBezTo>
                  <a:pt x="2787022" y="990617"/>
                  <a:pt x="2758467" y="973472"/>
                  <a:pt x="2750852" y="944898"/>
                </a:cubicBezTo>
                <a:cubicBezTo>
                  <a:pt x="2743237" y="914417"/>
                  <a:pt x="2760370" y="885843"/>
                  <a:pt x="2788926" y="878223"/>
                </a:cubicBezTo>
                <a:cubicBezTo>
                  <a:pt x="2788926" y="878223"/>
                  <a:pt x="2788926" y="878223"/>
                  <a:pt x="3133497" y="788688"/>
                </a:cubicBezTo>
                <a:cubicBezTo>
                  <a:pt x="3140636" y="786783"/>
                  <a:pt x="3147894" y="786545"/>
                  <a:pt x="3154884" y="787706"/>
                </a:cubicBezTo>
                <a:close/>
                <a:moveTo>
                  <a:pt x="6500919" y="517209"/>
                </a:moveTo>
                <a:cubicBezTo>
                  <a:pt x="6510703" y="520534"/>
                  <a:pt x="6519295" y="527661"/>
                  <a:pt x="6524069" y="538113"/>
                </a:cubicBezTo>
                <a:cubicBezTo>
                  <a:pt x="6525979" y="543814"/>
                  <a:pt x="6527887" y="549515"/>
                  <a:pt x="6527887" y="555216"/>
                </a:cubicBezTo>
                <a:cubicBezTo>
                  <a:pt x="6527887" y="570419"/>
                  <a:pt x="6520251" y="583722"/>
                  <a:pt x="6506885" y="591323"/>
                </a:cubicBezTo>
                <a:cubicBezTo>
                  <a:pt x="6506885" y="591323"/>
                  <a:pt x="6506885" y="591323"/>
                  <a:pt x="6167027" y="760455"/>
                </a:cubicBezTo>
                <a:cubicBezTo>
                  <a:pt x="6147935" y="769957"/>
                  <a:pt x="6123113" y="762355"/>
                  <a:pt x="6113567" y="743352"/>
                </a:cubicBezTo>
                <a:cubicBezTo>
                  <a:pt x="6104019" y="722448"/>
                  <a:pt x="6111657" y="699644"/>
                  <a:pt x="6130751" y="690142"/>
                </a:cubicBezTo>
                <a:cubicBezTo>
                  <a:pt x="6130751" y="690142"/>
                  <a:pt x="6130751" y="690142"/>
                  <a:pt x="6470609" y="519109"/>
                </a:cubicBezTo>
                <a:cubicBezTo>
                  <a:pt x="6480155" y="514358"/>
                  <a:pt x="6491133" y="513883"/>
                  <a:pt x="6500919" y="517209"/>
                </a:cubicBezTo>
                <a:close/>
                <a:moveTo>
                  <a:pt x="5942035" y="506688"/>
                </a:moveTo>
                <a:cubicBezTo>
                  <a:pt x="5958287" y="505532"/>
                  <a:pt x="5974003" y="514773"/>
                  <a:pt x="5981147" y="530411"/>
                </a:cubicBezTo>
                <a:cubicBezTo>
                  <a:pt x="5984957" y="536097"/>
                  <a:pt x="5984957" y="541784"/>
                  <a:pt x="5984957" y="547470"/>
                </a:cubicBezTo>
                <a:cubicBezTo>
                  <a:pt x="5984957" y="564530"/>
                  <a:pt x="5977337" y="579694"/>
                  <a:pt x="5962097" y="585381"/>
                </a:cubicBezTo>
                <a:cubicBezTo>
                  <a:pt x="5962097" y="585381"/>
                  <a:pt x="5962097" y="585381"/>
                  <a:pt x="5623001" y="744604"/>
                </a:cubicBezTo>
                <a:cubicBezTo>
                  <a:pt x="5602047" y="754082"/>
                  <a:pt x="5577281" y="744604"/>
                  <a:pt x="5565851" y="723754"/>
                </a:cubicBezTo>
                <a:cubicBezTo>
                  <a:pt x="5556327" y="702903"/>
                  <a:pt x="5565851" y="678261"/>
                  <a:pt x="5586807" y="668784"/>
                </a:cubicBezTo>
                <a:cubicBezTo>
                  <a:pt x="5586807" y="668784"/>
                  <a:pt x="5586807" y="668784"/>
                  <a:pt x="5925901" y="511455"/>
                </a:cubicBezTo>
                <a:cubicBezTo>
                  <a:pt x="5931141" y="508612"/>
                  <a:pt x="5936617" y="507072"/>
                  <a:pt x="5942035" y="506688"/>
                </a:cubicBezTo>
                <a:close/>
                <a:moveTo>
                  <a:pt x="382533" y="506676"/>
                </a:moveTo>
                <a:cubicBezTo>
                  <a:pt x="398786" y="505521"/>
                  <a:pt x="414502" y="514761"/>
                  <a:pt x="421646" y="530400"/>
                </a:cubicBezTo>
                <a:cubicBezTo>
                  <a:pt x="423551" y="536086"/>
                  <a:pt x="425456" y="541773"/>
                  <a:pt x="425456" y="547459"/>
                </a:cubicBezTo>
                <a:cubicBezTo>
                  <a:pt x="425456" y="564519"/>
                  <a:pt x="415931" y="579683"/>
                  <a:pt x="400691" y="585369"/>
                </a:cubicBezTo>
                <a:cubicBezTo>
                  <a:pt x="400691" y="585369"/>
                  <a:pt x="400691" y="585369"/>
                  <a:pt x="61596" y="744593"/>
                </a:cubicBezTo>
                <a:cubicBezTo>
                  <a:pt x="40641" y="754071"/>
                  <a:pt x="15875" y="744593"/>
                  <a:pt x="6350" y="723742"/>
                </a:cubicBezTo>
                <a:cubicBezTo>
                  <a:pt x="-3175" y="702892"/>
                  <a:pt x="6350" y="678250"/>
                  <a:pt x="27305" y="668772"/>
                </a:cubicBezTo>
                <a:cubicBezTo>
                  <a:pt x="27305" y="668772"/>
                  <a:pt x="27305" y="668772"/>
                  <a:pt x="366400" y="511444"/>
                </a:cubicBezTo>
                <a:cubicBezTo>
                  <a:pt x="371639" y="508601"/>
                  <a:pt x="377116" y="507061"/>
                  <a:pt x="382533" y="506676"/>
                </a:cubicBezTo>
                <a:close/>
                <a:moveTo>
                  <a:pt x="5409837" y="500968"/>
                </a:moveTo>
                <a:cubicBezTo>
                  <a:pt x="5420091" y="505021"/>
                  <a:pt x="5428677" y="513127"/>
                  <a:pt x="5433445" y="524572"/>
                </a:cubicBezTo>
                <a:cubicBezTo>
                  <a:pt x="5437261" y="530295"/>
                  <a:pt x="5437261" y="536017"/>
                  <a:pt x="5437261" y="541739"/>
                </a:cubicBezTo>
                <a:cubicBezTo>
                  <a:pt x="5437261" y="558906"/>
                  <a:pt x="5427721" y="574166"/>
                  <a:pt x="5410551" y="581796"/>
                </a:cubicBezTo>
                <a:cubicBezTo>
                  <a:pt x="5410551" y="581796"/>
                  <a:pt x="5410551" y="581796"/>
                  <a:pt x="5070961" y="728671"/>
                </a:cubicBezTo>
                <a:cubicBezTo>
                  <a:pt x="5048067" y="738207"/>
                  <a:pt x="5023265" y="728671"/>
                  <a:pt x="5011819" y="705781"/>
                </a:cubicBezTo>
                <a:cubicBezTo>
                  <a:pt x="5002279" y="682891"/>
                  <a:pt x="5013727" y="658095"/>
                  <a:pt x="5034713" y="648557"/>
                </a:cubicBezTo>
                <a:cubicBezTo>
                  <a:pt x="5034713" y="648557"/>
                  <a:pt x="5034713" y="648557"/>
                  <a:pt x="5376211" y="501683"/>
                </a:cubicBezTo>
                <a:cubicBezTo>
                  <a:pt x="5387659" y="496914"/>
                  <a:pt x="5399583" y="496914"/>
                  <a:pt x="5409837" y="500968"/>
                </a:cubicBezTo>
                <a:close/>
                <a:moveTo>
                  <a:pt x="943582" y="500954"/>
                </a:moveTo>
                <a:cubicBezTo>
                  <a:pt x="954282" y="505007"/>
                  <a:pt x="963318" y="513114"/>
                  <a:pt x="968073" y="524559"/>
                </a:cubicBezTo>
                <a:cubicBezTo>
                  <a:pt x="969975" y="530281"/>
                  <a:pt x="969975" y="536004"/>
                  <a:pt x="969975" y="541726"/>
                </a:cubicBezTo>
                <a:cubicBezTo>
                  <a:pt x="969975" y="558893"/>
                  <a:pt x="960464" y="574153"/>
                  <a:pt x="945246" y="581783"/>
                </a:cubicBezTo>
                <a:cubicBezTo>
                  <a:pt x="945246" y="581783"/>
                  <a:pt x="945246" y="581783"/>
                  <a:pt x="604747" y="728657"/>
                </a:cubicBezTo>
                <a:cubicBezTo>
                  <a:pt x="581920" y="738195"/>
                  <a:pt x="557191" y="728657"/>
                  <a:pt x="547680" y="705768"/>
                </a:cubicBezTo>
                <a:cubicBezTo>
                  <a:pt x="538169" y="682878"/>
                  <a:pt x="547680" y="658081"/>
                  <a:pt x="570507" y="648544"/>
                </a:cubicBezTo>
                <a:cubicBezTo>
                  <a:pt x="570507" y="648544"/>
                  <a:pt x="570507" y="648544"/>
                  <a:pt x="909104" y="501669"/>
                </a:cubicBezTo>
                <a:cubicBezTo>
                  <a:pt x="920517" y="496901"/>
                  <a:pt x="932882" y="496901"/>
                  <a:pt x="943582" y="500954"/>
                </a:cubicBezTo>
                <a:close/>
                <a:moveTo>
                  <a:pt x="4841091" y="488774"/>
                </a:moveTo>
                <a:cubicBezTo>
                  <a:pt x="4858671" y="489041"/>
                  <a:pt x="4875447" y="499743"/>
                  <a:pt x="4882585" y="516865"/>
                </a:cubicBezTo>
                <a:cubicBezTo>
                  <a:pt x="4884489" y="522572"/>
                  <a:pt x="4886391" y="528280"/>
                  <a:pt x="4886391" y="533988"/>
                </a:cubicBezTo>
                <a:cubicBezTo>
                  <a:pt x="4886391" y="553012"/>
                  <a:pt x="4874971" y="570134"/>
                  <a:pt x="4855933" y="577744"/>
                </a:cubicBezTo>
                <a:cubicBezTo>
                  <a:pt x="4855933" y="577744"/>
                  <a:pt x="4855933" y="577744"/>
                  <a:pt x="4517083" y="712820"/>
                </a:cubicBezTo>
                <a:cubicBezTo>
                  <a:pt x="4492335" y="722333"/>
                  <a:pt x="4465685" y="710918"/>
                  <a:pt x="4456167" y="686186"/>
                </a:cubicBezTo>
                <a:cubicBezTo>
                  <a:pt x="4446647" y="663356"/>
                  <a:pt x="4458069" y="636721"/>
                  <a:pt x="4482817" y="627209"/>
                </a:cubicBezTo>
                <a:cubicBezTo>
                  <a:pt x="4482817" y="627209"/>
                  <a:pt x="4482817" y="627209"/>
                  <a:pt x="4823571" y="492133"/>
                </a:cubicBezTo>
                <a:cubicBezTo>
                  <a:pt x="4829283" y="489755"/>
                  <a:pt x="4835231" y="488685"/>
                  <a:pt x="4841091" y="488774"/>
                </a:cubicBezTo>
                <a:close/>
                <a:moveTo>
                  <a:pt x="1475779" y="488758"/>
                </a:moveTo>
                <a:cubicBezTo>
                  <a:pt x="1493817" y="489026"/>
                  <a:pt x="1511320" y="499727"/>
                  <a:pt x="1517035" y="516849"/>
                </a:cubicBezTo>
                <a:cubicBezTo>
                  <a:pt x="1520845" y="522557"/>
                  <a:pt x="1520845" y="528264"/>
                  <a:pt x="1520845" y="533972"/>
                </a:cubicBezTo>
                <a:cubicBezTo>
                  <a:pt x="1520845" y="552997"/>
                  <a:pt x="1509415" y="570119"/>
                  <a:pt x="1492270" y="577729"/>
                </a:cubicBezTo>
                <a:cubicBezTo>
                  <a:pt x="1492270" y="577729"/>
                  <a:pt x="1492270" y="577729"/>
                  <a:pt x="1151270" y="712805"/>
                </a:cubicBezTo>
                <a:cubicBezTo>
                  <a:pt x="1128410" y="722318"/>
                  <a:pt x="1101739" y="710903"/>
                  <a:pt x="1092214" y="686170"/>
                </a:cubicBezTo>
                <a:cubicBezTo>
                  <a:pt x="1082689" y="663341"/>
                  <a:pt x="1094119" y="636706"/>
                  <a:pt x="1116979" y="627193"/>
                </a:cubicBezTo>
                <a:cubicBezTo>
                  <a:pt x="1116979" y="627193"/>
                  <a:pt x="1116979" y="627193"/>
                  <a:pt x="1457979" y="492117"/>
                </a:cubicBezTo>
                <a:cubicBezTo>
                  <a:pt x="1463694" y="489739"/>
                  <a:pt x="1469766" y="488669"/>
                  <a:pt x="1475779" y="488758"/>
                </a:cubicBezTo>
                <a:close/>
                <a:moveTo>
                  <a:pt x="4284555" y="479567"/>
                </a:moveTo>
                <a:cubicBezTo>
                  <a:pt x="4302977" y="480457"/>
                  <a:pt x="4319789" y="492568"/>
                  <a:pt x="4326943" y="511091"/>
                </a:cubicBezTo>
                <a:cubicBezTo>
                  <a:pt x="4328851" y="516790"/>
                  <a:pt x="4330759" y="522490"/>
                  <a:pt x="4330759" y="528189"/>
                </a:cubicBezTo>
                <a:cubicBezTo>
                  <a:pt x="4330759" y="547187"/>
                  <a:pt x="4317405" y="566185"/>
                  <a:pt x="4298327" y="571884"/>
                </a:cubicBezTo>
                <a:cubicBezTo>
                  <a:pt x="4298327" y="571884"/>
                  <a:pt x="4298327" y="571884"/>
                  <a:pt x="3956839" y="695371"/>
                </a:cubicBezTo>
                <a:cubicBezTo>
                  <a:pt x="3932039" y="704870"/>
                  <a:pt x="3903423" y="691571"/>
                  <a:pt x="3895791" y="666874"/>
                </a:cubicBezTo>
                <a:cubicBezTo>
                  <a:pt x="3886253" y="642177"/>
                  <a:pt x="3899607" y="615579"/>
                  <a:pt x="3924409" y="606080"/>
                </a:cubicBezTo>
                <a:cubicBezTo>
                  <a:pt x="3924409" y="606080"/>
                  <a:pt x="3924409" y="606080"/>
                  <a:pt x="4265895" y="482594"/>
                </a:cubicBezTo>
                <a:cubicBezTo>
                  <a:pt x="4272095" y="480220"/>
                  <a:pt x="4278415" y="479270"/>
                  <a:pt x="4284555" y="479567"/>
                </a:cubicBezTo>
                <a:close/>
                <a:moveTo>
                  <a:pt x="2030573" y="479549"/>
                </a:moveTo>
                <a:cubicBezTo>
                  <a:pt x="2049531" y="480439"/>
                  <a:pt x="2067416" y="492550"/>
                  <a:pt x="2074570" y="511073"/>
                </a:cubicBezTo>
                <a:cubicBezTo>
                  <a:pt x="2076478" y="516773"/>
                  <a:pt x="2076478" y="522472"/>
                  <a:pt x="2076478" y="528172"/>
                </a:cubicBezTo>
                <a:cubicBezTo>
                  <a:pt x="2076478" y="547170"/>
                  <a:pt x="2065031" y="566167"/>
                  <a:pt x="2045954" y="571867"/>
                </a:cubicBezTo>
                <a:cubicBezTo>
                  <a:pt x="2045954" y="571867"/>
                  <a:pt x="2045954" y="571867"/>
                  <a:pt x="1702559" y="695353"/>
                </a:cubicBezTo>
                <a:cubicBezTo>
                  <a:pt x="1677758" y="704852"/>
                  <a:pt x="1651050" y="691554"/>
                  <a:pt x="1641511" y="666857"/>
                </a:cubicBezTo>
                <a:cubicBezTo>
                  <a:pt x="1631972" y="642159"/>
                  <a:pt x="1645326" y="615562"/>
                  <a:pt x="1670127" y="606063"/>
                </a:cubicBezTo>
                <a:cubicBezTo>
                  <a:pt x="1670127" y="606063"/>
                  <a:pt x="1670127" y="606063"/>
                  <a:pt x="2011614" y="482577"/>
                </a:cubicBezTo>
                <a:cubicBezTo>
                  <a:pt x="2017814" y="480202"/>
                  <a:pt x="2024253" y="479252"/>
                  <a:pt x="2030573" y="479549"/>
                </a:cubicBezTo>
                <a:close/>
                <a:moveTo>
                  <a:pt x="3723559" y="470397"/>
                </a:moveTo>
                <a:cubicBezTo>
                  <a:pt x="3743259" y="471917"/>
                  <a:pt x="3760811" y="485509"/>
                  <a:pt x="3766543" y="505539"/>
                </a:cubicBezTo>
                <a:cubicBezTo>
                  <a:pt x="3768453" y="511262"/>
                  <a:pt x="3770363" y="515077"/>
                  <a:pt x="3770363" y="520800"/>
                </a:cubicBezTo>
                <a:cubicBezTo>
                  <a:pt x="3770363" y="541785"/>
                  <a:pt x="3756991" y="560861"/>
                  <a:pt x="3734065" y="568492"/>
                </a:cubicBezTo>
                <a:cubicBezTo>
                  <a:pt x="3734065" y="568492"/>
                  <a:pt x="3734065" y="568492"/>
                  <a:pt x="3392102" y="681044"/>
                </a:cubicBezTo>
                <a:cubicBezTo>
                  <a:pt x="3365357" y="690583"/>
                  <a:pt x="3336701" y="675321"/>
                  <a:pt x="3329059" y="648614"/>
                </a:cubicBezTo>
                <a:cubicBezTo>
                  <a:pt x="3319507" y="621907"/>
                  <a:pt x="3334790" y="595199"/>
                  <a:pt x="3359626" y="585661"/>
                </a:cubicBezTo>
                <a:cubicBezTo>
                  <a:pt x="3359626" y="585661"/>
                  <a:pt x="3359626" y="585661"/>
                  <a:pt x="3703499" y="473109"/>
                </a:cubicBezTo>
                <a:cubicBezTo>
                  <a:pt x="3710185" y="470724"/>
                  <a:pt x="3716991" y="469890"/>
                  <a:pt x="3723559" y="470397"/>
                </a:cubicBezTo>
                <a:close/>
                <a:moveTo>
                  <a:pt x="2590068" y="470376"/>
                </a:moveTo>
                <a:cubicBezTo>
                  <a:pt x="2609769" y="471896"/>
                  <a:pt x="2627321" y="485489"/>
                  <a:pt x="2633052" y="505519"/>
                </a:cubicBezTo>
                <a:cubicBezTo>
                  <a:pt x="2634963" y="511242"/>
                  <a:pt x="2636873" y="515058"/>
                  <a:pt x="2636873" y="520780"/>
                </a:cubicBezTo>
                <a:cubicBezTo>
                  <a:pt x="2636873" y="541765"/>
                  <a:pt x="2623500" y="560842"/>
                  <a:pt x="2600575" y="568472"/>
                </a:cubicBezTo>
                <a:cubicBezTo>
                  <a:pt x="2600575" y="568472"/>
                  <a:pt x="2600575" y="568472"/>
                  <a:pt x="2258612" y="681025"/>
                </a:cubicBezTo>
                <a:cubicBezTo>
                  <a:pt x="2231867" y="690563"/>
                  <a:pt x="2203211" y="675302"/>
                  <a:pt x="2195569" y="648594"/>
                </a:cubicBezTo>
                <a:cubicBezTo>
                  <a:pt x="2186017" y="621887"/>
                  <a:pt x="2201300" y="595180"/>
                  <a:pt x="2226136" y="585641"/>
                </a:cubicBezTo>
                <a:cubicBezTo>
                  <a:pt x="2226136" y="585641"/>
                  <a:pt x="2226136" y="585641"/>
                  <a:pt x="2570009" y="473089"/>
                </a:cubicBezTo>
                <a:cubicBezTo>
                  <a:pt x="2576695" y="470704"/>
                  <a:pt x="2583501" y="469870"/>
                  <a:pt x="2590068" y="470376"/>
                </a:cubicBezTo>
                <a:close/>
                <a:moveTo>
                  <a:pt x="3153221" y="461684"/>
                </a:moveTo>
                <a:cubicBezTo>
                  <a:pt x="3173698" y="464098"/>
                  <a:pt x="3191226" y="478049"/>
                  <a:pt x="3196948" y="499511"/>
                </a:cubicBezTo>
                <a:cubicBezTo>
                  <a:pt x="3198856" y="503327"/>
                  <a:pt x="3198856" y="509050"/>
                  <a:pt x="3198856" y="512866"/>
                </a:cubicBezTo>
                <a:cubicBezTo>
                  <a:pt x="3198856" y="535759"/>
                  <a:pt x="3185502" y="556745"/>
                  <a:pt x="3162610" y="564376"/>
                </a:cubicBezTo>
                <a:cubicBezTo>
                  <a:pt x="3162610" y="564376"/>
                  <a:pt x="3162610" y="564376"/>
                  <a:pt x="2819225" y="665488"/>
                </a:cubicBezTo>
                <a:cubicBezTo>
                  <a:pt x="2790610" y="673120"/>
                  <a:pt x="2761994" y="657857"/>
                  <a:pt x="2754363" y="629241"/>
                </a:cubicBezTo>
                <a:cubicBezTo>
                  <a:pt x="2744825" y="602531"/>
                  <a:pt x="2761994" y="572007"/>
                  <a:pt x="2788702" y="564376"/>
                </a:cubicBezTo>
                <a:cubicBezTo>
                  <a:pt x="2788702" y="564376"/>
                  <a:pt x="2788702" y="564376"/>
                  <a:pt x="3132087" y="463264"/>
                </a:cubicBezTo>
                <a:cubicBezTo>
                  <a:pt x="3139241" y="461356"/>
                  <a:pt x="3146395" y="460879"/>
                  <a:pt x="3153221" y="461684"/>
                </a:cubicBezTo>
                <a:close/>
                <a:moveTo>
                  <a:pt x="6500919" y="194958"/>
                </a:moveTo>
                <a:cubicBezTo>
                  <a:pt x="6510703" y="198287"/>
                  <a:pt x="6519295" y="205422"/>
                  <a:pt x="6524069" y="215887"/>
                </a:cubicBezTo>
                <a:cubicBezTo>
                  <a:pt x="6527887" y="221595"/>
                  <a:pt x="6527887" y="227303"/>
                  <a:pt x="6527887" y="233011"/>
                </a:cubicBezTo>
                <a:cubicBezTo>
                  <a:pt x="6527887" y="248232"/>
                  <a:pt x="6520251" y="261551"/>
                  <a:pt x="6506885" y="269161"/>
                </a:cubicBezTo>
                <a:cubicBezTo>
                  <a:pt x="6506885" y="269161"/>
                  <a:pt x="6506885" y="269161"/>
                  <a:pt x="6167027" y="436596"/>
                </a:cubicBezTo>
                <a:cubicBezTo>
                  <a:pt x="6147935" y="446109"/>
                  <a:pt x="6123113" y="438499"/>
                  <a:pt x="6113567" y="419472"/>
                </a:cubicBezTo>
                <a:cubicBezTo>
                  <a:pt x="6104019" y="400445"/>
                  <a:pt x="6111657" y="375711"/>
                  <a:pt x="6130751" y="366197"/>
                </a:cubicBezTo>
                <a:cubicBezTo>
                  <a:pt x="6130751" y="366197"/>
                  <a:pt x="6130751" y="366197"/>
                  <a:pt x="6470609" y="196860"/>
                </a:cubicBezTo>
                <a:cubicBezTo>
                  <a:pt x="6480155" y="192104"/>
                  <a:pt x="6491133" y="191628"/>
                  <a:pt x="6500919" y="194958"/>
                </a:cubicBezTo>
                <a:close/>
                <a:moveTo>
                  <a:pt x="5957811" y="186362"/>
                </a:moveTo>
                <a:cubicBezTo>
                  <a:pt x="5967811" y="190158"/>
                  <a:pt x="5976385" y="197749"/>
                  <a:pt x="5981147" y="208187"/>
                </a:cubicBezTo>
                <a:cubicBezTo>
                  <a:pt x="5984957" y="213881"/>
                  <a:pt x="5984957" y="219574"/>
                  <a:pt x="5984957" y="225268"/>
                </a:cubicBezTo>
                <a:cubicBezTo>
                  <a:pt x="5984957" y="240450"/>
                  <a:pt x="5977337" y="255633"/>
                  <a:pt x="5962097" y="263225"/>
                </a:cubicBezTo>
                <a:cubicBezTo>
                  <a:pt x="5962097" y="263225"/>
                  <a:pt x="5962097" y="263225"/>
                  <a:pt x="5623001" y="420745"/>
                </a:cubicBezTo>
                <a:cubicBezTo>
                  <a:pt x="5602047" y="430234"/>
                  <a:pt x="5577281" y="422643"/>
                  <a:pt x="5567757" y="401767"/>
                </a:cubicBezTo>
                <a:cubicBezTo>
                  <a:pt x="5556327" y="380891"/>
                  <a:pt x="5565851" y="356219"/>
                  <a:pt x="5586807" y="346729"/>
                </a:cubicBezTo>
                <a:cubicBezTo>
                  <a:pt x="5586807" y="346729"/>
                  <a:pt x="5586807" y="346729"/>
                  <a:pt x="5925901" y="187311"/>
                </a:cubicBezTo>
                <a:cubicBezTo>
                  <a:pt x="5936379" y="182566"/>
                  <a:pt x="5947809" y="182566"/>
                  <a:pt x="5957811" y="186362"/>
                </a:cubicBezTo>
                <a:close/>
                <a:moveTo>
                  <a:pt x="398309" y="186349"/>
                </a:moveTo>
                <a:cubicBezTo>
                  <a:pt x="408311" y="190145"/>
                  <a:pt x="416884" y="197736"/>
                  <a:pt x="421646" y="208174"/>
                </a:cubicBezTo>
                <a:cubicBezTo>
                  <a:pt x="423551" y="213868"/>
                  <a:pt x="425456" y="219561"/>
                  <a:pt x="425456" y="225255"/>
                </a:cubicBezTo>
                <a:cubicBezTo>
                  <a:pt x="425456" y="240437"/>
                  <a:pt x="415931" y="255620"/>
                  <a:pt x="400691" y="263212"/>
                </a:cubicBezTo>
                <a:cubicBezTo>
                  <a:pt x="400691" y="263212"/>
                  <a:pt x="400691" y="263212"/>
                  <a:pt x="61596" y="420733"/>
                </a:cubicBezTo>
                <a:cubicBezTo>
                  <a:pt x="42546" y="430222"/>
                  <a:pt x="17780" y="422630"/>
                  <a:pt x="6350" y="401754"/>
                </a:cubicBezTo>
                <a:cubicBezTo>
                  <a:pt x="-3175" y="380878"/>
                  <a:pt x="6350" y="356206"/>
                  <a:pt x="27305" y="346717"/>
                </a:cubicBezTo>
                <a:cubicBezTo>
                  <a:pt x="27305" y="346717"/>
                  <a:pt x="27305" y="346717"/>
                  <a:pt x="366400" y="187298"/>
                </a:cubicBezTo>
                <a:cubicBezTo>
                  <a:pt x="376878" y="182554"/>
                  <a:pt x="388308" y="182554"/>
                  <a:pt x="398309" y="186349"/>
                </a:cubicBezTo>
                <a:close/>
                <a:moveTo>
                  <a:pt x="5409203" y="176869"/>
                </a:moveTo>
                <a:cubicBezTo>
                  <a:pt x="5419665" y="180679"/>
                  <a:pt x="5428701" y="188299"/>
                  <a:pt x="5433457" y="198777"/>
                </a:cubicBezTo>
                <a:cubicBezTo>
                  <a:pt x="5435359" y="204492"/>
                  <a:pt x="5437261" y="212112"/>
                  <a:pt x="5437261" y="217827"/>
                </a:cubicBezTo>
                <a:cubicBezTo>
                  <a:pt x="5437261" y="233067"/>
                  <a:pt x="5427749" y="250212"/>
                  <a:pt x="5410629" y="255927"/>
                </a:cubicBezTo>
                <a:cubicBezTo>
                  <a:pt x="5410629" y="255927"/>
                  <a:pt x="5410629" y="255927"/>
                  <a:pt x="5072033" y="406421"/>
                </a:cubicBezTo>
                <a:cubicBezTo>
                  <a:pt x="5049207" y="415946"/>
                  <a:pt x="5024477" y="406421"/>
                  <a:pt x="5014967" y="385466"/>
                </a:cubicBezTo>
                <a:cubicBezTo>
                  <a:pt x="5005455" y="362606"/>
                  <a:pt x="5014967" y="337841"/>
                  <a:pt x="5035891" y="328316"/>
                </a:cubicBezTo>
                <a:cubicBezTo>
                  <a:pt x="5035891" y="328316"/>
                  <a:pt x="5035891" y="328316"/>
                  <a:pt x="5376389" y="177822"/>
                </a:cubicBezTo>
                <a:cubicBezTo>
                  <a:pt x="5386853" y="173059"/>
                  <a:pt x="5398741" y="173059"/>
                  <a:pt x="5409203" y="176869"/>
                </a:cubicBezTo>
                <a:close/>
                <a:moveTo>
                  <a:pt x="942630" y="176854"/>
                </a:moveTo>
                <a:cubicBezTo>
                  <a:pt x="952855" y="180664"/>
                  <a:pt x="961415" y="188284"/>
                  <a:pt x="966171" y="198761"/>
                </a:cubicBezTo>
                <a:cubicBezTo>
                  <a:pt x="968073" y="204476"/>
                  <a:pt x="969975" y="212096"/>
                  <a:pt x="969975" y="217811"/>
                </a:cubicBezTo>
                <a:cubicBezTo>
                  <a:pt x="969975" y="233051"/>
                  <a:pt x="960464" y="250196"/>
                  <a:pt x="945246" y="255911"/>
                </a:cubicBezTo>
                <a:cubicBezTo>
                  <a:pt x="945246" y="255911"/>
                  <a:pt x="945246" y="255911"/>
                  <a:pt x="604747" y="406406"/>
                </a:cubicBezTo>
                <a:cubicBezTo>
                  <a:pt x="583822" y="415931"/>
                  <a:pt x="557191" y="406406"/>
                  <a:pt x="547680" y="385451"/>
                </a:cubicBezTo>
                <a:cubicBezTo>
                  <a:pt x="538169" y="362591"/>
                  <a:pt x="547680" y="337826"/>
                  <a:pt x="570507" y="328301"/>
                </a:cubicBezTo>
                <a:cubicBezTo>
                  <a:pt x="570507" y="328301"/>
                  <a:pt x="570507" y="328301"/>
                  <a:pt x="909104" y="177807"/>
                </a:cubicBezTo>
                <a:cubicBezTo>
                  <a:pt x="920517" y="173044"/>
                  <a:pt x="932406" y="173044"/>
                  <a:pt x="942630" y="176854"/>
                </a:cubicBezTo>
                <a:close/>
                <a:moveTo>
                  <a:pt x="4856445" y="167559"/>
                </a:moveTo>
                <a:cubicBezTo>
                  <a:pt x="4867169" y="171597"/>
                  <a:pt x="4876225" y="179672"/>
                  <a:pt x="4880991" y="191072"/>
                </a:cubicBezTo>
                <a:cubicBezTo>
                  <a:pt x="4882897" y="196772"/>
                  <a:pt x="4884803" y="202471"/>
                  <a:pt x="4884803" y="208171"/>
                </a:cubicBezTo>
                <a:cubicBezTo>
                  <a:pt x="4884803" y="227171"/>
                  <a:pt x="4875271" y="242371"/>
                  <a:pt x="4856207" y="249971"/>
                </a:cubicBezTo>
                <a:cubicBezTo>
                  <a:pt x="4856207" y="249971"/>
                  <a:pt x="4856207" y="249971"/>
                  <a:pt x="4516865" y="390571"/>
                </a:cubicBezTo>
                <a:cubicBezTo>
                  <a:pt x="4493989" y="400071"/>
                  <a:pt x="4467299" y="390571"/>
                  <a:pt x="4457767" y="367771"/>
                </a:cubicBezTo>
                <a:cubicBezTo>
                  <a:pt x="4448235" y="343071"/>
                  <a:pt x="4459673" y="318371"/>
                  <a:pt x="4482551" y="308871"/>
                </a:cubicBezTo>
                <a:cubicBezTo>
                  <a:pt x="4482551" y="308871"/>
                  <a:pt x="4482551" y="308871"/>
                  <a:pt x="4821891" y="168272"/>
                </a:cubicBezTo>
                <a:cubicBezTo>
                  <a:pt x="4833331" y="163522"/>
                  <a:pt x="4845723" y="163522"/>
                  <a:pt x="4856445" y="167559"/>
                </a:cubicBezTo>
                <a:close/>
                <a:moveTo>
                  <a:pt x="1492487" y="167542"/>
                </a:moveTo>
                <a:cubicBezTo>
                  <a:pt x="1503211" y="171579"/>
                  <a:pt x="1512266" y="179654"/>
                  <a:pt x="1517032" y="191054"/>
                </a:cubicBezTo>
                <a:cubicBezTo>
                  <a:pt x="1518939" y="196754"/>
                  <a:pt x="1520845" y="202454"/>
                  <a:pt x="1520845" y="208154"/>
                </a:cubicBezTo>
                <a:cubicBezTo>
                  <a:pt x="1520845" y="227154"/>
                  <a:pt x="1509407" y="242354"/>
                  <a:pt x="1492249" y="249954"/>
                </a:cubicBezTo>
                <a:cubicBezTo>
                  <a:pt x="1492249" y="249954"/>
                  <a:pt x="1492249" y="249954"/>
                  <a:pt x="1151001" y="390554"/>
                </a:cubicBezTo>
                <a:cubicBezTo>
                  <a:pt x="1128124" y="400054"/>
                  <a:pt x="1103341" y="390554"/>
                  <a:pt x="1093809" y="367754"/>
                </a:cubicBezTo>
                <a:cubicBezTo>
                  <a:pt x="1084277" y="343054"/>
                  <a:pt x="1093809" y="318354"/>
                  <a:pt x="1116686" y="308854"/>
                </a:cubicBezTo>
                <a:cubicBezTo>
                  <a:pt x="1116686" y="308854"/>
                  <a:pt x="1116686" y="308854"/>
                  <a:pt x="1457933" y="168254"/>
                </a:cubicBezTo>
                <a:cubicBezTo>
                  <a:pt x="1469372" y="163504"/>
                  <a:pt x="1481763" y="163504"/>
                  <a:pt x="1492487" y="167542"/>
                </a:cubicBezTo>
                <a:close/>
                <a:moveTo>
                  <a:pt x="4266123" y="156877"/>
                </a:moveTo>
                <a:cubicBezTo>
                  <a:pt x="4289051" y="149247"/>
                  <a:pt x="4315797" y="160692"/>
                  <a:pt x="4325349" y="183583"/>
                </a:cubicBezTo>
                <a:cubicBezTo>
                  <a:pt x="4327261" y="189305"/>
                  <a:pt x="4329171" y="195028"/>
                  <a:pt x="4329171" y="200751"/>
                </a:cubicBezTo>
                <a:cubicBezTo>
                  <a:pt x="4329171" y="219826"/>
                  <a:pt x="4317707" y="236994"/>
                  <a:pt x="4298603" y="244625"/>
                </a:cubicBezTo>
                <a:cubicBezTo>
                  <a:pt x="4298603" y="244625"/>
                  <a:pt x="4298603" y="244625"/>
                  <a:pt x="3956619" y="376246"/>
                </a:cubicBezTo>
                <a:cubicBezTo>
                  <a:pt x="3933693" y="385784"/>
                  <a:pt x="3906945" y="374339"/>
                  <a:pt x="3897393" y="349541"/>
                </a:cubicBezTo>
                <a:cubicBezTo>
                  <a:pt x="3887839" y="326650"/>
                  <a:pt x="3899303" y="299944"/>
                  <a:pt x="3924139" y="290406"/>
                </a:cubicBezTo>
                <a:cubicBezTo>
                  <a:pt x="3924139" y="290406"/>
                  <a:pt x="3924139" y="290406"/>
                  <a:pt x="4266123" y="156877"/>
                </a:cubicBezTo>
                <a:close/>
                <a:moveTo>
                  <a:pt x="2010482" y="156857"/>
                </a:moveTo>
                <a:cubicBezTo>
                  <a:pt x="2035230" y="149227"/>
                  <a:pt x="2061881" y="160672"/>
                  <a:pt x="2071399" y="183563"/>
                </a:cubicBezTo>
                <a:cubicBezTo>
                  <a:pt x="2073303" y="189286"/>
                  <a:pt x="2073303" y="195008"/>
                  <a:pt x="2073303" y="200731"/>
                </a:cubicBezTo>
                <a:cubicBezTo>
                  <a:pt x="2073303" y="219807"/>
                  <a:pt x="2061881" y="236975"/>
                  <a:pt x="2044748" y="244605"/>
                </a:cubicBezTo>
                <a:cubicBezTo>
                  <a:pt x="2044748" y="244605"/>
                  <a:pt x="2044748" y="244605"/>
                  <a:pt x="1703994" y="376227"/>
                </a:cubicBezTo>
                <a:cubicBezTo>
                  <a:pt x="1679247" y="385765"/>
                  <a:pt x="1652596" y="374320"/>
                  <a:pt x="1643077" y="349521"/>
                </a:cubicBezTo>
                <a:cubicBezTo>
                  <a:pt x="1633559" y="326630"/>
                  <a:pt x="1644981" y="299925"/>
                  <a:pt x="1669728" y="290387"/>
                </a:cubicBezTo>
                <a:cubicBezTo>
                  <a:pt x="1669728" y="290387"/>
                  <a:pt x="1669728" y="290387"/>
                  <a:pt x="2010482" y="156857"/>
                </a:cubicBezTo>
                <a:close/>
                <a:moveTo>
                  <a:pt x="3720661" y="144606"/>
                </a:moveTo>
                <a:cubicBezTo>
                  <a:pt x="3739819" y="145497"/>
                  <a:pt x="3756571" y="157608"/>
                  <a:pt x="3763701" y="176130"/>
                </a:cubicBezTo>
                <a:cubicBezTo>
                  <a:pt x="3765601" y="181830"/>
                  <a:pt x="3765601" y="187529"/>
                  <a:pt x="3765601" y="193228"/>
                </a:cubicBezTo>
                <a:cubicBezTo>
                  <a:pt x="3765601" y="212226"/>
                  <a:pt x="3754195" y="231224"/>
                  <a:pt x="3735185" y="238823"/>
                </a:cubicBezTo>
                <a:cubicBezTo>
                  <a:pt x="3735185" y="238823"/>
                  <a:pt x="3735185" y="238823"/>
                  <a:pt x="3393017" y="360410"/>
                </a:cubicBezTo>
                <a:cubicBezTo>
                  <a:pt x="3368305" y="369909"/>
                  <a:pt x="3341691" y="356611"/>
                  <a:pt x="3332187" y="331913"/>
                </a:cubicBezTo>
                <a:cubicBezTo>
                  <a:pt x="3322682" y="307216"/>
                  <a:pt x="3335989" y="278719"/>
                  <a:pt x="3360701" y="271120"/>
                </a:cubicBezTo>
                <a:cubicBezTo>
                  <a:pt x="3360701" y="271120"/>
                  <a:pt x="3360701" y="271120"/>
                  <a:pt x="3700969" y="147634"/>
                </a:cubicBezTo>
                <a:cubicBezTo>
                  <a:pt x="3707623" y="145259"/>
                  <a:pt x="3714275" y="144309"/>
                  <a:pt x="3720661" y="144606"/>
                </a:cubicBezTo>
                <a:close/>
                <a:moveTo>
                  <a:pt x="2587010" y="144584"/>
                </a:moveTo>
                <a:cubicBezTo>
                  <a:pt x="2606236" y="145475"/>
                  <a:pt x="2623048" y="157586"/>
                  <a:pt x="2630202" y="176109"/>
                </a:cubicBezTo>
                <a:cubicBezTo>
                  <a:pt x="2632110" y="181808"/>
                  <a:pt x="2632110" y="187507"/>
                  <a:pt x="2632110" y="193207"/>
                </a:cubicBezTo>
                <a:cubicBezTo>
                  <a:pt x="2632110" y="212205"/>
                  <a:pt x="2620663" y="231203"/>
                  <a:pt x="2601586" y="238802"/>
                </a:cubicBezTo>
                <a:cubicBezTo>
                  <a:pt x="2601586" y="238802"/>
                  <a:pt x="2601586" y="238802"/>
                  <a:pt x="2258191" y="360389"/>
                </a:cubicBezTo>
                <a:cubicBezTo>
                  <a:pt x="2233390" y="369888"/>
                  <a:pt x="2206682" y="356589"/>
                  <a:pt x="2197143" y="331892"/>
                </a:cubicBezTo>
                <a:cubicBezTo>
                  <a:pt x="2187604" y="307194"/>
                  <a:pt x="2200958" y="278697"/>
                  <a:pt x="2225759" y="271098"/>
                </a:cubicBezTo>
                <a:cubicBezTo>
                  <a:pt x="2225759" y="271098"/>
                  <a:pt x="2225759" y="271098"/>
                  <a:pt x="2567246" y="147612"/>
                </a:cubicBezTo>
                <a:cubicBezTo>
                  <a:pt x="2573923" y="145237"/>
                  <a:pt x="2580601" y="144287"/>
                  <a:pt x="2587010" y="144584"/>
                </a:cubicBezTo>
                <a:close/>
                <a:moveTo>
                  <a:pt x="3149041" y="135359"/>
                </a:moveTo>
                <a:cubicBezTo>
                  <a:pt x="3168673" y="136779"/>
                  <a:pt x="3186163" y="149921"/>
                  <a:pt x="3191874" y="168391"/>
                </a:cubicBezTo>
                <a:cubicBezTo>
                  <a:pt x="3193777" y="174073"/>
                  <a:pt x="3195681" y="179756"/>
                  <a:pt x="3195681" y="185439"/>
                </a:cubicBezTo>
                <a:cubicBezTo>
                  <a:pt x="3195681" y="206277"/>
                  <a:pt x="3182355" y="225220"/>
                  <a:pt x="3161415" y="232797"/>
                </a:cubicBezTo>
                <a:cubicBezTo>
                  <a:pt x="3161415" y="232797"/>
                  <a:pt x="3161415" y="232797"/>
                  <a:pt x="2818752" y="344562"/>
                </a:cubicBezTo>
                <a:cubicBezTo>
                  <a:pt x="2794004" y="354034"/>
                  <a:pt x="2765449" y="338879"/>
                  <a:pt x="2755930" y="314253"/>
                </a:cubicBezTo>
                <a:cubicBezTo>
                  <a:pt x="2746412" y="287733"/>
                  <a:pt x="2761641" y="259318"/>
                  <a:pt x="2788293" y="249846"/>
                </a:cubicBezTo>
                <a:cubicBezTo>
                  <a:pt x="2788293" y="249846"/>
                  <a:pt x="2788293" y="249846"/>
                  <a:pt x="3129052" y="138082"/>
                </a:cubicBezTo>
                <a:cubicBezTo>
                  <a:pt x="3135715" y="135714"/>
                  <a:pt x="3142497" y="134885"/>
                  <a:pt x="3149041" y="135359"/>
                </a:cubicBezTo>
                <a:close/>
                <a:moveTo>
                  <a:pt x="6214753" y="24"/>
                </a:moveTo>
                <a:cubicBezTo>
                  <a:pt x="6214753" y="24"/>
                  <a:pt x="6214753" y="24"/>
                  <a:pt x="6396123" y="24"/>
                </a:cubicBezTo>
                <a:cubicBezTo>
                  <a:pt x="6396123" y="24"/>
                  <a:pt x="6396123" y="24"/>
                  <a:pt x="6167023" y="114324"/>
                </a:cubicBezTo>
                <a:cubicBezTo>
                  <a:pt x="6147931" y="123849"/>
                  <a:pt x="6123111" y="116229"/>
                  <a:pt x="6113565" y="95274"/>
                </a:cubicBezTo>
                <a:cubicBezTo>
                  <a:pt x="6104019" y="76224"/>
                  <a:pt x="6111657" y="51459"/>
                  <a:pt x="6130749" y="41934"/>
                </a:cubicBezTo>
                <a:cubicBezTo>
                  <a:pt x="6130749" y="41934"/>
                  <a:pt x="6130749" y="41934"/>
                  <a:pt x="6214753" y="24"/>
                </a:cubicBezTo>
                <a:close/>
                <a:moveTo>
                  <a:pt x="5637645" y="24"/>
                </a:moveTo>
                <a:cubicBezTo>
                  <a:pt x="5637645" y="24"/>
                  <a:pt x="5637645" y="24"/>
                  <a:pt x="5829379" y="24"/>
                </a:cubicBezTo>
                <a:cubicBezTo>
                  <a:pt x="5829379" y="24"/>
                  <a:pt x="5829379" y="24"/>
                  <a:pt x="5622457" y="99953"/>
                </a:cubicBezTo>
                <a:cubicBezTo>
                  <a:pt x="5601575" y="109562"/>
                  <a:pt x="5576897" y="101875"/>
                  <a:pt x="5567405" y="80736"/>
                </a:cubicBezTo>
                <a:cubicBezTo>
                  <a:pt x="5557913" y="59597"/>
                  <a:pt x="5565507" y="34615"/>
                  <a:pt x="5586389" y="25006"/>
                </a:cubicBezTo>
                <a:cubicBezTo>
                  <a:pt x="5586389" y="25006"/>
                  <a:pt x="5586389" y="25006"/>
                  <a:pt x="5637645" y="24"/>
                </a:cubicBezTo>
                <a:close/>
                <a:moveTo>
                  <a:pt x="5051003" y="24"/>
                </a:moveTo>
                <a:cubicBezTo>
                  <a:pt x="5051003" y="24"/>
                  <a:pt x="5051003" y="24"/>
                  <a:pt x="5257871" y="24"/>
                </a:cubicBezTo>
                <a:cubicBezTo>
                  <a:pt x="5257871" y="24"/>
                  <a:pt x="5257871" y="24"/>
                  <a:pt x="5071881" y="83844"/>
                </a:cubicBezTo>
                <a:cubicBezTo>
                  <a:pt x="5051003" y="95274"/>
                  <a:pt x="5024433" y="85749"/>
                  <a:pt x="5014945" y="62889"/>
                </a:cubicBezTo>
                <a:cubicBezTo>
                  <a:pt x="5005455" y="41934"/>
                  <a:pt x="5014945" y="17169"/>
                  <a:pt x="5037719" y="7644"/>
                </a:cubicBezTo>
                <a:cubicBezTo>
                  <a:pt x="5037719" y="7644"/>
                  <a:pt x="5037719" y="7644"/>
                  <a:pt x="5051003" y="24"/>
                </a:cubicBezTo>
                <a:close/>
                <a:moveTo>
                  <a:pt x="4468153" y="24"/>
                </a:moveTo>
                <a:cubicBezTo>
                  <a:pt x="4468153" y="24"/>
                  <a:pt x="4468153" y="24"/>
                  <a:pt x="4678427" y="24"/>
                </a:cubicBezTo>
                <a:cubicBezTo>
                  <a:pt x="4678427" y="24"/>
                  <a:pt x="4678427" y="24"/>
                  <a:pt x="4517407" y="71348"/>
                </a:cubicBezTo>
                <a:cubicBezTo>
                  <a:pt x="4494673" y="80987"/>
                  <a:pt x="4470047" y="69421"/>
                  <a:pt x="4460575" y="48216"/>
                </a:cubicBezTo>
                <a:cubicBezTo>
                  <a:pt x="4452999" y="30867"/>
                  <a:pt x="4456787" y="13518"/>
                  <a:pt x="4468153" y="24"/>
                </a:cubicBezTo>
                <a:close/>
                <a:moveTo>
                  <a:pt x="3898007" y="24"/>
                </a:moveTo>
                <a:cubicBezTo>
                  <a:pt x="3898007" y="24"/>
                  <a:pt x="3898007" y="24"/>
                  <a:pt x="4092631" y="24"/>
                </a:cubicBezTo>
                <a:cubicBezTo>
                  <a:pt x="4092631" y="24"/>
                  <a:pt x="4092631" y="24"/>
                  <a:pt x="3959065" y="55540"/>
                </a:cubicBezTo>
                <a:cubicBezTo>
                  <a:pt x="3936167" y="65112"/>
                  <a:pt x="3909455" y="53625"/>
                  <a:pt x="3899915" y="30653"/>
                </a:cubicBezTo>
                <a:cubicBezTo>
                  <a:pt x="3896099" y="21082"/>
                  <a:pt x="3894191" y="9595"/>
                  <a:pt x="3898007" y="24"/>
                </a:cubicBezTo>
                <a:close/>
                <a:moveTo>
                  <a:pt x="3332207" y="24"/>
                </a:moveTo>
                <a:cubicBezTo>
                  <a:pt x="3332207" y="24"/>
                  <a:pt x="3332207" y="24"/>
                  <a:pt x="3497309" y="24"/>
                </a:cubicBezTo>
                <a:cubicBezTo>
                  <a:pt x="3497309" y="24"/>
                  <a:pt x="3497309" y="24"/>
                  <a:pt x="3394832" y="41665"/>
                </a:cubicBezTo>
                <a:cubicBezTo>
                  <a:pt x="3370161" y="49236"/>
                  <a:pt x="3343593" y="37880"/>
                  <a:pt x="3334105" y="15166"/>
                </a:cubicBezTo>
                <a:cubicBezTo>
                  <a:pt x="3332207" y="9488"/>
                  <a:pt x="3332207" y="5702"/>
                  <a:pt x="3332207" y="24"/>
                </a:cubicBezTo>
                <a:close/>
                <a:moveTo>
                  <a:pt x="2760700" y="23"/>
                </a:moveTo>
                <a:cubicBezTo>
                  <a:pt x="2760700" y="23"/>
                  <a:pt x="2760700" y="23"/>
                  <a:pt x="2890877" y="23"/>
                </a:cubicBezTo>
                <a:cubicBezTo>
                  <a:pt x="2890877" y="23"/>
                  <a:pt x="2890877" y="23"/>
                  <a:pt x="2821072" y="27187"/>
                </a:cubicBezTo>
                <a:cubicBezTo>
                  <a:pt x="2796546" y="34949"/>
                  <a:pt x="2772020" y="23307"/>
                  <a:pt x="2760700" y="23"/>
                </a:cubicBezTo>
                <a:close/>
                <a:moveTo>
                  <a:pt x="76929" y="9"/>
                </a:moveTo>
                <a:cubicBezTo>
                  <a:pt x="76929" y="9"/>
                  <a:pt x="76929" y="9"/>
                  <a:pt x="271466" y="9"/>
                </a:cubicBezTo>
                <a:cubicBezTo>
                  <a:pt x="271466" y="9"/>
                  <a:pt x="271466" y="9"/>
                  <a:pt x="63578" y="99939"/>
                </a:cubicBezTo>
                <a:cubicBezTo>
                  <a:pt x="42599" y="109547"/>
                  <a:pt x="17805" y="101861"/>
                  <a:pt x="8268" y="80722"/>
                </a:cubicBezTo>
                <a:cubicBezTo>
                  <a:pt x="-3175" y="59583"/>
                  <a:pt x="6361" y="34600"/>
                  <a:pt x="27341" y="24992"/>
                </a:cubicBezTo>
                <a:cubicBezTo>
                  <a:pt x="27341" y="24992"/>
                  <a:pt x="27341" y="24992"/>
                  <a:pt x="76929" y="9"/>
                </a:cubicBezTo>
                <a:close/>
                <a:moveTo>
                  <a:pt x="583739" y="7"/>
                </a:moveTo>
                <a:cubicBezTo>
                  <a:pt x="583739" y="7"/>
                  <a:pt x="583739" y="7"/>
                  <a:pt x="792173" y="7"/>
                </a:cubicBezTo>
                <a:cubicBezTo>
                  <a:pt x="792173" y="7"/>
                  <a:pt x="792173" y="7"/>
                  <a:pt x="604773" y="83827"/>
                </a:cubicBezTo>
                <a:cubicBezTo>
                  <a:pt x="583739" y="95257"/>
                  <a:pt x="558879" y="85732"/>
                  <a:pt x="549318" y="62872"/>
                </a:cubicBezTo>
                <a:cubicBezTo>
                  <a:pt x="539757" y="41917"/>
                  <a:pt x="549318" y="17152"/>
                  <a:pt x="570353" y="7627"/>
                </a:cubicBezTo>
                <a:cubicBezTo>
                  <a:pt x="570353" y="7627"/>
                  <a:pt x="570353" y="7627"/>
                  <a:pt x="583739" y="7"/>
                </a:cubicBezTo>
                <a:close/>
                <a:moveTo>
                  <a:pt x="1102318" y="5"/>
                </a:moveTo>
                <a:cubicBezTo>
                  <a:pt x="1102318" y="5"/>
                  <a:pt x="1102318" y="5"/>
                  <a:pt x="1312880" y="5"/>
                </a:cubicBezTo>
                <a:cubicBezTo>
                  <a:pt x="1312880" y="5"/>
                  <a:pt x="1312880" y="5"/>
                  <a:pt x="1153536" y="71329"/>
                </a:cubicBezTo>
                <a:cubicBezTo>
                  <a:pt x="1130772" y="80968"/>
                  <a:pt x="1104215" y="69401"/>
                  <a:pt x="1094730" y="48197"/>
                </a:cubicBezTo>
                <a:cubicBezTo>
                  <a:pt x="1089039" y="30848"/>
                  <a:pt x="1090936" y="13498"/>
                  <a:pt x="1102318" y="5"/>
                </a:cubicBezTo>
                <a:close/>
                <a:moveTo>
                  <a:pt x="1643408" y="2"/>
                </a:moveTo>
                <a:cubicBezTo>
                  <a:pt x="1643408" y="2"/>
                  <a:pt x="1643408" y="2"/>
                  <a:pt x="1838350" y="2"/>
                </a:cubicBezTo>
                <a:cubicBezTo>
                  <a:pt x="1838350" y="2"/>
                  <a:pt x="1838350" y="2"/>
                  <a:pt x="1704566" y="55519"/>
                </a:cubicBezTo>
                <a:cubicBezTo>
                  <a:pt x="1681632" y="65090"/>
                  <a:pt x="1654875" y="53604"/>
                  <a:pt x="1645319" y="30632"/>
                </a:cubicBezTo>
                <a:cubicBezTo>
                  <a:pt x="1641497" y="21060"/>
                  <a:pt x="1641497" y="9574"/>
                  <a:pt x="1643408" y="2"/>
                </a:cubicBezTo>
                <a:close/>
                <a:moveTo>
                  <a:pt x="2197129" y="0"/>
                </a:moveTo>
                <a:cubicBezTo>
                  <a:pt x="2197129" y="0"/>
                  <a:pt x="2197129" y="0"/>
                  <a:pt x="2363819" y="0"/>
                </a:cubicBezTo>
                <a:cubicBezTo>
                  <a:pt x="2363819" y="0"/>
                  <a:pt x="2363819" y="0"/>
                  <a:pt x="2260356" y="41642"/>
                </a:cubicBezTo>
                <a:cubicBezTo>
                  <a:pt x="2235449" y="49213"/>
                  <a:pt x="2208625" y="37856"/>
                  <a:pt x="2199045" y="15142"/>
                </a:cubicBezTo>
                <a:cubicBezTo>
                  <a:pt x="2197129" y="9464"/>
                  <a:pt x="2197129" y="5678"/>
                  <a:pt x="2197129" y="0"/>
                </a:cubicBezTo>
                <a:close/>
              </a:path>
            </a:pathLst>
          </a:custGeom>
          <a:solidFill>
            <a:srgbClr val="D72027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566888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285" y="1179576"/>
            <a:ext cx="4707555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285" y="274320"/>
            <a:ext cx="4707555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93789199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Dark -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32609" y="152400"/>
            <a:ext cx="11123613" cy="792163"/>
          </a:xfrm>
          <a:prstGeom prst="rect">
            <a:avLst/>
          </a:prstGeom>
        </p:spPr>
        <p:txBody>
          <a:bodyPr lIns="0" anchor="b"/>
          <a:lstStyle>
            <a:lvl1pPr>
              <a:defRPr sz="3599" b="0" i="0" cap="none" baseline="0">
                <a:solidFill>
                  <a:schemeClr val="bg1"/>
                </a:solidFill>
                <a:latin typeface="Work Sans Regular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326051" y="990600"/>
            <a:ext cx="11481873" cy="54864"/>
            <a:chOff x="326136" y="990600"/>
            <a:chExt cx="11484864" cy="54864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381000" y="1018032"/>
              <a:ext cx="11430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Oval 8"/>
            <p:cNvSpPr/>
            <p:nvPr userDrawn="1"/>
          </p:nvSpPr>
          <p:spPr>
            <a:xfrm>
              <a:off x="326136" y="990600"/>
              <a:ext cx="54864" cy="5486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33"/>
              <a:endParaRPr lang="en-US" sz="1800">
                <a:solidFill>
                  <a:prstClr val="white"/>
                </a:solidFill>
                <a:latin typeface="Work Sans Regular" charset="0"/>
              </a:endParaRPr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11756136" y="990600"/>
              <a:ext cx="54864" cy="5486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33"/>
              <a:endParaRPr lang="en-US" sz="1800">
                <a:solidFill>
                  <a:prstClr val="white"/>
                </a:solidFill>
                <a:latin typeface="Work Sans Regular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097168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41" y="1179577"/>
            <a:ext cx="11073385" cy="5212835"/>
          </a:xfrm>
          <a:prstGeom prst="rect">
            <a:avLst/>
          </a:prstGeom>
        </p:spPr>
        <p:txBody>
          <a:bodyPr lIns="91420" tIns="639946" rIns="91420" bIns="45710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</p:spTree>
    <p:extLst>
      <p:ext uri="{BB962C8B-B14F-4D97-AF65-F5344CB8AC3E}">
        <p14:creationId xmlns:p14="http://schemas.microsoft.com/office/powerpoint/2010/main" val="2728387609"/>
      </p:ext>
    </p:extLst>
  </p:cSld>
  <p:clrMapOvr>
    <a:masterClrMapping/>
  </p:clrMapOvr>
  <p:transition spd="med"/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167258"/>
      </p:ext>
    </p:extLst>
  </p:cSld>
  <p:clrMapOvr>
    <a:masterClrMapping/>
  </p:clrMapOvr>
  <p:transition spd="med"/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" y="0"/>
            <a:ext cx="1219200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44" y="2639887"/>
            <a:ext cx="9272403" cy="208819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822630" y="3324781"/>
            <a:ext cx="2049373" cy="683021"/>
          </a:xfrm>
          <a:prstGeom prst="rect">
            <a:avLst/>
          </a:prstGeom>
        </p:spPr>
      </p:pic>
      <p:pic>
        <p:nvPicPr>
          <p:cNvPr id="15" name="Picture 2" descr="C:\Users\kathyp\Dropbox\Brand Experience Team\1_Branding Resources\Lenovo Tagline\Different_is_better-REV-Tag-ONLY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647" y="4985949"/>
            <a:ext cx="4091093" cy="358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7015115"/>
      </p:ext>
    </p:extLst>
  </p:cSld>
  <p:clrMapOvr>
    <a:masterClrMapping/>
  </p:clrMapOvr>
  <p:transition spd="med"/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9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11073384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788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1" y="274320"/>
            <a:ext cx="11064241" cy="457200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black">
          <a:xfrm>
            <a:off x="205358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802902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3"/>
            <a:ext cx="12190415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048256"/>
            <a:ext cx="8723376" cy="1581912"/>
          </a:xfrm>
          <a:prstGeom prst="rect">
            <a:avLst/>
          </a:prstGeom>
        </p:spPr>
        <p:txBody>
          <a:bodyPr lIns="0" tIns="45710" rIns="91420" bIns="45710" anchor="b" anchorCtr="0"/>
          <a:lstStyle>
            <a:lvl1pPr marL="0" algn="l" defTabSz="1218642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59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860800" cy="164019"/>
          </a:xfrm>
        </p:spPr>
        <p:txBody>
          <a:bodyPr lIns="0"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640" y="4059936"/>
            <a:ext cx="8714231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6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2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48640" y="4800600"/>
            <a:ext cx="640994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20" name="Rectangle 19"/>
          <p:cNvSpPr/>
          <p:nvPr userDrawn="1"/>
        </p:nvSpPr>
        <p:spPr bwMode="black">
          <a:xfrm>
            <a:off x="548646" y="4557719"/>
            <a:ext cx="1097683" cy="1067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548647" y="4664439"/>
            <a:ext cx="1041909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" descr="C:\Users\kathyp\Documents\00_Brand-Resources\Multimode Elements\Multimode Icons\PNG\Multimode-Icon_HANG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04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9830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721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7398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1182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7" descr="C:\Users\kathyp\Documents\00_Brand-Resources\Multimode Elements\Multimode Icons\PNG\Multimode-Icon_TABLE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8570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595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2535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" descr="C:\Users\kathyp\Documents\00_Brand-Resources\Multimode Elements\Multimode Icons\PNG\Multimode-Icon_TILT.png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6318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1" descr="C:\Users\kathyp\Documents\00_Brand-Resources\Multimode Elements\Multimode Icons\PNG\Multimode-Icon_TV.png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3713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 userDrawn="1"/>
        </p:nvGrpSpPr>
        <p:grpSpPr>
          <a:xfrm>
            <a:off x="2024600" y="5468108"/>
            <a:ext cx="310896" cy="310896"/>
            <a:chOff x="2024598" y="5468108"/>
            <a:chExt cx="310896" cy="310896"/>
          </a:xfrm>
        </p:grpSpPr>
        <p:sp>
          <p:nvSpPr>
            <p:cNvPr id="34" name="Oval 33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36" name="Group 35"/>
          <p:cNvGrpSpPr/>
          <p:nvPr userDrawn="1"/>
        </p:nvGrpSpPr>
        <p:grpSpPr>
          <a:xfrm>
            <a:off x="3094780" y="5468108"/>
            <a:ext cx="310896" cy="310896"/>
            <a:chOff x="3094779" y="5468108"/>
            <a:chExt cx="310896" cy="310896"/>
          </a:xfrm>
        </p:grpSpPr>
        <p:sp>
          <p:nvSpPr>
            <p:cNvPr id="37" name="Oval 3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38" name="Picture 9" descr="C:\Users\yhwang\Desktop\WW Design\Multimode Icons\twitter-01.png"/>
            <p:cNvPicPr>
              <a:picLocks noChangeAspect="1" noChangeArrowheads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779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39" name="Group 38"/>
          <p:cNvGrpSpPr/>
          <p:nvPr userDrawn="1"/>
        </p:nvGrpSpPr>
        <p:grpSpPr>
          <a:xfrm>
            <a:off x="953427" y="5468108"/>
            <a:ext cx="310896" cy="310896"/>
            <a:chOff x="953427" y="5468108"/>
            <a:chExt cx="310896" cy="310896"/>
          </a:xfrm>
        </p:grpSpPr>
        <p:sp>
          <p:nvSpPr>
            <p:cNvPr id="40" name="Oval 39"/>
            <p:cNvSpPr/>
            <p:nvPr userDrawn="1"/>
          </p:nvSpPr>
          <p:spPr>
            <a:xfrm>
              <a:off x="953427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41" name="Picture 5" descr="C:\Users\yhwang\Desktop\WW Design\Multimode Icons\globe-01.png"/>
            <p:cNvPicPr>
              <a:picLocks noChangeAspect="1" noChangeArrowheads="1"/>
            </p:cNvPicPr>
            <p:nvPr userDrawn="1"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59" y="5495540"/>
              <a:ext cx="256032" cy="256032"/>
            </a:xfrm>
            <a:prstGeom prst="rect">
              <a:avLst/>
            </a:prstGeom>
            <a:noFill/>
          </p:spPr>
        </p:pic>
      </p:grpSp>
      <p:grpSp>
        <p:nvGrpSpPr>
          <p:cNvPr id="42" name="Group 41"/>
          <p:cNvGrpSpPr/>
          <p:nvPr userDrawn="1"/>
        </p:nvGrpSpPr>
        <p:grpSpPr>
          <a:xfrm>
            <a:off x="2355834" y="5442941"/>
            <a:ext cx="365759" cy="365760"/>
            <a:chOff x="2355828" y="5442941"/>
            <a:chExt cx="365760" cy="365760"/>
          </a:xfrm>
        </p:grpSpPr>
        <p:sp>
          <p:nvSpPr>
            <p:cNvPr id="43" name="Oval 42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44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grpSp>
        <p:nvGrpSpPr>
          <p:cNvPr id="45" name="Group 44"/>
          <p:cNvGrpSpPr/>
          <p:nvPr userDrawn="1"/>
        </p:nvGrpSpPr>
        <p:grpSpPr>
          <a:xfrm>
            <a:off x="5236134" y="5468108"/>
            <a:ext cx="310896" cy="310896"/>
            <a:chOff x="5236131" y="5468108"/>
            <a:chExt cx="310896" cy="310896"/>
          </a:xfrm>
        </p:grpSpPr>
        <p:sp>
          <p:nvSpPr>
            <p:cNvPr id="46" name="Oval 4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47" name="Picture 46" descr="C:\Users\yhwang\Desktop\WW Design\Multimode Icons\facebook-01.png"/>
            <p:cNvPicPr>
              <a:picLocks noChangeAspect="1" noChangeArrowheads="1"/>
            </p:cNvPicPr>
            <p:nvPr userDrawn="1"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 userDrawn="1"/>
        </p:nvGrpSpPr>
        <p:grpSpPr>
          <a:xfrm>
            <a:off x="4523337" y="5468108"/>
            <a:ext cx="310896" cy="310896"/>
            <a:chOff x="4523337" y="5468108"/>
            <a:chExt cx="310896" cy="310896"/>
          </a:xfrm>
        </p:grpSpPr>
        <p:sp>
          <p:nvSpPr>
            <p:cNvPr id="49" name="Oval 48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2" name="Group 51"/>
          <p:cNvGrpSpPr/>
          <p:nvPr userDrawn="1"/>
        </p:nvGrpSpPr>
        <p:grpSpPr>
          <a:xfrm>
            <a:off x="4879735" y="5468108"/>
            <a:ext cx="310896" cy="310896"/>
            <a:chOff x="4879734" y="5468108"/>
            <a:chExt cx="310896" cy="310896"/>
          </a:xfrm>
        </p:grpSpPr>
        <p:sp>
          <p:nvSpPr>
            <p:cNvPr id="53" name="Oval 5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57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9734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 userDrawn="1"/>
        </p:nvGrpSpPr>
        <p:grpSpPr>
          <a:xfrm>
            <a:off x="5949916" y="5468108"/>
            <a:ext cx="310896" cy="310896"/>
            <a:chOff x="5949915" y="5468108"/>
            <a:chExt cx="310896" cy="310896"/>
          </a:xfrm>
        </p:grpSpPr>
        <p:sp>
          <p:nvSpPr>
            <p:cNvPr id="59" name="Oval 5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60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9915" y="5468108"/>
              <a:ext cx="310896" cy="310896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583674" y="3056117"/>
            <a:ext cx="2412867" cy="80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04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3"/>
            <a:ext cx="12190415" cy="6857107"/>
          </a:xfrm>
          <a:prstGeom prst="rect">
            <a:avLst/>
          </a:prstGeom>
        </p:spPr>
      </p:pic>
      <p:sp>
        <p:nvSpPr>
          <p:cNvPr id="5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048256"/>
            <a:ext cx="8723376" cy="1581912"/>
          </a:xfrm>
          <a:prstGeom prst="rect">
            <a:avLst/>
          </a:prstGeom>
        </p:spPr>
        <p:txBody>
          <a:bodyPr lIns="0" tIns="45710" rIns="91420" bIns="45710" anchor="b" anchorCtr="0"/>
          <a:lstStyle>
            <a:lvl1pPr marL="0" algn="l" defTabSz="1218642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lang="en-US" sz="59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ext, two lines maximum</a:t>
            </a:r>
          </a:p>
        </p:txBody>
      </p:sp>
      <p:sp>
        <p:nvSpPr>
          <p:cNvPr id="62" name="Footer Placeholder 61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860800" cy="164019"/>
          </a:xfrm>
        </p:spPr>
        <p:txBody>
          <a:bodyPr lIns="0"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8640" y="4059936"/>
            <a:ext cx="8714231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6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399" b="0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2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 placehold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48640" y="4800600"/>
            <a:ext cx="6409944" cy="512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pic>
        <p:nvPicPr>
          <p:cNvPr id="23" name="Picture 2" descr="C:\Users\kathyp\Documents\00_Brand-Resources\Multimode Elements\Multimode Icons\PNG\Multimode-Icon_HANG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04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kathyp\Documents\00_Brand-Resources\Multimode Elements\Multimode Icons\PNG\Multimode-Icon_HOLD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9830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C:\Users\kathyp\Documents\00_Brand-Resources\Multimode Elements\Multimode Icons\PNG\Multimode-Icon_LAPTOP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721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kathyp\Documents\00_Brand-Resources\Multimode Elements\Multimode Icons\PNG\Multimode-Icon_STAND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7398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C:\Users\kathyp\Documents\00_Brand-Resources\Multimode Elements\Multimode Icons\PNG\Multimode-Icon_STAND-Tablet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1182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7" descr="C:\Users\kathyp\Documents\00_Brand-Resources\Multimode Elements\Multimode Icons\PNG\Multimode-Icon_TABLE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8570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C:\Users\kathyp\Documents\00_Brand-Resources\Multimode Elements\Multimode Icons\PNG\Multimode-Icon_TABLET.png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5957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9" descr="C:\Users\kathyp\Documents\00_Brand-Resources\Multimode Elements\Multimode Icons\PNG\Multimode-Icon_TENT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2535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" descr="C:\Users\kathyp\Documents\00_Brand-Resources\Multimode Elements\Multimode Icons\PNG\Multimode-Icon_TILT.png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6318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1" descr="C:\Users\kathyp\Documents\00_Brand-Resources\Multimode Elements\Multimode Icons\PNG\Multimode-Icon_TV.png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3713" y="5468114"/>
            <a:ext cx="311885" cy="311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/>
          <p:cNvGrpSpPr/>
          <p:nvPr userDrawn="1"/>
        </p:nvGrpSpPr>
        <p:grpSpPr>
          <a:xfrm>
            <a:off x="2024600" y="5468108"/>
            <a:ext cx="310896" cy="310896"/>
            <a:chOff x="2024598" y="5468108"/>
            <a:chExt cx="310896" cy="310896"/>
          </a:xfrm>
        </p:grpSpPr>
        <p:sp>
          <p:nvSpPr>
            <p:cNvPr id="34" name="Oval 33"/>
            <p:cNvSpPr/>
            <p:nvPr userDrawn="1"/>
          </p:nvSpPr>
          <p:spPr>
            <a:xfrm>
              <a:off x="2024598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18814" y="5509256"/>
              <a:ext cx="122464" cy="228600"/>
            </a:xfrm>
            <a:prstGeom prst="rect">
              <a:avLst/>
            </a:prstGeom>
          </p:spPr>
        </p:pic>
      </p:grpSp>
      <p:grpSp>
        <p:nvGrpSpPr>
          <p:cNvPr id="36" name="Group 35"/>
          <p:cNvGrpSpPr/>
          <p:nvPr userDrawn="1"/>
        </p:nvGrpSpPr>
        <p:grpSpPr>
          <a:xfrm>
            <a:off x="3094780" y="5468108"/>
            <a:ext cx="310896" cy="310896"/>
            <a:chOff x="3094779" y="5468108"/>
            <a:chExt cx="310896" cy="310896"/>
          </a:xfrm>
        </p:grpSpPr>
        <p:sp>
          <p:nvSpPr>
            <p:cNvPr id="37" name="Oval 36"/>
            <p:cNvSpPr/>
            <p:nvPr userDrawn="1"/>
          </p:nvSpPr>
          <p:spPr>
            <a:xfrm>
              <a:off x="3094779" y="5468108"/>
              <a:ext cx="310896" cy="3108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38" name="Picture 9" descr="C:\Users\yhwang\Desktop\WW Design\Multimode Icons\twitter-01.png"/>
            <p:cNvPicPr>
              <a:picLocks noChangeAspect="1" noChangeArrowheads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4779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39" name="Group 38"/>
          <p:cNvGrpSpPr/>
          <p:nvPr userDrawn="1"/>
        </p:nvGrpSpPr>
        <p:grpSpPr>
          <a:xfrm>
            <a:off x="953427" y="5468108"/>
            <a:ext cx="310896" cy="310896"/>
            <a:chOff x="953427" y="5468108"/>
            <a:chExt cx="310896" cy="310896"/>
          </a:xfrm>
        </p:grpSpPr>
        <p:sp>
          <p:nvSpPr>
            <p:cNvPr id="40" name="Oval 39"/>
            <p:cNvSpPr/>
            <p:nvPr userDrawn="1"/>
          </p:nvSpPr>
          <p:spPr>
            <a:xfrm>
              <a:off x="953427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41" name="Picture 5" descr="C:\Users\yhwang\Desktop\WW Design\Multimode Icons\globe-01.png"/>
            <p:cNvPicPr>
              <a:picLocks noChangeAspect="1" noChangeArrowheads="1"/>
            </p:cNvPicPr>
            <p:nvPr userDrawn="1"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0859" y="5495540"/>
              <a:ext cx="256032" cy="256032"/>
            </a:xfrm>
            <a:prstGeom prst="rect">
              <a:avLst/>
            </a:prstGeom>
            <a:noFill/>
          </p:spPr>
        </p:pic>
      </p:grpSp>
      <p:grpSp>
        <p:nvGrpSpPr>
          <p:cNvPr id="42" name="Group 41"/>
          <p:cNvGrpSpPr/>
          <p:nvPr userDrawn="1"/>
        </p:nvGrpSpPr>
        <p:grpSpPr>
          <a:xfrm>
            <a:off x="2355834" y="5442941"/>
            <a:ext cx="365759" cy="365760"/>
            <a:chOff x="2355828" y="5442941"/>
            <a:chExt cx="365760" cy="365760"/>
          </a:xfrm>
        </p:grpSpPr>
        <p:sp>
          <p:nvSpPr>
            <p:cNvPr id="43" name="Oval 42"/>
            <p:cNvSpPr/>
            <p:nvPr userDrawn="1"/>
          </p:nvSpPr>
          <p:spPr>
            <a:xfrm>
              <a:off x="2380995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44" name="Picture 2" descr="C:\Users\yhwang\Desktop\WW Design\Multimode Icons\chain-01.png"/>
            <p:cNvPicPr>
              <a:picLocks noChangeAspect="1" noChangeArrowheads="1"/>
            </p:cNvPicPr>
            <p:nvPr userDrawn="1"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5828" y="5442941"/>
              <a:ext cx="365760" cy="365760"/>
            </a:xfrm>
            <a:prstGeom prst="rect">
              <a:avLst/>
            </a:prstGeom>
            <a:noFill/>
          </p:spPr>
        </p:pic>
      </p:grpSp>
      <p:grpSp>
        <p:nvGrpSpPr>
          <p:cNvPr id="45" name="Group 44"/>
          <p:cNvGrpSpPr/>
          <p:nvPr userDrawn="1"/>
        </p:nvGrpSpPr>
        <p:grpSpPr>
          <a:xfrm>
            <a:off x="5236134" y="5468108"/>
            <a:ext cx="310896" cy="310896"/>
            <a:chOff x="5236131" y="5468108"/>
            <a:chExt cx="310896" cy="310896"/>
          </a:xfrm>
        </p:grpSpPr>
        <p:sp>
          <p:nvSpPr>
            <p:cNvPr id="46" name="Oval 45"/>
            <p:cNvSpPr/>
            <p:nvPr userDrawn="1"/>
          </p:nvSpPr>
          <p:spPr>
            <a:xfrm>
              <a:off x="5236131" y="5468108"/>
              <a:ext cx="310896" cy="31089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47" name="Picture 46" descr="C:\Users\yhwang\Desktop\WW Design\Multimode Icons\facebook-01.png"/>
            <p:cNvPicPr>
              <a:picLocks noChangeAspect="1" noChangeArrowheads="1"/>
            </p:cNvPicPr>
            <p:nvPr userDrawn="1"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6131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48" name="Group 47"/>
          <p:cNvGrpSpPr/>
          <p:nvPr userDrawn="1"/>
        </p:nvGrpSpPr>
        <p:grpSpPr>
          <a:xfrm>
            <a:off x="4523337" y="5468108"/>
            <a:ext cx="310896" cy="310896"/>
            <a:chOff x="4523337" y="5468108"/>
            <a:chExt cx="310896" cy="310896"/>
          </a:xfrm>
        </p:grpSpPr>
        <p:sp>
          <p:nvSpPr>
            <p:cNvPr id="49" name="Oval 48"/>
            <p:cNvSpPr/>
            <p:nvPr userDrawn="1"/>
          </p:nvSpPr>
          <p:spPr>
            <a:xfrm>
              <a:off x="4523337" y="5468108"/>
              <a:ext cx="310896" cy="3108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50" name="Picture 7" descr="C:\Users\yhwang\Desktop\WW Design\Multimode Icons\server-01.png"/>
            <p:cNvPicPr>
              <a:picLocks noChangeAspect="1" noChangeArrowheads="1"/>
            </p:cNvPicPr>
            <p:nvPr userDrawn="1"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3337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2" name="Group 51"/>
          <p:cNvGrpSpPr/>
          <p:nvPr userDrawn="1"/>
        </p:nvGrpSpPr>
        <p:grpSpPr>
          <a:xfrm>
            <a:off x="4879735" y="5468108"/>
            <a:ext cx="310896" cy="310896"/>
            <a:chOff x="4879734" y="5468108"/>
            <a:chExt cx="310896" cy="310896"/>
          </a:xfrm>
        </p:grpSpPr>
        <p:sp>
          <p:nvSpPr>
            <p:cNvPr id="53" name="Oval 52"/>
            <p:cNvSpPr/>
            <p:nvPr userDrawn="1"/>
          </p:nvSpPr>
          <p:spPr>
            <a:xfrm>
              <a:off x="4879734" y="5468108"/>
              <a:ext cx="310896" cy="31089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57" name="Picture 6" descr="C:\Users\yhwang\Desktop\WW Design\Multimode Icons\network-01.png"/>
            <p:cNvPicPr>
              <a:picLocks noChangeAspect="1" noChangeArrowheads="1"/>
            </p:cNvPicPr>
            <p:nvPr userDrawn="1"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9734" y="5468108"/>
              <a:ext cx="310896" cy="310896"/>
            </a:xfrm>
            <a:prstGeom prst="rect">
              <a:avLst/>
            </a:prstGeom>
            <a:noFill/>
          </p:spPr>
        </p:pic>
      </p:grpSp>
      <p:grpSp>
        <p:nvGrpSpPr>
          <p:cNvPr id="58" name="Group 57"/>
          <p:cNvGrpSpPr/>
          <p:nvPr userDrawn="1"/>
        </p:nvGrpSpPr>
        <p:grpSpPr>
          <a:xfrm>
            <a:off x="5949916" y="5468108"/>
            <a:ext cx="310896" cy="310896"/>
            <a:chOff x="5949915" y="5468108"/>
            <a:chExt cx="310896" cy="310896"/>
          </a:xfrm>
        </p:grpSpPr>
        <p:sp>
          <p:nvSpPr>
            <p:cNvPr id="59" name="Oval 58"/>
            <p:cNvSpPr/>
            <p:nvPr userDrawn="1"/>
          </p:nvSpPr>
          <p:spPr>
            <a:xfrm>
              <a:off x="5949915" y="5468108"/>
              <a:ext cx="310896" cy="31089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pic>
          <p:nvPicPr>
            <p:cNvPr id="60" name="Picture 8" descr="C:\Users\yhwang\Desktop\WW Design\Multimode Icons\think_light-01.png"/>
            <p:cNvPicPr>
              <a:picLocks noChangeAspect="1" noChangeArrowheads="1"/>
            </p:cNvPicPr>
            <p:nvPr userDrawn="1"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9915" y="5468108"/>
              <a:ext cx="310896" cy="310896"/>
            </a:xfrm>
            <a:prstGeom prst="rect">
              <a:avLst/>
            </a:prstGeom>
            <a:noFill/>
          </p:spPr>
        </p:pic>
      </p:grpSp>
      <p:pic>
        <p:nvPicPr>
          <p:cNvPr id="61" name="Picture 60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583674" y="3056117"/>
            <a:ext cx="2412867" cy="803787"/>
          </a:xfrm>
          <a:prstGeom prst="rect">
            <a:avLst/>
          </a:prstGeom>
        </p:spPr>
      </p:pic>
      <p:sp>
        <p:nvSpPr>
          <p:cNvPr id="6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9815125" y="3464892"/>
            <a:ext cx="1200545" cy="1199183"/>
          </a:xfrm>
          <a:prstGeom prst="rect">
            <a:avLst/>
          </a:prstGeom>
          <a:ln w="38100">
            <a:noFill/>
          </a:ln>
          <a:effectLst/>
        </p:spPr>
        <p:txBody>
          <a:bodyPr lIns="68577" tIns="34289" rIns="68577" bIns="34289"/>
          <a:lstStyle>
            <a:lvl1pPr>
              <a:defRPr sz="1066"/>
            </a:lvl1pPr>
          </a:lstStyle>
          <a:p>
            <a:pPr marL="0" marR="0" lvl="0" indent="0" defTabSz="9141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9158288" y="4770440"/>
            <a:ext cx="1689100" cy="198437"/>
          </a:xfrm>
          <a:prstGeom prst="rect">
            <a:avLst/>
          </a:prstGeom>
        </p:spPr>
        <p:txBody>
          <a:bodyPr lIns="0" tIns="34289" rIns="34289" bIns="34289"/>
          <a:lstStyle>
            <a:lvl1pPr marL="0" indent="0" algn="r">
              <a:buFontTx/>
              <a:buNone/>
              <a:defRPr sz="1066"/>
            </a:lvl1pPr>
            <a:lvl2pPr marL="341216" indent="0" algn="r">
              <a:buFontTx/>
              <a:buNone/>
              <a:defRPr sz="1066"/>
            </a:lvl2pPr>
            <a:lvl3pPr marL="679258" indent="0" algn="r">
              <a:buFontTx/>
              <a:buNone/>
              <a:defRPr sz="1066"/>
            </a:lvl3pPr>
            <a:lvl4pPr marL="966514" indent="0" algn="r">
              <a:buFontTx/>
              <a:buNone/>
              <a:defRPr sz="1066"/>
            </a:lvl4pPr>
            <a:lvl5pPr marL="1145849" indent="0" algn="r">
              <a:buFontTx/>
              <a:buNone/>
              <a:defRPr sz="1066"/>
            </a:lvl5pPr>
          </a:lstStyle>
          <a:p>
            <a:pPr marL="0" marR="0" lvl="0" indent="0" algn="r" defTabSz="91414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6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@</a:t>
            </a:r>
            <a:r>
              <a:rPr kumimoji="0" lang="en-US" sz="1066" b="0" i="0" u="none" strike="noStrike" kern="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witterhandle</a:t>
            </a:r>
            <a:endParaRPr kumimoji="0" lang="en-US" sz="1066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68" name="Group 67"/>
          <p:cNvGrpSpPr/>
          <p:nvPr userDrawn="1"/>
        </p:nvGrpSpPr>
        <p:grpSpPr>
          <a:xfrm>
            <a:off x="9815125" y="4664445"/>
            <a:ext cx="1200545" cy="305127"/>
            <a:chOff x="9815120" y="4664439"/>
            <a:chExt cx="1200544" cy="305126"/>
          </a:xfrm>
          <a:solidFill>
            <a:srgbClr val="4AC0E0"/>
          </a:solidFill>
        </p:grpSpPr>
        <p:sp>
          <p:nvSpPr>
            <p:cNvPr id="69" name="Rectangle 68"/>
            <p:cNvSpPr/>
            <p:nvPr userDrawn="1"/>
          </p:nvSpPr>
          <p:spPr bwMode="black">
            <a:xfrm>
              <a:off x="9815120" y="4664439"/>
              <a:ext cx="1200544" cy="106726"/>
            </a:xfrm>
            <a:prstGeom prst="rect">
              <a:avLst/>
            </a:pr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141">
                <a:defRPr/>
              </a:pPr>
              <a:endParaRPr lang="en-US" sz="1866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70" name="Rectangle 45"/>
            <p:cNvSpPr/>
            <p:nvPr userDrawn="1"/>
          </p:nvSpPr>
          <p:spPr bwMode="black">
            <a:xfrm>
              <a:off x="10853530" y="4771165"/>
              <a:ext cx="162133" cy="198400"/>
            </a:xfrm>
            <a:custGeom>
              <a:avLst/>
              <a:gdLst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1200544 w 1200544"/>
                <a:gd name="connsiteY2" fmla="*/ 106726 h 106726"/>
                <a:gd name="connsiteX3" fmla="*/ 0 w 1200544"/>
                <a:gd name="connsiteY3" fmla="*/ 106726 h 106726"/>
                <a:gd name="connsiteX4" fmla="*/ 0 w 1200544"/>
                <a:gd name="connsiteY4" fmla="*/ 0 h 106726"/>
                <a:gd name="connsiteX0" fmla="*/ 0 w 1200544"/>
                <a:gd name="connsiteY0" fmla="*/ 0 h 106726"/>
                <a:gd name="connsiteX1" fmla="*/ 1200544 w 1200544"/>
                <a:gd name="connsiteY1" fmla="*/ 0 h 106726"/>
                <a:gd name="connsiteX2" fmla="*/ 0 w 1200544"/>
                <a:gd name="connsiteY2" fmla="*/ 106726 h 106726"/>
                <a:gd name="connsiteX3" fmla="*/ 0 w 1200544"/>
                <a:gd name="connsiteY3" fmla="*/ 0 h 106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544" h="106726">
                  <a:moveTo>
                    <a:pt x="0" y="0"/>
                  </a:moveTo>
                  <a:lnTo>
                    <a:pt x="1200544" y="0"/>
                  </a:lnTo>
                  <a:lnTo>
                    <a:pt x="0" y="1067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141">
                <a:defRPr/>
              </a:pPr>
              <a:endParaRPr lang="en-US" sz="1866" kern="0">
                <a:solidFill>
                  <a:sysClr val="window" lastClr="FFFFFF"/>
                </a:solidFill>
              </a:endParaRPr>
            </a:p>
          </p:txBody>
        </p:sp>
      </p:grpSp>
      <p:sp>
        <p:nvSpPr>
          <p:cNvPr id="54" name="Rectangle 53"/>
          <p:cNvSpPr/>
          <p:nvPr userDrawn="1"/>
        </p:nvSpPr>
        <p:spPr bwMode="black">
          <a:xfrm>
            <a:off x="548646" y="4557719"/>
            <a:ext cx="1097683" cy="1067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cxnSp>
        <p:nvCxnSpPr>
          <p:cNvPr id="63" name="Straight Connector 62"/>
          <p:cNvCxnSpPr/>
          <p:nvPr userDrawn="1"/>
        </p:nvCxnSpPr>
        <p:spPr>
          <a:xfrm>
            <a:off x="548647" y="4664439"/>
            <a:ext cx="1041909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93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RED">
    <p:bg>
      <p:bgPr>
        <a:solidFill>
          <a:schemeClr val="bg2">
            <a:lumMod val="50000"/>
            <a:lumOff val="5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3"/>
            <a:ext cx="12190413" cy="6857107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black">
          <a:xfrm>
            <a:off x="0" y="6384638"/>
            <a:ext cx="12192000" cy="473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prstClr val="white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384631"/>
            <a:ext cx="12188952" cy="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860800" cy="1640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1764792" y="1709928"/>
            <a:ext cx="9582912" cy="285292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642" rtl="0" eaLnBrk="1" latinLnBrk="0" hangingPunct="1">
              <a:lnSpc>
                <a:spcPts val="6480"/>
              </a:lnSpc>
              <a:spcBef>
                <a:spcPct val="0"/>
              </a:spcBef>
              <a:buNone/>
              <a:defRPr lang="en-US" sz="4799" b="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section header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1524" y="0"/>
            <a:ext cx="12188952" cy="71120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1764792" y="4589465"/>
            <a:ext cx="9582659" cy="1500187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  <a:lvl2pPr marL="4570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712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4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subtitle text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white">
          <a:xfrm>
            <a:off x="1651780" y="4563275"/>
            <a:ext cx="0" cy="1816895"/>
          </a:xfrm>
          <a:prstGeom prst="line">
            <a:avLst/>
          </a:prstGeom>
          <a:ln w="1270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 userDrawn="1"/>
        </p:nvSpPr>
        <p:spPr bwMode="gray">
          <a:xfrm>
            <a:off x="1592347" y="6329604"/>
            <a:ext cx="118872" cy="11887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white">
          <a:xfrm>
            <a:off x="1171991" y="4087556"/>
            <a:ext cx="347589" cy="346881"/>
          </a:xfrm>
          <a:custGeom>
            <a:avLst/>
            <a:gdLst>
              <a:gd name="T0" fmla="*/ 206 w 412"/>
              <a:gd name="T1" fmla="*/ 0 h 412"/>
              <a:gd name="T2" fmla="*/ 0 w 412"/>
              <a:gd name="T3" fmla="*/ 206 h 412"/>
              <a:gd name="T4" fmla="*/ 206 w 412"/>
              <a:gd name="T5" fmla="*/ 412 h 412"/>
              <a:gd name="T6" fmla="*/ 412 w 412"/>
              <a:gd name="T7" fmla="*/ 206 h 412"/>
              <a:gd name="T8" fmla="*/ 206 w 412"/>
              <a:gd name="T9" fmla="*/ 0 h 412"/>
              <a:gd name="T10" fmla="*/ 206 w 412"/>
              <a:gd name="T11" fmla="*/ 376 h 412"/>
              <a:gd name="T12" fmla="*/ 36 w 412"/>
              <a:gd name="T13" fmla="*/ 206 h 412"/>
              <a:gd name="T14" fmla="*/ 206 w 412"/>
              <a:gd name="T15" fmla="*/ 36 h 412"/>
              <a:gd name="T16" fmla="*/ 376 w 412"/>
              <a:gd name="T17" fmla="*/ 206 h 412"/>
              <a:gd name="T18" fmla="*/ 206 w 412"/>
              <a:gd name="T19" fmla="*/ 376 h 412"/>
              <a:gd name="T20" fmla="*/ 328 w 412"/>
              <a:gd name="T21" fmla="*/ 206 h 412"/>
              <a:gd name="T22" fmla="*/ 260 w 412"/>
              <a:gd name="T23" fmla="*/ 274 h 412"/>
              <a:gd name="T24" fmla="*/ 222 w 412"/>
              <a:gd name="T25" fmla="*/ 274 h 412"/>
              <a:gd name="T26" fmla="*/ 271 w 412"/>
              <a:gd name="T27" fmla="*/ 225 h 412"/>
              <a:gd name="T28" fmla="*/ 90 w 412"/>
              <a:gd name="T29" fmla="*/ 225 h 412"/>
              <a:gd name="T30" fmla="*/ 90 w 412"/>
              <a:gd name="T31" fmla="*/ 218 h 412"/>
              <a:gd name="T32" fmla="*/ 90 w 412"/>
              <a:gd name="T33" fmla="*/ 194 h 412"/>
              <a:gd name="T34" fmla="*/ 90 w 412"/>
              <a:gd name="T35" fmla="*/ 187 h 412"/>
              <a:gd name="T36" fmla="*/ 271 w 412"/>
              <a:gd name="T37" fmla="*/ 187 h 412"/>
              <a:gd name="T38" fmla="*/ 222 w 412"/>
              <a:gd name="T39" fmla="*/ 138 h 412"/>
              <a:gd name="T40" fmla="*/ 260 w 412"/>
              <a:gd name="T41" fmla="*/ 138 h 412"/>
              <a:gd name="T42" fmla="*/ 328 w 412"/>
              <a:gd name="T43" fmla="*/ 206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2" h="412">
                <a:moveTo>
                  <a:pt x="206" y="0"/>
                </a:moveTo>
                <a:cubicBezTo>
                  <a:pt x="92" y="0"/>
                  <a:pt x="0" y="92"/>
                  <a:pt x="0" y="206"/>
                </a:cubicBezTo>
                <a:cubicBezTo>
                  <a:pt x="0" y="319"/>
                  <a:pt x="92" y="412"/>
                  <a:pt x="206" y="412"/>
                </a:cubicBezTo>
                <a:cubicBezTo>
                  <a:pt x="320" y="412"/>
                  <a:pt x="412" y="319"/>
                  <a:pt x="412" y="206"/>
                </a:cubicBezTo>
                <a:cubicBezTo>
                  <a:pt x="412" y="92"/>
                  <a:pt x="320" y="0"/>
                  <a:pt x="206" y="0"/>
                </a:cubicBezTo>
                <a:close/>
                <a:moveTo>
                  <a:pt x="206" y="376"/>
                </a:moveTo>
                <a:cubicBezTo>
                  <a:pt x="112" y="376"/>
                  <a:pt x="36" y="300"/>
                  <a:pt x="36" y="206"/>
                </a:cubicBezTo>
                <a:cubicBezTo>
                  <a:pt x="36" y="112"/>
                  <a:pt x="112" y="36"/>
                  <a:pt x="206" y="36"/>
                </a:cubicBezTo>
                <a:cubicBezTo>
                  <a:pt x="300" y="36"/>
                  <a:pt x="376" y="112"/>
                  <a:pt x="376" y="206"/>
                </a:cubicBezTo>
                <a:cubicBezTo>
                  <a:pt x="376" y="300"/>
                  <a:pt x="300" y="376"/>
                  <a:pt x="206" y="376"/>
                </a:cubicBezTo>
                <a:close/>
                <a:moveTo>
                  <a:pt x="328" y="206"/>
                </a:moveTo>
                <a:cubicBezTo>
                  <a:pt x="260" y="274"/>
                  <a:pt x="260" y="274"/>
                  <a:pt x="260" y="274"/>
                </a:cubicBezTo>
                <a:cubicBezTo>
                  <a:pt x="222" y="274"/>
                  <a:pt x="222" y="274"/>
                  <a:pt x="222" y="274"/>
                </a:cubicBezTo>
                <a:cubicBezTo>
                  <a:pt x="271" y="225"/>
                  <a:pt x="271" y="225"/>
                  <a:pt x="271" y="225"/>
                </a:cubicBezTo>
                <a:cubicBezTo>
                  <a:pt x="90" y="225"/>
                  <a:pt x="90" y="225"/>
                  <a:pt x="90" y="225"/>
                </a:cubicBezTo>
                <a:cubicBezTo>
                  <a:pt x="90" y="218"/>
                  <a:pt x="90" y="218"/>
                  <a:pt x="90" y="218"/>
                </a:cubicBezTo>
                <a:cubicBezTo>
                  <a:pt x="90" y="194"/>
                  <a:pt x="90" y="194"/>
                  <a:pt x="90" y="194"/>
                </a:cubicBezTo>
                <a:cubicBezTo>
                  <a:pt x="90" y="187"/>
                  <a:pt x="90" y="187"/>
                  <a:pt x="90" y="187"/>
                </a:cubicBezTo>
                <a:cubicBezTo>
                  <a:pt x="271" y="187"/>
                  <a:pt x="271" y="187"/>
                  <a:pt x="271" y="187"/>
                </a:cubicBezTo>
                <a:cubicBezTo>
                  <a:pt x="222" y="138"/>
                  <a:pt x="222" y="138"/>
                  <a:pt x="222" y="138"/>
                </a:cubicBezTo>
                <a:cubicBezTo>
                  <a:pt x="260" y="138"/>
                  <a:pt x="260" y="138"/>
                  <a:pt x="260" y="138"/>
                </a:cubicBezTo>
                <a:lnTo>
                  <a:pt x="328" y="2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03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3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10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cap="none"/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9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216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dy Dark -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2609" y="381001"/>
            <a:ext cx="11123613" cy="792163"/>
          </a:xfrm>
          <a:prstGeom prst="rect">
            <a:avLst/>
          </a:prstGeom>
        </p:spPr>
        <p:txBody>
          <a:bodyPr lIns="0" anchor="b"/>
          <a:lstStyle>
            <a:lvl1pPr>
              <a:defRPr sz="3599" b="0" i="0" cap="none" baseline="0">
                <a:solidFill>
                  <a:schemeClr val="bg1"/>
                </a:solidFill>
                <a:latin typeface="Work Sans Regular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26051" y="1240536"/>
            <a:ext cx="11481873" cy="54864"/>
            <a:chOff x="326136" y="990600"/>
            <a:chExt cx="11484864" cy="54864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381000" y="1018032"/>
              <a:ext cx="11430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12"/>
            <p:cNvSpPr/>
            <p:nvPr userDrawn="1"/>
          </p:nvSpPr>
          <p:spPr>
            <a:xfrm>
              <a:off x="326136" y="990600"/>
              <a:ext cx="54864" cy="5486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33"/>
              <a:endParaRPr lang="en-US" sz="1800">
                <a:solidFill>
                  <a:prstClr val="white"/>
                </a:solidFill>
                <a:latin typeface="Work Sans Regular" charset="0"/>
              </a:endParaRPr>
            </a:p>
          </p:txBody>
        </p:sp>
        <p:sp>
          <p:nvSpPr>
            <p:cNvPr id="14" name="Oval 13"/>
            <p:cNvSpPr/>
            <p:nvPr userDrawn="1"/>
          </p:nvSpPr>
          <p:spPr>
            <a:xfrm>
              <a:off x="11756136" y="990600"/>
              <a:ext cx="54864" cy="5486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33"/>
              <a:endParaRPr lang="en-US" sz="1800">
                <a:solidFill>
                  <a:prstClr val="white"/>
                </a:solidFill>
                <a:latin typeface="Work Sans Regular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662065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7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11073384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049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11073384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124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Subtitle Conten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591057"/>
            <a:ext cx="11073384" cy="4798203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0">
              <a:buNone/>
              <a:defRPr sz="2666" b="1"/>
            </a:lvl2pPr>
            <a:lvl3pPr marL="1218642" indent="0">
              <a:buNone/>
              <a:defRPr sz="2399" b="1"/>
            </a:lvl3pPr>
            <a:lvl4pPr marL="1827963" indent="0">
              <a:buNone/>
              <a:defRPr sz="2133" b="1"/>
            </a:lvl4pPr>
            <a:lvl5pPr marL="2437284" indent="0">
              <a:buNone/>
              <a:defRPr sz="2133" b="1"/>
            </a:lvl5pPr>
            <a:lvl6pPr marL="3046601" indent="0">
              <a:buNone/>
              <a:defRPr sz="2133" b="1"/>
            </a:lvl6pPr>
            <a:lvl7pPr marL="3655926" indent="0">
              <a:buNone/>
              <a:defRPr sz="2133" b="1"/>
            </a:lvl7pPr>
            <a:lvl8pPr marL="4265243" indent="0">
              <a:buNone/>
              <a:defRPr sz="2133" b="1"/>
            </a:lvl8pPr>
            <a:lvl9pPr marL="4874564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20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94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Conten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0">
              <a:buNone/>
              <a:defRPr sz="2666" b="1"/>
            </a:lvl2pPr>
            <a:lvl3pPr marL="1218642" indent="0">
              <a:buNone/>
              <a:defRPr sz="2399" b="1"/>
            </a:lvl3pPr>
            <a:lvl4pPr marL="1827963" indent="0">
              <a:buNone/>
              <a:defRPr sz="2133" b="1"/>
            </a:lvl4pPr>
            <a:lvl5pPr marL="2437284" indent="0">
              <a:buNone/>
              <a:defRPr sz="2133" b="1"/>
            </a:lvl5pPr>
            <a:lvl6pPr marL="3046601" indent="0">
              <a:buNone/>
              <a:defRPr sz="2133" b="1"/>
            </a:lvl6pPr>
            <a:lvl7pPr marL="3655926" indent="0">
              <a:buNone/>
              <a:defRPr sz="2133" b="1"/>
            </a:lvl7pPr>
            <a:lvl8pPr marL="4265243" indent="0">
              <a:buNone/>
              <a:defRPr sz="2133" b="1"/>
            </a:lvl8pPr>
            <a:lvl9pPr marL="4874564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57784" y="1591057"/>
            <a:ext cx="11064241" cy="4798203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075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Slide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2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4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3066" y="1188761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921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3066" y="1188761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12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603671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603671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5286" y="0"/>
            <a:ext cx="5353539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8"/>
          </p:nvPr>
        </p:nvSpPr>
        <p:spPr bwMode="invGray">
          <a:xfrm>
            <a:off x="6985961" y="6330318"/>
            <a:ext cx="4422615" cy="392167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68577" tIns="34289" rIns="68577" bIns="34289"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9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426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Imag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603671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603671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5286" y="0"/>
            <a:ext cx="5353539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8"/>
          </p:nvPr>
        </p:nvSpPr>
        <p:spPr bwMode="invGray">
          <a:xfrm>
            <a:off x="6985961" y="6330318"/>
            <a:ext cx="4422615" cy="392167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68577" tIns="34289" rIns="68577" bIns="34289"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86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+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3" y="0"/>
            <a:ext cx="12188824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9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9"/>
          </p:nvPr>
        </p:nvSpPr>
        <p:spPr bwMode="invGray">
          <a:xfrm>
            <a:off x="568987" y="151557"/>
            <a:ext cx="4422615" cy="39216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68577" tIns="34289" rIns="68577" bIns="34289"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" y="3525796"/>
            <a:ext cx="7884014" cy="2290805"/>
          </a:xfrm>
          <a:prstGeom prst="rect">
            <a:avLst/>
          </a:prstGeom>
          <a:solidFill>
            <a:srgbClr val="FFFFFF">
              <a:alpha val="75000"/>
            </a:srgbClr>
          </a:solidFill>
        </p:spPr>
        <p:txBody>
          <a:bodyPr lIns="411467" tIns="137154" rIns="411467" bIns="137154" anchor="ctr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666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78374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Sapphi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 userDrawn="1"/>
        </p:nvSpPr>
        <p:spPr>
          <a:xfrm>
            <a:off x="0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828176" y="993485"/>
            <a:ext cx="8535661" cy="4341743"/>
            <a:chOff x="1828170" y="1258957"/>
            <a:chExt cx="8535661" cy="4341742"/>
          </a:xfrm>
        </p:grpSpPr>
        <p:sp>
          <p:nvSpPr>
            <p:cNvPr id="9" name="Freeform 9"/>
            <p:cNvSpPr>
              <a:spLocks/>
            </p:cNvSpPr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10" name="Rounded Rectangle 9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199">
                <a:solidFill>
                  <a:prstClr val="white"/>
                </a:solidFill>
              </a:endParaRPr>
            </a:p>
          </p:txBody>
        </p:sp>
      </p:grpSp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2042663" y="1276356"/>
            <a:ext cx="8106674" cy="3242641"/>
          </a:xfrm>
          <a:prstGeom prst="rect">
            <a:avLst/>
          </a:prstGeom>
        </p:spPr>
        <p:txBody>
          <a:bodyPr lIns="68577" tIns="34289" rIns="68577" bIns="34289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599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6013484"/>
            <a:ext cx="10058400" cy="681925"/>
          </a:xfrm>
          <a:prstGeom prst="rect">
            <a:avLst/>
          </a:prstGeom>
        </p:spPr>
      </p:pic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2042663" y="5555975"/>
            <a:ext cx="8106674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ctr">
              <a:buNone/>
              <a:defRPr sz="2399" b="1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00725" y="4633142"/>
            <a:ext cx="590550" cy="104775"/>
            <a:chOff x="5738813" y="4606631"/>
            <a:chExt cx="590550" cy="104775"/>
          </a:xfrm>
          <a:solidFill>
            <a:schemeClr val="accent5"/>
          </a:solidFill>
        </p:grpSpPr>
        <p:sp>
          <p:nvSpPr>
            <p:cNvPr id="19" name="Oval 18"/>
            <p:cNvSpPr/>
            <p:nvPr userDrawn="1"/>
          </p:nvSpPr>
          <p:spPr>
            <a:xfrm>
              <a:off x="5738813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199">
                <a:solidFill>
                  <a:prstClr val="white"/>
                </a:solidFill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5981700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199">
                <a:solidFill>
                  <a:prstClr val="white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224588" y="4606631"/>
              <a:ext cx="104775" cy="10477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199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 bwMode="gray">
          <a:xfrm>
            <a:off x="5853433" y="734071"/>
            <a:ext cx="485134" cy="485135"/>
            <a:chOff x="5853433" y="734066"/>
            <a:chExt cx="485134" cy="485134"/>
          </a:xfrm>
        </p:grpSpPr>
        <p:sp>
          <p:nvSpPr>
            <p:cNvPr id="24" name="Oval 23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30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75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ynamic Photo option 3 - 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32607" y="1143000"/>
            <a:ext cx="4951710" cy="4724400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Webdings" panose="05030102010509060703" pitchFamily="18" charset="2"/>
              <a:buNone/>
              <a:defRPr sz="2799" b="0" i="0">
                <a:solidFill>
                  <a:schemeClr val="bg2"/>
                </a:solidFill>
                <a:latin typeface="Work Sans Regular" charset="0"/>
              </a:defRPr>
            </a:lvl1pPr>
            <a:lvl2pPr marL="226951" indent="0">
              <a:spcBef>
                <a:spcPts val="0"/>
              </a:spcBef>
              <a:spcAft>
                <a:spcPts val="1200"/>
              </a:spcAft>
              <a:buNone/>
              <a:defRPr sz="1800">
                <a:solidFill>
                  <a:schemeClr val="bg2"/>
                </a:solidFill>
              </a:defRPr>
            </a:lvl2pPr>
            <a:lvl3pPr marL="687199" indent="0">
              <a:spcBef>
                <a:spcPts val="0"/>
              </a:spcBef>
              <a:spcAft>
                <a:spcPts val="1200"/>
              </a:spcAft>
              <a:buNone/>
              <a:defRPr sz="1400">
                <a:solidFill>
                  <a:schemeClr val="bg2"/>
                </a:solidFill>
              </a:defRPr>
            </a:lvl3pPr>
            <a:lvl4pPr marL="1028417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4pPr>
            <a:lvl5pPr marL="1374396" indent="0">
              <a:spcBef>
                <a:spcPts val="0"/>
              </a:spcBef>
              <a:spcAft>
                <a:spcPts val="1200"/>
              </a:spcAft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32609" y="152400"/>
            <a:ext cx="11123613" cy="792163"/>
          </a:xfrm>
          <a:prstGeom prst="rect">
            <a:avLst/>
          </a:prstGeom>
        </p:spPr>
        <p:txBody>
          <a:bodyPr lIns="0" anchor="b"/>
          <a:lstStyle>
            <a:lvl1pPr>
              <a:defRPr sz="3599" b="0" i="0" cap="none" baseline="0">
                <a:solidFill>
                  <a:schemeClr val="bg1"/>
                </a:solidFill>
                <a:latin typeface="Work Sans Regular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326051" y="990600"/>
            <a:ext cx="11481873" cy="54864"/>
            <a:chOff x="326136" y="990600"/>
            <a:chExt cx="11484864" cy="54864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381000" y="1018032"/>
              <a:ext cx="11430000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val 14"/>
            <p:cNvSpPr/>
            <p:nvPr userDrawn="1"/>
          </p:nvSpPr>
          <p:spPr>
            <a:xfrm>
              <a:off x="326136" y="990600"/>
              <a:ext cx="54864" cy="5486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33"/>
              <a:endParaRPr lang="en-US" sz="1800">
                <a:solidFill>
                  <a:prstClr val="white"/>
                </a:solidFill>
                <a:latin typeface="Work Sans Regular" charset="0"/>
              </a:endParaRPr>
            </a:p>
          </p:txBody>
        </p:sp>
        <p:sp>
          <p:nvSpPr>
            <p:cNvPr id="16" name="Oval 15"/>
            <p:cNvSpPr/>
            <p:nvPr userDrawn="1"/>
          </p:nvSpPr>
          <p:spPr>
            <a:xfrm>
              <a:off x="11756136" y="990600"/>
              <a:ext cx="54864" cy="5486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33"/>
              <a:endParaRPr lang="en-US" sz="1800">
                <a:solidFill>
                  <a:prstClr val="white"/>
                </a:solidFill>
                <a:latin typeface="Work Sans Regular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5066745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/Produc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 userDrawn="1"/>
        </p:nvSpPr>
        <p:spPr>
          <a:xfrm>
            <a:off x="0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48" name="Oval 47"/>
          <p:cNvSpPr/>
          <p:nvPr userDrawn="1"/>
        </p:nvSpPr>
        <p:spPr>
          <a:xfrm>
            <a:off x="5931018" y="0"/>
            <a:ext cx="6260982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646" y="6468889"/>
            <a:ext cx="2413343" cy="164019"/>
          </a:xfr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50" name="Rectangle 49"/>
          <p:cNvSpPr/>
          <p:nvPr userDrawn="1"/>
        </p:nvSpPr>
        <p:spPr bwMode="white">
          <a:xfrm>
            <a:off x="6800850" y="840981"/>
            <a:ext cx="4815286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grpSp>
        <p:nvGrpSpPr>
          <p:cNvPr id="51" name="Group 28"/>
          <p:cNvGrpSpPr>
            <a:grpSpLocks noChangeAspect="1"/>
          </p:cNvGrpSpPr>
          <p:nvPr userDrawn="1"/>
        </p:nvGrpSpPr>
        <p:grpSpPr bwMode="gray">
          <a:xfrm>
            <a:off x="6988336" y="6341253"/>
            <a:ext cx="4416552" cy="289611"/>
            <a:chOff x="-1225" y="1829"/>
            <a:chExt cx="10126" cy="664"/>
          </a:xfrm>
        </p:grpSpPr>
        <p:sp>
          <p:nvSpPr>
            <p:cNvPr id="52" name="Oval 29"/>
            <p:cNvSpPr>
              <a:spLocks noChangeArrowheads="1"/>
            </p:cNvSpPr>
            <p:nvPr userDrawn="1"/>
          </p:nvSpPr>
          <p:spPr bwMode="gray">
            <a:xfrm>
              <a:off x="356" y="2283"/>
              <a:ext cx="87" cy="88"/>
            </a:xfrm>
            <a:prstGeom prst="ellipse">
              <a:avLst/>
            </a:pr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3" name="Oval 30"/>
            <p:cNvSpPr>
              <a:spLocks noChangeArrowheads="1"/>
            </p:cNvSpPr>
            <p:nvPr userDrawn="1"/>
          </p:nvSpPr>
          <p:spPr bwMode="gray">
            <a:xfrm>
              <a:off x="500" y="2283"/>
              <a:ext cx="83" cy="88"/>
            </a:xfrm>
            <a:prstGeom prst="ellipse">
              <a:avLst/>
            </a:pr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4" name="Oval 31"/>
            <p:cNvSpPr>
              <a:spLocks noChangeArrowheads="1"/>
            </p:cNvSpPr>
            <p:nvPr userDrawn="1"/>
          </p:nvSpPr>
          <p:spPr bwMode="gray">
            <a:xfrm>
              <a:off x="640" y="2283"/>
              <a:ext cx="87" cy="88"/>
            </a:xfrm>
            <a:prstGeom prst="ellipse">
              <a:avLst/>
            </a:pr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5" name="Freeform 32"/>
            <p:cNvSpPr>
              <a:spLocks/>
            </p:cNvSpPr>
            <p:nvPr userDrawn="1"/>
          </p:nvSpPr>
          <p:spPr bwMode="gray">
            <a:xfrm>
              <a:off x="8520" y="2152"/>
              <a:ext cx="274" cy="315"/>
            </a:xfrm>
            <a:custGeom>
              <a:avLst/>
              <a:gdLst>
                <a:gd name="T0" fmla="*/ 102 w 116"/>
                <a:gd name="T1" fmla="*/ 114 h 132"/>
                <a:gd name="T2" fmla="*/ 93 w 116"/>
                <a:gd name="T3" fmla="*/ 130 h 132"/>
                <a:gd name="T4" fmla="*/ 73 w 116"/>
                <a:gd name="T5" fmla="*/ 131 h 132"/>
                <a:gd name="T6" fmla="*/ 53 w 116"/>
                <a:gd name="T7" fmla="*/ 129 h 132"/>
                <a:gd name="T8" fmla="*/ 43 w 116"/>
                <a:gd name="T9" fmla="*/ 128 h 132"/>
                <a:gd name="T10" fmla="*/ 34 w 116"/>
                <a:gd name="T11" fmla="*/ 125 h 132"/>
                <a:gd name="T12" fmla="*/ 17 w 116"/>
                <a:gd name="T13" fmla="*/ 126 h 132"/>
                <a:gd name="T14" fmla="*/ 0 w 116"/>
                <a:gd name="T15" fmla="*/ 128 h 132"/>
                <a:gd name="T16" fmla="*/ 0 w 116"/>
                <a:gd name="T17" fmla="*/ 70 h 132"/>
                <a:gd name="T18" fmla="*/ 20 w 116"/>
                <a:gd name="T19" fmla="*/ 70 h 132"/>
                <a:gd name="T20" fmla="*/ 29 w 116"/>
                <a:gd name="T21" fmla="*/ 58 h 132"/>
                <a:gd name="T22" fmla="*/ 36 w 116"/>
                <a:gd name="T23" fmla="*/ 45 h 132"/>
                <a:gd name="T24" fmla="*/ 44 w 116"/>
                <a:gd name="T25" fmla="*/ 37 h 132"/>
                <a:gd name="T26" fmla="*/ 51 w 116"/>
                <a:gd name="T27" fmla="*/ 15 h 132"/>
                <a:gd name="T28" fmla="*/ 52 w 116"/>
                <a:gd name="T29" fmla="*/ 0 h 132"/>
                <a:gd name="T30" fmla="*/ 66 w 116"/>
                <a:gd name="T31" fmla="*/ 36 h 132"/>
                <a:gd name="T32" fmla="*/ 67 w 116"/>
                <a:gd name="T33" fmla="*/ 50 h 132"/>
                <a:gd name="T34" fmla="*/ 84 w 116"/>
                <a:gd name="T35" fmla="*/ 50 h 132"/>
                <a:gd name="T36" fmla="*/ 108 w 116"/>
                <a:gd name="T37" fmla="*/ 57 h 132"/>
                <a:gd name="T38" fmla="*/ 114 w 116"/>
                <a:gd name="T39" fmla="*/ 64 h 132"/>
                <a:gd name="T40" fmla="*/ 112 w 116"/>
                <a:gd name="T41" fmla="*/ 73 h 132"/>
                <a:gd name="T42" fmla="*/ 115 w 116"/>
                <a:gd name="T43" fmla="*/ 84 h 132"/>
                <a:gd name="T44" fmla="*/ 111 w 116"/>
                <a:gd name="T45" fmla="*/ 94 h 132"/>
                <a:gd name="T46" fmla="*/ 112 w 116"/>
                <a:gd name="T47" fmla="*/ 102 h 132"/>
                <a:gd name="T48" fmla="*/ 102 w 116"/>
                <a:gd name="T49" fmla="*/ 11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6" h="132">
                  <a:moveTo>
                    <a:pt x="102" y="114"/>
                  </a:moveTo>
                  <a:cubicBezTo>
                    <a:pt x="103" y="121"/>
                    <a:pt x="99" y="128"/>
                    <a:pt x="93" y="130"/>
                  </a:cubicBezTo>
                  <a:cubicBezTo>
                    <a:pt x="88" y="132"/>
                    <a:pt x="79" y="131"/>
                    <a:pt x="73" y="131"/>
                  </a:cubicBezTo>
                  <a:cubicBezTo>
                    <a:pt x="66" y="131"/>
                    <a:pt x="60" y="130"/>
                    <a:pt x="53" y="129"/>
                  </a:cubicBezTo>
                  <a:cubicBezTo>
                    <a:pt x="49" y="129"/>
                    <a:pt x="46" y="129"/>
                    <a:pt x="43" y="128"/>
                  </a:cubicBezTo>
                  <a:cubicBezTo>
                    <a:pt x="40" y="127"/>
                    <a:pt x="37" y="126"/>
                    <a:pt x="34" y="125"/>
                  </a:cubicBezTo>
                  <a:cubicBezTo>
                    <a:pt x="28" y="125"/>
                    <a:pt x="22" y="126"/>
                    <a:pt x="17" y="126"/>
                  </a:cubicBezTo>
                  <a:cubicBezTo>
                    <a:pt x="11" y="127"/>
                    <a:pt x="6" y="127"/>
                    <a:pt x="0" y="128"/>
                  </a:cubicBezTo>
                  <a:cubicBezTo>
                    <a:pt x="0" y="108"/>
                    <a:pt x="0" y="89"/>
                    <a:pt x="0" y="70"/>
                  </a:cubicBezTo>
                  <a:cubicBezTo>
                    <a:pt x="6" y="69"/>
                    <a:pt x="14" y="71"/>
                    <a:pt x="20" y="70"/>
                  </a:cubicBezTo>
                  <a:cubicBezTo>
                    <a:pt x="24" y="69"/>
                    <a:pt x="27" y="62"/>
                    <a:pt x="29" y="58"/>
                  </a:cubicBezTo>
                  <a:cubicBezTo>
                    <a:pt x="32" y="54"/>
                    <a:pt x="34" y="49"/>
                    <a:pt x="36" y="45"/>
                  </a:cubicBezTo>
                  <a:cubicBezTo>
                    <a:pt x="38" y="42"/>
                    <a:pt x="42" y="40"/>
                    <a:pt x="44" y="37"/>
                  </a:cubicBezTo>
                  <a:cubicBezTo>
                    <a:pt x="47" y="31"/>
                    <a:pt x="50" y="23"/>
                    <a:pt x="51" y="15"/>
                  </a:cubicBezTo>
                  <a:cubicBezTo>
                    <a:pt x="51" y="10"/>
                    <a:pt x="50" y="5"/>
                    <a:pt x="52" y="0"/>
                  </a:cubicBezTo>
                  <a:cubicBezTo>
                    <a:pt x="68" y="0"/>
                    <a:pt x="68" y="19"/>
                    <a:pt x="66" y="36"/>
                  </a:cubicBezTo>
                  <a:cubicBezTo>
                    <a:pt x="66" y="40"/>
                    <a:pt x="64" y="47"/>
                    <a:pt x="67" y="50"/>
                  </a:cubicBezTo>
                  <a:cubicBezTo>
                    <a:pt x="70" y="51"/>
                    <a:pt x="79" y="50"/>
                    <a:pt x="84" y="50"/>
                  </a:cubicBezTo>
                  <a:cubicBezTo>
                    <a:pt x="96" y="50"/>
                    <a:pt x="102" y="52"/>
                    <a:pt x="108" y="57"/>
                  </a:cubicBezTo>
                  <a:cubicBezTo>
                    <a:pt x="110" y="58"/>
                    <a:pt x="114" y="61"/>
                    <a:pt x="114" y="64"/>
                  </a:cubicBezTo>
                  <a:cubicBezTo>
                    <a:pt x="115" y="67"/>
                    <a:pt x="112" y="70"/>
                    <a:pt x="112" y="73"/>
                  </a:cubicBezTo>
                  <a:cubicBezTo>
                    <a:pt x="112" y="77"/>
                    <a:pt x="116" y="81"/>
                    <a:pt x="115" y="84"/>
                  </a:cubicBezTo>
                  <a:cubicBezTo>
                    <a:pt x="115" y="87"/>
                    <a:pt x="111" y="90"/>
                    <a:pt x="111" y="94"/>
                  </a:cubicBezTo>
                  <a:cubicBezTo>
                    <a:pt x="110" y="96"/>
                    <a:pt x="112" y="99"/>
                    <a:pt x="112" y="102"/>
                  </a:cubicBezTo>
                  <a:cubicBezTo>
                    <a:pt x="111" y="108"/>
                    <a:pt x="104" y="109"/>
                    <a:pt x="102" y="114"/>
                  </a:cubicBezTo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6" name="Freeform 33"/>
            <p:cNvSpPr>
              <a:spLocks/>
            </p:cNvSpPr>
            <p:nvPr userDrawn="1"/>
          </p:nvSpPr>
          <p:spPr bwMode="gray">
            <a:xfrm>
              <a:off x="-1136" y="2183"/>
              <a:ext cx="272" cy="286"/>
            </a:xfrm>
            <a:custGeom>
              <a:avLst/>
              <a:gdLst>
                <a:gd name="T0" fmla="*/ 154 w 272"/>
                <a:gd name="T1" fmla="*/ 0 h 286"/>
                <a:gd name="T2" fmla="*/ 154 w 272"/>
                <a:gd name="T3" fmla="*/ 126 h 286"/>
                <a:gd name="T4" fmla="*/ 272 w 272"/>
                <a:gd name="T5" fmla="*/ 126 h 286"/>
                <a:gd name="T6" fmla="*/ 272 w 272"/>
                <a:gd name="T7" fmla="*/ 160 h 286"/>
                <a:gd name="T8" fmla="*/ 154 w 272"/>
                <a:gd name="T9" fmla="*/ 160 h 286"/>
                <a:gd name="T10" fmla="*/ 154 w 272"/>
                <a:gd name="T11" fmla="*/ 286 h 286"/>
                <a:gd name="T12" fmla="*/ 119 w 272"/>
                <a:gd name="T13" fmla="*/ 286 h 286"/>
                <a:gd name="T14" fmla="*/ 119 w 272"/>
                <a:gd name="T15" fmla="*/ 160 h 286"/>
                <a:gd name="T16" fmla="*/ 0 w 272"/>
                <a:gd name="T17" fmla="*/ 160 h 286"/>
                <a:gd name="T18" fmla="*/ 0 w 272"/>
                <a:gd name="T19" fmla="*/ 126 h 286"/>
                <a:gd name="T20" fmla="*/ 119 w 272"/>
                <a:gd name="T21" fmla="*/ 126 h 286"/>
                <a:gd name="T22" fmla="*/ 119 w 272"/>
                <a:gd name="T23" fmla="*/ 0 h 286"/>
                <a:gd name="T24" fmla="*/ 154 w 272"/>
                <a:gd name="T25" fmla="*/ 0 h 286"/>
                <a:gd name="T26" fmla="*/ 154 w 272"/>
                <a:gd name="T27" fmla="*/ 0 h 286"/>
                <a:gd name="T28" fmla="*/ 154 w 272"/>
                <a:gd name="T2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2" h="286">
                  <a:moveTo>
                    <a:pt x="154" y="0"/>
                  </a:moveTo>
                  <a:lnTo>
                    <a:pt x="154" y="126"/>
                  </a:lnTo>
                  <a:lnTo>
                    <a:pt x="272" y="126"/>
                  </a:lnTo>
                  <a:lnTo>
                    <a:pt x="272" y="160"/>
                  </a:lnTo>
                  <a:lnTo>
                    <a:pt x="154" y="160"/>
                  </a:lnTo>
                  <a:lnTo>
                    <a:pt x="154" y="286"/>
                  </a:lnTo>
                  <a:lnTo>
                    <a:pt x="119" y="286"/>
                  </a:lnTo>
                  <a:lnTo>
                    <a:pt x="119" y="160"/>
                  </a:lnTo>
                  <a:lnTo>
                    <a:pt x="0" y="160"/>
                  </a:lnTo>
                  <a:lnTo>
                    <a:pt x="0" y="126"/>
                  </a:lnTo>
                  <a:lnTo>
                    <a:pt x="119" y="126"/>
                  </a:lnTo>
                  <a:lnTo>
                    <a:pt x="119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7" name="Freeform 34"/>
            <p:cNvSpPr>
              <a:spLocks/>
            </p:cNvSpPr>
            <p:nvPr userDrawn="1"/>
          </p:nvSpPr>
          <p:spPr bwMode="gray">
            <a:xfrm>
              <a:off x="-1136" y="2183"/>
              <a:ext cx="272" cy="286"/>
            </a:xfrm>
            <a:custGeom>
              <a:avLst/>
              <a:gdLst>
                <a:gd name="T0" fmla="*/ 154 w 272"/>
                <a:gd name="T1" fmla="*/ 0 h 286"/>
                <a:gd name="T2" fmla="*/ 154 w 272"/>
                <a:gd name="T3" fmla="*/ 126 h 286"/>
                <a:gd name="T4" fmla="*/ 272 w 272"/>
                <a:gd name="T5" fmla="*/ 126 h 286"/>
                <a:gd name="T6" fmla="*/ 272 w 272"/>
                <a:gd name="T7" fmla="*/ 160 h 286"/>
                <a:gd name="T8" fmla="*/ 154 w 272"/>
                <a:gd name="T9" fmla="*/ 160 h 286"/>
                <a:gd name="T10" fmla="*/ 154 w 272"/>
                <a:gd name="T11" fmla="*/ 286 h 286"/>
                <a:gd name="T12" fmla="*/ 119 w 272"/>
                <a:gd name="T13" fmla="*/ 286 h 286"/>
                <a:gd name="T14" fmla="*/ 119 w 272"/>
                <a:gd name="T15" fmla="*/ 160 h 286"/>
                <a:gd name="T16" fmla="*/ 0 w 272"/>
                <a:gd name="T17" fmla="*/ 160 h 286"/>
                <a:gd name="T18" fmla="*/ 0 w 272"/>
                <a:gd name="T19" fmla="*/ 126 h 286"/>
                <a:gd name="T20" fmla="*/ 119 w 272"/>
                <a:gd name="T21" fmla="*/ 126 h 286"/>
                <a:gd name="T22" fmla="*/ 119 w 272"/>
                <a:gd name="T23" fmla="*/ 0 h 286"/>
                <a:gd name="T24" fmla="*/ 154 w 272"/>
                <a:gd name="T25" fmla="*/ 0 h 286"/>
                <a:gd name="T26" fmla="*/ 154 w 272"/>
                <a:gd name="T27" fmla="*/ 0 h 286"/>
                <a:gd name="T28" fmla="*/ 154 w 272"/>
                <a:gd name="T2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2" h="286">
                  <a:moveTo>
                    <a:pt x="154" y="0"/>
                  </a:moveTo>
                  <a:lnTo>
                    <a:pt x="154" y="126"/>
                  </a:lnTo>
                  <a:lnTo>
                    <a:pt x="272" y="126"/>
                  </a:lnTo>
                  <a:lnTo>
                    <a:pt x="272" y="160"/>
                  </a:lnTo>
                  <a:lnTo>
                    <a:pt x="154" y="160"/>
                  </a:lnTo>
                  <a:lnTo>
                    <a:pt x="154" y="286"/>
                  </a:lnTo>
                  <a:lnTo>
                    <a:pt x="119" y="286"/>
                  </a:lnTo>
                  <a:lnTo>
                    <a:pt x="119" y="160"/>
                  </a:lnTo>
                  <a:lnTo>
                    <a:pt x="0" y="160"/>
                  </a:lnTo>
                  <a:lnTo>
                    <a:pt x="0" y="126"/>
                  </a:lnTo>
                  <a:lnTo>
                    <a:pt x="119" y="126"/>
                  </a:lnTo>
                  <a:lnTo>
                    <a:pt x="119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8" name="Freeform 35"/>
            <p:cNvSpPr>
              <a:spLocks/>
            </p:cNvSpPr>
            <p:nvPr userDrawn="1"/>
          </p:nvSpPr>
          <p:spPr bwMode="gray">
            <a:xfrm>
              <a:off x="-441" y="2159"/>
              <a:ext cx="350" cy="334"/>
            </a:xfrm>
            <a:custGeom>
              <a:avLst/>
              <a:gdLst>
                <a:gd name="T0" fmla="*/ 126 w 148"/>
                <a:gd name="T1" fmla="*/ 97 h 140"/>
                <a:gd name="T2" fmla="*/ 111 w 148"/>
                <a:gd name="T3" fmla="*/ 104 h 140"/>
                <a:gd name="T4" fmla="*/ 43 w 148"/>
                <a:gd name="T5" fmla="*/ 72 h 140"/>
                <a:gd name="T6" fmla="*/ 43 w 148"/>
                <a:gd name="T7" fmla="*/ 71 h 140"/>
                <a:gd name="T8" fmla="*/ 113 w 148"/>
                <a:gd name="T9" fmla="*/ 39 h 140"/>
                <a:gd name="T10" fmla="*/ 126 w 148"/>
                <a:gd name="T11" fmla="*/ 43 h 140"/>
                <a:gd name="T12" fmla="*/ 148 w 148"/>
                <a:gd name="T13" fmla="*/ 21 h 140"/>
                <a:gd name="T14" fmla="*/ 126 w 148"/>
                <a:gd name="T15" fmla="*/ 0 h 140"/>
                <a:gd name="T16" fmla="*/ 105 w 148"/>
                <a:gd name="T17" fmla="*/ 21 h 140"/>
                <a:gd name="T18" fmla="*/ 105 w 148"/>
                <a:gd name="T19" fmla="*/ 26 h 140"/>
                <a:gd name="T20" fmla="*/ 39 w 148"/>
                <a:gd name="T21" fmla="*/ 57 h 140"/>
                <a:gd name="T22" fmla="*/ 22 w 148"/>
                <a:gd name="T23" fmla="*/ 49 h 140"/>
                <a:gd name="T24" fmla="*/ 0 w 148"/>
                <a:gd name="T25" fmla="*/ 70 h 140"/>
                <a:gd name="T26" fmla="*/ 22 w 148"/>
                <a:gd name="T27" fmla="*/ 92 h 140"/>
                <a:gd name="T28" fmla="*/ 37 w 148"/>
                <a:gd name="T29" fmla="*/ 85 h 140"/>
                <a:gd name="T30" fmla="*/ 105 w 148"/>
                <a:gd name="T31" fmla="*/ 117 h 140"/>
                <a:gd name="T32" fmla="*/ 105 w 148"/>
                <a:gd name="T33" fmla="*/ 119 h 140"/>
                <a:gd name="T34" fmla="*/ 126 w 148"/>
                <a:gd name="T35" fmla="*/ 140 h 140"/>
                <a:gd name="T36" fmla="*/ 148 w 148"/>
                <a:gd name="T37" fmla="*/ 119 h 140"/>
                <a:gd name="T38" fmla="*/ 126 w 148"/>
                <a:gd name="T39" fmla="*/ 97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8" h="140">
                  <a:moveTo>
                    <a:pt x="126" y="97"/>
                  </a:moveTo>
                  <a:cubicBezTo>
                    <a:pt x="120" y="97"/>
                    <a:pt x="115" y="100"/>
                    <a:pt x="111" y="104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1"/>
                    <a:pt x="43" y="71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7" y="41"/>
                    <a:pt x="121" y="43"/>
                    <a:pt x="126" y="43"/>
                  </a:cubicBezTo>
                  <a:cubicBezTo>
                    <a:pt x="138" y="43"/>
                    <a:pt x="148" y="33"/>
                    <a:pt x="148" y="21"/>
                  </a:cubicBezTo>
                  <a:cubicBezTo>
                    <a:pt x="148" y="9"/>
                    <a:pt x="138" y="0"/>
                    <a:pt x="126" y="0"/>
                  </a:cubicBezTo>
                  <a:cubicBezTo>
                    <a:pt x="114" y="0"/>
                    <a:pt x="105" y="9"/>
                    <a:pt x="105" y="21"/>
                  </a:cubicBezTo>
                  <a:cubicBezTo>
                    <a:pt x="105" y="23"/>
                    <a:pt x="105" y="24"/>
                    <a:pt x="105" y="26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5" y="52"/>
                    <a:pt x="29" y="49"/>
                    <a:pt x="22" y="49"/>
                  </a:cubicBezTo>
                  <a:cubicBezTo>
                    <a:pt x="10" y="49"/>
                    <a:pt x="0" y="58"/>
                    <a:pt x="0" y="70"/>
                  </a:cubicBezTo>
                  <a:cubicBezTo>
                    <a:pt x="0" y="82"/>
                    <a:pt x="10" y="92"/>
                    <a:pt x="22" y="92"/>
                  </a:cubicBezTo>
                  <a:cubicBezTo>
                    <a:pt x="28" y="92"/>
                    <a:pt x="33" y="89"/>
                    <a:pt x="37" y="85"/>
                  </a:cubicBezTo>
                  <a:cubicBezTo>
                    <a:pt x="105" y="117"/>
                    <a:pt x="105" y="117"/>
                    <a:pt x="105" y="117"/>
                  </a:cubicBezTo>
                  <a:cubicBezTo>
                    <a:pt x="105" y="118"/>
                    <a:pt x="105" y="118"/>
                    <a:pt x="105" y="119"/>
                  </a:cubicBezTo>
                  <a:cubicBezTo>
                    <a:pt x="105" y="131"/>
                    <a:pt x="114" y="140"/>
                    <a:pt x="126" y="140"/>
                  </a:cubicBezTo>
                  <a:cubicBezTo>
                    <a:pt x="138" y="140"/>
                    <a:pt x="148" y="131"/>
                    <a:pt x="148" y="119"/>
                  </a:cubicBezTo>
                  <a:cubicBezTo>
                    <a:pt x="148" y="107"/>
                    <a:pt x="138" y="97"/>
                    <a:pt x="126" y="97"/>
                  </a:cubicBezTo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9" name="Freeform 36"/>
            <p:cNvSpPr>
              <a:spLocks/>
            </p:cNvSpPr>
            <p:nvPr userDrawn="1"/>
          </p:nvSpPr>
          <p:spPr bwMode="gray">
            <a:xfrm>
              <a:off x="-1225" y="1829"/>
              <a:ext cx="1862" cy="132"/>
            </a:xfrm>
            <a:custGeom>
              <a:avLst/>
              <a:gdLst>
                <a:gd name="T0" fmla="*/ 0 w 1862"/>
                <a:gd name="T1" fmla="*/ 0 h 132"/>
                <a:gd name="T2" fmla="*/ 1862 w 1862"/>
                <a:gd name="T3" fmla="*/ 0 h 132"/>
                <a:gd name="T4" fmla="*/ 1862 w 1862"/>
                <a:gd name="T5" fmla="*/ 132 h 132"/>
                <a:gd name="T6" fmla="*/ 0 w 1862"/>
                <a:gd name="T7" fmla="*/ 132 h 132"/>
                <a:gd name="T8" fmla="*/ 0 w 1862"/>
                <a:gd name="T9" fmla="*/ 0 h 132"/>
                <a:gd name="T10" fmla="*/ 0 w 1862"/>
                <a:gd name="T1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2" h="132">
                  <a:moveTo>
                    <a:pt x="0" y="0"/>
                  </a:moveTo>
                  <a:lnTo>
                    <a:pt x="1862" y="0"/>
                  </a:lnTo>
                  <a:lnTo>
                    <a:pt x="1862" y="132"/>
                  </a:lnTo>
                  <a:lnTo>
                    <a:pt x="0" y="13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31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60" name="Rectangle 37"/>
            <p:cNvSpPr>
              <a:spLocks noChangeArrowheads="1"/>
            </p:cNvSpPr>
            <p:nvPr userDrawn="1"/>
          </p:nvSpPr>
          <p:spPr bwMode="gray">
            <a:xfrm>
              <a:off x="-1225" y="1958"/>
              <a:ext cx="10126" cy="21"/>
            </a:xfrm>
            <a:prstGeom prst="rect">
              <a:avLst/>
            </a:prstGeom>
            <a:solidFill>
              <a:srgbClr val="8D8F8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</p:grp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1407" y="961122"/>
            <a:ext cx="4556458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99" cap="none"/>
            </a:lvl1pPr>
          </a:lstStyle>
          <a:p>
            <a:r>
              <a:rPr lang="en-US"/>
              <a:t>Click To Edit Product Text</a:t>
            </a:r>
          </a:p>
        </p:txBody>
      </p: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548646" y="556260"/>
            <a:ext cx="6048375" cy="5579363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922008" y="2020824"/>
            <a:ext cx="4553712" cy="4114800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7" name="Rectangle 66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68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69" name="Picture 6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  <p:cxnSp>
        <p:nvCxnSpPr>
          <p:cNvPr id="70" name="Straight Connector 69"/>
          <p:cNvCxnSpPr/>
          <p:nvPr userDrawn="1"/>
        </p:nvCxnSpPr>
        <p:spPr>
          <a:xfrm>
            <a:off x="6922008" y="1908191"/>
            <a:ext cx="4553712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91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roduct - With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48" name="Oval 47"/>
          <p:cNvSpPr/>
          <p:nvPr userDrawn="1"/>
        </p:nvSpPr>
        <p:spPr>
          <a:xfrm>
            <a:off x="5931018" y="0"/>
            <a:ext cx="6260982" cy="6858000"/>
          </a:xfrm>
          <a:prstGeom prst="ellipse">
            <a:avLst/>
          </a:prstGeom>
          <a:gradFill flip="none" rotWithShape="1">
            <a:gsLst>
              <a:gs pos="0">
                <a:srgbClr val="515151"/>
              </a:gs>
              <a:gs pos="56000">
                <a:schemeClr val="bg2">
                  <a:lumMod val="45000"/>
                  <a:lumOff val="55000"/>
                  <a:alpha val="71000"/>
                </a:schemeClr>
              </a:gs>
              <a:gs pos="100000">
                <a:schemeClr val="bg2">
                  <a:lumMod val="30000"/>
                  <a:lumOff val="7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2" tIns="45707" rIns="91412" bIns="457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3"/>
          </p:nvPr>
        </p:nvSpPr>
        <p:spPr>
          <a:xfrm>
            <a:off x="548646" y="6468889"/>
            <a:ext cx="2413343" cy="164019"/>
          </a:xfrm>
        </p:spPr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50" name="Rectangle 49"/>
          <p:cNvSpPr/>
          <p:nvPr userDrawn="1"/>
        </p:nvSpPr>
        <p:spPr bwMode="white">
          <a:xfrm>
            <a:off x="6800850" y="840981"/>
            <a:ext cx="4815286" cy="6017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grpSp>
        <p:nvGrpSpPr>
          <p:cNvPr id="51" name="Group 28"/>
          <p:cNvGrpSpPr>
            <a:grpSpLocks noChangeAspect="1"/>
          </p:cNvGrpSpPr>
          <p:nvPr userDrawn="1"/>
        </p:nvGrpSpPr>
        <p:grpSpPr bwMode="gray">
          <a:xfrm>
            <a:off x="6988336" y="6341253"/>
            <a:ext cx="4416552" cy="289611"/>
            <a:chOff x="-1225" y="1829"/>
            <a:chExt cx="10126" cy="664"/>
          </a:xfrm>
        </p:grpSpPr>
        <p:sp>
          <p:nvSpPr>
            <p:cNvPr id="52" name="Oval 29"/>
            <p:cNvSpPr>
              <a:spLocks noChangeArrowheads="1"/>
            </p:cNvSpPr>
            <p:nvPr userDrawn="1"/>
          </p:nvSpPr>
          <p:spPr bwMode="gray">
            <a:xfrm>
              <a:off x="356" y="2283"/>
              <a:ext cx="87" cy="88"/>
            </a:xfrm>
            <a:prstGeom prst="ellipse">
              <a:avLst/>
            </a:pr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3" name="Oval 30"/>
            <p:cNvSpPr>
              <a:spLocks noChangeArrowheads="1"/>
            </p:cNvSpPr>
            <p:nvPr userDrawn="1"/>
          </p:nvSpPr>
          <p:spPr bwMode="gray">
            <a:xfrm>
              <a:off x="500" y="2283"/>
              <a:ext cx="83" cy="88"/>
            </a:xfrm>
            <a:prstGeom prst="ellipse">
              <a:avLst/>
            </a:pr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4" name="Oval 31"/>
            <p:cNvSpPr>
              <a:spLocks noChangeArrowheads="1"/>
            </p:cNvSpPr>
            <p:nvPr userDrawn="1"/>
          </p:nvSpPr>
          <p:spPr bwMode="gray">
            <a:xfrm>
              <a:off x="640" y="2283"/>
              <a:ext cx="87" cy="88"/>
            </a:xfrm>
            <a:prstGeom prst="ellipse">
              <a:avLst/>
            </a:pr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5" name="Freeform 32"/>
            <p:cNvSpPr>
              <a:spLocks/>
            </p:cNvSpPr>
            <p:nvPr userDrawn="1"/>
          </p:nvSpPr>
          <p:spPr bwMode="gray">
            <a:xfrm>
              <a:off x="8520" y="2152"/>
              <a:ext cx="274" cy="315"/>
            </a:xfrm>
            <a:custGeom>
              <a:avLst/>
              <a:gdLst>
                <a:gd name="T0" fmla="*/ 102 w 116"/>
                <a:gd name="T1" fmla="*/ 114 h 132"/>
                <a:gd name="T2" fmla="*/ 93 w 116"/>
                <a:gd name="T3" fmla="*/ 130 h 132"/>
                <a:gd name="T4" fmla="*/ 73 w 116"/>
                <a:gd name="T5" fmla="*/ 131 h 132"/>
                <a:gd name="T6" fmla="*/ 53 w 116"/>
                <a:gd name="T7" fmla="*/ 129 h 132"/>
                <a:gd name="T8" fmla="*/ 43 w 116"/>
                <a:gd name="T9" fmla="*/ 128 h 132"/>
                <a:gd name="T10" fmla="*/ 34 w 116"/>
                <a:gd name="T11" fmla="*/ 125 h 132"/>
                <a:gd name="T12" fmla="*/ 17 w 116"/>
                <a:gd name="T13" fmla="*/ 126 h 132"/>
                <a:gd name="T14" fmla="*/ 0 w 116"/>
                <a:gd name="T15" fmla="*/ 128 h 132"/>
                <a:gd name="T16" fmla="*/ 0 w 116"/>
                <a:gd name="T17" fmla="*/ 70 h 132"/>
                <a:gd name="T18" fmla="*/ 20 w 116"/>
                <a:gd name="T19" fmla="*/ 70 h 132"/>
                <a:gd name="T20" fmla="*/ 29 w 116"/>
                <a:gd name="T21" fmla="*/ 58 h 132"/>
                <a:gd name="T22" fmla="*/ 36 w 116"/>
                <a:gd name="T23" fmla="*/ 45 h 132"/>
                <a:gd name="T24" fmla="*/ 44 w 116"/>
                <a:gd name="T25" fmla="*/ 37 h 132"/>
                <a:gd name="T26" fmla="*/ 51 w 116"/>
                <a:gd name="T27" fmla="*/ 15 h 132"/>
                <a:gd name="T28" fmla="*/ 52 w 116"/>
                <a:gd name="T29" fmla="*/ 0 h 132"/>
                <a:gd name="T30" fmla="*/ 66 w 116"/>
                <a:gd name="T31" fmla="*/ 36 h 132"/>
                <a:gd name="T32" fmla="*/ 67 w 116"/>
                <a:gd name="T33" fmla="*/ 50 h 132"/>
                <a:gd name="T34" fmla="*/ 84 w 116"/>
                <a:gd name="T35" fmla="*/ 50 h 132"/>
                <a:gd name="T36" fmla="*/ 108 w 116"/>
                <a:gd name="T37" fmla="*/ 57 h 132"/>
                <a:gd name="T38" fmla="*/ 114 w 116"/>
                <a:gd name="T39" fmla="*/ 64 h 132"/>
                <a:gd name="T40" fmla="*/ 112 w 116"/>
                <a:gd name="T41" fmla="*/ 73 h 132"/>
                <a:gd name="T42" fmla="*/ 115 w 116"/>
                <a:gd name="T43" fmla="*/ 84 h 132"/>
                <a:gd name="T44" fmla="*/ 111 w 116"/>
                <a:gd name="T45" fmla="*/ 94 h 132"/>
                <a:gd name="T46" fmla="*/ 112 w 116"/>
                <a:gd name="T47" fmla="*/ 102 h 132"/>
                <a:gd name="T48" fmla="*/ 102 w 116"/>
                <a:gd name="T49" fmla="*/ 11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6" h="132">
                  <a:moveTo>
                    <a:pt x="102" y="114"/>
                  </a:moveTo>
                  <a:cubicBezTo>
                    <a:pt x="103" y="121"/>
                    <a:pt x="99" y="128"/>
                    <a:pt x="93" y="130"/>
                  </a:cubicBezTo>
                  <a:cubicBezTo>
                    <a:pt x="88" y="132"/>
                    <a:pt x="79" y="131"/>
                    <a:pt x="73" y="131"/>
                  </a:cubicBezTo>
                  <a:cubicBezTo>
                    <a:pt x="66" y="131"/>
                    <a:pt x="60" y="130"/>
                    <a:pt x="53" y="129"/>
                  </a:cubicBezTo>
                  <a:cubicBezTo>
                    <a:pt x="49" y="129"/>
                    <a:pt x="46" y="129"/>
                    <a:pt x="43" y="128"/>
                  </a:cubicBezTo>
                  <a:cubicBezTo>
                    <a:pt x="40" y="127"/>
                    <a:pt x="37" y="126"/>
                    <a:pt x="34" y="125"/>
                  </a:cubicBezTo>
                  <a:cubicBezTo>
                    <a:pt x="28" y="125"/>
                    <a:pt x="22" y="126"/>
                    <a:pt x="17" y="126"/>
                  </a:cubicBezTo>
                  <a:cubicBezTo>
                    <a:pt x="11" y="127"/>
                    <a:pt x="6" y="127"/>
                    <a:pt x="0" y="128"/>
                  </a:cubicBezTo>
                  <a:cubicBezTo>
                    <a:pt x="0" y="108"/>
                    <a:pt x="0" y="89"/>
                    <a:pt x="0" y="70"/>
                  </a:cubicBezTo>
                  <a:cubicBezTo>
                    <a:pt x="6" y="69"/>
                    <a:pt x="14" y="71"/>
                    <a:pt x="20" y="70"/>
                  </a:cubicBezTo>
                  <a:cubicBezTo>
                    <a:pt x="24" y="69"/>
                    <a:pt x="27" y="62"/>
                    <a:pt x="29" y="58"/>
                  </a:cubicBezTo>
                  <a:cubicBezTo>
                    <a:pt x="32" y="54"/>
                    <a:pt x="34" y="49"/>
                    <a:pt x="36" y="45"/>
                  </a:cubicBezTo>
                  <a:cubicBezTo>
                    <a:pt x="38" y="42"/>
                    <a:pt x="42" y="40"/>
                    <a:pt x="44" y="37"/>
                  </a:cubicBezTo>
                  <a:cubicBezTo>
                    <a:pt x="47" y="31"/>
                    <a:pt x="50" y="23"/>
                    <a:pt x="51" y="15"/>
                  </a:cubicBezTo>
                  <a:cubicBezTo>
                    <a:pt x="51" y="10"/>
                    <a:pt x="50" y="5"/>
                    <a:pt x="52" y="0"/>
                  </a:cubicBezTo>
                  <a:cubicBezTo>
                    <a:pt x="68" y="0"/>
                    <a:pt x="68" y="19"/>
                    <a:pt x="66" y="36"/>
                  </a:cubicBezTo>
                  <a:cubicBezTo>
                    <a:pt x="66" y="40"/>
                    <a:pt x="64" y="47"/>
                    <a:pt x="67" y="50"/>
                  </a:cubicBezTo>
                  <a:cubicBezTo>
                    <a:pt x="70" y="51"/>
                    <a:pt x="79" y="50"/>
                    <a:pt x="84" y="50"/>
                  </a:cubicBezTo>
                  <a:cubicBezTo>
                    <a:pt x="96" y="50"/>
                    <a:pt x="102" y="52"/>
                    <a:pt x="108" y="57"/>
                  </a:cubicBezTo>
                  <a:cubicBezTo>
                    <a:pt x="110" y="58"/>
                    <a:pt x="114" y="61"/>
                    <a:pt x="114" y="64"/>
                  </a:cubicBezTo>
                  <a:cubicBezTo>
                    <a:pt x="115" y="67"/>
                    <a:pt x="112" y="70"/>
                    <a:pt x="112" y="73"/>
                  </a:cubicBezTo>
                  <a:cubicBezTo>
                    <a:pt x="112" y="77"/>
                    <a:pt x="116" y="81"/>
                    <a:pt x="115" y="84"/>
                  </a:cubicBezTo>
                  <a:cubicBezTo>
                    <a:pt x="115" y="87"/>
                    <a:pt x="111" y="90"/>
                    <a:pt x="111" y="94"/>
                  </a:cubicBezTo>
                  <a:cubicBezTo>
                    <a:pt x="110" y="96"/>
                    <a:pt x="112" y="99"/>
                    <a:pt x="112" y="102"/>
                  </a:cubicBezTo>
                  <a:cubicBezTo>
                    <a:pt x="111" y="108"/>
                    <a:pt x="104" y="109"/>
                    <a:pt x="102" y="114"/>
                  </a:cubicBezTo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6" name="Freeform 33"/>
            <p:cNvSpPr>
              <a:spLocks/>
            </p:cNvSpPr>
            <p:nvPr userDrawn="1"/>
          </p:nvSpPr>
          <p:spPr bwMode="gray">
            <a:xfrm>
              <a:off x="-1136" y="2183"/>
              <a:ext cx="272" cy="286"/>
            </a:xfrm>
            <a:custGeom>
              <a:avLst/>
              <a:gdLst>
                <a:gd name="T0" fmla="*/ 154 w 272"/>
                <a:gd name="T1" fmla="*/ 0 h 286"/>
                <a:gd name="T2" fmla="*/ 154 w 272"/>
                <a:gd name="T3" fmla="*/ 126 h 286"/>
                <a:gd name="T4" fmla="*/ 272 w 272"/>
                <a:gd name="T5" fmla="*/ 126 h 286"/>
                <a:gd name="T6" fmla="*/ 272 w 272"/>
                <a:gd name="T7" fmla="*/ 160 h 286"/>
                <a:gd name="T8" fmla="*/ 154 w 272"/>
                <a:gd name="T9" fmla="*/ 160 h 286"/>
                <a:gd name="T10" fmla="*/ 154 w 272"/>
                <a:gd name="T11" fmla="*/ 286 h 286"/>
                <a:gd name="T12" fmla="*/ 119 w 272"/>
                <a:gd name="T13" fmla="*/ 286 h 286"/>
                <a:gd name="T14" fmla="*/ 119 w 272"/>
                <a:gd name="T15" fmla="*/ 160 h 286"/>
                <a:gd name="T16" fmla="*/ 0 w 272"/>
                <a:gd name="T17" fmla="*/ 160 h 286"/>
                <a:gd name="T18" fmla="*/ 0 w 272"/>
                <a:gd name="T19" fmla="*/ 126 h 286"/>
                <a:gd name="T20" fmla="*/ 119 w 272"/>
                <a:gd name="T21" fmla="*/ 126 h 286"/>
                <a:gd name="T22" fmla="*/ 119 w 272"/>
                <a:gd name="T23" fmla="*/ 0 h 286"/>
                <a:gd name="T24" fmla="*/ 154 w 272"/>
                <a:gd name="T25" fmla="*/ 0 h 286"/>
                <a:gd name="T26" fmla="*/ 154 w 272"/>
                <a:gd name="T27" fmla="*/ 0 h 286"/>
                <a:gd name="T28" fmla="*/ 154 w 272"/>
                <a:gd name="T2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2" h="286">
                  <a:moveTo>
                    <a:pt x="154" y="0"/>
                  </a:moveTo>
                  <a:lnTo>
                    <a:pt x="154" y="126"/>
                  </a:lnTo>
                  <a:lnTo>
                    <a:pt x="272" y="126"/>
                  </a:lnTo>
                  <a:lnTo>
                    <a:pt x="272" y="160"/>
                  </a:lnTo>
                  <a:lnTo>
                    <a:pt x="154" y="160"/>
                  </a:lnTo>
                  <a:lnTo>
                    <a:pt x="154" y="286"/>
                  </a:lnTo>
                  <a:lnTo>
                    <a:pt x="119" y="286"/>
                  </a:lnTo>
                  <a:lnTo>
                    <a:pt x="119" y="160"/>
                  </a:lnTo>
                  <a:lnTo>
                    <a:pt x="0" y="160"/>
                  </a:lnTo>
                  <a:lnTo>
                    <a:pt x="0" y="126"/>
                  </a:lnTo>
                  <a:lnTo>
                    <a:pt x="119" y="126"/>
                  </a:lnTo>
                  <a:lnTo>
                    <a:pt x="119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7" name="Freeform 34"/>
            <p:cNvSpPr>
              <a:spLocks/>
            </p:cNvSpPr>
            <p:nvPr userDrawn="1"/>
          </p:nvSpPr>
          <p:spPr bwMode="gray">
            <a:xfrm>
              <a:off x="-1136" y="2183"/>
              <a:ext cx="272" cy="286"/>
            </a:xfrm>
            <a:custGeom>
              <a:avLst/>
              <a:gdLst>
                <a:gd name="T0" fmla="*/ 154 w 272"/>
                <a:gd name="T1" fmla="*/ 0 h 286"/>
                <a:gd name="T2" fmla="*/ 154 w 272"/>
                <a:gd name="T3" fmla="*/ 126 h 286"/>
                <a:gd name="T4" fmla="*/ 272 w 272"/>
                <a:gd name="T5" fmla="*/ 126 h 286"/>
                <a:gd name="T6" fmla="*/ 272 w 272"/>
                <a:gd name="T7" fmla="*/ 160 h 286"/>
                <a:gd name="T8" fmla="*/ 154 w 272"/>
                <a:gd name="T9" fmla="*/ 160 h 286"/>
                <a:gd name="T10" fmla="*/ 154 w 272"/>
                <a:gd name="T11" fmla="*/ 286 h 286"/>
                <a:gd name="T12" fmla="*/ 119 w 272"/>
                <a:gd name="T13" fmla="*/ 286 h 286"/>
                <a:gd name="T14" fmla="*/ 119 w 272"/>
                <a:gd name="T15" fmla="*/ 160 h 286"/>
                <a:gd name="T16" fmla="*/ 0 w 272"/>
                <a:gd name="T17" fmla="*/ 160 h 286"/>
                <a:gd name="T18" fmla="*/ 0 w 272"/>
                <a:gd name="T19" fmla="*/ 126 h 286"/>
                <a:gd name="T20" fmla="*/ 119 w 272"/>
                <a:gd name="T21" fmla="*/ 126 h 286"/>
                <a:gd name="T22" fmla="*/ 119 w 272"/>
                <a:gd name="T23" fmla="*/ 0 h 286"/>
                <a:gd name="T24" fmla="*/ 154 w 272"/>
                <a:gd name="T25" fmla="*/ 0 h 286"/>
                <a:gd name="T26" fmla="*/ 154 w 272"/>
                <a:gd name="T27" fmla="*/ 0 h 286"/>
                <a:gd name="T28" fmla="*/ 154 w 272"/>
                <a:gd name="T2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2" h="286">
                  <a:moveTo>
                    <a:pt x="154" y="0"/>
                  </a:moveTo>
                  <a:lnTo>
                    <a:pt x="154" y="126"/>
                  </a:lnTo>
                  <a:lnTo>
                    <a:pt x="272" y="126"/>
                  </a:lnTo>
                  <a:lnTo>
                    <a:pt x="272" y="160"/>
                  </a:lnTo>
                  <a:lnTo>
                    <a:pt x="154" y="160"/>
                  </a:lnTo>
                  <a:lnTo>
                    <a:pt x="154" y="286"/>
                  </a:lnTo>
                  <a:lnTo>
                    <a:pt x="119" y="286"/>
                  </a:lnTo>
                  <a:lnTo>
                    <a:pt x="119" y="160"/>
                  </a:lnTo>
                  <a:lnTo>
                    <a:pt x="0" y="160"/>
                  </a:lnTo>
                  <a:lnTo>
                    <a:pt x="0" y="126"/>
                  </a:lnTo>
                  <a:lnTo>
                    <a:pt x="119" y="126"/>
                  </a:lnTo>
                  <a:lnTo>
                    <a:pt x="119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8" name="Freeform 35"/>
            <p:cNvSpPr>
              <a:spLocks/>
            </p:cNvSpPr>
            <p:nvPr userDrawn="1"/>
          </p:nvSpPr>
          <p:spPr bwMode="gray">
            <a:xfrm>
              <a:off x="-441" y="2159"/>
              <a:ext cx="350" cy="334"/>
            </a:xfrm>
            <a:custGeom>
              <a:avLst/>
              <a:gdLst>
                <a:gd name="T0" fmla="*/ 126 w 148"/>
                <a:gd name="T1" fmla="*/ 97 h 140"/>
                <a:gd name="T2" fmla="*/ 111 w 148"/>
                <a:gd name="T3" fmla="*/ 104 h 140"/>
                <a:gd name="T4" fmla="*/ 43 w 148"/>
                <a:gd name="T5" fmla="*/ 72 h 140"/>
                <a:gd name="T6" fmla="*/ 43 w 148"/>
                <a:gd name="T7" fmla="*/ 71 h 140"/>
                <a:gd name="T8" fmla="*/ 113 w 148"/>
                <a:gd name="T9" fmla="*/ 39 h 140"/>
                <a:gd name="T10" fmla="*/ 126 w 148"/>
                <a:gd name="T11" fmla="*/ 43 h 140"/>
                <a:gd name="T12" fmla="*/ 148 w 148"/>
                <a:gd name="T13" fmla="*/ 21 h 140"/>
                <a:gd name="T14" fmla="*/ 126 w 148"/>
                <a:gd name="T15" fmla="*/ 0 h 140"/>
                <a:gd name="T16" fmla="*/ 105 w 148"/>
                <a:gd name="T17" fmla="*/ 21 h 140"/>
                <a:gd name="T18" fmla="*/ 105 w 148"/>
                <a:gd name="T19" fmla="*/ 26 h 140"/>
                <a:gd name="T20" fmla="*/ 39 w 148"/>
                <a:gd name="T21" fmla="*/ 57 h 140"/>
                <a:gd name="T22" fmla="*/ 22 w 148"/>
                <a:gd name="T23" fmla="*/ 49 h 140"/>
                <a:gd name="T24" fmla="*/ 0 w 148"/>
                <a:gd name="T25" fmla="*/ 70 h 140"/>
                <a:gd name="T26" fmla="*/ 22 w 148"/>
                <a:gd name="T27" fmla="*/ 92 h 140"/>
                <a:gd name="T28" fmla="*/ 37 w 148"/>
                <a:gd name="T29" fmla="*/ 85 h 140"/>
                <a:gd name="T30" fmla="*/ 105 w 148"/>
                <a:gd name="T31" fmla="*/ 117 h 140"/>
                <a:gd name="T32" fmla="*/ 105 w 148"/>
                <a:gd name="T33" fmla="*/ 119 h 140"/>
                <a:gd name="T34" fmla="*/ 126 w 148"/>
                <a:gd name="T35" fmla="*/ 140 h 140"/>
                <a:gd name="T36" fmla="*/ 148 w 148"/>
                <a:gd name="T37" fmla="*/ 119 h 140"/>
                <a:gd name="T38" fmla="*/ 126 w 148"/>
                <a:gd name="T39" fmla="*/ 97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8" h="140">
                  <a:moveTo>
                    <a:pt x="126" y="97"/>
                  </a:moveTo>
                  <a:cubicBezTo>
                    <a:pt x="120" y="97"/>
                    <a:pt x="115" y="100"/>
                    <a:pt x="111" y="104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1"/>
                    <a:pt x="43" y="71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7" y="41"/>
                    <a:pt x="121" y="43"/>
                    <a:pt x="126" y="43"/>
                  </a:cubicBezTo>
                  <a:cubicBezTo>
                    <a:pt x="138" y="43"/>
                    <a:pt x="148" y="33"/>
                    <a:pt x="148" y="21"/>
                  </a:cubicBezTo>
                  <a:cubicBezTo>
                    <a:pt x="148" y="9"/>
                    <a:pt x="138" y="0"/>
                    <a:pt x="126" y="0"/>
                  </a:cubicBezTo>
                  <a:cubicBezTo>
                    <a:pt x="114" y="0"/>
                    <a:pt x="105" y="9"/>
                    <a:pt x="105" y="21"/>
                  </a:cubicBezTo>
                  <a:cubicBezTo>
                    <a:pt x="105" y="23"/>
                    <a:pt x="105" y="24"/>
                    <a:pt x="105" y="26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5" y="52"/>
                    <a:pt x="29" y="49"/>
                    <a:pt x="22" y="49"/>
                  </a:cubicBezTo>
                  <a:cubicBezTo>
                    <a:pt x="10" y="49"/>
                    <a:pt x="0" y="58"/>
                    <a:pt x="0" y="70"/>
                  </a:cubicBezTo>
                  <a:cubicBezTo>
                    <a:pt x="0" y="82"/>
                    <a:pt x="10" y="92"/>
                    <a:pt x="22" y="92"/>
                  </a:cubicBezTo>
                  <a:cubicBezTo>
                    <a:pt x="28" y="92"/>
                    <a:pt x="33" y="89"/>
                    <a:pt x="37" y="85"/>
                  </a:cubicBezTo>
                  <a:cubicBezTo>
                    <a:pt x="105" y="117"/>
                    <a:pt x="105" y="117"/>
                    <a:pt x="105" y="117"/>
                  </a:cubicBezTo>
                  <a:cubicBezTo>
                    <a:pt x="105" y="118"/>
                    <a:pt x="105" y="118"/>
                    <a:pt x="105" y="119"/>
                  </a:cubicBezTo>
                  <a:cubicBezTo>
                    <a:pt x="105" y="131"/>
                    <a:pt x="114" y="140"/>
                    <a:pt x="126" y="140"/>
                  </a:cubicBezTo>
                  <a:cubicBezTo>
                    <a:pt x="138" y="140"/>
                    <a:pt x="148" y="131"/>
                    <a:pt x="148" y="119"/>
                  </a:cubicBezTo>
                  <a:cubicBezTo>
                    <a:pt x="148" y="107"/>
                    <a:pt x="138" y="97"/>
                    <a:pt x="126" y="97"/>
                  </a:cubicBezTo>
                </a:path>
              </a:pathLst>
            </a:custGeom>
            <a:solidFill>
              <a:srgbClr val="8D8F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59" name="Freeform 36"/>
            <p:cNvSpPr>
              <a:spLocks/>
            </p:cNvSpPr>
            <p:nvPr userDrawn="1"/>
          </p:nvSpPr>
          <p:spPr bwMode="gray">
            <a:xfrm>
              <a:off x="-1225" y="1829"/>
              <a:ext cx="1862" cy="132"/>
            </a:xfrm>
            <a:custGeom>
              <a:avLst/>
              <a:gdLst>
                <a:gd name="T0" fmla="*/ 0 w 1862"/>
                <a:gd name="T1" fmla="*/ 0 h 132"/>
                <a:gd name="T2" fmla="*/ 1862 w 1862"/>
                <a:gd name="T3" fmla="*/ 0 h 132"/>
                <a:gd name="T4" fmla="*/ 1862 w 1862"/>
                <a:gd name="T5" fmla="*/ 132 h 132"/>
                <a:gd name="T6" fmla="*/ 0 w 1862"/>
                <a:gd name="T7" fmla="*/ 132 h 132"/>
                <a:gd name="T8" fmla="*/ 0 w 1862"/>
                <a:gd name="T9" fmla="*/ 0 h 132"/>
                <a:gd name="T10" fmla="*/ 0 w 1862"/>
                <a:gd name="T1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2" h="132">
                  <a:moveTo>
                    <a:pt x="0" y="0"/>
                  </a:moveTo>
                  <a:lnTo>
                    <a:pt x="1862" y="0"/>
                  </a:lnTo>
                  <a:lnTo>
                    <a:pt x="1862" y="132"/>
                  </a:lnTo>
                  <a:lnTo>
                    <a:pt x="0" y="13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31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60" name="Rectangle 37"/>
            <p:cNvSpPr>
              <a:spLocks noChangeArrowheads="1"/>
            </p:cNvSpPr>
            <p:nvPr userDrawn="1"/>
          </p:nvSpPr>
          <p:spPr bwMode="gray">
            <a:xfrm>
              <a:off x="-1225" y="1958"/>
              <a:ext cx="10126" cy="21"/>
            </a:xfrm>
            <a:prstGeom prst="rect">
              <a:avLst/>
            </a:prstGeom>
            <a:solidFill>
              <a:srgbClr val="8D8F8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</p:grpSp>
      <p:sp>
        <p:nvSpPr>
          <p:cNvPr id="61" name="Title 1"/>
          <p:cNvSpPr>
            <a:spLocks noGrp="1"/>
          </p:cNvSpPr>
          <p:nvPr>
            <p:ph type="title" hasCustomPrompt="1"/>
          </p:nvPr>
        </p:nvSpPr>
        <p:spPr>
          <a:xfrm>
            <a:off x="6921407" y="961122"/>
            <a:ext cx="4556458" cy="808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99" cap="none"/>
            </a:lvl1pPr>
          </a:lstStyle>
          <a:p>
            <a:r>
              <a:rPr lang="en-US"/>
              <a:t>Click To Edit Product Text</a:t>
            </a:r>
          </a:p>
        </p:txBody>
      </p:sp>
      <p:cxnSp>
        <p:nvCxnSpPr>
          <p:cNvPr id="63" name="Straight Connector 62"/>
          <p:cNvCxnSpPr/>
          <p:nvPr userDrawn="1"/>
        </p:nvCxnSpPr>
        <p:spPr>
          <a:xfrm>
            <a:off x="6922008" y="1908191"/>
            <a:ext cx="4553712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Picture Placeholder 186"/>
          <p:cNvSpPr>
            <a:spLocks noGrp="1"/>
          </p:cNvSpPr>
          <p:nvPr>
            <p:ph type="pic" sz="quarter" idx="15"/>
          </p:nvPr>
        </p:nvSpPr>
        <p:spPr>
          <a:xfrm>
            <a:off x="548646" y="556260"/>
            <a:ext cx="6048375" cy="5579363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922008" y="2020824"/>
            <a:ext cx="4553712" cy="4114800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23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51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8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41" y="1179577"/>
            <a:ext cx="11073385" cy="5212835"/>
          </a:xfrm>
          <a:prstGeom prst="rect">
            <a:avLst/>
          </a:prstGeom>
        </p:spPr>
        <p:txBody>
          <a:bodyPr lIns="91420" tIns="639946" rIns="91420" bIns="45710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</p:spTree>
    <p:extLst>
      <p:ext uri="{BB962C8B-B14F-4D97-AF65-F5344CB8AC3E}">
        <p14:creationId xmlns:p14="http://schemas.microsoft.com/office/powerpoint/2010/main" val="327825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41" y="1179577"/>
            <a:ext cx="11073385" cy="5212835"/>
          </a:xfrm>
          <a:prstGeom prst="rect">
            <a:avLst/>
          </a:prstGeom>
        </p:spPr>
        <p:txBody>
          <a:bodyPr lIns="91420" tIns="639946" rIns="91420" bIns="45710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48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With Background &amp; She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4639112"/>
            <a:ext cx="12188825" cy="221916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41" y="1179577"/>
            <a:ext cx="11073385" cy="5209683"/>
          </a:xfrm>
          <a:prstGeom prst="rect">
            <a:avLst/>
          </a:prstGeom>
        </p:spPr>
        <p:txBody>
          <a:bodyPr lIns="91420" tIns="639946" rIns="91420" bIns="45710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black">
          <a:xfrm>
            <a:off x="205355" y="423409"/>
            <a:ext cx="200586" cy="200587"/>
          </a:xfrm>
          <a:custGeom>
            <a:avLst/>
            <a:gdLst>
              <a:gd name="T0" fmla="*/ 684 w 1368"/>
              <a:gd name="T1" fmla="*/ 0 h 1368"/>
              <a:gd name="T2" fmla="*/ 0 w 1368"/>
              <a:gd name="T3" fmla="*/ 684 h 1368"/>
              <a:gd name="T4" fmla="*/ 684 w 1368"/>
              <a:gd name="T5" fmla="*/ 1368 h 1368"/>
              <a:gd name="T6" fmla="*/ 1368 w 1368"/>
              <a:gd name="T7" fmla="*/ 684 h 1368"/>
              <a:gd name="T8" fmla="*/ 684 w 1368"/>
              <a:gd name="T9" fmla="*/ 0 h 1368"/>
              <a:gd name="T10" fmla="*/ 1068 w 1368"/>
              <a:gd name="T11" fmla="*/ 698 h 1368"/>
              <a:gd name="T12" fmla="*/ 973 w 1368"/>
              <a:gd name="T13" fmla="*/ 793 h 1368"/>
              <a:gd name="T14" fmla="*/ 793 w 1368"/>
              <a:gd name="T15" fmla="*/ 793 h 1368"/>
              <a:gd name="T16" fmla="*/ 793 w 1368"/>
              <a:gd name="T17" fmla="*/ 973 h 1368"/>
              <a:gd name="T18" fmla="*/ 698 w 1368"/>
              <a:gd name="T19" fmla="*/ 1068 h 1368"/>
              <a:gd name="T20" fmla="*/ 670 w 1368"/>
              <a:gd name="T21" fmla="*/ 1068 h 1368"/>
              <a:gd name="T22" fmla="*/ 576 w 1368"/>
              <a:gd name="T23" fmla="*/ 973 h 1368"/>
              <a:gd name="T24" fmla="*/ 576 w 1368"/>
              <a:gd name="T25" fmla="*/ 793 h 1368"/>
              <a:gd name="T26" fmla="*/ 396 w 1368"/>
              <a:gd name="T27" fmla="*/ 793 h 1368"/>
              <a:gd name="T28" fmla="*/ 301 w 1368"/>
              <a:gd name="T29" fmla="*/ 698 h 1368"/>
              <a:gd name="T30" fmla="*/ 301 w 1368"/>
              <a:gd name="T31" fmla="*/ 671 h 1368"/>
              <a:gd name="T32" fmla="*/ 396 w 1368"/>
              <a:gd name="T33" fmla="*/ 576 h 1368"/>
              <a:gd name="T34" fmla="*/ 576 w 1368"/>
              <a:gd name="T35" fmla="*/ 576 h 1368"/>
              <a:gd name="T36" fmla="*/ 576 w 1368"/>
              <a:gd name="T37" fmla="*/ 396 h 1368"/>
              <a:gd name="T38" fmla="*/ 670 w 1368"/>
              <a:gd name="T39" fmla="*/ 301 h 1368"/>
              <a:gd name="T40" fmla="*/ 698 w 1368"/>
              <a:gd name="T41" fmla="*/ 301 h 1368"/>
              <a:gd name="T42" fmla="*/ 793 w 1368"/>
              <a:gd name="T43" fmla="*/ 396 h 1368"/>
              <a:gd name="T44" fmla="*/ 793 w 1368"/>
              <a:gd name="T45" fmla="*/ 576 h 1368"/>
              <a:gd name="T46" fmla="*/ 973 w 1368"/>
              <a:gd name="T47" fmla="*/ 576 h 1368"/>
              <a:gd name="T48" fmla="*/ 1068 w 1368"/>
              <a:gd name="T49" fmla="*/ 671 h 1368"/>
              <a:gd name="T50" fmla="*/ 1068 w 1368"/>
              <a:gd name="T51" fmla="*/ 698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68" h="1368">
                <a:moveTo>
                  <a:pt x="684" y="0"/>
                </a:moveTo>
                <a:cubicBezTo>
                  <a:pt x="307" y="0"/>
                  <a:pt x="0" y="307"/>
                  <a:pt x="0" y="684"/>
                </a:cubicBezTo>
                <a:cubicBezTo>
                  <a:pt x="0" y="1062"/>
                  <a:pt x="307" y="1368"/>
                  <a:pt x="684" y="1368"/>
                </a:cubicBezTo>
                <a:cubicBezTo>
                  <a:pt x="1062" y="1368"/>
                  <a:pt x="1368" y="1062"/>
                  <a:pt x="1368" y="684"/>
                </a:cubicBezTo>
                <a:cubicBezTo>
                  <a:pt x="1368" y="307"/>
                  <a:pt x="1062" y="0"/>
                  <a:pt x="684" y="0"/>
                </a:cubicBezTo>
                <a:close/>
                <a:moveTo>
                  <a:pt x="1068" y="698"/>
                </a:moveTo>
                <a:cubicBezTo>
                  <a:pt x="1068" y="751"/>
                  <a:pt x="1025" y="793"/>
                  <a:pt x="973" y="793"/>
                </a:cubicBezTo>
                <a:cubicBezTo>
                  <a:pt x="793" y="793"/>
                  <a:pt x="793" y="793"/>
                  <a:pt x="793" y="793"/>
                </a:cubicBezTo>
                <a:cubicBezTo>
                  <a:pt x="793" y="973"/>
                  <a:pt x="793" y="973"/>
                  <a:pt x="793" y="973"/>
                </a:cubicBezTo>
                <a:cubicBezTo>
                  <a:pt x="793" y="1025"/>
                  <a:pt x="750" y="1068"/>
                  <a:pt x="698" y="1068"/>
                </a:cubicBezTo>
                <a:cubicBezTo>
                  <a:pt x="670" y="1068"/>
                  <a:pt x="670" y="1068"/>
                  <a:pt x="670" y="1068"/>
                </a:cubicBezTo>
                <a:cubicBezTo>
                  <a:pt x="618" y="1068"/>
                  <a:pt x="576" y="1025"/>
                  <a:pt x="576" y="973"/>
                </a:cubicBezTo>
                <a:cubicBezTo>
                  <a:pt x="576" y="793"/>
                  <a:pt x="576" y="793"/>
                  <a:pt x="576" y="793"/>
                </a:cubicBezTo>
                <a:cubicBezTo>
                  <a:pt x="396" y="793"/>
                  <a:pt x="396" y="793"/>
                  <a:pt x="396" y="793"/>
                </a:cubicBezTo>
                <a:cubicBezTo>
                  <a:pt x="344" y="793"/>
                  <a:pt x="301" y="751"/>
                  <a:pt x="301" y="698"/>
                </a:cubicBezTo>
                <a:cubicBezTo>
                  <a:pt x="301" y="671"/>
                  <a:pt x="301" y="671"/>
                  <a:pt x="301" y="671"/>
                </a:cubicBezTo>
                <a:cubicBezTo>
                  <a:pt x="301" y="618"/>
                  <a:pt x="344" y="576"/>
                  <a:pt x="39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396"/>
                  <a:pt x="576" y="396"/>
                  <a:pt x="576" y="396"/>
                </a:cubicBezTo>
                <a:cubicBezTo>
                  <a:pt x="576" y="344"/>
                  <a:pt x="618" y="301"/>
                  <a:pt x="670" y="301"/>
                </a:cubicBezTo>
                <a:cubicBezTo>
                  <a:pt x="698" y="301"/>
                  <a:pt x="698" y="301"/>
                  <a:pt x="698" y="301"/>
                </a:cubicBezTo>
                <a:cubicBezTo>
                  <a:pt x="750" y="301"/>
                  <a:pt x="793" y="344"/>
                  <a:pt x="793" y="396"/>
                </a:cubicBezTo>
                <a:cubicBezTo>
                  <a:pt x="793" y="576"/>
                  <a:pt x="793" y="576"/>
                  <a:pt x="793" y="576"/>
                </a:cubicBezTo>
                <a:cubicBezTo>
                  <a:pt x="973" y="576"/>
                  <a:pt x="973" y="576"/>
                  <a:pt x="973" y="576"/>
                </a:cubicBezTo>
                <a:cubicBezTo>
                  <a:pt x="1025" y="576"/>
                  <a:pt x="1068" y="618"/>
                  <a:pt x="1068" y="671"/>
                </a:cubicBezTo>
                <a:lnTo>
                  <a:pt x="1068" y="6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8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31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0" name="TextBox slide number"/>
          <p:cNvSpPr txBox="1"/>
          <p:nvPr userDrawn="1"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72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83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3"/>
            <a:ext cx="12190415" cy="6857107"/>
          </a:xfrm>
          <a:prstGeom prst="rect">
            <a:avLst/>
          </a:prstGeom>
        </p:spPr>
      </p:pic>
      <p:grpSp>
        <p:nvGrpSpPr>
          <p:cNvPr id="4" name="Group 3"/>
          <p:cNvGrpSpPr/>
          <p:nvPr userDrawn="1"/>
        </p:nvGrpSpPr>
        <p:grpSpPr bwMode="gray">
          <a:xfrm>
            <a:off x="1828176" y="1519968"/>
            <a:ext cx="8535661" cy="4341743"/>
            <a:chOff x="1828170" y="1258957"/>
            <a:chExt cx="8535661" cy="4341742"/>
          </a:xfrm>
          <a:solidFill>
            <a:schemeClr val="bg1">
              <a:lumMod val="85000"/>
            </a:schemeClr>
          </a:solidFill>
        </p:grpSpPr>
        <p:sp>
          <p:nvSpPr>
            <p:cNvPr id="5" name="Freeform 9"/>
            <p:cNvSpPr>
              <a:spLocks/>
            </p:cNvSpPr>
            <p:nvPr userDrawn="1"/>
          </p:nvSpPr>
          <p:spPr bwMode="gray">
            <a:xfrm>
              <a:off x="5610226" y="4994274"/>
              <a:ext cx="974725" cy="606425"/>
            </a:xfrm>
            <a:custGeom>
              <a:avLst/>
              <a:gdLst>
                <a:gd name="T0" fmla="*/ 122 w 257"/>
                <a:gd name="T1" fmla="*/ 155 h 159"/>
                <a:gd name="T2" fmla="*/ 4 w 257"/>
                <a:gd name="T3" fmla="*/ 12 h 159"/>
                <a:gd name="T4" fmla="*/ 10 w 257"/>
                <a:gd name="T5" fmla="*/ 0 h 159"/>
                <a:gd name="T6" fmla="*/ 247 w 257"/>
                <a:gd name="T7" fmla="*/ 0 h 159"/>
                <a:gd name="T8" fmla="*/ 253 w 257"/>
                <a:gd name="T9" fmla="*/ 12 h 159"/>
                <a:gd name="T10" fmla="*/ 134 w 257"/>
                <a:gd name="T11" fmla="*/ 155 h 159"/>
                <a:gd name="T12" fmla="*/ 122 w 257"/>
                <a:gd name="T13" fmla="*/ 15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159">
                  <a:moveTo>
                    <a:pt x="122" y="155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0" y="7"/>
                    <a:pt x="3" y="0"/>
                    <a:pt x="10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53" y="0"/>
                    <a:pt x="257" y="7"/>
                    <a:pt x="253" y="12"/>
                  </a:cubicBezTo>
                  <a:cubicBezTo>
                    <a:pt x="134" y="155"/>
                    <a:pt x="134" y="155"/>
                    <a:pt x="134" y="155"/>
                  </a:cubicBezTo>
                  <a:cubicBezTo>
                    <a:pt x="131" y="159"/>
                    <a:pt x="125" y="159"/>
                    <a:pt x="122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8" name="Rounded Rectangle 7"/>
            <p:cNvSpPr/>
            <p:nvPr userDrawn="1"/>
          </p:nvSpPr>
          <p:spPr bwMode="gray">
            <a:xfrm>
              <a:off x="1828170" y="1258957"/>
              <a:ext cx="8535661" cy="3893151"/>
            </a:xfrm>
            <a:prstGeom prst="roundRect">
              <a:avLst>
                <a:gd name="adj" fmla="val 543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199">
                <a:solidFill>
                  <a:prstClr val="white"/>
                </a:solidFill>
              </a:endParaRPr>
            </a:p>
          </p:txBody>
        </p:sp>
      </p:grpSp>
      <p:sp>
        <p:nvSpPr>
          <p:cNvPr id="2" name="Rectangle 1"/>
          <p:cNvSpPr/>
          <p:nvPr userDrawn="1"/>
        </p:nvSpPr>
        <p:spPr>
          <a:xfrm>
            <a:off x="0" y="893"/>
            <a:ext cx="12188825" cy="6857107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25000"/>
                </a:schemeClr>
              </a:gs>
              <a:gs pos="50000">
                <a:schemeClr val="bg1">
                  <a:alpha val="50000"/>
                </a:schemeClr>
              </a:gs>
              <a:gs pos="100000">
                <a:schemeClr val="tx2">
                  <a:alpha val="2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 bwMode="gray">
          <a:xfrm>
            <a:off x="5853433" y="1260551"/>
            <a:ext cx="485134" cy="485135"/>
            <a:chOff x="5853433" y="734066"/>
            <a:chExt cx="485134" cy="485134"/>
          </a:xfrm>
        </p:grpSpPr>
        <p:sp>
          <p:nvSpPr>
            <p:cNvPr id="10" name="Oval 9"/>
            <p:cNvSpPr/>
            <p:nvPr userDrawn="1"/>
          </p:nvSpPr>
          <p:spPr bwMode="gray">
            <a:xfrm>
              <a:off x="5886450" y="767634"/>
              <a:ext cx="419098" cy="41909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199">
                <a:solidFill>
                  <a:prstClr val="white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5853433" y="734066"/>
              <a:ext cx="485134" cy="485134"/>
            </a:xfrm>
            <a:custGeom>
              <a:avLst/>
              <a:gdLst>
                <a:gd name="T0" fmla="*/ 206 w 412"/>
                <a:gd name="T1" fmla="*/ 0 h 412"/>
                <a:gd name="T2" fmla="*/ 0 w 412"/>
                <a:gd name="T3" fmla="*/ 206 h 412"/>
                <a:gd name="T4" fmla="*/ 206 w 412"/>
                <a:gd name="T5" fmla="*/ 412 h 412"/>
                <a:gd name="T6" fmla="*/ 412 w 412"/>
                <a:gd name="T7" fmla="*/ 206 h 412"/>
                <a:gd name="T8" fmla="*/ 206 w 412"/>
                <a:gd name="T9" fmla="*/ 0 h 412"/>
                <a:gd name="T10" fmla="*/ 206 w 412"/>
                <a:gd name="T11" fmla="*/ 376 h 412"/>
                <a:gd name="T12" fmla="*/ 36 w 412"/>
                <a:gd name="T13" fmla="*/ 206 h 412"/>
                <a:gd name="T14" fmla="*/ 206 w 412"/>
                <a:gd name="T15" fmla="*/ 36 h 412"/>
                <a:gd name="T16" fmla="*/ 376 w 412"/>
                <a:gd name="T17" fmla="*/ 206 h 412"/>
                <a:gd name="T18" fmla="*/ 206 w 412"/>
                <a:gd name="T19" fmla="*/ 376 h 412"/>
                <a:gd name="T20" fmla="*/ 189 w 412"/>
                <a:gd name="T21" fmla="*/ 262 h 412"/>
                <a:gd name="T22" fmla="*/ 125 w 412"/>
                <a:gd name="T23" fmla="*/ 262 h 412"/>
                <a:gd name="T24" fmla="*/ 125 w 412"/>
                <a:gd name="T25" fmla="*/ 216 h 412"/>
                <a:gd name="T26" fmla="*/ 130 w 412"/>
                <a:gd name="T27" fmla="*/ 172 h 412"/>
                <a:gd name="T28" fmla="*/ 148 w 412"/>
                <a:gd name="T29" fmla="*/ 143 h 412"/>
                <a:gd name="T30" fmla="*/ 182 w 412"/>
                <a:gd name="T31" fmla="*/ 123 h 412"/>
                <a:gd name="T32" fmla="*/ 194 w 412"/>
                <a:gd name="T33" fmla="*/ 150 h 412"/>
                <a:gd name="T34" fmla="*/ 167 w 412"/>
                <a:gd name="T35" fmla="*/ 167 h 412"/>
                <a:gd name="T36" fmla="*/ 158 w 412"/>
                <a:gd name="T37" fmla="*/ 198 h 412"/>
                <a:gd name="T38" fmla="*/ 189 w 412"/>
                <a:gd name="T39" fmla="*/ 198 h 412"/>
                <a:gd name="T40" fmla="*/ 189 w 412"/>
                <a:gd name="T41" fmla="*/ 262 h 412"/>
                <a:gd name="T42" fmla="*/ 278 w 412"/>
                <a:gd name="T43" fmla="*/ 262 h 412"/>
                <a:gd name="T44" fmla="*/ 214 w 412"/>
                <a:gd name="T45" fmla="*/ 262 h 412"/>
                <a:gd name="T46" fmla="*/ 214 w 412"/>
                <a:gd name="T47" fmla="*/ 216 h 412"/>
                <a:gd name="T48" fmla="*/ 219 w 412"/>
                <a:gd name="T49" fmla="*/ 172 h 412"/>
                <a:gd name="T50" fmla="*/ 237 w 412"/>
                <a:gd name="T51" fmla="*/ 143 h 412"/>
                <a:gd name="T52" fmla="*/ 270 w 412"/>
                <a:gd name="T53" fmla="*/ 123 h 412"/>
                <a:gd name="T54" fmla="*/ 283 w 412"/>
                <a:gd name="T55" fmla="*/ 150 h 412"/>
                <a:gd name="T56" fmla="*/ 255 w 412"/>
                <a:gd name="T57" fmla="*/ 167 h 412"/>
                <a:gd name="T58" fmla="*/ 247 w 412"/>
                <a:gd name="T59" fmla="*/ 198 h 412"/>
                <a:gd name="T60" fmla="*/ 278 w 412"/>
                <a:gd name="T61" fmla="*/ 198 h 412"/>
                <a:gd name="T62" fmla="*/ 278 w 412"/>
                <a:gd name="T63" fmla="*/ 26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2" h="412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320"/>
                    <a:pt x="92" y="412"/>
                    <a:pt x="206" y="412"/>
                  </a:cubicBezTo>
                  <a:cubicBezTo>
                    <a:pt x="320" y="412"/>
                    <a:pt x="412" y="320"/>
                    <a:pt x="412" y="206"/>
                  </a:cubicBezTo>
                  <a:cubicBezTo>
                    <a:pt x="412" y="93"/>
                    <a:pt x="320" y="0"/>
                    <a:pt x="206" y="0"/>
                  </a:cubicBezTo>
                  <a:close/>
                  <a:moveTo>
                    <a:pt x="206" y="376"/>
                  </a:moveTo>
                  <a:cubicBezTo>
                    <a:pt x="112" y="376"/>
                    <a:pt x="36" y="300"/>
                    <a:pt x="36" y="206"/>
                  </a:cubicBezTo>
                  <a:cubicBezTo>
                    <a:pt x="36" y="112"/>
                    <a:pt x="112" y="36"/>
                    <a:pt x="206" y="36"/>
                  </a:cubicBezTo>
                  <a:cubicBezTo>
                    <a:pt x="300" y="36"/>
                    <a:pt x="376" y="112"/>
                    <a:pt x="376" y="206"/>
                  </a:cubicBezTo>
                  <a:cubicBezTo>
                    <a:pt x="376" y="300"/>
                    <a:pt x="300" y="376"/>
                    <a:pt x="206" y="376"/>
                  </a:cubicBezTo>
                  <a:close/>
                  <a:moveTo>
                    <a:pt x="189" y="262"/>
                  </a:moveTo>
                  <a:cubicBezTo>
                    <a:pt x="125" y="262"/>
                    <a:pt x="125" y="262"/>
                    <a:pt x="125" y="262"/>
                  </a:cubicBezTo>
                  <a:cubicBezTo>
                    <a:pt x="125" y="216"/>
                    <a:pt x="125" y="216"/>
                    <a:pt x="125" y="216"/>
                  </a:cubicBezTo>
                  <a:cubicBezTo>
                    <a:pt x="125" y="197"/>
                    <a:pt x="127" y="183"/>
                    <a:pt x="130" y="172"/>
                  </a:cubicBezTo>
                  <a:cubicBezTo>
                    <a:pt x="133" y="161"/>
                    <a:pt x="139" y="152"/>
                    <a:pt x="148" y="143"/>
                  </a:cubicBezTo>
                  <a:cubicBezTo>
                    <a:pt x="157" y="135"/>
                    <a:pt x="168" y="128"/>
                    <a:pt x="182" y="123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82" y="154"/>
                    <a:pt x="172" y="160"/>
                    <a:pt x="167" y="167"/>
                  </a:cubicBezTo>
                  <a:cubicBezTo>
                    <a:pt x="161" y="175"/>
                    <a:pt x="158" y="185"/>
                    <a:pt x="158" y="198"/>
                  </a:cubicBezTo>
                  <a:cubicBezTo>
                    <a:pt x="189" y="198"/>
                    <a:pt x="189" y="198"/>
                    <a:pt x="189" y="198"/>
                  </a:cubicBezTo>
                  <a:lnTo>
                    <a:pt x="189" y="262"/>
                  </a:lnTo>
                  <a:close/>
                  <a:moveTo>
                    <a:pt x="278" y="262"/>
                  </a:moveTo>
                  <a:cubicBezTo>
                    <a:pt x="214" y="262"/>
                    <a:pt x="214" y="262"/>
                    <a:pt x="214" y="262"/>
                  </a:cubicBezTo>
                  <a:cubicBezTo>
                    <a:pt x="214" y="216"/>
                    <a:pt x="214" y="216"/>
                    <a:pt x="214" y="216"/>
                  </a:cubicBezTo>
                  <a:cubicBezTo>
                    <a:pt x="214" y="197"/>
                    <a:pt x="215" y="182"/>
                    <a:pt x="219" y="172"/>
                  </a:cubicBezTo>
                  <a:cubicBezTo>
                    <a:pt x="222" y="161"/>
                    <a:pt x="228" y="152"/>
                    <a:pt x="237" y="143"/>
                  </a:cubicBezTo>
                  <a:cubicBezTo>
                    <a:pt x="246" y="135"/>
                    <a:pt x="257" y="128"/>
                    <a:pt x="270" y="123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70" y="154"/>
                    <a:pt x="261" y="160"/>
                    <a:pt x="255" y="167"/>
                  </a:cubicBezTo>
                  <a:cubicBezTo>
                    <a:pt x="250" y="175"/>
                    <a:pt x="247" y="185"/>
                    <a:pt x="247" y="198"/>
                  </a:cubicBezTo>
                  <a:cubicBezTo>
                    <a:pt x="278" y="198"/>
                    <a:pt x="278" y="198"/>
                    <a:pt x="278" y="198"/>
                  </a:cubicBezTo>
                  <a:lnTo>
                    <a:pt x="278" y="2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</p:grpSp>
      <p:cxnSp>
        <p:nvCxnSpPr>
          <p:cNvPr id="12" name="Straight Connector 11"/>
          <p:cNvCxnSpPr/>
          <p:nvPr userDrawn="1"/>
        </p:nvCxnSpPr>
        <p:spPr>
          <a:xfrm>
            <a:off x="2795849" y="4437853"/>
            <a:ext cx="6600305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 userDrawn="1"/>
        </p:nvGrpSpPr>
        <p:grpSpPr>
          <a:xfrm>
            <a:off x="3619913" y="4738255"/>
            <a:ext cx="4952177" cy="283924"/>
            <a:chOff x="587076" y="4891945"/>
            <a:chExt cx="6379553" cy="365760"/>
          </a:xfrm>
        </p:grpSpPr>
        <p:pic>
          <p:nvPicPr>
            <p:cNvPr id="14" name="Picture 2" descr="C:\Users\kathyp\Documents\00_Brand-Resources\Multimode Elements\Multimode Icons\PNG\Multimode-Icon_HANG.png"/>
            <p:cNvPicPr>
              <a:picLocks noChangeAspect="1" noChangeArrowheads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076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3" descr="C:\Users\kathyp\Documents\00_Brand-Resources\Multimode Elements\Multimode Icons\PNG\Multimode-Icon_HOLD.png"/>
            <p:cNvPicPr>
              <a:picLocks noChangeAspect="1" noChangeArrowheads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0860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4" descr="C:\Users\kathyp\Documents\00_Brand-Resources\Multimode Elements\Multimode Icons\PNG\Multimode-Icon_LAPTOP.png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8247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5" descr="C:\Users\kathyp\Documents\00_Brand-Resources\Multimode Elements\Multimode Icons\PNG\Multimode-Icon_STAND.png"/>
            <p:cNvPicPr>
              <a:picLocks noChangeAspect="1" noChangeArrowheads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8428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6" descr="C:\Users\kathyp\Documents\00_Brand-Resources\Multimode Elements\Multimode Icons\PNG\Multimode-Icon_STAND-Tablet.png"/>
            <p:cNvPicPr>
              <a:picLocks noChangeAspect="1" noChangeArrowheads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2212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7" descr="C:\Users\kathyp\Documents\00_Brand-Resources\Multimode Elements\Multimode Icons\PNG\Multimode-Icon_TABLE.png"/>
            <p:cNvPicPr>
              <a:picLocks noChangeAspect="1" noChangeArrowheads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9599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8" descr="C:\Users\kathyp\Documents\00_Brand-Resources\Multimode Elements\Multimode Icons\PNG\Multimode-Icon_TABLET.png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6986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9" descr="C:\Users\kathyp\Documents\00_Brand-Resources\Multimode Elements\Multimode Icons\PNG\Multimode-Icon_TENT.png"/>
            <p:cNvPicPr>
              <a:picLocks noChangeAspect="1" noChangeArrowheads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3564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0" descr="C:\Users\kathyp\Documents\00_Brand-Resources\Multimode Elements\Multimode Icons\PNG\Multimode-Icon_TILT.png"/>
            <p:cNvPicPr>
              <a:picLocks noChangeAspect="1" noChangeArrowheads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7348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1" descr="C:\Users\kathyp\Documents\00_Brand-Resources\Multimode Elements\Multimode Icons\PNG\Multimode-Icon_TV.png"/>
            <p:cNvPicPr>
              <a:picLocks noChangeAspect="1" noChangeArrowheads="1"/>
            </p:cNvPicPr>
            <p:nvPr userDrawn="1"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54743" y="4917112"/>
              <a:ext cx="311886" cy="311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4" name="Group 175"/>
            <p:cNvGrpSpPr/>
            <p:nvPr userDrawn="1"/>
          </p:nvGrpSpPr>
          <p:grpSpPr>
            <a:xfrm>
              <a:off x="2015634" y="4917112"/>
              <a:ext cx="310896" cy="310896"/>
              <a:chOff x="2024598" y="5468108"/>
              <a:chExt cx="310896" cy="310896"/>
            </a:xfrm>
          </p:grpSpPr>
          <p:sp>
            <p:nvSpPr>
              <p:cNvPr id="46" name="Oval 45"/>
              <p:cNvSpPr/>
              <p:nvPr userDrawn="1"/>
            </p:nvSpPr>
            <p:spPr>
              <a:xfrm>
                <a:off x="2024598" y="5468108"/>
                <a:ext cx="310896" cy="31089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199">
                  <a:solidFill>
                    <a:prstClr val="white"/>
                  </a:solidFill>
                </a:endParaRPr>
              </a:p>
            </p:txBody>
          </p:sp>
          <p:pic>
            <p:nvPicPr>
              <p:cNvPr id="47" name="Picture 46"/>
              <p:cNvPicPr>
                <a:picLocks noChangeAspect="1"/>
              </p:cNvPicPr>
              <p:nvPr userDrawn="1"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18814" y="5509256"/>
                <a:ext cx="122464" cy="228600"/>
              </a:xfrm>
              <a:prstGeom prst="rect">
                <a:avLst/>
              </a:prstGeom>
            </p:spPr>
          </p:pic>
        </p:grpSp>
        <p:grpSp>
          <p:nvGrpSpPr>
            <p:cNvPr id="25" name="Group 178"/>
            <p:cNvGrpSpPr/>
            <p:nvPr userDrawn="1"/>
          </p:nvGrpSpPr>
          <p:grpSpPr>
            <a:xfrm>
              <a:off x="3085815" y="4917112"/>
              <a:ext cx="310896" cy="310896"/>
              <a:chOff x="3094779" y="5468108"/>
              <a:chExt cx="310896" cy="310896"/>
            </a:xfrm>
          </p:grpSpPr>
          <p:sp>
            <p:nvSpPr>
              <p:cNvPr id="44" name="Oval 43"/>
              <p:cNvSpPr/>
              <p:nvPr userDrawn="1"/>
            </p:nvSpPr>
            <p:spPr>
              <a:xfrm>
                <a:off x="3094779" y="5468108"/>
                <a:ext cx="310896" cy="310896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199">
                  <a:solidFill>
                    <a:prstClr val="white"/>
                  </a:solidFill>
                </a:endParaRPr>
              </a:p>
            </p:txBody>
          </p:sp>
          <p:pic>
            <p:nvPicPr>
              <p:cNvPr id="45" name="Picture 9" descr="C:\Users\yhwang\Desktop\WW Design\Multimode Icons\twitter-01.png"/>
              <p:cNvPicPr>
                <a:picLocks noChangeAspect="1" noChangeArrowheads="1"/>
              </p:cNvPicPr>
              <p:nvPr userDrawn="1"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4779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26" name="Group 181"/>
            <p:cNvGrpSpPr/>
            <p:nvPr userDrawn="1"/>
          </p:nvGrpSpPr>
          <p:grpSpPr>
            <a:xfrm>
              <a:off x="944463" y="4917112"/>
              <a:ext cx="310896" cy="310896"/>
              <a:chOff x="953427" y="5468108"/>
              <a:chExt cx="310896" cy="310896"/>
            </a:xfrm>
          </p:grpSpPr>
          <p:sp>
            <p:nvSpPr>
              <p:cNvPr id="42" name="Oval 41"/>
              <p:cNvSpPr/>
              <p:nvPr userDrawn="1"/>
            </p:nvSpPr>
            <p:spPr>
              <a:xfrm>
                <a:off x="953427" y="5468108"/>
                <a:ext cx="310896" cy="31089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199">
                  <a:solidFill>
                    <a:prstClr val="white"/>
                  </a:solidFill>
                </a:endParaRPr>
              </a:p>
            </p:txBody>
          </p:sp>
          <p:pic>
            <p:nvPicPr>
              <p:cNvPr id="43" name="Picture 5" descr="C:\Users\yhwang\Desktop\WW Design\Multimode Icons\globe-01.png"/>
              <p:cNvPicPr>
                <a:picLocks noChangeAspect="1" noChangeArrowheads="1"/>
              </p:cNvPicPr>
              <p:nvPr userDrawn="1"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0859" y="5495540"/>
                <a:ext cx="256032" cy="256032"/>
              </a:xfrm>
              <a:prstGeom prst="rect">
                <a:avLst/>
              </a:prstGeom>
              <a:noFill/>
            </p:spPr>
          </p:pic>
        </p:grpSp>
        <p:grpSp>
          <p:nvGrpSpPr>
            <p:cNvPr id="27" name="Group 255"/>
            <p:cNvGrpSpPr/>
            <p:nvPr userDrawn="1"/>
          </p:nvGrpSpPr>
          <p:grpSpPr>
            <a:xfrm>
              <a:off x="2346864" y="4891945"/>
              <a:ext cx="365760" cy="365760"/>
              <a:chOff x="2355828" y="5442941"/>
              <a:chExt cx="365760" cy="365760"/>
            </a:xfrm>
          </p:grpSpPr>
          <p:sp>
            <p:nvSpPr>
              <p:cNvPr id="40" name="Oval 39"/>
              <p:cNvSpPr/>
              <p:nvPr userDrawn="1"/>
            </p:nvSpPr>
            <p:spPr>
              <a:xfrm>
                <a:off x="2380995" y="5468108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199">
                  <a:solidFill>
                    <a:prstClr val="white"/>
                  </a:solidFill>
                </a:endParaRPr>
              </a:p>
            </p:txBody>
          </p:sp>
          <p:pic>
            <p:nvPicPr>
              <p:cNvPr id="41" name="Picture 2" descr="C:\Users\yhwang\Desktop\WW Design\Multimode Icons\chain-01.png"/>
              <p:cNvPicPr>
                <a:picLocks noChangeAspect="1" noChangeArrowheads="1"/>
              </p:cNvPicPr>
              <p:nvPr userDrawn="1"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55828" y="5442941"/>
                <a:ext cx="365760" cy="365760"/>
              </a:xfrm>
              <a:prstGeom prst="rect">
                <a:avLst/>
              </a:prstGeom>
              <a:noFill/>
            </p:spPr>
          </p:pic>
        </p:grpSp>
        <p:grpSp>
          <p:nvGrpSpPr>
            <p:cNvPr id="28" name="Group 258"/>
            <p:cNvGrpSpPr/>
            <p:nvPr userDrawn="1"/>
          </p:nvGrpSpPr>
          <p:grpSpPr>
            <a:xfrm>
              <a:off x="5227167" y="4917112"/>
              <a:ext cx="310896" cy="310896"/>
              <a:chOff x="5236131" y="5468108"/>
              <a:chExt cx="310896" cy="310896"/>
            </a:xfrm>
          </p:grpSpPr>
          <p:sp>
            <p:nvSpPr>
              <p:cNvPr id="38" name="Oval 37"/>
              <p:cNvSpPr/>
              <p:nvPr userDrawn="1"/>
            </p:nvSpPr>
            <p:spPr>
              <a:xfrm>
                <a:off x="5236131" y="5468108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199">
                  <a:solidFill>
                    <a:prstClr val="white"/>
                  </a:solidFill>
                </a:endParaRPr>
              </a:p>
            </p:txBody>
          </p:sp>
          <p:pic>
            <p:nvPicPr>
              <p:cNvPr id="39" name="Picture 38" descr="C:\Users\yhwang\Desktop\WW Design\Multimode Icons\facebook-01.png"/>
              <p:cNvPicPr>
                <a:picLocks noChangeAspect="1" noChangeArrowheads="1"/>
              </p:cNvPicPr>
              <p:nvPr userDrawn="1"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36131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29" name="Group 261"/>
            <p:cNvGrpSpPr/>
            <p:nvPr userDrawn="1"/>
          </p:nvGrpSpPr>
          <p:grpSpPr>
            <a:xfrm>
              <a:off x="4514373" y="4917112"/>
              <a:ext cx="310896" cy="310896"/>
              <a:chOff x="4523337" y="5468108"/>
              <a:chExt cx="310896" cy="310896"/>
            </a:xfrm>
          </p:grpSpPr>
          <p:sp>
            <p:nvSpPr>
              <p:cNvPr id="36" name="Oval 35"/>
              <p:cNvSpPr/>
              <p:nvPr userDrawn="1"/>
            </p:nvSpPr>
            <p:spPr>
              <a:xfrm>
                <a:off x="4523337" y="5468108"/>
                <a:ext cx="310896" cy="31089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199">
                  <a:solidFill>
                    <a:prstClr val="white"/>
                  </a:solidFill>
                </a:endParaRPr>
              </a:p>
            </p:txBody>
          </p:sp>
          <p:pic>
            <p:nvPicPr>
              <p:cNvPr id="37" name="Picture 7" descr="C:\Users\yhwang\Desktop\WW Design\Multimode Icons\server-01.png"/>
              <p:cNvPicPr>
                <a:picLocks noChangeAspect="1" noChangeArrowheads="1"/>
              </p:cNvPicPr>
              <p:nvPr userDrawn="1"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23337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30" name="Group 264"/>
            <p:cNvGrpSpPr/>
            <p:nvPr userDrawn="1"/>
          </p:nvGrpSpPr>
          <p:grpSpPr>
            <a:xfrm>
              <a:off x="4870770" y="4917112"/>
              <a:ext cx="310896" cy="310896"/>
              <a:chOff x="4879734" y="5468108"/>
              <a:chExt cx="310896" cy="310896"/>
            </a:xfrm>
          </p:grpSpPr>
          <p:sp>
            <p:nvSpPr>
              <p:cNvPr id="34" name="Oval 33"/>
              <p:cNvSpPr/>
              <p:nvPr userDrawn="1"/>
            </p:nvSpPr>
            <p:spPr>
              <a:xfrm>
                <a:off x="4879734" y="5468108"/>
                <a:ext cx="310896" cy="31089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199">
                  <a:solidFill>
                    <a:prstClr val="white"/>
                  </a:solidFill>
                </a:endParaRPr>
              </a:p>
            </p:txBody>
          </p:sp>
          <p:pic>
            <p:nvPicPr>
              <p:cNvPr id="35" name="Picture 6" descr="C:\Users\yhwang\Desktop\WW Design\Multimode Icons\network-01.png"/>
              <p:cNvPicPr>
                <a:picLocks noChangeAspect="1" noChangeArrowheads="1"/>
              </p:cNvPicPr>
              <p:nvPr userDrawn="1"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79734" y="5468108"/>
                <a:ext cx="310896" cy="310896"/>
              </a:xfrm>
              <a:prstGeom prst="rect">
                <a:avLst/>
              </a:prstGeom>
              <a:noFill/>
            </p:spPr>
          </p:pic>
        </p:grpSp>
        <p:grpSp>
          <p:nvGrpSpPr>
            <p:cNvPr id="31" name="Group 267"/>
            <p:cNvGrpSpPr/>
            <p:nvPr userDrawn="1"/>
          </p:nvGrpSpPr>
          <p:grpSpPr>
            <a:xfrm>
              <a:off x="5940951" y="4917112"/>
              <a:ext cx="310896" cy="310896"/>
              <a:chOff x="5949915" y="5468108"/>
              <a:chExt cx="310896" cy="310896"/>
            </a:xfrm>
          </p:grpSpPr>
          <p:sp>
            <p:nvSpPr>
              <p:cNvPr id="32" name="Oval 31"/>
              <p:cNvSpPr/>
              <p:nvPr userDrawn="1"/>
            </p:nvSpPr>
            <p:spPr>
              <a:xfrm>
                <a:off x="5949915" y="5468108"/>
                <a:ext cx="310896" cy="31089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199">
                  <a:solidFill>
                    <a:prstClr val="white"/>
                  </a:solidFill>
                </a:endParaRPr>
              </a:p>
            </p:txBody>
          </p:sp>
          <p:pic>
            <p:nvPicPr>
              <p:cNvPr id="33" name="Picture 8" descr="C:\Users\yhwang\Desktop\WW Design\Multimode Icons\think_light-01.png"/>
              <p:cNvPicPr>
                <a:picLocks noChangeAspect="1" noChangeArrowheads="1"/>
              </p:cNvPicPr>
              <p:nvPr userDrawn="1"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9915" y="5468108"/>
                <a:ext cx="310896" cy="310896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48" name="Picture 47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0188" y="2009776"/>
            <a:ext cx="6971627" cy="2231536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583674" y="3056117"/>
            <a:ext cx="2412867" cy="80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91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ickoff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" y="6311789"/>
            <a:ext cx="572518" cy="54198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invGray">
          <a:xfrm>
            <a:off x="95376" y="6445128"/>
            <a:ext cx="411214" cy="287071"/>
          </a:xfrm>
          <a:prstGeom prst="rect">
            <a:avLst/>
          </a:prstGeom>
        </p:spPr>
        <p:txBody>
          <a:bodyPr wrap="none" lIns="121862" tIns="60931" rIns="121862" bIns="60931">
            <a:spAutoFit/>
          </a:bodyPr>
          <a:lstStyle/>
          <a:p>
            <a:pPr algn="ctr"/>
            <a:fld id="{259F4B34-A25D-4DEF-97BC-C4D92417BF9B}" type="slidenum">
              <a:rPr lang="en-US" sz="1066" smtClean="0">
                <a:solidFill>
                  <a:prstClr val="white"/>
                </a:solidFill>
                <a:cs typeface="Arial" pitchFamily="34" charset="0"/>
              </a:rPr>
              <a:pPr algn="ctr"/>
              <a:t>‹#›</a:t>
            </a:fld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gray">
          <a:xfrm flipH="1">
            <a:off x="205458" y="255907"/>
            <a:ext cx="11983373" cy="597132"/>
          </a:xfrm>
          <a:prstGeom prst="rect">
            <a:avLst/>
          </a:prstGeom>
          <a:gradFill flip="none" rotWithShape="0">
            <a:gsLst>
              <a:gs pos="100000">
                <a:srgbClr val="FF1313"/>
              </a:gs>
              <a:gs pos="0">
                <a:srgbClr val="EC2225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62" tIns="60931" rIns="121862" bIns="609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199">
              <a:solidFill>
                <a:prstClr val="white"/>
              </a:solidFill>
              <a:latin typeface="Foundry Gridnik Medium" pitchFamily="50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277151" y="1335025"/>
            <a:ext cx="10396251" cy="5039399"/>
          </a:xfrm>
          <a:prstGeom prst="rect">
            <a:avLst/>
          </a:prstGeom>
        </p:spPr>
        <p:txBody>
          <a:bodyPr lIns="91420" tIns="45710" rIns="91420" bIns="45710"/>
          <a:lstStyle>
            <a:lvl1pPr marL="226381" indent="-226381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defRPr sz="2399">
                <a:solidFill>
                  <a:srgbClr val="414042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–"/>
              <a:defRPr sz="2000">
                <a:solidFill>
                  <a:srgbClr val="939598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–"/>
              <a:defRPr sz="1866">
                <a:solidFill>
                  <a:srgbClr val="939598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–"/>
              <a:defRPr sz="1600">
                <a:solidFill>
                  <a:srgbClr val="939598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 pitchFamily="34" charset="0"/>
              <a:buChar char="–"/>
              <a:defRPr sz="1600">
                <a:solidFill>
                  <a:srgbClr val="939598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reeform 12"/>
          <p:cNvSpPr>
            <a:spLocks/>
          </p:cNvSpPr>
          <p:nvPr userDrawn="1"/>
        </p:nvSpPr>
        <p:spPr bwMode="gray">
          <a:xfrm>
            <a:off x="18" y="253530"/>
            <a:ext cx="205442" cy="792721"/>
          </a:xfrm>
          <a:custGeom>
            <a:avLst/>
            <a:gdLst>
              <a:gd name="T0" fmla="*/ 0 w 215"/>
              <a:gd name="T1" fmla="*/ 308 h 703"/>
              <a:gd name="T2" fmla="*/ 0 w 215"/>
              <a:gd name="T3" fmla="*/ 703 h 703"/>
              <a:gd name="T4" fmla="*/ 215 w 215"/>
              <a:gd name="T5" fmla="*/ 395 h 703"/>
              <a:gd name="T6" fmla="*/ 215 w 215"/>
              <a:gd name="T7" fmla="*/ 0 h 703"/>
              <a:gd name="T8" fmla="*/ 0 w 215"/>
              <a:gd name="T9" fmla="*/ 308 h 703"/>
              <a:gd name="connsiteX0" fmla="*/ 0 w 10000"/>
              <a:gd name="connsiteY0" fmla="*/ 4381 h 7400"/>
              <a:gd name="connsiteX1" fmla="*/ 6119 w 10000"/>
              <a:gd name="connsiteY1" fmla="*/ 7400 h 7400"/>
              <a:gd name="connsiteX2" fmla="*/ 10000 w 10000"/>
              <a:gd name="connsiteY2" fmla="*/ 5619 h 7400"/>
              <a:gd name="connsiteX3" fmla="*/ 10000 w 10000"/>
              <a:gd name="connsiteY3" fmla="*/ 0 h 7400"/>
              <a:gd name="connsiteX4" fmla="*/ 0 w 10000"/>
              <a:gd name="connsiteY4" fmla="*/ 4381 h 7400"/>
              <a:gd name="connsiteX0" fmla="*/ 0 w 3881"/>
              <a:gd name="connsiteY0" fmla="*/ 2482 h 10000"/>
              <a:gd name="connsiteX1" fmla="*/ 0 w 3881"/>
              <a:gd name="connsiteY1" fmla="*/ 10000 h 10000"/>
              <a:gd name="connsiteX2" fmla="*/ 3881 w 3881"/>
              <a:gd name="connsiteY2" fmla="*/ 7593 h 10000"/>
              <a:gd name="connsiteX3" fmla="*/ 3881 w 3881"/>
              <a:gd name="connsiteY3" fmla="*/ 0 h 10000"/>
              <a:gd name="connsiteX4" fmla="*/ 0 w 3881"/>
              <a:gd name="connsiteY4" fmla="*/ 24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1" h="10000">
                <a:moveTo>
                  <a:pt x="0" y="2482"/>
                </a:moveTo>
                <a:lnTo>
                  <a:pt x="0" y="10000"/>
                </a:lnTo>
                <a:lnTo>
                  <a:pt x="3881" y="7593"/>
                </a:lnTo>
                <a:lnTo>
                  <a:pt x="3881" y="0"/>
                </a:lnTo>
                <a:lnTo>
                  <a:pt x="0" y="2482"/>
                </a:lnTo>
                <a:close/>
              </a:path>
            </a:pathLst>
          </a:custGeom>
          <a:gradFill flip="none" rotWithShape="0">
            <a:gsLst>
              <a:gs pos="47000">
                <a:srgbClr val="AF0707"/>
              </a:gs>
              <a:gs pos="100000">
                <a:srgbClr val="7F1B1B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62" tIns="60931" rIns="121862" bIns="609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199">
              <a:solidFill>
                <a:prstClr val="white"/>
              </a:solidFill>
              <a:latin typeface="Foundry Gridnik Medium" pitchFamily="50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010768" y="6531457"/>
            <a:ext cx="1009936" cy="162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1585" y="6509658"/>
            <a:ext cx="3860800" cy="164019"/>
          </a:xfrm>
          <a:prstGeom prst="rect">
            <a:avLst/>
          </a:prstGeom>
        </p:spPr>
        <p:txBody>
          <a:bodyPr anchor="ctr"/>
          <a:lstStyle/>
          <a:p>
            <a:endParaRPr lang="en-US" sz="1066" cap="all">
              <a:solidFill>
                <a:srgbClr val="939598"/>
              </a:solidFill>
              <a:cs typeface="Arial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7912" y="255073"/>
            <a:ext cx="1340919" cy="2318199"/>
          </a:xfrm>
          <a:prstGeom prst="rect">
            <a:avLst/>
          </a:prstGeom>
        </p:spPr>
      </p:pic>
      <p:sp>
        <p:nvSpPr>
          <p:cNvPr id="6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283728" y="255907"/>
            <a:ext cx="11905100" cy="597132"/>
          </a:xfrm>
          <a:prstGeom prst="rect">
            <a:avLst/>
          </a:prstGeom>
        </p:spPr>
        <p:txBody>
          <a:bodyPr wrap="square" lIns="91420" tIns="45710" rIns="91420" bIns="4571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88179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 - No Background">
    <p:bg>
      <p:bgPr>
        <a:solidFill>
          <a:srgbClr val="323F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9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11745085" y="5062587"/>
            <a:ext cx="443742" cy="1332620"/>
            <a:chOff x="11183938" y="1441450"/>
            <a:chExt cx="1008063" cy="3027362"/>
          </a:xfrm>
        </p:grpSpPr>
        <p:sp>
          <p:nvSpPr>
            <p:cNvPr id="22" name="Rectangle 38"/>
            <p:cNvSpPr>
              <a:spLocks noChangeArrowheads="1"/>
            </p:cNvSpPr>
            <p:nvPr userDrawn="1"/>
          </p:nvSpPr>
          <p:spPr bwMode="auto">
            <a:xfrm>
              <a:off x="11183938" y="1441450"/>
              <a:ext cx="1008063" cy="302736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23" name="Freeform 40"/>
            <p:cNvSpPr>
              <a:spLocks/>
            </p:cNvSpPr>
            <p:nvPr userDrawn="1"/>
          </p:nvSpPr>
          <p:spPr bwMode="auto">
            <a:xfrm>
              <a:off x="11522076" y="2989263"/>
              <a:ext cx="398463" cy="395287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15" y="65"/>
                </a:cxn>
                <a:cxn ang="0">
                  <a:pos x="15" y="65"/>
                </a:cxn>
                <a:cxn ang="0">
                  <a:pos x="15" y="65"/>
                </a:cxn>
                <a:cxn ang="0">
                  <a:pos x="2" y="65"/>
                </a:cxn>
                <a:cxn ang="0">
                  <a:pos x="2" y="90"/>
                </a:cxn>
                <a:cxn ang="0">
                  <a:pos x="91" y="90"/>
                </a:cxn>
                <a:cxn ang="0">
                  <a:pos x="91" y="65"/>
                </a:cxn>
                <a:cxn ang="0">
                  <a:pos x="40" y="65"/>
                </a:cxn>
                <a:cxn ang="0">
                  <a:pos x="21" y="45"/>
                </a:cxn>
                <a:cxn ang="0">
                  <a:pos x="40" y="25"/>
                </a:cxn>
                <a:cxn ang="0">
                  <a:pos x="91" y="25"/>
                </a:cxn>
                <a:cxn ang="0">
                  <a:pos x="91" y="0"/>
                </a:cxn>
                <a:cxn ang="0">
                  <a:pos x="36" y="0"/>
                </a:cxn>
                <a:cxn ang="0">
                  <a:pos x="0" y="36"/>
                </a:cxn>
              </a:cxnLst>
              <a:rect l="0" t="0" r="r" b="b"/>
              <a:pathLst>
                <a:path w="91" h="90">
                  <a:moveTo>
                    <a:pt x="0" y="36"/>
                  </a:moveTo>
                  <a:cubicBezTo>
                    <a:pt x="0" y="47"/>
                    <a:pt x="5" y="58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31" y="65"/>
                    <a:pt x="21" y="58"/>
                    <a:pt x="21" y="45"/>
                  </a:cubicBezTo>
                  <a:cubicBezTo>
                    <a:pt x="21" y="35"/>
                    <a:pt x="28" y="25"/>
                    <a:pt x="40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5" y="0"/>
                    <a:pt x="0" y="15"/>
                    <a:pt x="0" y="3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24" name="Freeform 41"/>
            <p:cNvSpPr>
              <a:spLocks/>
            </p:cNvSpPr>
            <p:nvPr userDrawn="1"/>
          </p:nvSpPr>
          <p:spPr bwMode="auto">
            <a:xfrm>
              <a:off x="11530013" y="2112963"/>
              <a:ext cx="390525" cy="433387"/>
            </a:xfrm>
            <a:custGeom>
              <a:avLst/>
              <a:gdLst/>
              <a:ahLst/>
              <a:cxnLst>
                <a:cxn ang="0">
                  <a:pos x="0" y="77"/>
                </a:cxn>
                <a:cxn ang="0">
                  <a:pos x="166" y="138"/>
                </a:cxn>
                <a:cxn ang="0">
                  <a:pos x="0" y="199"/>
                </a:cxn>
                <a:cxn ang="0">
                  <a:pos x="0" y="273"/>
                </a:cxn>
                <a:cxn ang="0">
                  <a:pos x="246" y="174"/>
                </a:cxn>
                <a:cxn ang="0">
                  <a:pos x="246" y="99"/>
                </a:cxn>
                <a:cxn ang="0">
                  <a:pos x="0" y="0"/>
                </a:cxn>
                <a:cxn ang="0">
                  <a:pos x="0" y="77"/>
                </a:cxn>
                <a:cxn ang="0">
                  <a:pos x="0" y="77"/>
                </a:cxn>
              </a:cxnLst>
              <a:rect l="0" t="0" r="r" b="b"/>
              <a:pathLst>
                <a:path w="246" h="273">
                  <a:moveTo>
                    <a:pt x="0" y="77"/>
                  </a:moveTo>
                  <a:lnTo>
                    <a:pt x="166" y="138"/>
                  </a:lnTo>
                  <a:lnTo>
                    <a:pt x="0" y="199"/>
                  </a:lnTo>
                  <a:lnTo>
                    <a:pt x="0" y="273"/>
                  </a:lnTo>
                  <a:lnTo>
                    <a:pt x="246" y="174"/>
                  </a:lnTo>
                  <a:lnTo>
                    <a:pt x="246" y="99"/>
                  </a:lnTo>
                  <a:lnTo>
                    <a:pt x="0" y="0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25" name="Freeform 42"/>
            <p:cNvSpPr>
              <a:spLocks noEditPoints="1"/>
            </p:cNvSpPr>
            <p:nvPr userDrawn="1"/>
          </p:nvSpPr>
          <p:spPr bwMode="auto">
            <a:xfrm>
              <a:off x="11522076" y="3419475"/>
              <a:ext cx="403225" cy="407987"/>
            </a:xfrm>
            <a:custGeom>
              <a:avLst/>
              <a:gdLst/>
              <a:ahLst/>
              <a:cxnLst>
                <a:cxn ang="0">
                  <a:pos x="29" y="64"/>
                </a:cxn>
                <a:cxn ang="0">
                  <a:pos x="20" y="45"/>
                </a:cxn>
                <a:cxn ang="0">
                  <a:pos x="32" y="27"/>
                </a:cxn>
                <a:cxn ang="0">
                  <a:pos x="50" y="69"/>
                </a:cxn>
                <a:cxn ang="0">
                  <a:pos x="29" y="64"/>
                </a:cxn>
                <a:cxn ang="0">
                  <a:pos x="63" y="17"/>
                </a:cxn>
                <a:cxn ang="0">
                  <a:pos x="73" y="43"/>
                </a:cxn>
                <a:cxn ang="0">
                  <a:pos x="66" y="62"/>
                </a:cxn>
                <a:cxn ang="0">
                  <a:pos x="40" y="0"/>
                </a:cxn>
                <a:cxn ang="0">
                  <a:pos x="15" y="11"/>
                </a:cxn>
                <a:cxn ang="0">
                  <a:pos x="0" y="46"/>
                </a:cxn>
                <a:cxn ang="0">
                  <a:pos x="46" y="93"/>
                </a:cxn>
                <a:cxn ang="0">
                  <a:pos x="92" y="43"/>
                </a:cxn>
                <a:cxn ang="0">
                  <a:pos x="75" y="2"/>
                </a:cxn>
                <a:cxn ang="0">
                  <a:pos x="63" y="17"/>
                </a:cxn>
              </a:cxnLst>
              <a:rect l="0" t="0" r="r" b="b"/>
              <a:pathLst>
                <a:path w="92" h="93">
                  <a:moveTo>
                    <a:pt x="29" y="64"/>
                  </a:moveTo>
                  <a:cubicBezTo>
                    <a:pt x="23" y="60"/>
                    <a:pt x="20" y="53"/>
                    <a:pt x="20" y="45"/>
                  </a:cubicBezTo>
                  <a:cubicBezTo>
                    <a:pt x="20" y="37"/>
                    <a:pt x="25" y="30"/>
                    <a:pt x="32" y="27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41" y="70"/>
                    <a:pt x="34" y="68"/>
                    <a:pt x="29" y="64"/>
                  </a:cubicBezTo>
                  <a:close/>
                  <a:moveTo>
                    <a:pt x="63" y="17"/>
                  </a:moveTo>
                  <a:cubicBezTo>
                    <a:pt x="71" y="28"/>
                    <a:pt x="73" y="34"/>
                    <a:pt x="73" y="43"/>
                  </a:cubicBezTo>
                  <a:cubicBezTo>
                    <a:pt x="73" y="51"/>
                    <a:pt x="70" y="58"/>
                    <a:pt x="66" y="62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0" y="2"/>
                    <a:pt x="22" y="5"/>
                    <a:pt x="15" y="11"/>
                  </a:cubicBezTo>
                  <a:cubicBezTo>
                    <a:pt x="6" y="19"/>
                    <a:pt x="0" y="31"/>
                    <a:pt x="0" y="46"/>
                  </a:cubicBezTo>
                  <a:cubicBezTo>
                    <a:pt x="0" y="73"/>
                    <a:pt x="20" y="93"/>
                    <a:pt x="46" y="93"/>
                  </a:cubicBezTo>
                  <a:cubicBezTo>
                    <a:pt x="73" y="93"/>
                    <a:pt x="92" y="73"/>
                    <a:pt x="92" y="43"/>
                  </a:cubicBezTo>
                  <a:cubicBezTo>
                    <a:pt x="92" y="27"/>
                    <a:pt x="84" y="10"/>
                    <a:pt x="75" y="2"/>
                  </a:cubicBezTo>
                  <a:cubicBezTo>
                    <a:pt x="63" y="17"/>
                    <a:pt x="63" y="17"/>
                    <a:pt x="63" y="1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26" name="Freeform 43"/>
            <p:cNvSpPr>
              <a:spLocks/>
            </p:cNvSpPr>
            <p:nvPr userDrawn="1"/>
          </p:nvSpPr>
          <p:spPr bwMode="auto">
            <a:xfrm>
              <a:off x="11412538" y="3836988"/>
              <a:ext cx="508000" cy="350837"/>
            </a:xfrm>
            <a:custGeom>
              <a:avLst/>
              <a:gdLst/>
              <a:ahLst/>
              <a:cxnLst>
                <a:cxn ang="0">
                  <a:pos x="257" y="0"/>
                </a:cxn>
                <a:cxn ang="0">
                  <a:pos x="257" y="152"/>
                </a:cxn>
                <a:cxn ang="0">
                  <a:pos x="0" y="152"/>
                </a:cxn>
                <a:cxn ang="0">
                  <a:pos x="0" y="221"/>
                </a:cxn>
                <a:cxn ang="0">
                  <a:pos x="320" y="221"/>
                </a:cxn>
                <a:cxn ang="0">
                  <a:pos x="320" y="0"/>
                </a:cxn>
                <a:cxn ang="0">
                  <a:pos x="257" y="0"/>
                </a:cxn>
                <a:cxn ang="0">
                  <a:pos x="257" y="0"/>
                </a:cxn>
              </a:cxnLst>
              <a:rect l="0" t="0" r="r" b="b"/>
              <a:pathLst>
                <a:path w="320" h="221">
                  <a:moveTo>
                    <a:pt x="257" y="0"/>
                  </a:moveTo>
                  <a:lnTo>
                    <a:pt x="257" y="152"/>
                  </a:lnTo>
                  <a:lnTo>
                    <a:pt x="0" y="152"/>
                  </a:lnTo>
                  <a:lnTo>
                    <a:pt x="0" y="221"/>
                  </a:lnTo>
                  <a:lnTo>
                    <a:pt x="320" y="221"/>
                  </a:lnTo>
                  <a:lnTo>
                    <a:pt x="320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27" name="Freeform 44"/>
            <p:cNvSpPr>
              <a:spLocks noEditPoints="1"/>
            </p:cNvSpPr>
            <p:nvPr userDrawn="1"/>
          </p:nvSpPr>
          <p:spPr bwMode="auto">
            <a:xfrm>
              <a:off x="11522076" y="1708150"/>
              <a:ext cx="403225" cy="422275"/>
            </a:xfrm>
            <a:custGeom>
              <a:avLst/>
              <a:gdLst/>
              <a:ahLst/>
              <a:cxnLst>
                <a:cxn ang="0">
                  <a:pos x="21" y="48"/>
                </a:cxn>
                <a:cxn ang="0">
                  <a:pos x="46" y="72"/>
                </a:cxn>
                <a:cxn ang="0">
                  <a:pos x="71" y="48"/>
                </a:cxn>
                <a:cxn ang="0">
                  <a:pos x="46" y="24"/>
                </a:cxn>
                <a:cxn ang="0">
                  <a:pos x="21" y="48"/>
                </a:cxn>
                <a:cxn ang="0">
                  <a:pos x="92" y="48"/>
                </a:cxn>
                <a:cxn ang="0">
                  <a:pos x="46" y="96"/>
                </a:cxn>
                <a:cxn ang="0">
                  <a:pos x="0" y="48"/>
                </a:cxn>
                <a:cxn ang="0">
                  <a:pos x="46" y="0"/>
                </a:cxn>
                <a:cxn ang="0">
                  <a:pos x="92" y="48"/>
                </a:cxn>
              </a:cxnLst>
              <a:rect l="0" t="0" r="r" b="b"/>
              <a:pathLst>
                <a:path w="92" h="96">
                  <a:moveTo>
                    <a:pt x="21" y="48"/>
                  </a:moveTo>
                  <a:cubicBezTo>
                    <a:pt x="21" y="62"/>
                    <a:pt x="32" y="72"/>
                    <a:pt x="46" y="72"/>
                  </a:cubicBezTo>
                  <a:cubicBezTo>
                    <a:pt x="60" y="72"/>
                    <a:pt x="71" y="61"/>
                    <a:pt x="71" y="48"/>
                  </a:cubicBezTo>
                  <a:cubicBezTo>
                    <a:pt x="71" y="34"/>
                    <a:pt x="61" y="24"/>
                    <a:pt x="46" y="24"/>
                  </a:cubicBezTo>
                  <a:cubicBezTo>
                    <a:pt x="32" y="24"/>
                    <a:pt x="21" y="35"/>
                    <a:pt x="21" y="48"/>
                  </a:cubicBezTo>
                  <a:moveTo>
                    <a:pt x="92" y="48"/>
                  </a:moveTo>
                  <a:cubicBezTo>
                    <a:pt x="92" y="75"/>
                    <a:pt x="72" y="96"/>
                    <a:pt x="46" y="96"/>
                  </a:cubicBezTo>
                  <a:cubicBezTo>
                    <a:pt x="21" y="96"/>
                    <a:pt x="0" y="75"/>
                    <a:pt x="0" y="48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2" y="0"/>
                    <a:pt x="92" y="21"/>
                    <a:pt x="92" y="4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28" name="Freeform 45"/>
            <p:cNvSpPr>
              <a:spLocks noEditPoints="1"/>
            </p:cNvSpPr>
            <p:nvPr userDrawn="1"/>
          </p:nvSpPr>
          <p:spPr bwMode="auto">
            <a:xfrm>
              <a:off x="11522076" y="2533650"/>
              <a:ext cx="403225" cy="415925"/>
            </a:xfrm>
            <a:custGeom>
              <a:avLst/>
              <a:gdLst/>
              <a:ahLst/>
              <a:cxnLst>
                <a:cxn ang="0">
                  <a:pos x="21" y="47"/>
                </a:cxn>
                <a:cxn ang="0">
                  <a:pos x="46" y="71"/>
                </a:cxn>
                <a:cxn ang="0">
                  <a:pos x="71" y="47"/>
                </a:cxn>
                <a:cxn ang="0">
                  <a:pos x="46" y="24"/>
                </a:cxn>
                <a:cxn ang="0">
                  <a:pos x="21" y="47"/>
                </a:cxn>
                <a:cxn ang="0">
                  <a:pos x="92" y="47"/>
                </a:cxn>
                <a:cxn ang="0">
                  <a:pos x="46" y="95"/>
                </a:cxn>
                <a:cxn ang="0">
                  <a:pos x="0" y="47"/>
                </a:cxn>
                <a:cxn ang="0">
                  <a:pos x="46" y="0"/>
                </a:cxn>
                <a:cxn ang="0">
                  <a:pos x="92" y="47"/>
                </a:cxn>
              </a:cxnLst>
              <a:rect l="0" t="0" r="r" b="b"/>
              <a:pathLst>
                <a:path w="92" h="95">
                  <a:moveTo>
                    <a:pt x="21" y="47"/>
                  </a:moveTo>
                  <a:cubicBezTo>
                    <a:pt x="21" y="61"/>
                    <a:pt x="32" y="71"/>
                    <a:pt x="46" y="71"/>
                  </a:cubicBezTo>
                  <a:cubicBezTo>
                    <a:pt x="60" y="71"/>
                    <a:pt x="71" y="60"/>
                    <a:pt x="71" y="47"/>
                  </a:cubicBezTo>
                  <a:cubicBezTo>
                    <a:pt x="71" y="33"/>
                    <a:pt x="61" y="24"/>
                    <a:pt x="46" y="24"/>
                  </a:cubicBezTo>
                  <a:cubicBezTo>
                    <a:pt x="32" y="24"/>
                    <a:pt x="21" y="34"/>
                    <a:pt x="21" y="47"/>
                  </a:cubicBezTo>
                  <a:moveTo>
                    <a:pt x="92" y="47"/>
                  </a:moveTo>
                  <a:cubicBezTo>
                    <a:pt x="92" y="74"/>
                    <a:pt x="72" y="95"/>
                    <a:pt x="46" y="95"/>
                  </a:cubicBezTo>
                  <a:cubicBezTo>
                    <a:pt x="21" y="95"/>
                    <a:pt x="0" y="74"/>
                    <a:pt x="0" y="47"/>
                  </a:cubicBezTo>
                  <a:cubicBezTo>
                    <a:pt x="0" y="20"/>
                    <a:pt x="20" y="0"/>
                    <a:pt x="46" y="0"/>
                  </a:cubicBezTo>
                  <a:cubicBezTo>
                    <a:pt x="72" y="0"/>
                    <a:pt x="92" y="21"/>
                    <a:pt x="92" y="47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29" name="Freeform 46"/>
            <p:cNvSpPr>
              <a:spLocks noEditPoints="1"/>
            </p:cNvSpPr>
            <p:nvPr userDrawn="1"/>
          </p:nvSpPr>
          <p:spPr bwMode="auto">
            <a:xfrm>
              <a:off x="11863388" y="1598613"/>
              <a:ext cx="57150" cy="114300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0" y="28"/>
                </a:cxn>
                <a:cxn ang="0">
                  <a:pos x="17" y="17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6"/>
                </a:cxn>
                <a:cxn ang="0">
                  <a:pos x="8" y="6"/>
                </a:cxn>
                <a:cxn ang="0">
                  <a:pos x="28" y="17"/>
                </a:cxn>
                <a:cxn ang="0">
                  <a:pos x="28" y="20"/>
                </a:cxn>
                <a:cxn ang="0">
                  <a:pos x="8" y="31"/>
                </a:cxn>
                <a:cxn ang="0">
                  <a:pos x="36" y="31"/>
                </a:cxn>
                <a:cxn ang="0">
                  <a:pos x="36" y="36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6" y="61"/>
                </a:cxn>
                <a:cxn ang="0">
                  <a:pos x="6" y="72"/>
                </a:cxn>
                <a:cxn ang="0">
                  <a:pos x="0" y="72"/>
                </a:cxn>
                <a:cxn ang="0">
                  <a:pos x="0" y="44"/>
                </a:cxn>
                <a:cxn ang="0">
                  <a:pos x="6" y="44"/>
                </a:cxn>
                <a:cxn ang="0">
                  <a:pos x="6" y="55"/>
                </a:cxn>
                <a:cxn ang="0">
                  <a:pos x="36" y="55"/>
                </a:cxn>
                <a:cxn ang="0">
                  <a:pos x="36" y="61"/>
                </a:cxn>
                <a:cxn ang="0">
                  <a:pos x="6" y="61"/>
                </a:cxn>
                <a:cxn ang="0">
                  <a:pos x="6" y="61"/>
                </a:cxn>
              </a:cxnLst>
              <a:rect l="0" t="0" r="r" b="b"/>
              <a:pathLst>
                <a:path w="36" h="72">
                  <a:moveTo>
                    <a:pt x="0" y="36"/>
                  </a:moveTo>
                  <a:lnTo>
                    <a:pt x="0" y="28"/>
                  </a:lnTo>
                  <a:lnTo>
                    <a:pt x="17" y="17"/>
                  </a:lnTo>
                  <a:lnTo>
                    <a:pt x="0" y="8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8" y="6"/>
                  </a:lnTo>
                  <a:lnTo>
                    <a:pt x="28" y="17"/>
                  </a:lnTo>
                  <a:lnTo>
                    <a:pt x="28" y="20"/>
                  </a:lnTo>
                  <a:lnTo>
                    <a:pt x="8" y="31"/>
                  </a:lnTo>
                  <a:lnTo>
                    <a:pt x="36" y="31"/>
                  </a:lnTo>
                  <a:lnTo>
                    <a:pt x="36" y="36"/>
                  </a:lnTo>
                  <a:lnTo>
                    <a:pt x="0" y="36"/>
                  </a:lnTo>
                  <a:lnTo>
                    <a:pt x="0" y="36"/>
                  </a:lnTo>
                  <a:close/>
                  <a:moveTo>
                    <a:pt x="6" y="61"/>
                  </a:moveTo>
                  <a:lnTo>
                    <a:pt x="6" y="72"/>
                  </a:lnTo>
                  <a:lnTo>
                    <a:pt x="0" y="72"/>
                  </a:lnTo>
                  <a:lnTo>
                    <a:pt x="0" y="44"/>
                  </a:lnTo>
                  <a:lnTo>
                    <a:pt x="6" y="44"/>
                  </a:lnTo>
                  <a:lnTo>
                    <a:pt x="6" y="55"/>
                  </a:lnTo>
                  <a:lnTo>
                    <a:pt x="36" y="55"/>
                  </a:lnTo>
                  <a:lnTo>
                    <a:pt x="36" y="61"/>
                  </a:lnTo>
                  <a:lnTo>
                    <a:pt x="6" y="61"/>
                  </a:lnTo>
                  <a:lnTo>
                    <a:pt x="6" y="6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10154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98083" y="1756607"/>
            <a:ext cx="5730441" cy="145414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933" spc="267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-HEADER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285466" y="2470935"/>
            <a:ext cx="7962864" cy="1919816"/>
          </a:xfrm>
          <a:prstGeom prst="rect">
            <a:avLst/>
          </a:prstGeom>
        </p:spPr>
        <p:txBody>
          <a:bodyPr vert="horz"/>
          <a:lstStyle>
            <a:lvl1pPr>
              <a:defRPr lang="en-US" sz="4532" b="1" kern="1200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933" kern="1200" spc="267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1218866" rtl="0" eaLnBrk="1" latinLnBrk="0" hangingPunct="1">
              <a:lnSpc>
                <a:spcPct val="90000"/>
              </a:lnSpc>
              <a:spcBef>
                <a:spcPts val="1333"/>
              </a:spcBef>
              <a:buFont typeface="Arial"/>
              <a:buNone/>
            </a:pPr>
            <a:r>
              <a:rPr lang="en-US"/>
              <a:t>Click to edit Master text styles</a:t>
            </a:r>
          </a:p>
        </p:txBody>
      </p:sp>
      <p:pic>
        <p:nvPicPr>
          <p:cNvPr id="2" name="Picture 1" descr="Break Page Background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2" b="-1"/>
          <a:stretch/>
        </p:blipFill>
        <p:spPr>
          <a:xfrm>
            <a:off x="2" y="1"/>
            <a:ext cx="12294913" cy="6993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494385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 - No Backgroun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548640" y="469301"/>
            <a:ext cx="11091545" cy="5538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algn="l">
              <a:defRPr lang="en-US" sz="3599" b="1">
                <a:solidFill>
                  <a:schemeClr val="bg1"/>
                </a:solidFill>
                <a:ea typeface="+mn-ea"/>
              </a:defRPr>
            </a:lvl1pPr>
          </a:lstStyle>
          <a:p>
            <a:pPr marL="0" lvl="0" algn="l"/>
            <a:r>
              <a:rPr lang="en-US"/>
              <a:t>Click to edit Master title style</a:t>
            </a:r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11754609" y="5062587"/>
            <a:ext cx="443742" cy="1332620"/>
            <a:chOff x="11183938" y="1441450"/>
            <a:chExt cx="1008063" cy="3027362"/>
          </a:xfrm>
        </p:grpSpPr>
        <p:sp>
          <p:nvSpPr>
            <p:cNvPr id="40" name="Rectangle 38"/>
            <p:cNvSpPr>
              <a:spLocks noChangeArrowheads="1"/>
            </p:cNvSpPr>
            <p:nvPr userDrawn="1"/>
          </p:nvSpPr>
          <p:spPr bwMode="auto">
            <a:xfrm>
              <a:off x="11183938" y="1441450"/>
              <a:ext cx="1008063" cy="302736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11522076" y="2989263"/>
              <a:ext cx="398463" cy="395287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15" y="65"/>
                </a:cxn>
                <a:cxn ang="0">
                  <a:pos x="15" y="65"/>
                </a:cxn>
                <a:cxn ang="0">
                  <a:pos x="15" y="65"/>
                </a:cxn>
                <a:cxn ang="0">
                  <a:pos x="2" y="65"/>
                </a:cxn>
                <a:cxn ang="0">
                  <a:pos x="2" y="90"/>
                </a:cxn>
                <a:cxn ang="0">
                  <a:pos x="91" y="90"/>
                </a:cxn>
                <a:cxn ang="0">
                  <a:pos x="91" y="65"/>
                </a:cxn>
                <a:cxn ang="0">
                  <a:pos x="40" y="65"/>
                </a:cxn>
                <a:cxn ang="0">
                  <a:pos x="21" y="45"/>
                </a:cxn>
                <a:cxn ang="0">
                  <a:pos x="40" y="25"/>
                </a:cxn>
                <a:cxn ang="0">
                  <a:pos x="91" y="25"/>
                </a:cxn>
                <a:cxn ang="0">
                  <a:pos x="91" y="0"/>
                </a:cxn>
                <a:cxn ang="0">
                  <a:pos x="36" y="0"/>
                </a:cxn>
                <a:cxn ang="0">
                  <a:pos x="0" y="36"/>
                </a:cxn>
              </a:cxnLst>
              <a:rect l="0" t="0" r="r" b="b"/>
              <a:pathLst>
                <a:path w="91" h="90">
                  <a:moveTo>
                    <a:pt x="0" y="36"/>
                  </a:moveTo>
                  <a:cubicBezTo>
                    <a:pt x="0" y="47"/>
                    <a:pt x="5" y="58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31" y="65"/>
                    <a:pt x="21" y="58"/>
                    <a:pt x="21" y="45"/>
                  </a:cubicBezTo>
                  <a:cubicBezTo>
                    <a:pt x="21" y="35"/>
                    <a:pt x="28" y="25"/>
                    <a:pt x="40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5" y="0"/>
                    <a:pt x="0" y="15"/>
                    <a:pt x="0" y="3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11530013" y="2112963"/>
              <a:ext cx="390525" cy="433387"/>
            </a:xfrm>
            <a:custGeom>
              <a:avLst/>
              <a:gdLst/>
              <a:ahLst/>
              <a:cxnLst>
                <a:cxn ang="0">
                  <a:pos x="0" y="77"/>
                </a:cxn>
                <a:cxn ang="0">
                  <a:pos x="166" y="138"/>
                </a:cxn>
                <a:cxn ang="0">
                  <a:pos x="0" y="199"/>
                </a:cxn>
                <a:cxn ang="0">
                  <a:pos x="0" y="273"/>
                </a:cxn>
                <a:cxn ang="0">
                  <a:pos x="246" y="174"/>
                </a:cxn>
                <a:cxn ang="0">
                  <a:pos x="246" y="99"/>
                </a:cxn>
                <a:cxn ang="0">
                  <a:pos x="0" y="0"/>
                </a:cxn>
                <a:cxn ang="0">
                  <a:pos x="0" y="77"/>
                </a:cxn>
                <a:cxn ang="0">
                  <a:pos x="0" y="77"/>
                </a:cxn>
              </a:cxnLst>
              <a:rect l="0" t="0" r="r" b="b"/>
              <a:pathLst>
                <a:path w="246" h="273">
                  <a:moveTo>
                    <a:pt x="0" y="77"/>
                  </a:moveTo>
                  <a:lnTo>
                    <a:pt x="166" y="138"/>
                  </a:lnTo>
                  <a:lnTo>
                    <a:pt x="0" y="199"/>
                  </a:lnTo>
                  <a:lnTo>
                    <a:pt x="0" y="273"/>
                  </a:lnTo>
                  <a:lnTo>
                    <a:pt x="246" y="174"/>
                  </a:lnTo>
                  <a:lnTo>
                    <a:pt x="246" y="99"/>
                  </a:lnTo>
                  <a:lnTo>
                    <a:pt x="0" y="0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11522076" y="3419475"/>
              <a:ext cx="403225" cy="407987"/>
            </a:xfrm>
            <a:custGeom>
              <a:avLst/>
              <a:gdLst/>
              <a:ahLst/>
              <a:cxnLst>
                <a:cxn ang="0">
                  <a:pos x="29" y="64"/>
                </a:cxn>
                <a:cxn ang="0">
                  <a:pos x="20" y="45"/>
                </a:cxn>
                <a:cxn ang="0">
                  <a:pos x="32" y="27"/>
                </a:cxn>
                <a:cxn ang="0">
                  <a:pos x="50" y="69"/>
                </a:cxn>
                <a:cxn ang="0">
                  <a:pos x="29" y="64"/>
                </a:cxn>
                <a:cxn ang="0">
                  <a:pos x="63" y="17"/>
                </a:cxn>
                <a:cxn ang="0">
                  <a:pos x="73" y="43"/>
                </a:cxn>
                <a:cxn ang="0">
                  <a:pos x="66" y="62"/>
                </a:cxn>
                <a:cxn ang="0">
                  <a:pos x="40" y="0"/>
                </a:cxn>
                <a:cxn ang="0">
                  <a:pos x="15" y="11"/>
                </a:cxn>
                <a:cxn ang="0">
                  <a:pos x="0" y="46"/>
                </a:cxn>
                <a:cxn ang="0">
                  <a:pos x="46" y="93"/>
                </a:cxn>
                <a:cxn ang="0">
                  <a:pos x="92" y="43"/>
                </a:cxn>
                <a:cxn ang="0">
                  <a:pos x="75" y="2"/>
                </a:cxn>
                <a:cxn ang="0">
                  <a:pos x="63" y="17"/>
                </a:cxn>
              </a:cxnLst>
              <a:rect l="0" t="0" r="r" b="b"/>
              <a:pathLst>
                <a:path w="92" h="93">
                  <a:moveTo>
                    <a:pt x="29" y="64"/>
                  </a:moveTo>
                  <a:cubicBezTo>
                    <a:pt x="23" y="60"/>
                    <a:pt x="20" y="53"/>
                    <a:pt x="20" y="45"/>
                  </a:cubicBezTo>
                  <a:cubicBezTo>
                    <a:pt x="20" y="37"/>
                    <a:pt x="25" y="30"/>
                    <a:pt x="32" y="27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41" y="70"/>
                    <a:pt x="34" y="68"/>
                    <a:pt x="29" y="64"/>
                  </a:cubicBezTo>
                  <a:close/>
                  <a:moveTo>
                    <a:pt x="63" y="17"/>
                  </a:moveTo>
                  <a:cubicBezTo>
                    <a:pt x="71" y="28"/>
                    <a:pt x="73" y="34"/>
                    <a:pt x="73" y="43"/>
                  </a:cubicBezTo>
                  <a:cubicBezTo>
                    <a:pt x="73" y="51"/>
                    <a:pt x="70" y="58"/>
                    <a:pt x="66" y="62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0" y="2"/>
                    <a:pt x="22" y="5"/>
                    <a:pt x="15" y="11"/>
                  </a:cubicBezTo>
                  <a:cubicBezTo>
                    <a:pt x="6" y="19"/>
                    <a:pt x="0" y="31"/>
                    <a:pt x="0" y="46"/>
                  </a:cubicBezTo>
                  <a:cubicBezTo>
                    <a:pt x="0" y="73"/>
                    <a:pt x="20" y="93"/>
                    <a:pt x="46" y="93"/>
                  </a:cubicBezTo>
                  <a:cubicBezTo>
                    <a:pt x="73" y="93"/>
                    <a:pt x="92" y="73"/>
                    <a:pt x="92" y="43"/>
                  </a:cubicBezTo>
                  <a:cubicBezTo>
                    <a:pt x="92" y="27"/>
                    <a:pt x="84" y="10"/>
                    <a:pt x="75" y="2"/>
                  </a:cubicBezTo>
                  <a:cubicBezTo>
                    <a:pt x="63" y="17"/>
                    <a:pt x="63" y="17"/>
                    <a:pt x="63" y="1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11412538" y="3836988"/>
              <a:ext cx="508000" cy="350837"/>
            </a:xfrm>
            <a:custGeom>
              <a:avLst/>
              <a:gdLst/>
              <a:ahLst/>
              <a:cxnLst>
                <a:cxn ang="0">
                  <a:pos x="257" y="0"/>
                </a:cxn>
                <a:cxn ang="0">
                  <a:pos x="257" y="152"/>
                </a:cxn>
                <a:cxn ang="0">
                  <a:pos x="0" y="152"/>
                </a:cxn>
                <a:cxn ang="0">
                  <a:pos x="0" y="221"/>
                </a:cxn>
                <a:cxn ang="0">
                  <a:pos x="320" y="221"/>
                </a:cxn>
                <a:cxn ang="0">
                  <a:pos x="320" y="0"/>
                </a:cxn>
                <a:cxn ang="0">
                  <a:pos x="257" y="0"/>
                </a:cxn>
                <a:cxn ang="0">
                  <a:pos x="257" y="0"/>
                </a:cxn>
              </a:cxnLst>
              <a:rect l="0" t="0" r="r" b="b"/>
              <a:pathLst>
                <a:path w="320" h="221">
                  <a:moveTo>
                    <a:pt x="257" y="0"/>
                  </a:moveTo>
                  <a:lnTo>
                    <a:pt x="257" y="152"/>
                  </a:lnTo>
                  <a:lnTo>
                    <a:pt x="0" y="152"/>
                  </a:lnTo>
                  <a:lnTo>
                    <a:pt x="0" y="221"/>
                  </a:lnTo>
                  <a:lnTo>
                    <a:pt x="320" y="221"/>
                  </a:lnTo>
                  <a:lnTo>
                    <a:pt x="320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45" name="Freeform 44"/>
            <p:cNvSpPr>
              <a:spLocks noEditPoints="1"/>
            </p:cNvSpPr>
            <p:nvPr userDrawn="1"/>
          </p:nvSpPr>
          <p:spPr bwMode="auto">
            <a:xfrm>
              <a:off x="11522076" y="1708150"/>
              <a:ext cx="403225" cy="422275"/>
            </a:xfrm>
            <a:custGeom>
              <a:avLst/>
              <a:gdLst/>
              <a:ahLst/>
              <a:cxnLst>
                <a:cxn ang="0">
                  <a:pos x="21" y="48"/>
                </a:cxn>
                <a:cxn ang="0">
                  <a:pos x="46" y="72"/>
                </a:cxn>
                <a:cxn ang="0">
                  <a:pos x="71" y="48"/>
                </a:cxn>
                <a:cxn ang="0">
                  <a:pos x="46" y="24"/>
                </a:cxn>
                <a:cxn ang="0">
                  <a:pos x="21" y="48"/>
                </a:cxn>
                <a:cxn ang="0">
                  <a:pos x="92" y="48"/>
                </a:cxn>
                <a:cxn ang="0">
                  <a:pos x="46" y="96"/>
                </a:cxn>
                <a:cxn ang="0">
                  <a:pos x="0" y="48"/>
                </a:cxn>
                <a:cxn ang="0">
                  <a:pos x="46" y="0"/>
                </a:cxn>
                <a:cxn ang="0">
                  <a:pos x="92" y="48"/>
                </a:cxn>
              </a:cxnLst>
              <a:rect l="0" t="0" r="r" b="b"/>
              <a:pathLst>
                <a:path w="92" h="96">
                  <a:moveTo>
                    <a:pt x="21" y="48"/>
                  </a:moveTo>
                  <a:cubicBezTo>
                    <a:pt x="21" y="62"/>
                    <a:pt x="32" y="72"/>
                    <a:pt x="46" y="72"/>
                  </a:cubicBezTo>
                  <a:cubicBezTo>
                    <a:pt x="60" y="72"/>
                    <a:pt x="71" y="61"/>
                    <a:pt x="71" y="48"/>
                  </a:cubicBezTo>
                  <a:cubicBezTo>
                    <a:pt x="71" y="34"/>
                    <a:pt x="61" y="24"/>
                    <a:pt x="46" y="24"/>
                  </a:cubicBezTo>
                  <a:cubicBezTo>
                    <a:pt x="32" y="24"/>
                    <a:pt x="21" y="35"/>
                    <a:pt x="21" y="48"/>
                  </a:cubicBezTo>
                  <a:moveTo>
                    <a:pt x="92" y="48"/>
                  </a:moveTo>
                  <a:cubicBezTo>
                    <a:pt x="92" y="75"/>
                    <a:pt x="72" y="96"/>
                    <a:pt x="46" y="96"/>
                  </a:cubicBezTo>
                  <a:cubicBezTo>
                    <a:pt x="21" y="96"/>
                    <a:pt x="0" y="75"/>
                    <a:pt x="0" y="48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2" y="0"/>
                    <a:pt x="92" y="21"/>
                    <a:pt x="92" y="4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11522076" y="2533650"/>
              <a:ext cx="403225" cy="415925"/>
            </a:xfrm>
            <a:custGeom>
              <a:avLst/>
              <a:gdLst/>
              <a:ahLst/>
              <a:cxnLst>
                <a:cxn ang="0">
                  <a:pos x="21" y="47"/>
                </a:cxn>
                <a:cxn ang="0">
                  <a:pos x="46" y="71"/>
                </a:cxn>
                <a:cxn ang="0">
                  <a:pos x="71" y="47"/>
                </a:cxn>
                <a:cxn ang="0">
                  <a:pos x="46" y="24"/>
                </a:cxn>
                <a:cxn ang="0">
                  <a:pos x="21" y="47"/>
                </a:cxn>
                <a:cxn ang="0">
                  <a:pos x="92" y="47"/>
                </a:cxn>
                <a:cxn ang="0">
                  <a:pos x="46" y="95"/>
                </a:cxn>
                <a:cxn ang="0">
                  <a:pos x="0" y="47"/>
                </a:cxn>
                <a:cxn ang="0">
                  <a:pos x="46" y="0"/>
                </a:cxn>
                <a:cxn ang="0">
                  <a:pos x="92" y="47"/>
                </a:cxn>
              </a:cxnLst>
              <a:rect l="0" t="0" r="r" b="b"/>
              <a:pathLst>
                <a:path w="92" h="95">
                  <a:moveTo>
                    <a:pt x="21" y="47"/>
                  </a:moveTo>
                  <a:cubicBezTo>
                    <a:pt x="21" y="61"/>
                    <a:pt x="32" y="71"/>
                    <a:pt x="46" y="71"/>
                  </a:cubicBezTo>
                  <a:cubicBezTo>
                    <a:pt x="60" y="71"/>
                    <a:pt x="71" y="60"/>
                    <a:pt x="71" y="47"/>
                  </a:cubicBezTo>
                  <a:cubicBezTo>
                    <a:pt x="71" y="33"/>
                    <a:pt x="61" y="24"/>
                    <a:pt x="46" y="24"/>
                  </a:cubicBezTo>
                  <a:cubicBezTo>
                    <a:pt x="32" y="24"/>
                    <a:pt x="21" y="34"/>
                    <a:pt x="21" y="47"/>
                  </a:cubicBezTo>
                  <a:moveTo>
                    <a:pt x="92" y="47"/>
                  </a:moveTo>
                  <a:cubicBezTo>
                    <a:pt x="92" y="74"/>
                    <a:pt x="72" y="95"/>
                    <a:pt x="46" y="95"/>
                  </a:cubicBezTo>
                  <a:cubicBezTo>
                    <a:pt x="21" y="95"/>
                    <a:pt x="0" y="74"/>
                    <a:pt x="0" y="47"/>
                  </a:cubicBezTo>
                  <a:cubicBezTo>
                    <a:pt x="0" y="20"/>
                    <a:pt x="20" y="0"/>
                    <a:pt x="46" y="0"/>
                  </a:cubicBezTo>
                  <a:cubicBezTo>
                    <a:pt x="72" y="0"/>
                    <a:pt x="92" y="21"/>
                    <a:pt x="92" y="47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11863388" y="1598613"/>
              <a:ext cx="57150" cy="114300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0" y="28"/>
                </a:cxn>
                <a:cxn ang="0">
                  <a:pos x="17" y="17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36" y="0"/>
                </a:cxn>
                <a:cxn ang="0">
                  <a:pos x="36" y="6"/>
                </a:cxn>
                <a:cxn ang="0">
                  <a:pos x="8" y="6"/>
                </a:cxn>
                <a:cxn ang="0">
                  <a:pos x="28" y="17"/>
                </a:cxn>
                <a:cxn ang="0">
                  <a:pos x="28" y="20"/>
                </a:cxn>
                <a:cxn ang="0">
                  <a:pos x="8" y="31"/>
                </a:cxn>
                <a:cxn ang="0">
                  <a:pos x="36" y="31"/>
                </a:cxn>
                <a:cxn ang="0">
                  <a:pos x="36" y="36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6" y="61"/>
                </a:cxn>
                <a:cxn ang="0">
                  <a:pos x="6" y="72"/>
                </a:cxn>
                <a:cxn ang="0">
                  <a:pos x="0" y="72"/>
                </a:cxn>
                <a:cxn ang="0">
                  <a:pos x="0" y="44"/>
                </a:cxn>
                <a:cxn ang="0">
                  <a:pos x="6" y="44"/>
                </a:cxn>
                <a:cxn ang="0">
                  <a:pos x="6" y="55"/>
                </a:cxn>
                <a:cxn ang="0">
                  <a:pos x="36" y="55"/>
                </a:cxn>
                <a:cxn ang="0">
                  <a:pos x="36" y="61"/>
                </a:cxn>
                <a:cxn ang="0">
                  <a:pos x="6" y="61"/>
                </a:cxn>
                <a:cxn ang="0">
                  <a:pos x="6" y="61"/>
                </a:cxn>
              </a:cxnLst>
              <a:rect l="0" t="0" r="r" b="b"/>
              <a:pathLst>
                <a:path w="36" h="72">
                  <a:moveTo>
                    <a:pt x="0" y="36"/>
                  </a:moveTo>
                  <a:lnTo>
                    <a:pt x="0" y="28"/>
                  </a:lnTo>
                  <a:lnTo>
                    <a:pt x="17" y="17"/>
                  </a:lnTo>
                  <a:lnTo>
                    <a:pt x="0" y="8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8" y="6"/>
                  </a:lnTo>
                  <a:lnTo>
                    <a:pt x="28" y="17"/>
                  </a:lnTo>
                  <a:lnTo>
                    <a:pt x="28" y="20"/>
                  </a:lnTo>
                  <a:lnTo>
                    <a:pt x="8" y="31"/>
                  </a:lnTo>
                  <a:lnTo>
                    <a:pt x="36" y="31"/>
                  </a:lnTo>
                  <a:lnTo>
                    <a:pt x="36" y="36"/>
                  </a:lnTo>
                  <a:lnTo>
                    <a:pt x="0" y="36"/>
                  </a:lnTo>
                  <a:lnTo>
                    <a:pt x="0" y="36"/>
                  </a:lnTo>
                  <a:close/>
                  <a:moveTo>
                    <a:pt x="6" y="61"/>
                  </a:moveTo>
                  <a:lnTo>
                    <a:pt x="6" y="72"/>
                  </a:lnTo>
                  <a:lnTo>
                    <a:pt x="0" y="72"/>
                  </a:lnTo>
                  <a:lnTo>
                    <a:pt x="0" y="44"/>
                  </a:lnTo>
                  <a:lnTo>
                    <a:pt x="6" y="44"/>
                  </a:lnTo>
                  <a:lnTo>
                    <a:pt x="6" y="55"/>
                  </a:lnTo>
                  <a:lnTo>
                    <a:pt x="36" y="55"/>
                  </a:lnTo>
                  <a:lnTo>
                    <a:pt x="36" y="61"/>
                  </a:lnTo>
                  <a:lnTo>
                    <a:pt x="6" y="61"/>
                  </a:lnTo>
                  <a:lnTo>
                    <a:pt x="6" y="6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199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052249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/ Produc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2" y="0"/>
            <a:ext cx="6565392" cy="6858000"/>
          </a:xfrm>
          <a:prstGeom prst="rect">
            <a:avLst/>
          </a:prstGeom>
          <a:solidFill>
            <a:srgbClr val="E11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-1498" y="0"/>
            <a:ext cx="6566888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200400" cy="1640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285" y="1354674"/>
            <a:ext cx="4707555" cy="5036607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6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285" y="274319"/>
            <a:ext cx="4707555" cy="90525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27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619904000"/>
      </p:ext>
    </p:extLst>
  </p:cSld>
  <p:clrMapOvr>
    <a:masterClrMapping/>
  </p:clrMapOvr>
  <p:transition spd="med"/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w/ Produc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2" y="0"/>
            <a:ext cx="6565392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-1498" y="0"/>
            <a:ext cx="6566888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200400" cy="1640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285" y="1354674"/>
            <a:ext cx="4707555" cy="5036607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6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285" y="274319"/>
            <a:ext cx="4707555" cy="90525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27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976568516"/>
      </p:ext>
    </p:extLst>
  </p:cSld>
  <p:clrMapOvr>
    <a:masterClrMapping/>
  </p:clrMapOvr>
  <p:transition spd="med"/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w/ Produc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2" y="0"/>
            <a:ext cx="6565392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-1498" y="0"/>
            <a:ext cx="6566888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200400" cy="1640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285" y="1354674"/>
            <a:ext cx="4707555" cy="5036607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6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285" y="274319"/>
            <a:ext cx="4707555" cy="90525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27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741820356"/>
      </p:ext>
    </p:extLst>
  </p:cSld>
  <p:clrMapOvr>
    <a:masterClrMapping/>
  </p:clrMapOvr>
  <p:transition spd="med"/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/ Produc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2" y="0"/>
            <a:ext cx="6565392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-1498" y="0"/>
            <a:ext cx="6566888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68890"/>
            <a:ext cx="3200400" cy="1640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sz="1066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285" y="1354674"/>
            <a:ext cx="4707555" cy="5036607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6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285" y="274319"/>
            <a:ext cx="4707555" cy="905256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27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042516721"/>
      </p:ext>
    </p:extLst>
  </p:cSld>
  <p:clrMapOvr>
    <a:masterClrMapping/>
  </p:clrMapOvr>
  <p:transition spd="med"/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rgbClr val="333F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49074" y="-3179"/>
            <a:ext cx="12139750" cy="6858291"/>
          </a:xfrm>
          <a:custGeom>
            <a:avLst/>
            <a:gdLst>
              <a:gd name="connsiteX0" fmla="*/ 9863865 w 12139750"/>
              <a:gd name="connsiteY0" fmla="*/ 6730848 h 6858290"/>
              <a:gd name="connsiteX1" fmla="*/ 9906123 w 12139750"/>
              <a:gd name="connsiteY1" fmla="*/ 6760852 h 6858290"/>
              <a:gd name="connsiteX2" fmla="*/ 9879496 w 12139750"/>
              <a:gd name="connsiteY2" fmla="*/ 6819907 h 6858290"/>
              <a:gd name="connsiteX3" fmla="*/ 9782500 w 12139750"/>
              <a:gd name="connsiteY3" fmla="*/ 6858007 h 6858290"/>
              <a:gd name="connsiteX4" fmla="*/ 9531452 w 12139750"/>
              <a:gd name="connsiteY4" fmla="*/ 6858007 h 6858290"/>
              <a:gd name="connsiteX5" fmla="*/ 9845262 w 12139750"/>
              <a:gd name="connsiteY5" fmla="*/ 6734182 h 6858290"/>
              <a:gd name="connsiteX6" fmla="*/ 9863865 w 12139750"/>
              <a:gd name="connsiteY6" fmla="*/ 6730848 h 6858290"/>
              <a:gd name="connsiteX7" fmla="*/ 10445577 w 12139750"/>
              <a:gd name="connsiteY7" fmla="*/ 6718092 h 6858290"/>
              <a:gd name="connsiteX8" fmla="*/ 10487132 w 12139750"/>
              <a:gd name="connsiteY8" fmla="*/ 6746099 h 6858290"/>
              <a:gd name="connsiteX9" fmla="*/ 10462348 w 12139750"/>
              <a:gd name="connsiteY9" fmla="*/ 6804898 h 6858290"/>
              <a:gd name="connsiteX10" fmla="*/ 10328892 w 12139750"/>
              <a:gd name="connsiteY10" fmla="*/ 6858007 h 6858290"/>
              <a:gd name="connsiteX11" fmla="*/ 10088672 w 12139750"/>
              <a:gd name="connsiteY11" fmla="*/ 6858007 h 6858290"/>
              <a:gd name="connsiteX12" fmla="*/ 10428031 w 12139750"/>
              <a:gd name="connsiteY12" fmla="*/ 6721441 h 6858290"/>
              <a:gd name="connsiteX13" fmla="*/ 10445577 w 12139750"/>
              <a:gd name="connsiteY13" fmla="*/ 6718092 h 6858290"/>
              <a:gd name="connsiteX14" fmla="*/ 9285099 w 12139750"/>
              <a:gd name="connsiteY14" fmla="*/ 6718092 h 6858290"/>
              <a:gd name="connsiteX15" fmla="*/ 9326654 w 12139750"/>
              <a:gd name="connsiteY15" fmla="*/ 6746099 h 6858290"/>
              <a:gd name="connsiteX16" fmla="*/ 9301870 w 12139750"/>
              <a:gd name="connsiteY16" fmla="*/ 6804898 h 6858290"/>
              <a:gd name="connsiteX17" fmla="*/ 9168414 w 12139750"/>
              <a:gd name="connsiteY17" fmla="*/ 6858007 h 6858290"/>
              <a:gd name="connsiteX18" fmla="*/ 8928194 w 12139750"/>
              <a:gd name="connsiteY18" fmla="*/ 6858007 h 6858290"/>
              <a:gd name="connsiteX19" fmla="*/ 9267553 w 12139750"/>
              <a:gd name="connsiteY19" fmla="*/ 6721441 h 6858290"/>
              <a:gd name="connsiteX20" fmla="*/ 9285099 w 12139750"/>
              <a:gd name="connsiteY20" fmla="*/ 6718092 h 6858290"/>
              <a:gd name="connsiteX21" fmla="*/ 11021925 w 12139750"/>
              <a:gd name="connsiteY21" fmla="*/ 6702243 h 6858290"/>
              <a:gd name="connsiteX22" fmla="*/ 11063417 w 12139750"/>
              <a:gd name="connsiteY22" fmla="*/ 6730372 h 6858290"/>
              <a:gd name="connsiteX23" fmla="*/ 11038670 w 12139750"/>
              <a:gd name="connsiteY23" fmla="*/ 6789427 h 6858290"/>
              <a:gd name="connsiteX24" fmla="*/ 10873058 w 12139750"/>
              <a:gd name="connsiteY24" fmla="*/ 6858007 h 6858290"/>
              <a:gd name="connsiteX25" fmla="*/ 10652242 w 12139750"/>
              <a:gd name="connsiteY25" fmla="*/ 6858007 h 6858290"/>
              <a:gd name="connsiteX26" fmla="*/ 10665567 w 12139750"/>
              <a:gd name="connsiteY26" fmla="*/ 6850387 h 6858290"/>
              <a:gd name="connsiteX27" fmla="*/ 11004406 w 12139750"/>
              <a:gd name="connsiteY27" fmla="*/ 6705607 h 6858290"/>
              <a:gd name="connsiteX28" fmla="*/ 11021925 w 12139750"/>
              <a:gd name="connsiteY28" fmla="*/ 6702243 h 6858290"/>
              <a:gd name="connsiteX29" fmla="*/ 8712081 w 12139750"/>
              <a:gd name="connsiteY29" fmla="*/ 6702243 h 6858290"/>
              <a:gd name="connsiteX30" fmla="*/ 8753573 w 12139750"/>
              <a:gd name="connsiteY30" fmla="*/ 6730372 h 6858290"/>
              <a:gd name="connsiteX31" fmla="*/ 8730730 w 12139750"/>
              <a:gd name="connsiteY31" fmla="*/ 6789427 h 6858290"/>
              <a:gd name="connsiteX32" fmla="*/ 8565118 w 12139750"/>
              <a:gd name="connsiteY32" fmla="*/ 6858007 h 6858290"/>
              <a:gd name="connsiteX33" fmla="*/ 8342398 w 12139750"/>
              <a:gd name="connsiteY33" fmla="*/ 6858007 h 6858290"/>
              <a:gd name="connsiteX34" fmla="*/ 8355723 w 12139750"/>
              <a:gd name="connsiteY34" fmla="*/ 6850387 h 6858290"/>
              <a:gd name="connsiteX35" fmla="*/ 8694562 w 12139750"/>
              <a:gd name="connsiteY35" fmla="*/ 6705607 h 6858290"/>
              <a:gd name="connsiteX36" fmla="*/ 8712081 w 12139750"/>
              <a:gd name="connsiteY36" fmla="*/ 6702243 h 6858290"/>
              <a:gd name="connsiteX37" fmla="*/ 11608144 w 12139750"/>
              <a:gd name="connsiteY37" fmla="*/ 6692160 h 6858290"/>
              <a:gd name="connsiteX38" fmla="*/ 11631736 w 12139750"/>
              <a:gd name="connsiteY38" fmla="*/ 6715650 h 6858290"/>
              <a:gd name="connsiteX39" fmla="*/ 11608859 w 12139750"/>
              <a:gd name="connsiteY39" fmla="*/ 6772593 h 6858290"/>
              <a:gd name="connsiteX40" fmla="*/ 11412495 w 12139750"/>
              <a:gd name="connsiteY40" fmla="*/ 6858007 h 6858290"/>
              <a:gd name="connsiteX41" fmla="*/ 11214225 w 12139750"/>
              <a:gd name="connsiteY41" fmla="*/ 6858007 h 6858290"/>
              <a:gd name="connsiteX42" fmla="*/ 11235196 w 12139750"/>
              <a:gd name="connsiteY42" fmla="*/ 6840924 h 6858290"/>
              <a:gd name="connsiteX43" fmla="*/ 11574543 w 12139750"/>
              <a:gd name="connsiteY43" fmla="*/ 6692872 h 6858290"/>
              <a:gd name="connsiteX44" fmla="*/ 11608144 w 12139750"/>
              <a:gd name="connsiteY44" fmla="*/ 6692160 h 6858290"/>
              <a:gd name="connsiteX45" fmla="*/ 8162632 w 12139750"/>
              <a:gd name="connsiteY45" fmla="*/ 6692160 h 6858290"/>
              <a:gd name="connsiteX46" fmla="*/ 8186849 w 12139750"/>
              <a:gd name="connsiteY46" fmla="*/ 6715650 h 6858290"/>
              <a:gd name="connsiteX47" fmla="*/ 8164057 w 12139750"/>
              <a:gd name="connsiteY47" fmla="*/ 6772593 h 6858290"/>
              <a:gd name="connsiteX48" fmla="*/ 7966524 w 12139750"/>
              <a:gd name="connsiteY48" fmla="*/ 6858007 h 6858290"/>
              <a:gd name="connsiteX49" fmla="*/ 7770890 w 12139750"/>
              <a:gd name="connsiteY49" fmla="*/ 6858007 h 6858290"/>
              <a:gd name="connsiteX50" fmla="*/ 7789883 w 12139750"/>
              <a:gd name="connsiteY50" fmla="*/ 6840924 h 6858290"/>
              <a:gd name="connsiteX51" fmla="*/ 8129868 w 12139750"/>
              <a:gd name="connsiteY51" fmla="*/ 6692872 h 6858290"/>
              <a:gd name="connsiteX52" fmla="*/ 8162632 w 12139750"/>
              <a:gd name="connsiteY52" fmla="*/ 6692160 h 6858290"/>
              <a:gd name="connsiteX53" fmla="*/ 7602161 w 12139750"/>
              <a:gd name="connsiteY53" fmla="*/ 6677681 h 6858290"/>
              <a:gd name="connsiteX54" fmla="*/ 7626432 w 12139750"/>
              <a:gd name="connsiteY54" fmla="*/ 6699625 h 6858290"/>
              <a:gd name="connsiteX55" fmla="*/ 7605492 w 12139750"/>
              <a:gd name="connsiteY55" fmla="*/ 6756872 h 6858290"/>
              <a:gd name="connsiteX56" fmla="*/ 7378961 w 12139750"/>
              <a:gd name="connsiteY56" fmla="*/ 6858007 h 6858290"/>
              <a:gd name="connsiteX57" fmla="*/ 7205732 w 12139750"/>
              <a:gd name="connsiteY57" fmla="*/ 6858007 h 6858290"/>
              <a:gd name="connsiteX58" fmla="*/ 7230479 w 12139750"/>
              <a:gd name="connsiteY58" fmla="*/ 6831292 h 6858290"/>
              <a:gd name="connsiteX59" fmla="*/ 7569323 w 12139750"/>
              <a:gd name="connsiteY59" fmla="*/ 6678635 h 6858290"/>
              <a:gd name="connsiteX60" fmla="*/ 7602161 w 12139750"/>
              <a:gd name="connsiteY60" fmla="*/ 6677681 h 6858290"/>
              <a:gd name="connsiteX61" fmla="*/ 12139750 w 12139750"/>
              <a:gd name="connsiteY61" fmla="*/ 6677032 h 6858290"/>
              <a:gd name="connsiteX62" fmla="*/ 12139750 w 12139750"/>
              <a:gd name="connsiteY62" fmla="*/ 6770377 h 6858290"/>
              <a:gd name="connsiteX63" fmla="*/ 12139750 w 12139750"/>
              <a:gd name="connsiteY63" fmla="*/ 6858007 h 6858290"/>
              <a:gd name="connsiteX64" fmla="*/ 11945775 w 12139750"/>
              <a:gd name="connsiteY64" fmla="*/ 6858007 h 6858290"/>
              <a:gd name="connsiteX65" fmla="*/ 11774620 w 12139750"/>
              <a:gd name="connsiteY65" fmla="*/ 6858007 h 6858290"/>
              <a:gd name="connsiteX66" fmla="*/ 11797441 w 12139750"/>
              <a:gd name="connsiteY66" fmla="*/ 6831337 h 6858290"/>
              <a:gd name="connsiteX67" fmla="*/ 12137848 w 12139750"/>
              <a:gd name="connsiteY67" fmla="*/ 6678937 h 6858290"/>
              <a:gd name="connsiteX68" fmla="*/ 12139750 w 12139750"/>
              <a:gd name="connsiteY68" fmla="*/ 6677032 h 6858290"/>
              <a:gd name="connsiteX69" fmla="*/ 7049044 w 12139750"/>
              <a:gd name="connsiteY69" fmla="*/ 6663353 h 6858290"/>
              <a:gd name="connsiteX70" fmla="*/ 7072381 w 12139750"/>
              <a:gd name="connsiteY70" fmla="*/ 6685192 h 6858290"/>
              <a:gd name="connsiteX71" fmla="*/ 7051425 w 12139750"/>
              <a:gd name="connsiteY71" fmla="*/ 6742164 h 6858290"/>
              <a:gd name="connsiteX72" fmla="*/ 6798057 w 12139750"/>
              <a:gd name="connsiteY72" fmla="*/ 6858007 h 6858290"/>
              <a:gd name="connsiteX73" fmla="*/ 6653275 w 12139750"/>
              <a:gd name="connsiteY73" fmla="*/ 6858007 h 6858290"/>
              <a:gd name="connsiteX74" fmla="*/ 6678040 w 12139750"/>
              <a:gd name="connsiteY74" fmla="*/ 6821925 h 6858290"/>
              <a:gd name="connsiteX75" fmla="*/ 7017135 w 12139750"/>
              <a:gd name="connsiteY75" fmla="*/ 6664302 h 6858290"/>
              <a:gd name="connsiteX76" fmla="*/ 7049044 w 12139750"/>
              <a:gd name="connsiteY76" fmla="*/ 6663353 h 6858290"/>
              <a:gd name="connsiteX77" fmla="*/ 6502912 w 12139750"/>
              <a:gd name="connsiteY77" fmla="*/ 6648865 h 6858290"/>
              <a:gd name="connsiteX78" fmla="*/ 6526266 w 12139750"/>
              <a:gd name="connsiteY78" fmla="*/ 6669136 h 6858290"/>
              <a:gd name="connsiteX79" fmla="*/ 6507201 w 12139750"/>
              <a:gd name="connsiteY79" fmla="*/ 6724462 h 6858290"/>
              <a:gd name="connsiteX80" fmla="*/ 6226954 w 12139750"/>
              <a:gd name="connsiteY80" fmla="*/ 6858007 h 6858290"/>
              <a:gd name="connsiteX81" fmla="*/ 6108755 w 12139750"/>
              <a:gd name="connsiteY81" fmla="*/ 6858007 h 6858290"/>
              <a:gd name="connsiteX82" fmla="*/ 6108755 w 12139750"/>
              <a:gd name="connsiteY82" fmla="*/ 6850376 h 6858290"/>
              <a:gd name="connsiteX83" fmla="*/ 6131632 w 12139750"/>
              <a:gd name="connsiteY83" fmla="*/ 6812220 h 6858290"/>
              <a:gd name="connsiteX84" fmla="*/ 6470979 w 12139750"/>
              <a:gd name="connsiteY84" fmla="*/ 6650058 h 6858290"/>
              <a:gd name="connsiteX85" fmla="*/ 6502912 w 12139750"/>
              <a:gd name="connsiteY85" fmla="*/ 6648865 h 6858290"/>
              <a:gd name="connsiteX86" fmla="*/ 5955433 w 12139750"/>
              <a:gd name="connsiteY86" fmla="*/ 6635428 h 6858290"/>
              <a:gd name="connsiteX87" fmla="*/ 5978566 w 12139750"/>
              <a:gd name="connsiteY87" fmla="*/ 6656354 h 6858290"/>
              <a:gd name="connsiteX88" fmla="*/ 5961395 w 12139750"/>
              <a:gd name="connsiteY88" fmla="*/ 6709621 h 6858290"/>
              <a:gd name="connsiteX89" fmla="*/ 5656142 w 12139750"/>
              <a:gd name="connsiteY89" fmla="*/ 6858007 h 6858290"/>
              <a:gd name="connsiteX90" fmla="*/ 5568382 w 12139750"/>
              <a:gd name="connsiteY90" fmla="*/ 6858007 h 6858290"/>
              <a:gd name="connsiteX91" fmla="*/ 5566474 w 12139750"/>
              <a:gd name="connsiteY91" fmla="*/ 6858007 h 6858290"/>
              <a:gd name="connsiteX92" fmla="*/ 5562659 w 12139750"/>
              <a:gd name="connsiteY92" fmla="*/ 6838983 h 6858290"/>
              <a:gd name="connsiteX93" fmla="*/ 5585552 w 12139750"/>
              <a:gd name="connsiteY93" fmla="*/ 6802838 h 6858290"/>
              <a:gd name="connsiteX94" fmla="*/ 5925146 w 12139750"/>
              <a:gd name="connsiteY94" fmla="*/ 6637331 h 6858290"/>
              <a:gd name="connsiteX95" fmla="*/ 5955433 w 12139750"/>
              <a:gd name="connsiteY95" fmla="*/ 6635428 h 6858290"/>
              <a:gd name="connsiteX96" fmla="*/ 396081 w 12139750"/>
              <a:gd name="connsiteY96" fmla="*/ 6635428 h 6858290"/>
              <a:gd name="connsiteX97" fmla="*/ 419127 w 12139750"/>
              <a:gd name="connsiteY97" fmla="*/ 6656354 h 6858290"/>
              <a:gd name="connsiteX98" fmla="*/ 400120 w 12139750"/>
              <a:gd name="connsiteY98" fmla="*/ 6709621 h 6858290"/>
              <a:gd name="connsiteX99" fmla="*/ 97901 w 12139750"/>
              <a:gd name="connsiteY99" fmla="*/ 6858007 h 6858290"/>
              <a:gd name="connsiteX100" fmla="*/ 10466 w 12139750"/>
              <a:gd name="connsiteY100" fmla="*/ 6858007 h 6858290"/>
              <a:gd name="connsiteX101" fmla="*/ 8566 w 12139750"/>
              <a:gd name="connsiteY101" fmla="*/ 6858007 h 6858290"/>
              <a:gd name="connsiteX102" fmla="*/ 4764 w 12139750"/>
              <a:gd name="connsiteY102" fmla="*/ 6838983 h 6858290"/>
              <a:gd name="connsiteX103" fmla="*/ 27573 w 12139750"/>
              <a:gd name="connsiteY103" fmla="*/ 6802838 h 6858290"/>
              <a:gd name="connsiteX104" fmla="*/ 365906 w 12139750"/>
              <a:gd name="connsiteY104" fmla="*/ 6637331 h 6858290"/>
              <a:gd name="connsiteX105" fmla="*/ 396081 w 12139750"/>
              <a:gd name="connsiteY105" fmla="*/ 6635428 h 6858290"/>
              <a:gd name="connsiteX106" fmla="*/ 5405387 w 12139750"/>
              <a:gd name="connsiteY106" fmla="*/ 6619812 h 6858290"/>
              <a:gd name="connsiteX107" fmla="*/ 5427736 w 12139750"/>
              <a:gd name="connsiteY107" fmla="*/ 6640556 h 6858290"/>
              <a:gd name="connsiteX108" fmla="*/ 5410617 w 12139750"/>
              <a:gd name="connsiteY108" fmla="*/ 6693965 h 6858290"/>
              <a:gd name="connsiteX109" fmla="*/ 5083441 w 12139750"/>
              <a:gd name="connsiteY109" fmla="*/ 6858007 h 6858290"/>
              <a:gd name="connsiteX110" fmla="*/ 5028285 w 12139750"/>
              <a:gd name="connsiteY110" fmla="*/ 6858007 h 6858290"/>
              <a:gd name="connsiteX111" fmla="*/ 5020677 w 12139750"/>
              <a:gd name="connsiteY111" fmla="*/ 6846562 h 6858290"/>
              <a:gd name="connsiteX112" fmla="*/ 5014972 w 12139750"/>
              <a:gd name="connsiteY112" fmla="*/ 6829395 h 6858290"/>
              <a:gd name="connsiteX113" fmla="*/ 5037797 w 12139750"/>
              <a:gd name="connsiteY113" fmla="*/ 6793153 h 6858290"/>
              <a:gd name="connsiteX114" fmla="*/ 5374478 w 12139750"/>
              <a:gd name="connsiteY114" fmla="*/ 6623389 h 6858290"/>
              <a:gd name="connsiteX115" fmla="*/ 5405387 w 12139750"/>
              <a:gd name="connsiteY115" fmla="*/ 6619812 h 6858290"/>
              <a:gd name="connsiteX116" fmla="*/ 939733 w 12139750"/>
              <a:gd name="connsiteY116" fmla="*/ 6619812 h 6858290"/>
              <a:gd name="connsiteX117" fmla="*/ 963599 w 12139750"/>
              <a:gd name="connsiteY117" fmla="*/ 6640556 h 6858290"/>
              <a:gd name="connsiteX118" fmla="*/ 944506 w 12139750"/>
              <a:gd name="connsiteY118" fmla="*/ 6693965 h 6858290"/>
              <a:gd name="connsiteX119" fmla="*/ 618014 w 12139750"/>
              <a:gd name="connsiteY119" fmla="*/ 6858007 h 6858290"/>
              <a:gd name="connsiteX120" fmla="*/ 562644 w 12139750"/>
              <a:gd name="connsiteY120" fmla="*/ 6858007 h 6858290"/>
              <a:gd name="connsiteX121" fmla="*/ 553097 w 12139750"/>
              <a:gd name="connsiteY121" fmla="*/ 6846562 h 6858290"/>
              <a:gd name="connsiteX122" fmla="*/ 549279 w 12139750"/>
              <a:gd name="connsiteY122" fmla="*/ 6829395 h 6858290"/>
              <a:gd name="connsiteX123" fmla="*/ 570281 w 12139750"/>
              <a:gd name="connsiteY123" fmla="*/ 6793153 h 6858290"/>
              <a:gd name="connsiteX124" fmla="*/ 910138 w 12139750"/>
              <a:gd name="connsiteY124" fmla="*/ 6623389 h 6858290"/>
              <a:gd name="connsiteX125" fmla="*/ 939733 w 12139750"/>
              <a:gd name="connsiteY125" fmla="*/ 6619812 h 6858290"/>
              <a:gd name="connsiteX126" fmla="*/ 4850593 w 12139750"/>
              <a:gd name="connsiteY126" fmla="*/ 6606634 h 6858290"/>
              <a:gd name="connsiteX127" fmla="*/ 4873679 w 12139750"/>
              <a:gd name="connsiteY127" fmla="*/ 6625946 h 6858290"/>
              <a:gd name="connsiteX128" fmla="*/ 4856545 w 12139750"/>
              <a:gd name="connsiteY128" fmla="*/ 6677443 h 6858290"/>
              <a:gd name="connsiteX129" fmla="*/ 4519612 w 12139750"/>
              <a:gd name="connsiteY129" fmla="*/ 6852914 h 6858290"/>
              <a:gd name="connsiteX130" fmla="*/ 4466313 w 12139750"/>
              <a:gd name="connsiteY130" fmla="*/ 6837655 h 6858290"/>
              <a:gd name="connsiteX131" fmla="*/ 4462507 w 12139750"/>
              <a:gd name="connsiteY131" fmla="*/ 6818582 h 6858290"/>
              <a:gd name="connsiteX132" fmla="*/ 4483446 w 12139750"/>
              <a:gd name="connsiteY132" fmla="*/ 6784251 h 6858290"/>
              <a:gd name="connsiteX133" fmla="*/ 4820371 w 12139750"/>
              <a:gd name="connsiteY133" fmla="*/ 6608780 h 6858290"/>
              <a:gd name="connsiteX134" fmla="*/ 4850593 w 12139750"/>
              <a:gd name="connsiteY134" fmla="*/ 6606634 h 6858290"/>
              <a:gd name="connsiteX135" fmla="*/ 1485698 w 12139750"/>
              <a:gd name="connsiteY135" fmla="*/ 6606634 h 6858290"/>
              <a:gd name="connsiteX136" fmla="*/ 1507827 w 12139750"/>
              <a:gd name="connsiteY136" fmla="*/ 6625946 h 6858290"/>
              <a:gd name="connsiteX137" fmla="*/ 1492599 w 12139750"/>
              <a:gd name="connsiteY137" fmla="*/ 6677443 h 6858290"/>
              <a:gd name="connsiteX138" fmla="*/ 1153761 w 12139750"/>
              <a:gd name="connsiteY138" fmla="*/ 6852914 h 6858290"/>
              <a:gd name="connsiteX139" fmla="*/ 1102364 w 12139750"/>
              <a:gd name="connsiteY139" fmla="*/ 6837655 h 6858290"/>
              <a:gd name="connsiteX140" fmla="*/ 1098557 w 12139750"/>
              <a:gd name="connsiteY140" fmla="*/ 6818582 h 6858290"/>
              <a:gd name="connsiteX141" fmla="*/ 1119496 w 12139750"/>
              <a:gd name="connsiteY141" fmla="*/ 6784251 h 6858290"/>
              <a:gd name="connsiteX142" fmla="*/ 1456431 w 12139750"/>
              <a:gd name="connsiteY142" fmla="*/ 6608780 h 6858290"/>
              <a:gd name="connsiteX143" fmla="*/ 1485698 w 12139750"/>
              <a:gd name="connsiteY143" fmla="*/ 6606634 h 6858290"/>
              <a:gd name="connsiteX144" fmla="*/ 4291129 w 12139750"/>
              <a:gd name="connsiteY144" fmla="*/ 6592973 h 6858290"/>
              <a:gd name="connsiteX145" fmla="*/ 4313276 w 12139750"/>
              <a:gd name="connsiteY145" fmla="*/ 6611309 h 6858290"/>
              <a:gd name="connsiteX146" fmla="*/ 4298036 w 12139750"/>
              <a:gd name="connsiteY146" fmla="*/ 6662744 h 6858290"/>
              <a:gd name="connsiteX147" fmla="*/ 3960866 w 12139750"/>
              <a:gd name="connsiteY147" fmla="*/ 6841814 h 6858290"/>
              <a:gd name="connsiteX148" fmla="*/ 3909428 w 12139750"/>
              <a:gd name="connsiteY148" fmla="*/ 6826574 h 6858290"/>
              <a:gd name="connsiteX149" fmla="*/ 3903714 w 12139750"/>
              <a:gd name="connsiteY149" fmla="*/ 6809429 h 6858290"/>
              <a:gd name="connsiteX150" fmla="*/ 3924671 w 12139750"/>
              <a:gd name="connsiteY150" fmla="*/ 6775139 h 6858290"/>
              <a:gd name="connsiteX151" fmla="*/ 4261839 w 12139750"/>
              <a:gd name="connsiteY151" fmla="*/ 6596069 h 6858290"/>
              <a:gd name="connsiteX152" fmla="*/ 4291129 w 12139750"/>
              <a:gd name="connsiteY152" fmla="*/ 6592973 h 6858290"/>
              <a:gd name="connsiteX153" fmla="*/ 2037015 w 12139750"/>
              <a:gd name="connsiteY153" fmla="*/ 6592973 h 6858290"/>
              <a:gd name="connsiteX154" fmla="*/ 2060596 w 12139750"/>
              <a:gd name="connsiteY154" fmla="*/ 6611309 h 6858290"/>
              <a:gd name="connsiteX155" fmla="*/ 2043445 w 12139750"/>
              <a:gd name="connsiteY155" fmla="*/ 6662744 h 6858290"/>
              <a:gd name="connsiteX156" fmla="*/ 1706255 w 12139750"/>
              <a:gd name="connsiteY156" fmla="*/ 6841814 h 6858290"/>
              <a:gd name="connsiteX157" fmla="*/ 1654819 w 12139750"/>
              <a:gd name="connsiteY157" fmla="*/ 6826574 h 6858290"/>
              <a:gd name="connsiteX158" fmla="*/ 1651009 w 12139750"/>
              <a:gd name="connsiteY158" fmla="*/ 6809429 h 6858290"/>
              <a:gd name="connsiteX159" fmla="*/ 1670059 w 12139750"/>
              <a:gd name="connsiteY159" fmla="*/ 6775139 h 6858290"/>
              <a:gd name="connsiteX160" fmla="*/ 2009154 w 12139750"/>
              <a:gd name="connsiteY160" fmla="*/ 6596069 h 6858290"/>
              <a:gd name="connsiteX161" fmla="*/ 2037015 w 12139750"/>
              <a:gd name="connsiteY161" fmla="*/ 6592973 h 6858290"/>
              <a:gd name="connsiteX162" fmla="*/ 3727788 w 12139750"/>
              <a:gd name="connsiteY162" fmla="*/ 6578033 h 6858290"/>
              <a:gd name="connsiteX163" fmla="*/ 3749713 w 12139750"/>
              <a:gd name="connsiteY163" fmla="*/ 6595376 h 6858290"/>
              <a:gd name="connsiteX164" fmla="*/ 3734461 w 12139750"/>
              <a:gd name="connsiteY164" fmla="*/ 6646690 h 6858290"/>
              <a:gd name="connsiteX165" fmla="*/ 3397031 w 12139750"/>
              <a:gd name="connsiteY165" fmla="*/ 6831042 h 6858290"/>
              <a:gd name="connsiteX166" fmla="*/ 3347460 w 12139750"/>
              <a:gd name="connsiteY166" fmla="*/ 6815837 h 6858290"/>
              <a:gd name="connsiteX167" fmla="*/ 3341740 w 12139750"/>
              <a:gd name="connsiteY167" fmla="*/ 6798733 h 6858290"/>
              <a:gd name="connsiteX168" fmla="*/ 3362712 w 12139750"/>
              <a:gd name="connsiteY168" fmla="*/ 6764523 h 6858290"/>
              <a:gd name="connsiteX169" fmla="*/ 3700145 w 12139750"/>
              <a:gd name="connsiteY169" fmla="*/ 6582072 h 6858290"/>
              <a:gd name="connsiteX170" fmla="*/ 3727788 w 12139750"/>
              <a:gd name="connsiteY170" fmla="*/ 6578033 h 6858290"/>
              <a:gd name="connsiteX171" fmla="*/ 2592701 w 12139750"/>
              <a:gd name="connsiteY171" fmla="*/ 6578033 h 6858290"/>
              <a:gd name="connsiteX172" fmla="*/ 2614625 w 12139750"/>
              <a:gd name="connsiteY172" fmla="*/ 6595376 h 6858290"/>
              <a:gd name="connsiteX173" fmla="*/ 2599374 w 12139750"/>
              <a:gd name="connsiteY173" fmla="*/ 6646690 h 6858290"/>
              <a:gd name="connsiteX174" fmla="*/ 2261929 w 12139750"/>
              <a:gd name="connsiteY174" fmla="*/ 6831042 h 6858290"/>
              <a:gd name="connsiteX175" fmla="*/ 2212361 w 12139750"/>
              <a:gd name="connsiteY175" fmla="*/ 6815837 h 6858290"/>
              <a:gd name="connsiteX176" fmla="*/ 2206641 w 12139750"/>
              <a:gd name="connsiteY176" fmla="*/ 6798733 h 6858290"/>
              <a:gd name="connsiteX177" fmla="*/ 2225706 w 12139750"/>
              <a:gd name="connsiteY177" fmla="*/ 6764523 h 6858290"/>
              <a:gd name="connsiteX178" fmla="*/ 2565057 w 12139750"/>
              <a:gd name="connsiteY178" fmla="*/ 6582072 h 6858290"/>
              <a:gd name="connsiteX179" fmla="*/ 2592701 w 12139750"/>
              <a:gd name="connsiteY179" fmla="*/ 6578033 h 6858290"/>
              <a:gd name="connsiteX180" fmla="*/ 3153212 w 12139750"/>
              <a:gd name="connsiteY180" fmla="*/ 6564138 h 6858290"/>
              <a:gd name="connsiteX181" fmla="*/ 3175071 w 12139750"/>
              <a:gd name="connsiteY181" fmla="*/ 6580749 h 6858290"/>
              <a:gd name="connsiteX182" fmla="*/ 3161765 w 12139750"/>
              <a:gd name="connsiteY182" fmla="*/ 6630106 h 6858290"/>
              <a:gd name="connsiteX183" fmla="*/ 2825349 w 12139750"/>
              <a:gd name="connsiteY183" fmla="*/ 6819941 h 6858290"/>
              <a:gd name="connsiteX184" fmla="*/ 2775933 w 12139750"/>
              <a:gd name="connsiteY184" fmla="*/ 6804754 h 6858290"/>
              <a:gd name="connsiteX185" fmla="*/ 2770229 w 12139750"/>
              <a:gd name="connsiteY185" fmla="*/ 6787669 h 6858290"/>
              <a:gd name="connsiteX186" fmla="*/ 2789238 w 12139750"/>
              <a:gd name="connsiteY186" fmla="*/ 6757295 h 6858290"/>
              <a:gd name="connsiteX187" fmla="*/ 3125653 w 12139750"/>
              <a:gd name="connsiteY187" fmla="*/ 6567460 h 6858290"/>
              <a:gd name="connsiteX188" fmla="*/ 3153212 w 12139750"/>
              <a:gd name="connsiteY188" fmla="*/ 6564138 h 6858290"/>
              <a:gd name="connsiteX189" fmla="*/ 9862101 w 12139750"/>
              <a:gd name="connsiteY189" fmla="*/ 6403755 h 6858290"/>
              <a:gd name="connsiteX190" fmla="*/ 9902911 w 12139750"/>
              <a:gd name="connsiteY190" fmla="*/ 6429975 h 6858290"/>
              <a:gd name="connsiteX191" fmla="*/ 9880000 w 12139750"/>
              <a:gd name="connsiteY191" fmla="*/ 6487052 h 6858290"/>
              <a:gd name="connsiteX192" fmla="*/ 9540159 w 12139750"/>
              <a:gd name="connsiteY192" fmla="*/ 6637356 h 6858290"/>
              <a:gd name="connsiteX193" fmla="*/ 9482882 w 12139750"/>
              <a:gd name="connsiteY193" fmla="*/ 6614525 h 6858290"/>
              <a:gd name="connsiteX194" fmla="*/ 9479064 w 12139750"/>
              <a:gd name="connsiteY194" fmla="*/ 6597402 h 6858290"/>
              <a:gd name="connsiteX195" fmla="*/ 9505793 w 12139750"/>
              <a:gd name="connsiteY195" fmla="*/ 6557447 h 6858290"/>
              <a:gd name="connsiteX196" fmla="*/ 9845634 w 12139750"/>
              <a:gd name="connsiteY196" fmla="*/ 6407144 h 6858290"/>
              <a:gd name="connsiteX197" fmla="*/ 9862101 w 12139750"/>
              <a:gd name="connsiteY197" fmla="*/ 6403755 h 6858290"/>
              <a:gd name="connsiteX198" fmla="*/ 10444610 w 12139750"/>
              <a:gd name="connsiteY198" fmla="*/ 6390314 h 6858290"/>
              <a:gd name="connsiteX199" fmla="*/ 10483665 w 12139750"/>
              <a:gd name="connsiteY199" fmla="*/ 6415894 h 6858290"/>
              <a:gd name="connsiteX200" fmla="*/ 10462740 w 12139750"/>
              <a:gd name="connsiteY200" fmla="*/ 6473334 h 6858290"/>
              <a:gd name="connsiteX201" fmla="*/ 10124143 w 12139750"/>
              <a:gd name="connsiteY201" fmla="*/ 6624595 h 6858290"/>
              <a:gd name="connsiteX202" fmla="*/ 10067076 w 12139750"/>
              <a:gd name="connsiteY202" fmla="*/ 6603534 h 6858290"/>
              <a:gd name="connsiteX203" fmla="*/ 10063272 w 12139750"/>
              <a:gd name="connsiteY203" fmla="*/ 6586301 h 6858290"/>
              <a:gd name="connsiteX204" fmla="*/ 10088001 w 12139750"/>
              <a:gd name="connsiteY204" fmla="*/ 6546093 h 6858290"/>
              <a:gd name="connsiteX205" fmla="*/ 10428500 w 12139750"/>
              <a:gd name="connsiteY205" fmla="*/ 6394832 h 6858290"/>
              <a:gd name="connsiteX206" fmla="*/ 10444610 w 12139750"/>
              <a:gd name="connsiteY206" fmla="*/ 6390314 h 6858290"/>
              <a:gd name="connsiteX207" fmla="*/ 9283606 w 12139750"/>
              <a:gd name="connsiteY207" fmla="*/ 6390314 h 6858290"/>
              <a:gd name="connsiteX208" fmla="*/ 9323493 w 12139750"/>
              <a:gd name="connsiteY208" fmla="*/ 6415894 h 6858290"/>
              <a:gd name="connsiteX209" fmla="*/ 9302553 w 12139750"/>
              <a:gd name="connsiteY209" fmla="*/ 6473334 h 6858290"/>
              <a:gd name="connsiteX210" fmla="*/ 8961805 w 12139750"/>
              <a:gd name="connsiteY210" fmla="*/ 6624595 h 6858290"/>
              <a:gd name="connsiteX211" fmla="*/ 8906600 w 12139750"/>
              <a:gd name="connsiteY211" fmla="*/ 6603534 h 6858290"/>
              <a:gd name="connsiteX212" fmla="*/ 8902793 w 12139750"/>
              <a:gd name="connsiteY212" fmla="*/ 6586301 h 6858290"/>
              <a:gd name="connsiteX213" fmla="*/ 8927540 w 12139750"/>
              <a:gd name="connsiteY213" fmla="*/ 6546093 h 6858290"/>
              <a:gd name="connsiteX214" fmla="*/ 9266384 w 12139750"/>
              <a:gd name="connsiteY214" fmla="*/ 6394832 h 6858290"/>
              <a:gd name="connsiteX215" fmla="*/ 9283606 w 12139750"/>
              <a:gd name="connsiteY215" fmla="*/ 6390314 h 6858290"/>
              <a:gd name="connsiteX216" fmla="*/ 11020686 w 12139750"/>
              <a:gd name="connsiteY216" fmla="*/ 6377294 h 6858290"/>
              <a:gd name="connsiteX217" fmla="*/ 11061795 w 12139750"/>
              <a:gd name="connsiteY217" fmla="*/ 6402947 h 6858290"/>
              <a:gd name="connsiteX218" fmla="*/ 11038867 w 12139750"/>
              <a:gd name="connsiteY218" fmla="*/ 6458052 h 6858290"/>
              <a:gd name="connsiteX219" fmla="*/ 10698772 w 12139750"/>
              <a:gd name="connsiteY219" fmla="*/ 6611968 h 6858290"/>
              <a:gd name="connsiteX220" fmla="*/ 10643363 w 12139750"/>
              <a:gd name="connsiteY220" fmla="*/ 6591066 h 6858290"/>
              <a:gd name="connsiteX221" fmla="*/ 10639542 w 12139750"/>
              <a:gd name="connsiteY221" fmla="*/ 6573964 h 6858290"/>
              <a:gd name="connsiteX222" fmla="*/ 10664380 w 12139750"/>
              <a:gd name="connsiteY222" fmla="*/ 6534060 h 6858290"/>
              <a:gd name="connsiteX223" fmla="*/ 11004475 w 12139750"/>
              <a:gd name="connsiteY223" fmla="*/ 6382045 h 6858290"/>
              <a:gd name="connsiteX224" fmla="*/ 11020686 w 12139750"/>
              <a:gd name="connsiteY224" fmla="*/ 6377294 h 6858290"/>
              <a:gd name="connsiteX225" fmla="*/ 8711111 w 12139750"/>
              <a:gd name="connsiteY225" fmla="*/ 6377294 h 6858290"/>
              <a:gd name="connsiteX226" fmla="*/ 8751951 w 12139750"/>
              <a:gd name="connsiteY226" fmla="*/ 6402947 h 6858290"/>
              <a:gd name="connsiteX227" fmla="*/ 8730934 w 12139750"/>
              <a:gd name="connsiteY227" fmla="*/ 6458052 h 6858290"/>
              <a:gd name="connsiteX228" fmla="*/ 8388928 w 12139750"/>
              <a:gd name="connsiteY228" fmla="*/ 6611968 h 6858290"/>
              <a:gd name="connsiteX229" fmla="*/ 8333519 w 12139750"/>
              <a:gd name="connsiteY229" fmla="*/ 6591066 h 6858290"/>
              <a:gd name="connsiteX230" fmla="*/ 8329698 w 12139750"/>
              <a:gd name="connsiteY230" fmla="*/ 6573964 h 6858290"/>
              <a:gd name="connsiteX231" fmla="*/ 8354536 w 12139750"/>
              <a:gd name="connsiteY231" fmla="*/ 6534060 h 6858290"/>
              <a:gd name="connsiteX232" fmla="*/ 8694631 w 12139750"/>
              <a:gd name="connsiteY232" fmla="*/ 6382045 h 6858290"/>
              <a:gd name="connsiteX233" fmla="*/ 8711111 w 12139750"/>
              <a:gd name="connsiteY233" fmla="*/ 6377294 h 6858290"/>
              <a:gd name="connsiteX234" fmla="*/ 8145353 w 12139750"/>
              <a:gd name="connsiteY234" fmla="*/ 6364557 h 6858290"/>
              <a:gd name="connsiteX235" fmla="*/ 8185240 w 12139750"/>
              <a:gd name="connsiteY235" fmla="*/ 6388309 h 6858290"/>
              <a:gd name="connsiteX236" fmla="*/ 8164300 w 12139750"/>
              <a:gd name="connsiteY236" fmla="*/ 6445244 h 6858290"/>
              <a:gd name="connsiteX237" fmla="*/ 7825456 w 12139750"/>
              <a:gd name="connsiteY237" fmla="*/ 6600868 h 6858290"/>
              <a:gd name="connsiteX238" fmla="*/ 7768347 w 12139750"/>
              <a:gd name="connsiteY238" fmla="*/ 6579991 h 6858290"/>
              <a:gd name="connsiteX239" fmla="*/ 7764540 w 12139750"/>
              <a:gd name="connsiteY239" fmla="*/ 6562911 h 6858290"/>
              <a:gd name="connsiteX240" fmla="*/ 7789287 w 12139750"/>
              <a:gd name="connsiteY240" fmla="*/ 6523056 h 6858290"/>
              <a:gd name="connsiteX241" fmla="*/ 8128131 w 12139750"/>
              <a:gd name="connsiteY241" fmla="*/ 6369331 h 6858290"/>
              <a:gd name="connsiteX242" fmla="*/ 8145353 w 12139750"/>
              <a:gd name="connsiteY242" fmla="*/ 6364557 h 6858290"/>
              <a:gd name="connsiteX243" fmla="*/ 11589455 w 12139750"/>
              <a:gd name="connsiteY243" fmla="*/ 6364556 h 6858290"/>
              <a:gd name="connsiteX244" fmla="*/ 11628568 w 12139750"/>
              <a:gd name="connsiteY244" fmla="*/ 6388309 h 6858290"/>
              <a:gd name="connsiteX245" fmla="*/ 11607613 w 12139750"/>
              <a:gd name="connsiteY245" fmla="*/ 6445244 h 6858290"/>
              <a:gd name="connsiteX246" fmla="*/ 11268518 w 12139750"/>
              <a:gd name="connsiteY246" fmla="*/ 6600868 h 6858290"/>
              <a:gd name="connsiteX247" fmla="*/ 11213272 w 12139750"/>
              <a:gd name="connsiteY247" fmla="*/ 6579991 h 6858290"/>
              <a:gd name="connsiteX248" fmla="*/ 11209462 w 12139750"/>
              <a:gd name="connsiteY248" fmla="*/ 6562911 h 6858290"/>
              <a:gd name="connsiteX249" fmla="*/ 11234227 w 12139750"/>
              <a:gd name="connsiteY249" fmla="*/ 6523056 h 6858290"/>
              <a:gd name="connsiteX250" fmla="*/ 11573322 w 12139750"/>
              <a:gd name="connsiteY250" fmla="*/ 6369331 h 6858290"/>
              <a:gd name="connsiteX251" fmla="*/ 11589455 w 12139750"/>
              <a:gd name="connsiteY251" fmla="*/ 6364556 h 6858290"/>
              <a:gd name="connsiteX252" fmla="*/ 12139750 w 12139750"/>
              <a:gd name="connsiteY252" fmla="*/ 6353181 h 6858290"/>
              <a:gd name="connsiteX253" fmla="*/ 12139750 w 12139750"/>
              <a:gd name="connsiteY253" fmla="*/ 6444739 h 6858290"/>
              <a:gd name="connsiteX254" fmla="*/ 11833573 w 12139750"/>
              <a:gd name="connsiteY254" fmla="*/ 6587799 h 6858290"/>
              <a:gd name="connsiteX255" fmla="*/ 11778423 w 12139750"/>
              <a:gd name="connsiteY255" fmla="*/ 6568724 h 6858290"/>
              <a:gd name="connsiteX256" fmla="*/ 11774620 w 12139750"/>
              <a:gd name="connsiteY256" fmla="*/ 6551557 h 6858290"/>
              <a:gd name="connsiteX257" fmla="*/ 11797441 w 12139750"/>
              <a:gd name="connsiteY257" fmla="*/ 6513408 h 6858290"/>
              <a:gd name="connsiteX258" fmla="*/ 12135947 w 12139750"/>
              <a:gd name="connsiteY258" fmla="*/ 6355088 h 6858290"/>
              <a:gd name="connsiteX259" fmla="*/ 12139750 w 12139750"/>
              <a:gd name="connsiteY259" fmla="*/ 6353181 h 6858290"/>
              <a:gd name="connsiteX260" fmla="*/ 7585725 w 12139750"/>
              <a:gd name="connsiteY260" fmla="*/ 6350302 h 6858290"/>
              <a:gd name="connsiteX261" fmla="*/ 7624838 w 12139750"/>
              <a:gd name="connsiteY261" fmla="*/ 6374174 h 6858290"/>
              <a:gd name="connsiteX262" fmla="*/ 7605787 w 12139750"/>
              <a:gd name="connsiteY262" fmla="*/ 6429488 h 6858290"/>
              <a:gd name="connsiteX263" fmla="*/ 7264788 w 12139750"/>
              <a:gd name="connsiteY263" fmla="*/ 6587800 h 6858290"/>
              <a:gd name="connsiteX264" fmla="*/ 7209542 w 12139750"/>
              <a:gd name="connsiteY264" fmla="*/ 6568726 h 6858290"/>
              <a:gd name="connsiteX265" fmla="*/ 7205732 w 12139750"/>
              <a:gd name="connsiteY265" fmla="*/ 6551559 h 6858290"/>
              <a:gd name="connsiteX266" fmla="*/ 7230497 w 12139750"/>
              <a:gd name="connsiteY266" fmla="*/ 6513412 h 6858290"/>
              <a:gd name="connsiteX267" fmla="*/ 7569592 w 12139750"/>
              <a:gd name="connsiteY267" fmla="*/ 6355100 h 6858290"/>
              <a:gd name="connsiteX268" fmla="*/ 7585725 w 12139750"/>
              <a:gd name="connsiteY268" fmla="*/ 6350302 h 6858290"/>
              <a:gd name="connsiteX269" fmla="*/ 7049044 w 12139750"/>
              <a:gd name="connsiteY269" fmla="*/ 6340183 h 6858290"/>
              <a:gd name="connsiteX270" fmla="*/ 7072381 w 12139750"/>
              <a:gd name="connsiteY270" fmla="*/ 6361190 h 6858290"/>
              <a:gd name="connsiteX271" fmla="*/ 7051425 w 12139750"/>
              <a:gd name="connsiteY271" fmla="*/ 6416574 h 6858290"/>
              <a:gd name="connsiteX272" fmla="*/ 6714236 w 12139750"/>
              <a:gd name="connsiteY272" fmla="*/ 6576995 h 6858290"/>
              <a:gd name="connsiteX273" fmla="*/ 6658990 w 12139750"/>
              <a:gd name="connsiteY273" fmla="*/ 6557897 h 6858290"/>
              <a:gd name="connsiteX274" fmla="*/ 6653275 w 12139750"/>
              <a:gd name="connsiteY274" fmla="*/ 6540709 h 6858290"/>
              <a:gd name="connsiteX275" fmla="*/ 6678040 w 12139750"/>
              <a:gd name="connsiteY275" fmla="*/ 6502514 h 6858290"/>
              <a:gd name="connsiteX276" fmla="*/ 7017135 w 12139750"/>
              <a:gd name="connsiteY276" fmla="*/ 6342093 h 6858290"/>
              <a:gd name="connsiteX277" fmla="*/ 7049044 w 12139750"/>
              <a:gd name="connsiteY277" fmla="*/ 6340183 h 6858290"/>
              <a:gd name="connsiteX278" fmla="*/ 6502912 w 12139750"/>
              <a:gd name="connsiteY278" fmla="*/ 6327426 h 6858290"/>
              <a:gd name="connsiteX279" fmla="*/ 6526266 w 12139750"/>
              <a:gd name="connsiteY279" fmla="*/ 6348277 h 6858290"/>
              <a:gd name="connsiteX280" fmla="*/ 6507201 w 12139750"/>
              <a:gd name="connsiteY280" fmla="*/ 6401351 h 6858290"/>
              <a:gd name="connsiteX281" fmla="*/ 6167854 w 12139750"/>
              <a:gd name="connsiteY281" fmla="*/ 6564366 h 6858290"/>
              <a:gd name="connsiteX282" fmla="*/ 6112568 w 12139750"/>
              <a:gd name="connsiteY282" fmla="*/ 6545411 h 6858290"/>
              <a:gd name="connsiteX283" fmla="*/ 6108755 w 12139750"/>
              <a:gd name="connsiteY283" fmla="*/ 6528351 h 6858290"/>
              <a:gd name="connsiteX284" fmla="*/ 6131632 w 12139750"/>
              <a:gd name="connsiteY284" fmla="*/ 6490441 h 6858290"/>
              <a:gd name="connsiteX285" fmla="*/ 6470979 w 12139750"/>
              <a:gd name="connsiteY285" fmla="*/ 6329321 h 6858290"/>
              <a:gd name="connsiteX286" fmla="*/ 6502912 w 12139750"/>
              <a:gd name="connsiteY286" fmla="*/ 6327426 h 6858290"/>
              <a:gd name="connsiteX287" fmla="*/ 5955853 w 12139750"/>
              <a:gd name="connsiteY287" fmla="*/ 6313176 h 6858290"/>
              <a:gd name="connsiteX288" fmla="*/ 5978253 w 12139750"/>
              <a:gd name="connsiteY288" fmla="*/ 6334131 h 6858290"/>
              <a:gd name="connsiteX289" fmla="*/ 5961095 w 12139750"/>
              <a:gd name="connsiteY289" fmla="*/ 6387471 h 6858290"/>
              <a:gd name="connsiteX290" fmla="*/ 5621756 w 12139750"/>
              <a:gd name="connsiteY290" fmla="*/ 6553206 h 6858290"/>
              <a:gd name="connsiteX291" fmla="*/ 5566471 w 12139750"/>
              <a:gd name="connsiteY291" fmla="*/ 6534156 h 6858290"/>
              <a:gd name="connsiteX292" fmla="*/ 5562659 w 12139750"/>
              <a:gd name="connsiteY292" fmla="*/ 6517011 h 6858290"/>
              <a:gd name="connsiteX293" fmla="*/ 5585535 w 12139750"/>
              <a:gd name="connsiteY293" fmla="*/ 6478911 h 6858290"/>
              <a:gd name="connsiteX294" fmla="*/ 5924873 w 12139750"/>
              <a:gd name="connsiteY294" fmla="*/ 6315081 h 6858290"/>
              <a:gd name="connsiteX295" fmla="*/ 5955853 w 12139750"/>
              <a:gd name="connsiteY295" fmla="*/ 6313176 h 6858290"/>
              <a:gd name="connsiteX296" fmla="*/ 396081 w 12139750"/>
              <a:gd name="connsiteY296" fmla="*/ 6313176 h 6858290"/>
              <a:gd name="connsiteX297" fmla="*/ 419127 w 12139750"/>
              <a:gd name="connsiteY297" fmla="*/ 6334131 h 6858290"/>
              <a:gd name="connsiteX298" fmla="*/ 400120 w 12139750"/>
              <a:gd name="connsiteY298" fmla="*/ 6387471 h 6858290"/>
              <a:gd name="connsiteX299" fmla="*/ 63687 w 12139750"/>
              <a:gd name="connsiteY299" fmla="*/ 6553206 h 6858290"/>
              <a:gd name="connsiteX300" fmla="*/ 8565 w 12139750"/>
              <a:gd name="connsiteY300" fmla="*/ 6534156 h 6858290"/>
              <a:gd name="connsiteX301" fmla="*/ 4764 w 12139750"/>
              <a:gd name="connsiteY301" fmla="*/ 6517011 h 6858290"/>
              <a:gd name="connsiteX302" fmla="*/ 27573 w 12139750"/>
              <a:gd name="connsiteY302" fmla="*/ 6478911 h 6858290"/>
              <a:gd name="connsiteX303" fmla="*/ 365906 w 12139750"/>
              <a:gd name="connsiteY303" fmla="*/ 6315081 h 6858290"/>
              <a:gd name="connsiteX304" fmla="*/ 396081 w 12139750"/>
              <a:gd name="connsiteY304" fmla="*/ 6313176 h 6858290"/>
              <a:gd name="connsiteX305" fmla="*/ 5405334 w 12139750"/>
              <a:gd name="connsiteY305" fmla="*/ 6300229 h 6858290"/>
              <a:gd name="connsiteX306" fmla="*/ 5429330 w 12139750"/>
              <a:gd name="connsiteY306" fmla="*/ 6319493 h 6858290"/>
              <a:gd name="connsiteX307" fmla="*/ 5410323 w 12139750"/>
              <a:gd name="connsiteY307" fmla="*/ 6372768 h 6858290"/>
              <a:gd name="connsiteX308" fmla="*/ 5071987 w 12139750"/>
              <a:gd name="connsiteY308" fmla="*/ 6540203 h 6858290"/>
              <a:gd name="connsiteX309" fmla="*/ 5018773 w 12139750"/>
              <a:gd name="connsiteY309" fmla="*/ 6523079 h 6858290"/>
              <a:gd name="connsiteX310" fmla="*/ 5014972 w 12139750"/>
              <a:gd name="connsiteY310" fmla="*/ 6505955 h 6858290"/>
              <a:gd name="connsiteX311" fmla="*/ 5037779 w 12139750"/>
              <a:gd name="connsiteY311" fmla="*/ 6469804 h 6858290"/>
              <a:gd name="connsiteX312" fmla="*/ 5374210 w 12139750"/>
              <a:gd name="connsiteY312" fmla="*/ 6302369 h 6858290"/>
              <a:gd name="connsiteX313" fmla="*/ 5405334 w 12139750"/>
              <a:gd name="connsiteY313" fmla="*/ 6300229 h 6858290"/>
              <a:gd name="connsiteX314" fmla="*/ 940474 w 12139750"/>
              <a:gd name="connsiteY314" fmla="*/ 6300229 h 6858290"/>
              <a:gd name="connsiteX315" fmla="*/ 963607 w 12139750"/>
              <a:gd name="connsiteY315" fmla="*/ 6319493 h 6858290"/>
              <a:gd name="connsiteX316" fmla="*/ 944528 w 12139750"/>
              <a:gd name="connsiteY316" fmla="*/ 6372768 h 6858290"/>
              <a:gd name="connsiteX317" fmla="*/ 606835 w 12139750"/>
              <a:gd name="connsiteY317" fmla="*/ 6540203 h 6858290"/>
              <a:gd name="connsiteX318" fmla="*/ 551507 w 12139750"/>
              <a:gd name="connsiteY318" fmla="*/ 6523079 h 6858290"/>
              <a:gd name="connsiteX319" fmla="*/ 547691 w 12139750"/>
              <a:gd name="connsiteY319" fmla="*/ 6505955 h 6858290"/>
              <a:gd name="connsiteX320" fmla="*/ 570586 w 12139750"/>
              <a:gd name="connsiteY320" fmla="*/ 6469804 h 6858290"/>
              <a:gd name="connsiteX321" fmla="*/ 910187 w 12139750"/>
              <a:gd name="connsiteY321" fmla="*/ 6302369 h 6858290"/>
              <a:gd name="connsiteX322" fmla="*/ 940474 w 12139750"/>
              <a:gd name="connsiteY322" fmla="*/ 6300229 h 6858290"/>
              <a:gd name="connsiteX323" fmla="*/ 4851393 w 12139750"/>
              <a:gd name="connsiteY323" fmla="*/ 6285987 h 6858290"/>
              <a:gd name="connsiteX324" fmla="*/ 4875244 w 12139750"/>
              <a:gd name="connsiteY324" fmla="*/ 6305369 h 6858290"/>
              <a:gd name="connsiteX325" fmla="*/ 4856165 w 12139750"/>
              <a:gd name="connsiteY325" fmla="*/ 6358971 h 6858290"/>
              <a:gd name="connsiteX326" fmla="*/ 4518477 w 12139750"/>
              <a:gd name="connsiteY326" fmla="*/ 6529347 h 6858290"/>
              <a:gd name="connsiteX327" fmla="*/ 4465055 w 12139750"/>
              <a:gd name="connsiteY327" fmla="*/ 6512118 h 6858290"/>
              <a:gd name="connsiteX328" fmla="*/ 4459331 w 12139750"/>
              <a:gd name="connsiteY328" fmla="*/ 6494889 h 6858290"/>
              <a:gd name="connsiteX329" fmla="*/ 4482227 w 12139750"/>
              <a:gd name="connsiteY329" fmla="*/ 6458517 h 6858290"/>
              <a:gd name="connsiteX330" fmla="*/ 4821819 w 12139750"/>
              <a:gd name="connsiteY330" fmla="*/ 6288140 h 6858290"/>
              <a:gd name="connsiteX331" fmla="*/ 4851393 w 12139750"/>
              <a:gd name="connsiteY331" fmla="*/ 6285987 h 6858290"/>
              <a:gd name="connsiteX332" fmla="*/ 1486674 w 12139750"/>
              <a:gd name="connsiteY332" fmla="*/ 6285987 h 6858290"/>
              <a:gd name="connsiteX333" fmla="*/ 1509738 w 12139750"/>
              <a:gd name="connsiteY333" fmla="*/ 6305369 h 6858290"/>
              <a:gd name="connsiteX334" fmla="*/ 1492618 w 12139750"/>
              <a:gd name="connsiteY334" fmla="*/ 6358971 h 6858290"/>
              <a:gd name="connsiteX335" fmla="*/ 1154033 w 12139750"/>
              <a:gd name="connsiteY335" fmla="*/ 6529347 h 6858290"/>
              <a:gd name="connsiteX336" fmla="*/ 1100773 w 12139750"/>
              <a:gd name="connsiteY336" fmla="*/ 6512118 h 6858290"/>
              <a:gd name="connsiteX337" fmla="*/ 1096968 w 12139750"/>
              <a:gd name="connsiteY337" fmla="*/ 6494889 h 6858290"/>
              <a:gd name="connsiteX338" fmla="*/ 1117892 w 12139750"/>
              <a:gd name="connsiteY338" fmla="*/ 6458517 h 6858290"/>
              <a:gd name="connsiteX339" fmla="*/ 1456477 w 12139750"/>
              <a:gd name="connsiteY339" fmla="*/ 6288140 h 6858290"/>
              <a:gd name="connsiteX340" fmla="*/ 1486674 w 12139750"/>
              <a:gd name="connsiteY340" fmla="*/ 6285987 h 6858290"/>
              <a:gd name="connsiteX341" fmla="*/ 4292528 w 12139750"/>
              <a:gd name="connsiteY341" fmla="*/ 6273233 h 6858290"/>
              <a:gd name="connsiteX342" fmla="*/ 4314878 w 12139750"/>
              <a:gd name="connsiteY342" fmla="*/ 6292474 h 6858290"/>
              <a:gd name="connsiteX343" fmla="*/ 4297758 w 12139750"/>
              <a:gd name="connsiteY343" fmla="*/ 6345684 h 6858290"/>
              <a:gd name="connsiteX344" fmla="*/ 3961097 w 12139750"/>
              <a:gd name="connsiteY344" fmla="*/ 6516717 h 6858290"/>
              <a:gd name="connsiteX345" fmla="*/ 3907836 w 12139750"/>
              <a:gd name="connsiteY345" fmla="*/ 6499614 h 6858290"/>
              <a:gd name="connsiteX346" fmla="*/ 3902129 w 12139750"/>
              <a:gd name="connsiteY346" fmla="*/ 6482510 h 6858290"/>
              <a:gd name="connsiteX347" fmla="*/ 3924955 w 12139750"/>
              <a:gd name="connsiteY347" fmla="*/ 6446403 h 6858290"/>
              <a:gd name="connsiteX348" fmla="*/ 4261616 w 12139750"/>
              <a:gd name="connsiteY348" fmla="*/ 6275371 h 6858290"/>
              <a:gd name="connsiteX349" fmla="*/ 4292528 w 12139750"/>
              <a:gd name="connsiteY349" fmla="*/ 6273233 h 6858290"/>
              <a:gd name="connsiteX350" fmla="*/ 2038415 w 12139750"/>
              <a:gd name="connsiteY350" fmla="*/ 6273233 h 6858290"/>
              <a:gd name="connsiteX351" fmla="*/ 2062197 w 12139750"/>
              <a:gd name="connsiteY351" fmla="*/ 6292474 h 6858290"/>
              <a:gd name="connsiteX352" fmla="*/ 2045072 w 12139750"/>
              <a:gd name="connsiteY352" fmla="*/ 6345684 h 6858290"/>
              <a:gd name="connsiteX353" fmla="*/ 1706487 w 12139750"/>
              <a:gd name="connsiteY353" fmla="*/ 6516717 h 6858290"/>
              <a:gd name="connsiteX354" fmla="*/ 1653226 w 12139750"/>
              <a:gd name="connsiteY354" fmla="*/ 6499614 h 6858290"/>
              <a:gd name="connsiteX355" fmla="*/ 1649422 w 12139750"/>
              <a:gd name="connsiteY355" fmla="*/ 6482510 h 6858290"/>
              <a:gd name="connsiteX356" fmla="*/ 1670346 w 12139750"/>
              <a:gd name="connsiteY356" fmla="*/ 6446403 h 6858290"/>
              <a:gd name="connsiteX357" fmla="*/ 2008931 w 12139750"/>
              <a:gd name="connsiteY357" fmla="*/ 6275371 h 6858290"/>
              <a:gd name="connsiteX358" fmla="*/ 2038415 w 12139750"/>
              <a:gd name="connsiteY358" fmla="*/ 6273233 h 6858290"/>
              <a:gd name="connsiteX359" fmla="*/ 3729185 w 12139750"/>
              <a:gd name="connsiteY359" fmla="*/ 6260524 h 6858290"/>
              <a:gd name="connsiteX360" fmla="*/ 3751317 w 12139750"/>
              <a:gd name="connsiteY360" fmla="*/ 6279742 h 6858290"/>
              <a:gd name="connsiteX361" fmla="*/ 3736088 w 12139750"/>
              <a:gd name="connsiteY361" fmla="*/ 6330991 h 6858290"/>
              <a:gd name="connsiteX362" fmla="*/ 3397263 w 12139750"/>
              <a:gd name="connsiteY362" fmla="*/ 6505616 h 6858290"/>
              <a:gd name="connsiteX363" fmla="*/ 3345863 w 12139750"/>
              <a:gd name="connsiteY363" fmla="*/ 6488533 h 6858290"/>
              <a:gd name="connsiteX364" fmla="*/ 3340155 w 12139750"/>
              <a:gd name="connsiteY364" fmla="*/ 6469552 h 6858290"/>
              <a:gd name="connsiteX365" fmla="*/ 3361092 w 12139750"/>
              <a:gd name="connsiteY365" fmla="*/ 6435386 h 6858290"/>
              <a:gd name="connsiteX366" fmla="*/ 3699918 w 12139750"/>
              <a:gd name="connsiteY366" fmla="*/ 6262659 h 6858290"/>
              <a:gd name="connsiteX367" fmla="*/ 3729185 w 12139750"/>
              <a:gd name="connsiteY367" fmla="*/ 6260524 h 6858290"/>
              <a:gd name="connsiteX368" fmla="*/ 2595567 w 12139750"/>
              <a:gd name="connsiteY368" fmla="*/ 6260524 h 6858290"/>
              <a:gd name="connsiteX369" fmla="*/ 2617780 w 12139750"/>
              <a:gd name="connsiteY369" fmla="*/ 6279742 h 6858290"/>
              <a:gd name="connsiteX370" fmla="*/ 2600583 w 12139750"/>
              <a:gd name="connsiteY370" fmla="*/ 6330991 h 6858290"/>
              <a:gd name="connsiteX371" fmla="*/ 2262377 w 12139750"/>
              <a:gd name="connsiteY371" fmla="*/ 6505616 h 6858290"/>
              <a:gd name="connsiteX372" fmla="*/ 2210786 w 12139750"/>
              <a:gd name="connsiteY372" fmla="*/ 6488533 h 6858290"/>
              <a:gd name="connsiteX373" fmla="*/ 2205054 w 12139750"/>
              <a:gd name="connsiteY373" fmla="*/ 6469552 h 6858290"/>
              <a:gd name="connsiteX374" fmla="*/ 2226072 w 12139750"/>
              <a:gd name="connsiteY374" fmla="*/ 6435386 h 6858290"/>
              <a:gd name="connsiteX375" fmla="*/ 2566189 w 12139750"/>
              <a:gd name="connsiteY375" fmla="*/ 6262659 h 6858290"/>
              <a:gd name="connsiteX376" fmla="*/ 2595567 w 12139750"/>
              <a:gd name="connsiteY376" fmla="*/ 6260524 h 6858290"/>
              <a:gd name="connsiteX377" fmla="*/ 3155660 w 12139750"/>
              <a:gd name="connsiteY377" fmla="*/ 6245326 h 6858290"/>
              <a:gd name="connsiteX378" fmla="*/ 3177873 w 12139750"/>
              <a:gd name="connsiteY378" fmla="*/ 6263706 h 6858290"/>
              <a:gd name="connsiteX379" fmla="*/ 3162585 w 12139750"/>
              <a:gd name="connsiteY379" fmla="*/ 6317174 h 6858290"/>
              <a:gd name="connsiteX380" fmla="*/ 2822466 w 12139750"/>
              <a:gd name="connsiteY380" fmla="*/ 6492858 h 6858290"/>
              <a:gd name="connsiteX381" fmla="*/ 2770875 w 12139750"/>
              <a:gd name="connsiteY381" fmla="*/ 6477581 h 6858290"/>
              <a:gd name="connsiteX382" fmla="*/ 2767054 w 12139750"/>
              <a:gd name="connsiteY382" fmla="*/ 6458485 h 6858290"/>
              <a:gd name="connsiteX383" fmla="*/ 2788073 w 12139750"/>
              <a:gd name="connsiteY383" fmla="*/ 6426022 h 6858290"/>
              <a:gd name="connsiteX384" fmla="*/ 3126282 w 12139750"/>
              <a:gd name="connsiteY384" fmla="*/ 6248429 h 6858290"/>
              <a:gd name="connsiteX385" fmla="*/ 3155660 w 12139750"/>
              <a:gd name="connsiteY385" fmla="*/ 6245326 h 6858290"/>
              <a:gd name="connsiteX386" fmla="*/ 9874931 w 12139750"/>
              <a:gd name="connsiteY386" fmla="*/ 6079814 h 6858290"/>
              <a:gd name="connsiteX387" fmla="*/ 9898198 w 12139750"/>
              <a:gd name="connsiteY387" fmla="*/ 6100769 h 6858290"/>
              <a:gd name="connsiteX388" fmla="*/ 9879205 w 12139750"/>
              <a:gd name="connsiteY388" fmla="*/ 6154109 h 6858290"/>
              <a:gd name="connsiteX389" fmla="*/ 9541119 w 12139750"/>
              <a:gd name="connsiteY389" fmla="*/ 6319844 h 6858290"/>
              <a:gd name="connsiteX390" fmla="*/ 9487937 w 12139750"/>
              <a:gd name="connsiteY390" fmla="*/ 6300794 h 6858290"/>
              <a:gd name="connsiteX391" fmla="*/ 9482239 w 12139750"/>
              <a:gd name="connsiteY391" fmla="*/ 6281744 h 6858290"/>
              <a:gd name="connsiteX392" fmla="*/ 9506931 w 12139750"/>
              <a:gd name="connsiteY392" fmla="*/ 6245549 h 6858290"/>
              <a:gd name="connsiteX393" fmla="*/ 9843117 w 12139750"/>
              <a:gd name="connsiteY393" fmla="*/ 6081719 h 6858290"/>
              <a:gd name="connsiteX394" fmla="*/ 9874931 w 12139750"/>
              <a:gd name="connsiteY394" fmla="*/ 6079814 h 6858290"/>
              <a:gd name="connsiteX395" fmla="*/ 10459016 w 12139750"/>
              <a:gd name="connsiteY395" fmla="*/ 6066240 h 6858290"/>
              <a:gd name="connsiteX396" fmla="*/ 10482370 w 12139750"/>
              <a:gd name="connsiteY396" fmla="*/ 6086481 h 6858290"/>
              <a:gd name="connsiteX397" fmla="*/ 10463305 w 12139750"/>
              <a:gd name="connsiteY397" fmla="*/ 6141726 h 6858290"/>
              <a:gd name="connsiteX398" fmla="*/ 10123959 w 12139750"/>
              <a:gd name="connsiteY398" fmla="*/ 6305556 h 6858290"/>
              <a:gd name="connsiteX399" fmla="*/ 10068672 w 12139750"/>
              <a:gd name="connsiteY399" fmla="*/ 6286506 h 6858290"/>
              <a:gd name="connsiteX400" fmla="*/ 10064859 w 12139750"/>
              <a:gd name="connsiteY400" fmla="*/ 6269361 h 6858290"/>
              <a:gd name="connsiteX401" fmla="*/ 10087736 w 12139750"/>
              <a:gd name="connsiteY401" fmla="*/ 6231261 h 6858290"/>
              <a:gd name="connsiteX402" fmla="*/ 10427083 w 12139750"/>
              <a:gd name="connsiteY402" fmla="*/ 6067431 h 6858290"/>
              <a:gd name="connsiteX403" fmla="*/ 10459016 w 12139750"/>
              <a:gd name="connsiteY403" fmla="*/ 6066240 h 6858290"/>
              <a:gd name="connsiteX404" fmla="*/ 9297823 w 12139750"/>
              <a:gd name="connsiteY404" fmla="*/ 6066240 h 6858290"/>
              <a:gd name="connsiteX405" fmla="*/ 9321892 w 12139750"/>
              <a:gd name="connsiteY405" fmla="*/ 6086481 h 6858290"/>
              <a:gd name="connsiteX406" fmla="*/ 9302827 w 12139750"/>
              <a:gd name="connsiteY406" fmla="*/ 6141726 h 6858290"/>
              <a:gd name="connsiteX407" fmla="*/ 8963481 w 12139750"/>
              <a:gd name="connsiteY407" fmla="*/ 6305556 h 6858290"/>
              <a:gd name="connsiteX408" fmla="*/ 8908194 w 12139750"/>
              <a:gd name="connsiteY408" fmla="*/ 6286506 h 6858290"/>
              <a:gd name="connsiteX409" fmla="*/ 8904381 w 12139750"/>
              <a:gd name="connsiteY409" fmla="*/ 6269361 h 6858290"/>
              <a:gd name="connsiteX410" fmla="*/ 8927258 w 12139750"/>
              <a:gd name="connsiteY410" fmla="*/ 6231261 h 6858290"/>
              <a:gd name="connsiteX411" fmla="*/ 9266605 w 12139750"/>
              <a:gd name="connsiteY411" fmla="*/ 6067431 h 6858290"/>
              <a:gd name="connsiteX412" fmla="*/ 9297823 w 12139750"/>
              <a:gd name="connsiteY412" fmla="*/ 6066240 h 6858290"/>
              <a:gd name="connsiteX413" fmla="*/ 11018858 w 12139750"/>
              <a:gd name="connsiteY413" fmla="*/ 6051844 h 6858290"/>
              <a:gd name="connsiteX414" fmla="*/ 11057081 w 12139750"/>
              <a:gd name="connsiteY414" fmla="*/ 6075686 h 6858290"/>
              <a:gd name="connsiteX415" fmla="*/ 11038074 w 12139750"/>
              <a:gd name="connsiteY415" fmla="*/ 6129026 h 6858290"/>
              <a:gd name="connsiteX416" fmla="*/ 10699740 w 12139750"/>
              <a:gd name="connsiteY416" fmla="*/ 6292856 h 6858290"/>
              <a:gd name="connsiteX417" fmla="*/ 10646519 w 12139750"/>
              <a:gd name="connsiteY417" fmla="*/ 6273806 h 6858290"/>
              <a:gd name="connsiteX418" fmla="*/ 10642717 w 12139750"/>
              <a:gd name="connsiteY418" fmla="*/ 6256661 h 6858290"/>
              <a:gd name="connsiteX419" fmla="*/ 10665526 w 12139750"/>
              <a:gd name="connsiteY419" fmla="*/ 6220466 h 6858290"/>
              <a:gd name="connsiteX420" fmla="*/ 11003860 w 12139750"/>
              <a:gd name="connsiteY420" fmla="*/ 6056636 h 6858290"/>
              <a:gd name="connsiteX421" fmla="*/ 11018858 w 12139750"/>
              <a:gd name="connsiteY421" fmla="*/ 6051844 h 6858290"/>
              <a:gd name="connsiteX422" fmla="*/ 8710944 w 12139750"/>
              <a:gd name="connsiteY422" fmla="*/ 6051843 h 6858290"/>
              <a:gd name="connsiteX423" fmla="*/ 8748477 w 12139750"/>
              <a:gd name="connsiteY423" fmla="*/ 6075686 h 6858290"/>
              <a:gd name="connsiteX424" fmla="*/ 8731319 w 12139750"/>
              <a:gd name="connsiteY424" fmla="*/ 6129026 h 6858290"/>
              <a:gd name="connsiteX425" fmla="*/ 8391973 w 12139750"/>
              <a:gd name="connsiteY425" fmla="*/ 6292856 h 6858290"/>
              <a:gd name="connsiteX426" fmla="*/ 8336686 w 12139750"/>
              <a:gd name="connsiteY426" fmla="*/ 6273806 h 6858290"/>
              <a:gd name="connsiteX427" fmla="*/ 8332873 w 12139750"/>
              <a:gd name="connsiteY427" fmla="*/ 6256661 h 6858290"/>
              <a:gd name="connsiteX428" fmla="*/ 8355750 w 12139750"/>
              <a:gd name="connsiteY428" fmla="*/ 6220466 h 6858290"/>
              <a:gd name="connsiteX429" fmla="*/ 8695097 w 12139750"/>
              <a:gd name="connsiteY429" fmla="*/ 6056636 h 6858290"/>
              <a:gd name="connsiteX430" fmla="*/ 8710944 w 12139750"/>
              <a:gd name="connsiteY430" fmla="*/ 6051843 h 6858290"/>
              <a:gd name="connsiteX431" fmla="*/ 11603954 w 12139750"/>
              <a:gd name="connsiteY431" fmla="*/ 6041714 h 6858290"/>
              <a:gd name="connsiteX432" fmla="*/ 11627001 w 12139750"/>
              <a:gd name="connsiteY432" fmla="*/ 6062669 h 6858290"/>
              <a:gd name="connsiteX433" fmla="*/ 11607994 w 12139750"/>
              <a:gd name="connsiteY433" fmla="*/ 6117914 h 6858290"/>
              <a:gd name="connsiteX434" fmla="*/ 11271560 w 12139750"/>
              <a:gd name="connsiteY434" fmla="*/ 6281744 h 6858290"/>
              <a:gd name="connsiteX435" fmla="*/ 11216439 w 12139750"/>
              <a:gd name="connsiteY435" fmla="*/ 6262694 h 6858290"/>
              <a:gd name="connsiteX436" fmla="*/ 11212637 w 12139750"/>
              <a:gd name="connsiteY436" fmla="*/ 6243644 h 6858290"/>
              <a:gd name="connsiteX437" fmla="*/ 11235446 w 12139750"/>
              <a:gd name="connsiteY437" fmla="*/ 6207449 h 6858290"/>
              <a:gd name="connsiteX438" fmla="*/ 11573780 w 12139750"/>
              <a:gd name="connsiteY438" fmla="*/ 6043619 h 6858290"/>
              <a:gd name="connsiteX439" fmla="*/ 11603954 w 12139750"/>
              <a:gd name="connsiteY439" fmla="*/ 6041714 h 6858290"/>
              <a:gd name="connsiteX440" fmla="*/ 8160285 w 12139750"/>
              <a:gd name="connsiteY440" fmla="*/ 6041714 h 6858290"/>
              <a:gd name="connsiteX441" fmla="*/ 8183639 w 12139750"/>
              <a:gd name="connsiteY441" fmla="*/ 6062669 h 6858290"/>
              <a:gd name="connsiteX442" fmla="*/ 8164574 w 12139750"/>
              <a:gd name="connsiteY442" fmla="*/ 6117914 h 6858290"/>
              <a:gd name="connsiteX443" fmla="*/ 7825227 w 12139750"/>
              <a:gd name="connsiteY443" fmla="*/ 6281744 h 6858290"/>
              <a:gd name="connsiteX444" fmla="*/ 7769941 w 12139750"/>
              <a:gd name="connsiteY444" fmla="*/ 6262694 h 6858290"/>
              <a:gd name="connsiteX445" fmla="*/ 7766128 w 12139750"/>
              <a:gd name="connsiteY445" fmla="*/ 6243644 h 6858290"/>
              <a:gd name="connsiteX446" fmla="*/ 7789005 w 12139750"/>
              <a:gd name="connsiteY446" fmla="*/ 6207449 h 6858290"/>
              <a:gd name="connsiteX447" fmla="*/ 8128352 w 12139750"/>
              <a:gd name="connsiteY447" fmla="*/ 6043619 h 6858290"/>
              <a:gd name="connsiteX448" fmla="*/ 8160285 w 12139750"/>
              <a:gd name="connsiteY448" fmla="*/ 6041714 h 6858290"/>
              <a:gd name="connsiteX449" fmla="*/ 12135947 w 12139750"/>
              <a:gd name="connsiteY449" fmla="*/ 6029331 h 6858290"/>
              <a:gd name="connsiteX450" fmla="*/ 12139750 w 12139750"/>
              <a:gd name="connsiteY450" fmla="*/ 6029331 h 6858290"/>
              <a:gd name="connsiteX451" fmla="*/ 12139750 w 12139750"/>
              <a:gd name="connsiteY451" fmla="*/ 6118866 h 6858290"/>
              <a:gd name="connsiteX452" fmla="*/ 11833573 w 12139750"/>
              <a:gd name="connsiteY452" fmla="*/ 6267456 h 6858290"/>
              <a:gd name="connsiteX453" fmla="*/ 11780325 w 12139750"/>
              <a:gd name="connsiteY453" fmla="*/ 6248406 h 6858290"/>
              <a:gd name="connsiteX454" fmla="*/ 11774620 w 12139750"/>
              <a:gd name="connsiteY454" fmla="*/ 6231261 h 6858290"/>
              <a:gd name="connsiteX455" fmla="*/ 11797441 w 12139750"/>
              <a:gd name="connsiteY455" fmla="*/ 6195066 h 6858290"/>
              <a:gd name="connsiteX456" fmla="*/ 7599809 w 12139750"/>
              <a:gd name="connsiteY456" fmla="*/ 6028140 h 6858290"/>
              <a:gd name="connsiteX457" fmla="*/ 7622924 w 12139750"/>
              <a:gd name="connsiteY457" fmla="*/ 6048381 h 6858290"/>
              <a:gd name="connsiteX458" fmla="*/ 7603860 w 12139750"/>
              <a:gd name="connsiteY458" fmla="*/ 6103626 h 6858290"/>
              <a:gd name="connsiteX459" fmla="*/ 7266419 w 12139750"/>
              <a:gd name="connsiteY459" fmla="*/ 6267456 h 6858290"/>
              <a:gd name="connsiteX460" fmla="*/ 7211133 w 12139750"/>
              <a:gd name="connsiteY460" fmla="*/ 6248406 h 6858290"/>
              <a:gd name="connsiteX461" fmla="*/ 7207320 w 12139750"/>
              <a:gd name="connsiteY461" fmla="*/ 6231261 h 6858290"/>
              <a:gd name="connsiteX462" fmla="*/ 7230197 w 12139750"/>
              <a:gd name="connsiteY462" fmla="*/ 6195066 h 6858290"/>
              <a:gd name="connsiteX463" fmla="*/ 7569544 w 12139750"/>
              <a:gd name="connsiteY463" fmla="*/ 6029331 h 6858290"/>
              <a:gd name="connsiteX464" fmla="*/ 7599809 w 12139750"/>
              <a:gd name="connsiteY464" fmla="*/ 6028140 h 6858290"/>
              <a:gd name="connsiteX465" fmla="*/ 7047351 w 12139750"/>
              <a:gd name="connsiteY465" fmla="*/ 6016314 h 6858290"/>
              <a:gd name="connsiteX466" fmla="*/ 7070466 w 12139750"/>
              <a:gd name="connsiteY466" fmla="*/ 6037269 h 6858290"/>
              <a:gd name="connsiteX467" fmla="*/ 7051402 w 12139750"/>
              <a:gd name="connsiteY467" fmla="*/ 6090609 h 6858290"/>
              <a:gd name="connsiteX468" fmla="*/ 6713961 w 12139750"/>
              <a:gd name="connsiteY468" fmla="*/ 6254439 h 6858290"/>
              <a:gd name="connsiteX469" fmla="*/ 6658675 w 12139750"/>
              <a:gd name="connsiteY469" fmla="*/ 6235389 h 6858290"/>
              <a:gd name="connsiteX470" fmla="*/ 6654862 w 12139750"/>
              <a:gd name="connsiteY470" fmla="*/ 6218244 h 6858290"/>
              <a:gd name="connsiteX471" fmla="*/ 6677739 w 12139750"/>
              <a:gd name="connsiteY471" fmla="*/ 6182049 h 6858290"/>
              <a:gd name="connsiteX472" fmla="*/ 7017086 w 12139750"/>
              <a:gd name="connsiteY472" fmla="*/ 6018219 h 6858290"/>
              <a:gd name="connsiteX473" fmla="*/ 7047351 w 12139750"/>
              <a:gd name="connsiteY473" fmla="*/ 6016314 h 6858290"/>
              <a:gd name="connsiteX474" fmla="*/ 6502912 w 12139750"/>
              <a:gd name="connsiteY474" fmla="*/ 6003613 h 6858290"/>
              <a:gd name="connsiteX475" fmla="*/ 6526266 w 12139750"/>
              <a:gd name="connsiteY475" fmla="*/ 6024568 h 6858290"/>
              <a:gd name="connsiteX476" fmla="*/ 6507201 w 12139750"/>
              <a:gd name="connsiteY476" fmla="*/ 6079813 h 6858290"/>
              <a:gd name="connsiteX477" fmla="*/ 6167854 w 12139750"/>
              <a:gd name="connsiteY477" fmla="*/ 6243643 h 6858290"/>
              <a:gd name="connsiteX478" fmla="*/ 6112568 w 12139750"/>
              <a:gd name="connsiteY478" fmla="*/ 6224593 h 6858290"/>
              <a:gd name="connsiteX479" fmla="*/ 6108755 w 12139750"/>
              <a:gd name="connsiteY479" fmla="*/ 6207448 h 6858290"/>
              <a:gd name="connsiteX480" fmla="*/ 6131632 w 12139750"/>
              <a:gd name="connsiteY480" fmla="*/ 6169348 h 6858290"/>
              <a:gd name="connsiteX481" fmla="*/ 6470979 w 12139750"/>
              <a:gd name="connsiteY481" fmla="*/ 6005518 h 6858290"/>
              <a:gd name="connsiteX482" fmla="*/ 6502912 w 12139750"/>
              <a:gd name="connsiteY482" fmla="*/ 6003613 h 6858290"/>
              <a:gd name="connsiteX483" fmla="*/ 5940750 w 12139750"/>
              <a:gd name="connsiteY483" fmla="*/ 5988314 h 6858290"/>
              <a:gd name="connsiteX484" fmla="*/ 5980159 w 12139750"/>
              <a:gd name="connsiteY484" fmla="*/ 6010281 h 6858290"/>
              <a:gd name="connsiteX485" fmla="*/ 5961095 w 12139750"/>
              <a:gd name="connsiteY485" fmla="*/ 6065526 h 6858290"/>
              <a:gd name="connsiteX486" fmla="*/ 5621756 w 12139750"/>
              <a:gd name="connsiteY486" fmla="*/ 6229356 h 6858290"/>
              <a:gd name="connsiteX487" fmla="*/ 5566471 w 12139750"/>
              <a:gd name="connsiteY487" fmla="*/ 6210306 h 6858290"/>
              <a:gd name="connsiteX488" fmla="*/ 5562659 w 12139750"/>
              <a:gd name="connsiteY488" fmla="*/ 6193161 h 6858290"/>
              <a:gd name="connsiteX489" fmla="*/ 5585535 w 12139750"/>
              <a:gd name="connsiteY489" fmla="*/ 6156966 h 6858290"/>
              <a:gd name="connsiteX490" fmla="*/ 5924873 w 12139750"/>
              <a:gd name="connsiteY490" fmla="*/ 5993136 h 6858290"/>
              <a:gd name="connsiteX491" fmla="*/ 5940750 w 12139750"/>
              <a:gd name="connsiteY491" fmla="*/ 5988314 h 6858290"/>
              <a:gd name="connsiteX492" fmla="*/ 380904 w 12139750"/>
              <a:gd name="connsiteY492" fmla="*/ 5988314 h 6858290"/>
              <a:gd name="connsiteX493" fmla="*/ 419127 w 12139750"/>
              <a:gd name="connsiteY493" fmla="*/ 6010281 h 6858290"/>
              <a:gd name="connsiteX494" fmla="*/ 400119 w 12139750"/>
              <a:gd name="connsiteY494" fmla="*/ 6065526 h 6858290"/>
              <a:gd name="connsiteX495" fmla="*/ 63687 w 12139750"/>
              <a:gd name="connsiteY495" fmla="*/ 6229356 h 6858290"/>
              <a:gd name="connsiteX496" fmla="*/ 8565 w 12139750"/>
              <a:gd name="connsiteY496" fmla="*/ 6210306 h 6858290"/>
              <a:gd name="connsiteX497" fmla="*/ 4764 w 12139750"/>
              <a:gd name="connsiteY497" fmla="*/ 6193161 h 6858290"/>
              <a:gd name="connsiteX498" fmla="*/ 27573 w 12139750"/>
              <a:gd name="connsiteY498" fmla="*/ 6156966 h 6858290"/>
              <a:gd name="connsiteX499" fmla="*/ 365906 w 12139750"/>
              <a:gd name="connsiteY499" fmla="*/ 5993136 h 6858290"/>
              <a:gd name="connsiteX500" fmla="*/ 380904 w 12139750"/>
              <a:gd name="connsiteY500" fmla="*/ 5988314 h 6858290"/>
              <a:gd name="connsiteX501" fmla="*/ 5406285 w 12139750"/>
              <a:gd name="connsiteY501" fmla="*/ 5978213 h 6858290"/>
              <a:gd name="connsiteX502" fmla="*/ 5429330 w 12139750"/>
              <a:gd name="connsiteY502" fmla="*/ 5999168 h 6858290"/>
              <a:gd name="connsiteX503" fmla="*/ 5410323 w 12139750"/>
              <a:gd name="connsiteY503" fmla="*/ 6052508 h 6858290"/>
              <a:gd name="connsiteX504" fmla="*/ 5071987 w 12139750"/>
              <a:gd name="connsiteY504" fmla="*/ 6218243 h 6858290"/>
              <a:gd name="connsiteX505" fmla="*/ 5018773 w 12139750"/>
              <a:gd name="connsiteY505" fmla="*/ 6199193 h 6858290"/>
              <a:gd name="connsiteX506" fmla="*/ 5014972 w 12139750"/>
              <a:gd name="connsiteY506" fmla="*/ 6180143 h 6858290"/>
              <a:gd name="connsiteX507" fmla="*/ 5037779 w 12139750"/>
              <a:gd name="connsiteY507" fmla="*/ 6143948 h 6858290"/>
              <a:gd name="connsiteX508" fmla="*/ 5376110 w 12139750"/>
              <a:gd name="connsiteY508" fmla="*/ 5980118 h 6858290"/>
              <a:gd name="connsiteX509" fmla="*/ 5406285 w 12139750"/>
              <a:gd name="connsiteY509" fmla="*/ 5978213 h 6858290"/>
              <a:gd name="connsiteX510" fmla="*/ 940179 w 12139750"/>
              <a:gd name="connsiteY510" fmla="*/ 5978213 h 6858290"/>
              <a:gd name="connsiteX511" fmla="*/ 963295 w 12139750"/>
              <a:gd name="connsiteY511" fmla="*/ 5999168 h 6858290"/>
              <a:gd name="connsiteX512" fmla="*/ 944230 w 12139750"/>
              <a:gd name="connsiteY512" fmla="*/ 6052508 h 6858290"/>
              <a:gd name="connsiteX513" fmla="*/ 606791 w 12139750"/>
              <a:gd name="connsiteY513" fmla="*/ 6218243 h 6858290"/>
              <a:gd name="connsiteX514" fmla="*/ 551504 w 12139750"/>
              <a:gd name="connsiteY514" fmla="*/ 6199193 h 6858290"/>
              <a:gd name="connsiteX515" fmla="*/ 547691 w 12139750"/>
              <a:gd name="connsiteY515" fmla="*/ 6180143 h 6858290"/>
              <a:gd name="connsiteX516" fmla="*/ 570568 w 12139750"/>
              <a:gd name="connsiteY516" fmla="*/ 6143948 h 6858290"/>
              <a:gd name="connsiteX517" fmla="*/ 909915 w 12139750"/>
              <a:gd name="connsiteY517" fmla="*/ 5980118 h 6858290"/>
              <a:gd name="connsiteX518" fmla="*/ 940179 w 12139750"/>
              <a:gd name="connsiteY518" fmla="*/ 5978213 h 6858290"/>
              <a:gd name="connsiteX519" fmla="*/ 4852107 w 12139750"/>
              <a:gd name="connsiteY519" fmla="*/ 5966227 h 6858290"/>
              <a:gd name="connsiteX520" fmla="*/ 4875244 w 12139750"/>
              <a:gd name="connsiteY520" fmla="*/ 5986468 h 6858290"/>
              <a:gd name="connsiteX521" fmla="*/ 4856165 w 12139750"/>
              <a:gd name="connsiteY521" fmla="*/ 6041713 h 6858290"/>
              <a:gd name="connsiteX522" fmla="*/ 4516568 w 12139750"/>
              <a:gd name="connsiteY522" fmla="*/ 6205543 h 6858290"/>
              <a:gd name="connsiteX523" fmla="*/ 4463148 w 12139750"/>
              <a:gd name="connsiteY523" fmla="*/ 6186493 h 6858290"/>
              <a:gd name="connsiteX524" fmla="*/ 4459331 w 12139750"/>
              <a:gd name="connsiteY524" fmla="*/ 6169348 h 6858290"/>
              <a:gd name="connsiteX525" fmla="*/ 4482227 w 12139750"/>
              <a:gd name="connsiteY525" fmla="*/ 6131248 h 6858290"/>
              <a:gd name="connsiteX526" fmla="*/ 4821819 w 12139750"/>
              <a:gd name="connsiteY526" fmla="*/ 5967418 h 6858290"/>
              <a:gd name="connsiteX527" fmla="*/ 4852107 w 12139750"/>
              <a:gd name="connsiteY527" fmla="*/ 5966227 h 6858290"/>
              <a:gd name="connsiteX528" fmla="*/ 1487950 w 12139750"/>
              <a:gd name="connsiteY528" fmla="*/ 5966227 h 6858290"/>
              <a:gd name="connsiteX529" fmla="*/ 1511303 w 12139750"/>
              <a:gd name="connsiteY529" fmla="*/ 5986468 h 6858290"/>
              <a:gd name="connsiteX530" fmla="*/ 1492239 w 12139750"/>
              <a:gd name="connsiteY530" fmla="*/ 6041713 h 6858290"/>
              <a:gd name="connsiteX531" fmla="*/ 1152893 w 12139750"/>
              <a:gd name="connsiteY531" fmla="*/ 6205543 h 6858290"/>
              <a:gd name="connsiteX532" fmla="*/ 1097606 w 12139750"/>
              <a:gd name="connsiteY532" fmla="*/ 6186493 h 6858290"/>
              <a:gd name="connsiteX533" fmla="*/ 1093793 w 12139750"/>
              <a:gd name="connsiteY533" fmla="*/ 6169348 h 6858290"/>
              <a:gd name="connsiteX534" fmla="*/ 1116671 w 12139750"/>
              <a:gd name="connsiteY534" fmla="*/ 6131248 h 6858290"/>
              <a:gd name="connsiteX535" fmla="*/ 1456017 w 12139750"/>
              <a:gd name="connsiteY535" fmla="*/ 5967418 h 6858290"/>
              <a:gd name="connsiteX536" fmla="*/ 1487950 w 12139750"/>
              <a:gd name="connsiteY536" fmla="*/ 5966227 h 6858290"/>
              <a:gd name="connsiteX537" fmla="*/ 4293424 w 12139750"/>
              <a:gd name="connsiteY537" fmla="*/ 5952822 h 6858290"/>
              <a:gd name="connsiteX538" fmla="*/ 4316472 w 12139750"/>
              <a:gd name="connsiteY538" fmla="*/ 5973803 h 6858290"/>
              <a:gd name="connsiteX539" fmla="*/ 4297464 w 12139750"/>
              <a:gd name="connsiteY539" fmla="*/ 6027210 h 6858290"/>
              <a:gd name="connsiteX540" fmla="*/ 3959151 w 12139750"/>
              <a:gd name="connsiteY540" fmla="*/ 6191244 h 6858290"/>
              <a:gd name="connsiteX541" fmla="*/ 3905929 w 12139750"/>
              <a:gd name="connsiteY541" fmla="*/ 6172170 h 6858290"/>
              <a:gd name="connsiteX542" fmla="*/ 3902129 w 12139750"/>
              <a:gd name="connsiteY542" fmla="*/ 6155004 h 6858290"/>
              <a:gd name="connsiteX543" fmla="*/ 3924936 w 12139750"/>
              <a:gd name="connsiteY543" fmla="*/ 6118764 h 6858290"/>
              <a:gd name="connsiteX544" fmla="*/ 4263250 w 12139750"/>
              <a:gd name="connsiteY544" fmla="*/ 5954730 h 6858290"/>
              <a:gd name="connsiteX545" fmla="*/ 4293424 w 12139750"/>
              <a:gd name="connsiteY545" fmla="*/ 5952822 h 6858290"/>
              <a:gd name="connsiteX546" fmla="*/ 2039813 w 12139750"/>
              <a:gd name="connsiteY546" fmla="*/ 5952822 h 6858290"/>
              <a:gd name="connsiteX547" fmla="*/ 2063798 w 12139750"/>
              <a:gd name="connsiteY547" fmla="*/ 5973803 h 6858290"/>
              <a:gd name="connsiteX548" fmla="*/ 2044799 w 12139750"/>
              <a:gd name="connsiteY548" fmla="*/ 6027210 h 6858290"/>
              <a:gd name="connsiteX549" fmla="*/ 1706714 w 12139750"/>
              <a:gd name="connsiteY549" fmla="*/ 6191244 h 6858290"/>
              <a:gd name="connsiteX550" fmla="*/ 1651633 w 12139750"/>
              <a:gd name="connsiteY550" fmla="*/ 6172170 h 6858290"/>
              <a:gd name="connsiteX551" fmla="*/ 1647834 w 12139750"/>
              <a:gd name="connsiteY551" fmla="*/ 6155004 h 6858290"/>
              <a:gd name="connsiteX552" fmla="*/ 1670626 w 12139750"/>
              <a:gd name="connsiteY552" fmla="*/ 6118764 h 6858290"/>
              <a:gd name="connsiteX553" fmla="*/ 2008712 w 12139750"/>
              <a:gd name="connsiteY553" fmla="*/ 5954730 h 6858290"/>
              <a:gd name="connsiteX554" fmla="*/ 2039813 w 12139750"/>
              <a:gd name="connsiteY554" fmla="*/ 5952822 h 6858290"/>
              <a:gd name="connsiteX555" fmla="*/ 3730406 w 12139750"/>
              <a:gd name="connsiteY555" fmla="*/ 5940113 h 6858290"/>
              <a:gd name="connsiteX556" fmla="*/ 3754477 w 12139750"/>
              <a:gd name="connsiteY556" fmla="*/ 5961068 h 6858290"/>
              <a:gd name="connsiteX557" fmla="*/ 3735413 w 12139750"/>
              <a:gd name="connsiteY557" fmla="*/ 6016313 h 6858290"/>
              <a:gd name="connsiteX558" fmla="*/ 3396079 w 12139750"/>
              <a:gd name="connsiteY558" fmla="*/ 6180143 h 6858290"/>
              <a:gd name="connsiteX559" fmla="*/ 3340792 w 12139750"/>
              <a:gd name="connsiteY559" fmla="*/ 6161093 h 6858290"/>
              <a:gd name="connsiteX560" fmla="*/ 3336978 w 12139750"/>
              <a:gd name="connsiteY560" fmla="*/ 6142043 h 6858290"/>
              <a:gd name="connsiteX561" fmla="*/ 3359858 w 12139750"/>
              <a:gd name="connsiteY561" fmla="*/ 6105848 h 6858290"/>
              <a:gd name="connsiteX562" fmla="*/ 3699190 w 12139750"/>
              <a:gd name="connsiteY562" fmla="*/ 5942018 h 6858290"/>
              <a:gd name="connsiteX563" fmla="*/ 3730406 w 12139750"/>
              <a:gd name="connsiteY563" fmla="*/ 5940113 h 6858290"/>
              <a:gd name="connsiteX564" fmla="*/ 2596908 w 12139750"/>
              <a:gd name="connsiteY564" fmla="*/ 5940113 h 6858290"/>
              <a:gd name="connsiteX565" fmla="*/ 2620975 w 12139750"/>
              <a:gd name="connsiteY565" fmla="*/ 5961068 h 6858290"/>
              <a:gd name="connsiteX566" fmla="*/ 2601911 w 12139750"/>
              <a:gd name="connsiteY566" fmla="*/ 6016313 h 6858290"/>
              <a:gd name="connsiteX567" fmla="*/ 2262565 w 12139750"/>
              <a:gd name="connsiteY567" fmla="*/ 6180143 h 6858290"/>
              <a:gd name="connsiteX568" fmla="*/ 2207278 w 12139750"/>
              <a:gd name="connsiteY568" fmla="*/ 6161093 h 6858290"/>
              <a:gd name="connsiteX569" fmla="*/ 2203466 w 12139750"/>
              <a:gd name="connsiteY569" fmla="*/ 6142043 h 6858290"/>
              <a:gd name="connsiteX570" fmla="*/ 2226343 w 12139750"/>
              <a:gd name="connsiteY570" fmla="*/ 6105848 h 6858290"/>
              <a:gd name="connsiteX571" fmla="*/ 2565688 w 12139750"/>
              <a:gd name="connsiteY571" fmla="*/ 5942018 h 6858290"/>
              <a:gd name="connsiteX572" fmla="*/ 2596908 w 12139750"/>
              <a:gd name="connsiteY572" fmla="*/ 5940113 h 6858290"/>
              <a:gd name="connsiteX573" fmla="*/ 3158037 w 12139750"/>
              <a:gd name="connsiteY573" fmla="*/ 5928127 h 6858290"/>
              <a:gd name="connsiteX574" fmla="*/ 3181391 w 12139750"/>
              <a:gd name="connsiteY574" fmla="*/ 5948368 h 6858290"/>
              <a:gd name="connsiteX575" fmla="*/ 3162327 w 12139750"/>
              <a:gd name="connsiteY575" fmla="*/ 6003613 h 6858290"/>
              <a:gd name="connsiteX576" fmla="*/ 2822979 w 12139750"/>
              <a:gd name="connsiteY576" fmla="*/ 6167443 h 6858290"/>
              <a:gd name="connsiteX577" fmla="*/ 2769600 w 12139750"/>
              <a:gd name="connsiteY577" fmla="*/ 6148393 h 6858290"/>
              <a:gd name="connsiteX578" fmla="*/ 2763879 w 12139750"/>
              <a:gd name="connsiteY578" fmla="*/ 6131248 h 6858290"/>
              <a:gd name="connsiteX579" fmla="*/ 2788663 w 12139750"/>
              <a:gd name="connsiteY579" fmla="*/ 6093148 h 6858290"/>
              <a:gd name="connsiteX580" fmla="*/ 3126104 w 12139750"/>
              <a:gd name="connsiteY580" fmla="*/ 5929318 h 6858290"/>
              <a:gd name="connsiteX581" fmla="*/ 3158037 w 12139750"/>
              <a:gd name="connsiteY581" fmla="*/ 5928127 h 6858290"/>
              <a:gd name="connsiteX582" fmla="*/ 9872849 w 12139750"/>
              <a:gd name="connsiteY582" fmla="*/ 5750963 h 6858290"/>
              <a:gd name="connsiteX583" fmla="*/ 9894995 w 12139750"/>
              <a:gd name="connsiteY583" fmla="*/ 5770251 h 6858290"/>
              <a:gd name="connsiteX584" fmla="*/ 9879755 w 12139750"/>
              <a:gd name="connsiteY584" fmla="*/ 5821686 h 6858290"/>
              <a:gd name="connsiteX585" fmla="*/ 9542565 w 12139750"/>
              <a:gd name="connsiteY585" fmla="*/ 6000756 h 6858290"/>
              <a:gd name="connsiteX586" fmla="*/ 9489224 w 12139750"/>
              <a:gd name="connsiteY586" fmla="*/ 5983611 h 6858290"/>
              <a:gd name="connsiteX587" fmla="*/ 9485414 w 12139750"/>
              <a:gd name="connsiteY587" fmla="*/ 5966466 h 6858290"/>
              <a:gd name="connsiteX588" fmla="*/ 9506369 w 12139750"/>
              <a:gd name="connsiteY588" fmla="*/ 5932176 h 6858290"/>
              <a:gd name="connsiteX589" fmla="*/ 9843559 w 12139750"/>
              <a:gd name="connsiteY589" fmla="*/ 5753106 h 6858290"/>
              <a:gd name="connsiteX590" fmla="*/ 9872849 w 12139750"/>
              <a:gd name="connsiteY590" fmla="*/ 5750963 h 6858290"/>
              <a:gd name="connsiteX591" fmla="*/ 10455469 w 12139750"/>
              <a:gd name="connsiteY591" fmla="*/ 5739858 h 6858290"/>
              <a:gd name="connsiteX592" fmla="*/ 10477615 w 12139750"/>
              <a:gd name="connsiteY592" fmla="*/ 5759170 h 6858290"/>
              <a:gd name="connsiteX593" fmla="*/ 10462375 w 12139750"/>
              <a:gd name="connsiteY593" fmla="*/ 5810667 h 6858290"/>
              <a:gd name="connsiteX594" fmla="*/ 10123280 w 12139750"/>
              <a:gd name="connsiteY594" fmla="*/ 5988044 h 6858290"/>
              <a:gd name="connsiteX595" fmla="*/ 10071844 w 12139750"/>
              <a:gd name="connsiteY595" fmla="*/ 5970879 h 6858290"/>
              <a:gd name="connsiteX596" fmla="*/ 10068034 w 12139750"/>
              <a:gd name="connsiteY596" fmla="*/ 5953713 h 6858290"/>
              <a:gd name="connsiteX597" fmla="*/ 10088989 w 12139750"/>
              <a:gd name="connsiteY597" fmla="*/ 5919382 h 6858290"/>
              <a:gd name="connsiteX598" fmla="*/ 10426179 w 12139750"/>
              <a:gd name="connsiteY598" fmla="*/ 5742004 h 6858290"/>
              <a:gd name="connsiteX599" fmla="*/ 10455469 w 12139750"/>
              <a:gd name="connsiteY599" fmla="*/ 5739858 h 6858290"/>
              <a:gd name="connsiteX600" fmla="*/ 9295014 w 12139750"/>
              <a:gd name="connsiteY600" fmla="*/ 5739858 h 6858290"/>
              <a:gd name="connsiteX601" fmla="*/ 9317143 w 12139750"/>
              <a:gd name="connsiteY601" fmla="*/ 5759170 h 6858290"/>
              <a:gd name="connsiteX602" fmla="*/ 9300011 w 12139750"/>
              <a:gd name="connsiteY602" fmla="*/ 5810667 h 6858290"/>
              <a:gd name="connsiteX603" fmla="*/ 8963076 w 12139750"/>
              <a:gd name="connsiteY603" fmla="*/ 5988044 h 6858290"/>
              <a:gd name="connsiteX604" fmla="*/ 8911679 w 12139750"/>
              <a:gd name="connsiteY604" fmla="*/ 5970879 h 6858290"/>
              <a:gd name="connsiteX605" fmla="*/ 8905968 w 12139750"/>
              <a:gd name="connsiteY605" fmla="*/ 5953713 h 6858290"/>
              <a:gd name="connsiteX606" fmla="*/ 8926907 w 12139750"/>
              <a:gd name="connsiteY606" fmla="*/ 5919382 h 6858290"/>
              <a:gd name="connsiteX607" fmla="*/ 9265746 w 12139750"/>
              <a:gd name="connsiteY607" fmla="*/ 5742004 h 6858290"/>
              <a:gd name="connsiteX608" fmla="*/ 9295014 w 12139750"/>
              <a:gd name="connsiteY608" fmla="*/ 5739858 h 6858290"/>
              <a:gd name="connsiteX609" fmla="*/ 11032399 w 12139750"/>
              <a:gd name="connsiteY609" fmla="*/ 5727762 h 6858290"/>
              <a:gd name="connsiteX610" fmla="*/ 11055480 w 12139750"/>
              <a:gd name="connsiteY610" fmla="*/ 5746031 h 6858290"/>
              <a:gd name="connsiteX611" fmla="*/ 11038348 w 12139750"/>
              <a:gd name="connsiteY611" fmla="*/ 5799178 h 6858290"/>
              <a:gd name="connsiteX612" fmla="*/ 10701413 w 12139750"/>
              <a:gd name="connsiteY612" fmla="*/ 5973803 h 6858290"/>
              <a:gd name="connsiteX613" fmla="*/ 10648112 w 12139750"/>
              <a:gd name="connsiteY613" fmla="*/ 5956720 h 6858290"/>
              <a:gd name="connsiteX614" fmla="*/ 10644305 w 12139750"/>
              <a:gd name="connsiteY614" fmla="*/ 5937739 h 6858290"/>
              <a:gd name="connsiteX615" fmla="*/ 10665244 w 12139750"/>
              <a:gd name="connsiteY615" fmla="*/ 5903573 h 6858290"/>
              <a:gd name="connsiteX616" fmla="*/ 11002180 w 12139750"/>
              <a:gd name="connsiteY616" fmla="*/ 5730846 h 6858290"/>
              <a:gd name="connsiteX617" fmla="*/ 11032399 w 12139750"/>
              <a:gd name="connsiteY617" fmla="*/ 5727762 h 6858290"/>
              <a:gd name="connsiteX618" fmla="*/ 8723506 w 12139750"/>
              <a:gd name="connsiteY618" fmla="*/ 5727762 h 6858290"/>
              <a:gd name="connsiteX619" fmla="*/ 8745635 w 12139750"/>
              <a:gd name="connsiteY619" fmla="*/ 5746031 h 6858290"/>
              <a:gd name="connsiteX620" fmla="*/ 8728503 w 12139750"/>
              <a:gd name="connsiteY620" fmla="*/ 5799178 h 6858290"/>
              <a:gd name="connsiteX621" fmla="*/ 8391568 w 12139750"/>
              <a:gd name="connsiteY621" fmla="*/ 5973803 h 6858290"/>
              <a:gd name="connsiteX622" fmla="*/ 8338267 w 12139750"/>
              <a:gd name="connsiteY622" fmla="*/ 5956720 h 6858290"/>
              <a:gd name="connsiteX623" fmla="*/ 8334460 w 12139750"/>
              <a:gd name="connsiteY623" fmla="*/ 5937739 h 6858290"/>
              <a:gd name="connsiteX624" fmla="*/ 8355399 w 12139750"/>
              <a:gd name="connsiteY624" fmla="*/ 5903573 h 6858290"/>
              <a:gd name="connsiteX625" fmla="*/ 8694238 w 12139750"/>
              <a:gd name="connsiteY625" fmla="*/ 5730846 h 6858290"/>
              <a:gd name="connsiteX626" fmla="*/ 8723506 w 12139750"/>
              <a:gd name="connsiteY626" fmla="*/ 5727762 h 6858290"/>
              <a:gd name="connsiteX627" fmla="*/ 11603271 w 12139750"/>
              <a:gd name="connsiteY627" fmla="*/ 5714468 h 6858290"/>
              <a:gd name="connsiteX628" fmla="*/ 11625400 w 12139750"/>
              <a:gd name="connsiteY628" fmla="*/ 5733802 h 6858290"/>
              <a:gd name="connsiteX629" fmla="*/ 11608268 w 12139750"/>
              <a:gd name="connsiteY629" fmla="*/ 5787271 h 6858290"/>
              <a:gd name="connsiteX630" fmla="*/ 11271333 w 12139750"/>
              <a:gd name="connsiteY630" fmla="*/ 5961045 h 6858290"/>
              <a:gd name="connsiteX631" fmla="*/ 11218032 w 12139750"/>
              <a:gd name="connsiteY631" fmla="*/ 5941949 h 6858290"/>
              <a:gd name="connsiteX632" fmla="*/ 11214225 w 12139750"/>
              <a:gd name="connsiteY632" fmla="*/ 5924762 h 6858290"/>
              <a:gd name="connsiteX633" fmla="*/ 11235164 w 12139750"/>
              <a:gd name="connsiteY633" fmla="*/ 5890389 h 6858290"/>
              <a:gd name="connsiteX634" fmla="*/ 11574003 w 12139750"/>
              <a:gd name="connsiteY634" fmla="*/ 5716616 h 6858290"/>
              <a:gd name="connsiteX635" fmla="*/ 11603271 w 12139750"/>
              <a:gd name="connsiteY635" fmla="*/ 5714468 h 6858290"/>
              <a:gd name="connsiteX636" fmla="*/ 8158886 w 12139750"/>
              <a:gd name="connsiteY636" fmla="*/ 5714468 h 6858290"/>
              <a:gd name="connsiteX637" fmla="*/ 8182036 w 12139750"/>
              <a:gd name="connsiteY637" fmla="*/ 5733802 h 6858290"/>
              <a:gd name="connsiteX638" fmla="*/ 8164852 w 12139750"/>
              <a:gd name="connsiteY638" fmla="*/ 5787271 h 6858290"/>
              <a:gd name="connsiteX639" fmla="*/ 7824994 w 12139750"/>
              <a:gd name="connsiteY639" fmla="*/ 5961045 h 6858290"/>
              <a:gd name="connsiteX640" fmla="*/ 7771533 w 12139750"/>
              <a:gd name="connsiteY640" fmla="*/ 5941949 h 6858290"/>
              <a:gd name="connsiteX641" fmla="*/ 7767715 w 12139750"/>
              <a:gd name="connsiteY641" fmla="*/ 5924762 h 6858290"/>
              <a:gd name="connsiteX642" fmla="*/ 7788717 w 12139750"/>
              <a:gd name="connsiteY642" fmla="*/ 5890389 h 6858290"/>
              <a:gd name="connsiteX643" fmla="*/ 8128575 w 12139750"/>
              <a:gd name="connsiteY643" fmla="*/ 5716616 h 6858290"/>
              <a:gd name="connsiteX644" fmla="*/ 8158886 w 12139750"/>
              <a:gd name="connsiteY644" fmla="*/ 5714468 h 6858290"/>
              <a:gd name="connsiteX645" fmla="*/ 12139750 w 12139750"/>
              <a:gd name="connsiteY645" fmla="*/ 5703893 h 6858290"/>
              <a:gd name="connsiteX646" fmla="*/ 12139750 w 12139750"/>
              <a:gd name="connsiteY646" fmla="*/ 5793652 h 6858290"/>
              <a:gd name="connsiteX647" fmla="*/ 11833309 w 12139750"/>
              <a:gd name="connsiteY647" fmla="*/ 5948344 h 6858290"/>
              <a:gd name="connsiteX648" fmla="*/ 11780015 w 12139750"/>
              <a:gd name="connsiteY648" fmla="*/ 5929246 h 6858290"/>
              <a:gd name="connsiteX649" fmla="*/ 11776208 w 12139750"/>
              <a:gd name="connsiteY649" fmla="*/ 5912058 h 6858290"/>
              <a:gd name="connsiteX650" fmla="*/ 11799048 w 12139750"/>
              <a:gd name="connsiteY650" fmla="*/ 5875772 h 6858290"/>
              <a:gd name="connsiteX651" fmla="*/ 12135943 w 12139750"/>
              <a:gd name="connsiteY651" fmla="*/ 5705803 h 6858290"/>
              <a:gd name="connsiteX652" fmla="*/ 12139750 w 12139750"/>
              <a:gd name="connsiteY652" fmla="*/ 5703893 h 6858290"/>
              <a:gd name="connsiteX653" fmla="*/ 7600201 w 12139750"/>
              <a:gd name="connsiteY653" fmla="*/ 5703365 h 6858290"/>
              <a:gd name="connsiteX654" fmla="*/ 7623265 w 12139750"/>
              <a:gd name="connsiteY654" fmla="*/ 5722723 h 6858290"/>
              <a:gd name="connsiteX655" fmla="*/ 7604243 w 12139750"/>
              <a:gd name="connsiteY655" fmla="*/ 5776258 h 6858290"/>
              <a:gd name="connsiteX656" fmla="*/ 7267560 w 12139750"/>
              <a:gd name="connsiteY656" fmla="*/ 5948334 h 6858290"/>
              <a:gd name="connsiteX657" fmla="*/ 7214299 w 12139750"/>
              <a:gd name="connsiteY657" fmla="*/ 5929214 h 6858290"/>
              <a:gd name="connsiteX658" fmla="*/ 7210495 w 12139750"/>
              <a:gd name="connsiteY658" fmla="*/ 5912007 h 6858290"/>
              <a:gd name="connsiteX659" fmla="*/ 7231419 w 12139750"/>
              <a:gd name="connsiteY659" fmla="*/ 5875680 h 6858290"/>
              <a:gd name="connsiteX660" fmla="*/ 7570004 w 12139750"/>
              <a:gd name="connsiteY660" fmla="*/ 5705516 h 6858290"/>
              <a:gd name="connsiteX661" fmla="*/ 7600201 w 12139750"/>
              <a:gd name="connsiteY661" fmla="*/ 5703365 h 6858290"/>
              <a:gd name="connsiteX662" fmla="*/ 7047645 w 12139750"/>
              <a:gd name="connsiteY662" fmla="*/ 5692216 h 6858290"/>
              <a:gd name="connsiteX663" fmla="*/ 7070778 w 12139750"/>
              <a:gd name="connsiteY663" fmla="*/ 5711480 h 6858290"/>
              <a:gd name="connsiteX664" fmla="*/ 7051700 w 12139750"/>
              <a:gd name="connsiteY664" fmla="*/ 5766658 h 6858290"/>
              <a:gd name="connsiteX665" fmla="*/ 6714006 w 12139750"/>
              <a:gd name="connsiteY665" fmla="*/ 5934092 h 6858290"/>
              <a:gd name="connsiteX666" fmla="*/ 6658677 w 12139750"/>
              <a:gd name="connsiteY666" fmla="*/ 5915066 h 6858290"/>
              <a:gd name="connsiteX667" fmla="*/ 6654862 w 12139750"/>
              <a:gd name="connsiteY667" fmla="*/ 5897942 h 6858290"/>
              <a:gd name="connsiteX668" fmla="*/ 6677756 w 12139750"/>
              <a:gd name="connsiteY668" fmla="*/ 5861791 h 6858290"/>
              <a:gd name="connsiteX669" fmla="*/ 7017358 w 12139750"/>
              <a:gd name="connsiteY669" fmla="*/ 5694356 h 6858290"/>
              <a:gd name="connsiteX670" fmla="*/ 7047645 w 12139750"/>
              <a:gd name="connsiteY670" fmla="*/ 5692216 h 6858290"/>
              <a:gd name="connsiteX671" fmla="*/ 6486856 w 12139750"/>
              <a:gd name="connsiteY671" fmla="*/ 5678743 h 6858290"/>
              <a:gd name="connsiteX672" fmla="*/ 6526266 w 12139750"/>
              <a:gd name="connsiteY672" fmla="*/ 5700683 h 6858290"/>
              <a:gd name="connsiteX673" fmla="*/ 6507201 w 12139750"/>
              <a:gd name="connsiteY673" fmla="*/ 5755860 h 6858290"/>
              <a:gd name="connsiteX674" fmla="*/ 6167854 w 12139750"/>
              <a:gd name="connsiteY674" fmla="*/ 5921392 h 6858290"/>
              <a:gd name="connsiteX675" fmla="*/ 6114474 w 12139750"/>
              <a:gd name="connsiteY675" fmla="*/ 5902366 h 6858290"/>
              <a:gd name="connsiteX676" fmla="*/ 6108755 w 12139750"/>
              <a:gd name="connsiteY676" fmla="*/ 5883339 h 6858290"/>
              <a:gd name="connsiteX677" fmla="*/ 6131632 w 12139750"/>
              <a:gd name="connsiteY677" fmla="*/ 5847188 h 6858290"/>
              <a:gd name="connsiteX678" fmla="*/ 6470979 w 12139750"/>
              <a:gd name="connsiteY678" fmla="*/ 5683559 h 6858290"/>
              <a:gd name="connsiteX679" fmla="*/ 6486856 w 12139750"/>
              <a:gd name="connsiteY679" fmla="*/ 5678743 h 6858290"/>
              <a:gd name="connsiteX680" fmla="*/ 5956806 w 12139750"/>
              <a:gd name="connsiteY680" fmla="*/ 5667777 h 6858290"/>
              <a:gd name="connsiteX681" fmla="*/ 5980159 w 12139750"/>
              <a:gd name="connsiteY681" fmla="*/ 5688018 h 6858290"/>
              <a:gd name="connsiteX682" fmla="*/ 5961095 w 12139750"/>
              <a:gd name="connsiteY682" fmla="*/ 5743263 h 6858290"/>
              <a:gd name="connsiteX683" fmla="*/ 5621756 w 12139750"/>
              <a:gd name="connsiteY683" fmla="*/ 5907093 h 6858290"/>
              <a:gd name="connsiteX684" fmla="*/ 5566471 w 12139750"/>
              <a:gd name="connsiteY684" fmla="*/ 5888043 h 6858290"/>
              <a:gd name="connsiteX685" fmla="*/ 5562659 w 12139750"/>
              <a:gd name="connsiteY685" fmla="*/ 5868993 h 6858290"/>
              <a:gd name="connsiteX686" fmla="*/ 5585535 w 12139750"/>
              <a:gd name="connsiteY686" fmla="*/ 5832798 h 6858290"/>
              <a:gd name="connsiteX687" fmla="*/ 5924873 w 12139750"/>
              <a:gd name="connsiteY687" fmla="*/ 5668968 h 6858290"/>
              <a:gd name="connsiteX688" fmla="*/ 5956806 w 12139750"/>
              <a:gd name="connsiteY688" fmla="*/ 5667777 h 6858290"/>
              <a:gd name="connsiteX689" fmla="*/ 397251 w 12139750"/>
              <a:gd name="connsiteY689" fmla="*/ 5667777 h 6858290"/>
              <a:gd name="connsiteX690" fmla="*/ 420367 w 12139750"/>
              <a:gd name="connsiteY690" fmla="*/ 5688018 h 6858290"/>
              <a:gd name="connsiteX691" fmla="*/ 401303 w 12139750"/>
              <a:gd name="connsiteY691" fmla="*/ 5743263 h 6858290"/>
              <a:gd name="connsiteX692" fmla="*/ 63863 w 12139750"/>
              <a:gd name="connsiteY692" fmla="*/ 5907093 h 6858290"/>
              <a:gd name="connsiteX693" fmla="*/ 8576 w 12139750"/>
              <a:gd name="connsiteY693" fmla="*/ 5888043 h 6858290"/>
              <a:gd name="connsiteX694" fmla="*/ 4764 w 12139750"/>
              <a:gd name="connsiteY694" fmla="*/ 5868993 h 6858290"/>
              <a:gd name="connsiteX695" fmla="*/ 27641 w 12139750"/>
              <a:gd name="connsiteY695" fmla="*/ 5832798 h 6858290"/>
              <a:gd name="connsiteX696" fmla="*/ 366987 w 12139750"/>
              <a:gd name="connsiteY696" fmla="*/ 5668968 h 6858290"/>
              <a:gd name="connsiteX697" fmla="*/ 397251 w 12139750"/>
              <a:gd name="connsiteY697" fmla="*/ 5667777 h 6858290"/>
              <a:gd name="connsiteX698" fmla="*/ 5407592 w 12139750"/>
              <a:gd name="connsiteY698" fmla="*/ 5656676 h 6858290"/>
              <a:gd name="connsiteX699" fmla="*/ 5432448 w 12139750"/>
              <a:gd name="connsiteY699" fmla="*/ 5676941 h 6858290"/>
              <a:gd name="connsiteX700" fmla="*/ 5411416 w 12139750"/>
              <a:gd name="connsiteY700" fmla="*/ 5732255 h 6858290"/>
              <a:gd name="connsiteX701" fmla="*/ 5071065 w 12139750"/>
              <a:gd name="connsiteY701" fmla="*/ 5894382 h 6858290"/>
              <a:gd name="connsiteX702" fmla="*/ 5015620 w 12139750"/>
              <a:gd name="connsiteY702" fmla="*/ 5873401 h 6858290"/>
              <a:gd name="connsiteX703" fmla="*/ 5011797 w 12139750"/>
              <a:gd name="connsiteY703" fmla="*/ 5856234 h 6858290"/>
              <a:gd name="connsiteX704" fmla="*/ 5036652 w 12139750"/>
              <a:gd name="connsiteY704" fmla="*/ 5818087 h 6858290"/>
              <a:gd name="connsiteX705" fmla="*/ 5377000 w 12139750"/>
              <a:gd name="connsiteY705" fmla="*/ 5657868 h 6858290"/>
              <a:gd name="connsiteX706" fmla="*/ 5407592 w 12139750"/>
              <a:gd name="connsiteY706" fmla="*/ 5656676 h 6858290"/>
              <a:gd name="connsiteX707" fmla="*/ 941847 w 12139750"/>
              <a:gd name="connsiteY707" fmla="*/ 5656676 h 6858290"/>
              <a:gd name="connsiteX708" fmla="*/ 965201 w 12139750"/>
              <a:gd name="connsiteY708" fmla="*/ 5676941 h 6858290"/>
              <a:gd name="connsiteX709" fmla="*/ 946137 w 12139750"/>
              <a:gd name="connsiteY709" fmla="*/ 5732255 h 6858290"/>
              <a:gd name="connsiteX710" fmla="*/ 606791 w 12139750"/>
              <a:gd name="connsiteY710" fmla="*/ 5894382 h 6858290"/>
              <a:gd name="connsiteX711" fmla="*/ 551504 w 12139750"/>
              <a:gd name="connsiteY711" fmla="*/ 5873401 h 6858290"/>
              <a:gd name="connsiteX712" fmla="*/ 547691 w 12139750"/>
              <a:gd name="connsiteY712" fmla="*/ 5856234 h 6858290"/>
              <a:gd name="connsiteX713" fmla="*/ 570568 w 12139750"/>
              <a:gd name="connsiteY713" fmla="*/ 5818087 h 6858290"/>
              <a:gd name="connsiteX714" fmla="*/ 909914 w 12139750"/>
              <a:gd name="connsiteY714" fmla="*/ 5657868 h 6858290"/>
              <a:gd name="connsiteX715" fmla="*/ 941847 w 12139750"/>
              <a:gd name="connsiteY715" fmla="*/ 5656676 h 6858290"/>
              <a:gd name="connsiteX716" fmla="*/ 4853505 w 12139750"/>
              <a:gd name="connsiteY716" fmla="*/ 5644857 h 6858290"/>
              <a:gd name="connsiteX717" fmla="*/ 4876847 w 12139750"/>
              <a:gd name="connsiteY717" fmla="*/ 5665864 h 6858290"/>
              <a:gd name="connsiteX718" fmla="*/ 4855889 w 12139750"/>
              <a:gd name="connsiteY718" fmla="*/ 5723158 h 6858290"/>
              <a:gd name="connsiteX719" fmla="*/ 4516799 w 12139750"/>
              <a:gd name="connsiteY719" fmla="*/ 5881669 h 6858290"/>
              <a:gd name="connsiteX720" fmla="*/ 4461553 w 12139750"/>
              <a:gd name="connsiteY720" fmla="*/ 5860661 h 6858290"/>
              <a:gd name="connsiteX721" fmla="*/ 4457744 w 12139750"/>
              <a:gd name="connsiteY721" fmla="*/ 5843473 h 6858290"/>
              <a:gd name="connsiteX722" fmla="*/ 4482509 w 12139750"/>
              <a:gd name="connsiteY722" fmla="*/ 5805278 h 6858290"/>
              <a:gd name="connsiteX723" fmla="*/ 4821594 w 12139750"/>
              <a:gd name="connsiteY723" fmla="*/ 5646767 h 6858290"/>
              <a:gd name="connsiteX724" fmla="*/ 4853505 w 12139750"/>
              <a:gd name="connsiteY724" fmla="*/ 5644857 h 6858290"/>
              <a:gd name="connsiteX725" fmla="*/ 1487895 w 12139750"/>
              <a:gd name="connsiteY725" fmla="*/ 5644857 h 6858290"/>
              <a:gd name="connsiteX726" fmla="*/ 1512898 w 12139750"/>
              <a:gd name="connsiteY726" fmla="*/ 5665864 h 6858290"/>
              <a:gd name="connsiteX727" fmla="*/ 1491943 w 12139750"/>
              <a:gd name="connsiteY727" fmla="*/ 5723158 h 6858290"/>
              <a:gd name="connsiteX728" fmla="*/ 1152849 w 12139750"/>
              <a:gd name="connsiteY728" fmla="*/ 5881669 h 6858290"/>
              <a:gd name="connsiteX729" fmla="*/ 1097603 w 12139750"/>
              <a:gd name="connsiteY729" fmla="*/ 5860661 h 6858290"/>
              <a:gd name="connsiteX730" fmla="*/ 1093793 w 12139750"/>
              <a:gd name="connsiteY730" fmla="*/ 5843473 h 6858290"/>
              <a:gd name="connsiteX731" fmla="*/ 1116653 w 12139750"/>
              <a:gd name="connsiteY731" fmla="*/ 5805278 h 6858290"/>
              <a:gd name="connsiteX732" fmla="*/ 1455748 w 12139750"/>
              <a:gd name="connsiteY732" fmla="*/ 5646767 h 6858290"/>
              <a:gd name="connsiteX733" fmla="*/ 1487895 w 12139750"/>
              <a:gd name="connsiteY733" fmla="*/ 5644857 h 6858290"/>
              <a:gd name="connsiteX734" fmla="*/ 4280333 w 12139750"/>
              <a:gd name="connsiteY734" fmla="*/ 5631131 h 6858290"/>
              <a:gd name="connsiteX735" fmla="*/ 4319591 w 12139750"/>
              <a:gd name="connsiteY735" fmla="*/ 5654883 h 6858290"/>
              <a:gd name="connsiteX736" fmla="*/ 4298558 w 12139750"/>
              <a:gd name="connsiteY736" fmla="*/ 5711818 h 6858290"/>
              <a:gd name="connsiteX737" fmla="*/ 3958230 w 12139750"/>
              <a:gd name="connsiteY737" fmla="*/ 5867442 h 6858290"/>
              <a:gd name="connsiteX738" fmla="*/ 3902775 w 12139750"/>
              <a:gd name="connsiteY738" fmla="*/ 5846565 h 6858290"/>
              <a:gd name="connsiteX739" fmla="*/ 3898949 w 12139750"/>
              <a:gd name="connsiteY739" fmla="*/ 5829485 h 6858290"/>
              <a:gd name="connsiteX740" fmla="*/ 3923810 w 12139750"/>
              <a:gd name="connsiteY740" fmla="*/ 5789630 h 6858290"/>
              <a:gd name="connsiteX741" fmla="*/ 4264140 w 12139750"/>
              <a:gd name="connsiteY741" fmla="*/ 5635905 h 6858290"/>
              <a:gd name="connsiteX742" fmla="*/ 4280333 w 12139750"/>
              <a:gd name="connsiteY742" fmla="*/ 5631131 h 6858290"/>
              <a:gd name="connsiteX743" fmla="*/ 2025802 w 12139750"/>
              <a:gd name="connsiteY743" fmla="*/ 5631130 h 6858290"/>
              <a:gd name="connsiteX744" fmla="*/ 2066916 w 12139750"/>
              <a:gd name="connsiteY744" fmla="*/ 5654883 h 6858290"/>
              <a:gd name="connsiteX745" fmla="*/ 2045894 w 12139750"/>
              <a:gd name="connsiteY745" fmla="*/ 5711818 h 6858290"/>
              <a:gd name="connsiteX746" fmla="*/ 1705799 w 12139750"/>
              <a:gd name="connsiteY746" fmla="*/ 5867442 h 6858290"/>
              <a:gd name="connsiteX747" fmla="*/ 1648480 w 12139750"/>
              <a:gd name="connsiteY747" fmla="*/ 5846565 h 6858290"/>
              <a:gd name="connsiteX748" fmla="*/ 1644659 w 12139750"/>
              <a:gd name="connsiteY748" fmla="*/ 5829485 h 6858290"/>
              <a:gd name="connsiteX749" fmla="*/ 1669497 w 12139750"/>
              <a:gd name="connsiteY749" fmla="*/ 5789630 h 6858290"/>
              <a:gd name="connsiteX750" fmla="*/ 2009592 w 12139750"/>
              <a:gd name="connsiteY750" fmla="*/ 5635905 h 6858290"/>
              <a:gd name="connsiteX751" fmla="*/ 2025802 w 12139750"/>
              <a:gd name="connsiteY751" fmla="*/ 5631130 h 6858290"/>
              <a:gd name="connsiteX752" fmla="*/ 3732520 w 12139750"/>
              <a:gd name="connsiteY752" fmla="*/ 5620423 h 6858290"/>
              <a:gd name="connsiteX753" fmla="*/ 3756079 w 12139750"/>
              <a:gd name="connsiteY753" fmla="*/ 5642413 h 6858290"/>
              <a:gd name="connsiteX754" fmla="*/ 3735138 w 12139750"/>
              <a:gd name="connsiteY754" fmla="*/ 5699780 h 6858290"/>
              <a:gd name="connsiteX755" fmla="*/ 3396310 w 12139750"/>
              <a:gd name="connsiteY755" fmla="*/ 5854670 h 6858290"/>
              <a:gd name="connsiteX756" fmla="*/ 3339198 w 12139750"/>
              <a:gd name="connsiteY756" fmla="*/ 5833635 h 6858290"/>
              <a:gd name="connsiteX757" fmla="*/ 3335390 w 12139750"/>
              <a:gd name="connsiteY757" fmla="*/ 5814513 h 6858290"/>
              <a:gd name="connsiteX758" fmla="*/ 3360137 w 12139750"/>
              <a:gd name="connsiteY758" fmla="*/ 5776269 h 6858290"/>
              <a:gd name="connsiteX759" fmla="*/ 3698969 w 12139750"/>
              <a:gd name="connsiteY759" fmla="*/ 5621379 h 6858290"/>
              <a:gd name="connsiteX760" fmla="*/ 3732520 w 12139750"/>
              <a:gd name="connsiteY760" fmla="*/ 5620423 h 6858290"/>
              <a:gd name="connsiteX761" fmla="*/ 2598307 w 12139750"/>
              <a:gd name="connsiteY761" fmla="*/ 5620423 h 6858290"/>
              <a:gd name="connsiteX762" fmla="*/ 2622577 w 12139750"/>
              <a:gd name="connsiteY762" fmla="*/ 5642413 h 6858290"/>
              <a:gd name="connsiteX763" fmla="*/ 2601638 w 12139750"/>
              <a:gd name="connsiteY763" fmla="*/ 5699780 h 6858290"/>
              <a:gd name="connsiteX764" fmla="*/ 2262794 w 12139750"/>
              <a:gd name="connsiteY764" fmla="*/ 5854670 h 6858290"/>
              <a:gd name="connsiteX765" fmla="*/ 2205686 w 12139750"/>
              <a:gd name="connsiteY765" fmla="*/ 5833635 h 6858290"/>
              <a:gd name="connsiteX766" fmla="*/ 2201878 w 12139750"/>
              <a:gd name="connsiteY766" fmla="*/ 5814513 h 6858290"/>
              <a:gd name="connsiteX767" fmla="*/ 2226626 w 12139750"/>
              <a:gd name="connsiteY767" fmla="*/ 5776269 h 6858290"/>
              <a:gd name="connsiteX768" fmla="*/ 2565469 w 12139750"/>
              <a:gd name="connsiteY768" fmla="*/ 5621379 h 6858290"/>
              <a:gd name="connsiteX769" fmla="*/ 2598307 w 12139750"/>
              <a:gd name="connsiteY769" fmla="*/ 5620423 h 6858290"/>
              <a:gd name="connsiteX770" fmla="*/ 3160334 w 12139750"/>
              <a:gd name="connsiteY770" fmla="*/ 5609267 h 6858290"/>
              <a:gd name="connsiteX771" fmla="*/ 3184587 w 12139750"/>
              <a:gd name="connsiteY771" fmla="*/ 5631147 h 6858290"/>
              <a:gd name="connsiteX772" fmla="*/ 3161760 w 12139750"/>
              <a:gd name="connsiteY772" fmla="*/ 5688224 h 6858290"/>
              <a:gd name="connsiteX773" fmla="*/ 2823162 w 12139750"/>
              <a:gd name="connsiteY773" fmla="*/ 5840431 h 6858290"/>
              <a:gd name="connsiteX774" fmla="*/ 2766096 w 12139750"/>
              <a:gd name="connsiteY774" fmla="*/ 5817600 h 6858290"/>
              <a:gd name="connsiteX775" fmla="*/ 2762293 w 12139750"/>
              <a:gd name="connsiteY775" fmla="*/ 5800477 h 6858290"/>
              <a:gd name="connsiteX776" fmla="*/ 2787019 w 12139750"/>
              <a:gd name="connsiteY776" fmla="*/ 5760522 h 6858290"/>
              <a:gd name="connsiteX777" fmla="*/ 3127521 w 12139750"/>
              <a:gd name="connsiteY777" fmla="*/ 5610219 h 6858290"/>
              <a:gd name="connsiteX778" fmla="*/ 3160334 w 12139750"/>
              <a:gd name="connsiteY778" fmla="*/ 5609267 h 6858290"/>
              <a:gd name="connsiteX779" fmla="*/ 9870770 w 12139750"/>
              <a:gd name="connsiteY779" fmla="*/ 5423698 h 6858290"/>
              <a:gd name="connsiteX780" fmla="*/ 9891790 w 12139750"/>
              <a:gd name="connsiteY780" fmla="*/ 5439415 h 6858290"/>
              <a:gd name="connsiteX781" fmla="*/ 9878414 w 12139750"/>
              <a:gd name="connsiteY781" fmla="*/ 5488945 h 6858290"/>
              <a:gd name="connsiteX782" fmla="*/ 9542094 w 12139750"/>
              <a:gd name="connsiteY782" fmla="*/ 5683255 h 6858290"/>
              <a:gd name="connsiteX783" fmla="*/ 9492411 w 12139750"/>
              <a:gd name="connsiteY783" fmla="*/ 5669920 h 6858290"/>
              <a:gd name="connsiteX784" fmla="*/ 9488589 w 12139750"/>
              <a:gd name="connsiteY784" fmla="*/ 5650870 h 6858290"/>
              <a:gd name="connsiteX785" fmla="*/ 9505787 w 12139750"/>
              <a:gd name="connsiteY785" fmla="*/ 5620390 h 6858290"/>
              <a:gd name="connsiteX786" fmla="*/ 9844018 w 12139750"/>
              <a:gd name="connsiteY786" fmla="*/ 5427985 h 6858290"/>
              <a:gd name="connsiteX787" fmla="*/ 9870770 w 12139750"/>
              <a:gd name="connsiteY787" fmla="*/ 5423698 h 6858290"/>
              <a:gd name="connsiteX788" fmla="*/ 10454072 w 12139750"/>
              <a:gd name="connsiteY788" fmla="*/ 5413206 h 6858290"/>
              <a:gd name="connsiteX789" fmla="*/ 10476013 w 12139750"/>
              <a:gd name="connsiteY789" fmla="*/ 5429836 h 6858290"/>
              <a:gd name="connsiteX790" fmla="*/ 10460750 w 12139750"/>
              <a:gd name="connsiteY790" fmla="*/ 5479250 h 6858290"/>
              <a:gd name="connsiteX791" fmla="*/ 10123044 w 12139750"/>
              <a:gd name="connsiteY791" fmla="*/ 5667402 h 6858290"/>
              <a:gd name="connsiteX792" fmla="*/ 10075346 w 12139750"/>
              <a:gd name="connsiteY792" fmla="*/ 5654098 h 6858290"/>
              <a:gd name="connsiteX793" fmla="*/ 10069622 w 12139750"/>
              <a:gd name="connsiteY793" fmla="*/ 5636994 h 6858290"/>
              <a:gd name="connsiteX794" fmla="*/ 10088701 w 12139750"/>
              <a:gd name="connsiteY794" fmla="*/ 5604685 h 6858290"/>
              <a:gd name="connsiteX795" fmla="*/ 10426407 w 12139750"/>
              <a:gd name="connsiteY795" fmla="*/ 5416532 h 6858290"/>
              <a:gd name="connsiteX796" fmla="*/ 10454072 w 12139750"/>
              <a:gd name="connsiteY796" fmla="*/ 5413206 h 6858290"/>
              <a:gd name="connsiteX797" fmla="*/ 9292639 w 12139750"/>
              <a:gd name="connsiteY797" fmla="*/ 5413206 h 6858290"/>
              <a:gd name="connsiteX798" fmla="*/ 9313626 w 12139750"/>
              <a:gd name="connsiteY798" fmla="*/ 5429836 h 6858290"/>
              <a:gd name="connsiteX799" fmla="*/ 9300271 w 12139750"/>
              <a:gd name="connsiteY799" fmla="*/ 5479250 h 6858290"/>
              <a:gd name="connsiteX800" fmla="*/ 8962565 w 12139750"/>
              <a:gd name="connsiteY800" fmla="*/ 5667402 h 6858290"/>
              <a:gd name="connsiteX801" fmla="*/ 8912959 w 12139750"/>
              <a:gd name="connsiteY801" fmla="*/ 5654098 h 6858290"/>
              <a:gd name="connsiteX802" fmla="*/ 8909143 w 12139750"/>
              <a:gd name="connsiteY802" fmla="*/ 5636994 h 6858290"/>
              <a:gd name="connsiteX803" fmla="*/ 8928222 w 12139750"/>
              <a:gd name="connsiteY803" fmla="*/ 5604685 h 6858290"/>
              <a:gd name="connsiteX804" fmla="*/ 9265928 w 12139750"/>
              <a:gd name="connsiteY804" fmla="*/ 5416532 h 6858290"/>
              <a:gd name="connsiteX805" fmla="*/ 9292639 w 12139750"/>
              <a:gd name="connsiteY805" fmla="*/ 5413206 h 6858290"/>
              <a:gd name="connsiteX806" fmla="*/ 11031715 w 12139750"/>
              <a:gd name="connsiteY806" fmla="*/ 5402102 h 6858290"/>
              <a:gd name="connsiteX807" fmla="*/ 11053878 w 12139750"/>
              <a:gd name="connsiteY807" fmla="*/ 5418751 h 6858290"/>
              <a:gd name="connsiteX808" fmla="*/ 11038626 w 12139750"/>
              <a:gd name="connsiteY808" fmla="*/ 5470125 h 6858290"/>
              <a:gd name="connsiteX809" fmla="*/ 10701180 w 12139750"/>
              <a:gd name="connsiteY809" fmla="*/ 5654692 h 6858290"/>
              <a:gd name="connsiteX810" fmla="*/ 10649705 w 12139750"/>
              <a:gd name="connsiteY810" fmla="*/ 5639470 h 6858290"/>
              <a:gd name="connsiteX811" fmla="*/ 10645892 w 12139750"/>
              <a:gd name="connsiteY811" fmla="*/ 5622345 h 6858290"/>
              <a:gd name="connsiteX812" fmla="*/ 10664957 w 12139750"/>
              <a:gd name="connsiteY812" fmla="*/ 5589998 h 6858290"/>
              <a:gd name="connsiteX813" fmla="*/ 11002403 w 12139750"/>
              <a:gd name="connsiteY813" fmla="*/ 5405432 h 6858290"/>
              <a:gd name="connsiteX814" fmla="*/ 11031715 w 12139750"/>
              <a:gd name="connsiteY814" fmla="*/ 5402102 h 6858290"/>
              <a:gd name="connsiteX815" fmla="*/ 8722109 w 12139750"/>
              <a:gd name="connsiteY815" fmla="*/ 5402102 h 6858290"/>
              <a:gd name="connsiteX816" fmla="*/ 8744034 w 12139750"/>
              <a:gd name="connsiteY816" fmla="*/ 5418751 h 6858290"/>
              <a:gd name="connsiteX817" fmla="*/ 8728782 w 12139750"/>
              <a:gd name="connsiteY817" fmla="*/ 5470125 h 6858290"/>
              <a:gd name="connsiteX818" fmla="*/ 8391336 w 12139750"/>
              <a:gd name="connsiteY818" fmla="*/ 5654692 h 6858290"/>
              <a:gd name="connsiteX819" fmla="*/ 8341767 w 12139750"/>
              <a:gd name="connsiteY819" fmla="*/ 5639470 h 6858290"/>
              <a:gd name="connsiteX820" fmla="*/ 8336048 w 12139750"/>
              <a:gd name="connsiteY820" fmla="*/ 5622345 h 6858290"/>
              <a:gd name="connsiteX821" fmla="*/ 8355113 w 12139750"/>
              <a:gd name="connsiteY821" fmla="*/ 5589998 h 6858290"/>
              <a:gd name="connsiteX822" fmla="*/ 8694465 w 12139750"/>
              <a:gd name="connsiteY822" fmla="*/ 5405432 h 6858290"/>
              <a:gd name="connsiteX823" fmla="*/ 8722109 w 12139750"/>
              <a:gd name="connsiteY823" fmla="*/ 5402102 h 6858290"/>
              <a:gd name="connsiteX824" fmla="*/ 11601635 w 12139750"/>
              <a:gd name="connsiteY824" fmla="*/ 5389647 h 6858290"/>
              <a:gd name="connsiteX825" fmla="*/ 11623798 w 12139750"/>
              <a:gd name="connsiteY825" fmla="*/ 5407983 h 6858290"/>
              <a:gd name="connsiteX826" fmla="*/ 11608546 w 12139750"/>
              <a:gd name="connsiteY826" fmla="*/ 5459418 h 6858290"/>
              <a:gd name="connsiteX827" fmla="*/ 11271100 w 12139750"/>
              <a:gd name="connsiteY827" fmla="*/ 5638488 h 6858290"/>
              <a:gd name="connsiteX828" fmla="*/ 11219625 w 12139750"/>
              <a:gd name="connsiteY828" fmla="*/ 5623248 h 6858290"/>
              <a:gd name="connsiteX829" fmla="*/ 11215812 w 12139750"/>
              <a:gd name="connsiteY829" fmla="*/ 5606103 h 6858290"/>
              <a:gd name="connsiteX830" fmla="*/ 11234877 w 12139750"/>
              <a:gd name="connsiteY830" fmla="*/ 5571813 h 6858290"/>
              <a:gd name="connsiteX831" fmla="*/ 11572323 w 12139750"/>
              <a:gd name="connsiteY831" fmla="*/ 5392743 h 6858290"/>
              <a:gd name="connsiteX832" fmla="*/ 11601635 w 12139750"/>
              <a:gd name="connsiteY832" fmla="*/ 5389647 h 6858290"/>
              <a:gd name="connsiteX833" fmla="*/ 8158325 w 12139750"/>
              <a:gd name="connsiteY833" fmla="*/ 5389647 h 6858290"/>
              <a:gd name="connsiteX834" fmla="*/ 8180471 w 12139750"/>
              <a:gd name="connsiteY834" fmla="*/ 5407983 h 6858290"/>
              <a:gd name="connsiteX835" fmla="*/ 8165230 w 12139750"/>
              <a:gd name="connsiteY835" fmla="*/ 5459418 h 6858290"/>
              <a:gd name="connsiteX836" fmla="*/ 7826136 w 12139750"/>
              <a:gd name="connsiteY836" fmla="*/ 5638488 h 6858290"/>
              <a:gd name="connsiteX837" fmla="*/ 7774700 w 12139750"/>
              <a:gd name="connsiteY837" fmla="*/ 5623248 h 6858290"/>
              <a:gd name="connsiteX838" fmla="*/ 7770890 w 12139750"/>
              <a:gd name="connsiteY838" fmla="*/ 5606103 h 6858290"/>
              <a:gd name="connsiteX839" fmla="*/ 7791845 w 12139750"/>
              <a:gd name="connsiteY839" fmla="*/ 5571813 h 6858290"/>
              <a:gd name="connsiteX840" fmla="*/ 8129035 w 12139750"/>
              <a:gd name="connsiteY840" fmla="*/ 5392743 h 6858290"/>
              <a:gd name="connsiteX841" fmla="*/ 8158325 w 12139750"/>
              <a:gd name="connsiteY841" fmla="*/ 5389647 h 6858290"/>
              <a:gd name="connsiteX842" fmla="*/ 12139750 w 12139750"/>
              <a:gd name="connsiteY842" fmla="*/ 5380043 h 6858290"/>
              <a:gd name="connsiteX843" fmla="*/ 12139750 w 12139750"/>
              <a:gd name="connsiteY843" fmla="*/ 5467782 h 6858290"/>
              <a:gd name="connsiteX844" fmla="*/ 11833041 w 12139750"/>
              <a:gd name="connsiteY844" fmla="*/ 5626094 h 6858290"/>
              <a:gd name="connsiteX845" fmla="*/ 11781605 w 12139750"/>
              <a:gd name="connsiteY845" fmla="*/ 5608928 h 6858290"/>
              <a:gd name="connsiteX846" fmla="*/ 11777795 w 12139750"/>
              <a:gd name="connsiteY846" fmla="*/ 5591761 h 6858290"/>
              <a:gd name="connsiteX847" fmla="*/ 11798750 w 12139750"/>
              <a:gd name="connsiteY847" fmla="*/ 5557428 h 6858290"/>
              <a:gd name="connsiteX848" fmla="*/ 12135940 w 12139750"/>
              <a:gd name="connsiteY848" fmla="*/ 5381950 h 6858290"/>
              <a:gd name="connsiteX849" fmla="*/ 12139750 w 12139750"/>
              <a:gd name="connsiteY849" fmla="*/ 5380043 h 6858290"/>
              <a:gd name="connsiteX850" fmla="*/ 7599540 w 12139750"/>
              <a:gd name="connsiteY850" fmla="*/ 5379505 h 6858290"/>
              <a:gd name="connsiteX851" fmla="*/ 7621670 w 12139750"/>
              <a:gd name="connsiteY851" fmla="*/ 5398839 h 6858290"/>
              <a:gd name="connsiteX852" fmla="*/ 7604538 w 12139750"/>
              <a:gd name="connsiteY852" fmla="*/ 5450398 h 6858290"/>
              <a:gd name="connsiteX853" fmla="*/ 7267602 w 12139750"/>
              <a:gd name="connsiteY853" fmla="*/ 5626082 h 6858290"/>
              <a:gd name="connsiteX854" fmla="*/ 7214302 w 12139750"/>
              <a:gd name="connsiteY854" fmla="*/ 5608895 h 6858290"/>
              <a:gd name="connsiteX855" fmla="*/ 7210495 w 12139750"/>
              <a:gd name="connsiteY855" fmla="*/ 5591709 h 6858290"/>
              <a:gd name="connsiteX856" fmla="*/ 7231434 w 12139750"/>
              <a:gd name="connsiteY856" fmla="*/ 5557336 h 6858290"/>
              <a:gd name="connsiteX857" fmla="*/ 7570273 w 12139750"/>
              <a:gd name="connsiteY857" fmla="*/ 5381653 h 6858290"/>
              <a:gd name="connsiteX858" fmla="*/ 7599540 w 12139750"/>
              <a:gd name="connsiteY858" fmla="*/ 5379505 h 6858290"/>
              <a:gd name="connsiteX859" fmla="*/ 7046905 w 12139750"/>
              <a:gd name="connsiteY859" fmla="*/ 5368357 h 6858290"/>
              <a:gd name="connsiteX860" fmla="*/ 7070771 w 12139750"/>
              <a:gd name="connsiteY860" fmla="*/ 5387598 h 6858290"/>
              <a:gd name="connsiteX861" fmla="*/ 7051678 w 12139750"/>
              <a:gd name="connsiteY861" fmla="*/ 5440808 h 6858290"/>
              <a:gd name="connsiteX862" fmla="*/ 6713729 w 12139750"/>
              <a:gd name="connsiteY862" fmla="*/ 5611841 h 6858290"/>
              <a:gd name="connsiteX863" fmla="*/ 6660268 w 12139750"/>
              <a:gd name="connsiteY863" fmla="*/ 5594738 h 6858290"/>
              <a:gd name="connsiteX864" fmla="*/ 6656450 w 12139750"/>
              <a:gd name="connsiteY864" fmla="*/ 5575734 h 6858290"/>
              <a:gd name="connsiteX865" fmla="*/ 6677452 w 12139750"/>
              <a:gd name="connsiteY865" fmla="*/ 5541527 h 6858290"/>
              <a:gd name="connsiteX866" fmla="*/ 7017310 w 12139750"/>
              <a:gd name="connsiteY866" fmla="*/ 5370495 h 6858290"/>
              <a:gd name="connsiteX867" fmla="*/ 7046905 w 12139750"/>
              <a:gd name="connsiteY867" fmla="*/ 5368357 h 6858290"/>
              <a:gd name="connsiteX868" fmla="*/ 6501958 w 12139750"/>
              <a:gd name="connsiteY868" fmla="*/ 5357490 h 6858290"/>
              <a:gd name="connsiteX869" fmla="*/ 6524359 w 12139750"/>
              <a:gd name="connsiteY869" fmla="*/ 5378420 h 6858290"/>
              <a:gd name="connsiteX870" fmla="*/ 6507201 w 12139750"/>
              <a:gd name="connsiteY870" fmla="*/ 5431695 h 6858290"/>
              <a:gd name="connsiteX871" fmla="*/ 6167854 w 12139750"/>
              <a:gd name="connsiteY871" fmla="*/ 5597227 h 6858290"/>
              <a:gd name="connsiteX872" fmla="*/ 6114474 w 12139750"/>
              <a:gd name="connsiteY872" fmla="*/ 5580103 h 6858290"/>
              <a:gd name="connsiteX873" fmla="*/ 6108755 w 12139750"/>
              <a:gd name="connsiteY873" fmla="*/ 5561076 h 6858290"/>
              <a:gd name="connsiteX874" fmla="*/ 6131632 w 12139750"/>
              <a:gd name="connsiteY874" fmla="*/ 5524925 h 6858290"/>
              <a:gd name="connsiteX875" fmla="*/ 6470979 w 12139750"/>
              <a:gd name="connsiteY875" fmla="*/ 5359393 h 6858290"/>
              <a:gd name="connsiteX876" fmla="*/ 6501958 w 12139750"/>
              <a:gd name="connsiteY876" fmla="*/ 5357490 h 6858290"/>
              <a:gd name="connsiteX877" fmla="*/ 5956806 w 12139750"/>
              <a:gd name="connsiteY877" fmla="*/ 5347061 h 6858290"/>
              <a:gd name="connsiteX878" fmla="*/ 5980159 w 12139750"/>
              <a:gd name="connsiteY878" fmla="*/ 5367201 h 6858290"/>
              <a:gd name="connsiteX879" fmla="*/ 5961095 w 12139750"/>
              <a:gd name="connsiteY879" fmla="*/ 5422171 h 6858290"/>
              <a:gd name="connsiteX880" fmla="*/ 5621756 w 12139750"/>
              <a:gd name="connsiteY880" fmla="*/ 5583290 h 6858290"/>
              <a:gd name="connsiteX881" fmla="*/ 5566471 w 12139750"/>
              <a:gd name="connsiteY881" fmla="*/ 5564335 h 6858290"/>
              <a:gd name="connsiteX882" fmla="*/ 5562659 w 12139750"/>
              <a:gd name="connsiteY882" fmla="*/ 5547275 h 6858290"/>
              <a:gd name="connsiteX883" fmla="*/ 5585535 w 12139750"/>
              <a:gd name="connsiteY883" fmla="*/ 5509365 h 6858290"/>
              <a:gd name="connsiteX884" fmla="*/ 5924873 w 12139750"/>
              <a:gd name="connsiteY884" fmla="*/ 5348245 h 6858290"/>
              <a:gd name="connsiteX885" fmla="*/ 5956806 w 12139750"/>
              <a:gd name="connsiteY885" fmla="*/ 5347061 h 6858290"/>
              <a:gd name="connsiteX886" fmla="*/ 398204 w 12139750"/>
              <a:gd name="connsiteY886" fmla="*/ 5347061 h 6858290"/>
              <a:gd name="connsiteX887" fmla="*/ 422273 w 12139750"/>
              <a:gd name="connsiteY887" fmla="*/ 5367201 h 6858290"/>
              <a:gd name="connsiteX888" fmla="*/ 401302 w 12139750"/>
              <a:gd name="connsiteY888" fmla="*/ 5422171 h 6858290"/>
              <a:gd name="connsiteX889" fmla="*/ 63863 w 12139750"/>
              <a:gd name="connsiteY889" fmla="*/ 5583290 h 6858290"/>
              <a:gd name="connsiteX890" fmla="*/ 8576 w 12139750"/>
              <a:gd name="connsiteY890" fmla="*/ 5564335 h 6858290"/>
              <a:gd name="connsiteX891" fmla="*/ 4763 w 12139750"/>
              <a:gd name="connsiteY891" fmla="*/ 5547275 h 6858290"/>
              <a:gd name="connsiteX892" fmla="*/ 27641 w 12139750"/>
              <a:gd name="connsiteY892" fmla="*/ 5509365 h 6858290"/>
              <a:gd name="connsiteX893" fmla="*/ 366986 w 12139750"/>
              <a:gd name="connsiteY893" fmla="*/ 5348245 h 6858290"/>
              <a:gd name="connsiteX894" fmla="*/ 398204 w 12139750"/>
              <a:gd name="connsiteY894" fmla="*/ 5347061 h 6858290"/>
              <a:gd name="connsiteX895" fmla="*/ 5409026 w 12139750"/>
              <a:gd name="connsiteY895" fmla="*/ 5334662 h 6858290"/>
              <a:gd name="connsiteX896" fmla="*/ 5432448 w 12139750"/>
              <a:gd name="connsiteY896" fmla="*/ 5356624 h 6858290"/>
              <a:gd name="connsiteX897" fmla="*/ 5411416 w 12139750"/>
              <a:gd name="connsiteY897" fmla="*/ 5412008 h 6858290"/>
              <a:gd name="connsiteX898" fmla="*/ 5071065 w 12139750"/>
              <a:gd name="connsiteY898" fmla="*/ 5570519 h 6858290"/>
              <a:gd name="connsiteX899" fmla="*/ 5015620 w 12139750"/>
              <a:gd name="connsiteY899" fmla="*/ 5549511 h 6858290"/>
              <a:gd name="connsiteX900" fmla="*/ 5011797 w 12139750"/>
              <a:gd name="connsiteY900" fmla="*/ 5532323 h 6858290"/>
              <a:gd name="connsiteX901" fmla="*/ 5036652 w 12139750"/>
              <a:gd name="connsiteY901" fmla="*/ 5494128 h 6858290"/>
              <a:gd name="connsiteX902" fmla="*/ 5377000 w 12139750"/>
              <a:gd name="connsiteY902" fmla="*/ 5335617 h 6858290"/>
              <a:gd name="connsiteX903" fmla="*/ 5409026 w 12139750"/>
              <a:gd name="connsiteY903" fmla="*/ 5334662 h 6858290"/>
              <a:gd name="connsiteX904" fmla="*/ 941871 w 12139750"/>
              <a:gd name="connsiteY904" fmla="*/ 5334662 h 6858290"/>
              <a:gd name="connsiteX905" fmla="*/ 965208 w 12139750"/>
              <a:gd name="connsiteY905" fmla="*/ 5356624 h 6858290"/>
              <a:gd name="connsiteX906" fmla="*/ 946158 w 12139750"/>
              <a:gd name="connsiteY906" fmla="*/ 5412008 h 6858290"/>
              <a:gd name="connsiteX907" fmla="*/ 605159 w 12139750"/>
              <a:gd name="connsiteY907" fmla="*/ 5570519 h 6858290"/>
              <a:gd name="connsiteX908" fmla="*/ 549913 w 12139750"/>
              <a:gd name="connsiteY908" fmla="*/ 5549511 h 6858290"/>
              <a:gd name="connsiteX909" fmla="*/ 546103 w 12139750"/>
              <a:gd name="connsiteY909" fmla="*/ 5532323 h 6858290"/>
              <a:gd name="connsiteX910" fmla="*/ 570868 w 12139750"/>
              <a:gd name="connsiteY910" fmla="*/ 5494128 h 6858290"/>
              <a:gd name="connsiteX911" fmla="*/ 909962 w 12139750"/>
              <a:gd name="connsiteY911" fmla="*/ 5335617 h 6858290"/>
              <a:gd name="connsiteX912" fmla="*/ 941871 w 12139750"/>
              <a:gd name="connsiteY912" fmla="*/ 5334662 h 6858290"/>
              <a:gd name="connsiteX913" fmla="*/ 4854192 w 12139750"/>
              <a:gd name="connsiteY913" fmla="*/ 5323799 h 6858290"/>
              <a:gd name="connsiteX914" fmla="*/ 4878448 w 12139750"/>
              <a:gd name="connsiteY914" fmla="*/ 5347462 h 6858290"/>
              <a:gd name="connsiteX915" fmla="*/ 4855617 w 12139750"/>
              <a:gd name="connsiteY915" fmla="*/ 5402917 h 6858290"/>
              <a:gd name="connsiteX916" fmla="*/ 4517030 w 12139750"/>
              <a:gd name="connsiteY916" fmla="*/ 5555894 h 6858290"/>
              <a:gd name="connsiteX917" fmla="*/ 4459961 w 12139750"/>
              <a:gd name="connsiteY917" fmla="*/ 5534860 h 6858290"/>
              <a:gd name="connsiteX918" fmla="*/ 4456156 w 12139750"/>
              <a:gd name="connsiteY918" fmla="*/ 5517650 h 6858290"/>
              <a:gd name="connsiteX919" fmla="*/ 4482788 w 12139750"/>
              <a:gd name="connsiteY919" fmla="*/ 5477493 h 6858290"/>
              <a:gd name="connsiteX920" fmla="*/ 4821375 w 12139750"/>
              <a:gd name="connsiteY920" fmla="*/ 5324516 h 6858290"/>
              <a:gd name="connsiteX921" fmla="*/ 4854192 w 12139750"/>
              <a:gd name="connsiteY921" fmla="*/ 5323799 h 6858290"/>
              <a:gd name="connsiteX922" fmla="*/ 1489585 w 12139750"/>
              <a:gd name="connsiteY922" fmla="*/ 5323799 h 6858290"/>
              <a:gd name="connsiteX923" fmla="*/ 1512904 w 12139750"/>
              <a:gd name="connsiteY923" fmla="*/ 5347462 h 6858290"/>
              <a:gd name="connsiteX924" fmla="*/ 1491964 w 12139750"/>
              <a:gd name="connsiteY924" fmla="*/ 5402917 h 6858290"/>
              <a:gd name="connsiteX925" fmla="*/ 1153121 w 12139750"/>
              <a:gd name="connsiteY925" fmla="*/ 5555894 h 6858290"/>
              <a:gd name="connsiteX926" fmla="*/ 1096012 w 12139750"/>
              <a:gd name="connsiteY926" fmla="*/ 5534860 h 6858290"/>
              <a:gd name="connsiteX927" fmla="*/ 1092205 w 12139750"/>
              <a:gd name="connsiteY927" fmla="*/ 5517650 h 6858290"/>
              <a:gd name="connsiteX928" fmla="*/ 1116952 w 12139750"/>
              <a:gd name="connsiteY928" fmla="*/ 5477493 h 6858290"/>
              <a:gd name="connsiteX929" fmla="*/ 1457699 w 12139750"/>
              <a:gd name="connsiteY929" fmla="*/ 5324516 h 6858290"/>
              <a:gd name="connsiteX930" fmla="*/ 1489585 w 12139750"/>
              <a:gd name="connsiteY930" fmla="*/ 5323799 h 6858290"/>
              <a:gd name="connsiteX931" fmla="*/ 4281187 w 12139750"/>
              <a:gd name="connsiteY931" fmla="*/ 5309975 h 6858290"/>
              <a:gd name="connsiteX932" fmla="*/ 4321192 w 12139750"/>
              <a:gd name="connsiteY932" fmla="*/ 5336228 h 6858290"/>
              <a:gd name="connsiteX933" fmla="*/ 4298281 w 12139750"/>
              <a:gd name="connsiteY933" fmla="*/ 5395283 h 6858290"/>
              <a:gd name="connsiteX934" fmla="*/ 3958460 w 12139750"/>
              <a:gd name="connsiteY934" fmla="*/ 5541968 h 6858290"/>
              <a:gd name="connsiteX935" fmla="*/ 3901183 w 12139750"/>
              <a:gd name="connsiteY935" fmla="*/ 5519108 h 6858290"/>
              <a:gd name="connsiteX936" fmla="*/ 3897363 w 12139750"/>
              <a:gd name="connsiteY936" fmla="*/ 5501963 h 6858290"/>
              <a:gd name="connsiteX937" fmla="*/ 3924095 w 12139750"/>
              <a:gd name="connsiteY937" fmla="*/ 5461958 h 6858290"/>
              <a:gd name="connsiteX938" fmla="*/ 4263914 w 12139750"/>
              <a:gd name="connsiteY938" fmla="*/ 5313368 h 6858290"/>
              <a:gd name="connsiteX939" fmla="*/ 4281187 w 12139750"/>
              <a:gd name="connsiteY939" fmla="*/ 5309975 h 6858290"/>
              <a:gd name="connsiteX940" fmla="*/ 2026929 w 12139750"/>
              <a:gd name="connsiteY940" fmla="*/ 5309974 h 6858290"/>
              <a:gd name="connsiteX941" fmla="*/ 2068518 w 12139750"/>
              <a:gd name="connsiteY941" fmla="*/ 5336228 h 6858290"/>
              <a:gd name="connsiteX942" fmla="*/ 2045620 w 12139750"/>
              <a:gd name="connsiteY942" fmla="*/ 5395283 h 6858290"/>
              <a:gd name="connsiteX943" fmla="*/ 1704121 w 12139750"/>
              <a:gd name="connsiteY943" fmla="*/ 5541968 h 6858290"/>
              <a:gd name="connsiteX944" fmla="*/ 1646887 w 12139750"/>
              <a:gd name="connsiteY944" fmla="*/ 5519108 h 6858290"/>
              <a:gd name="connsiteX945" fmla="*/ 1643071 w 12139750"/>
              <a:gd name="connsiteY945" fmla="*/ 5501963 h 6858290"/>
              <a:gd name="connsiteX946" fmla="*/ 1669781 w 12139750"/>
              <a:gd name="connsiteY946" fmla="*/ 5461958 h 6858290"/>
              <a:gd name="connsiteX947" fmla="*/ 2009371 w 12139750"/>
              <a:gd name="connsiteY947" fmla="*/ 5313368 h 6858290"/>
              <a:gd name="connsiteX948" fmla="*/ 2026929 w 12139750"/>
              <a:gd name="connsiteY948" fmla="*/ 5309974 h 6858290"/>
              <a:gd name="connsiteX949" fmla="*/ 3719254 w 12139750"/>
              <a:gd name="connsiteY949" fmla="*/ 5298899 h 6858290"/>
              <a:gd name="connsiteX950" fmla="*/ 3759233 w 12139750"/>
              <a:gd name="connsiteY950" fmla="*/ 5327064 h 6858290"/>
              <a:gd name="connsiteX951" fmla="*/ 3736338 w 12139750"/>
              <a:gd name="connsiteY951" fmla="*/ 5386196 h 6858290"/>
              <a:gd name="connsiteX952" fmla="*/ 3394855 w 12139750"/>
              <a:gd name="connsiteY952" fmla="*/ 5529255 h 6858290"/>
              <a:gd name="connsiteX953" fmla="*/ 3337618 w 12139750"/>
              <a:gd name="connsiteY953" fmla="*/ 5504458 h 6858290"/>
              <a:gd name="connsiteX954" fmla="*/ 3333805 w 12139750"/>
              <a:gd name="connsiteY954" fmla="*/ 5487291 h 6858290"/>
              <a:gd name="connsiteX955" fmla="*/ 3360512 w 12139750"/>
              <a:gd name="connsiteY955" fmla="*/ 5447234 h 6858290"/>
              <a:gd name="connsiteX956" fmla="*/ 3701998 w 12139750"/>
              <a:gd name="connsiteY956" fmla="*/ 5302267 h 6858290"/>
              <a:gd name="connsiteX957" fmla="*/ 3719254 w 12139750"/>
              <a:gd name="connsiteY957" fmla="*/ 5298899 h 6858290"/>
              <a:gd name="connsiteX958" fmla="*/ 2583547 w 12139750"/>
              <a:gd name="connsiteY958" fmla="*/ 5298899 h 6858290"/>
              <a:gd name="connsiteX959" fmla="*/ 2624178 w 12139750"/>
              <a:gd name="connsiteY959" fmla="*/ 5327064 h 6858290"/>
              <a:gd name="connsiteX960" fmla="*/ 2601368 w 12139750"/>
              <a:gd name="connsiteY960" fmla="*/ 5386196 h 6858290"/>
              <a:gd name="connsiteX961" fmla="*/ 2261117 w 12139750"/>
              <a:gd name="connsiteY961" fmla="*/ 5529255 h 6858290"/>
              <a:gd name="connsiteX962" fmla="*/ 2204092 w 12139750"/>
              <a:gd name="connsiteY962" fmla="*/ 5504458 h 6858290"/>
              <a:gd name="connsiteX963" fmla="*/ 2200290 w 12139750"/>
              <a:gd name="connsiteY963" fmla="*/ 5487291 h 6858290"/>
              <a:gd name="connsiteX964" fmla="*/ 2226902 w 12139750"/>
              <a:gd name="connsiteY964" fmla="*/ 5447234 h 6858290"/>
              <a:gd name="connsiteX965" fmla="*/ 2567153 w 12139750"/>
              <a:gd name="connsiteY965" fmla="*/ 5302267 h 6858290"/>
              <a:gd name="connsiteX966" fmla="*/ 2583547 w 12139750"/>
              <a:gd name="connsiteY966" fmla="*/ 5298899 h 6858290"/>
              <a:gd name="connsiteX967" fmla="*/ 3161733 w 12139750"/>
              <a:gd name="connsiteY967" fmla="*/ 5292230 h 6858290"/>
              <a:gd name="connsiteX968" fmla="*/ 3186189 w 12139750"/>
              <a:gd name="connsiteY968" fmla="*/ 5317405 h 6858290"/>
              <a:gd name="connsiteX969" fmla="*/ 3161496 w 12139750"/>
              <a:gd name="connsiteY969" fmla="*/ 5376305 h 6858290"/>
              <a:gd name="connsiteX970" fmla="*/ 2821486 w 12139750"/>
              <a:gd name="connsiteY970" fmla="*/ 5515005 h 6858290"/>
              <a:gd name="connsiteX971" fmla="*/ 2762605 w 12139750"/>
              <a:gd name="connsiteY971" fmla="*/ 5488405 h 6858290"/>
              <a:gd name="connsiteX972" fmla="*/ 2760704 w 12139750"/>
              <a:gd name="connsiteY972" fmla="*/ 5471305 h 6858290"/>
              <a:gd name="connsiteX973" fmla="*/ 2787294 w 12139750"/>
              <a:gd name="connsiteY973" fmla="*/ 5429505 h 6858290"/>
              <a:gd name="connsiteX974" fmla="*/ 3127304 w 12139750"/>
              <a:gd name="connsiteY974" fmla="*/ 5292705 h 6858290"/>
              <a:gd name="connsiteX975" fmla="*/ 3161733 w 12139750"/>
              <a:gd name="connsiteY975" fmla="*/ 5292230 h 6858290"/>
              <a:gd name="connsiteX976" fmla="*/ 9868289 w 12139750"/>
              <a:gd name="connsiteY976" fmla="*/ 5096095 h 6858290"/>
              <a:gd name="connsiteX977" fmla="*/ 9888974 w 12139750"/>
              <a:gd name="connsiteY977" fmla="*/ 5110082 h 6858290"/>
              <a:gd name="connsiteX978" fmla="*/ 9877562 w 12139750"/>
              <a:gd name="connsiteY978" fmla="*/ 5155597 h 6858290"/>
              <a:gd name="connsiteX979" fmla="*/ 9542804 w 12139750"/>
              <a:gd name="connsiteY979" fmla="*/ 5364209 h 6858290"/>
              <a:gd name="connsiteX980" fmla="*/ 9497155 w 12139750"/>
              <a:gd name="connsiteY980" fmla="*/ 5352831 h 6858290"/>
              <a:gd name="connsiteX981" fmla="*/ 9493351 w 12139750"/>
              <a:gd name="connsiteY981" fmla="*/ 5335762 h 6858290"/>
              <a:gd name="connsiteX982" fmla="*/ 9508567 w 12139750"/>
              <a:gd name="connsiteY982" fmla="*/ 5307315 h 6858290"/>
              <a:gd name="connsiteX983" fmla="*/ 9843325 w 12139750"/>
              <a:gd name="connsiteY983" fmla="*/ 5100599 h 6858290"/>
              <a:gd name="connsiteX984" fmla="*/ 9868289 w 12139750"/>
              <a:gd name="connsiteY984" fmla="*/ 5096095 h 6858290"/>
              <a:gd name="connsiteX985" fmla="*/ 10452111 w 12139750"/>
              <a:gd name="connsiteY985" fmla="*/ 5084390 h 6858290"/>
              <a:gd name="connsiteX986" fmla="*/ 10472844 w 12139750"/>
              <a:gd name="connsiteY986" fmla="*/ 5099443 h 6858290"/>
              <a:gd name="connsiteX987" fmla="*/ 10461405 w 12139750"/>
              <a:gd name="connsiteY987" fmla="*/ 5147230 h 6858290"/>
              <a:gd name="connsiteX988" fmla="*/ 10125860 w 12139750"/>
              <a:gd name="connsiteY988" fmla="*/ 5349847 h 6858290"/>
              <a:gd name="connsiteX989" fmla="*/ 10078197 w 12139750"/>
              <a:gd name="connsiteY989" fmla="*/ 5338378 h 6858290"/>
              <a:gd name="connsiteX990" fmla="*/ 10074384 w 12139750"/>
              <a:gd name="connsiteY990" fmla="*/ 5321175 h 6858290"/>
              <a:gd name="connsiteX991" fmla="*/ 10089636 w 12139750"/>
              <a:gd name="connsiteY991" fmla="*/ 5290591 h 6858290"/>
              <a:gd name="connsiteX992" fmla="*/ 10427088 w 12139750"/>
              <a:gd name="connsiteY992" fmla="*/ 5087974 h 6858290"/>
              <a:gd name="connsiteX993" fmla="*/ 10452111 w 12139750"/>
              <a:gd name="connsiteY993" fmla="*/ 5084390 h 6858290"/>
              <a:gd name="connsiteX994" fmla="*/ 9291418 w 12139750"/>
              <a:gd name="connsiteY994" fmla="*/ 5084390 h 6858290"/>
              <a:gd name="connsiteX995" fmla="*/ 9312374 w 12139750"/>
              <a:gd name="connsiteY995" fmla="*/ 5099443 h 6858290"/>
              <a:gd name="connsiteX996" fmla="*/ 9300944 w 12139750"/>
              <a:gd name="connsiteY996" fmla="*/ 5147230 h 6858290"/>
              <a:gd name="connsiteX997" fmla="*/ 8963754 w 12139750"/>
              <a:gd name="connsiteY997" fmla="*/ 5349847 h 6858290"/>
              <a:gd name="connsiteX998" fmla="*/ 8918033 w 12139750"/>
              <a:gd name="connsiteY998" fmla="*/ 5338378 h 6858290"/>
              <a:gd name="connsiteX999" fmla="*/ 8912318 w 12139750"/>
              <a:gd name="connsiteY999" fmla="*/ 5321175 h 6858290"/>
              <a:gd name="connsiteX1000" fmla="*/ 8929463 w 12139750"/>
              <a:gd name="connsiteY1000" fmla="*/ 5290591 h 6858290"/>
              <a:gd name="connsiteX1001" fmla="*/ 9264748 w 12139750"/>
              <a:gd name="connsiteY1001" fmla="*/ 5087974 h 6858290"/>
              <a:gd name="connsiteX1002" fmla="*/ 9291418 w 12139750"/>
              <a:gd name="connsiteY1002" fmla="*/ 5084390 h 6858290"/>
              <a:gd name="connsiteX1003" fmla="*/ 11029363 w 12139750"/>
              <a:gd name="connsiteY1003" fmla="*/ 5075090 h 6858290"/>
              <a:gd name="connsiteX1004" fmla="*/ 11050367 w 12139750"/>
              <a:gd name="connsiteY1004" fmla="*/ 5091778 h 6858290"/>
              <a:gd name="connsiteX1005" fmla="*/ 11038910 w 12139750"/>
              <a:gd name="connsiteY1005" fmla="*/ 5139458 h 6858290"/>
              <a:gd name="connsiteX1006" fmla="*/ 10700944 w 12139750"/>
              <a:gd name="connsiteY1006" fmla="*/ 5333994 h 6858290"/>
              <a:gd name="connsiteX1007" fmla="*/ 10653208 w 12139750"/>
              <a:gd name="connsiteY1007" fmla="*/ 5320643 h 6858290"/>
              <a:gd name="connsiteX1008" fmla="*/ 10647480 w 12139750"/>
              <a:gd name="connsiteY1008" fmla="*/ 5303478 h 6858290"/>
              <a:gd name="connsiteX1009" fmla="*/ 10664665 w 12139750"/>
              <a:gd name="connsiteY1009" fmla="*/ 5272963 h 6858290"/>
              <a:gd name="connsiteX1010" fmla="*/ 11002631 w 12139750"/>
              <a:gd name="connsiteY1010" fmla="*/ 5078428 h 6858290"/>
              <a:gd name="connsiteX1011" fmla="*/ 11029363 w 12139750"/>
              <a:gd name="connsiteY1011" fmla="*/ 5075090 h 6858290"/>
              <a:gd name="connsiteX1012" fmla="*/ 8719756 w 12139750"/>
              <a:gd name="connsiteY1012" fmla="*/ 5075090 h 6858290"/>
              <a:gd name="connsiteX1013" fmla="*/ 8742431 w 12139750"/>
              <a:gd name="connsiteY1013" fmla="*/ 5091778 h 6858290"/>
              <a:gd name="connsiteX1014" fmla="*/ 8729065 w 12139750"/>
              <a:gd name="connsiteY1014" fmla="*/ 5139458 h 6858290"/>
              <a:gd name="connsiteX1015" fmla="*/ 8391099 w 12139750"/>
              <a:gd name="connsiteY1015" fmla="*/ 5333994 h 6858290"/>
              <a:gd name="connsiteX1016" fmla="*/ 8343363 w 12139750"/>
              <a:gd name="connsiteY1016" fmla="*/ 5320643 h 6858290"/>
              <a:gd name="connsiteX1017" fmla="*/ 8337635 w 12139750"/>
              <a:gd name="connsiteY1017" fmla="*/ 5303478 h 6858290"/>
              <a:gd name="connsiteX1018" fmla="*/ 8356729 w 12139750"/>
              <a:gd name="connsiteY1018" fmla="*/ 5272963 h 6858290"/>
              <a:gd name="connsiteX1019" fmla="*/ 8692786 w 12139750"/>
              <a:gd name="connsiteY1019" fmla="*/ 5078428 h 6858290"/>
              <a:gd name="connsiteX1020" fmla="*/ 8719756 w 12139750"/>
              <a:gd name="connsiteY1020" fmla="*/ 5075090 h 6858290"/>
              <a:gd name="connsiteX1021" fmla="*/ 11600954 w 12139750"/>
              <a:gd name="connsiteY1021" fmla="*/ 5064224 h 6858290"/>
              <a:gd name="connsiteX1022" fmla="*/ 11622196 w 12139750"/>
              <a:gd name="connsiteY1022" fmla="*/ 5082602 h 6858290"/>
              <a:gd name="connsiteX1023" fmla="*/ 11608830 w 12139750"/>
              <a:gd name="connsiteY1023" fmla="*/ 5132248 h 6858290"/>
              <a:gd name="connsiteX1024" fmla="*/ 11270864 w 12139750"/>
              <a:gd name="connsiteY1024" fmla="*/ 5319373 h 6858290"/>
              <a:gd name="connsiteX1025" fmla="*/ 11221219 w 12139750"/>
              <a:gd name="connsiteY1025" fmla="*/ 5306007 h 6858290"/>
              <a:gd name="connsiteX1026" fmla="*/ 11217400 w 12139750"/>
              <a:gd name="connsiteY1026" fmla="*/ 5288822 h 6858290"/>
              <a:gd name="connsiteX1027" fmla="*/ 11234585 w 12139750"/>
              <a:gd name="connsiteY1027" fmla="*/ 5256362 h 6858290"/>
              <a:gd name="connsiteX1028" fmla="*/ 11572551 w 12139750"/>
              <a:gd name="connsiteY1028" fmla="*/ 5067327 h 6858290"/>
              <a:gd name="connsiteX1029" fmla="*/ 11600954 w 12139750"/>
              <a:gd name="connsiteY1029" fmla="*/ 5064224 h 6858290"/>
              <a:gd name="connsiteX1030" fmla="*/ 8155460 w 12139750"/>
              <a:gd name="connsiteY1030" fmla="*/ 5064224 h 6858290"/>
              <a:gd name="connsiteX1031" fmla="*/ 8177317 w 12139750"/>
              <a:gd name="connsiteY1031" fmla="*/ 5082602 h 6858290"/>
              <a:gd name="connsiteX1032" fmla="*/ 8162112 w 12139750"/>
              <a:gd name="connsiteY1032" fmla="*/ 5132248 h 6858290"/>
              <a:gd name="connsiteX1033" fmla="*/ 7825696 w 12139750"/>
              <a:gd name="connsiteY1033" fmla="*/ 5319373 h 6858290"/>
              <a:gd name="connsiteX1034" fmla="*/ 7776279 w 12139750"/>
              <a:gd name="connsiteY1034" fmla="*/ 5306007 h 6858290"/>
              <a:gd name="connsiteX1035" fmla="*/ 7772478 w 12139750"/>
              <a:gd name="connsiteY1035" fmla="*/ 5288822 h 6858290"/>
              <a:gd name="connsiteX1036" fmla="*/ 7791484 w 12139750"/>
              <a:gd name="connsiteY1036" fmla="*/ 5256362 h 6858290"/>
              <a:gd name="connsiteX1037" fmla="*/ 8127900 w 12139750"/>
              <a:gd name="connsiteY1037" fmla="*/ 5067327 h 6858290"/>
              <a:gd name="connsiteX1038" fmla="*/ 8155460 w 12139750"/>
              <a:gd name="connsiteY1038" fmla="*/ 5064224 h 6858290"/>
              <a:gd name="connsiteX1039" fmla="*/ 12139750 w 12139750"/>
              <a:gd name="connsiteY1039" fmla="*/ 5056192 h 6858290"/>
              <a:gd name="connsiteX1040" fmla="*/ 12139750 w 12139750"/>
              <a:gd name="connsiteY1040" fmla="*/ 5139909 h 6858290"/>
              <a:gd name="connsiteX1041" fmla="*/ 11834946 w 12139750"/>
              <a:gd name="connsiteY1041" fmla="*/ 5305441 h 6858290"/>
              <a:gd name="connsiteX1042" fmla="*/ 11783510 w 12139750"/>
              <a:gd name="connsiteY1042" fmla="*/ 5290220 h 6858290"/>
              <a:gd name="connsiteX1043" fmla="*/ 11777795 w 12139750"/>
              <a:gd name="connsiteY1043" fmla="*/ 5271193 h 6858290"/>
              <a:gd name="connsiteX1044" fmla="*/ 11798750 w 12139750"/>
              <a:gd name="connsiteY1044" fmla="*/ 5238848 h 6858290"/>
              <a:gd name="connsiteX1045" fmla="*/ 12135940 w 12139750"/>
              <a:gd name="connsiteY1045" fmla="*/ 5058094 h 6858290"/>
              <a:gd name="connsiteX1046" fmla="*/ 12139750 w 12139750"/>
              <a:gd name="connsiteY1046" fmla="*/ 5056192 h 6858290"/>
              <a:gd name="connsiteX1047" fmla="*/ 7597906 w 12139750"/>
              <a:gd name="connsiteY1047" fmla="*/ 5054684 h 6858290"/>
              <a:gd name="connsiteX1048" fmla="*/ 7620068 w 12139750"/>
              <a:gd name="connsiteY1048" fmla="*/ 5073020 h 6858290"/>
              <a:gd name="connsiteX1049" fmla="*/ 7604817 w 12139750"/>
              <a:gd name="connsiteY1049" fmla="*/ 5124455 h 6858290"/>
              <a:gd name="connsiteX1050" fmla="*/ 7267371 w 12139750"/>
              <a:gd name="connsiteY1050" fmla="*/ 5305430 h 6858290"/>
              <a:gd name="connsiteX1051" fmla="*/ 7215896 w 12139750"/>
              <a:gd name="connsiteY1051" fmla="*/ 5290190 h 6858290"/>
              <a:gd name="connsiteX1052" fmla="*/ 7212083 w 12139750"/>
              <a:gd name="connsiteY1052" fmla="*/ 5271140 h 6858290"/>
              <a:gd name="connsiteX1053" fmla="*/ 7231147 w 12139750"/>
              <a:gd name="connsiteY1053" fmla="*/ 5238755 h 6858290"/>
              <a:gd name="connsiteX1054" fmla="*/ 7568594 w 12139750"/>
              <a:gd name="connsiteY1054" fmla="*/ 5057780 h 6858290"/>
              <a:gd name="connsiteX1055" fmla="*/ 7597906 w 12139750"/>
              <a:gd name="connsiteY1055" fmla="*/ 5054684 h 6858290"/>
              <a:gd name="connsiteX1056" fmla="*/ 7046964 w 12139750"/>
              <a:gd name="connsiteY1056" fmla="*/ 5044542 h 6858290"/>
              <a:gd name="connsiteX1057" fmla="*/ 7069177 w 12139750"/>
              <a:gd name="connsiteY1057" fmla="*/ 5063876 h 6858290"/>
              <a:gd name="connsiteX1058" fmla="*/ 7051980 w 12139750"/>
              <a:gd name="connsiteY1058" fmla="*/ 5115435 h 6858290"/>
              <a:gd name="connsiteX1059" fmla="*/ 6713773 w 12139750"/>
              <a:gd name="connsiteY1059" fmla="*/ 5291119 h 6858290"/>
              <a:gd name="connsiteX1060" fmla="*/ 6660271 w 12139750"/>
              <a:gd name="connsiteY1060" fmla="*/ 5273932 h 6858290"/>
              <a:gd name="connsiteX1061" fmla="*/ 6656450 w 12139750"/>
              <a:gd name="connsiteY1061" fmla="*/ 5256746 h 6858290"/>
              <a:gd name="connsiteX1062" fmla="*/ 6677468 w 12139750"/>
              <a:gd name="connsiteY1062" fmla="*/ 5222373 h 6858290"/>
              <a:gd name="connsiteX1063" fmla="*/ 7017586 w 12139750"/>
              <a:gd name="connsiteY1063" fmla="*/ 5046690 h 6858290"/>
              <a:gd name="connsiteX1064" fmla="*/ 7046964 w 12139750"/>
              <a:gd name="connsiteY1064" fmla="*/ 5044542 h 6858290"/>
              <a:gd name="connsiteX1065" fmla="*/ 6485663 w 12139750"/>
              <a:gd name="connsiteY1065" fmla="*/ 5032630 h 6858290"/>
              <a:gd name="connsiteX1066" fmla="*/ 6523112 w 12139750"/>
              <a:gd name="connsiteY1066" fmla="*/ 5054570 h 6858290"/>
              <a:gd name="connsiteX1067" fmla="*/ 6505992 w 12139750"/>
              <a:gd name="connsiteY1067" fmla="*/ 5107845 h 6858290"/>
              <a:gd name="connsiteX1068" fmla="*/ 6167407 w 12139750"/>
              <a:gd name="connsiteY1068" fmla="*/ 5275279 h 6858290"/>
              <a:gd name="connsiteX1069" fmla="*/ 6114146 w 12139750"/>
              <a:gd name="connsiteY1069" fmla="*/ 5258155 h 6858290"/>
              <a:gd name="connsiteX1070" fmla="*/ 6110342 w 12139750"/>
              <a:gd name="connsiteY1070" fmla="*/ 5239129 h 6858290"/>
              <a:gd name="connsiteX1071" fmla="*/ 6131266 w 12139750"/>
              <a:gd name="connsiteY1071" fmla="*/ 5202978 h 6858290"/>
              <a:gd name="connsiteX1072" fmla="*/ 6469851 w 12139750"/>
              <a:gd name="connsiteY1072" fmla="*/ 5037446 h 6858290"/>
              <a:gd name="connsiteX1073" fmla="*/ 6485663 w 12139750"/>
              <a:gd name="connsiteY1073" fmla="*/ 5032630 h 6858290"/>
              <a:gd name="connsiteX1074" fmla="*/ 5956806 w 12139750"/>
              <a:gd name="connsiteY1074" fmla="*/ 5024850 h 6858290"/>
              <a:gd name="connsiteX1075" fmla="*/ 5980159 w 12139750"/>
              <a:gd name="connsiteY1075" fmla="*/ 5045115 h 6858290"/>
              <a:gd name="connsiteX1076" fmla="*/ 5961095 w 12139750"/>
              <a:gd name="connsiteY1076" fmla="*/ 5100429 h 6858290"/>
              <a:gd name="connsiteX1077" fmla="*/ 5621756 w 12139750"/>
              <a:gd name="connsiteY1077" fmla="*/ 5262556 h 6858290"/>
              <a:gd name="connsiteX1078" fmla="*/ 5566471 w 12139750"/>
              <a:gd name="connsiteY1078" fmla="*/ 5241575 h 6858290"/>
              <a:gd name="connsiteX1079" fmla="*/ 5562659 w 12139750"/>
              <a:gd name="connsiteY1079" fmla="*/ 5224408 h 6858290"/>
              <a:gd name="connsiteX1080" fmla="*/ 5585535 w 12139750"/>
              <a:gd name="connsiteY1080" fmla="*/ 5186261 h 6858290"/>
              <a:gd name="connsiteX1081" fmla="*/ 5924873 w 12139750"/>
              <a:gd name="connsiteY1081" fmla="*/ 5026042 h 6858290"/>
              <a:gd name="connsiteX1082" fmla="*/ 5956806 w 12139750"/>
              <a:gd name="connsiteY1082" fmla="*/ 5024850 h 6858290"/>
              <a:gd name="connsiteX1083" fmla="*/ 398945 w 12139750"/>
              <a:gd name="connsiteY1083" fmla="*/ 5024850 h 6858290"/>
              <a:gd name="connsiteX1084" fmla="*/ 422281 w 12139750"/>
              <a:gd name="connsiteY1084" fmla="*/ 5045115 h 6858290"/>
              <a:gd name="connsiteX1085" fmla="*/ 401326 w 12139750"/>
              <a:gd name="connsiteY1085" fmla="*/ 5100429 h 6858290"/>
              <a:gd name="connsiteX1086" fmla="*/ 62232 w 12139750"/>
              <a:gd name="connsiteY1086" fmla="*/ 5262556 h 6858290"/>
              <a:gd name="connsiteX1087" fmla="*/ 8891 w 12139750"/>
              <a:gd name="connsiteY1087" fmla="*/ 5241575 h 6858290"/>
              <a:gd name="connsiteX1088" fmla="*/ 3176 w 12139750"/>
              <a:gd name="connsiteY1088" fmla="*/ 5224408 h 6858290"/>
              <a:gd name="connsiteX1089" fmla="*/ 27941 w 12139750"/>
              <a:gd name="connsiteY1089" fmla="*/ 5186261 h 6858290"/>
              <a:gd name="connsiteX1090" fmla="*/ 367035 w 12139750"/>
              <a:gd name="connsiteY1090" fmla="*/ 5026042 h 6858290"/>
              <a:gd name="connsiteX1091" fmla="*/ 398945 w 12139750"/>
              <a:gd name="connsiteY1091" fmla="*/ 5024850 h 6858290"/>
              <a:gd name="connsiteX1092" fmla="*/ 5409053 w 12139750"/>
              <a:gd name="connsiteY1092" fmla="*/ 5014180 h 6858290"/>
              <a:gd name="connsiteX1093" fmla="*/ 5432457 w 12139750"/>
              <a:gd name="connsiteY1093" fmla="*/ 5037695 h 6858290"/>
              <a:gd name="connsiteX1094" fmla="*/ 5411441 w 12139750"/>
              <a:gd name="connsiteY1094" fmla="*/ 5092800 h 6858290"/>
              <a:gd name="connsiteX1095" fmla="*/ 5071343 w 12139750"/>
              <a:gd name="connsiteY1095" fmla="*/ 5246716 h 6858290"/>
              <a:gd name="connsiteX1096" fmla="*/ 5014031 w 12139750"/>
              <a:gd name="connsiteY1096" fmla="*/ 5225814 h 6858290"/>
              <a:gd name="connsiteX1097" fmla="*/ 5010210 w 12139750"/>
              <a:gd name="connsiteY1097" fmla="*/ 5208712 h 6858290"/>
              <a:gd name="connsiteX1098" fmla="*/ 5036956 w 12139750"/>
              <a:gd name="connsiteY1098" fmla="*/ 5168808 h 6858290"/>
              <a:gd name="connsiteX1099" fmla="*/ 5377049 w 12139750"/>
              <a:gd name="connsiteY1099" fmla="*/ 5014893 h 6858290"/>
              <a:gd name="connsiteX1100" fmla="*/ 5409053 w 12139750"/>
              <a:gd name="connsiteY1100" fmla="*/ 5014180 h 6858290"/>
              <a:gd name="connsiteX1101" fmla="*/ 942531 w 12139750"/>
              <a:gd name="connsiteY1101" fmla="*/ 5014180 h 6858290"/>
              <a:gd name="connsiteX1102" fmla="*/ 966802 w 12139750"/>
              <a:gd name="connsiteY1102" fmla="*/ 5037695 h 6858290"/>
              <a:gd name="connsiteX1103" fmla="*/ 945862 w 12139750"/>
              <a:gd name="connsiteY1103" fmla="*/ 5092800 h 6858290"/>
              <a:gd name="connsiteX1104" fmla="*/ 605115 w 12139750"/>
              <a:gd name="connsiteY1104" fmla="*/ 5246716 h 6858290"/>
              <a:gd name="connsiteX1105" fmla="*/ 549910 w 12139750"/>
              <a:gd name="connsiteY1105" fmla="*/ 5225814 h 6858290"/>
              <a:gd name="connsiteX1106" fmla="*/ 546103 w 12139750"/>
              <a:gd name="connsiteY1106" fmla="*/ 5208712 h 6858290"/>
              <a:gd name="connsiteX1107" fmla="*/ 570850 w 12139750"/>
              <a:gd name="connsiteY1107" fmla="*/ 5168808 h 6858290"/>
              <a:gd name="connsiteX1108" fmla="*/ 909693 w 12139750"/>
              <a:gd name="connsiteY1108" fmla="*/ 5014893 h 6858290"/>
              <a:gd name="connsiteX1109" fmla="*/ 942531 w 12139750"/>
              <a:gd name="connsiteY1109" fmla="*/ 5014180 h 6858290"/>
              <a:gd name="connsiteX1110" fmla="*/ 4856076 w 12139750"/>
              <a:gd name="connsiteY1110" fmla="*/ 5004632 h 6858290"/>
              <a:gd name="connsiteX1111" fmla="*/ 4879690 w 12139750"/>
              <a:gd name="connsiteY1111" fmla="*/ 5028084 h 6858290"/>
              <a:gd name="connsiteX1112" fmla="*/ 4856790 w 12139750"/>
              <a:gd name="connsiteY1112" fmla="*/ 5084939 h 6858290"/>
              <a:gd name="connsiteX1113" fmla="*/ 4517206 w 12139750"/>
              <a:gd name="connsiteY1113" fmla="*/ 5230866 h 6858290"/>
              <a:gd name="connsiteX1114" fmla="*/ 4459973 w 12139750"/>
              <a:gd name="connsiteY1114" fmla="*/ 5208124 h 6858290"/>
              <a:gd name="connsiteX1115" fmla="*/ 4456156 w 12139750"/>
              <a:gd name="connsiteY1115" fmla="*/ 5191068 h 6858290"/>
              <a:gd name="connsiteX1116" fmla="*/ 4482866 w 12139750"/>
              <a:gd name="connsiteY1116" fmla="*/ 5151269 h 6858290"/>
              <a:gd name="connsiteX1117" fmla="*/ 4822447 w 12139750"/>
              <a:gd name="connsiteY1117" fmla="*/ 5005343 h 6858290"/>
              <a:gd name="connsiteX1118" fmla="*/ 4856076 w 12139750"/>
              <a:gd name="connsiteY1118" fmla="*/ 5004632 h 6858290"/>
              <a:gd name="connsiteX1119" fmla="*/ 1491734 w 12139750"/>
              <a:gd name="connsiteY1119" fmla="*/ 5004632 h 6858290"/>
              <a:gd name="connsiteX1120" fmla="*/ 1516059 w 12139750"/>
              <a:gd name="connsiteY1120" fmla="*/ 5028084 h 6858290"/>
              <a:gd name="connsiteX1121" fmla="*/ 1493165 w 12139750"/>
              <a:gd name="connsiteY1121" fmla="*/ 5084939 h 6858290"/>
              <a:gd name="connsiteX1122" fmla="*/ 1153575 w 12139750"/>
              <a:gd name="connsiteY1122" fmla="*/ 5230866 h 6858290"/>
              <a:gd name="connsiteX1123" fmla="*/ 1094433 w 12139750"/>
              <a:gd name="connsiteY1123" fmla="*/ 5208124 h 6858290"/>
              <a:gd name="connsiteX1124" fmla="*/ 1090618 w 12139750"/>
              <a:gd name="connsiteY1124" fmla="*/ 5191068 h 6858290"/>
              <a:gd name="connsiteX1125" fmla="*/ 1117327 w 12139750"/>
              <a:gd name="connsiteY1125" fmla="*/ 5151269 h 6858290"/>
              <a:gd name="connsiteX1126" fmla="*/ 1458825 w 12139750"/>
              <a:gd name="connsiteY1126" fmla="*/ 5005343 h 6858290"/>
              <a:gd name="connsiteX1127" fmla="*/ 1491734 w 12139750"/>
              <a:gd name="connsiteY1127" fmla="*/ 5004632 h 6858290"/>
              <a:gd name="connsiteX1128" fmla="*/ 4281239 w 12139750"/>
              <a:gd name="connsiteY1128" fmla="*/ 4989344 h 6858290"/>
              <a:gd name="connsiteX1129" fmla="*/ 4322794 w 12139750"/>
              <a:gd name="connsiteY1129" fmla="*/ 5017546 h 6858290"/>
              <a:gd name="connsiteX1130" fmla="*/ 4298009 w 12139750"/>
              <a:gd name="connsiteY1130" fmla="*/ 5076755 h 6858290"/>
              <a:gd name="connsiteX1131" fmla="*/ 3958691 w 12139750"/>
              <a:gd name="connsiteY1131" fmla="*/ 5218092 h 6858290"/>
              <a:gd name="connsiteX1132" fmla="*/ 3899588 w 12139750"/>
              <a:gd name="connsiteY1132" fmla="*/ 5193262 h 6858290"/>
              <a:gd name="connsiteX1133" fmla="*/ 3895778 w 12139750"/>
              <a:gd name="connsiteY1133" fmla="*/ 5176073 h 6858290"/>
              <a:gd name="connsiteX1134" fmla="*/ 3924372 w 12139750"/>
              <a:gd name="connsiteY1134" fmla="*/ 5134054 h 6858290"/>
              <a:gd name="connsiteX1135" fmla="*/ 4263693 w 12139750"/>
              <a:gd name="connsiteY1135" fmla="*/ 4992717 h 6858290"/>
              <a:gd name="connsiteX1136" fmla="*/ 4281239 w 12139750"/>
              <a:gd name="connsiteY1136" fmla="*/ 4989344 h 6858290"/>
              <a:gd name="connsiteX1137" fmla="*/ 2028590 w 12139750"/>
              <a:gd name="connsiteY1137" fmla="*/ 4989344 h 6858290"/>
              <a:gd name="connsiteX1138" fmla="*/ 2070119 w 12139750"/>
              <a:gd name="connsiteY1138" fmla="*/ 5017546 h 6858290"/>
              <a:gd name="connsiteX1139" fmla="*/ 2045348 w 12139750"/>
              <a:gd name="connsiteY1139" fmla="*/ 5076755 h 6858290"/>
              <a:gd name="connsiteX1140" fmla="*/ 1704349 w 12139750"/>
              <a:gd name="connsiteY1140" fmla="*/ 5218092 h 6858290"/>
              <a:gd name="connsiteX1141" fmla="*/ 1645293 w 12139750"/>
              <a:gd name="connsiteY1141" fmla="*/ 5193262 h 6858290"/>
              <a:gd name="connsiteX1142" fmla="*/ 1641483 w 12139750"/>
              <a:gd name="connsiteY1142" fmla="*/ 5176073 h 6858290"/>
              <a:gd name="connsiteX1143" fmla="*/ 1670059 w 12139750"/>
              <a:gd name="connsiteY1143" fmla="*/ 5134054 h 6858290"/>
              <a:gd name="connsiteX1144" fmla="*/ 2011058 w 12139750"/>
              <a:gd name="connsiteY1144" fmla="*/ 4992717 h 6858290"/>
              <a:gd name="connsiteX1145" fmla="*/ 2028590 w 12139750"/>
              <a:gd name="connsiteY1145" fmla="*/ 4989344 h 6858290"/>
              <a:gd name="connsiteX1146" fmla="*/ 3720410 w 12139750"/>
              <a:gd name="connsiteY1146" fmla="*/ 4979833 h 6858290"/>
              <a:gd name="connsiteX1147" fmla="*/ 3762740 w 12139750"/>
              <a:gd name="connsiteY1147" fmla="*/ 5009837 h 6858290"/>
              <a:gd name="connsiteX1148" fmla="*/ 3736068 w 12139750"/>
              <a:gd name="connsiteY1148" fmla="*/ 5068892 h 6858290"/>
              <a:gd name="connsiteX1149" fmla="*/ 3395084 w 12139750"/>
              <a:gd name="connsiteY1149" fmla="*/ 5202242 h 6858290"/>
              <a:gd name="connsiteX1150" fmla="*/ 3334121 w 12139750"/>
              <a:gd name="connsiteY1150" fmla="*/ 5175572 h 6858290"/>
              <a:gd name="connsiteX1151" fmla="*/ 3332216 w 12139750"/>
              <a:gd name="connsiteY1151" fmla="*/ 5158427 h 6858290"/>
              <a:gd name="connsiteX1152" fmla="*/ 3360791 w 12139750"/>
              <a:gd name="connsiteY1152" fmla="*/ 5116517 h 6858290"/>
              <a:gd name="connsiteX1153" fmla="*/ 3701777 w 12139750"/>
              <a:gd name="connsiteY1153" fmla="*/ 4983167 h 6858290"/>
              <a:gd name="connsiteX1154" fmla="*/ 3720410 w 12139750"/>
              <a:gd name="connsiteY1154" fmla="*/ 4979833 h 6858290"/>
              <a:gd name="connsiteX1155" fmla="*/ 2585923 w 12139750"/>
              <a:gd name="connsiteY1155" fmla="*/ 4979833 h 6858290"/>
              <a:gd name="connsiteX1156" fmla="*/ 2629210 w 12139750"/>
              <a:gd name="connsiteY1156" fmla="*/ 5009837 h 6858290"/>
              <a:gd name="connsiteX1157" fmla="*/ 2602443 w 12139750"/>
              <a:gd name="connsiteY1157" fmla="*/ 5068892 h 6858290"/>
              <a:gd name="connsiteX1158" fmla="*/ 2260209 w 12139750"/>
              <a:gd name="connsiteY1158" fmla="*/ 5202242 h 6858290"/>
              <a:gd name="connsiteX1159" fmla="*/ 2199027 w 12139750"/>
              <a:gd name="connsiteY1159" fmla="*/ 5175572 h 6858290"/>
              <a:gd name="connsiteX1160" fmla="*/ 2197115 w 12139750"/>
              <a:gd name="connsiteY1160" fmla="*/ 5158427 h 6858290"/>
              <a:gd name="connsiteX1161" fmla="*/ 2225794 w 12139750"/>
              <a:gd name="connsiteY1161" fmla="*/ 5116517 h 6858290"/>
              <a:gd name="connsiteX1162" fmla="*/ 2568028 w 12139750"/>
              <a:gd name="connsiteY1162" fmla="*/ 4983167 h 6858290"/>
              <a:gd name="connsiteX1163" fmla="*/ 2585923 w 12139750"/>
              <a:gd name="connsiteY1163" fmla="*/ 4979833 h 6858290"/>
              <a:gd name="connsiteX1164" fmla="*/ 3148522 w 12139750"/>
              <a:gd name="connsiteY1164" fmla="*/ 4969036 h 6858290"/>
              <a:gd name="connsiteX1165" fmla="*/ 3190911 w 12139750"/>
              <a:gd name="connsiteY1165" fmla="*/ 5000733 h 6858290"/>
              <a:gd name="connsiteX1166" fmla="*/ 3162292 w 12139750"/>
              <a:gd name="connsiteY1166" fmla="*/ 5061858 h 6858290"/>
              <a:gd name="connsiteX1167" fmla="*/ 2820805 w 12139750"/>
              <a:gd name="connsiteY1167" fmla="*/ 5187929 h 6858290"/>
              <a:gd name="connsiteX1168" fmla="*/ 2759755 w 12139750"/>
              <a:gd name="connsiteY1168" fmla="*/ 5161187 h 6858290"/>
              <a:gd name="connsiteX1169" fmla="*/ 2755939 w 12139750"/>
              <a:gd name="connsiteY1169" fmla="*/ 5143995 h 6858290"/>
              <a:gd name="connsiteX1170" fmla="*/ 2788374 w 12139750"/>
              <a:gd name="connsiteY1170" fmla="*/ 5098151 h 6858290"/>
              <a:gd name="connsiteX1171" fmla="*/ 3129863 w 12139750"/>
              <a:gd name="connsiteY1171" fmla="*/ 4972081 h 6858290"/>
              <a:gd name="connsiteX1172" fmla="*/ 3148522 w 12139750"/>
              <a:gd name="connsiteY1172" fmla="*/ 4969036 h 6858290"/>
              <a:gd name="connsiteX1173" fmla="*/ 9865943 w 12139750"/>
              <a:gd name="connsiteY1173" fmla="*/ 4767278 h 6858290"/>
              <a:gd name="connsiteX1174" fmla="*/ 9885469 w 12139750"/>
              <a:gd name="connsiteY1174" fmla="*/ 4779687 h 6858290"/>
              <a:gd name="connsiteX1175" fmla="*/ 9875944 w 12139750"/>
              <a:gd name="connsiteY1175" fmla="*/ 4821688 h 6858290"/>
              <a:gd name="connsiteX1176" fmla="*/ 9542565 w 12139750"/>
              <a:gd name="connsiteY1176" fmla="*/ 5046968 h 6858290"/>
              <a:gd name="connsiteX1177" fmla="*/ 9500654 w 12139750"/>
              <a:gd name="connsiteY1177" fmla="*/ 5037422 h 6858290"/>
              <a:gd name="connsiteX1178" fmla="*/ 9494939 w 12139750"/>
              <a:gd name="connsiteY1178" fmla="*/ 5022149 h 6858290"/>
              <a:gd name="connsiteX1179" fmla="*/ 9508274 w 12139750"/>
              <a:gd name="connsiteY1179" fmla="*/ 4997330 h 6858290"/>
              <a:gd name="connsiteX1180" fmla="*/ 9843558 w 12139750"/>
              <a:gd name="connsiteY1180" fmla="*/ 4772051 h 6858290"/>
              <a:gd name="connsiteX1181" fmla="*/ 9865943 w 12139750"/>
              <a:gd name="connsiteY1181" fmla="*/ 4767278 h 6858290"/>
              <a:gd name="connsiteX1182" fmla="*/ 10450715 w 12139750"/>
              <a:gd name="connsiteY1182" fmla="*/ 4757980 h 6858290"/>
              <a:gd name="connsiteX1183" fmla="*/ 10471242 w 12139750"/>
              <a:gd name="connsiteY1183" fmla="*/ 4772030 h 6858290"/>
              <a:gd name="connsiteX1184" fmla="*/ 10461695 w 12139750"/>
              <a:gd name="connsiteY1184" fmla="*/ 4815845 h 6858290"/>
              <a:gd name="connsiteX1185" fmla="*/ 10125619 w 12139750"/>
              <a:gd name="connsiteY1185" fmla="*/ 5029205 h 6858290"/>
              <a:gd name="connsiteX1186" fmla="*/ 10081701 w 12139750"/>
              <a:gd name="connsiteY1186" fmla="*/ 5019680 h 6858290"/>
              <a:gd name="connsiteX1187" fmla="*/ 10075972 w 12139750"/>
              <a:gd name="connsiteY1187" fmla="*/ 5004440 h 6858290"/>
              <a:gd name="connsiteX1188" fmla="*/ 10091248 w 12139750"/>
              <a:gd name="connsiteY1188" fmla="*/ 4977770 h 6858290"/>
              <a:gd name="connsiteX1189" fmla="*/ 10427323 w 12139750"/>
              <a:gd name="connsiteY1189" fmla="*/ 4762505 h 6858290"/>
              <a:gd name="connsiteX1190" fmla="*/ 10450715 w 12139750"/>
              <a:gd name="connsiteY1190" fmla="*/ 4757980 h 6858290"/>
              <a:gd name="connsiteX1191" fmla="*/ 9287869 w 12139750"/>
              <a:gd name="connsiteY1191" fmla="*/ 4757980 h 6858290"/>
              <a:gd name="connsiteX1192" fmla="*/ 9307618 w 12139750"/>
              <a:gd name="connsiteY1192" fmla="*/ 4772030 h 6858290"/>
              <a:gd name="connsiteX1193" fmla="*/ 9298101 w 12139750"/>
              <a:gd name="connsiteY1193" fmla="*/ 4815845 h 6858290"/>
              <a:gd name="connsiteX1194" fmla="*/ 8963081 w 12139750"/>
              <a:gd name="connsiteY1194" fmla="*/ 5029205 h 6858290"/>
              <a:gd name="connsiteX1195" fmla="*/ 8919300 w 12139750"/>
              <a:gd name="connsiteY1195" fmla="*/ 5019680 h 6858290"/>
              <a:gd name="connsiteX1196" fmla="*/ 8915493 w 12139750"/>
              <a:gd name="connsiteY1196" fmla="*/ 5004440 h 6858290"/>
              <a:gd name="connsiteX1197" fmla="*/ 8928818 w 12139750"/>
              <a:gd name="connsiteY1197" fmla="*/ 4977770 h 6858290"/>
              <a:gd name="connsiteX1198" fmla="*/ 9263837 w 12139750"/>
              <a:gd name="connsiteY1198" fmla="*/ 4762505 h 6858290"/>
              <a:gd name="connsiteX1199" fmla="*/ 9287869 w 12139750"/>
              <a:gd name="connsiteY1199" fmla="*/ 4757980 h 6858290"/>
              <a:gd name="connsiteX1200" fmla="*/ 11026794 w 12139750"/>
              <a:gd name="connsiteY1200" fmla="*/ 4748711 h 6858290"/>
              <a:gd name="connsiteX1201" fmla="*/ 11047527 w 12139750"/>
              <a:gd name="connsiteY1201" fmla="*/ 4764481 h 6858290"/>
              <a:gd name="connsiteX1202" fmla="*/ 11036088 w 12139750"/>
              <a:gd name="connsiteY1202" fmla="*/ 4810357 h 6858290"/>
              <a:gd name="connsiteX1203" fmla="*/ 10700543 w 12139750"/>
              <a:gd name="connsiteY1203" fmla="*/ 5014885 h 6858290"/>
              <a:gd name="connsiteX1204" fmla="*/ 10654787 w 12139750"/>
              <a:gd name="connsiteY1204" fmla="*/ 5005328 h 6858290"/>
              <a:gd name="connsiteX1205" fmla="*/ 10649067 w 12139750"/>
              <a:gd name="connsiteY1205" fmla="*/ 4988125 h 6858290"/>
              <a:gd name="connsiteX1206" fmla="*/ 10666226 w 12139750"/>
              <a:gd name="connsiteY1206" fmla="*/ 4959452 h 6858290"/>
              <a:gd name="connsiteX1207" fmla="*/ 11001771 w 12139750"/>
              <a:gd name="connsiteY1207" fmla="*/ 4753012 h 6858290"/>
              <a:gd name="connsiteX1208" fmla="*/ 11026794 w 12139750"/>
              <a:gd name="connsiteY1208" fmla="*/ 4748711 h 6858290"/>
              <a:gd name="connsiteX1209" fmla="*/ 8717757 w 12139750"/>
              <a:gd name="connsiteY1209" fmla="*/ 4748711 h 6858290"/>
              <a:gd name="connsiteX1210" fmla="*/ 8737713 w 12139750"/>
              <a:gd name="connsiteY1210" fmla="*/ 4764481 h 6858290"/>
              <a:gd name="connsiteX1211" fmla="*/ 8728210 w 12139750"/>
              <a:gd name="connsiteY1211" fmla="*/ 4810357 h 6858290"/>
              <a:gd name="connsiteX1212" fmla="*/ 8391812 w 12139750"/>
              <a:gd name="connsiteY1212" fmla="*/ 5014885 h 6858290"/>
              <a:gd name="connsiteX1213" fmla="*/ 8346199 w 12139750"/>
              <a:gd name="connsiteY1213" fmla="*/ 5005328 h 6858290"/>
              <a:gd name="connsiteX1214" fmla="*/ 8342398 w 12139750"/>
              <a:gd name="connsiteY1214" fmla="*/ 4988125 h 6858290"/>
              <a:gd name="connsiteX1215" fmla="*/ 8357602 w 12139750"/>
              <a:gd name="connsiteY1215" fmla="*/ 4959452 h 6858290"/>
              <a:gd name="connsiteX1216" fmla="*/ 8692100 w 12139750"/>
              <a:gd name="connsiteY1216" fmla="*/ 4753012 h 6858290"/>
              <a:gd name="connsiteX1217" fmla="*/ 8717757 w 12139750"/>
              <a:gd name="connsiteY1217" fmla="*/ 4748711 h 6858290"/>
              <a:gd name="connsiteX1218" fmla="*/ 11598111 w 12139750"/>
              <a:gd name="connsiteY1218" fmla="*/ 4739890 h 6858290"/>
              <a:gd name="connsiteX1219" fmla="*/ 11619050 w 12139750"/>
              <a:gd name="connsiteY1219" fmla="*/ 4754909 h 6858290"/>
              <a:gd name="connsiteX1220" fmla="*/ 11607629 w 12139750"/>
              <a:gd name="connsiteY1220" fmla="*/ 4802589 h 6858290"/>
              <a:gd name="connsiteX1221" fmla="*/ 11270700 w 12139750"/>
              <a:gd name="connsiteY1221" fmla="*/ 4999032 h 6858290"/>
              <a:gd name="connsiteX1222" fmla="*/ 11223111 w 12139750"/>
              <a:gd name="connsiteY1222" fmla="*/ 4987588 h 6858290"/>
              <a:gd name="connsiteX1223" fmla="*/ 11217400 w 12139750"/>
              <a:gd name="connsiteY1223" fmla="*/ 4968516 h 6858290"/>
              <a:gd name="connsiteX1224" fmla="*/ 11236436 w 12139750"/>
              <a:gd name="connsiteY1224" fmla="*/ 4939908 h 6858290"/>
              <a:gd name="connsiteX1225" fmla="*/ 11571461 w 12139750"/>
              <a:gd name="connsiteY1225" fmla="*/ 4743466 h 6858290"/>
              <a:gd name="connsiteX1226" fmla="*/ 11598111 w 12139750"/>
              <a:gd name="connsiteY1226" fmla="*/ 4739890 h 6858290"/>
              <a:gd name="connsiteX1227" fmla="*/ 8154062 w 12139750"/>
              <a:gd name="connsiteY1227" fmla="*/ 4739890 h 6858290"/>
              <a:gd name="connsiteX1228" fmla="*/ 8175715 w 12139750"/>
              <a:gd name="connsiteY1228" fmla="*/ 4754909 h 6858290"/>
              <a:gd name="connsiteX1229" fmla="*/ 8162390 w 12139750"/>
              <a:gd name="connsiteY1229" fmla="*/ 4802589 h 6858290"/>
              <a:gd name="connsiteX1230" fmla="*/ 7825461 w 12139750"/>
              <a:gd name="connsiteY1230" fmla="*/ 4999032 h 6858290"/>
              <a:gd name="connsiteX1231" fmla="*/ 7777872 w 12139750"/>
              <a:gd name="connsiteY1231" fmla="*/ 4987588 h 6858290"/>
              <a:gd name="connsiteX1232" fmla="*/ 7774065 w 12139750"/>
              <a:gd name="connsiteY1232" fmla="*/ 4968516 h 6858290"/>
              <a:gd name="connsiteX1233" fmla="*/ 7791197 w 12139750"/>
              <a:gd name="connsiteY1233" fmla="*/ 4939908 h 6858290"/>
              <a:gd name="connsiteX1234" fmla="*/ 8128126 w 12139750"/>
              <a:gd name="connsiteY1234" fmla="*/ 4743466 h 6858290"/>
              <a:gd name="connsiteX1235" fmla="*/ 8154062 w 12139750"/>
              <a:gd name="connsiteY1235" fmla="*/ 4739890 h 6858290"/>
              <a:gd name="connsiteX1236" fmla="*/ 12135937 w 12139750"/>
              <a:gd name="connsiteY1236" fmla="*/ 4732342 h 6858290"/>
              <a:gd name="connsiteX1237" fmla="*/ 12139750 w 12139750"/>
              <a:gd name="connsiteY1237" fmla="*/ 4732342 h 6858290"/>
              <a:gd name="connsiteX1238" fmla="*/ 12139750 w 12139750"/>
              <a:gd name="connsiteY1238" fmla="*/ 4814057 h 6858290"/>
              <a:gd name="connsiteX1239" fmla="*/ 11834677 w 12139750"/>
              <a:gd name="connsiteY1239" fmla="*/ 4983190 h 6858290"/>
              <a:gd name="connsiteX1240" fmla="*/ 11783196 w 12139750"/>
              <a:gd name="connsiteY1240" fmla="*/ 4969887 h 6858290"/>
              <a:gd name="connsiteX1241" fmla="*/ 11779383 w 12139750"/>
              <a:gd name="connsiteY1241" fmla="*/ 4950884 h 6858290"/>
              <a:gd name="connsiteX1242" fmla="*/ 11798450 w 12139750"/>
              <a:gd name="connsiteY1242" fmla="*/ 4920478 h 6858290"/>
              <a:gd name="connsiteX1243" fmla="*/ 7597191 w 12139750"/>
              <a:gd name="connsiteY1243" fmla="*/ 4729944 h 6858290"/>
              <a:gd name="connsiteX1244" fmla="*/ 7620068 w 12139750"/>
              <a:gd name="connsiteY1244" fmla="*/ 4747524 h 6858290"/>
              <a:gd name="connsiteX1245" fmla="*/ 7604817 w 12139750"/>
              <a:gd name="connsiteY1245" fmla="*/ 4796937 h 6858290"/>
              <a:gd name="connsiteX1246" fmla="*/ 7267371 w 12139750"/>
              <a:gd name="connsiteY1246" fmla="*/ 4983189 h 6858290"/>
              <a:gd name="connsiteX1247" fmla="*/ 7217802 w 12139750"/>
              <a:gd name="connsiteY1247" fmla="*/ 4969885 h 6858290"/>
              <a:gd name="connsiteX1248" fmla="*/ 7212083 w 12139750"/>
              <a:gd name="connsiteY1248" fmla="*/ 4950880 h 6858290"/>
              <a:gd name="connsiteX1249" fmla="*/ 7231147 w 12139750"/>
              <a:gd name="connsiteY1249" fmla="*/ 4920472 h 6858290"/>
              <a:gd name="connsiteX1250" fmla="*/ 7568594 w 12139750"/>
              <a:gd name="connsiteY1250" fmla="*/ 4732319 h 6858290"/>
              <a:gd name="connsiteX1251" fmla="*/ 7597191 w 12139750"/>
              <a:gd name="connsiteY1251" fmla="*/ 4729944 h 6858290"/>
              <a:gd name="connsiteX1252" fmla="*/ 7045531 w 12139750"/>
              <a:gd name="connsiteY1252" fmla="*/ 4720682 h 6858290"/>
              <a:gd name="connsiteX1253" fmla="*/ 7069177 w 12139750"/>
              <a:gd name="connsiteY1253" fmla="*/ 4739994 h 6858290"/>
              <a:gd name="connsiteX1254" fmla="*/ 7051980 w 12139750"/>
              <a:gd name="connsiteY1254" fmla="*/ 4791491 h 6858290"/>
              <a:gd name="connsiteX1255" fmla="*/ 6713773 w 12139750"/>
              <a:gd name="connsiteY1255" fmla="*/ 4968868 h 6858290"/>
              <a:gd name="connsiteX1256" fmla="*/ 6662182 w 12139750"/>
              <a:gd name="connsiteY1256" fmla="*/ 4953610 h 6858290"/>
              <a:gd name="connsiteX1257" fmla="*/ 6656450 w 12139750"/>
              <a:gd name="connsiteY1257" fmla="*/ 4934537 h 6858290"/>
              <a:gd name="connsiteX1258" fmla="*/ 6677468 w 12139750"/>
              <a:gd name="connsiteY1258" fmla="*/ 4902113 h 6858290"/>
              <a:gd name="connsiteX1259" fmla="*/ 7017586 w 12139750"/>
              <a:gd name="connsiteY1259" fmla="*/ 4722828 h 6858290"/>
              <a:gd name="connsiteX1260" fmla="*/ 7045531 w 12139750"/>
              <a:gd name="connsiteY1260" fmla="*/ 4720682 h 6858290"/>
              <a:gd name="connsiteX1261" fmla="*/ 6500048 w 12139750"/>
              <a:gd name="connsiteY1261" fmla="*/ 4711377 h 6858290"/>
              <a:gd name="connsiteX1262" fmla="*/ 6523112 w 12139750"/>
              <a:gd name="connsiteY1262" fmla="*/ 4732307 h 6858290"/>
              <a:gd name="connsiteX1263" fmla="*/ 6505992 w 12139750"/>
              <a:gd name="connsiteY1263" fmla="*/ 4785582 h 6858290"/>
              <a:gd name="connsiteX1264" fmla="*/ 6167407 w 12139750"/>
              <a:gd name="connsiteY1264" fmla="*/ 4953016 h 6858290"/>
              <a:gd name="connsiteX1265" fmla="*/ 6114146 w 12139750"/>
              <a:gd name="connsiteY1265" fmla="*/ 4935892 h 6858290"/>
              <a:gd name="connsiteX1266" fmla="*/ 6110342 w 12139750"/>
              <a:gd name="connsiteY1266" fmla="*/ 4916866 h 6858290"/>
              <a:gd name="connsiteX1267" fmla="*/ 6131266 w 12139750"/>
              <a:gd name="connsiteY1267" fmla="*/ 4882618 h 6858290"/>
              <a:gd name="connsiteX1268" fmla="*/ 6469851 w 12139750"/>
              <a:gd name="connsiteY1268" fmla="*/ 4713280 h 6858290"/>
              <a:gd name="connsiteX1269" fmla="*/ 6500048 w 12139750"/>
              <a:gd name="connsiteY1269" fmla="*/ 4711377 h 6858290"/>
              <a:gd name="connsiteX1270" fmla="*/ 5956806 w 12139750"/>
              <a:gd name="connsiteY1270" fmla="*/ 4701881 h 6858290"/>
              <a:gd name="connsiteX1271" fmla="*/ 5980159 w 12139750"/>
              <a:gd name="connsiteY1271" fmla="*/ 4722888 h 6858290"/>
              <a:gd name="connsiteX1272" fmla="*/ 5961095 w 12139750"/>
              <a:gd name="connsiteY1272" fmla="*/ 4778272 h 6858290"/>
              <a:gd name="connsiteX1273" fmla="*/ 5621756 w 12139750"/>
              <a:gd name="connsiteY1273" fmla="*/ 4938693 h 6858290"/>
              <a:gd name="connsiteX1274" fmla="*/ 5566471 w 12139750"/>
              <a:gd name="connsiteY1274" fmla="*/ 4919595 h 6858290"/>
              <a:gd name="connsiteX1275" fmla="*/ 5562659 w 12139750"/>
              <a:gd name="connsiteY1275" fmla="*/ 4900497 h 6858290"/>
              <a:gd name="connsiteX1276" fmla="*/ 5585535 w 12139750"/>
              <a:gd name="connsiteY1276" fmla="*/ 4864212 h 6858290"/>
              <a:gd name="connsiteX1277" fmla="*/ 5924873 w 12139750"/>
              <a:gd name="connsiteY1277" fmla="*/ 4703791 h 6858290"/>
              <a:gd name="connsiteX1278" fmla="*/ 5956806 w 12139750"/>
              <a:gd name="connsiteY1278" fmla="*/ 4701881 h 6858290"/>
              <a:gd name="connsiteX1279" fmla="*/ 398944 w 12139750"/>
              <a:gd name="connsiteY1279" fmla="*/ 4701881 h 6858290"/>
              <a:gd name="connsiteX1280" fmla="*/ 422281 w 12139750"/>
              <a:gd name="connsiteY1280" fmla="*/ 4722888 h 6858290"/>
              <a:gd name="connsiteX1281" fmla="*/ 401326 w 12139750"/>
              <a:gd name="connsiteY1281" fmla="*/ 4778272 h 6858290"/>
              <a:gd name="connsiteX1282" fmla="*/ 62232 w 12139750"/>
              <a:gd name="connsiteY1282" fmla="*/ 4938693 h 6858290"/>
              <a:gd name="connsiteX1283" fmla="*/ 6986 w 12139750"/>
              <a:gd name="connsiteY1283" fmla="*/ 4919595 h 6858290"/>
              <a:gd name="connsiteX1284" fmla="*/ 3176 w 12139750"/>
              <a:gd name="connsiteY1284" fmla="*/ 4900497 h 6858290"/>
              <a:gd name="connsiteX1285" fmla="*/ 27941 w 12139750"/>
              <a:gd name="connsiteY1285" fmla="*/ 4864212 h 6858290"/>
              <a:gd name="connsiteX1286" fmla="*/ 367035 w 12139750"/>
              <a:gd name="connsiteY1286" fmla="*/ 4703791 h 6858290"/>
              <a:gd name="connsiteX1287" fmla="*/ 398944 w 12139750"/>
              <a:gd name="connsiteY1287" fmla="*/ 4701881 h 6858290"/>
              <a:gd name="connsiteX1288" fmla="*/ 5409709 w 12139750"/>
              <a:gd name="connsiteY1288" fmla="*/ 4693289 h 6858290"/>
              <a:gd name="connsiteX1289" fmla="*/ 5434051 w 12139750"/>
              <a:gd name="connsiteY1289" fmla="*/ 4715197 h 6858290"/>
              <a:gd name="connsiteX1290" fmla="*/ 5411141 w 12139750"/>
              <a:gd name="connsiteY1290" fmla="*/ 4772347 h 6858290"/>
              <a:gd name="connsiteX1291" fmla="*/ 5071298 w 12139750"/>
              <a:gd name="connsiteY1291" fmla="*/ 4922842 h 6858290"/>
              <a:gd name="connsiteX1292" fmla="*/ 5014028 w 12139750"/>
              <a:gd name="connsiteY1292" fmla="*/ 4901887 h 6858290"/>
              <a:gd name="connsiteX1293" fmla="*/ 5010210 w 12139750"/>
              <a:gd name="connsiteY1293" fmla="*/ 4882837 h 6858290"/>
              <a:gd name="connsiteX1294" fmla="*/ 5036936 w 12139750"/>
              <a:gd name="connsiteY1294" fmla="*/ 4842832 h 6858290"/>
              <a:gd name="connsiteX1295" fmla="*/ 5376776 w 12139750"/>
              <a:gd name="connsiteY1295" fmla="*/ 4694242 h 6858290"/>
              <a:gd name="connsiteX1296" fmla="*/ 5409709 w 12139750"/>
              <a:gd name="connsiteY1296" fmla="*/ 4693289 h 6858290"/>
              <a:gd name="connsiteX1297" fmla="*/ 943147 w 12139750"/>
              <a:gd name="connsiteY1297" fmla="*/ 4693289 h 6858290"/>
              <a:gd name="connsiteX1298" fmla="*/ 966774 w 12139750"/>
              <a:gd name="connsiteY1298" fmla="*/ 4715197 h 6858290"/>
              <a:gd name="connsiteX1299" fmla="*/ 945772 w 12139750"/>
              <a:gd name="connsiteY1299" fmla="*/ 4772347 h 6858290"/>
              <a:gd name="connsiteX1300" fmla="*/ 604023 w 12139750"/>
              <a:gd name="connsiteY1300" fmla="*/ 4922842 h 6858290"/>
              <a:gd name="connsiteX1301" fmla="*/ 546746 w 12139750"/>
              <a:gd name="connsiteY1301" fmla="*/ 4901887 h 6858290"/>
              <a:gd name="connsiteX1302" fmla="*/ 542928 w 12139750"/>
              <a:gd name="connsiteY1302" fmla="*/ 4882837 h 6858290"/>
              <a:gd name="connsiteX1303" fmla="*/ 569657 w 12139750"/>
              <a:gd name="connsiteY1303" fmla="*/ 4842832 h 6858290"/>
              <a:gd name="connsiteX1304" fmla="*/ 909497 w 12139750"/>
              <a:gd name="connsiteY1304" fmla="*/ 4694242 h 6858290"/>
              <a:gd name="connsiteX1305" fmla="*/ 943147 w 12139750"/>
              <a:gd name="connsiteY1305" fmla="*/ 4693289 h 6858290"/>
              <a:gd name="connsiteX1306" fmla="*/ 4840042 w 12139750"/>
              <a:gd name="connsiteY1306" fmla="*/ 4679741 h 6858290"/>
              <a:gd name="connsiteX1307" fmla="*/ 4881602 w 12139750"/>
              <a:gd name="connsiteY1307" fmla="*/ 4707760 h 6858290"/>
              <a:gd name="connsiteX1308" fmla="*/ 4856815 w 12139750"/>
              <a:gd name="connsiteY1308" fmla="*/ 4766584 h 6858290"/>
              <a:gd name="connsiteX1309" fmla="*/ 4517479 w 12139750"/>
              <a:gd name="connsiteY1309" fmla="*/ 4907004 h 6858290"/>
              <a:gd name="connsiteX1310" fmla="*/ 4458382 w 12139750"/>
              <a:gd name="connsiteY1310" fmla="*/ 4882336 h 6858290"/>
              <a:gd name="connsiteX1311" fmla="*/ 4454569 w 12139750"/>
              <a:gd name="connsiteY1311" fmla="*/ 4865258 h 6858290"/>
              <a:gd name="connsiteX1312" fmla="*/ 4483165 w 12139750"/>
              <a:gd name="connsiteY1312" fmla="*/ 4823511 h 6858290"/>
              <a:gd name="connsiteX1313" fmla="*/ 4822497 w 12139750"/>
              <a:gd name="connsiteY1313" fmla="*/ 4683092 h 6858290"/>
              <a:gd name="connsiteX1314" fmla="*/ 4840042 w 12139750"/>
              <a:gd name="connsiteY1314" fmla="*/ 4679741 h 6858290"/>
              <a:gd name="connsiteX1315" fmla="*/ 1476099 w 12139750"/>
              <a:gd name="connsiteY1315" fmla="*/ 4679741 h 6858290"/>
              <a:gd name="connsiteX1316" fmla="*/ 1517653 w 12139750"/>
              <a:gd name="connsiteY1316" fmla="*/ 4707760 h 6858290"/>
              <a:gd name="connsiteX1317" fmla="*/ 1492870 w 12139750"/>
              <a:gd name="connsiteY1317" fmla="*/ 4766584 h 6858290"/>
              <a:gd name="connsiteX1318" fmla="*/ 1151623 w 12139750"/>
              <a:gd name="connsiteY1318" fmla="*/ 4907004 h 6858290"/>
              <a:gd name="connsiteX1319" fmla="*/ 1094431 w 12139750"/>
              <a:gd name="connsiteY1319" fmla="*/ 4882336 h 6858290"/>
              <a:gd name="connsiteX1320" fmla="*/ 1090618 w 12139750"/>
              <a:gd name="connsiteY1320" fmla="*/ 4865258 h 6858290"/>
              <a:gd name="connsiteX1321" fmla="*/ 1117307 w 12139750"/>
              <a:gd name="connsiteY1321" fmla="*/ 4823511 h 6858290"/>
              <a:gd name="connsiteX1322" fmla="*/ 1458554 w 12139750"/>
              <a:gd name="connsiteY1322" fmla="*/ 4683092 h 6858290"/>
              <a:gd name="connsiteX1323" fmla="*/ 1476099 w 12139750"/>
              <a:gd name="connsiteY1323" fmla="*/ 4679741 h 6858290"/>
              <a:gd name="connsiteX1324" fmla="*/ 4282901 w 12139750"/>
              <a:gd name="connsiteY1324" fmla="*/ 4670538 h 6858290"/>
              <a:gd name="connsiteX1325" fmla="*/ 4324395 w 12139750"/>
              <a:gd name="connsiteY1325" fmla="*/ 4700274 h 6858290"/>
              <a:gd name="connsiteX1326" fmla="*/ 4297744 w 12139750"/>
              <a:gd name="connsiteY1326" fmla="*/ 4761234 h 6858290"/>
              <a:gd name="connsiteX1327" fmla="*/ 3957010 w 12139750"/>
              <a:gd name="connsiteY1327" fmla="*/ 4892679 h 6858290"/>
              <a:gd name="connsiteX1328" fmla="*/ 3897997 w 12139750"/>
              <a:gd name="connsiteY1328" fmla="*/ 4866009 h 6858290"/>
              <a:gd name="connsiteX1329" fmla="*/ 3894190 w 12139750"/>
              <a:gd name="connsiteY1329" fmla="*/ 4848864 h 6858290"/>
              <a:gd name="connsiteX1330" fmla="*/ 3924648 w 12139750"/>
              <a:gd name="connsiteY1330" fmla="*/ 4805049 h 6858290"/>
              <a:gd name="connsiteX1331" fmla="*/ 4265381 w 12139750"/>
              <a:gd name="connsiteY1331" fmla="*/ 4673604 h 6858290"/>
              <a:gd name="connsiteX1332" fmla="*/ 4282901 w 12139750"/>
              <a:gd name="connsiteY1332" fmla="*/ 4670538 h 6858290"/>
              <a:gd name="connsiteX1333" fmla="*/ 2029448 w 12139750"/>
              <a:gd name="connsiteY1333" fmla="*/ 4670538 h 6858290"/>
              <a:gd name="connsiteX1334" fmla="*/ 2071719 w 12139750"/>
              <a:gd name="connsiteY1334" fmla="*/ 4700274 h 6858290"/>
              <a:gd name="connsiteX1335" fmla="*/ 2045083 w 12139750"/>
              <a:gd name="connsiteY1335" fmla="*/ 4761234 h 6858290"/>
              <a:gd name="connsiteX1336" fmla="*/ 1704573 w 12139750"/>
              <a:gd name="connsiteY1336" fmla="*/ 4892679 h 6858290"/>
              <a:gd name="connsiteX1337" fmla="*/ 1643700 w 12139750"/>
              <a:gd name="connsiteY1337" fmla="*/ 4866009 h 6858290"/>
              <a:gd name="connsiteX1338" fmla="*/ 1639895 w 12139750"/>
              <a:gd name="connsiteY1338" fmla="*/ 4848864 h 6858290"/>
              <a:gd name="connsiteX1339" fmla="*/ 1670332 w 12139750"/>
              <a:gd name="connsiteY1339" fmla="*/ 4805049 h 6858290"/>
              <a:gd name="connsiteX1340" fmla="*/ 2010841 w 12139750"/>
              <a:gd name="connsiteY1340" fmla="*/ 4673604 h 6858290"/>
              <a:gd name="connsiteX1341" fmla="*/ 2029448 w 12139750"/>
              <a:gd name="connsiteY1341" fmla="*/ 4670538 h 6858290"/>
              <a:gd name="connsiteX1342" fmla="*/ 3720840 w 12139750"/>
              <a:gd name="connsiteY1342" fmla="*/ 4661025 h 6858290"/>
              <a:gd name="connsiteX1343" fmla="*/ 3764003 w 12139750"/>
              <a:gd name="connsiteY1343" fmla="*/ 4692550 h 6858290"/>
              <a:gd name="connsiteX1344" fmla="*/ 3735407 w 12139750"/>
              <a:gd name="connsiteY1344" fmla="*/ 4755243 h 6858290"/>
              <a:gd name="connsiteX1345" fmla="*/ 3392273 w 12139750"/>
              <a:gd name="connsiteY1345" fmla="*/ 4876830 h 6858290"/>
              <a:gd name="connsiteX1346" fmla="*/ 3331267 w 12139750"/>
              <a:gd name="connsiteY1346" fmla="*/ 4848333 h 6858290"/>
              <a:gd name="connsiteX1347" fmla="*/ 3327455 w 12139750"/>
              <a:gd name="connsiteY1347" fmla="*/ 4831235 h 6858290"/>
              <a:gd name="connsiteX1348" fmla="*/ 3359861 w 12139750"/>
              <a:gd name="connsiteY1348" fmla="*/ 4785640 h 6858290"/>
              <a:gd name="connsiteX1349" fmla="*/ 3701090 w 12139750"/>
              <a:gd name="connsiteY1349" fmla="*/ 4664053 h 6858290"/>
              <a:gd name="connsiteX1350" fmla="*/ 3720840 w 12139750"/>
              <a:gd name="connsiteY1350" fmla="*/ 4661025 h 6858290"/>
              <a:gd name="connsiteX1351" fmla="*/ 2587339 w 12139750"/>
              <a:gd name="connsiteY1351" fmla="*/ 4661025 h 6858290"/>
              <a:gd name="connsiteX1352" fmla="*/ 2630501 w 12139750"/>
              <a:gd name="connsiteY1352" fmla="*/ 4692550 h 6858290"/>
              <a:gd name="connsiteX1353" fmla="*/ 2601905 w 12139750"/>
              <a:gd name="connsiteY1353" fmla="*/ 4755243 h 6858290"/>
              <a:gd name="connsiteX1354" fmla="*/ 2258757 w 12139750"/>
              <a:gd name="connsiteY1354" fmla="*/ 4876830 h 6858290"/>
              <a:gd name="connsiteX1355" fmla="*/ 2197753 w 12139750"/>
              <a:gd name="connsiteY1355" fmla="*/ 4848333 h 6858290"/>
              <a:gd name="connsiteX1356" fmla="*/ 2193940 w 12139750"/>
              <a:gd name="connsiteY1356" fmla="*/ 4831235 h 6858290"/>
              <a:gd name="connsiteX1357" fmla="*/ 2226349 w 12139750"/>
              <a:gd name="connsiteY1357" fmla="*/ 4785640 h 6858290"/>
              <a:gd name="connsiteX1358" fmla="*/ 2567591 w 12139750"/>
              <a:gd name="connsiteY1358" fmla="*/ 4664053 h 6858290"/>
              <a:gd name="connsiteX1359" fmla="*/ 2587339 w 12139750"/>
              <a:gd name="connsiteY1359" fmla="*/ 4661025 h 6858290"/>
              <a:gd name="connsiteX1360" fmla="*/ 3149677 w 12139750"/>
              <a:gd name="connsiteY1360" fmla="*/ 4651825 h 6858290"/>
              <a:gd name="connsiteX1361" fmla="*/ 3194415 w 12139750"/>
              <a:gd name="connsiteY1361" fmla="*/ 4685090 h 6858290"/>
              <a:gd name="connsiteX1362" fmla="*/ 3162028 w 12139750"/>
              <a:gd name="connsiteY1362" fmla="*/ 4748043 h 6858290"/>
              <a:gd name="connsiteX1363" fmla="*/ 2819123 w 12139750"/>
              <a:gd name="connsiteY1363" fmla="*/ 4862503 h 6858290"/>
              <a:gd name="connsiteX1364" fmla="*/ 2756258 w 12139750"/>
              <a:gd name="connsiteY1364" fmla="*/ 4830073 h 6858290"/>
              <a:gd name="connsiteX1365" fmla="*/ 2754356 w 12139750"/>
              <a:gd name="connsiteY1365" fmla="*/ 4814812 h 6858290"/>
              <a:gd name="connsiteX1366" fmla="*/ 2788641 w 12139750"/>
              <a:gd name="connsiteY1366" fmla="*/ 4767120 h 6858290"/>
              <a:gd name="connsiteX1367" fmla="*/ 3129644 w 12139750"/>
              <a:gd name="connsiteY1367" fmla="*/ 4654567 h 6858290"/>
              <a:gd name="connsiteX1368" fmla="*/ 3149677 w 12139750"/>
              <a:gd name="connsiteY1368" fmla="*/ 4651825 h 6858290"/>
              <a:gd name="connsiteX1369" fmla="*/ 9864585 w 12139750"/>
              <a:gd name="connsiteY1369" fmla="*/ 4440631 h 6858290"/>
              <a:gd name="connsiteX1370" fmla="*/ 9882263 w 12139750"/>
              <a:gd name="connsiteY1370" fmla="*/ 4452274 h 6858290"/>
              <a:gd name="connsiteX1371" fmla="*/ 9876529 w 12139750"/>
              <a:gd name="connsiteY1371" fmla="*/ 4488393 h 6858290"/>
              <a:gd name="connsiteX1372" fmla="*/ 9540160 w 12139750"/>
              <a:gd name="connsiteY1372" fmla="*/ 4727913 h 6858290"/>
              <a:gd name="connsiteX1373" fmla="*/ 9503848 w 12139750"/>
              <a:gd name="connsiteY1373" fmla="*/ 4720309 h 6858290"/>
              <a:gd name="connsiteX1374" fmla="*/ 9498114 w 12139750"/>
              <a:gd name="connsiteY1374" fmla="*/ 4705101 h 6858290"/>
              <a:gd name="connsiteX1375" fmla="*/ 9509581 w 12139750"/>
              <a:gd name="connsiteY1375" fmla="*/ 4684191 h 6858290"/>
              <a:gd name="connsiteX1376" fmla="*/ 9844039 w 12139750"/>
              <a:gd name="connsiteY1376" fmla="*/ 4444671 h 6858290"/>
              <a:gd name="connsiteX1377" fmla="*/ 9864585 w 12139750"/>
              <a:gd name="connsiteY1377" fmla="*/ 4440631 h 6858290"/>
              <a:gd name="connsiteX1378" fmla="*/ 10447906 w 12139750"/>
              <a:gd name="connsiteY1378" fmla="*/ 4432309 h 6858290"/>
              <a:gd name="connsiteX1379" fmla="*/ 10466494 w 12139750"/>
              <a:gd name="connsiteY1379" fmla="*/ 4444705 h 6858290"/>
              <a:gd name="connsiteX1380" fmla="*/ 10458868 w 12139750"/>
              <a:gd name="connsiteY1380" fmla="*/ 4484754 h 6858290"/>
              <a:gd name="connsiteX1381" fmla="*/ 10123316 w 12139750"/>
              <a:gd name="connsiteY1381" fmla="*/ 4711694 h 6858290"/>
              <a:gd name="connsiteX1382" fmla="*/ 10083279 w 12139750"/>
              <a:gd name="connsiteY1382" fmla="*/ 4704066 h 6858290"/>
              <a:gd name="connsiteX1383" fmla="*/ 10077559 w 12139750"/>
              <a:gd name="connsiteY1383" fmla="*/ 4686903 h 6858290"/>
              <a:gd name="connsiteX1384" fmla="*/ 10090905 w 12139750"/>
              <a:gd name="connsiteY1384" fmla="*/ 4664018 h 6858290"/>
              <a:gd name="connsiteX1385" fmla="*/ 10426457 w 12139750"/>
              <a:gd name="connsiteY1385" fmla="*/ 4437077 h 6858290"/>
              <a:gd name="connsiteX1386" fmla="*/ 10447906 w 12139750"/>
              <a:gd name="connsiteY1386" fmla="*/ 4432309 h 6858290"/>
              <a:gd name="connsiteX1387" fmla="*/ 9287428 w 12139750"/>
              <a:gd name="connsiteY1387" fmla="*/ 4432309 h 6858290"/>
              <a:gd name="connsiteX1388" fmla="*/ 9306016 w 12139750"/>
              <a:gd name="connsiteY1388" fmla="*/ 4444705 h 6858290"/>
              <a:gd name="connsiteX1389" fmla="*/ 9298390 w 12139750"/>
              <a:gd name="connsiteY1389" fmla="*/ 4484754 h 6858290"/>
              <a:gd name="connsiteX1390" fmla="*/ 8962838 w 12139750"/>
              <a:gd name="connsiteY1390" fmla="*/ 4711694 h 6858290"/>
              <a:gd name="connsiteX1391" fmla="*/ 8922801 w 12139750"/>
              <a:gd name="connsiteY1391" fmla="*/ 4704066 h 6858290"/>
              <a:gd name="connsiteX1392" fmla="*/ 8917081 w 12139750"/>
              <a:gd name="connsiteY1392" fmla="*/ 4686903 h 6858290"/>
              <a:gd name="connsiteX1393" fmla="*/ 8930427 w 12139750"/>
              <a:gd name="connsiteY1393" fmla="*/ 4664018 h 6858290"/>
              <a:gd name="connsiteX1394" fmla="*/ 9265979 w 12139750"/>
              <a:gd name="connsiteY1394" fmla="*/ 4437077 h 6858290"/>
              <a:gd name="connsiteX1395" fmla="*/ 9287428 w 12139750"/>
              <a:gd name="connsiteY1395" fmla="*/ 4432309 h 6858290"/>
              <a:gd name="connsiteX1396" fmla="*/ 11026206 w 12139750"/>
              <a:gd name="connsiteY1396" fmla="*/ 4423012 h 6858290"/>
              <a:gd name="connsiteX1397" fmla="*/ 11045955 w 12139750"/>
              <a:gd name="connsiteY1397" fmla="*/ 4437046 h 6858290"/>
              <a:gd name="connsiteX1398" fmla="*/ 11036438 w 12139750"/>
              <a:gd name="connsiteY1398" fmla="*/ 4478910 h 6858290"/>
              <a:gd name="connsiteX1399" fmla="*/ 10701418 w 12139750"/>
              <a:gd name="connsiteY1399" fmla="*/ 4695840 h 6858290"/>
              <a:gd name="connsiteX1400" fmla="*/ 10657637 w 12139750"/>
              <a:gd name="connsiteY1400" fmla="*/ 4686326 h 6858290"/>
              <a:gd name="connsiteX1401" fmla="*/ 10653830 w 12139750"/>
              <a:gd name="connsiteY1401" fmla="*/ 4669200 h 6858290"/>
              <a:gd name="connsiteX1402" fmla="*/ 10667155 w 12139750"/>
              <a:gd name="connsiteY1402" fmla="*/ 4642559 h 6858290"/>
              <a:gd name="connsiteX1403" fmla="*/ 11002174 w 12139750"/>
              <a:gd name="connsiteY1403" fmla="*/ 4427531 h 6858290"/>
              <a:gd name="connsiteX1404" fmla="*/ 11026206 w 12139750"/>
              <a:gd name="connsiteY1404" fmla="*/ 4423012 h 6858290"/>
              <a:gd name="connsiteX1405" fmla="*/ 8716363 w 12139750"/>
              <a:gd name="connsiteY1405" fmla="*/ 4423012 h 6858290"/>
              <a:gd name="connsiteX1406" fmla="*/ 8736111 w 12139750"/>
              <a:gd name="connsiteY1406" fmla="*/ 4437046 h 6858290"/>
              <a:gd name="connsiteX1407" fmla="*/ 8726594 w 12139750"/>
              <a:gd name="connsiteY1407" fmla="*/ 4478910 h 6858290"/>
              <a:gd name="connsiteX1408" fmla="*/ 8391574 w 12139750"/>
              <a:gd name="connsiteY1408" fmla="*/ 4695840 h 6858290"/>
              <a:gd name="connsiteX1409" fmla="*/ 8347793 w 12139750"/>
              <a:gd name="connsiteY1409" fmla="*/ 4686326 h 6858290"/>
              <a:gd name="connsiteX1410" fmla="*/ 8343986 w 12139750"/>
              <a:gd name="connsiteY1410" fmla="*/ 4669200 h 6858290"/>
              <a:gd name="connsiteX1411" fmla="*/ 8357311 w 12139750"/>
              <a:gd name="connsiteY1411" fmla="*/ 4642559 h 6858290"/>
              <a:gd name="connsiteX1412" fmla="*/ 8692330 w 12139750"/>
              <a:gd name="connsiteY1412" fmla="*/ 4427531 h 6858290"/>
              <a:gd name="connsiteX1413" fmla="*/ 8716363 w 12139750"/>
              <a:gd name="connsiteY1413" fmla="*/ 4423012 h 6858290"/>
              <a:gd name="connsiteX1414" fmla="*/ 11596714 w 12139750"/>
              <a:gd name="connsiteY1414" fmla="*/ 4414431 h 6858290"/>
              <a:gd name="connsiteX1415" fmla="*/ 11617447 w 12139750"/>
              <a:gd name="connsiteY1415" fmla="*/ 4429399 h 6858290"/>
              <a:gd name="connsiteX1416" fmla="*/ 11606008 w 12139750"/>
              <a:gd name="connsiteY1416" fmla="*/ 4475016 h 6858290"/>
              <a:gd name="connsiteX1417" fmla="*/ 11270463 w 12139750"/>
              <a:gd name="connsiteY1417" fmla="*/ 4678388 h 6858290"/>
              <a:gd name="connsiteX1418" fmla="*/ 11224707 w 12139750"/>
              <a:gd name="connsiteY1418" fmla="*/ 4666984 h 6858290"/>
              <a:gd name="connsiteX1419" fmla="*/ 11218987 w 12139750"/>
              <a:gd name="connsiteY1419" fmla="*/ 4649878 h 6858290"/>
              <a:gd name="connsiteX1420" fmla="*/ 11236146 w 12139750"/>
              <a:gd name="connsiteY1420" fmla="*/ 4621368 h 6858290"/>
              <a:gd name="connsiteX1421" fmla="*/ 11571691 w 12139750"/>
              <a:gd name="connsiteY1421" fmla="*/ 4417995 h 6858290"/>
              <a:gd name="connsiteX1422" fmla="*/ 11596714 w 12139750"/>
              <a:gd name="connsiteY1422" fmla="*/ 4414431 h 6858290"/>
              <a:gd name="connsiteX1423" fmla="*/ 8153380 w 12139750"/>
              <a:gd name="connsiteY1423" fmla="*/ 4414431 h 6858290"/>
              <a:gd name="connsiteX1424" fmla="*/ 8174113 w 12139750"/>
              <a:gd name="connsiteY1424" fmla="*/ 4429399 h 6858290"/>
              <a:gd name="connsiteX1425" fmla="*/ 8162674 w 12139750"/>
              <a:gd name="connsiteY1425" fmla="*/ 4475016 h 6858290"/>
              <a:gd name="connsiteX1426" fmla="*/ 7825222 w 12139750"/>
              <a:gd name="connsiteY1426" fmla="*/ 4678388 h 6858290"/>
              <a:gd name="connsiteX1427" fmla="*/ 7779466 w 12139750"/>
              <a:gd name="connsiteY1427" fmla="*/ 4666984 h 6858290"/>
              <a:gd name="connsiteX1428" fmla="*/ 7775653 w 12139750"/>
              <a:gd name="connsiteY1428" fmla="*/ 4649878 h 6858290"/>
              <a:gd name="connsiteX1429" fmla="*/ 7790905 w 12139750"/>
              <a:gd name="connsiteY1429" fmla="*/ 4621368 h 6858290"/>
              <a:gd name="connsiteX1430" fmla="*/ 8128357 w 12139750"/>
              <a:gd name="connsiteY1430" fmla="*/ 4417995 h 6858290"/>
              <a:gd name="connsiteX1431" fmla="*/ 8153380 w 12139750"/>
              <a:gd name="connsiteY1431" fmla="*/ 4414431 h 6858290"/>
              <a:gd name="connsiteX1432" fmla="*/ 12139750 w 12139750"/>
              <a:gd name="connsiteY1432" fmla="*/ 4406904 h 6858290"/>
              <a:gd name="connsiteX1433" fmla="*/ 12139750 w 12139750"/>
              <a:gd name="connsiteY1433" fmla="*/ 4488819 h 6858290"/>
              <a:gd name="connsiteX1434" fmla="*/ 11834405 w 12139750"/>
              <a:gd name="connsiteY1434" fmla="*/ 4664079 h 6858290"/>
              <a:gd name="connsiteX1435" fmla="*/ 11784787 w 12139750"/>
              <a:gd name="connsiteY1435" fmla="*/ 4650744 h 6858290"/>
              <a:gd name="connsiteX1436" fmla="*/ 11780970 w 12139750"/>
              <a:gd name="connsiteY1436" fmla="*/ 4633599 h 6858290"/>
              <a:gd name="connsiteX1437" fmla="*/ 11798146 w 12139750"/>
              <a:gd name="connsiteY1437" fmla="*/ 4601214 h 6858290"/>
              <a:gd name="connsiteX1438" fmla="*/ 12135933 w 12139750"/>
              <a:gd name="connsiteY1438" fmla="*/ 4408809 h 6858290"/>
              <a:gd name="connsiteX1439" fmla="*/ 12139750 w 12139750"/>
              <a:gd name="connsiteY1439" fmla="*/ 4406904 h 6858290"/>
              <a:gd name="connsiteX1440" fmla="*/ 7595041 w 12139750"/>
              <a:gd name="connsiteY1440" fmla="*/ 4405165 h 6858290"/>
              <a:gd name="connsiteX1441" fmla="*/ 7616915 w 12139750"/>
              <a:gd name="connsiteY1441" fmla="*/ 4421853 h 6858290"/>
              <a:gd name="connsiteX1442" fmla="*/ 7603601 w 12139750"/>
              <a:gd name="connsiteY1442" fmla="*/ 4471441 h 6858290"/>
              <a:gd name="connsiteX1443" fmla="*/ 7266929 w 12139750"/>
              <a:gd name="connsiteY1443" fmla="*/ 4664069 h 6858290"/>
              <a:gd name="connsiteX1444" fmla="*/ 7219376 w 12139750"/>
              <a:gd name="connsiteY1444" fmla="*/ 4650718 h 6858290"/>
              <a:gd name="connsiteX1445" fmla="*/ 7213670 w 12139750"/>
              <a:gd name="connsiteY1445" fmla="*/ 4633553 h 6858290"/>
              <a:gd name="connsiteX1446" fmla="*/ 7230789 w 12139750"/>
              <a:gd name="connsiteY1446" fmla="*/ 4601131 h 6858290"/>
              <a:gd name="connsiteX1447" fmla="*/ 7567461 w 12139750"/>
              <a:gd name="connsiteY1447" fmla="*/ 4408503 h 6858290"/>
              <a:gd name="connsiteX1448" fmla="*/ 7595041 w 12139750"/>
              <a:gd name="connsiteY1448" fmla="*/ 4405165 h 6858290"/>
              <a:gd name="connsiteX1449" fmla="*/ 7045448 w 12139750"/>
              <a:gd name="connsiteY1449" fmla="*/ 4396577 h 6858290"/>
              <a:gd name="connsiteX1450" fmla="*/ 7067610 w 12139750"/>
              <a:gd name="connsiteY1450" fmla="*/ 4414178 h 6858290"/>
              <a:gd name="connsiteX1451" fmla="*/ 7052359 w 12139750"/>
              <a:gd name="connsiteY1451" fmla="*/ 4465552 h 6858290"/>
              <a:gd name="connsiteX1452" fmla="*/ 6714913 w 12139750"/>
              <a:gd name="connsiteY1452" fmla="*/ 4646313 h 6858290"/>
              <a:gd name="connsiteX1453" fmla="*/ 6663438 w 12139750"/>
              <a:gd name="connsiteY1453" fmla="*/ 4631091 h 6858290"/>
              <a:gd name="connsiteX1454" fmla="*/ 6659625 w 12139750"/>
              <a:gd name="connsiteY1454" fmla="*/ 4613966 h 6858290"/>
              <a:gd name="connsiteX1455" fmla="*/ 6678689 w 12139750"/>
              <a:gd name="connsiteY1455" fmla="*/ 4581620 h 6858290"/>
              <a:gd name="connsiteX1456" fmla="*/ 7016136 w 12139750"/>
              <a:gd name="connsiteY1456" fmla="*/ 4398956 h 6858290"/>
              <a:gd name="connsiteX1457" fmla="*/ 7045448 w 12139750"/>
              <a:gd name="connsiteY1457" fmla="*/ 4396577 h 6858290"/>
              <a:gd name="connsiteX1458" fmla="*/ 6484860 w 12139750"/>
              <a:gd name="connsiteY1458" fmla="*/ 4386509 h 6858290"/>
              <a:gd name="connsiteX1459" fmla="*/ 6523112 w 12139750"/>
              <a:gd name="connsiteY1459" fmla="*/ 4408422 h 6858290"/>
              <a:gd name="connsiteX1460" fmla="*/ 6505992 w 12139750"/>
              <a:gd name="connsiteY1460" fmla="*/ 4461632 h 6858290"/>
              <a:gd name="connsiteX1461" fmla="*/ 6167407 w 12139750"/>
              <a:gd name="connsiteY1461" fmla="*/ 4630765 h 6858290"/>
              <a:gd name="connsiteX1462" fmla="*/ 6114146 w 12139750"/>
              <a:gd name="connsiteY1462" fmla="*/ 4613662 h 6858290"/>
              <a:gd name="connsiteX1463" fmla="*/ 6110342 w 12139750"/>
              <a:gd name="connsiteY1463" fmla="*/ 4594658 h 6858290"/>
              <a:gd name="connsiteX1464" fmla="*/ 6131266 w 12139750"/>
              <a:gd name="connsiteY1464" fmla="*/ 4560451 h 6858290"/>
              <a:gd name="connsiteX1465" fmla="*/ 6469851 w 12139750"/>
              <a:gd name="connsiteY1465" fmla="*/ 4391319 h 6858290"/>
              <a:gd name="connsiteX1466" fmla="*/ 6484860 w 12139750"/>
              <a:gd name="connsiteY1466" fmla="*/ 4386509 h 6858290"/>
              <a:gd name="connsiteX1467" fmla="*/ 5956832 w 12139750"/>
              <a:gd name="connsiteY1467" fmla="*/ 4379618 h 6858290"/>
              <a:gd name="connsiteX1468" fmla="*/ 5980168 w 12139750"/>
              <a:gd name="connsiteY1468" fmla="*/ 4400625 h 6858290"/>
              <a:gd name="connsiteX1469" fmla="*/ 5961118 w 12139750"/>
              <a:gd name="connsiteY1469" fmla="*/ 4456009 h 6858290"/>
              <a:gd name="connsiteX1470" fmla="*/ 5622031 w 12139750"/>
              <a:gd name="connsiteY1470" fmla="*/ 4616430 h 6858290"/>
              <a:gd name="connsiteX1471" fmla="*/ 5564881 w 12139750"/>
              <a:gd name="connsiteY1471" fmla="*/ 4595422 h 6858290"/>
              <a:gd name="connsiteX1472" fmla="*/ 5561071 w 12139750"/>
              <a:gd name="connsiteY1472" fmla="*/ 4578234 h 6858290"/>
              <a:gd name="connsiteX1473" fmla="*/ 5585836 w 12139750"/>
              <a:gd name="connsiteY1473" fmla="*/ 4540039 h 6858290"/>
              <a:gd name="connsiteX1474" fmla="*/ 5924923 w 12139750"/>
              <a:gd name="connsiteY1474" fmla="*/ 4381528 h 6858290"/>
              <a:gd name="connsiteX1475" fmla="*/ 5956832 w 12139750"/>
              <a:gd name="connsiteY1475" fmla="*/ 4379618 h 6858290"/>
              <a:gd name="connsiteX1476" fmla="*/ 398944 w 12139750"/>
              <a:gd name="connsiteY1476" fmla="*/ 4379618 h 6858290"/>
              <a:gd name="connsiteX1477" fmla="*/ 422281 w 12139750"/>
              <a:gd name="connsiteY1477" fmla="*/ 4400625 h 6858290"/>
              <a:gd name="connsiteX1478" fmla="*/ 401326 w 12139750"/>
              <a:gd name="connsiteY1478" fmla="*/ 4456009 h 6858290"/>
              <a:gd name="connsiteX1479" fmla="*/ 62231 w 12139750"/>
              <a:gd name="connsiteY1479" fmla="*/ 4616430 h 6858290"/>
              <a:gd name="connsiteX1480" fmla="*/ 6986 w 12139750"/>
              <a:gd name="connsiteY1480" fmla="*/ 4595422 h 6858290"/>
              <a:gd name="connsiteX1481" fmla="*/ 3176 w 12139750"/>
              <a:gd name="connsiteY1481" fmla="*/ 4578234 h 6858290"/>
              <a:gd name="connsiteX1482" fmla="*/ 27941 w 12139750"/>
              <a:gd name="connsiteY1482" fmla="*/ 4540039 h 6858290"/>
              <a:gd name="connsiteX1483" fmla="*/ 367035 w 12139750"/>
              <a:gd name="connsiteY1483" fmla="*/ 4381528 h 6858290"/>
              <a:gd name="connsiteX1484" fmla="*/ 398944 w 12139750"/>
              <a:gd name="connsiteY1484" fmla="*/ 4379618 h 6858290"/>
              <a:gd name="connsiteX1485" fmla="*/ 5410426 w 12139750"/>
              <a:gd name="connsiteY1485" fmla="*/ 4371276 h 6858290"/>
              <a:gd name="connsiteX1486" fmla="*/ 5434051 w 12139750"/>
              <a:gd name="connsiteY1486" fmla="*/ 4394881 h 6858290"/>
              <a:gd name="connsiteX1487" fmla="*/ 5411141 w 12139750"/>
              <a:gd name="connsiteY1487" fmla="*/ 4452105 h 6858290"/>
              <a:gd name="connsiteX1488" fmla="*/ 5071298 w 12139750"/>
              <a:gd name="connsiteY1488" fmla="*/ 4598979 h 6858290"/>
              <a:gd name="connsiteX1489" fmla="*/ 5014028 w 12139750"/>
              <a:gd name="connsiteY1489" fmla="*/ 4576090 h 6858290"/>
              <a:gd name="connsiteX1490" fmla="*/ 5010210 w 12139750"/>
              <a:gd name="connsiteY1490" fmla="*/ 4558923 h 6858290"/>
              <a:gd name="connsiteX1491" fmla="*/ 5036936 w 12139750"/>
              <a:gd name="connsiteY1491" fmla="*/ 4518866 h 6858290"/>
              <a:gd name="connsiteX1492" fmla="*/ 5376776 w 12139750"/>
              <a:gd name="connsiteY1492" fmla="*/ 4371991 h 6858290"/>
              <a:gd name="connsiteX1493" fmla="*/ 5410426 w 12139750"/>
              <a:gd name="connsiteY1493" fmla="*/ 4371276 h 6858290"/>
              <a:gd name="connsiteX1494" fmla="*/ 943805 w 12139750"/>
              <a:gd name="connsiteY1494" fmla="*/ 4371276 h 6858290"/>
              <a:gd name="connsiteX1495" fmla="*/ 968368 w 12139750"/>
              <a:gd name="connsiteY1495" fmla="*/ 4394881 h 6858290"/>
              <a:gd name="connsiteX1496" fmla="*/ 945475 w 12139750"/>
              <a:gd name="connsiteY1496" fmla="*/ 4452105 h 6858290"/>
              <a:gd name="connsiteX1497" fmla="*/ 603977 w 12139750"/>
              <a:gd name="connsiteY1497" fmla="*/ 4598979 h 6858290"/>
              <a:gd name="connsiteX1498" fmla="*/ 546743 w 12139750"/>
              <a:gd name="connsiteY1498" fmla="*/ 4576090 h 6858290"/>
              <a:gd name="connsiteX1499" fmla="*/ 542927 w 12139750"/>
              <a:gd name="connsiteY1499" fmla="*/ 4558923 h 6858290"/>
              <a:gd name="connsiteX1500" fmla="*/ 569637 w 12139750"/>
              <a:gd name="connsiteY1500" fmla="*/ 4518866 h 6858290"/>
              <a:gd name="connsiteX1501" fmla="*/ 909226 w 12139750"/>
              <a:gd name="connsiteY1501" fmla="*/ 4371991 h 6858290"/>
              <a:gd name="connsiteX1502" fmla="*/ 943805 w 12139750"/>
              <a:gd name="connsiteY1502" fmla="*/ 4371276 h 6858290"/>
              <a:gd name="connsiteX1503" fmla="*/ 4841668 w 12139750"/>
              <a:gd name="connsiteY1503" fmla="*/ 4359082 h 6858290"/>
              <a:gd name="connsiteX1504" fmla="*/ 4883197 w 12139750"/>
              <a:gd name="connsiteY1504" fmla="*/ 4387173 h 6858290"/>
              <a:gd name="connsiteX1505" fmla="*/ 4856523 w 12139750"/>
              <a:gd name="connsiteY1505" fmla="*/ 4448053 h 6858290"/>
              <a:gd name="connsiteX1506" fmla="*/ 4517432 w 12139750"/>
              <a:gd name="connsiteY1506" fmla="*/ 4583129 h 6858290"/>
              <a:gd name="connsiteX1507" fmla="*/ 4456473 w 12139750"/>
              <a:gd name="connsiteY1507" fmla="*/ 4556495 h 6858290"/>
              <a:gd name="connsiteX1508" fmla="*/ 4454569 w 12139750"/>
              <a:gd name="connsiteY1508" fmla="*/ 4539372 h 6858290"/>
              <a:gd name="connsiteX1509" fmla="*/ 4483145 w 12139750"/>
              <a:gd name="connsiteY1509" fmla="*/ 4497518 h 6858290"/>
              <a:gd name="connsiteX1510" fmla="*/ 4824134 w 12139750"/>
              <a:gd name="connsiteY1510" fmla="*/ 4362441 h 6858290"/>
              <a:gd name="connsiteX1511" fmla="*/ 4841668 w 12139750"/>
              <a:gd name="connsiteY1511" fmla="*/ 4359082 h 6858290"/>
              <a:gd name="connsiteX1512" fmla="*/ 1477208 w 12139750"/>
              <a:gd name="connsiteY1512" fmla="*/ 4359082 h 6858290"/>
              <a:gd name="connsiteX1513" fmla="*/ 1517660 w 12139750"/>
              <a:gd name="connsiteY1513" fmla="*/ 4387173 h 6858290"/>
              <a:gd name="connsiteX1514" fmla="*/ 1492894 w 12139750"/>
              <a:gd name="connsiteY1514" fmla="*/ 4448053 h 6858290"/>
              <a:gd name="connsiteX1515" fmla="*/ 1151895 w 12139750"/>
              <a:gd name="connsiteY1515" fmla="*/ 4583129 h 6858290"/>
              <a:gd name="connsiteX1516" fmla="*/ 1092840 w 12139750"/>
              <a:gd name="connsiteY1516" fmla="*/ 4556495 h 6858290"/>
              <a:gd name="connsiteX1517" fmla="*/ 1089029 w 12139750"/>
              <a:gd name="connsiteY1517" fmla="*/ 4539372 h 6858290"/>
              <a:gd name="connsiteX1518" fmla="*/ 1117605 w 12139750"/>
              <a:gd name="connsiteY1518" fmla="*/ 4497518 h 6858290"/>
              <a:gd name="connsiteX1519" fmla="*/ 1458604 w 12139750"/>
              <a:gd name="connsiteY1519" fmla="*/ 4362441 h 6858290"/>
              <a:gd name="connsiteX1520" fmla="*/ 1477208 w 12139750"/>
              <a:gd name="connsiteY1520" fmla="*/ 4359082 h 6858290"/>
              <a:gd name="connsiteX1521" fmla="*/ 4284028 w 12139750"/>
              <a:gd name="connsiteY1521" fmla="*/ 4349919 h 6858290"/>
              <a:gd name="connsiteX1522" fmla="*/ 4325998 w 12139750"/>
              <a:gd name="connsiteY1522" fmla="*/ 4381660 h 6858290"/>
              <a:gd name="connsiteX1523" fmla="*/ 4297483 w 12139750"/>
              <a:gd name="connsiteY1523" fmla="*/ 4442870 h 6858290"/>
              <a:gd name="connsiteX1524" fmla="*/ 3957235 w 12139750"/>
              <a:gd name="connsiteY1524" fmla="*/ 4569116 h 6858290"/>
              <a:gd name="connsiteX1525" fmla="*/ 3896403 w 12139750"/>
              <a:gd name="connsiteY1525" fmla="*/ 4538511 h 6858290"/>
              <a:gd name="connsiteX1526" fmla="*/ 3892602 w 12139750"/>
              <a:gd name="connsiteY1526" fmla="*/ 4523208 h 6858290"/>
              <a:gd name="connsiteX1527" fmla="*/ 3924919 w 12139750"/>
              <a:gd name="connsiteY1527" fmla="*/ 4477301 h 6858290"/>
              <a:gd name="connsiteX1528" fmla="*/ 4265165 w 12139750"/>
              <a:gd name="connsiteY1528" fmla="*/ 4352968 h 6858290"/>
              <a:gd name="connsiteX1529" fmla="*/ 4284028 w 12139750"/>
              <a:gd name="connsiteY1529" fmla="*/ 4349919 h 6858290"/>
              <a:gd name="connsiteX1530" fmla="*/ 2029783 w 12139750"/>
              <a:gd name="connsiteY1530" fmla="*/ 4349919 h 6858290"/>
              <a:gd name="connsiteX1531" fmla="*/ 2073628 w 12139750"/>
              <a:gd name="connsiteY1531" fmla="*/ 4381660 h 6858290"/>
              <a:gd name="connsiteX1532" fmla="*/ 2045109 w 12139750"/>
              <a:gd name="connsiteY1532" fmla="*/ 4442870 h 6858290"/>
              <a:gd name="connsiteX1533" fmla="*/ 1702940 w 12139750"/>
              <a:gd name="connsiteY1533" fmla="*/ 4569116 h 6858290"/>
              <a:gd name="connsiteX1534" fmla="*/ 1642110 w 12139750"/>
              <a:gd name="connsiteY1534" fmla="*/ 4538511 h 6858290"/>
              <a:gd name="connsiteX1535" fmla="*/ 1638308 w 12139750"/>
              <a:gd name="connsiteY1535" fmla="*/ 4523208 h 6858290"/>
              <a:gd name="connsiteX1536" fmla="*/ 1670624 w 12139750"/>
              <a:gd name="connsiteY1536" fmla="*/ 4477301 h 6858290"/>
              <a:gd name="connsiteX1537" fmla="*/ 2010892 w 12139750"/>
              <a:gd name="connsiteY1537" fmla="*/ 4352968 h 6858290"/>
              <a:gd name="connsiteX1538" fmla="*/ 2029783 w 12139750"/>
              <a:gd name="connsiteY1538" fmla="*/ 4349919 h 6858290"/>
              <a:gd name="connsiteX1539" fmla="*/ 3722769 w 12139750"/>
              <a:gd name="connsiteY1539" fmla="*/ 4341198 h 6858290"/>
              <a:gd name="connsiteX1540" fmla="*/ 3765605 w 12139750"/>
              <a:gd name="connsiteY1540" fmla="*/ 4375585 h 6858290"/>
              <a:gd name="connsiteX1541" fmla="*/ 3733239 w 12139750"/>
              <a:gd name="connsiteY1541" fmla="*/ 4438627 h 6858290"/>
              <a:gd name="connsiteX1542" fmla="*/ 3392495 w 12139750"/>
              <a:gd name="connsiteY1542" fmla="*/ 4551340 h 6858290"/>
              <a:gd name="connsiteX1543" fmla="*/ 3329672 w 12139750"/>
              <a:gd name="connsiteY1543" fmla="*/ 4518863 h 6858290"/>
              <a:gd name="connsiteX1544" fmla="*/ 3325867 w 12139750"/>
              <a:gd name="connsiteY1544" fmla="*/ 4503580 h 6858290"/>
              <a:gd name="connsiteX1545" fmla="*/ 3360130 w 12139750"/>
              <a:gd name="connsiteY1545" fmla="*/ 4455821 h 6858290"/>
              <a:gd name="connsiteX1546" fmla="*/ 3702778 w 12139750"/>
              <a:gd name="connsiteY1546" fmla="*/ 4343108 h 6858290"/>
              <a:gd name="connsiteX1547" fmla="*/ 3722769 w 12139750"/>
              <a:gd name="connsiteY1547" fmla="*/ 4341198 h 6858290"/>
              <a:gd name="connsiteX1548" fmla="*/ 2589270 w 12139750"/>
              <a:gd name="connsiteY1548" fmla="*/ 4341198 h 6858290"/>
              <a:gd name="connsiteX1549" fmla="*/ 2632102 w 12139750"/>
              <a:gd name="connsiteY1549" fmla="*/ 4375585 h 6858290"/>
              <a:gd name="connsiteX1550" fmla="*/ 2599740 w 12139750"/>
              <a:gd name="connsiteY1550" fmla="*/ 4438627 h 6858290"/>
              <a:gd name="connsiteX1551" fmla="*/ 2258982 w 12139750"/>
              <a:gd name="connsiteY1551" fmla="*/ 4551340 h 6858290"/>
              <a:gd name="connsiteX1552" fmla="*/ 2196160 w 12139750"/>
              <a:gd name="connsiteY1552" fmla="*/ 4518863 h 6858290"/>
              <a:gd name="connsiteX1553" fmla="*/ 2192353 w 12139750"/>
              <a:gd name="connsiteY1553" fmla="*/ 4503580 h 6858290"/>
              <a:gd name="connsiteX1554" fmla="*/ 2226618 w 12139750"/>
              <a:gd name="connsiteY1554" fmla="*/ 4455821 h 6858290"/>
              <a:gd name="connsiteX1555" fmla="*/ 2569281 w 12139750"/>
              <a:gd name="connsiteY1555" fmla="*/ 4343108 h 6858290"/>
              <a:gd name="connsiteX1556" fmla="*/ 2589270 w 12139750"/>
              <a:gd name="connsiteY1556" fmla="*/ 4341198 h 6858290"/>
              <a:gd name="connsiteX1557" fmla="*/ 3152166 w 12139750"/>
              <a:gd name="connsiteY1557" fmla="*/ 4331993 h 6858290"/>
              <a:gd name="connsiteX1558" fmla="*/ 3195711 w 12139750"/>
              <a:gd name="connsiteY1558" fmla="*/ 4369821 h 6858290"/>
              <a:gd name="connsiteX1559" fmla="*/ 3161515 w 12139750"/>
              <a:gd name="connsiteY1559" fmla="*/ 4434686 h 6858290"/>
              <a:gd name="connsiteX1560" fmla="*/ 2819567 w 12139750"/>
              <a:gd name="connsiteY1560" fmla="*/ 4535799 h 6858290"/>
              <a:gd name="connsiteX1561" fmla="*/ 2753076 w 12139750"/>
              <a:gd name="connsiteY1561" fmla="*/ 4499551 h 6858290"/>
              <a:gd name="connsiteX1562" fmla="*/ 2751179 w 12139750"/>
              <a:gd name="connsiteY1562" fmla="*/ 4486196 h 6858290"/>
              <a:gd name="connsiteX1563" fmla="*/ 2789171 w 12139750"/>
              <a:gd name="connsiteY1563" fmla="*/ 4434686 h 6858290"/>
              <a:gd name="connsiteX1564" fmla="*/ 3131122 w 12139750"/>
              <a:gd name="connsiteY1564" fmla="*/ 4333573 h 6858290"/>
              <a:gd name="connsiteX1565" fmla="*/ 3152166 w 12139750"/>
              <a:gd name="connsiteY1565" fmla="*/ 4331993 h 6858290"/>
              <a:gd name="connsiteX1566" fmla="*/ 9861856 w 12139750"/>
              <a:gd name="connsiteY1566" fmla="*/ 4113368 h 6858290"/>
              <a:gd name="connsiteX1567" fmla="*/ 9877547 w 12139750"/>
              <a:gd name="connsiteY1567" fmla="*/ 4123348 h 6858290"/>
              <a:gd name="connsiteX1568" fmla="*/ 9873743 w 12139750"/>
              <a:gd name="connsiteY1568" fmla="*/ 4157568 h 6858290"/>
              <a:gd name="connsiteX1569" fmla="*/ 9540914 w 12139750"/>
              <a:gd name="connsiteY1569" fmla="*/ 4410411 h 6858290"/>
              <a:gd name="connsiteX1570" fmla="*/ 9506680 w 12139750"/>
              <a:gd name="connsiteY1570" fmla="*/ 4404708 h 6858290"/>
              <a:gd name="connsiteX1571" fmla="*/ 9502876 w 12139750"/>
              <a:gd name="connsiteY1571" fmla="*/ 4391401 h 6858290"/>
              <a:gd name="connsiteX1572" fmla="*/ 9512385 w 12139750"/>
              <a:gd name="connsiteY1572" fmla="*/ 4370489 h 6858290"/>
              <a:gd name="connsiteX1573" fmla="*/ 9843313 w 12139750"/>
              <a:gd name="connsiteY1573" fmla="*/ 4117645 h 6858290"/>
              <a:gd name="connsiteX1574" fmla="*/ 9861856 w 12139750"/>
              <a:gd name="connsiteY1574" fmla="*/ 4113368 h 6858290"/>
              <a:gd name="connsiteX1575" fmla="*/ 10446896 w 12139750"/>
              <a:gd name="connsiteY1575" fmla="*/ 4105427 h 6858290"/>
              <a:gd name="connsiteX1576" fmla="*/ 10465232 w 12139750"/>
              <a:gd name="connsiteY1576" fmla="*/ 4115397 h 6858290"/>
              <a:gd name="connsiteX1577" fmla="*/ 10459517 w 12139750"/>
              <a:gd name="connsiteY1577" fmla="*/ 4153376 h 6858290"/>
              <a:gd name="connsiteX1578" fmla="*/ 10124233 w 12139750"/>
              <a:gd name="connsiteY1578" fmla="*/ 4392647 h 6858290"/>
              <a:gd name="connsiteX1579" fmla="*/ 10088037 w 12139750"/>
              <a:gd name="connsiteY1579" fmla="*/ 4386950 h 6858290"/>
              <a:gd name="connsiteX1580" fmla="*/ 10082322 w 12139750"/>
              <a:gd name="connsiteY1580" fmla="*/ 4369859 h 6858290"/>
              <a:gd name="connsiteX1581" fmla="*/ 10093752 w 12139750"/>
              <a:gd name="connsiteY1581" fmla="*/ 4348970 h 6858290"/>
              <a:gd name="connsiteX1582" fmla="*/ 10427131 w 12139750"/>
              <a:gd name="connsiteY1582" fmla="*/ 4109700 h 6858290"/>
              <a:gd name="connsiteX1583" fmla="*/ 10446896 w 12139750"/>
              <a:gd name="connsiteY1583" fmla="*/ 4105427 h 6858290"/>
              <a:gd name="connsiteX1584" fmla="*/ 9286179 w 12139750"/>
              <a:gd name="connsiteY1584" fmla="*/ 4105427 h 6858290"/>
              <a:gd name="connsiteX1585" fmla="*/ 9302848 w 12139750"/>
              <a:gd name="connsiteY1585" fmla="*/ 4115397 h 6858290"/>
              <a:gd name="connsiteX1586" fmla="*/ 9297133 w 12139750"/>
              <a:gd name="connsiteY1586" fmla="*/ 4153376 h 6858290"/>
              <a:gd name="connsiteX1587" fmla="*/ 8963754 w 12139750"/>
              <a:gd name="connsiteY1587" fmla="*/ 4392647 h 6858290"/>
              <a:gd name="connsiteX1588" fmla="*/ 8925653 w 12139750"/>
              <a:gd name="connsiteY1588" fmla="*/ 4386950 h 6858290"/>
              <a:gd name="connsiteX1589" fmla="*/ 8921843 w 12139750"/>
              <a:gd name="connsiteY1589" fmla="*/ 4369859 h 6858290"/>
              <a:gd name="connsiteX1590" fmla="*/ 8931368 w 12139750"/>
              <a:gd name="connsiteY1590" fmla="*/ 4348970 h 6858290"/>
              <a:gd name="connsiteX1591" fmla="*/ 9266652 w 12139750"/>
              <a:gd name="connsiteY1591" fmla="*/ 4109700 h 6858290"/>
              <a:gd name="connsiteX1592" fmla="*/ 9286179 w 12139750"/>
              <a:gd name="connsiteY1592" fmla="*/ 4105427 h 6858290"/>
              <a:gd name="connsiteX1593" fmla="*/ 11024810 w 12139750"/>
              <a:gd name="connsiteY1593" fmla="*/ 4097347 h 6858290"/>
              <a:gd name="connsiteX1594" fmla="*/ 11044352 w 12139750"/>
              <a:gd name="connsiteY1594" fmla="*/ 4109742 h 6858290"/>
              <a:gd name="connsiteX1595" fmla="*/ 11036726 w 12139750"/>
              <a:gd name="connsiteY1595" fmla="*/ 4149791 h 6858290"/>
              <a:gd name="connsiteX1596" fmla="*/ 10701174 w 12139750"/>
              <a:gd name="connsiteY1596" fmla="*/ 4376731 h 6858290"/>
              <a:gd name="connsiteX1597" fmla="*/ 10659230 w 12139750"/>
              <a:gd name="connsiteY1597" fmla="*/ 4369103 h 6858290"/>
              <a:gd name="connsiteX1598" fmla="*/ 10655417 w 12139750"/>
              <a:gd name="connsiteY1598" fmla="*/ 4351940 h 6858290"/>
              <a:gd name="connsiteX1599" fmla="*/ 10668763 w 12139750"/>
              <a:gd name="connsiteY1599" fmla="*/ 4327148 h 6858290"/>
              <a:gd name="connsiteX1600" fmla="*/ 11002408 w 12139750"/>
              <a:gd name="connsiteY1600" fmla="*/ 4102114 h 6858290"/>
              <a:gd name="connsiteX1601" fmla="*/ 11024810 w 12139750"/>
              <a:gd name="connsiteY1601" fmla="*/ 4097347 h 6858290"/>
              <a:gd name="connsiteX1602" fmla="*/ 8715681 w 12139750"/>
              <a:gd name="connsiteY1602" fmla="*/ 4097347 h 6858290"/>
              <a:gd name="connsiteX1603" fmla="*/ 8734508 w 12139750"/>
              <a:gd name="connsiteY1603" fmla="*/ 4109742 h 6858290"/>
              <a:gd name="connsiteX1604" fmla="*/ 8726882 w 12139750"/>
              <a:gd name="connsiteY1604" fmla="*/ 4149791 h 6858290"/>
              <a:gd name="connsiteX1605" fmla="*/ 8391330 w 12139750"/>
              <a:gd name="connsiteY1605" fmla="*/ 4376731 h 6858290"/>
              <a:gd name="connsiteX1606" fmla="*/ 8351293 w 12139750"/>
              <a:gd name="connsiteY1606" fmla="*/ 4369103 h 6858290"/>
              <a:gd name="connsiteX1607" fmla="*/ 8345573 w 12139750"/>
              <a:gd name="connsiteY1607" fmla="*/ 4351940 h 6858290"/>
              <a:gd name="connsiteX1608" fmla="*/ 8358919 w 12139750"/>
              <a:gd name="connsiteY1608" fmla="*/ 4327148 h 6858290"/>
              <a:gd name="connsiteX1609" fmla="*/ 8692564 w 12139750"/>
              <a:gd name="connsiteY1609" fmla="*/ 4102114 h 6858290"/>
              <a:gd name="connsiteX1610" fmla="*/ 8715681 w 12139750"/>
              <a:gd name="connsiteY1610" fmla="*/ 4097347 h 6858290"/>
              <a:gd name="connsiteX1611" fmla="*/ 11596149 w 12139750"/>
              <a:gd name="connsiteY1611" fmla="*/ 4089007 h 6858290"/>
              <a:gd name="connsiteX1612" fmla="*/ 11615883 w 12139750"/>
              <a:gd name="connsiteY1612" fmla="*/ 4104009 h 6858290"/>
              <a:gd name="connsiteX1613" fmla="*/ 11606373 w 12139750"/>
              <a:gd name="connsiteY1613" fmla="*/ 4147824 h 6858290"/>
              <a:gd name="connsiteX1614" fmla="*/ 11271615 w 12139750"/>
              <a:gd name="connsiteY1614" fmla="*/ 4359279 h 6858290"/>
              <a:gd name="connsiteX1615" fmla="*/ 11227868 w 12139750"/>
              <a:gd name="connsiteY1615" fmla="*/ 4349754 h 6858290"/>
              <a:gd name="connsiteX1616" fmla="*/ 11222162 w 12139750"/>
              <a:gd name="connsiteY1616" fmla="*/ 4332609 h 6858290"/>
              <a:gd name="connsiteX1617" fmla="*/ 11237378 w 12139750"/>
              <a:gd name="connsiteY1617" fmla="*/ 4305939 h 6858290"/>
              <a:gd name="connsiteX1618" fmla="*/ 11572136 w 12139750"/>
              <a:gd name="connsiteY1618" fmla="*/ 4092579 h 6858290"/>
              <a:gd name="connsiteX1619" fmla="*/ 11596149 w 12139750"/>
              <a:gd name="connsiteY1619" fmla="*/ 4089007 h 6858290"/>
              <a:gd name="connsiteX1620" fmla="*/ 8152699 w 12139750"/>
              <a:gd name="connsiteY1620" fmla="*/ 4089007 h 6858290"/>
              <a:gd name="connsiteX1621" fmla="*/ 8172510 w 12139750"/>
              <a:gd name="connsiteY1621" fmla="*/ 4104009 h 6858290"/>
              <a:gd name="connsiteX1622" fmla="*/ 8162963 w 12139750"/>
              <a:gd name="connsiteY1622" fmla="*/ 4147824 h 6858290"/>
              <a:gd name="connsiteX1623" fmla="*/ 7824978 w 12139750"/>
              <a:gd name="connsiteY1623" fmla="*/ 4359279 h 6858290"/>
              <a:gd name="connsiteX1624" fmla="*/ 7781059 w 12139750"/>
              <a:gd name="connsiteY1624" fmla="*/ 4349754 h 6858290"/>
              <a:gd name="connsiteX1625" fmla="*/ 7777240 w 12139750"/>
              <a:gd name="connsiteY1625" fmla="*/ 4332609 h 6858290"/>
              <a:gd name="connsiteX1626" fmla="*/ 7792516 w 12139750"/>
              <a:gd name="connsiteY1626" fmla="*/ 4305939 h 6858290"/>
              <a:gd name="connsiteX1627" fmla="*/ 8128591 w 12139750"/>
              <a:gd name="connsiteY1627" fmla="*/ 4092579 h 6858290"/>
              <a:gd name="connsiteX1628" fmla="*/ 8152699 w 12139750"/>
              <a:gd name="connsiteY1628" fmla="*/ 4089007 h 6858290"/>
              <a:gd name="connsiteX1629" fmla="*/ 12139750 w 12139750"/>
              <a:gd name="connsiteY1629" fmla="*/ 4083054 h 6858290"/>
              <a:gd name="connsiteX1630" fmla="*/ 12139750 w 12139750"/>
              <a:gd name="connsiteY1630" fmla="*/ 4162969 h 6858290"/>
              <a:gd name="connsiteX1631" fmla="*/ 11834405 w 12139750"/>
              <a:gd name="connsiteY1631" fmla="*/ 4341828 h 6858290"/>
              <a:gd name="connsiteX1632" fmla="*/ 11786695 w 12139750"/>
              <a:gd name="connsiteY1632" fmla="*/ 4330411 h 6858290"/>
              <a:gd name="connsiteX1633" fmla="*/ 11780970 w 12139750"/>
              <a:gd name="connsiteY1633" fmla="*/ 4313287 h 6858290"/>
              <a:gd name="connsiteX1634" fmla="*/ 11798146 w 12139750"/>
              <a:gd name="connsiteY1634" fmla="*/ 4282843 h 6858290"/>
              <a:gd name="connsiteX1635" fmla="*/ 12135933 w 12139750"/>
              <a:gd name="connsiteY1635" fmla="*/ 4084957 h 6858290"/>
              <a:gd name="connsiteX1636" fmla="*/ 12139750 w 12139750"/>
              <a:gd name="connsiteY1636" fmla="*/ 4083054 h 6858290"/>
              <a:gd name="connsiteX1637" fmla="*/ 7594358 w 12139750"/>
              <a:gd name="connsiteY1637" fmla="*/ 4081069 h 6858290"/>
              <a:gd name="connsiteX1638" fmla="*/ 7615314 w 12139750"/>
              <a:gd name="connsiteY1638" fmla="*/ 4096071 h 6858290"/>
              <a:gd name="connsiteX1639" fmla="*/ 7603883 w 12139750"/>
              <a:gd name="connsiteY1639" fmla="*/ 4143696 h 6858290"/>
              <a:gd name="connsiteX1640" fmla="*/ 7266694 w 12139750"/>
              <a:gd name="connsiteY1640" fmla="*/ 4341816 h 6858290"/>
              <a:gd name="connsiteX1641" fmla="*/ 7219068 w 12139750"/>
              <a:gd name="connsiteY1641" fmla="*/ 4330386 h 6858290"/>
              <a:gd name="connsiteX1642" fmla="*/ 7215258 w 12139750"/>
              <a:gd name="connsiteY1642" fmla="*/ 4313241 h 6858290"/>
              <a:gd name="connsiteX1643" fmla="*/ 7232403 w 12139750"/>
              <a:gd name="connsiteY1643" fmla="*/ 4282761 h 6858290"/>
              <a:gd name="connsiteX1644" fmla="*/ 7567688 w 12139750"/>
              <a:gd name="connsiteY1644" fmla="*/ 4084641 h 6858290"/>
              <a:gd name="connsiteX1645" fmla="*/ 7594358 w 12139750"/>
              <a:gd name="connsiteY1645" fmla="*/ 4081069 h 6858290"/>
              <a:gd name="connsiteX1646" fmla="*/ 7045448 w 12139750"/>
              <a:gd name="connsiteY1646" fmla="*/ 4072718 h 6858290"/>
              <a:gd name="connsiteX1647" fmla="*/ 7067610 w 12139750"/>
              <a:gd name="connsiteY1647" fmla="*/ 4090298 h 6858290"/>
              <a:gd name="connsiteX1648" fmla="*/ 7052359 w 12139750"/>
              <a:gd name="connsiteY1648" fmla="*/ 4141612 h 6858290"/>
              <a:gd name="connsiteX1649" fmla="*/ 6714913 w 12139750"/>
              <a:gd name="connsiteY1649" fmla="*/ 4325963 h 6858290"/>
              <a:gd name="connsiteX1650" fmla="*/ 6665344 w 12139750"/>
              <a:gd name="connsiteY1650" fmla="*/ 4310759 h 6858290"/>
              <a:gd name="connsiteX1651" fmla="*/ 6659625 w 12139750"/>
              <a:gd name="connsiteY1651" fmla="*/ 4293654 h 6858290"/>
              <a:gd name="connsiteX1652" fmla="*/ 6678689 w 12139750"/>
              <a:gd name="connsiteY1652" fmla="*/ 4259445 h 6858290"/>
              <a:gd name="connsiteX1653" fmla="*/ 7016136 w 12139750"/>
              <a:gd name="connsiteY1653" fmla="*/ 4075094 h 6858290"/>
              <a:gd name="connsiteX1654" fmla="*/ 7045448 w 12139750"/>
              <a:gd name="connsiteY1654" fmla="*/ 4072718 h 6858290"/>
              <a:gd name="connsiteX1655" fmla="*/ 6500048 w 12139750"/>
              <a:gd name="connsiteY1655" fmla="*/ 4065063 h 6858290"/>
              <a:gd name="connsiteX1656" fmla="*/ 6523112 w 12139750"/>
              <a:gd name="connsiteY1656" fmla="*/ 4084421 h 6858290"/>
              <a:gd name="connsiteX1657" fmla="*/ 6505992 w 12139750"/>
              <a:gd name="connsiteY1657" fmla="*/ 4137956 h 6858290"/>
              <a:gd name="connsiteX1658" fmla="*/ 6167407 w 12139750"/>
              <a:gd name="connsiteY1658" fmla="*/ 4310032 h 6858290"/>
              <a:gd name="connsiteX1659" fmla="*/ 6114146 w 12139750"/>
              <a:gd name="connsiteY1659" fmla="*/ 4292824 h 6858290"/>
              <a:gd name="connsiteX1660" fmla="*/ 6110342 w 12139750"/>
              <a:gd name="connsiteY1660" fmla="*/ 4273705 h 6858290"/>
              <a:gd name="connsiteX1661" fmla="*/ 6131266 w 12139750"/>
              <a:gd name="connsiteY1661" fmla="*/ 4239290 h 6858290"/>
              <a:gd name="connsiteX1662" fmla="*/ 6469851 w 12139750"/>
              <a:gd name="connsiteY1662" fmla="*/ 4067214 h 6858290"/>
              <a:gd name="connsiteX1663" fmla="*/ 6500048 w 12139750"/>
              <a:gd name="connsiteY1663" fmla="*/ 4065063 h 6858290"/>
              <a:gd name="connsiteX1664" fmla="*/ 5941057 w 12139750"/>
              <a:gd name="connsiteY1664" fmla="*/ 4054783 h 6858290"/>
              <a:gd name="connsiteX1665" fmla="*/ 5980168 w 12139750"/>
              <a:gd name="connsiteY1665" fmla="*/ 4078685 h 6858290"/>
              <a:gd name="connsiteX1666" fmla="*/ 5961118 w 12139750"/>
              <a:gd name="connsiteY1666" fmla="*/ 4135978 h 6858290"/>
              <a:gd name="connsiteX1667" fmla="*/ 5622031 w 12139750"/>
              <a:gd name="connsiteY1667" fmla="*/ 4292580 h 6858290"/>
              <a:gd name="connsiteX1668" fmla="*/ 5564881 w 12139750"/>
              <a:gd name="connsiteY1668" fmla="*/ 4271572 h 6858290"/>
              <a:gd name="connsiteX1669" fmla="*/ 5561071 w 12139750"/>
              <a:gd name="connsiteY1669" fmla="*/ 4254384 h 6858290"/>
              <a:gd name="connsiteX1670" fmla="*/ 5585836 w 12139750"/>
              <a:gd name="connsiteY1670" fmla="*/ 4216189 h 6858290"/>
              <a:gd name="connsiteX1671" fmla="*/ 5924923 w 12139750"/>
              <a:gd name="connsiteY1671" fmla="*/ 4059588 h 6858290"/>
              <a:gd name="connsiteX1672" fmla="*/ 5941057 w 12139750"/>
              <a:gd name="connsiteY1672" fmla="*/ 4054783 h 6858290"/>
              <a:gd name="connsiteX1673" fmla="*/ 383168 w 12139750"/>
              <a:gd name="connsiteY1673" fmla="*/ 4054783 h 6858290"/>
              <a:gd name="connsiteX1674" fmla="*/ 422281 w 12139750"/>
              <a:gd name="connsiteY1674" fmla="*/ 4078685 h 6858290"/>
              <a:gd name="connsiteX1675" fmla="*/ 401325 w 12139750"/>
              <a:gd name="connsiteY1675" fmla="*/ 4135978 h 6858290"/>
              <a:gd name="connsiteX1676" fmla="*/ 62231 w 12139750"/>
              <a:gd name="connsiteY1676" fmla="*/ 4292580 h 6858290"/>
              <a:gd name="connsiteX1677" fmla="*/ 6986 w 12139750"/>
              <a:gd name="connsiteY1677" fmla="*/ 4271572 h 6858290"/>
              <a:gd name="connsiteX1678" fmla="*/ 3175 w 12139750"/>
              <a:gd name="connsiteY1678" fmla="*/ 4254384 h 6858290"/>
              <a:gd name="connsiteX1679" fmla="*/ 27941 w 12139750"/>
              <a:gd name="connsiteY1679" fmla="*/ 4216189 h 6858290"/>
              <a:gd name="connsiteX1680" fmla="*/ 367035 w 12139750"/>
              <a:gd name="connsiteY1680" fmla="*/ 4059588 h 6858290"/>
              <a:gd name="connsiteX1681" fmla="*/ 383168 w 12139750"/>
              <a:gd name="connsiteY1681" fmla="*/ 4054783 h 6858290"/>
              <a:gd name="connsiteX1682" fmla="*/ 5394100 w 12139750"/>
              <a:gd name="connsiteY1682" fmla="*/ 4046339 h 6858290"/>
              <a:gd name="connsiteX1683" fmla="*/ 5435653 w 12139750"/>
              <a:gd name="connsiteY1683" fmla="*/ 4072660 h 6858290"/>
              <a:gd name="connsiteX1684" fmla="*/ 5410869 w 12139750"/>
              <a:gd name="connsiteY1684" fmla="*/ 4131869 h 6858290"/>
              <a:gd name="connsiteX1685" fmla="*/ 5071527 w 12139750"/>
              <a:gd name="connsiteY1685" fmla="*/ 4275116 h 6858290"/>
              <a:gd name="connsiteX1686" fmla="*/ 5012435 w 12139750"/>
              <a:gd name="connsiteY1686" fmla="*/ 4252196 h 6858290"/>
              <a:gd name="connsiteX1687" fmla="*/ 5008622 w 12139750"/>
              <a:gd name="connsiteY1687" fmla="*/ 4235007 h 6858290"/>
              <a:gd name="connsiteX1688" fmla="*/ 5037216 w 12139750"/>
              <a:gd name="connsiteY1688" fmla="*/ 4192988 h 6858290"/>
              <a:gd name="connsiteX1689" fmla="*/ 5376554 w 12139750"/>
              <a:gd name="connsiteY1689" fmla="*/ 4049741 h 6858290"/>
              <a:gd name="connsiteX1690" fmla="*/ 5394100 w 12139750"/>
              <a:gd name="connsiteY1690" fmla="*/ 4046339 h 6858290"/>
              <a:gd name="connsiteX1691" fmla="*/ 926784 w 12139750"/>
              <a:gd name="connsiteY1691" fmla="*/ 4046338 h 6858290"/>
              <a:gd name="connsiteX1692" fmla="*/ 968368 w 12139750"/>
              <a:gd name="connsiteY1692" fmla="*/ 4072660 h 6858290"/>
              <a:gd name="connsiteX1693" fmla="*/ 945475 w 12139750"/>
              <a:gd name="connsiteY1693" fmla="*/ 4131869 h 6858290"/>
              <a:gd name="connsiteX1694" fmla="*/ 603977 w 12139750"/>
              <a:gd name="connsiteY1694" fmla="*/ 4275116 h 6858290"/>
              <a:gd name="connsiteX1695" fmla="*/ 544835 w 12139750"/>
              <a:gd name="connsiteY1695" fmla="*/ 4252196 h 6858290"/>
              <a:gd name="connsiteX1696" fmla="*/ 542927 w 12139750"/>
              <a:gd name="connsiteY1696" fmla="*/ 4235007 h 6858290"/>
              <a:gd name="connsiteX1697" fmla="*/ 569637 w 12139750"/>
              <a:gd name="connsiteY1697" fmla="*/ 4192988 h 6858290"/>
              <a:gd name="connsiteX1698" fmla="*/ 909226 w 12139750"/>
              <a:gd name="connsiteY1698" fmla="*/ 4049741 h 6858290"/>
              <a:gd name="connsiteX1699" fmla="*/ 926784 w 12139750"/>
              <a:gd name="connsiteY1699" fmla="*/ 4046338 h 6858290"/>
              <a:gd name="connsiteX1700" fmla="*/ 4823917 w 12139750"/>
              <a:gd name="connsiteY1700" fmla="*/ 4041420 h 6858290"/>
              <a:gd name="connsiteX1701" fmla="*/ 4884800 w 12139750"/>
              <a:gd name="connsiteY1701" fmla="*/ 4069841 h 6858290"/>
              <a:gd name="connsiteX1702" fmla="*/ 4856262 w 12139750"/>
              <a:gd name="connsiteY1702" fmla="*/ 4130474 h 6858290"/>
              <a:gd name="connsiteX1703" fmla="*/ 4515758 w 12139750"/>
              <a:gd name="connsiteY1703" fmla="*/ 4259317 h 6858290"/>
              <a:gd name="connsiteX1704" fmla="*/ 4454884 w 12139750"/>
              <a:gd name="connsiteY1704" fmla="*/ 4230896 h 6858290"/>
              <a:gd name="connsiteX1705" fmla="*/ 4452982 w 12139750"/>
              <a:gd name="connsiteY1705" fmla="*/ 4215738 h 6858290"/>
              <a:gd name="connsiteX1706" fmla="*/ 4483419 w 12139750"/>
              <a:gd name="connsiteY1706" fmla="*/ 4170263 h 6858290"/>
              <a:gd name="connsiteX1707" fmla="*/ 4823917 w 12139750"/>
              <a:gd name="connsiteY1707" fmla="*/ 4041420 h 6858290"/>
              <a:gd name="connsiteX1708" fmla="*/ 1458388 w 12139750"/>
              <a:gd name="connsiteY1708" fmla="*/ 4041420 h 6858290"/>
              <a:gd name="connsiteX1709" fmla="*/ 1519261 w 12139750"/>
              <a:gd name="connsiteY1709" fmla="*/ 4069841 h 6858290"/>
              <a:gd name="connsiteX1710" fmla="*/ 1492629 w 12139750"/>
              <a:gd name="connsiteY1710" fmla="*/ 4130474 h 6858290"/>
              <a:gd name="connsiteX1711" fmla="*/ 1152120 w 12139750"/>
              <a:gd name="connsiteY1711" fmla="*/ 4259317 h 6858290"/>
              <a:gd name="connsiteX1712" fmla="*/ 1091247 w 12139750"/>
              <a:gd name="connsiteY1712" fmla="*/ 4230896 h 6858290"/>
              <a:gd name="connsiteX1713" fmla="*/ 1087442 w 12139750"/>
              <a:gd name="connsiteY1713" fmla="*/ 4215738 h 6858290"/>
              <a:gd name="connsiteX1714" fmla="*/ 1117879 w 12139750"/>
              <a:gd name="connsiteY1714" fmla="*/ 4170263 h 6858290"/>
              <a:gd name="connsiteX1715" fmla="*/ 1458388 w 12139750"/>
              <a:gd name="connsiteY1715" fmla="*/ 4041420 h 6858290"/>
              <a:gd name="connsiteX1716" fmla="*/ 4286101 w 12139750"/>
              <a:gd name="connsiteY1716" fmla="*/ 4031102 h 6858290"/>
              <a:gd name="connsiteX1717" fmla="*/ 4329117 w 12139750"/>
              <a:gd name="connsiteY1717" fmla="*/ 4064321 h 6858290"/>
              <a:gd name="connsiteX1718" fmla="*/ 4298528 w 12139750"/>
              <a:gd name="connsiteY1718" fmla="*/ 4127186 h 6858290"/>
              <a:gd name="connsiteX1719" fmla="*/ 3956339 w 12139750"/>
              <a:gd name="connsiteY1719" fmla="*/ 4243391 h 6858290"/>
              <a:gd name="connsiteX1720" fmla="*/ 3893249 w 12139750"/>
              <a:gd name="connsiteY1720" fmla="*/ 4212911 h 6858290"/>
              <a:gd name="connsiteX1721" fmla="*/ 3889424 w 12139750"/>
              <a:gd name="connsiteY1721" fmla="*/ 4195766 h 6858290"/>
              <a:gd name="connsiteX1722" fmla="*/ 3923838 w 12139750"/>
              <a:gd name="connsiteY1722" fmla="*/ 4150046 h 6858290"/>
              <a:gd name="connsiteX1723" fmla="*/ 4266027 w 12139750"/>
              <a:gd name="connsiteY1723" fmla="*/ 4033841 h 6858290"/>
              <a:gd name="connsiteX1724" fmla="*/ 4286101 w 12139750"/>
              <a:gd name="connsiteY1724" fmla="*/ 4031102 h 6858290"/>
              <a:gd name="connsiteX1725" fmla="*/ 2031406 w 12139750"/>
              <a:gd name="connsiteY1725" fmla="*/ 4031102 h 6858290"/>
              <a:gd name="connsiteX1726" fmla="*/ 2075220 w 12139750"/>
              <a:gd name="connsiteY1726" fmla="*/ 4064321 h 6858290"/>
              <a:gd name="connsiteX1727" fmla="*/ 2042922 w 12139750"/>
              <a:gd name="connsiteY1727" fmla="*/ 4127186 h 6858290"/>
              <a:gd name="connsiteX1728" fmla="*/ 1702894 w 12139750"/>
              <a:gd name="connsiteY1728" fmla="*/ 4243391 h 6858290"/>
              <a:gd name="connsiteX1729" fmla="*/ 1640208 w 12139750"/>
              <a:gd name="connsiteY1729" fmla="*/ 4212911 h 6858290"/>
              <a:gd name="connsiteX1730" fmla="*/ 1638308 w 12139750"/>
              <a:gd name="connsiteY1730" fmla="*/ 4195766 h 6858290"/>
              <a:gd name="connsiteX1731" fmla="*/ 1670601 w 12139750"/>
              <a:gd name="connsiteY1731" fmla="*/ 4150046 h 6858290"/>
              <a:gd name="connsiteX1732" fmla="*/ 2012528 w 12139750"/>
              <a:gd name="connsiteY1732" fmla="*/ 4033841 h 6858290"/>
              <a:gd name="connsiteX1733" fmla="*/ 2031406 w 12139750"/>
              <a:gd name="connsiteY1733" fmla="*/ 4031102 h 6858290"/>
              <a:gd name="connsiteX1734" fmla="*/ 3725865 w 12139750"/>
              <a:gd name="connsiteY1734" fmla="*/ 4022421 h 6858290"/>
              <a:gd name="connsiteX1735" fmla="*/ 3770669 w 12139750"/>
              <a:gd name="connsiteY1735" fmla="*/ 4060194 h 6858290"/>
              <a:gd name="connsiteX1736" fmla="*/ 3734419 w 12139750"/>
              <a:gd name="connsiteY1736" fmla="*/ 4124964 h 6858290"/>
              <a:gd name="connsiteX1737" fmla="*/ 3391050 w 12139750"/>
              <a:gd name="connsiteY1737" fmla="*/ 4225929 h 6858290"/>
              <a:gd name="connsiteX1738" fmla="*/ 3326186 w 12139750"/>
              <a:gd name="connsiteY1738" fmla="*/ 4191639 h 6858290"/>
              <a:gd name="connsiteX1739" fmla="*/ 3324277 w 12139750"/>
              <a:gd name="connsiteY1739" fmla="*/ 4176399 h 6858290"/>
              <a:gd name="connsiteX1740" fmla="*/ 3362431 w 12139750"/>
              <a:gd name="connsiteY1740" fmla="*/ 4126869 h 6858290"/>
              <a:gd name="connsiteX1741" fmla="*/ 3705802 w 12139750"/>
              <a:gd name="connsiteY1741" fmla="*/ 4023999 h 6858290"/>
              <a:gd name="connsiteX1742" fmla="*/ 3725865 w 12139750"/>
              <a:gd name="connsiteY1742" fmla="*/ 4022421 h 6858290"/>
              <a:gd name="connsiteX1743" fmla="*/ 2590959 w 12139750"/>
              <a:gd name="connsiteY1743" fmla="*/ 4022421 h 6858290"/>
              <a:gd name="connsiteX1744" fmla="*/ 2635603 w 12139750"/>
              <a:gd name="connsiteY1744" fmla="*/ 4060194 h 6858290"/>
              <a:gd name="connsiteX1745" fmla="*/ 2599484 w 12139750"/>
              <a:gd name="connsiteY1745" fmla="*/ 4124964 h 6858290"/>
              <a:gd name="connsiteX1746" fmla="*/ 2257300 w 12139750"/>
              <a:gd name="connsiteY1746" fmla="*/ 4225929 h 6858290"/>
              <a:gd name="connsiteX1747" fmla="*/ 2192666 w 12139750"/>
              <a:gd name="connsiteY1747" fmla="*/ 4191639 h 6858290"/>
              <a:gd name="connsiteX1748" fmla="*/ 2190765 w 12139750"/>
              <a:gd name="connsiteY1748" fmla="*/ 4176399 h 6858290"/>
              <a:gd name="connsiteX1749" fmla="*/ 2228785 w 12139750"/>
              <a:gd name="connsiteY1749" fmla="*/ 4126869 h 6858290"/>
              <a:gd name="connsiteX1750" fmla="*/ 2570968 w 12139750"/>
              <a:gd name="connsiteY1750" fmla="*/ 4023999 h 6858290"/>
              <a:gd name="connsiteX1751" fmla="*/ 2590959 w 12139750"/>
              <a:gd name="connsiteY1751" fmla="*/ 4022421 h 6858290"/>
              <a:gd name="connsiteX1752" fmla="*/ 3155345 w 12139750"/>
              <a:gd name="connsiteY1752" fmla="*/ 4014781 h 6858290"/>
              <a:gd name="connsiteX1753" fmla="*/ 3200742 w 12139750"/>
              <a:gd name="connsiteY1753" fmla="*/ 4054161 h 6858290"/>
              <a:gd name="connsiteX1754" fmla="*/ 3160628 w 12139750"/>
              <a:gd name="connsiteY1754" fmla="*/ 4120836 h 6858290"/>
              <a:gd name="connsiteX1755" fmla="*/ 2816774 w 12139750"/>
              <a:gd name="connsiteY1755" fmla="*/ 4210371 h 6858290"/>
              <a:gd name="connsiteX1756" fmla="*/ 2749912 w 12139750"/>
              <a:gd name="connsiteY1756" fmla="*/ 4170366 h 6858290"/>
              <a:gd name="connsiteX1757" fmla="*/ 2748004 w 12139750"/>
              <a:gd name="connsiteY1757" fmla="*/ 4157031 h 6858290"/>
              <a:gd name="connsiteX1758" fmla="*/ 2788118 w 12139750"/>
              <a:gd name="connsiteY1758" fmla="*/ 4103691 h 6858290"/>
              <a:gd name="connsiteX1759" fmla="*/ 3133884 w 12139750"/>
              <a:gd name="connsiteY1759" fmla="*/ 4016061 h 6858290"/>
              <a:gd name="connsiteX1760" fmla="*/ 3155345 w 12139750"/>
              <a:gd name="connsiteY1760" fmla="*/ 4014781 h 6858290"/>
              <a:gd name="connsiteX1761" fmla="*/ 9861718 w 12139750"/>
              <a:gd name="connsiteY1761" fmla="*/ 3784929 h 6858290"/>
              <a:gd name="connsiteX1762" fmla="*/ 9876255 w 12139750"/>
              <a:gd name="connsiteY1762" fmla="*/ 3792579 h 6858290"/>
              <a:gd name="connsiteX1763" fmla="*/ 9872442 w 12139750"/>
              <a:gd name="connsiteY1763" fmla="*/ 3823182 h 6858290"/>
              <a:gd name="connsiteX1764" fmla="*/ 9540690 w 12139750"/>
              <a:gd name="connsiteY1764" fmla="*/ 4092865 h 6858290"/>
              <a:gd name="connsiteX1765" fmla="*/ 9510184 w 12139750"/>
              <a:gd name="connsiteY1765" fmla="*/ 4089040 h 6858290"/>
              <a:gd name="connsiteX1766" fmla="*/ 9504464 w 12139750"/>
              <a:gd name="connsiteY1766" fmla="*/ 4075651 h 6858290"/>
              <a:gd name="connsiteX1767" fmla="*/ 9513997 w 12139750"/>
              <a:gd name="connsiteY1767" fmla="*/ 4058438 h 6858290"/>
              <a:gd name="connsiteX1768" fmla="*/ 9845750 w 12139750"/>
              <a:gd name="connsiteY1768" fmla="*/ 3788754 h 6858290"/>
              <a:gd name="connsiteX1769" fmla="*/ 9861718 w 12139750"/>
              <a:gd name="connsiteY1769" fmla="*/ 3784929 h 6858290"/>
              <a:gd name="connsiteX1770" fmla="*/ 10445981 w 12139750"/>
              <a:gd name="connsiteY1770" fmla="*/ 3777074 h 6858290"/>
              <a:gd name="connsiteX1771" fmla="*/ 10461723 w 12139750"/>
              <a:gd name="connsiteY1771" fmla="*/ 3786867 h 6858290"/>
              <a:gd name="connsiteX1772" fmla="*/ 10457907 w 12139750"/>
              <a:gd name="connsiteY1772" fmla="*/ 3821263 h 6858290"/>
              <a:gd name="connsiteX1773" fmla="*/ 10123980 w 12139750"/>
              <a:gd name="connsiteY1773" fmla="*/ 4075410 h 6858290"/>
              <a:gd name="connsiteX1774" fmla="*/ 10089633 w 12139750"/>
              <a:gd name="connsiteY1774" fmla="*/ 4069678 h 6858290"/>
              <a:gd name="connsiteX1775" fmla="*/ 10083909 w 12139750"/>
              <a:gd name="connsiteY1775" fmla="*/ 4054391 h 6858290"/>
              <a:gd name="connsiteX1776" fmla="*/ 10093450 w 12139750"/>
              <a:gd name="connsiteY1776" fmla="*/ 4035282 h 6858290"/>
              <a:gd name="connsiteX1777" fmla="*/ 10427377 w 12139750"/>
              <a:gd name="connsiteY1777" fmla="*/ 3783045 h 6858290"/>
              <a:gd name="connsiteX1778" fmla="*/ 10445981 w 12139750"/>
              <a:gd name="connsiteY1778" fmla="*/ 3777074 h 6858290"/>
              <a:gd name="connsiteX1779" fmla="*/ 9284313 w 12139750"/>
              <a:gd name="connsiteY1779" fmla="*/ 3777074 h 6858290"/>
              <a:gd name="connsiteX1780" fmla="*/ 9300003 w 12139750"/>
              <a:gd name="connsiteY1780" fmla="*/ 3786867 h 6858290"/>
              <a:gd name="connsiteX1781" fmla="*/ 9296200 w 12139750"/>
              <a:gd name="connsiteY1781" fmla="*/ 3821263 h 6858290"/>
              <a:gd name="connsiteX1782" fmla="*/ 8963371 w 12139750"/>
              <a:gd name="connsiteY1782" fmla="*/ 4075410 h 6858290"/>
              <a:gd name="connsiteX1783" fmla="*/ 8929137 w 12139750"/>
              <a:gd name="connsiteY1783" fmla="*/ 4069678 h 6858290"/>
              <a:gd name="connsiteX1784" fmla="*/ 8923431 w 12139750"/>
              <a:gd name="connsiteY1784" fmla="*/ 4054391 h 6858290"/>
              <a:gd name="connsiteX1785" fmla="*/ 8932940 w 12139750"/>
              <a:gd name="connsiteY1785" fmla="*/ 4035282 h 6858290"/>
              <a:gd name="connsiteX1786" fmla="*/ 9265770 w 12139750"/>
              <a:gd name="connsiteY1786" fmla="*/ 3783045 h 6858290"/>
              <a:gd name="connsiteX1787" fmla="*/ 9284313 w 12139750"/>
              <a:gd name="connsiteY1787" fmla="*/ 3777074 h 6858290"/>
              <a:gd name="connsiteX1788" fmla="*/ 8714826 w 12139750"/>
              <a:gd name="connsiteY1788" fmla="*/ 3771656 h 6858290"/>
              <a:gd name="connsiteX1789" fmla="*/ 8733221 w 12139750"/>
              <a:gd name="connsiteY1789" fmla="*/ 3782349 h 6858290"/>
              <a:gd name="connsiteX1790" fmla="*/ 8725577 w 12139750"/>
              <a:gd name="connsiteY1790" fmla="*/ 3820368 h 6858290"/>
              <a:gd name="connsiteX1791" fmla="*/ 8391118 w 12139750"/>
              <a:gd name="connsiteY1791" fmla="*/ 4056086 h 6858290"/>
              <a:gd name="connsiteX1792" fmla="*/ 8352895 w 12139750"/>
              <a:gd name="connsiteY1792" fmla="*/ 4050383 h 6858290"/>
              <a:gd name="connsiteX1793" fmla="*/ 8347161 w 12139750"/>
              <a:gd name="connsiteY1793" fmla="*/ 4035176 h 6858290"/>
              <a:gd name="connsiteX1794" fmla="*/ 8358628 w 12139750"/>
              <a:gd name="connsiteY1794" fmla="*/ 4012364 h 6858290"/>
              <a:gd name="connsiteX1795" fmla="*/ 8694997 w 12139750"/>
              <a:gd name="connsiteY1795" fmla="*/ 3776646 h 6858290"/>
              <a:gd name="connsiteX1796" fmla="*/ 8714826 w 12139750"/>
              <a:gd name="connsiteY1796" fmla="*/ 3771656 h 6858290"/>
              <a:gd name="connsiteX1797" fmla="*/ 11022950 w 12139750"/>
              <a:gd name="connsiteY1797" fmla="*/ 3771656 h 6858290"/>
              <a:gd name="connsiteX1798" fmla="*/ 11041509 w 12139750"/>
              <a:gd name="connsiteY1798" fmla="*/ 3782349 h 6858290"/>
              <a:gd name="connsiteX1799" fmla="*/ 11033895 w 12139750"/>
              <a:gd name="connsiteY1799" fmla="*/ 3820368 h 6858290"/>
              <a:gd name="connsiteX1800" fmla="*/ 10700785 w 12139750"/>
              <a:gd name="connsiteY1800" fmla="*/ 4056086 h 6858290"/>
              <a:gd name="connsiteX1801" fmla="*/ 10662715 w 12139750"/>
              <a:gd name="connsiteY1801" fmla="*/ 4050383 h 6858290"/>
              <a:gd name="connsiteX1802" fmla="*/ 10657005 w 12139750"/>
              <a:gd name="connsiteY1802" fmla="*/ 4035176 h 6858290"/>
              <a:gd name="connsiteX1803" fmla="*/ 10668426 w 12139750"/>
              <a:gd name="connsiteY1803" fmla="*/ 4012364 h 6858290"/>
              <a:gd name="connsiteX1804" fmla="*/ 11001536 w 12139750"/>
              <a:gd name="connsiteY1804" fmla="*/ 3776646 h 6858290"/>
              <a:gd name="connsiteX1805" fmla="*/ 11022950 w 12139750"/>
              <a:gd name="connsiteY1805" fmla="*/ 3771656 h 6858290"/>
              <a:gd name="connsiteX1806" fmla="*/ 8151418 w 12139750"/>
              <a:gd name="connsiteY1806" fmla="*/ 3763955 h 6858290"/>
              <a:gd name="connsiteX1807" fmla="*/ 8170945 w 12139750"/>
              <a:gd name="connsiteY1807" fmla="*/ 3776310 h 6858290"/>
              <a:gd name="connsiteX1808" fmla="*/ 8161420 w 12139750"/>
              <a:gd name="connsiteY1808" fmla="*/ 3820029 h 6858290"/>
              <a:gd name="connsiteX1809" fmla="*/ 7826135 w 12139750"/>
              <a:gd name="connsiteY1809" fmla="*/ 4038624 h 6858290"/>
              <a:gd name="connsiteX1810" fmla="*/ 7784225 w 12139750"/>
              <a:gd name="connsiteY1810" fmla="*/ 4031020 h 6858290"/>
              <a:gd name="connsiteX1811" fmla="*/ 7780415 w 12139750"/>
              <a:gd name="connsiteY1811" fmla="*/ 4013913 h 6858290"/>
              <a:gd name="connsiteX1812" fmla="*/ 7793750 w 12139750"/>
              <a:gd name="connsiteY1812" fmla="*/ 3987302 h 6858290"/>
              <a:gd name="connsiteX1813" fmla="*/ 8129034 w 12139750"/>
              <a:gd name="connsiteY1813" fmla="*/ 3768707 h 6858290"/>
              <a:gd name="connsiteX1814" fmla="*/ 8151418 w 12139750"/>
              <a:gd name="connsiteY1814" fmla="*/ 3763955 h 6858290"/>
              <a:gd name="connsiteX1815" fmla="*/ 11596182 w 12139750"/>
              <a:gd name="connsiteY1815" fmla="*/ 3763955 h 6858290"/>
              <a:gd name="connsiteX1816" fmla="*/ 11614280 w 12139750"/>
              <a:gd name="connsiteY1816" fmla="*/ 3776310 h 6858290"/>
              <a:gd name="connsiteX1817" fmla="*/ 11606660 w 12139750"/>
              <a:gd name="connsiteY1817" fmla="*/ 3820029 h 6858290"/>
              <a:gd name="connsiteX1818" fmla="*/ 11271376 w 12139750"/>
              <a:gd name="connsiteY1818" fmla="*/ 4038624 h 6858290"/>
              <a:gd name="connsiteX1819" fmla="*/ 11229465 w 12139750"/>
              <a:gd name="connsiteY1819" fmla="*/ 4031020 h 6858290"/>
              <a:gd name="connsiteX1820" fmla="*/ 11223750 w 12139750"/>
              <a:gd name="connsiteY1820" fmla="*/ 4013913 h 6858290"/>
              <a:gd name="connsiteX1821" fmla="*/ 11237085 w 12139750"/>
              <a:gd name="connsiteY1821" fmla="*/ 3987302 h 6858290"/>
              <a:gd name="connsiteX1822" fmla="*/ 11572369 w 12139750"/>
              <a:gd name="connsiteY1822" fmla="*/ 3768707 h 6858290"/>
              <a:gd name="connsiteX1823" fmla="*/ 11596182 w 12139750"/>
              <a:gd name="connsiteY1823" fmla="*/ 3763955 h 6858290"/>
              <a:gd name="connsiteX1824" fmla="*/ 12139750 w 12139750"/>
              <a:gd name="connsiteY1824" fmla="*/ 3759203 h 6858290"/>
              <a:gd name="connsiteX1825" fmla="*/ 12139750 w 12139750"/>
              <a:gd name="connsiteY1825" fmla="*/ 3835137 h 6858290"/>
              <a:gd name="connsiteX1826" fmla="*/ 11835489 w 12139750"/>
              <a:gd name="connsiteY1826" fmla="*/ 4021174 h 6858290"/>
              <a:gd name="connsiteX1827" fmla="*/ 11789850 w 12139750"/>
              <a:gd name="connsiteY1827" fmla="*/ 4009784 h 6858290"/>
              <a:gd name="connsiteX1828" fmla="*/ 11784145 w 12139750"/>
              <a:gd name="connsiteY1828" fmla="*/ 3992699 h 6858290"/>
              <a:gd name="connsiteX1829" fmla="*/ 11799358 w 12139750"/>
              <a:gd name="connsiteY1829" fmla="*/ 3964224 h 6858290"/>
              <a:gd name="connsiteX1830" fmla="*/ 12135947 w 12139750"/>
              <a:gd name="connsiteY1830" fmla="*/ 3761101 h 6858290"/>
              <a:gd name="connsiteX1831" fmla="*/ 12139750 w 12139750"/>
              <a:gd name="connsiteY1831" fmla="*/ 3759203 h 6858290"/>
              <a:gd name="connsiteX1832" fmla="*/ 7593700 w 12139750"/>
              <a:gd name="connsiteY1832" fmla="*/ 3756493 h 6858290"/>
              <a:gd name="connsiteX1833" fmla="*/ 7613718 w 12139750"/>
              <a:gd name="connsiteY1833" fmla="*/ 3772173 h 6858290"/>
              <a:gd name="connsiteX1834" fmla="*/ 7604186 w 12139750"/>
              <a:gd name="connsiteY1834" fmla="*/ 3817790 h 6858290"/>
              <a:gd name="connsiteX1835" fmla="*/ 7266734 w 12139750"/>
              <a:gd name="connsiteY1835" fmla="*/ 4021162 h 6858290"/>
              <a:gd name="connsiteX1836" fmla="*/ 7220977 w 12139750"/>
              <a:gd name="connsiteY1836" fmla="*/ 4009758 h 6858290"/>
              <a:gd name="connsiteX1837" fmla="*/ 7215258 w 12139750"/>
              <a:gd name="connsiteY1837" fmla="*/ 3992652 h 6858290"/>
              <a:gd name="connsiteX1838" fmla="*/ 7232416 w 12139750"/>
              <a:gd name="connsiteY1838" fmla="*/ 3964142 h 6858290"/>
              <a:gd name="connsiteX1839" fmla="*/ 7567962 w 12139750"/>
              <a:gd name="connsiteY1839" fmla="*/ 3760769 h 6858290"/>
              <a:gd name="connsiteX1840" fmla="*/ 7593700 w 12139750"/>
              <a:gd name="connsiteY1840" fmla="*/ 3756493 h 6858290"/>
              <a:gd name="connsiteX1841" fmla="*/ 7044469 w 12139750"/>
              <a:gd name="connsiteY1841" fmla="*/ 3749140 h 6858290"/>
              <a:gd name="connsiteX1842" fmla="*/ 7065695 w 12139750"/>
              <a:gd name="connsiteY1842" fmla="*/ 3766564 h 6858290"/>
              <a:gd name="connsiteX1843" fmla="*/ 7052340 w 12139750"/>
              <a:gd name="connsiteY1843" fmla="*/ 3816209 h 6858290"/>
              <a:gd name="connsiteX1844" fmla="*/ 6714634 w 12139750"/>
              <a:gd name="connsiteY1844" fmla="*/ 4005244 h 6858290"/>
              <a:gd name="connsiteX1845" fmla="*/ 6665028 w 12139750"/>
              <a:gd name="connsiteY1845" fmla="*/ 3989968 h 6858290"/>
              <a:gd name="connsiteX1846" fmla="*/ 6661212 w 12139750"/>
              <a:gd name="connsiteY1846" fmla="*/ 3972783 h 6858290"/>
              <a:gd name="connsiteX1847" fmla="*/ 6678383 w 12139750"/>
              <a:gd name="connsiteY1847" fmla="*/ 3940323 h 6858290"/>
              <a:gd name="connsiteX1848" fmla="*/ 7016089 w 12139750"/>
              <a:gd name="connsiteY1848" fmla="*/ 3753198 h 6858290"/>
              <a:gd name="connsiteX1849" fmla="*/ 7044469 w 12139750"/>
              <a:gd name="connsiteY1849" fmla="*/ 3749140 h 6858290"/>
              <a:gd name="connsiteX1850" fmla="*/ 6500048 w 12139750"/>
              <a:gd name="connsiteY1850" fmla="*/ 3741441 h 6858290"/>
              <a:gd name="connsiteX1851" fmla="*/ 6523112 w 12139750"/>
              <a:gd name="connsiteY1851" fmla="*/ 3762447 h 6858290"/>
              <a:gd name="connsiteX1852" fmla="*/ 6505992 w 12139750"/>
              <a:gd name="connsiteY1852" fmla="*/ 3814006 h 6858290"/>
              <a:gd name="connsiteX1853" fmla="*/ 6167407 w 12139750"/>
              <a:gd name="connsiteY1853" fmla="*/ 3987780 h 6858290"/>
              <a:gd name="connsiteX1854" fmla="*/ 6114146 w 12139750"/>
              <a:gd name="connsiteY1854" fmla="*/ 3970593 h 6858290"/>
              <a:gd name="connsiteX1855" fmla="*/ 6110342 w 12139750"/>
              <a:gd name="connsiteY1855" fmla="*/ 3951497 h 6858290"/>
              <a:gd name="connsiteX1856" fmla="*/ 6131266 w 12139750"/>
              <a:gd name="connsiteY1856" fmla="*/ 3917125 h 6858290"/>
              <a:gd name="connsiteX1857" fmla="*/ 6469851 w 12139750"/>
              <a:gd name="connsiteY1857" fmla="*/ 3743351 h 6858290"/>
              <a:gd name="connsiteX1858" fmla="*/ 6500048 w 12139750"/>
              <a:gd name="connsiteY1858" fmla="*/ 3741441 h 6858290"/>
              <a:gd name="connsiteX1859" fmla="*/ 5958238 w 12139750"/>
              <a:gd name="connsiteY1859" fmla="*/ 3734460 h 6858290"/>
              <a:gd name="connsiteX1860" fmla="*/ 5983314 w 12139750"/>
              <a:gd name="connsiteY1860" fmla="*/ 3756422 h 6858290"/>
              <a:gd name="connsiteX1861" fmla="*/ 5962297 w 12139750"/>
              <a:gd name="connsiteY1861" fmla="*/ 3813715 h 6858290"/>
              <a:gd name="connsiteX1862" fmla="*/ 5622210 w 12139750"/>
              <a:gd name="connsiteY1862" fmla="*/ 3970317 h 6858290"/>
              <a:gd name="connsiteX1863" fmla="*/ 5564892 w 12139750"/>
              <a:gd name="connsiteY1863" fmla="*/ 3949309 h 6858290"/>
              <a:gd name="connsiteX1864" fmla="*/ 5561071 w 12139750"/>
              <a:gd name="connsiteY1864" fmla="*/ 3930212 h 6858290"/>
              <a:gd name="connsiteX1865" fmla="*/ 5585909 w 12139750"/>
              <a:gd name="connsiteY1865" fmla="*/ 3892016 h 6858290"/>
              <a:gd name="connsiteX1866" fmla="*/ 5925997 w 12139750"/>
              <a:gd name="connsiteY1866" fmla="*/ 3735415 h 6858290"/>
              <a:gd name="connsiteX1867" fmla="*/ 5958238 w 12139750"/>
              <a:gd name="connsiteY1867" fmla="*/ 3734460 h 6858290"/>
              <a:gd name="connsiteX1868" fmla="*/ 398944 w 12139750"/>
              <a:gd name="connsiteY1868" fmla="*/ 3734460 h 6858290"/>
              <a:gd name="connsiteX1869" fmla="*/ 422280 w 12139750"/>
              <a:gd name="connsiteY1869" fmla="*/ 3756422 h 6858290"/>
              <a:gd name="connsiteX1870" fmla="*/ 401325 w 12139750"/>
              <a:gd name="connsiteY1870" fmla="*/ 3813715 h 6858290"/>
              <a:gd name="connsiteX1871" fmla="*/ 62231 w 12139750"/>
              <a:gd name="connsiteY1871" fmla="*/ 3970317 h 6858290"/>
              <a:gd name="connsiteX1872" fmla="*/ 6986 w 12139750"/>
              <a:gd name="connsiteY1872" fmla="*/ 3949309 h 6858290"/>
              <a:gd name="connsiteX1873" fmla="*/ 3175 w 12139750"/>
              <a:gd name="connsiteY1873" fmla="*/ 3930212 h 6858290"/>
              <a:gd name="connsiteX1874" fmla="*/ 27941 w 12139750"/>
              <a:gd name="connsiteY1874" fmla="*/ 3892016 h 6858290"/>
              <a:gd name="connsiteX1875" fmla="*/ 367035 w 12139750"/>
              <a:gd name="connsiteY1875" fmla="*/ 3735415 h 6858290"/>
              <a:gd name="connsiteX1876" fmla="*/ 398944 w 12139750"/>
              <a:gd name="connsiteY1876" fmla="*/ 3734460 h 6858290"/>
              <a:gd name="connsiteX1877" fmla="*/ 5394100 w 12139750"/>
              <a:gd name="connsiteY1877" fmla="*/ 3725661 h 6858290"/>
              <a:gd name="connsiteX1878" fmla="*/ 5435653 w 12139750"/>
              <a:gd name="connsiteY1878" fmla="*/ 3753716 h 6858290"/>
              <a:gd name="connsiteX1879" fmla="*/ 5410869 w 12139750"/>
              <a:gd name="connsiteY1879" fmla="*/ 3812616 h 6858290"/>
              <a:gd name="connsiteX1880" fmla="*/ 5071527 w 12139750"/>
              <a:gd name="connsiteY1880" fmla="*/ 3951316 h 6858290"/>
              <a:gd name="connsiteX1881" fmla="*/ 5012435 w 12139750"/>
              <a:gd name="connsiteY1881" fmla="*/ 3928516 h 6858290"/>
              <a:gd name="connsiteX1882" fmla="*/ 5008622 w 12139750"/>
              <a:gd name="connsiteY1882" fmla="*/ 3911416 h 6858290"/>
              <a:gd name="connsiteX1883" fmla="*/ 5037216 w 12139750"/>
              <a:gd name="connsiteY1883" fmla="*/ 3869616 h 6858290"/>
              <a:gd name="connsiteX1884" fmla="*/ 5376554 w 12139750"/>
              <a:gd name="connsiteY1884" fmla="*/ 3729016 h 6858290"/>
              <a:gd name="connsiteX1885" fmla="*/ 5394100 w 12139750"/>
              <a:gd name="connsiteY1885" fmla="*/ 3725661 h 6858290"/>
              <a:gd name="connsiteX1886" fmla="*/ 927625 w 12139750"/>
              <a:gd name="connsiteY1886" fmla="*/ 3725661 h 6858290"/>
              <a:gd name="connsiteX1887" fmla="*/ 968374 w 12139750"/>
              <a:gd name="connsiteY1887" fmla="*/ 3753716 h 6858290"/>
              <a:gd name="connsiteX1888" fmla="*/ 945497 w 12139750"/>
              <a:gd name="connsiteY1888" fmla="*/ 3812616 h 6858290"/>
              <a:gd name="connsiteX1889" fmla="*/ 604250 w 12139750"/>
              <a:gd name="connsiteY1889" fmla="*/ 3951316 h 6858290"/>
              <a:gd name="connsiteX1890" fmla="*/ 545152 w 12139750"/>
              <a:gd name="connsiteY1890" fmla="*/ 3928516 h 6858290"/>
              <a:gd name="connsiteX1891" fmla="*/ 541339 w 12139750"/>
              <a:gd name="connsiteY1891" fmla="*/ 3911416 h 6858290"/>
              <a:gd name="connsiteX1892" fmla="*/ 569935 w 12139750"/>
              <a:gd name="connsiteY1892" fmla="*/ 3869616 h 6858290"/>
              <a:gd name="connsiteX1893" fmla="*/ 909276 w 12139750"/>
              <a:gd name="connsiteY1893" fmla="*/ 3729016 h 6858290"/>
              <a:gd name="connsiteX1894" fmla="*/ 927625 w 12139750"/>
              <a:gd name="connsiteY1894" fmla="*/ 3725661 h 6858290"/>
              <a:gd name="connsiteX1895" fmla="*/ 4842646 w 12139750"/>
              <a:gd name="connsiteY1895" fmla="*/ 3718049 h 6858290"/>
              <a:gd name="connsiteX1896" fmla="*/ 4884772 w 12139750"/>
              <a:gd name="connsiteY1896" fmla="*/ 3749574 h 6858290"/>
              <a:gd name="connsiteX1897" fmla="*/ 4856151 w 12139750"/>
              <a:gd name="connsiteY1897" fmla="*/ 3810367 h 6858290"/>
              <a:gd name="connsiteX1898" fmla="*/ 4514669 w 12139750"/>
              <a:gd name="connsiteY1898" fmla="*/ 3933854 h 6858290"/>
              <a:gd name="connsiteX1899" fmla="*/ 4453622 w 12139750"/>
              <a:gd name="connsiteY1899" fmla="*/ 3905357 h 6858290"/>
              <a:gd name="connsiteX1900" fmla="*/ 4449806 w 12139750"/>
              <a:gd name="connsiteY1900" fmla="*/ 3890159 h 6858290"/>
              <a:gd name="connsiteX1901" fmla="*/ 4482239 w 12139750"/>
              <a:gd name="connsiteY1901" fmla="*/ 3844564 h 6858290"/>
              <a:gd name="connsiteX1902" fmla="*/ 4823714 w 12139750"/>
              <a:gd name="connsiteY1902" fmla="*/ 3721077 h 6858290"/>
              <a:gd name="connsiteX1903" fmla="*/ 4842646 w 12139750"/>
              <a:gd name="connsiteY1903" fmla="*/ 3718049 h 6858290"/>
              <a:gd name="connsiteX1904" fmla="*/ 1478619 w 12139750"/>
              <a:gd name="connsiteY1904" fmla="*/ 3718049 h 6858290"/>
              <a:gd name="connsiteX1905" fmla="*/ 1520856 w 12139750"/>
              <a:gd name="connsiteY1905" fmla="*/ 3749574 h 6858290"/>
              <a:gd name="connsiteX1906" fmla="*/ 1492342 w 12139750"/>
              <a:gd name="connsiteY1906" fmla="*/ 3810367 h 6858290"/>
              <a:gd name="connsiteX1907" fmla="*/ 1152074 w 12139750"/>
              <a:gd name="connsiteY1907" fmla="*/ 3933854 h 6858290"/>
              <a:gd name="connsiteX1908" fmla="*/ 1089343 w 12139750"/>
              <a:gd name="connsiteY1908" fmla="*/ 3905357 h 6858290"/>
              <a:gd name="connsiteX1909" fmla="*/ 1087442 w 12139750"/>
              <a:gd name="connsiteY1909" fmla="*/ 3890159 h 6858290"/>
              <a:gd name="connsiteX1910" fmla="*/ 1117857 w 12139750"/>
              <a:gd name="connsiteY1910" fmla="*/ 3844564 h 6858290"/>
              <a:gd name="connsiteX1911" fmla="*/ 1460026 w 12139750"/>
              <a:gd name="connsiteY1911" fmla="*/ 3721077 h 6858290"/>
              <a:gd name="connsiteX1912" fmla="*/ 1478619 w 12139750"/>
              <a:gd name="connsiteY1912" fmla="*/ 3718049 h 6858290"/>
              <a:gd name="connsiteX1913" fmla="*/ 2033482 w 12139750"/>
              <a:gd name="connsiteY1913" fmla="*/ 3710438 h 6858290"/>
              <a:gd name="connsiteX1914" fmla="*/ 2078351 w 12139750"/>
              <a:gd name="connsiteY1914" fmla="*/ 3745431 h 6858290"/>
              <a:gd name="connsiteX1915" fmla="*/ 2043959 w 12139750"/>
              <a:gd name="connsiteY1915" fmla="*/ 3810017 h 6858290"/>
              <a:gd name="connsiteX1916" fmla="*/ 1701997 w 12139750"/>
              <a:gd name="connsiteY1916" fmla="*/ 3916393 h 6858290"/>
              <a:gd name="connsiteX1917" fmla="*/ 1637043 w 12139750"/>
              <a:gd name="connsiteY1917" fmla="*/ 3884100 h 6858290"/>
              <a:gd name="connsiteX1918" fmla="*/ 1635133 w 12139750"/>
              <a:gd name="connsiteY1918" fmla="*/ 3868904 h 6858290"/>
              <a:gd name="connsiteX1919" fmla="*/ 1669520 w 12139750"/>
              <a:gd name="connsiteY1919" fmla="*/ 3819515 h 6858290"/>
              <a:gd name="connsiteX1920" fmla="*/ 2013393 w 12139750"/>
              <a:gd name="connsiteY1920" fmla="*/ 3713139 h 6858290"/>
              <a:gd name="connsiteX1921" fmla="*/ 2033482 w 12139750"/>
              <a:gd name="connsiteY1921" fmla="*/ 3710438 h 6858290"/>
              <a:gd name="connsiteX1922" fmla="*/ 4287765 w 12139750"/>
              <a:gd name="connsiteY1922" fmla="*/ 3710438 h 6858290"/>
              <a:gd name="connsiteX1923" fmla="*/ 4330719 w 12139750"/>
              <a:gd name="connsiteY1923" fmla="*/ 3745431 h 6858290"/>
              <a:gd name="connsiteX1924" fmla="*/ 4298264 w 12139750"/>
              <a:gd name="connsiteY1924" fmla="*/ 3810017 h 6858290"/>
              <a:gd name="connsiteX1925" fmla="*/ 3954657 w 12139750"/>
              <a:gd name="connsiteY1925" fmla="*/ 3916393 h 6858290"/>
              <a:gd name="connsiteX1926" fmla="*/ 3891655 w 12139750"/>
              <a:gd name="connsiteY1926" fmla="*/ 3884100 h 6858290"/>
              <a:gd name="connsiteX1927" fmla="*/ 3887839 w 12139750"/>
              <a:gd name="connsiteY1927" fmla="*/ 3868904 h 6858290"/>
              <a:gd name="connsiteX1928" fmla="*/ 3924112 w 12139750"/>
              <a:gd name="connsiteY1928" fmla="*/ 3819515 h 6858290"/>
              <a:gd name="connsiteX1929" fmla="*/ 4267718 w 12139750"/>
              <a:gd name="connsiteY1929" fmla="*/ 3713139 h 6858290"/>
              <a:gd name="connsiteX1930" fmla="*/ 4287765 w 12139750"/>
              <a:gd name="connsiteY1930" fmla="*/ 3710438 h 6858290"/>
              <a:gd name="connsiteX1931" fmla="*/ 3726990 w 12139750"/>
              <a:gd name="connsiteY1931" fmla="*/ 3702866 h 6858290"/>
              <a:gd name="connsiteX1932" fmla="*/ 3772266 w 12139750"/>
              <a:gd name="connsiteY1932" fmla="*/ 3743256 h 6858290"/>
              <a:gd name="connsiteX1933" fmla="*/ 3734163 w 12139750"/>
              <a:gd name="connsiteY1933" fmla="*/ 3807929 h 6858290"/>
              <a:gd name="connsiteX1934" fmla="*/ 3391272 w 12139750"/>
              <a:gd name="connsiteY1934" fmla="*/ 3899232 h 6858290"/>
              <a:gd name="connsiteX1935" fmla="*/ 3324595 w 12139750"/>
              <a:gd name="connsiteY1935" fmla="*/ 3861189 h 6858290"/>
              <a:gd name="connsiteX1936" fmla="*/ 3322690 w 12139750"/>
              <a:gd name="connsiteY1936" fmla="*/ 3847874 h 6858290"/>
              <a:gd name="connsiteX1937" fmla="*/ 3362695 w 12139750"/>
              <a:gd name="connsiteY1937" fmla="*/ 3796517 h 6858290"/>
              <a:gd name="connsiteX1938" fmla="*/ 3705586 w 12139750"/>
              <a:gd name="connsiteY1938" fmla="*/ 3705214 h 6858290"/>
              <a:gd name="connsiteX1939" fmla="*/ 3726990 w 12139750"/>
              <a:gd name="connsiteY1939" fmla="*/ 3702866 h 6858290"/>
              <a:gd name="connsiteX1940" fmla="*/ 2593305 w 12139750"/>
              <a:gd name="connsiteY1940" fmla="*/ 3702866 h 6858290"/>
              <a:gd name="connsiteX1941" fmla="*/ 2638736 w 12139750"/>
              <a:gd name="connsiteY1941" fmla="*/ 3743256 h 6858290"/>
              <a:gd name="connsiteX1942" fmla="*/ 2600503 w 12139750"/>
              <a:gd name="connsiteY1942" fmla="*/ 3807929 h 6858290"/>
              <a:gd name="connsiteX1943" fmla="*/ 2256408 w 12139750"/>
              <a:gd name="connsiteY1943" fmla="*/ 3899232 h 6858290"/>
              <a:gd name="connsiteX1944" fmla="*/ 2189501 w 12139750"/>
              <a:gd name="connsiteY1944" fmla="*/ 3861189 h 6858290"/>
              <a:gd name="connsiteX1945" fmla="*/ 2187589 w 12139750"/>
              <a:gd name="connsiteY1945" fmla="*/ 3847874 h 6858290"/>
              <a:gd name="connsiteX1946" fmla="*/ 2227734 w 12139750"/>
              <a:gd name="connsiteY1946" fmla="*/ 3796517 h 6858290"/>
              <a:gd name="connsiteX1947" fmla="*/ 2571828 w 12139750"/>
              <a:gd name="connsiteY1947" fmla="*/ 3705214 h 6858290"/>
              <a:gd name="connsiteX1948" fmla="*/ 2593305 w 12139750"/>
              <a:gd name="connsiteY1948" fmla="*/ 3702866 h 6858290"/>
              <a:gd name="connsiteX1949" fmla="*/ 3135574 w 12139750"/>
              <a:gd name="connsiteY1949" fmla="*/ 3696656 h 6858290"/>
              <a:gd name="connsiteX1950" fmla="*/ 3202340 w 12139750"/>
              <a:gd name="connsiteY1950" fmla="*/ 3740471 h 6858290"/>
              <a:gd name="connsiteX1951" fmla="*/ 3160374 w 12139750"/>
              <a:gd name="connsiteY1951" fmla="*/ 3809051 h 6858290"/>
              <a:gd name="connsiteX1952" fmla="*/ 2815091 w 12139750"/>
              <a:gd name="connsiteY1952" fmla="*/ 3883346 h 6858290"/>
              <a:gd name="connsiteX1953" fmla="*/ 2746414 w 12139750"/>
              <a:gd name="connsiteY1953" fmla="*/ 3841436 h 6858290"/>
              <a:gd name="connsiteX1954" fmla="*/ 2746414 w 12139750"/>
              <a:gd name="connsiteY1954" fmla="*/ 3828101 h 6858290"/>
              <a:gd name="connsiteX1955" fmla="*/ 2790292 w 12139750"/>
              <a:gd name="connsiteY1955" fmla="*/ 3772856 h 6858290"/>
              <a:gd name="connsiteX1956" fmla="*/ 3135574 w 12139750"/>
              <a:gd name="connsiteY1956" fmla="*/ 3696656 h 6858290"/>
              <a:gd name="connsiteX1957" fmla="*/ 9858878 w 12139750"/>
              <a:gd name="connsiteY1957" fmla="*/ 3457894 h 6858290"/>
              <a:gd name="connsiteX1958" fmla="*/ 9871499 w 12139750"/>
              <a:gd name="connsiteY1958" fmla="*/ 3465507 h 6858290"/>
              <a:gd name="connsiteX1959" fmla="*/ 9869594 w 12139750"/>
              <a:gd name="connsiteY1959" fmla="*/ 3492151 h 6858290"/>
              <a:gd name="connsiteX1960" fmla="*/ 9538119 w 12139750"/>
              <a:gd name="connsiteY1960" fmla="*/ 3773816 h 6858290"/>
              <a:gd name="connsiteX1961" fmla="*/ 9511449 w 12139750"/>
              <a:gd name="connsiteY1961" fmla="*/ 3771913 h 6858290"/>
              <a:gd name="connsiteX1962" fmla="*/ 9507639 w 12139750"/>
              <a:gd name="connsiteY1962" fmla="*/ 3760494 h 6858290"/>
              <a:gd name="connsiteX1963" fmla="*/ 9513354 w 12139750"/>
              <a:gd name="connsiteY1963" fmla="*/ 3745269 h 6858290"/>
              <a:gd name="connsiteX1964" fmla="*/ 9844829 w 12139750"/>
              <a:gd name="connsiteY1964" fmla="*/ 3461700 h 6858290"/>
              <a:gd name="connsiteX1965" fmla="*/ 9858878 w 12139750"/>
              <a:gd name="connsiteY1965" fmla="*/ 3457894 h 6858290"/>
              <a:gd name="connsiteX1966" fmla="*/ 10444338 w 12139750"/>
              <a:gd name="connsiteY1966" fmla="*/ 3451145 h 6858290"/>
              <a:gd name="connsiteX1967" fmla="*/ 10458875 w 12139750"/>
              <a:gd name="connsiteY1967" fmla="*/ 3459471 h 6858290"/>
              <a:gd name="connsiteX1968" fmla="*/ 10455062 w 12139750"/>
              <a:gd name="connsiteY1968" fmla="*/ 3489921 h 6858290"/>
              <a:gd name="connsiteX1969" fmla="*/ 10123310 w 12139750"/>
              <a:gd name="connsiteY1969" fmla="*/ 3756353 h 6858290"/>
              <a:gd name="connsiteX1970" fmla="*/ 10090897 w 12139750"/>
              <a:gd name="connsiteY1970" fmla="*/ 3752547 h 6858290"/>
              <a:gd name="connsiteX1971" fmla="*/ 10087084 w 12139750"/>
              <a:gd name="connsiteY1971" fmla="*/ 3737323 h 6858290"/>
              <a:gd name="connsiteX1972" fmla="*/ 10094710 w 12139750"/>
              <a:gd name="connsiteY1972" fmla="*/ 3720195 h 6858290"/>
              <a:gd name="connsiteX1973" fmla="*/ 10428370 w 12139750"/>
              <a:gd name="connsiteY1973" fmla="*/ 3455665 h 6858290"/>
              <a:gd name="connsiteX1974" fmla="*/ 10444338 w 12139750"/>
              <a:gd name="connsiteY1974" fmla="*/ 3451145 h 6858290"/>
              <a:gd name="connsiteX1975" fmla="*/ 9282925 w 12139750"/>
              <a:gd name="connsiteY1975" fmla="*/ 3451145 h 6858290"/>
              <a:gd name="connsiteX1976" fmla="*/ 9298403 w 12139750"/>
              <a:gd name="connsiteY1976" fmla="*/ 3459471 h 6858290"/>
              <a:gd name="connsiteX1977" fmla="*/ 9294593 w 12139750"/>
              <a:gd name="connsiteY1977" fmla="*/ 3489921 h 6858290"/>
              <a:gd name="connsiteX1978" fmla="*/ 8961213 w 12139750"/>
              <a:gd name="connsiteY1978" fmla="*/ 3756353 h 6858290"/>
              <a:gd name="connsiteX1979" fmla="*/ 8930733 w 12139750"/>
              <a:gd name="connsiteY1979" fmla="*/ 3752547 h 6858290"/>
              <a:gd name="connsiteX1980" fmla="*/ 8925018 w 12139750"/>
              <a:gd name="connsiteY1980" fmla="*/ 3737323 h 6858290"/>
              <a:gd name="connsiteX1981" fmla="*/ 8934543 w 12139750"/>
              <a:gd name="connsiteY1981" fmla="*/ 3720195 h 6858290"/>
              <a:gd name="connsiteX1982" fmla="*/ 9266017 w 12139750"/>
              <a:gd name="connsiteY1982" fmla="*/ 3455665 h 6858290"/>
              <a:gd name="connsiteX1983" fmla="*/ 9282925 w 12139750"/>
              <a:gd name="connsiteY1983" fmla="*/ 3451145 h 6858290"/>
              <a:gd name="connsiteX1984" fmla="*/ 8712667 w 12139750"/>
              <a:gd name="connsiteY1984" fmla="*/ 3443688 h 6858290"/>
              <a:gd name="connsiteX1985" fmla="*/ 8730065 w 12139750"/>
              <a:gd name="connsiteY1985" fmla="*/ 3453451 h 6858290"/>
              <a:gd name="connsiteX1986" fmla="*/ 8724345 w 12139750"/>
              <a:gd name="connsiteY1986" fmla="*/ 3489646 h 6858290"/>
              <a:gd name="connsiteX1987" fmla="*/ 8390693 w 12139750"/>
              <a:gd name="connsiteY1987" fmla="*/ 3737296 h 6858290"/>
              <a:gd name="connsiteX1988" fmla="*/ 8354468 w 12139750"/>
              <a:gd name="connsiteY1988" fmla="*/ 3731581 h 6858290"/>
              <a:gd name="connsiteX1989" fmla="*/ 8348748 w 12139750"/>
              <a:gd name="connsiteY1989" fmla="*/ 3716341 h 6858290"/>
              <a:gd name="connsiteX1990" fmla="*/ 8360187 w 12139750"/>
              <a:gd name="connsiteY1990" fmla="*/ 3695386 h 6858290"/>
              <a:gd name="connsiteX1991" fmla="*/ 8693840 w 12139750"/>
              <a:gd name="connsiteY1991" fmla="*/ 3449641 h 6858290"/>
              <a:gd name="connsiteX1992" fmla="*/ 8712667 w 12139750"/>
              <a:gd name="connsiteY1992" fmla="*/ 3443688 h 6858290"/>
              <a:gd name="connsiteX1993" fmla="*/ 11022273 w 12139750"/>
              <a:gd name="connsiteY1993" fmla="*/ 3443688 h 6858290"/>
              <a:gd name="connsiteX1994" fmla="*/ 11038002 w 12139750"/>
              <a:gd name="connsiteY1994" fmla="*/ 3453451 h 6858290"/>
              <a:gd name="connsiteX1995" fmla="*/ 11034189 w 12139750"/>
              <a:gd name="connsiteY1995" fmla="*/ 3489646 h 6858290"/>
              <a:gd name="connsiteX1996" fmla="*/ 10700537 w 12139750"/>
              <a:gd name="connsiteY1996" fmla="*/ 3737296 h 6858290"/>
              <a:gd name="connsiteX1997" fmla="*/ 10664312 w 12139750"/>
              <a:gd name="connsiteY1997" fmla="*/ 3731581 h 6858290"/>
              <a:gd name="connsiteX1998" fmla="*/ 10658592 w 12139750"/>
              <a:gd name="connsiteY1998" fmla="*/ 3716341 h 6858290"/>
              <a:gd name="connsiteX1999" fmla="*/ 10670031 w 12139750"/>
              <a:gd name="connsiteY1999" fmla="*/ 3695386 h 6858290"/>
              <a:gd name="connsiteX2000" fmla="*/ 11003684 w 12139750"/>
              <a:gd name="connsiteY2000" fmla="*/ 3449641 h 6858290"/>
              <a:gd name="connsiteX2001" fmla="*/ 11022273 w 12139750"/>
              <a:gd name="connsiteY2001" fmla="*/ 3443688 h 6858290"/>
              <a:gd name="connsiteX2002" fmla="*/ 11595028 w 12139750"/>
              <a:gd name="connsiteY2002" fmla="*/ 3438528 h 6858290"/>
              <a:gd name="connsiteX2003" fmla="*/ 11614586 w 12139750"/>
              <a:gd name="connsiteY2003" fmla="*/ 3450911 h 6858290"/>
              <a:gd name="connsiteX2004" fmla="*/ 11606953 w 12139750"/>
              <a:gd name="connsiteY2004" fmla="*/ 3490916 h 6858290"/>
              <a:gd name="connsiteX2005" fmla="*/ 11271132 w 12139750"/>
              <a:gd name="connsiteY2005" fmla="*/ 3719516 h 6858290"/>
              <a:gd name="connsiteX2006" fmla="*/ 11231062 w 12139750"/>
              <a:gd name="connsiteY2006" fmla="*/ 3711896 h 6858290"/>
              <a:gd name="connsiteX2007" fmla="*/ 11225338 w 12139750"/>
              <a:gd name="connsiteY2007" fmla="*/ 3696656 h 6858290"/>
              <a:gd name="connsiteX2008" fmla="*/ 11238695 w 12139750"/>
              <a:gd name="connsiteY2008" fmla="*/ 3671891 h 6858290"/>
              <a:gd name="connsiteX2009" fmla="*/ 11572608 w 12139750"/>
              <a:gd name="connsiteY2009" fmla="*/ 3443291 h 6858290"/>
              <a:gd name="connsiteX2010" fmla="*/ 11595028 w 12139750"/>
              <a:gd name="connsiteY2010" fmla="*/ 3438528 h 6858290"/>
              <a:gd name="connsiteX2011" fmla="*/ 8149264 w 12139750"/>
              <a:gd name="connsiteY2011" fmla="*/ 3438528 h 6858290"/>
              <a:gd name="connsiteX2012" fmla="*/ 8167794 w 12139750"/>
              <a:gd name="connsiteY2012" fmla="*/ 3450911 h 6858290"/>
              <a:gd name="connsiteX2013" fmla="*/ 8160192 w 12139750"/>
              <a:gd name="connsiteY2013" fmla="*/ 3490916 h 6858290"/>
              <a:gd name="connsiteX2014" fmla="*/ 7825713 w 12139750"/>
              <a:gd name="connsiteY2014" fmla="*/ 3719516 h 6858290"/>
              <a:gd name="connsiteX2015" fmla="*/ 7785804 w 12139750"/>
              <a:gd name="connsiteY2015" fmla="*/ 3711896 h 6858290"/>
              <a:gd name="connsiteX2016" fmla="*/ 7782003 w 12139750"/>
              <a:gd name="connsiteY2016" fmla="*/ 3696656 h 6858290"/>
              <a:gd name="connsiteX2017" fmla="*/ 7793405 w 12139750"/>
              <a:gd name="connsiteY2017" fmla="*/ 3671891 h 6858290"/>
              <a:gd name="connsiteX2018" fmla="*/ 8127884 w 12139750"/>
              <a:gd name="connsiteY2018" fmla="*/ 3443291 h 6858290"/>
              <a:gd name="connsiteX2019" fmla="*/ 8149264 w 12139750"/>
              <a:gd name="connsiteY2019" fmla="*/ 3438528 h 6858290"/>
              <a:gd name="connsiteX2020" fmla="*/ 12139750 w 12139750"/>
              <a:gd name="connsiteY2020" fmla="*/ 3433766 h 6858290"/>
              <a:gd name="connsiteX2021" fmla="*/ 12139750 w 12139750"/>
              <a:gd name="connsiteY2021" fmla="*/ 3509879 h 6858290"/>
              <a:gd name="connsiteX2022" fmla="*/ 11835219 w 12139750"/>
              <a:gd name="connsiteY2022" fmla="*/ 3702065 h 6858290"/>
              <a:gd name="connsiteX2023" fmla="*/ 11789540 w 12139750"/>
              <a:gd name="connsiteY2023" fmla="*/ 3690648 h 6858290"/>
              <a:gd name="connsiteX2024" fmla="*/ 11785733 w 12139750"/>
              <a:gd name="connsiteY2024" fmla="*/ 3673522 h 6858290"/>
              <a:gd name="connsiteX2025" fmla="*/ 11800960 w 12139750"/>
              <a:gd name="connsiteY2025" fmla="*/ 3646883 h 6858290"/>
              <a:gd name="connsiteX2026" fmla="*/ 12135943 w 12139750"/>
              <a:gd name="connsiteY2026" fmla="*/ 3435669 h 6858290"/>
              <a:gd name="connsiteX2027" fmla="*/ 12139750 w 12139750"/>
              <a:gd name="connsiteY2027" fmla="*/ 3433766 h 6858290"/>
              <a:gd name="connsiteX2028" fmla="*/ 7592961 w 12139750"/>
              <a:gd name="connsiteY2028" fmla="*/ 3431781 h 6858290"/>
              <a:gd name="connsiteX2029" fmla="*/ 7613711 w 12139750"/>
              <a:gd name="connsiteY2029" fmla="*/ 3446783 h 6858290"/>
              <a:gd name="connsiteX2030" fmla="*/ 7602263 w 12139750"/>
              <a:gd name="connsiteY2030" fmla="*/ 3490598 h 6858290"/>
              <a:gd name="connsiteX2031" fmla="*/ 7266453 w 12139750"/>
              <a:gd name="connsiteY2031" fmla="*/ 3702053 h 6858290"/>
              <a:gd name="connsiteX2032" fmla="*/ 7222569 w 12139750"/>
              <a:gd name="connsiteY2032" fmla="*/ 3690623 h 6858290"/>
              <a:gd name="connsiteX2033" fmla="*/ 7216845 w 12139750"/>
              <a:gd name="connsiteY2033" fmla="*/ 3673478 h 6858290"/>
              <a:gd name="connsiteX2034" fmla="*/ 7232109 w 12139750"/>
              <a:gd name="connsiteY2034" fmla="*/ 3646808 h 6858290"/>
              <a:gd name="connsiteX2035" fmla="*/ 7567918 w 12139750"/>
              <a:gd name="connsiteY2035" fmla="*/ 3435353 h 6858290"/>
              <a:gd name="connsiteX2036" fmla="*/ 7592961 w 12139750"/>
              <a:gd name="connsiteY2036" fmla="*/ 3431781 h 6858290"/>
              <a:gd name="connsiteX2037" fmla="*/ 7042583 w 12139750"/>
              <a:gd name="connsiteY2037" fmla="*/ 3425684 h 6858290"/>
              <a:gd name="connsiteX2038" fmla="*/ 7064457 w 12139750"/>
              <a:gd name="connsiteY2038" fmla="*/ 3442391 h 6858290"/>
              <a:gd name="connsiteX2039" fmla="*/ 7051143 w 12139750"/>
              <a:gd name="connsiteY2039" fmla="*/ 3490127 h 6858290"/>
              <a:gd name="connsiteX2040" fmla="*/ 6714471 w 12139750"/>
              <a:gd name="connsiteY2040" fmla="*/ 3682981 h 6858290"/>
              <a:gd name="connsiteX2041" fmla="*/ 6665016 w 12139750"/>
              <a:gd name="connsiteY2041" fmla="*/ 3669615 h 6858290"/>
              <a:gd name="connsiteX2042" fmla="*/ 6661212 w 12139750"/>
              <a:gd name="connsiteY2042" fmla="*/ 3652430 h 6858290"/>
              <a:gd name="connsiteX2043" fmla="*/ 6678331 w 12139750"/>
              <a:gd name="connsiteY2043" fmla="*/ 3619969 h 6858290"/>
              <a:gd name="connsiteX2044" fmla="*/ 7015003 w 12139750"/>
              <a:gd name="connsiteY2044" fmla="*/ 3429025 h 6858290"/>
              <a:gd name="connsiteX2045" fmla="*/ 7042583 w 12139750"/>
              <a:gd name="connsiteY2045" fmla="*/ 3425684 h 6858290"/>
              <a:gd name="connsiteX2046" fmla="*/ 6499335 w 12139750"/>
              <a:gd name="connsiteY2046" fmla="*/ 3418940 h 6858290"/>
              <a:gd name="connsiteX2047" fmla="*/ 6523112 w 12139750"/>
              <a:gd name="connsiteY2047" fmla="*/ 3438274 h 6858290"/>
              <a:gd name="connsiteX2048" fmla="*/ 6505992 w 12139750"/>
              <a:gd name="connsiteY2048" fmla="*/ 3491743 h 6858290"/>
              <a:gd name="connsiteX2049" fmla="*/ 6167407 w 12139750"/>
              <a:gd name="connsiteY2049" fmla="*/ 3663607 h 6858290"/>
              <a:gd name="connsiteX2050" fmla="*/ 6116048 w 12139750"/>
              <a:gd name="connsiteY2050" fmla="*/ 3648330 h 6858290"/>
              <a:gd name="connsiteX2051" fmla="*/ 6110342 w 12139750"/>
              <a:gd name="connsiteY2051" fmla="*/ 3629234 h 6858290"/>
              <a:gd name="connsiteX2052" fmla="*/ 6131266 w 12139750"/>
              <a:gd name="connsiteY2052" fmla="*/ 3594862 h 6858290"/>
              <a:gd name="connsiteX2053" fmla="*/ 6469851 w 12139750"/>
              <a:gd name="connsiteY2053" fmla="*/ 3421090 h 6858290"/>
              <a:gd name="connsiteX2054" fmla="*/ 6499335 w 12139750"/>
              <a:gd name="connsiteY2054" fmla="*/ 3418940 h 6858290"/>
              <a:gd name="connsiteX2055" fmla="*/ 5958954 w 12139750"/>
              <a:gd name="connsiteY2055" fmla="*/ 3413743 h 6858290"/>
              <a:gd name="connsiteX2056" fmla="*/ 5983314 w 12139750"/>
              <a:gd name="connsiteY2056" fmla="*/ 3435593 h 6858290"/>
              <a:gd name="connsiteX2057" fmla="*/ 5962297 w 12139750"/>
              <a:gd name="connsiteY2057" fmla="*/ 3492599 h 6858290"/>
              <a:gd name="connsiteX2058" fmla="*/ 5622210 w 12139750"/>
              <a:gd name="connsiteY2058" fmla="*/ 3646514 h 6858290"/>
              <a:gd name="connsiteX2059" fmla="*/ 5564892 w 12139750"/>
              <a:gd name="connsiteY2059" fmla="*/ 3625612 h 6858290"/>
              <a:gd name="connsiteX2060" fmla="*/ 5561071 w 12139750"/>
              <a:gd name="connsiteY2060" fmla="*/ 3608510 h 6858290"/>
              <a:gd name="connsiteX2061" fmla="*/ 5585909 w 12139750"/>
              <a:gd name="connsiteY2061" fmla="*/ 3568606 h 6858290"/>
              <a:gd name="connsiteX2062" fmla="*/ 5925997 w 12139750"/>
              <a:gd name="connsiteY2062" fmla="*/ 3414692 h 6858290"/>
              <a:gd name="connsiteX2063" fmla="*/ 5958954 w 12139750"/>
              <a:gd name="connsiteY2063" fmla="*/ 3413743 h 6858290"/>
              <a:gd name="connsiteX2064" fmla="*/ 398651 w 12139750"/>
              <a:gd name="connsiteY2064" fmla="*/ 3413741 h 6858290"/>
              <a:gd name="connsiteX2065" fmla="*/ 421971 w 12139750"/>
              <a:gd name="connsiteY2065" fmla="*/ 3435593 h 6858290"/>
              <a:gd name="connsiteX2066" fmla="*/ 401031 w 12139750"/>
              <a:gd name="connsiteY2066" fmla="*/ 3492599 h 6858290"/>
              <a:gd name="connsiteX2067" fmla="*/ 62187 w 12139750"/>
              <a:gd name="connsiteY2067" fmla="*/ 3646514 h 6858290"/>
              <a:gd name="connsiteX2068" fmla="*/ 6982 w 12139750"/>
              <a:gd name="connsiteY2068" fmla="*/ 3625612 h 6858290"/>
              <a:gd name="connsiteX2069" fmla="*/ 3175 w 12139750"/>
              <a:gd name="connsiteY2069" fmla="*/ 3608510 h 6858290"/>
              <a:gd name="connsiteX2070" fmla="*/ 27922 w 12139750"/>
              <a:gd name="connsiteY2070" fmla="*/ 3568606 h 6858290"/>
              <a:gd name="connsiteX2071" fmla="*/ 366766 w 12139750"/>
              <a:gd name="connsiteY2071" fmla="*/ 3414692 h 6858290"/>
              <a:gd name="connsiteX2072" fmla="*/ 398651 w 12139750"/>
              <a:gd name="connsiteY2072" fmla="*/ 3413741 h 6858290"/>
              <a:gd name="connsiteX2073" fmla="*/ 5394960 w 12139750"/>
              <a:gd name="connsiteY2073" fmla="*/ 3403430 h 6858290"/>
              <a:gd name="connsiteX2074" fmla="*/ 5437255 w 12139750"/>
              <a:gd name="connsiteY2074" fmla="*/ 3433353 h 6858290"/>
              <a:gd name="connsiteX2075" fmla="*/ 5410604 w 12139750"/>
              <a:gd name="connsiteY2075" fmla="*/ 3492253 h 6858290"/>
              <a:gd name="connsiteX2076" fmla="*/ 5069848 w 12139750"/>
              <a:gd name="connsiteY2076" fmla="*/ 3629053 h 6858290"/>
              <a:gd name="connsiteX2077" fmla="*/ 5010843 w 12139750"/>
              <a:gd name="connsiteY2077" fmla="*/ 3602453 h 6858290"/>
              <a:gd name="connsiteX2078" fmla="*/ 5007036 w 12139750"/>
              <a:gd name="connsiteY2078" fmla="*/ 3585353 h 6858290"/>
              <a:gd name="connsiteX2079" fmla="*/ 5037490 w 12139750"/>
              <a:gd name="connsiteY2079" fmla="*/ 3543553 h 6858290"/>
              <a:gd name="connsiteX2080" fmla="*/ 5376339 w 12139750"/>
              <a:gd name="connsiteY2080" fmla="*/ 3406755 h 6858290"/>
              <a:gd name="connsiteX2081" fmla="*/ 5394960 w 12139750"/>
              <a:gd name="connsiteY2081" fmla="*/ 3403430 h 6858290"/>
              <a:gd name="connsiteX2082" fmla="*/ 928445 w 12139750"/>
              <a:gd name="connsiteY2082" fmla="*/ 3403428 h 6858290"/>
              <a:gd name="connsiteX2083" fmla="*/ 969969 w 12139750"/>
              <a:gd name="connsiteY2083" fmla="*/ 3433353 h 6858290"/>
              <a:gd name="connsiteX2084" fmla="*/ 945204 w 12139750"/>
              <a:gd name="connsiteY2084" fmla="*/ 3492253 h 6858290"/>
              <a:gd name="connsiteX2085" fmla="*/ 604205 w 12139750"/>
              <a:gd name="connsiteY2085" fmla="*/ 3629053 h 6858290"/>
              <a:gd name="connsiteX2086" fmla="*/ 543244 w 12139750"/>
              <a:gd name="connsiteY2086" fmla="*/ 3602453 h 6858290"/>
              <a:gd name="connsiteX2087" fmla="*/ 541339 w 12139750"/>
              <a:gd name="connsiteY2087" fmla="*/ 3585353 h 6858290"/>
              <a:gd name="connsiteX2088" fmla="*/ 569914 w 12139750"/>
              <a:gd name="connsiteY2088" fmla="*/ 3543553 h 6858290"/>
              <a:gd name="connsiteX2089" fmla="*/ 910913 w 12139750"/>
              <a:gd name="connsiteY2089" fmla="*/ 3406753 h 6858290"/>
              <a:gd name="connsiteX2090" fmla="*/ 928445 w 12139750"/>
              <a:gd name="connsiteY2090" fmla="*/ 3403428 h 6858290"/>
              <a:gd name="connsiteX2091" fmla="*/ 4843466 w 12139750"/>
              <a:gd name="connsiteY2091" fmla="*/ 3396591 h 6858290"/>
              <a:gd name="connsiteX2092" fmla="*/ 4886367 w 12139750"/>
              <a:gd name="connsiteY2092" fmla="*/ 3429004 h 6858290"/>
              <a:gd name="connsiteX2093" fmla="*/ 4855862 w 12139750"/>
              <a:gd name="connsiteY2093" fmla="*/ 3491868 h 6858290"/>
              <a:gd name="connsiteX2094" fmla="*/ 4514622 w 12139750"/>
              <a:gd name="connsiteY2094" fmla="*/ 3609978 h 6858290"/>
              <a:gd name="connsiteX2095" fmla="*/ 4451713 w 12139750"/>
              <a:gd name="connsiteY2095" fmla="*/ 3579498 h 6858290"/>
              <a:gd name="connsiteX2096" fmla="*/ 4449806 w 12139750"/>
              <a:gd name="connsiteY2096" fmla="*/ 3564258 h 6858290"/>
              <a:gd name="connsiteX2097" fmla="*/ 4482215 w 12139750"/>
              <a:gd name="connsiteY2097" fmla="*/ 3518538 h 6858290"/>
              <a:gd name="connsiteX2098" fmla="*/ 4823447 w 12139750"/>
              <a:gd name="connsiteY2098" fmla="*/ 3398526 h 6858290"/>
              <a:gd name="connsiteX2099" fmla="*/ 4843466 w 12139750"/>
              <a:gd name="connsiteY2099" fmla="*/ 3396591 h 6858290"/>
              <a:gd name="connsiteX2100" fmla="*/ 1478769 w 12139750"/>
              <a:gd name="connsiteY2100" fmla="*/ 3396589 h 6858290"/>
              <a:gd name="connsiteX2101" fmla="*/ 1522735 w 12139750"/>
              <a:gd name="connsiteY2101" fmla="*/ 3429004 h 6858290"/>
              <a:gd name="connsiteX2102" fmla="*/ 1492233 w 12139750"/>
              <a:gd name="connsiteY2102" fmla="*/ 3491868 h 6858290"/>
              <a:gd name="connsiteX2103" fmla="*/ 1149084 w 12139750"/>
              <a:gd name="connsiteY2103" fmla="*/ 3609978 h 6858290"/>
              <a:gd name="connsiteX2104" fmla="*/ 1088080 w 12139750"/>
              <a:gd name="connsiteY2104" fmla="*/ 3579498 h 6858290"/>
              <a:gd name="connsiteX2105" fmla="*/ 1084267 w 12139750"/>
              <a:gd name="connsiteY2105" fmla="*/ 3564258 h 6858290"/>
              <a:gd name="connsiteX2106" fmla="*/ 1116676 w 12139750"/>
              <a:gd name="connsiteY2106" fmla="*/ 3518538 h 6858290"/>
              <a:gd name="connsiteX2107" fmla="*/ 1459824 w 12139750"/>
              <a:gd name="connsiteY2107" fmla="*/ 3398524 h 6858290"/>
              <a:gd name="connsiteX2108" fmla="*/ 1478769 w 12139750"/>
              <a:gd name="connsiteY2108" fmla="*/ 3396589 h 6858290"/>
              <a:gd name="connsiteX2109" fmla="*/ 4288621 w 12139750"/>
              <a:gd name="connsiteY2109" fmla="*/ 3390094 h 6858290"/>
              <a:gd name="connsiteX2110" fmla="*/ 4332319 w 12139750"/>
              <a:gd name="connsiteY2110" fmla="*/ 3426845 h 6858290"/>
              <a:gd name="connsiteX2111" fmla="*/ 4298005 w 12139750"/>
              <a:gd name="connsiteY2111" fmla="*/ 3491709 h 6858290"/>
              <a:gd name="connsiteX2112" fmla="*/ 3954880 w 12139750"/>
              <a:gd name="connsiteY2112" fmla="*/ 3592822 h 6858290"/>
              <a:gd name="connsiteX2113" fmla="*/ 3888156 w 12139750"/>
              <a:gd name="connsiteY2113" fmla="*/ 3556574 h 6858290"/>
              <a:gd name="connsiteX2114" fmla="*/ 3886249 w 12139750"/>
              <a:gd name="connsiteY2114" fmla="*/ 3541311 h 6858290"/>
              <a:gd name="connsiteX2115" fmla="*/ 3924379 w 12139750"/>
              <a:gd name="connsiteY2115" fmla="*/ 3491709 h 6858290"/>
              <a:gd name="connsiteX2116" fmla="*/ 4267501 w 12139750"/>
              <a:gd name="connsiteY2116" fmla="*/ 3392508 h 6858290"/>
              <a:gd name="connsiteX2117" fmla="*/ 4288621 w 12139750"/>
              <a:gd name="connsiteY2117" fmla="*/ 3390094 h 6858290"/>
              <a:gd name="connsiteX2118" fmla="*/ 2035411 w 12139750"/>
              <a:gd name="connsiteY2118" fmla="*/ 3390091 h 6858290"/>
              <a:gd name="connsiteX2119" fmla="*/ 2079949 w 12139750"/>
              <a:gd name="connsiteY2119" fmla="*/ 3426845 h 6858290"/>
              <a:gd name="connsiteX2120" fmla="*/ 2043698 w 12139750"/>
              <a:gd name="connsiteY2120" fmla="*/ 3491709 h 6858290"/>
              <a:gd name="connsiteX2121" fmla="*/ 1700314 w 12139750"/>
              <a:gd name="connsiteY2121" fmla="*/ 3592822 h 6858290"/>
              <a:gd name="connsiteX2122" fmla="*/ 1635452 w 12139750"/>
              <a:gd name="connsiteY2122" fmla="*/ 3556574 h 6858290"/>
              <a:gd name="connsiteX2123" fmla="*/ 1633545 w 12139750"/>
              <a:gd name="connsiteY2123" fmla="*/ 3541311 h 6858290"/>
              <a:gd name="connsiteX2124" fmla="*/ 1671698 w 12139750"/>
              <a:gd name="connsiteY2124" fmla="*/ 3491709 h 6858290"/>
              <a:gd name="connsiteX2125" fmla="*/ 2015083 w 12139750"/>
              <a:gd name="connsiteY2125" fmla="*/ 3392506 h 6858290"/>
              <a:gd name="connsiteX2126" fmla="*/ 2035411 w 12139750"/>
              <a:gd name="connsiteY2126" fmla="*/ 3390091 h 6858290"/>
              <a:gd name="connsiteX2127" fmla="*/ 3729542 w 12139750"/>
              <a:gd name="connsiteY2127" fmla="*/ 3384855 h 6858290"/>
              <a:gd name="connsiteX2128" fmla="*/ 3773838 w 12139750"/>
              <a:gd name="connsiteY2128" fmla="*/ 3427580 h 6858290"/>
              <a:gd name="connsiteX2129" fmla="*/ 3733746 w 12139750"/>
              <a:gd name="connsiteY2129" fmla="*/ 3494046 h 6858290"/>
              <a:gd name="connsiteX2130" fmla="*/ 3388241 w 12139750"/>
              <a:gd name="connsiteY2130" fmla="*/ 3575706 h 6858290"/>
              <a:gd name="connsiteX2131" fmla="*/ 3321424 w 12139750"/>
              <a:gd name="connsiteY2131" fmla="*/ 3533926 h 6858290"/>
              <a:gd name="connsiteX2132" fmla="*/ 3319514 w 12139750"/>
              <a:gd name="connsiteY2132" fmla="*/ 3520633 h 6858290"/>
              <a:gd name="connsiteX2133" fmla="*/ 3361513 w 12139750"/>
              <a:gd name="connsiteY2133" fmla="*/ 3465560 h 6858290"/>
              <a:gd name="connsiteX2134" fmla="*/ 3707020 w 12139750"/>
              <a:gd name="connsiteY2134" fmla="*/ 3385804 h 6858290"/>
              <a:gd name="connsiteX2135" fmla="*/ 3729542 w 12139750"/>
              <a:gd name="connsiteY2135" fmla="*/ 3384855 h 6858290"/>
              <a:gd name="connsiteX2136" fmla="*/ 2596041 w 12139750"/>
              <a:gd name="connsiteY2136" fmla="*/ 3384850 h 6858290"/>
              <a:gd name="connsiteX2137" fmla="*/ 2640335 w 12139750"/>
              <a:gd name="connsiteY2137" fmla="*/ 3427579 h 6858290"/>
              <a:gd name="connsiteX2138" fmla="*/ 2598337 w 12139750"/>
              <a:gd name="connsiteY2138" fmla="*/ 3494046 h 6858290"/>
              <a:gd name="connsiteX2139" fmla="*/ 2254725 w 12139750"/>
              <a:gd name="connsiteY2139" fmla="*/ 3575706 h 6858290"/>
              <a:gd name="connsiteX2140" fmla="*/ 2187911 w 12139750"/>
              <a:gd name="connsiteY2140" fmla="*/ 3533926 h 6858290"/>
              <a:gd name="connsiteX2141" fmla="*/ 2186002 w 12139750"/>
              <a:gd name="connsiteY2141" fmla="*/ 3520633 h 6858290"/>
              <a:gd name="connsiteX2142" fmla="*/ 2227999 w 12139750"/>
              <a:gd name="connsiteY2142" fmla="*/ 3465560 h 6858290"/>
              <a:gd name="connsiteX2143" fmla="*/ 2573521 w 12139750"/>
              <a:gd name="connsiteY2143" fmla="*/ 3385799 h 6858290"/>
              <a:gd name="connsiteX2144" fmla="*/ 2596041 w 12139750"/>
              <a:gd name="connsiteY2144" fmla="*/ 3384850 h 6858290"/>
              <a:gd name="connsiteX2145" fmla="*/ 3137315 w 12139750"/>
              <a:gd name="connsiteY2145" fmla="*/ 3377575 h 6858290"/>
              <a:gd name="connsiteX2146" fmla="*/ 3205849 w 12139750"/>
              <a:gd name="connsiteY2146" fmla="*/ 3425194 h 6858290"/>
              <a:gd name="connsiteX2147" fmla="*/ 3158257 w 12139750"/>
              <a:gd name="connsiteY2147" fmla="*/ 3493773 h 6858290"/>
              <a:gd name="connsiteX2148" fmla="*/ 2813679 w 12139750"/>
              <a:gd name="connsiteY2148" fmla="*/ 3556638 h 6858290"/>
              <a:gd name="connsiteX2149" fmla="*/ 2745145 w 12139750"/>
              <a:gd name="connsiteY2149" fmla="*/ 3509013 h 6858290"/>
              <a:gd name="connsiteX2150" fmla="*/ 2743240 w 12139750"/>
              <a:gd name="connsiteY2150" fmla="*/ 3497583 h 6858290"/>
              <a:gd name="connsiteX2151" fmla="*/ 2792738 w 12139750"/>
              <a:gd name="connsiteY2151" fmla="*/ 3440433 h 6858290"/>
              <a:gd name="connsiteX2152" fmla="*/ 3137315 w 12139750"/>
              <a:gd name="connsiteY2152" fmla="*/ 3377575 h 6858290"/>
              <a:gd name="connsiteX2153" fmla="*/ 9858814 w 12139750"/>
              <a:gd name="connsiteY2153" fmla="*/ 3131368 h 6858290"/>
              <a:gd name="connsiteX2154" fmla="*/ 9870234 w 12139750"/>
              <a:gd name="connsiteY2154" fmla="*/ 3136605 h 6858290"/>
              <a:gd name="connsiteX2155" fmla="*/ 9868331 w 12139750"/>
              <a:gd name="connsiteY2155" fmla="*/ 3159443 h 6858290"/>
              <a:gd name="connsiteX2156" fmla="*/ 9539049 w 12139750"/>
              <a:gd name="connsiteY2156" fmla="*/ 3458218 h 6858290"/>
              <a:gd name="connsiteX2157" fmla="*/ 9516209 w 12139750"/>
              <a:gd name="connsiteY2157" fmla="*/ 3456315 h 6858290"/>
              <a:gd name="connsiteX2158" fmla="*/ 9512402 w 12139750"/>
              <a:gd name="connsiteY2158" fmla="*/ 3444896 h 6858290"/>
              <a:gd name="connsiteX2159" fmla="*/ 9516209 w 12139750"/>
              <a:gd name="connsiteY2159" fmla="*/ 3433477 h 6858290"/>
              <a:gd name="connsiteX2160" fmla="*/ 9847394 w 12139750"/>
              <a:gd name="connsiteY2160" fmla="*/ 3134702 h 6858290"/>
              <a:gd name="connsiteX2161" fmla="*/ 9858814 w 12139750"/>
              <a:gd name="connsiteY2161" fmla="*/ 3131368 h 6858290"/>
              <a:gd name="connsiteX2162" fmla="*/ 9282539 w 12139750"/>
              <a:gd name="connsiteY2162" fmla="*/ 3124787 h 6858290"/>
              <a:gd name="connsiteX2163" fmla="*/ 9295203 w 12139750"/>
              <a:gd name="connsiteY2163" fmla="*/ 3132178 h 6858290"/>
              <a:gd name="connsiteX2164" fmla="*/ 9293291 w 12139750"/>
              <a:gd name="connsiteY2164" fmla="*/ 3160778 h 6858290"/>
              <a:gd name="connsiteX2165" fmla="*/ 8960690 w 12139750"/>
              <a:gd name="connsiteY2165" fmla="*/ 3437250 h 6858290"/>
              <a:gd name="connsiteX2166" fmla="*/ 8932017 w 12139750"/>
              <a:gd name="connsiteY2166" fmla="*/ 3435343 h 6858290"/>
              <a:gd name="connsiteX2167" fmla="*/ 8928194 w 12139750"/>
              <a:gd name="connsiteY2167" fmla="*/ 3421997 h 6858290"/>
              <a:gd name="connsiteX2168" fmla="*/ 8935840 w 12139750"/>
              <a:gd name="connsiteY2168" fmla="*/ 3406743 h 6858290"/>
              <a:gd name="connsiteX2169" fmla="*/ 9268442 w 12139750"/>
              <a:gd name="connsiteY2169" fmla="*/ 3130267 h 6858290"/>
              <a:gd name="connsiteX2170" fmla="*/ 9282539 w 12139750"/>
              <a:gd name="connsiteY2170" fmla="*/ 3124787 h 6858290"/>
              <a:gd name="connsiteX2171" fmla="*/ 10443256 w 12139750"/>
              <a:gd name="connsiteY2171" fmla="*/ 3124763 h 6858290"/>
              <a:gd name="connsiteX2172" fmla="*/ 10457593 w 12139750"/>
              <a:gd name="connsiteY2172" fmla="*/ 3132152 h 6858290"/>
              <a:gd name="connsiteX2173" fmla="*/ 10453769 w 12139750"/>
              <a:gd name="connsiteY2173" fmla="*/ 3160755 h 6858290"/>
              <a:gd name="connsiteX2174" fmla="*/ 10121168 w 12139750"/>
              <a:gd name="connsiteY2174" fmla="*/ 3437250 h 6858290"/>
              <a:gd name="connsiteX2175" fmla="*/ 10094407 w 12139750"/>
              <a:gd name="connsiteY2175" fmla="*/ 3435343 h 6858290"/>
              <a:gd name="connsiteX2176" fmla="*/ 10088672 w 12139750"/>
              <a:gd name="connsiteY2176" fmla="*/ 3421995 h 6858290"/>
              <a:gd name="connsiteX2177" fmla="*/ 10096318 w 12139750"/>
              <a:gd name="connsiteY2177" fmla="*/ 3406741 h 6858290"/>
              <a:gd name="connsiteX2178" fmla="*/ 10428920 w 12139750"/>
              <a:gd name="connsiteY2178" fmla="*/ 3130246 h 6858290"/>
              <a:gd name="connsiteX2179" fmla="*/ 10443256 w 12139750"/>
              <a:gd name="connsiteY2179" fmla="*/ 3124763 h 6858290"/>
              <a:gd name="connsiteX2180" fmla="*/ 8711378 w 12139750"/>
              <a:gd name="connsiteY2180" fmla="*/ 3118284 h 6858290"/>
              <a:gd name="connsiteX2181" fmla="*/ 8728495 w 12139750"/>
              <a:gd name="connsiteY2181" fmla="*/ 3128067 h 6858290"/>
              <a:gd name="connsiteX2182" fmla="*/ 8722790 w 12139750"/>
              <a:gd name="connsiteY2182" fmla="*/ 3160517 h 6858290"/>
              <a:gd name="connsiteX2183" fmla="*/ 8391863 w 12139750"/>
              <a:gd name="connsiteY2183" fmla="*/ 3418193 h 6858290"/>
              <a:gd name="connsiteX2184" fmla="*/ 8357629 w 12139750"/>
              <a:gd name="connsiteY2184" fmla="*/ 3414376 h 6858290"/>
              <a:gd name="connsiteX2185" fmla="*/ 8351923 w 12139750"/>
              <a:gd name="connsiteY2185" fmla="*/ 3399106 h 6858290"/>
              <a:gd name="connsiteX2186" fmla="*/ 8361432 w 12139750"/>
              <a:gd name="connsiteY2186" fmla="*/ 3380018 h 6858290"/>
              <a:gd name="connsiteX2187" fmla="*/ 8694262 w 12139750"/>
              <a:gd name="connsiteY2187" fmla="*/ 3124249 h 6858290"/>
              <a:gd name="connsiteX2188" fmla="*/ 8711378 w 12139750"/>
              <a:gd name="connsiteY2188" fmla="*/ 3118284 h 6858290"/>
              <a:gd name="connsiteX2189" fmla="*/ 11020985 w 12139750"/>
              <a:gd name="connsiteY2189" fmla="*/ 3118259 h 6858290"/>
              <a:gd name="connsiteX2190" fmla="*/ 11036438 w 12139750"/>
              <a:gd name="connsiteY2190" fmla="*/ 3128041 h 6858290"/>
              <a:gd name="connsiteX2191" fmla="*/ 11032634 w 12139750"/>
              <a:gd name="connsiteY2191" fmla="*/ 3160492 h 6858290"/>
              <a:gd name="connsiteX2192" fmla="*/ 10699805 w 12139750"/>
              <a:gd name="connsiteY2192" fmla="*/ 3418193 h 6858290"/>
              <a:gd name="connsiteX2193" fmla="*/ 10667473 w 12139750"/>
              <a:gd name="connsiteY2193" fmla="*/ 3414376 h 6858290"/>
              <a:gd name="connsiteX2194" fmla="*/ 10661767 w 12139750"/>
              <a:gd name="connsiteY2194" fmla="*/ 3399103 h 6858290"/>
              <a:gd name="connsiteX2195" fmla="*/ 10671276 w 12139750"/>
              <a:gd name="connsiteY2195" fmla="*/ 3380016 h 6858290"/>
              <a:gd name="connsiteX2196" fmla="*/ 11004106 w 12139750"/>
              <a:gd name="connsiteY2196" fmla="*/ 3124224 h 6858290"/>
              <a:gd name="connsiteX2197" fmla="*/ 11020985 w 12139750"/>
              <a:gd name="connsiteY2197" fmla="*/ 3118259 h 6858290"/>
              <a:gd name="connsiteX2198" fmla="*/ 8147892 w 12139750"/>
              <a:gd name="connsiteY2198" fmla="*/ 3113506 h 6858290"/>
              <a:gd name="connsiteX2199" fmla="*/ 8166198 w 12139750"/>
              <a:gd name="connsiteY2199" fmla="*/ 3125150 h 6858290"/>
              <a:gd name="connsiteX2200" fmla="*/ 8160492 w 12139750"/>
              <a:gd name="connsiteY2200" fmla="*/ 3163167 h 6858290"/>
              <a:gd name="connsiteX2201" fmla="*/ 7825748 w 12139750"/>
              <a:gd name="connsiteY2201" fmla="*/ 3398864 h 6858290"/>
              <a:gd name="connsiteX2202" fmla="*/ 7787709 w 12139750"/>
              <a:gd name="connsiteY2202" fmla="*/ 3393162 h 6858290"/>
              <a:gd name="connsiteX2203" fmla="*/ 7782003 w 12139750"/>
              <a:gd name="connsiteY2203" fmla="*/ 3376054 h 6858290"/>
              <a:gd name="connsiteX2204" fmla="*/ 7795316 w 12139750"/>
              <a:gd name="connsiteY2204" fmla="*/ 3353251 h 6858290"/>
              <a:gd name="connsiteX2205" fmla="*/ 8128159 w 12139750"/>
              <a:gd name="connsiteY2205" fmla="*/ 3117545 h 6858290"/>
              <a:gd name="connsiteX2206" fmla="*/ 8147892 w 12139750"/>
              <a:gd name="connsiteY2206" fmla="*/ 3113506 h 6858290"/>
              <a:gd name="connsiteX2207" fmla="*/ 11592870 w 12139750"/>
              <a:gd name="connsiteY2207" fmla="*/ 3113497 h 6858290"/>
              <a:gd name="connsiteX2208" fmla="*/ 11611429 w 12139750"/>
              <a:gd name="connsiteY2208" fmla="*/ 3125143 h 6858290"/>
              <a:gd name="connsiteX2209" fmla="*/ 11603815 w 12139750"/>
              <a:gd name="connsiteY2209" fmla="*/ 3163160 h 6858290"/>
              <a:gd name="connsiteX2210" fmla="*/ 11270705 w 12139750"/>
              <a:gd name="connsiteY2210" fmla="*/ 3398861 h 6858290"/>
              <a:gd name="connsiteX2211" fmla="*/ 11232635 w 12139750"/>
              <a:gd name="connsiteY2211" fmla="*/ 3393157 h 6858290"/>
              <a:gd name="connsiteX2212" fmla="*/ 11226925 w 12139750"/>
              <a:gd name="connsiteY2212" fmla="*/ 3376052 h 6858290"/>
              <a:gd name="connsiteX2213" fmla="*/ 11238346 w 12139750"/>
              <a:gd name="connsiteY2213" fmla="*/ 3353249 h 6858290"/>
              <a:gd name="connsiteX2214" fmla="*/ 11571456 w 12139750"/>
              <a:gd name="connsiteY2214" fmla="*/ 3117537 h 6858290"/>
              <a:gd name="connsiteX2215" fmla="*/ 11592870 w 12139750"/>
              <a:gd name="connsiteY2215" fmla="*/ 3113497 h 6858290"/>
              <a:gd name="connsiteX2216" fmla="*/ 12139750 w 12139750"/>
              <a:gd name="connsiteY2216" fmla="*/ 3109931 h 6858290"/>
              <a:gd name="connsiteX2217" fmla="*/ 12139750 w 12139750"/>
              <a:gd name="connsiteY2217" fmla="*/ 3184058 h 6858290"/>
              <a:gd name="connsiteX2218" fmla="*/ 11835219 w 12139750"/>
              <a:gd name="connsiteY2218" fmla="*/ 3379813 h 6858290"/>
              <a:gd name="connsiteX2219" fmla="*/ 11791443 w 12139750"/>
              <a:gd name="connsiteY2219" fmla="*/ 3370310 h 6858290"/>
              <a:gd name="connsiteX2220" fmla="*/ 11785733 w 12139750"/>
              <a:gd name="connsiteY2220" fmla="*/ 3353211 h 6858290"/>
              <a:gd name="connsiteX2221" fmla="*/ 11800960 w 12139750"/>
              <a:gd name="connsiteY2221" fmla="*/ 3326605 h 6858290"/>
              <a:gd name="connsiteX2222" fmla="*/ 12135943 w 12139750"/>
              <a:gd name="connsiteY2222" fmla="*/ 3111832 h 6858290"/>
              <a:gd name="connsiteX2223" fmla="*/ 12139750 w 12139750"/>
              <a:gd name="connsiteY2223" fmla="*/ 3109931 h 6858290"/>
              <a:gd name="connsiteX2224" fmla="*/ 7592396 w 12139750"/>
              <a:gd name="connsiteY2224" fmla="*/ 3107000 h 6858290"/>
              <a:gd name="connsiteX2225" fmla="*/ 7612145 w 12139750"/>
              <a:gd name="connsiteY2225" fmla="*/ 3121034 h 6858290"/>
              <a:gd name="connsiteX2226" fmla="*/ 7602628 w 12139750"/>
              <a:gd name="connsiteY2226" fmla="*/ 3164800 h 6858290"/>
              <a:gd name="connsiteX2227" fmla="*/ 7267608 w 12139750"/>
              <a:gd name="connsiteY2227" fmla="*/ 3379811 h 6858290"/>
              <a:gd name="connsiteX2228" fmla="*/ 7223827 w 12139750"/>
              <a:gd name="connsiteY2228" fmla="*/ 3370294 h 6858290"/>
              <a:gd name="connsiteX2229" fmla="*/ 7220020 w 12139750"/>
              <a:gd name="connsiteY2229" fmla="*/ 3353176 h 6858290"/>
              <a:gd name="connsiteX2230" fmla="*/ 7233344 w 12139750"/>
              <a:gd name="connsiteY2230" fmla="*/ 3326538 h 6858290"/>
              <a:gd name="connsiteX2231" fmla="*/ 7568364 w 12139750"/>
              <a:gd name="connsiteY2231" fmla="*/ 3111519 h 6858290"/>
              <a:gd name="connsiteX2232" fmla="*/ 7592396 w 12139750"/>
              <a:gd name="connsiteY2232" fmla="*/ 3107000 h 6858290"/>
              <a:gd name="connsiteX2233" fmla="*/ 7041870 w 12139750"/>
              <a:gd name="connsiteY2233" fmla="*/ 3101853 h 6858290"/>
              <a:gd name="connsiteX2234" fmla="*/ 7064457 w 12139750"/>
              <a:gd name="connsiteY2234" fmla="*/ 3118540 h 6858290"/>
              <a:gd name="connsiteX2235" fmla="*/ 7051143 w 12139750"/>
              <a:gd name="connsiteY2235" fmla="*/ 3166221 h 6858290"/>
              <a:gd name="connsiteX2236" fmla="*/ 6714471 w 12139750"/>
              <a:gd name="connsiteY2236" fmla="*/ 3360742 h 6858290"/>
              <a:gd name="connsiteX2237" fmla="*/ 6666918 w 12139750"/>
              <a:gd name="connsiteY2237" fmla="*/ 3347395 h 6858290"/>
              <a:gd name="connsiteX2238" fmla="*/ 6661212 w 12139750"/>
              <a:gd name="connsiteY2238" fmla="*/ 3330234 h 6858290"/>
              <a:gd name="connsiteX2239" fmla="*/ 6680233 w 12139750"/>
              <a:gd name="connsiteY2239" fmla="*/ 3299719 h 6858290"/>
              <a:gd name="connsiteX2240" fmla="*/ 7015003 w 12139750"/>
              <a:gd name="connsiteY2240" fmla="*/ 3105192 h 6858290"/>
              <a:gd name="connsiteX2241" fmla="*/ 7041870 w 12139750"/>
              <a:gd name="connsiteY2241" fmla="*/ 3101853 h 6858290"/>
              <a:gd name="connsiteX2242" fmla="*/ 6499097 w 12139750"/>
              <a:gd name="connsiteY2242" fmla="*/ 3095115 h 6858290"/>
              <a:gd name="connsiteX2243" fmla="*/ 6521210 w 12139750"/>
              <a:gd name="connsiteY2243" fmla="*/ 3114451 h 6858290"/>
              <a:gd name="connsiteX2244" fmla="*/ 6505992 w 12139750"/>
              <a:gd name="connsiteY2244" fmla="*/ 3167917 h 6858290"/>
              <a:gd name="connsiteX2245" fmla="*/ 6167407 w 12139750"/>
              <a:gd name="connsiteY2245" fmla="*/ 3341686 h 6858290"/>
              <a:gd name="connsiteX2246" fmla="*/ 6116048 w 12139750"/>
              <a:gd name="connsiteY2246" fmla="*/ 3326407 h 6858290"/>
              <a:gd name="connsiteX2247" fmla="*/ 6110342 w 12139750"/>
              <a:gd name="connsiteY2247" fmla="*/ 3307313 h 6858290"/>
              <a:gd name="connsiteX2248" fmla="*/ 6131266 w 12139750"/>
              <a:gd name="connsiteY2248" fmla="*/ 3272944 h 6858290"/>
              <a:gd name="connsiteX2249" fmla="*/ 6469851 w 12139750"/>
              <a:gd name="connsiteY2249" fmla="*/ 3097266 h 6858290"/>
              <a:gd name="connsiteX2250" fmla="*/ 6499097 w 12139750"/>
              <a:gd name="connsiteY2250" fmla="*/ 3095115 h 6858290"/>
              <a:gd name="connsiteX2251" fmla="*/ 5958954 w 12139750"/>
              <a:gd name="connsiteY2251" fmla="*/ 3091506 h 6858290"/>
              <a:gd name="connsiteX2252" fmla="*/ 5983314 w 12139750"/>
              <a:gd name="connsiteY2252" fmla="*/ 3113357 h 6858290"/>
              <a:gd name="connsiteX2253" fmla="*/ 5962297 w 12139750"/>
              <a:gd name="connsiteY2253" fmla="*/ 3170362 h 6858290"/>
              <a:gd name="connsiteX2254" fmla="*/ 5620300 w 12139750"/>
              <a:gd name="connsiteY2254" fmla="*/ 3324270 h 6858290"/>
              <a:gd name="connsiteX2255" fmla="*/ 5564892 w 12139750"/>
              <a:gd name="connsiteY2255" fmla="*/ 3301471 h 6858290"/>
              <a:gd name="connsiteX2256" fmla="*/ 5561071 w 12139750"/>
              <a:gd name="connsiteY2256" fmla="*/ 3284371 h 6858290"/>
              <a:gd name="connsiteX2257" fmla="*/ 5585909 w 12139750"/>
              <a:gd name="connsiteY2257" fmla="*/ 3246366 h 6858290"/>
              <a:gd name="connsiteX2258" fmla="*/ 5925997 w 12139750"/>
              <a:gd name="connsiteY2258" fmla="*/ 3092457 h 6858290"/>
              <a:gd name="connsiteX2259" fmla="*/ 5958954 w 12139750"/>
              <a:gd name="connsiteY2259" fmla="*/ 3091506 h 6858290"/>
              <a:gd name="connsiteX2260" fmla="*/ 399603 w 12139750"/>
              <a:gd name="connsiteY2260" fmla="*/ 3091494 h 6858290"/>
              <a:gd name="connsiteX2261" fmla="*/ 423874 w 12139750"/>
              <a:gd name="connsiteY2261" fmla="*/ 3113346 h 6858290"/>
              <a:gd name="connsiteX2262" fmla="*/ 401031 w 12139750"/>
              <a:gd name="connsiteY2262" fmla="*/ 3170351 h 6858290"/>
              <a:gd name="connsiteX2263" fmla="*/ 62187 w 12139750"/>
              <a:gd name="connsiteY2263" fmla="*/ 3324262 h 6858290"/>
              <a:gd name="connsiteX2264" fmla="*/ 6982 w 12139750"/>
              <a:gd name="connsiteY2264" fmla="*/ 3301463 h 6858290"/>
              <a:gd name="connsiteX2265" fmla="*/ 3175 w 12139750"/>
              <a:gd name="connsiteY2265" fmla="*/ 3284360 h 6858290"/>
              <a:gd name="connsiteX2266" fmla="*/ 27922 w 12139750"/>
              <a:gd name="connsiteY2266" fmla="*/ 3246356 h 6858290"/>
              <a:gd name="connsiteX2267" fmla="*/ 366766 w 12139750"/>
              <a:gd name="connsiteY2267" fmla="*/ 3092445 h 6858290"/>
              <a:gd name="connsiteX2268" fmla="*/ 399603 w 12139750"/>
              <a:gd name="connsiteY2268" fmla="*/ 3091494 h 6858290"/>
              <a:gd name="connsiteX2269" fmla="*/ 5376339 w 12139750"/>
              <a:gd name="connsiteY2269" fmla="*/ 3084226 h 6858290"/>
              <a:gd name="connsiteX2270" fmla="*/ 5437255 w 12139750"/>
              <a:gd name="connsiteY2270" fmla="*/ 3110894 h 6858290"/>
              <a:gd name="connsiteX2271" fmla="*/ 5410604 w 12139750"/>
              <a:gd name="connsiteY2271" fmla="*/ 3171854 h 6858290"/>
              <a:gd name="connsiteX2272" fmla="*/ 5069848 w 12139750"/>
              <a:gd name="connsiteY2272" fmla="*/ 3305199 h 6858290"/>
              <a:gd name="connsiteX2273" fmla="*/ 5010843 w 12139750"/>
              <a:gd name="connsiteY2273" fmla="*/ 3278532 h 6858290"/>
              <a:gd name="connsiteX2274" fmla="*/ 5007036 w 12139750"/>
              <a:gd name="connsiteY2274" fmla="*/ 3261388 h 6858290"/>
              <a:gd name="connsiteX2275" fmla="*/ 5037490 w 12139750"/>
              <a:gd name="connsiteY2275" fmla="*/ 3217574 h 6858290"/>
              <a:gd name="connsiteX2276" fmla="*/ 5376339 w 12139750"/>
              <a:gd name="connsiteY2276" fmla="*/ 3084226 h 6858290"/>
              <a:gd name="connsiteX2277" fmla="*/ 910963 w 12139750"/>
              <a:gd name="connsiteY2277" fmla="*/ 3084210 h 6858290"/>
              <a:gd name="connsiteX2278" fmla="*/ 969977 w 12139750"/>
              <a:gd name="connsiteY2278" fmla="*/ 3110879 h 6858290"/>
              <a:gd name="connsiteX2279" fmla="*/ 945229 w 12139750"/>
              <a:gd name="connsiteY2279" fmla="*/ 3171840 h 6858290"/>
              <a:gd name="connsiteX2280" fmla="*/ 604476 w 12139750"/>
              <a:gd name="connsiteY2280" fmla="*/ 3305187 h 6858290"/>
              <a:gd name="connsiteX2281" fmla="*/ 543559 w 12139750"/>
              <a:gd name="connsiteY2281" fmla="*/ 3278518 h 6858290"/>
              <a:gd name="connsiteX2282" fmla="*/ 539752 w 12139750"/>
              <a:gd name="connsiteY2282" fmla="*/ 3261374 h 6858290"/>
              <a:gd name="connsiteX2283" fmla="*/ 570210 w 12139750"/>
              <a:gd name="connsiteY2283" fmla="*/ 3217559 h 6858290"/>
              <a:gd name="connsiteX2284" fmla="*/ 910963 w 12139750"/>
              <a:gd name="connsiteY2284" fmla="*/ 3084210 h 6858290"/>
              <a:gd name="connsiteX2285" fmla="*/ 4845141 w 12139750"/>
              <a:gd name="connsiteY2285" fmla="*/ 3075495 h 6858290"/>
              <a:gd name="connsiteX2286" fmla="*/ 4888279 w 12139750"/>
              <a:gd name="connsiteY2286" fmla="*/ 3110635 h 6858290"/>
              <a:gd name="connsiteX2287" fmla="*/ 4855889 w 12139750"/>
              <a:gd name="connsiteY2287" fmla="*/ 3173587 h 6858290"/>
              <a:gd name="connsiteX2288" fmla="*/ 4514891 w 12139750"/>
              <a:gd name="connsiteY2288" fmla="*/ 3286137 h 6858290"/>
              <a:gd name="connsiteX2289" fmla="*/ 4450123 w 12139750"/>
              <a:gd name="connsiteY2289" fmla="*/ 3253707 h 6858290"/>
              <a:gd name="connsiteX2290" fmla="*/ 4448219 w 12139750"/>
              <a:gd name="connsiteY2290" fmla="*/ 3238443 h 6858290"/>
              <a:gd name="connsiteX2291" fmla="*/ 4482509 w 12139750"/>
              <a:gd name="connsiteY2291" fmla="*/ 3190757 h 6858290"/>
              <a:gd name="connsiteX2292" fmla="*/ 4825403 w 12139750"/>
              <a:gd name="connsiteY2292" fmla="*/ 3078206 h 6858290"/>
              <a:gd name="connsiteX2293" fmla="*/ 4845141 w 12139750"/>
              <a:gd name="connsiteY2293" fmla="*/ 3075495 h 6858290"/>
              <a:gd name="connsiteX2294" fmla="*/ 1479596 w 12139750"/>
              <a:gd name="connsiteY2294" fmla="*/ 3075477 h 6858290"/>
              <a:gd name="connsiteX2295" fmla="*/ 1522429 w 12139750"/>
              <a:gd name="connsiteY2295" fmla="*/ 3110619 h 6858290"/>
              <a:gd name="connsiteX2296" fmla="*/ 1491970 w 12139750"/>
              <a:gd name="connsiteY2296" fmla="*/ 3173573 h 6858290"/>
              <a:gd name="connsiteX2297" fmla="*/ 1149308 w 12139750"/>
              <a:gd name="connsiteY2297" fmla="*/ 3286122 h 6858290"/>
              <a:gd name="connsiteX2298" fmla="*/ 1086486 w 12139750"/>
              <a:gd name="connsiteY2298" fmla="*/ 3253693 h 6858290"/>
              <a:gd name="connsiteX2299" fmla="*/ 1082679 w 12139750"/>
              <a:gd name="connsiteY2299" fmla="*/ 3238431 h 6858290"/>
              <a:gd name="connsiteX2300" fmla="*/ 1118849 w 12139750"/>
              <a:gd name="connsiteY2300" fmla="*/ 3190741 h 6858290"/>
              <a:gd name="connsiteX2301" fmla="*/ 1459607 w 12139750"/>
              <a:gd name="connsiteY2301" fmla="*/ 3078189 h 6858290"/>
              <a:gd name="connsiteX2302" fmla="*/ 1479596 w 12139750"/>
              <a:gd name="connsiteY2302" fmla="*/ 3075477 h 6858290"/>
              <a:gd name="connsiteX2303" fmla="*/ 4290284 w 12139750"/>
              <a:gd name="connsiteY2303" fmla="*/ 3070235 h 6858290"/>
              <a:gd name="connsiteX2304" fmla="*/ 4333921 w 12139750"/>
              <a:gd name="connsiteY2304" fmla="*/ 3109556 h 6858290"/>
              <a:gd name="connsiteX2305" fmla="*/ 4295846 w 12139750"/>
              <a:gd name="connsiteY2305" fmla="*/ 3176127 h 6858290"/>
              <a:gd name="connsiteX2306" fmla="*/ 3953199 w 12139750"/>
              <a:gd name="connsiteY2306" fmla="*/ 3267431 h 6858290"/>
              <a:gd name="connsiteX2307" fmla="*/ 3886567 w 12139750"/>
              <a:gd name="connsiteY2307" fmla="*/ 3229387 h 6858290"/>
              <a:gd name="connsiteX2308" fmla="*/ 3884663 w 12139750"/>
              <a:gd name="connsiteY2308" fmla="*/ 3216076 h 6858290"/>
              <a:gd name="connsiteX2309" fmla="*/ 3924644 w 12139750"/>
              <a:gd name="connsiteY2309" fmla="*/ 3164719 h 6858290"/>
              <a:gd name="connsiteX2310" fmla="*/ 4269194 w 12139750"/>
              <a:gd name="connsiteY2310" fmla="*/ 3071515 h 6858290"/>
              <a:gd name="connsiteX2311" fmla="*/ 4290284 w 12139750"/>
              <a:gd name="connsiteY2311" fmla="*/ 3070235 h 6858290"/>
              <a:gd name="connsiteX2312" fmla="*/ 2036269 w 12139750"/>
              <a:gd name="connsiteY2312" fmla="*/ 3070217 h 6858290"/>
              <a:gd name="connsiteX2313" fmla="*/ 2081548 w 12139750"/>
              <a:gd name="connsiteY2313" fmla="*/ 3109537 h 6858290"/>
              <a:gd name="connsiteX2314" fmla="*/ 2043442 w 12139750"/>
              <a:gd name="connsiteY2314" fmla="*/ 3176111 h 6858290"/>
              <a:gd name="connsiteX2315" fmla="*/ 1700538 w 12139750"/>
              <a:gd name="connsiteY2315" fmla="*/ 3267414 h 6858290"/>
              <a:gd name="connsiteX2316" fmla="*/ 1633862 w 12139750"/>
              <a:gd name="connsiteY2316" fmla="*/ 3229371 h 6858290"/>
              <a:gd name="connsiteX2317" fmla="*/ 1631957 w 12139750"/>
              <a:gd name="connsiteY2317" fmla="*/ 3216056 h 6858290"/>
              <a:gd name="connsiteX2318" fmla="*/ 1671963 w 12139750"/>
              <a:gd name="connsiteY2318" fmla="*/ 3164700 h 6858290"/>
              <a:gd name="connsiteX2319" fmla="*/ 2014867 w 12139750"/>
              <a:gd name="connsiteY2319" fmla="*/ 3071495 h 6858290"/>
              <a:gd name="connsiteX2320" fmla="*/ 2036269 w 12139750"/>
              <a:gd name="connsiteY2320" fmla="*/ 3070217 h 6858290"/>
              <a:gd name="connsiteX2321" fmla="*/ 3731231 w 12139750"/>
              <a:gd name="connsiteY2321" fmla="*/ 3064531 h 6858290"/>
              <a:gd name="connsiteX2322" fmla="*/ 3777341 w 12139750"/>
              <a:gd name="connsiteY2322" fmla="*/ 3109072 h 6858290"/>
              <a:gd name="connsiteX2323" fmla="*/ 3731587 w 12139750"/>
              <a:gd name="connsiteY2323" fmla="*/ 3177762 h 6858290"/>
              <a:gd name="connsiteX2324" fmla="*/ 3386556 w 12139750"/>
              <a:gd name="connsiteY2324" fmla="*/ 3250263 h 6858290"/>
              <a:gd name="connsiteX2325" fmla="*/ 3317928 w 12139750"/>
              <a:gd name="connsiteY2325" fmla="*/ 3204472 h 6858290"/>
              <a:gd name="connsiteX2326" fmla="*/ 3317928 w 12139750"/>
              <a:gd name="connsiteY2326" fmla="*/ 3193023 h 6858290"/>
              <a:gd name="connsiteX2327" fmla="*/ 3363681 w 12139750"/>
              <a:gd name="connsiteY2327" fmla="*/ 3135786 h 6858290"/>
              <a:gd name="connsiteX2328" fmla="*/ 3708711 w 12139750"/>
              <a:gd name="connsiteY2328" fmla="*/ 3065187 h 6858290"/>
              <a:gd name="connsiteX2329" fmla="*/ 3731231 w 12139750"/>
              <a:gd name="connsiteY2329" fmla="*/ 3064531 h 6858290"/>
              <a:gd name="connsiteX2330" fmla="*/ 2597729 w 12139750"/>
              <a:gd name="connsiteY2330" fmla="*/ 3064510 h 6858290"/>
              <a:gd name="connsiteX2331" fmla="*/ 2643839 w 12139750"/>
              <a:gd name="connsiteY2331" fmla="*/ 3109051 h 6858290"/>
              <a:gd name="connsiteX2332" fmla="*/ 2598086 w 12139750"/>
              <a:gd name="connsiteY2332" fmla="*/ 3177742 h 6858290"/>
              <a:gd name="connsiteX2333" fmla="*/ 2253042 w 12139750"/>
              <a:gd name="connsiteY2333" fmla="*/ 3250246 h 6858290"/>
              <a:gd name="connsiteX2334" fmla="*/ 2184414 w 12139750"/>
              <a:gd name="connsiteY2334" fmla="*/ 3204454 h 6858290"/>
              <a:gd name="connsiteX2335" fmla="*/ 2184414 w 12139750"/>
              <a:gd name="connsiteY2335" fmla="*/ 3193005 h 6858290"/>
              <a:gd name="connsiteX2336" fmla="*/ 2230166 w 12139750"/>
              <a:gd name="connsiteY2336" fmla="*/ 3135765 h 6858290"/>
              <a:gd name="connsiteX2337" fmla="*/ 2575210 w 12139750"/>
              <a:gd name="connsiteY2337" fmla="*/ 3065166 h 6858290"/>
              <a:gd name="connsiteX2338" fmla="*/ 2597729 w 12139750"/>
              <a:gd name="connsiteY2338" fmla="*/ 3064510 h 6858290"/>
              <a:gd name="connsiteX2339" fmla="*/ 3139000 w 12139750"/>
              <a:gd name="connsiteY2339" fmla="*/ 3058190 h 6858290"/>
              <a:gd name="connsiteX2340" fmla="*/ 3209346 w 12139750"/>
              <a:gd name="connsiteY2340" fmla="*/ 3111529 h 6858290"/>
              <a:gd name="connsiteX2341" fmla="*/ 3156114 w 12139750"/>
              <a:gd name="connsiteY2341" fmla="*/ 3180110 h 6858290"/>
              <a:gd name="connsiteX2342" fmla="*/ 2811998 w 12139750"/>
              <a:gd name="connsiteY2342" fmla="*/ 3231537 h 6858290"/>
              <a:gd name="connsiteX2343" fmla="*/ 2741652 w 12139750"/>
              <a:gd name="connsiteY2343" fmla="*/ 3180110 h 6858290"/>
              <a:gd name="connsiteX2344" fmla="*/ 2741652 w 12139750"/>
              <a:gd name="connsiteY2344" fmla="*/ 3170583 h 6858290"/>
              <a:gd name="connsiteX2345" fmla="*/ 2792987 w 12139750"/>
              <a:gd name="connsiteY2345" fmla="*/ 3109626 h 6858290"/>
              <a:gd name="connsiteX2346" fmla="*/ 3139000 w 12139750"/>
              <a:gd name="connsiteY2346" fmla="*/ 3058190 h 6858290"/>
              <a:gd name="connsiteX2347" fmla="*/ 9858218 w 12139750"/>
              <a:gd name="connsiteY2347" fmla="*/ 2803158 h 6858290"/>
              <a:gd name="connsiteX2348" fmla="*/ 9867044 w 12139750"/>
              <a:gd name="connsiteY2348" fmla="*/ 2807683 h 6858290"/>
              <a:gd name="connsiteX2349" fmla="*/ 9867044 w 12139750"/>
              <a:gd name="connsiteY2349" fmla="*/ 2826731 h 6858290"/>
              <a:gd name="connsiteX2350" fmla="*/ 9536890 w 12139750"/>
              <a:gd name="connsiteY2350" fmla="*/ 3139152 h 6858290"/>
              <a:gd name="connsiteX2351" fmla="*/ 9517806 w 12139750"/>
              <a:gd name="connsiteY2351" fmla="*/ 3139152 h 6858290"/>
              <a:gd name="connsiteX2352" fmla="*/ 9513989 w 12139750"/>
              <a:gd name="connsiteY2352" fmla="*/ 3129628 h 6858290"/>
              <a:gd name="connsiteX2353" fmla="*/ 9519714 w 12139750"/>
              <a:gd name="connsiteY2353" fmla="*/ 3120101 h 6858290"/>
              <a:gd name="connsiteX2354" fmla="*/ 9847960 w 12139750"/>
              <a:gd name="connsiteY2354" fmla="*/ 2805777 h 6858290"/>
              <a:gd name="connsiteX2355" fmla="*/ 9858218 w 12139750"/>
              <a:gd name="connsiteY2355" fmla="*/ 2803158 h 6858290"/>
              <a:gd name="connsiteX2356" fmla="*/ 9280452 w 12139750"/>
              <a:gd name="connsiteY2356" fmla="*/ 2798866 h 6858290"/>
              <a:gd name="connsiteX2357" fmla="*/ 9292080 w 12139750"/>
              <a:gd name="connsiteY2357" fmla="*/ 2804804 h 6858290"/>
              <a:gd name="connsiteX2358" fmla="*/ 9290182 w 12139750"/>
              <a:gd name="connsiteY2358" fmla="*/ 2829495 h 6858290"/>
              <a:gd name="connsiteX2359" fmla="*/ 8961745 w 12139750"/>
              <a:gd name="connsiteY2359" fmla="*/ 3118217 h 6858290"/>
              <a:gd name="connsiteX2360" fmla="*/ 8937064 w 12139750"/>
              <a:gd name="connsiteY2360" fmla="*/ 3116319 h 6858290"/>
              <a:gd name="connsiteX2361" fmla="*/ 8931369 w 12139750"/>
              <a:gd name="connsiteY2361" fmla="*/ 3104922 h 6858290"/>
              <a:gd name="connsiteX2362" fmla="*/ 8937064 w 12139750"/>
              <a:gd name="connsiteY2362" fmla="*/ 3091625 h 6858290"/>
              <a:gd name="connsiteX2363" fmla="*/ 9267400 w 12139750"/>
              <a:gd name="connsiteY2363" fmla="*/ 2802904 h 6858290"/>
              <a:gd name="connsiteX2364" fmla="*/ 9280452 w 12139750"/>
              <a:gd name="connsiteY2364" fmla="*/ 2798866 h 6858290"/>
              <a:gd name="connsiteX2365" fmla="*/ 10442418 w 12139750"/>
              <a:gd name="connsiteY2365" fmla="*/ 2798842 h 6858290"/>
              <a:gd name="connsiteX2366" fmla="*/ 10454106 w 12139750"/>
              <a:gd name="connsiteY2366" fmla="*/ 2804777 h 6858290"/>
              <a:gd name="connsiteX2367" fmla="*/ 10454106 w 12139750"/>
              <a:gd name="connsiteY2367" fmla="*/ 2829471 h 6858290"/>
              <a:gd name="connsiteX2368" fmla="*/ 10122059 w 12139750"/>
              <a:gd name="connsiteY2368" fmla="*/ 3118194 h 6858290"/>
              <a:gd name="connsiteX2369" fmla="*/ 10097251 w 12139750"/>
              <a:gd name="connsiteY2369" fmla="*/ 3116295 h 6858290"/>
              <a:gd name="connsiteX2370" fmla="*/ 10093434 w 12139750"/>
              <a:gd name="connsiteY2370" fmla="*/ 3104898 h 6858290"/>
              <a:gd name="connsiteX2371" fmla="*/ 10099159 w 12139750"/>
              <a:gd name="connsiteY2371" fmla="*/ 3091603 h 6858290"/>
              <a:gd name="connsiteX2372" fmla="*/ 10429298 w 12139750"/>
              <a:gd name="connsiteY2372" fmla="*/ 2802878 h 6858290"/>
              <a:gd name="connsiteX2373" fmla="*/ 10442418 w 12139750"/>
              <a:gd name="connsiteY2373" fmla="*/ 2798842 h 6858290"/>
              <a:gd name="connsiteX2374" fmla="*/ 8710745 w 12139750"/>
              <a:gd name="connsiteY2374" fmla="*/ 2792356 h 6858290"/>
              <a:gd name="connsiteX2375" fmla="*/ 8725295 w 12139750"/>
              <a:gd name="connsiteY2375" fmla="*/ 2800675 h 6858290"/>
              <a:gd name="connsiteX2376" fmla="*/ 8723387 w 12139750"/>
              <a:gd name="connsiteY2376" fmla="*/ 2831093 h 6858290"/>
              <a:gd name="connsiteX2377" fmla="*/ 8389446 w 12139750"/>
              <a:gd name="connsiteY2377" fmla="*/ 3099164 h 6858290"/>
              <a:gd name="connsiteX2378" fmla="*/ 8358914 w 12139750"/>
              <a:gd name="connsiteY2378" fmla="*/ 3095358 h 6858290"/>
              <a:gd name="connsiteX2379" fmla="*/ 8355098 w 12139750"/>
              <a:gd name="connsiteY2379" fmla="*/ 3082053 h 6858290"/>
              <a:gd name="connsiteX2380" fmla="*/ 8362731 w 12139750"/>
              <a:gd name="connsiteY2380" fmla="*/ 3064941 h 6858290"/>
              <a:gd name="connsiteX2381" fmla="*/ 8694763 w 12139750"/>
              <a:gd name="connsiteY2381" fmla="*/ 2796872 h 6858290"/>
              <a:gd name="connsiteX2382" fmla="*/ 8710745 w 12139750"/>
              <a:gd name="connsiteY2382" fmla="*/ 2792356 h 6858290"/>
              <a:gd name="connsiteX2383" fmla="*/ 11020609 w 12139750"/>
              <a:gd name="connsiteY2383" fmla="*/ 2792330 h 6858290"/>
              <a:gd name="connsiteX2384" fmla="*/ 11035147 w 12139750"/>
              <a:gd name="connsiteY2384" fmla="*/ 2800648 h 6858290"/>
              <a:gd name="connsiteX2385" fmla="*/ 11031333 w 12139750"/>
              <a:gd name="connsiteY2385" fmla="*/ 2831067 h 6858290"/>
              <a:gd name="connsiteX2386" fmla="*/ 10699581 w 12139750"/>
              <a:gd name="connsiteY2386" fmla="*/ 3099136 h 6858290"/>
              <a:gd name="connsiteX2387" fmla="*/ 10669075 w 12139750"/>
              <a:gd name="connsiteY2387" fmla="*/ 3095334 h 6858290"/>
              <a:gd name="connsiteX2388" fmla="*/ 10663355 w 12139750"/>
              <a:gd name="connsiteY2388" fmla="*/ 3082025 h 6858290"/>
              <a:gd name="connsiteX2389" fmla="*/ 10672888 w 12139750"/>
              <a:gd name="connsiteY2389" fmla="*/ 3064914 h 6858290"/>
              <a:gd name="connsiteX2390" fmla="*/ 11004641 w 12139750"/>
              <a:gd name="connsiteY2390" fmla="*/ 2796846 h 6858290"/>
              <a:gd name="connsiteX2391" fmla="*/ 11020609 w 12139750"/>
              <a:gd name="connsiteY2391" fmla="*/ 2792330 h 6858290"/>
              <a:gd name="connsiteX2392" fmla="*/ 8147926 w 12139750"/>
              <a:gd name="connsiteY2392" fmla="*/ 2787441 h 6858290"/>
              <a:gd name="connsiteX2393" fmla="*/ 8164595 w 12139750"/>
              <a:gd name="connsiteY2393" fmla="*/ 2798157 h 6858290"/>
              <a:gd name="connsiteX2394" fmla="*/ 8158880 w 12139750"/>
              <a:gd name="connsiteY2394" fmla="*/ 2834352 h 6858290"/>
              <a:gd name="connsiteX2395" fmla="*/ 7825500 w 12139750"/>
              <a:gd name="connsiteY2395" fmla="*/ 3078192 h 6858290"/>
              <a:gd name="connsiteX2396" fmla="*/ 7789305 w 12139750"/>
              <a:gd name="connsiteY2396" fmla="*/ 3072478 h 6858290"/>
              <a:gd name="connsiteX2397" fmla="*/ 7783590 w 12139750"/>
              <a:gd name="connsiteY2397" fmla="*/ 3057236 h 6858290"/>
              <a:gd name="connsiteX2398" fmla="*/ 7795020 w 12139750"/>
              <a:gd name="connsiteY2398" fmla="*/ 3036282 h 6858290"/>
              <a:gd name="connsiteX2399" fmla="*/ 8128399 w 12139750"/>
              <a:gd name="connsiteY2399" fmla="*/ 2792440 h 6858290"/>
              <a:gd name="connsiteX2400" fmla="*/ 8147926 w 12139750"/>
              <a:gd name="connsiteY2400" fmla="*/ 2787441 h 6858290"/>
              <a:gd name="connsiteX2401" fmla="*/ 11592432 w 12139750"/>
              <a:gd name="connsiteY2401" fmla="*/ 2787434 h 6858290"/>
              <a:gd name="connsiteX2402" fmla="*/ 11609830 w 12139750"/>
              <a:gd name="connsiteY2402" fmla="*/ 2798149 h 6858290"/>
              <a:gd name="connsiteX2403" fmla="*/ 11604110 w 12139750"/>
              <a:gd name="connsiteY2403" fmla="*/ 2834343 h 6858290"/>
              <a:gd name="connsiteX2404" fmla="*/ 11270458 w 12139750"/>
              <a:gd name="connsiteY2404" fmla="*/ 3078185 h 6858290"/>
              <a:gd name="connsiteX2405" fmla="*/ 11234233 w 12139750"/>
              <a:gd name="connsiteY2405" fmla="*/ 3072469 h 6858290"/>
              <a:gd name="connsiteX2406" fmla="*/ 11228513 w 12139750"/>
              <a:gd name="connsiteY2406" fmla="*/ 3057229 h 6858290"/>
              <a:gd name="connsiteX2407" fmla="*/ 11238046 w 12139750"/>
              <a:gd name="connsiteY2407" fmla="*/ 3036275 h 6858290"/>
              <a:gd name="connsiteX2408" fmla="*/ 11573605 w 12139750"/>
              <a:gd name="connsiteY2408" fmla="*/ 2792433 h 6858290"/>
              <a:gd name="connsiteX2409" fmla="*/ 11592432 w 12139750"/>
              <a:gd name="connsiteY2409" fmla="*/ 2787434 h 6858290"/>
              <a:gd name="connsiteX2410" fmla="*/ 12139750 w 12139750"/>
              <a:gd name="connsiteY2410" fmla="*/ 2786083 h 6858290"/>
              <a:gd name="connsiteX2411" fmla="*/ 12139750 w 12139750"/>
              <a:gd name="connsiteY2411" fmla="*/ 2858148 h 6858290"/>
              <a:gd name="connsiteX2412" fmla="*/ 11834946 w 12139750"/>
              <a:gd name="connsiteY2412" fmla="*/ 3059175 h 6858290"/>
              <a:gd name="connsiteX2413" fmla="*/ 11793035 w 12139750"/>
              <a:gd name="connsiteY2413" fmla="*/ 3049691 h 6858290"/>
              <a:gd name="connsiteX2414" fmla="*/ 11787320 w 12139750"/>
              <a:gd name="connsiteY2414" fmla="*/ 3032623 h 6858290"/>
              <a:gd name="connsiteX2415" fmla="*/ 11800655 w 12139750"/>
              <a:gd name="connsiteY2415" fmla="*/ 3007970 h 6858290"/>
              <a:gd name="connsiteX2416" fmla="*/ 12135940 w 12139750"/>
              <a:gd name="connsiteY2416" fmla="*/ 2787978 h 6858290"/>
              <a:gd name="connsiteX2417" fmla="*/ 12139750 w 12139750"/>
              <a:gd name="connsiteY2417" fmla="*/ 2786083 h 6858290"/>
              <a:gd name="connsiteX2418" fmla="*/ 7592452 w 12139750"/>
              <a:gd name="connsiteY2418" fmla="*/ 2782900 h 6858290"/>
              <a:gd name="connsiteX2419" fmla="*/ 7610550 w 12139750"/>
              <a:gd name="connsiteY2419" fmla="*/ 2795241 h 6858290"/>
              <a:gd name="connsiteX2420" fmla="*/ 7602930 w 12139750"/>
              <a:gd name="connsiteY2420" fmla="*/ 2837016 h 6858290"/>
              <a:gd name="connsiteX2421" fmla="*/ 7267645 w 12139750"/>
              <a:gd name="connsiteY2421" fmla="*/ 3059173 h 6858290"/>
              <a:gd name="connsiteX2422" fmla="*/ 7225735 w 12139750"/>
              <a:gd name="connsiteY2422" fmla="*/ 3049680 h 6858290"/>
              <a:gd name="connsiteX2423" fmla="*/ 7220020 w 12139750"/>
              <a:gd name="connsiteY2423" fmla="*/ 3032591 h 6858290"/>
              <a:gd name="connsiteX2424" fmla="*/ 7233355 w 12139750"/>
              <a:gd name="connsiteY2424" fmla="*/ 3007907 h 6858290"/>
              <a:gd name="connsiteX2425" fmla="*/ 7568639 w 12139750"/>
              <a:gd name="connsiteY2425" fmla="*/ 2787648 h 6858290"/>
              <a:gd name="connsiteX2426" fmla="*/ 7592452 w 12139750"/>
              <a:gd name="connsiteY2426" fmla="*/ 2782900 h 6858290"/>
              <a:gd name="connsiteX2427" fmla="*/ 7041900 w 12139750"/>
              <a:gd name="connsiteY2427" fmla="*/ 2777758 h 6858290"/>
              <a:gd name="connsiteX2428" fmla="*/ 7062856 w 12139750"/>
              <a:gd name="connsiteY2428" fmla="*/ 2792757 h 6858290"/>
              <a:gd name="connsiteX2429" fmla="*/ 7051425 w 12139750"/>
              <a:gd name="connsiteY2429" fmla="*/ 2840384 h 6858290"/>
              <a:gd name="connsiteX2430" fmla="*/ 6714236 w 12139750"/>
              <a:gd name="connsiteY2430" fmla="*/ 3038503 h 6858290"/>
              <a:gd name="connsiteX2431" fmla="*/ 6666610 w 12139750"/>
              <a:gd name="connsiteY2431" fmla="*/ 3027077 h 6858290"/>
              <a:gd name="connsiteX2432" fmla="*/ 6662800 w 12139750"/>
              <a:gd name="connsiteY2432" fmla="*/ 3009931 h 6858290"/>
              <a:gd name="connsiteX2433" fmla="*/ 6679945 w 12139750"/>
              <a:gd name="connsiteY2433" fmla="*/ 2979450 h 6858290"/>
              <a:gd name="connsiteX2434" fmla="*/ 7015230 w 12139750"/>
              <a:gd name="connsiteY2434" fmla="*/ 2781330 h 6858290"/>
              <a:gd name="connsiteX2435" fmla="*/ 7041900 w 12139750"/>
              <a:gd name="connsiteY2435" fmla="*/ 2777758 h 6858290"/>
              <a:gd name="connsiteX2436" fmla="*/ 6499388 w 12139750"/>
              <a:gd name="connsiteY2436" fmla="*/ 2774400 h 6858290"/>
              <a:gd name="connsiteX2437" fmla="*/ 6521517 w 12139750"/>
              <a:gd name="connsiteY2437" fmla="*/ 2793615 h 6858290"/>
              <a:gd name="connsiteX2438" fmla="*/ 6506288 w 12139750"/>
              <a:gd name="connsiteY2438" fmla="*/ 2844865 h 6858290"/>
              <a:gd name="connsiteX2439" fmla="*/ 6167449 w 12139750"/>
              <a:gd name="connsiteY2439" fmla="*/ 3019490 h 6858290"/>
              <a:gd name="connsiteX2440" fmla="*/ 6116053 w 12139750"/>
              <a:gd name="connsiteY2440" fmla="*/ 3002408 h 6858290"/>
              <a:gd name="connsiteX2441" fmla="*/ 6110342 w 12139750"/>
              <a:gd name="connsiteY2441" fmla="*/ 2985324 h 6858290"/>
              <a:gd name="connsiteX2442" fmla="*/ 6131281 w 12139750"/>
              <a:gd name="connsiteY2442" fmla="*/ 2951160 h 6858290"/>
              <a:gd name="connsiteX2443" fmla="*/ 6470120 w 12139750"/>
              <a:gd name="connsiteY2443" fmla="*/ 2776533 h 6858290"/>
              <a:gd name="connsiteX2444" fmla="*/ 6499388 w 12139750"/>
              <a:gd name="connsiteY2444" fmla="*/ 2774400 h 6858290"/>
              <a:gd name="connsiteX2445" fmla="*/ 5959672 w 12139750"/>
              <a:gd name="connsiteY2445" fmla="*/ 2769256 h 6858290"/>
              <a:gd name="connsiteX2446" fmla="*/ 5983314 w 12139750"/>
              <a:gd name="connsiteY2446" fmla="*/ 2791133 h 6858290"/>
              <a:gd name="connsiteX2447" fmla="*/ 5962297 w 12139750"/>
              <a:gd name="connsiteY2447" fmla="*/ 2848210 h 6858290"/>
              <a:gd name="connsiteX2448" fmla="*/ 5620300 w 12139750"/>
              <a:gd name="connsiteY2448" fmla="*/ 3000418 h 6858290"/>
              <a:gd name="connsiteX2449" fmla="*/ 5564892 w 12139750"/>
              <a:gd name="connsiteY2449" fmla="*/ 2979489 h 6858290"/>
              <a:gd name="connsiteX2450" fmla="*/ 5561071 w 12139750"/>
              <a:gd name="connsiteY2450" fmla="*/ 2960466 h 6858290"/>
              <a:gd name="connsiteX2451" fmla="*/ 5585909 w 12139750"/>
              <a:gd name="connsiteY2451" fmla="*/ 2922412 h 6858290"/>
              <a:gd name="connsiteX2452" fmla="*/ 5925997 w 12139750"/>
              <a:gd name="connsiteY2452" fmla="*/ 2770208 h 6858290"/>
              <a:gd name="connsiteX2453" fmla="*/ 5959672 w 12139750"/>
              <a:gd name="connsiteY2453" fmla="*/ 2769256 h 6858290"/>
              <a:gd name="connsiteX2454" fmla="*/ 399603 w 12139750"/>
              <a:gd name="connsiteY2454" fmla="*/ 2769241 h 6858290"/>
              <a:gd name="connsiteX2455" fmla="*/ 423874 w 12139750"/>
              <a:gd name="connsiteY2455" fmla="*/ 2791121 h 6858290"/>
              <a:gd name="connsiteX2456" fmla="*/ 401030 w 12139750"/>
              <a:gd name="connsiteY2456" fmla="*/ 2848199 h 6858290"/>
              <a:gd name="connsiteX2457" fmla="*/ 62187 w 12139750"/>
              <a:gd name="connsiteY2457" fmla="*/ 3000404 h 6858290"/>
              <a:gd name="connsiteX2458" fmla="*/ 6982 w 12139750"/>
              <a:gd name="connsiteY2458" fmla="*/ 2979476 h 6858290"/>
              <a:gd name="connsiteX2459" fmla="*/ 3175 w 12139750"/>
              <a:gd name="connsiteY2459" fmla="*/ 2960451 h 6858290"/>
              <a:gd name="connsiteX2460" fmla="*/ 27922 w 12139750"/>
              <a:gd name="connsiteY2460" fmla="*/ 2922399 h 6858290"/>
              <a:gd name="connsiteX2461" fmla="*/ 366765 w 12139750"/>
              <a:gd name="connsiteY2461" fmla="*/ 2770194 h 6858290"/>
              <a:gd name="connsiteX2462" fmla="*/ 399603 w 12139750"/>
              <a:gd name="connsiteY2462" fmla="*/ 2769241 h 6858290"/>
              <a:gd name="connsiteX2463" fmla="*/ 5396030 w 12139750"/>
              <a:gd name="connsiteY2463" fmla="*/ 2760546 h 6858290"/>
              <a:gd name="connsiteX2464" fmla="*/ 5437255 w 12139750"/>
              <a:gd name="connsiteY2464" fmla="*/ 2790586 h 6858290"/>
              <a:gd name="connsiteX2465" fmla="*/ 5410604 w 12139750"/>
              <a:gd name="connsiteY2465" fmla="*/ 2851628 h 6858290"/>
              <a:gd name="connsiteX2466" fmla="*/ 5069848 w 12139750"/>
              <a:gd name="connsiteY2466" fmla="*/ 2981344 h 6858290"/>
              <a:gd name="connsiteX2467" fmla="*/ 5008939 w 12139750"/>
              <a:gd name="connsiteY2467" fmla="*/ 2954638 h 6858290"/>
              <a:gd name="connsiteX2468" fmla="*/ 5007036 w 12139750"/>
              <a:gd name="connsiteY2468" fmla="*/ 2937469 h 6858290"/>
              <a:gd name="connsiteX2469" fmla="*/ 5037490 w 12139750"/>
              <a:gd name="connsiteY2469" fmla="*/ 2893596 h 6858290"/>
              <a:gd name="connsiteX2470" fmla="*/ 5378244 w 12139750"/>
              <a:gd name="connsiteY2470" fmla="*/ 2763882 h 6858290"/>
              <a:gd name="connsiteX2471" fmla="*/ 5396030 w 12139750"/>
              <a:gd name="connsiteY2471" fmla="*/ 2760546 h 6858290"/>
              <a:gd name="connsiteX2472" fmla="*/ 930706 w 12139750"/>
              <a:gd name="connsiteY2472" fmla="*/ 2760528 h 6858290"/>
              <a:gd name="connsiteX2473" fmla="*/ 973124 w 12139750"/>
              <a:gd name="connsiteY2473" fmla="*/ 2790570 h 6858290"/>
              <a:gd name="connsiteX2474" fmla="*/ 946396 w 12139750"/>
              <a:gd name="connsiteY2474" fmla="*/ 2851614 h 6858290"/>
              <a:gd name="connsiteX2475" fmla="*/ 604662 w 12139750"/>
              <a:gd name="connsiteY2475" fmla="*/ 2981328 h 6858290"/>
              <a:gd name="connsiteX2476" fmla="*/ 543570 w 12139750"/>
              <a:gd name="connsiteY2476" fmla="*/ 2954621 h 6858290"/>
              <a:gd name="connsiteX2477" fmla="*/ 539752 w 12139750"/>
              <a:gd name="connsiteY2477" fmla="*/ 2937453 h 6858290"/>
              <a:gd name="connsiteX2478" fmla="*/ 570298 w 12139750"/>
              <a:gd name="connsiteY2478" fmla="*/ 2893580 h 6858290"/>
              <a:gd name="connsiteX2479" fmla="*/ 912032 w 12139750"/>
              <a:gd name="connsiteY2479" fmla="*/ 2763867 h 6858290"/>
              <a:gd name="connsiteX2480" fmla="*/ 930706 w 12139750"/>
              <a:gd name="connsiteY2480" fmla="*/ 2760528 h 6858290"/>
              <a:gd name="connsiteX2481" fmla="*/ 4845194 w 12139750"/>
              <a:gd name="connsiteY2481" fmla="*/ 2755586 h 6858290"/>
              <a:gd name="connsiteX2482" fmla="*/ 4889877 w 12139750"/>
              <a:gd name="connsiteY2482" fmla="*/ 2791428 h 6858290"/>
              <a:gd name="connsiteX2483" fmla="*/ 4855631 w 12139750"/>
              <a:gd name="connsiteY2483" fmla="*/ 2856106 h 6858290"/>
              <a:gd name="connsiteX2484" fmla="*/ 4513213 w 12139750"/>
              <a:gd name="connsiteY2484" fmla="*/ 2962635 h 6858290"/>
              <a:gd name="connsiteX2485" fmla="*/ 4448533 w 12139750"/>
              <a:gd name="connsiteY2485" fmla="*/ 2928394 h 6858290"/>
              <a:gd name="connsiteX2486" fmla="*/ 4446631 w 12139750"/>
              <a:gd name="connsiteY2486" fmla="*/ 2913176 h 6858290"/>
              <a:gd name="connsiteX2487" fmla="*/ 4482777 w 12139750"/>
              <a:gd name="connsiteY2487" fmla="*/ 2863715 h 6858290"/>
              <a:gd name="connsiteX2488" fmla="*/ 4825187 w 12139750"/>
              <a:gd name="connsiteY2488" fmla="*/ 2757192 h 6858290"/>
              <a:gd name="connsiteX2489" fmla="*/ 4845194 w 12139750"/>
              <a:gd name="connsiteY2489" fmla="*/ 2755586 h 6858290"/>
              <a:gd name="connsiteX2490" fmla="*/ 1482623 w 12139750"/>
              <a:gd name="connsiteY2490" fmla="*/ 2755567 h 6858290"/>
              <a:gd name="connsiteX2491" fmla="*/ 1525577 w 12139750"/>
              <a:gd name="connsiteY2491" fmla="*/ 2791412 h 6858290"/>
              <a:gd name="connsiteX2492" fmla="*/ 1493123 w 12139750"/>
              <a:gd name="connsiteY2492" fmla="*/ 2856090 h 6858290"/>
              <a:gd name="connsiteX2493" fmla="*/ 1149495 w 12139750"/>
              <a:gd name="connsiteY2493" fmla="*/ 2962617 h 6858290"/>
              <a:gd name="connsiteX2494" fmla="*/ 1084588 w 12139750"/>
              <a:gd name="connsiteY2494" fmla="*/ 2928375 h 6858290"/>
              <a:gd name="connsiteX2495" fmla="*/ 1082679 w 12139750"/>
              <a:gd name="connsiteY2495" fmla="*/ 2913158 h 6858290"/>
              <a:gd name="connsiteX2496" fmla="*/ 1118950 w 12139750"/>
              <a:gd name="connsiteY2496" fmla="*/ 2863698 h 6858290"/>
              <a:gd name="connsiteX2497" fmla="*/ 1462578 w 12139750"/>
              <a:gd name="connsiteY2497" fmla="*/ 2757173 h 6858290"/>
              <a:gd name="connsiteX2498" fmla="*/ 1482623 w 12139750"/>
              <a:gd name="connsiteY2498" fmla="*/ 2755567 h 6858290"/>
              <a:gd name="connsiteX2499" fmla="*/ 4291651 w 12139750"/>
              <a:gd name="connsiteY2499" fmla="*/ 2750401 h 6858290"/>
              <a:gd name="connsiteX2500" fmla="*/ 4335825 w 12139750"/>
              <a:gd name="connsiteY2500" fmla="*/ 2792587 h 6858290"/>
              <a:gd name="connsiteX2501" fmla="*/ 4295846 w 12139750"/>
              <a:gd name="connsiteY2501" fmla="*/ 2859470 h 6858290"/>
              <a:gd name="connsiteX2502" fmla="*/ 3953199 w 12139750"/>
              <a:gd name="connsiteY2502" fmla="*/ 2943550 h 6858290"/>
              <a:gd name="connsiteX2503" fmla="*/ 3884663 w 12139750"/>
              <a:gd name="connsiteY2503" fmla="*/ 2901512 h 6858290"/>
              <a:gd name="connsiteX2504" fmla="*/ 3884663 w 12139750"/>
              <a:gd name="connsiteY2504" fmla="*/ 2888136 h 6858290"/>
              <a:gd name="connsiteX2505" fmla="*/ 3926546 w 12139750"/>
              <a:gd name="connsiteY2505" fmla="*/ 2834629 h 6858290"/>
              <a:gd name="connsiteX2506" fmla="*/ 4269194 w 12139750"/>
              <a:gd name="connsiteY2506" fmla="*/ 2750551 h 6858290"/>
              <a:gd name="connsiteX2507" fmla="*/ 4291651 w 12139750"/>
              <a:gd name="connsiteY2507" fmla="*/ 2750401 h 6858290"/>
              <a:gd name="connsiteX2508" fmla="*/ 2037928 w 12139750"/>
              <a:gd name="connsiteY2508" fmla="*/ 2750381 h 6858290"/>
              <a:gd name="connsiteX2509" fmla="*/ 2083145 w 12139750"/>
              <a:gd name="connsiteY2509" fmla="*/ 2792570 h 6858290"/>
              <a:gd name="connsiteX2510" fmla="*/ 2043190 w 12139750"/>
              <a:gd name="connsiteY2510" fmla="*/ 2859451 h 6858290"/>
              <a:gd name="connsiteX2511" fmla="*/ 1698856 w 12139750"/>
              <a:gd name="connsiteY2511" fmla="*/ 2943529 h 6858290"/>
              <a:gd name="connsiteX2512" fmla="*/ 1632272 w 12139750"/>
              <a:gd name="connsiteY2512" fmla="*/ 2901491 h 6858290"/>
              <a:gd name="connsiteX2513" fmla="*/ 1630369 w 12139750"/>
              <a:gd name="connsiteY2513" fmla="*/ 2888114 h 6858290"/>
              <a:gd name="connsiteX2514" fmla="*/ 1672222 w 12139750"/>
              <a:gd name="connsiteY2514" fmla="*/ 2834609 h 6858290"/>
              <a:gd name="connsiteX2515" fmla="*/ 2016556 w 12139750"/>
              <a:gd name="connsiteY2515" fmla="*/ 2750531 h 6858290"/>
              <a:gd name="connsiteX2516" fmla="*/ 2037928 w 12139750"/>
              <a:gd name="connsiteY2516" fmla="*/ 2750381 h 6858290"/>
              <a:gd name="connsiteX2517" fmla="*/ 3710449 w 12139750"/>
              <a:gd name="connsiteY2517" fmla="*/ 2745770 h 6858290"/>
              <a:gd name="connsiteX2518" fmla="*/ 3778940 w 12139750"/>
              <a:gd name="connsiteY2518" fmla="*/ 2795297 h 6858290"/>
              <a:gd name="connsiteX2519" fmla="*/ 3731377 w 12139750"/>
              <a:gd name="connsiteY2519" fmla="*/ 2863880 h 6858290"/>
              <a:gd name="connsiteX2520" fmla="*/ 3385144 w 12139750"/>
              <a:gd name="connsiteY2520" fmla="*/ 2924842 h 6858290"/>
              <a:gd name="connsiteX2521" fmla="*/ 3316656 w 12139750"/>
              <a:gd name="connsiteY2521" fmla="*/ 2875310 h 6858290"/>
              <a:gd name="connsiteX2522" fmla="*/ 3314753 w 12139750"/>
              <a:gd name="connsiteY2522" fmla="*/ 2865784 h 6858290"/>
              <a:gd name="connsiteX2523" fmla="*/ 3364218 w 12139750"/>
              <a:gd name="connsiteY2523" fmla="*/ 2806729 h 6858290"/>
              <a:gd name="connsiteX2524" fmla="*/ 3710449 w 12139750"/>
              <a:gd name="connsiteY2524" fmla="*/ 2745770 h 6858290"/>
              <a:gd name="connsiteX2525" fmla="*/ 2576948 w 12139750"/>
              <a:gd name="connsiteY2525" fmla="*/ 2745748 h 6858290"/>
              <a:gd name="connsiteX2526" fmla="*/ 2645436 w 12139750"/>
              <a:gd name="connsiteY2526" fmla="*/ 2795278 h 6858290"/>
              <a:gd name="connsiteX2527" fmla="*/ 2595972 w 12139750"/>
              <a:gd name="connsiteY2527" fmla="*/ 2863857 h 6858290"/>
              <a:gd name="connsiteX2528" fmla="*/ 2251629 w 12139750"/>
              <a:gd name="connsiteY2528" fmla="*/ 2924818 h 6858290"/>
              <a:gd name="connsiteX2529" fmla="*/ 2183141 w 12139750"/>
              <a:gd name="connsiteY2529" fmla="*/ 2875287 h 6858290"/>
              <a:gd name="connsiteX2530" fmla="*/ 2181239 w 12139750"/>
              <a:gd name="connsiteY2530" fmla="*/ 2865763 h 6858290"/>
              <a:gd name="connsiteX2531" fmla="*/ 2230702 w 12139750"/>
              <a:gd name="connsiteY2531" fmla="*/ 2806708 h 6858290"/>
              <a:gd name="connsiteX2532" fmla="*/ 2576948 w 12139750"/>
              <a:gd name="connsiteY2532" fmla="*/ 2745748 h 6858290"/>
              <a:gd name="connsiteX2533" fmla="*/ 3140489 w 12139750"/>
              <a:gd name="connsiteY2533" fmla="*/ 2739132 h 6858290"/>
              <a:gd name="connsiteX2534" fmla="*/ 3210928 w 12139750"/>
              <a:gd name="connsiteY2534" fmla="*/ 2796698 h 6858290"/>
              <a:gd name="connsiteX2535" fmla="*/ 3153815 w 12139750"/>
              <a:gd name="connsiteY2535" fmla="*/ 2867700 h 6858290"/>
              <a:gd name="connsiteX2536" fmla="*/ 2807330 w 12139750"/>
              <a:gd name="connsiteY2536" fmla="*/ 2906081 h 6858290"/>
              <a:gd name="connsiteX2537" fmla="*/ 2736892 w 12139750"/>
              <a:gd name="connsiteY2537" fmla="*/ 2848510 h 6858290"/>
              <a:gd name="connsiteX2538" fmla="*/ 2736892 w 12139750"/>
              <a:gd name="connsiteY2538" fmla="*/ 2840833 h 6858290"/>
              <a:gd name="connsiteX2539" fmla="*/ 2794004 w 12139750"/>
              <a:gd name="connsiteY2539" fmla="*/ 2777510 h 6858290"/>
              <a:gd name="connsiteX2540" fmla="*/ 3140489 w 12139750"/>
              <a:gd name="connsiteY2540" fmla="*/ 2739132 h 6858290"/>
              <a:gd name="connsiteX2541" fmla="*/ 9848939 w 12139750"/>
              <a:gd name="connsiteY2541" fmla="*/ 2478758 h 6858290"/>
              <a:gd name="connsiteX2542" fmla="*/ 9864193 w 12139750"/>
              <a:gd name="connsiteY2542" fmla="*/ 2478758 h 6858290"/>
              <a:gd name="connsiteX2543" fmla="*/ 9864193 w 12139750"/>
              <a:gd name="connsiteY2543" fmla="*/ 2494003 h 6858290"/>
              <a:gd name="connsiteX2544" fmla="*/ 9536231 w 12139750"/>
              <a:gd name="connsiteY2544" fmla="*/ 2823558 h 6858290"/>
              <a:gd name="connsiteX2545" fmla="*/ 9520977 w 12139750"/>
              <a:gd name="connsiteY2545" fmla="*/ 2823558 h 6858290"/>
              <a:gd name="connsiteX2546" fmla="*/ 9517164 w 12139750"/>
              <a:gd name="connsiteY2546" fmla="*/ 2815937 h 6858290"/>
              <a:gd name="connsiteX2547" fmla="*/ 9520977 w 12139750"/>
              <a:gd name="connsiteY2547" fmla="*/ 2808317 h 6858290"/>
              <a:gd name="connsiteX2548" fmla="*/ 9848939 w 12139750"/>
              <a:gd name="connsiteY2548" fmla="*/ 2478758 h 6858290"/>
              <a:gd name="connsiteX2549" fmla="*/ 9280068 w 12139750"/>
              <a:gd name="connsiteY2549" fmla="*/ 2470987 h 6858290"/>
              <a:gd name="connsiteX2550" fmla="*/ 9290784 w 12139750"/>
              <a:gd name="connsiteY2550" fmla="*/ 2476239 h 6858290"/>
              <a:gd name="connsiteX2551" fmla="*/ 9288879 w 12139750"/>
              <a:gd name="connsiteY2551" fmla="*/ 2497260 h 6858290"/>
              <a:gd name="connsiteX2552" fmla="*/ 8959309 w 12139750"/>
              <a:gd name="connsiteY2552" fmla="*/ 2800997 h 6858290"/>
              <a:gd name="connsiteX2553" fmla="*/ 8938354 w 12139750"/>
              <a:gd name="connsiteY2553" fmla="*/ 2800997 h 6858290"/>
              <a:gd name="connsiteX2554" fmla="*/ 8934544 w 12139750"/>
              <a:gd name="connsiteY2554" fmla="*/ 2789535 h 6858290"/>
              <a:gd name="connsiteX2555" fmla="*/ 8938354 w 12139750"/>
              <a:gd name="connsiteY2555" fmla="*/ 2778073 h 6858290"/>
              <a:gd name="connsiteX2556" fmla="*/ 9267924 w 12139750"/>
              <a:gd name="connsiteY2556" fmla="*/ 2474329 h 6858290"/>
              <a:gd name="connsiteX2557" fmla="*/ 9280068 w 12139750"/>
              <a:gd name="connsiteY2557" fmla="*/ 2470987 h 6858290"/>
              <a:gd name="connsiteX2558" fmla="*/ 10440785 w 12139750"/>
              <a:gd name="connsiteY2558" fmla="*/ 2470956 h 6858290"/>
              <a:gd name="connsiteX2559" fmla="*/ 10451262 w 12139750"/>
              <a:gd name="connsiteY2559" fmla="*/ 2476209 h 6858290"/>
              <a:gd name="connsiteX2560" fmla="*/ 10451262 w 12139750"/>
              <a:gd name="connsiteY2560" fmla="*/ 2497223 h 6858290"/>
              <a:gd name="connsiteX2561" fmla="*/ 10121692 w 12139750"/>
              <a:gd name="connsiteY2561" fmla="*/ 2800974 h 6858290"/>
              <a:gd name="connsiteX2562" fmla="*/ 10098832 w 12139750"/>
              <a:gd name="connsiteY2562" fmla="*/ 2800974 h 6858290"/>
              <a:gd name="connsiteX2563" fmla="*/ 10095022 w 12139750"/>
              <a:gd name="connsiteY2563" fmla="*/ 2789511 h 6858290"/>
              <a:gd name="connsiteX2564" fmla="*/ 10100737 w 12139750"/>
              <a:gd name="connsiteY2564" fmla="*/ 2778049 h 6858290"/>
              <a:gd name="connsiteX2565" fmla="*/ 10430307 w 12139750"/>
              <a:gd name="connsiteY2565" fmla="*/ 2474298 h 6858290"/>
              <a:gd name="connsiteX2566" fmla="*/ 10440785 w 12139750"/>
              <a:gd name="connsiteY2566" fmla="*/ 2470956 h 6858290"/>
              <a:gd name="connsiteX2567" fmla="*/ 8710792 w 12139750"/>
              <a:gd name="connsiteY2567" fmla="*/ 2467329 h 6858290"/>
              <a:gd name="connsiteX2568" fmla="*/ 8723695 w 12139750"/>
              <a:gd name="connsiteY2568" fmla="*/ 2474959 h 6858290"/>
              <a:gd name="connsiteX2569" fmla="*/ 8721783 w 12139750"/>
              <a:gd name="connsiteY2569" fmla="*/ 2501658 h 6858290"/>
              <a:gd name="connsiteX2570" fmla="*/ 8389182 w 12139750"/>
              <a:gd name="connsiteY2570" fmla="*/ 2780051 h 6858290"/>
              <a:gd name="connsiteX2571" fmla="*/ 8360509 w 12139750"/>
              <a:gd name="connsiteY2571" fmla="*/ 2778145 h 6858290"/>
              <a:gd name="connsiteX2572" fmla="*/ 8356686 w 12139750"/>
              <a:gd name="connsiteY2572" fmla="*/ 2764800 h 6858290"/>
              <a:gd name="connsiteX2573" fmla="*/ 8364332 w 12139750"/>
              <a:gd name="connsiteY2573" fmla="*/ 2749541 h 6858290"/>
              <a:gd name="connsiteX2574" fmla="*/ 8695022 w 12139750"/>
              <a:gd name="connsiteY2574" fmla="*/ 2471144 h 6858290"/>
              <a:gd name="connsiteX2575" fmla="*/ 8710792 w 12139750"/>
              <a:gd name="connsiteY2575" fmla="*/ 2467329 h 6858290"/>
              <a:gd name="connsiteX2576" fmla="*/ 11018422 w 12139750"/>
              <a:gd name="connsiteY2576" fmla="*/ 2467296 h 6858290"/>
              <a:gd name="connsiteX2577" fmla="*/ 11031984 w 12139750"/>
              <a:gd name="connsiteY2577" fmla="*/ 2474925 h 6858290"/>
              <a:gd name="connsiteX2578" fmla="*/ 11030081 w 12139750"/>
              <a:gd name="connsiteY2578" fmla="*/ 2501621 h 6858290"/>
              <a:gd name="connsiteX2579" fmla="*/ 10698888 w 12139750"/>
              <a:gd name="connsiteY2579" fmla="*/ 2780026 h 6858290"/>
              <a:gd name="connsiteX2580" fmla="*/ 10670337 w 12139750"/>
              <a:gd name="connsiteY2580" fmla="*/ 2778118 h 6858290"/>
              <a:gd name="connsiteX2581" fmla="*/ 10666530 w 12139750"/>
              <a:gd name="connsiteY2581" fmla="*/ 2764770 h 6858290"/>
              <a:gd name="connsiteX2582" fmla="*/ 10672240 w 12139750"/>
              <a:gd name="connsiteY2582" fmla="*/ 2749515 h 6858290"/>
              <a:gd name="connsiteX2583" fmla="*/ 11003433 w 12139750"/>
              <a:gd name="connsiteY2583" fmla="*/ 2471111 h 6858290"/>
              <a:gd name="connsiteX2584" fmla="*/ 11018422 w 12139750"/>
              <a:gd name="connsiteY2584" fmla="*/ 2467296 h 6858290"/>
              <a:gd name="connsiteX2585" fmla="*/ 8147250 w 12139750"/>
              <a:gd name="connsiteY2585" fmla="*/ 2462181 h 6858290"/>
              <a:gd name="connsiteX2586" fmla="*/ 8162992 w 12139750"/>
              <a:gd name="connsiteY2586" fmla="*/ 2470551 h 6858290"/>
              <a:gd name="connsiteX2587" fmla="*/ 8159176 w 12139750"/>
              <a:gd name="connsiteY2587" fmla="*/ 2506900 h 6858290"/>
              <a:gd name="connsiteX2588" fmla="*/ 7825249 w 12139750"/>
              <a:gd name="connsiteY2588" fmla="*/ 2759395 h 6858290"/>
              <a:gd name="connsiteX2589" fmla="*/ 7790902 w 12139750"/>
              <a:gd name="connsiteY2589" fmla="*/ 2755567 h 6858290"/>
              <a:gd name="connsiteX2590" fmla="*/ 7785178 w 12139750"/>
              <a:gd name="connsiteY2590" fmla="*/ 2740262 h 6858290"/>
              <a:gd name="connsiteX2591" fmla="*/ 7794719 w 12139750"/>
              <a:gd name="connsiteY2591" fmla="*/ 2719221 h 6858290"/>
              <a:gd name="connsiteX2592" fmla="*/ 8128645 w 12139750"/>
              <a:gd name="connsiteY2592" fmla="*/ 2466726 h 6858290"/>
              <a:gd name="connsiteX2593" fmla="*/ 8147250 w 12139750"/>
              <a:gd name="connsiteY2593" fmla="*/ 2462181 h 6858290"/>
              <a:gd name="connsiteX2594" fmla="*/ 11591857 w 12139750"/>
              <a:gd name="connsiteY2594" fmla="*/ 2462171 h 6858290"/>
              <a:gd name="connsiteX2595" fmla="*/ 11608260 w 12139750"/>
              <a:gd name="connsiteY2595" fmla="*/ 2470542 h 6858290"/>
              <a:gd name="connsiteX2596" fmla="*/ 11602555 w 12139750"/>
              <a:gd name="connsiteY2596" fmla="*/ 2506889 h 6858290"/>
              <a:gd name="connsiteX2597" fmla="*/ 11271628 w 12139750"/>
              <a:gd name="connsiteY2597" fmla="*/ 2759383 h 6858290"/>
              <a:gd name="connsiteX2598" fmla="*/ 11235492 w 12139750"/>
              <a:gd name="connsiteY2598" fmla="*/ 2755558 h 6858290"/>
              <a:gd name="connsiteX2599" fmla="*/ 11231688 w 12139750"/>
              <a:gd name="connsiteY2599" fmla="*/ 2740254 h 6858290"/>
              <a:gd name="connsiteX2600" fmla="*/ 11241197 w 12139750"/>
              <a:gd name="connsiteY2600" fmla="*/ 2719210 h 6858290"/>
              <a:gd name="connsiteX2601" fmla="*/ 11574027 w 12139750"/>
              <a:gd name="connsiteY2601" fmla="*/ 2466717 h 6858290"/>
              <a:gd name="connsiteX2602" fmla="*/ 11591857 w 12139750"/>
              <a:gd name="connsiteY2602" fmla="*/ 2462171 h 6858290"/>
              <a:gd name="connsiteX2603" fmla="*/ 7591001 w 12139750"/>
              <a:gd name="connsiteY2603" fmla="*/ 2459079 h 6858290"/>
              <a:gd name="connsiteX2604" fmla="*/ 7610543 w 12139750"/>
              <a:gd name="connsiteY2604" fmla="*/ 2471476 h 6858290"/>
              <a:gd name="connsiteX2605" fmla="*/ 7602917 w 12139750"/>
              <a:gd name="connsiteY2605" fmla="*/ 2511529 h 6858290"/>
              <a:gd name="connsiteX2606" fmla="*/ 7267365 w 12139750"/>
              <a:gd name="connsiteY2606" fmla="*/ 2738458 h 6858290"/>
              <a:gd name="connsiteX2607" fmla="*/ 7227327 w 12139750"/>
              <a:gd name="connsiteY2607" fmla="*/ 2730832 h 6858290"/>
              <a:gd name="connsiteX2608" fmla="*/ 7221608 w 12139750"/>
              <a:gd name="connsiteY2608" fmla="*/ 2715570 h 6858290"/>
              <a:gd name="connsiteX2609" fmla="*/ 7234954 w 12139750"/>
              <a:gd name="connsiteY2609" fmla="*/ 2690775 h 6858290"/>
              <a:gd name="connsiteX2610" fmla="*/ 7568599 w 12139750"/>
              <a:gd name="connsiteY2610" fmla="*/ 2463845 h 6858290"/>
              <a:gd name="connsiteX2611" fmla="*/ 7591001 w 12139750"/>
              <a:gd name="connsiteY2611" fmla="*/ 2459079 h 6858290"/>
              <a:gd name="connsiteX2612" fmla="*/ 12139750 w 12139750"/>
              <a:gd name="connsiteY2612" fmla="*/ 2459059 h 6858290"/>
              <a:gd name="connsiteX2613" fmla="*/ 12139750 w 12139750"/>
              <a:gd name="connsiteY2613" fmla="*/ 2529860 h 6858290"/>
              <a:gd name="connsiteX2614" fmla="*/ 11834670 w 12139750"/>
              <a:gd name="connsiteY2614" fmla="*/ 2738414 h 6858290"/>
              <a:gd name="connsiteX2615" fmla="*/ 11792721 w 12139750"/>
              <a:gd name="connsiteY2615" fmla="*/ 2730760 h 6858290"/>
              <a:gd name="connsiteX2616" fmla="*/ 11788908 w 12139750"/>
              <a:gd name="connsiteY2616" fmla="*/ 2715453 h 6858290"/>
              <a:gd name="connsiteX2617" fmla="*/ 11800349 w 12139750"/>
              <a:gd name="connsiteY2617" fmla="*/ 2690576 h 6858290"/>
              <a:gd name="connsiteX2618" fmla="*/ 12135937 w 12139750"/>
              <a:gd name="connsiteY2618" fmla="*/ 2462887 h 6858290"/>
              <a:gd name="connsiteX2619" fmla="*/ 12139750 w 12139750"/>
              <a:gd name="connsiteY2619" fmla="*/ 2459059 h 6858290"/>
              <a:gd name="connsiteX2620" fmla="*/ 7041900 w 12139750"/>
              <a:gd name="connsiteY2620" fmla="*/ 2453933 h 6858290"/>
              <a:gd name="connsiteX2621" fmla="*/ 7062856 w 12139750"/>
              <a:gd name="connsiteY2621" fmla="*/ 2468988 h 6858290"/>
              <a:gd name="connsiteX2622" fmla="*/ 7051425 w 12139750"/>
              <a:gd name="connsiteY2622" fmla="*/ 2516781 h 6858290"/>
              <a:gd name="connsiteX2623" fmla="*/ 6714236 w 12139750"/>
              <a:gd name="connsiteY2623" fmla="*/ 2719384 h 6858290"/>
              <a:gd name="connsiteX2624" fmla="*/ 6668515 w 12139750"/>
              <a:gd name="connsiteY2624" fmla="*/ 2706003 h 6858290"/>
              <a:gd name="connsiteX2625" fmla="*/ 6662800 w 12139750"/>
              <a:gd name="connsiteY2625" fmla="*/ 2688796 h 6858290"/>
              <a:gd name="connsiteX2626" fmla="*/ 6679945 w 12139750"/>
              <a:gd name="connsiteY2626" fmla="*/ 2660125 h 6858290"/>
              <a:gd name="connsiteX2627" fmla="*/ 7015230 w 12139750"/>
              <a:gd name="connsiteY2627" fmla="*/ 2457516 h 6858290"/>
              <a:gd name="connsiteX2628" fmla="*/ 7041900 w 12139750"/>
              <a:gd name="connsiteY2628" fmla="*/ 2453933 h 6858290"/>
              <a:gd name="connsiteX2629" fmla="*/ 6499365 w 12139750"/>
              <a:gd name="connsiteY2629" fmla="*/ 2450542 h 6858290"/>
              <a:gd name="connsiteX2630" fmla="*/ 6521511 w 12139750"/>
              <a:gd name="connsiteY2630" fmla="*/ 2469741 h 6858290"/>
              <a:gd name="connsiteX2631" fmla="*/ 6506270 w 12139750"/>
              <a:gd name="connsiteY2631" fmla="*/ 2520932 h 6858290"/>
              <a:gd name="connsiteX2632" fmla="*/ 6167176 w 12139750"/>
              <a:gd name="connsiteY2632" fmla="*/ 2697234 h 6858290"/>
              <a:gd name="connsiteX2633" fmla="*/ 6115740 w 12139750"/>
              <a:gd name="connsiteY2633" fmla="*/ 2680171 h 6858290"/>
              <a:gd name="connsiteX2634" fmla="*/ 6111930 w 12139750"/>
              <a:gd name="connsiteY2634" fmla="*/ 2663105 h 6858290"/>
              <a:gd name="connsiteX2635" fmla="*/ 6130980 w 12139750"/>
              <a:gd name="connsiteY2635" fmla="*/ 2628984 h 6858290"/>
              <a:gd name="connsiteX2636" fmla="*/ 6470075 w 12139750"/>
              <a:gd name="connsiteY2636" fmla="*/ 2452675 h 6858290"/>
              <a:gd name="connsiteX2637" fmla="*/ 6499365 w 12139750"/>
              <a:gd name="connsiteY2637" fmla="*/ 2450542 h 6858290"/>
              <a:gd name="connsiteX2638" fmla="*/ 5959672 w 12139750"/>
              <a:gd name="connsiteY2638" fmla="*/ 2446994 h 6858290"/>
              <a:gd name="connsiteX2639" fmla="*/ 5983314 w 12139750"/>
              <a:gd name="connsiteY2639" fmla="*/ 2468881 h 6858290"/>
              <a:gd name="connsiteX2640" fmla="*/ 5962297 w 12139750"/>
              <a:gd name="connsiteY2640" fmla="*/ 2525960 h 6858290"/>
              <a:gd name="connsiteX2641" fmla="*/ 5620300 w 12139750"/>
              <a:gd name="connsiteY2641" fmla="*/ 2676247 h 6858290"/>
              <a:gd name="connsiteX2642" fmla="*/ 5564892 w 12139750"/>
              <a:gd name="connsiteY2642" fmla="*/ 2655321 h 6858290"/>
              <a:gd name="connsiteX2643" fmla="*/ 5561071 w 12139750"/>
              <a:gd name="connsiteY2643" fmla="*/ 2638199 h 6858290"/>
              <a:gd name="connsiteX2644" fmla="*/ 5585909 w 12139750"/>
              <a:gd name="connsiteY2644" fmla="*/ 2598249 h 6858290"/>
              <a:gd name="connsiteX2645" fmla="*/ 5925997 w 12139750"/>
              <a:gd name="connsiteY2645" fmla="*/ 2447945 h 6858290"/>
              <a:gd name="connsiteX2646" fmla="*/ 5959672 w 12139750"/>
              <a:gd name="connsiteY2646" fmla="*/ 2446994 h 6858290"/>
              <a:gd name="connsiteX2647" fmla="*/ 399503 w 12139750"/>
              <a:gd name="connsiteY2647" fmla="*/ 2446979 h 6858290"/>
              <a:gd name="connsiteX2648" fmla="*/ 423846 w 12139750"/>
              <a:gd name="connsiteY2648" fmla="*/ 2468864 h 6858290"/>
              <a:gd name="connsiteX2649" fmla="*/ 400935 w 12139750"/>
              <a:gd name="connsiteY2649" fmla="*/ 2525942 h 6858290"/>
              <a:gd name="connsiteX2650" fmla="*/ 61095 w 12139750"/>
              <a:gd name="connsiteY2650" fmla="*/ 2676238 h 6858290"/>
              <a:gd name="connsiteX2651" fmla="*/ 3818 w 12139750"/>
              <a:gd name="connsiteY2651" fmla="*/ 2655311 h 6858290"/>
              <a:gd name="connsiteX2652" fmla="*/ 0 w 12139750"/>
              <a:gd name="connsiteY2652" fmla="*/ 2638187 h 6858290"/>
              <a:gd name="connsiteX2653" fmla="*/ 26729 w 12139750"/>
              <a:gd name="connsiteY2653" fmla="*/ 2598233 h 6858290"/>
              <a:gd name="connsiteX2654" fmla="*/ 366569 w 12139750"/>
              <a:gd name="connsiteY2654" fmla="*/ 2447930 h 6858290"/>
              <a:gd name="connsiteX2655" fmla="*/ 399503 w 12139750"/>
              <a:gd name="connsiteY2655" fmla="*/ 2446979 h 6858290"/>
              <a:gd name="connsiteX2656" fmla="*/ 5396620 w 12139750"/>
              <a:gd name="connsiteY2656" fmla="*/ 2440131 h 6858290"/>
              <a:gd name="connsiteX2657" fmla="*/ 5438855 w 12139750"/>
              <a:gd name="connsiteY2657" fmla="*/ 2471621 h 6858290"/>
              <a:gd name="connsiteX2658" fmla="*/ 5410341 w 12139750"/>
              <a:gd name="connsiteY2658" fmla="*/ 2532340 h 6858290"/>
              <a:gd name="connsiteX2659" fmla="*/ 5070072 w 12139750"/>
              <a:gd name="connsiteY2659" fmla="*/ 2657538 h 6858290"/>
              <a:gd name="connsiteX2660" fmla="*/ 5009249 w 12139750"/>
              <a:gd name="connsiteY2660" fmla="*/ 2629084 h 6858290"/>
              <a:gd name="connsiteX2661" fmla="*/ 5005447 w 12139750"/>
              <a:gd name="connsiteY2661" fmla="*/ 2613907 h 6858290"/>
              <a:gd name="connsiteX2662" fmla="*/ 5037761 w 12139750"/>
              <a:gd name="connsiteY2662" fmla="*/ 2568382 h 6858290"/>
              <a:gd name="connsiteX2663" fmla="*/ 5378027 w 12139750"/>
              <a:gd name="connsiteY2663" fmla="*/ 2443156 h 6858290"/>
              <a:gd name="connsiteX2664" fmla="*/ 5396620 w 12139750"/>
              <a:gd name="connsiteY2664" fmla="*/ 2440131 h 6858290"/>
              <a:gd name="connsiteX2665" fmla="*/ 930705 w 12139750"/>
              <a:gd name="connsiteY2665" fmla="*/ 2440114 h 6858290"/>
              <a:gd name="connsiteX2666" fmla="*/ 973124 w 12139750"/>
              <a:gd name="connsiteY2666" fmla="*/ 2471600 h 6858290"/>
              <a:gd name="connsiteX2667" fmla="*/ 944487 w 12139750"/>
              <a:gd name="connsiteY2667" fmla="*/ 2532315 h 6858290"/>
              <a:gd name="connsiteX2668" fmla="*/ 602753 w 12139750"/>
              <a:gd name="connsiteY2668" fmla="*/ 2657525 h 6858290"/>
              <a:gd name="connsiteX2669" fmla="*/ 541661 w 12139750"/>
              <a:gd name="connsiteY2669" fmla="*/ 2629070 h 6858290"/>
              <a:gd name="connsiteX2670" fmla="*/ 539751 w 12139750"/>
              <a:gd name="connsiteY2670" fmla="*/ 2613892 h 6858290"/>
              <a:gd name="connsiteX2671" fmla="*/ 570297 w 12139750"/>
              <a:gd name="connsiteY2671" fmla="*/ 2568362 h 6858290"/>
              <a:gd name="connsiteX2672" fmla="*/ 912032 w 12139750"/>
              <a:gd name="connsiteY2672" fmla="*/ 2443139 h 6858290"/>
              <a:gd name="connsiteX2673" fmla="*/ 930705 w 12139750"/>
              <a:gd name="connsiteY2673" fmla="*/ 2440114 h 6858290"/>
              <a:gd name="connsiteX2674" fmla="*/ 4847389 w 12139750"/>
              <a:gd name="connsiteY2674" fmla="*/ 2434959 h 6858290"/>
              <a:gd name="connsiteX2675" fmla="*/ 4891125 w 12139750"/>
              <a:gd name="connsiteY2675" fmla="*/ 2472791 h 6858290"/>
              <a:gd name="connsiteX2676" fmla="*/ 4856779 w 12139750"/>
              <a:gd name="connsiteY2676" fmla="*/ 2537664 h 6858290"/>
              <a:gd name="connsiteX2677" fmla="*/ 4513402 w 12139750"/>
              <a:gd name="connsiteY2677" fmla="*/ 2638759 h 6858290"/>
              <a:gd name="connsiteX2678" fmla="*/ 4448539 w 12139750"/>
              <a:gd name="connsiteY2678" fmla="*/ 2602516 h 6858290"/>
              <a:gd name="connsiteX2679" fmla="*/ 4446631 w 12139750"/>
              <a:gd name="connsiteY2679" fmla="*/ 2587256 h 6858290"/>
              <a:gd name="connsiteX2680" fmla="*/ 4482878 w 12139750"/>
              <a:gd name="connsiteY2680" fmla="*/ 2537664 h 6858290"/>
              <a:gd name="connsiteX2681" fmla="*/ 4826251 w 12139750"/>
              <a:gd name="connsiteY2681" fmla="*/ 2436537 h 6858290"/>
              <a:gd name="connsiteX2682" fmla="*/ 4847389 w 12139750"/>
              <a:gd name="connsiteY2682" fmla="*/ 2434959 h 6858290"/>
              <a:gd name="connsiteX2683" fmla="*/ 1482958 w 12139750"/>
              <a:gd name="connsiteY2683" fmla="*/ 2434939 h 6858290"/>
              <a:gd name="connsiteX2684" fmla="*/ 1527491 w 12139750"/>
              <a:gd name="connsiteY2684" fmla="*/ 2472769 h 6858290"/>
              <a:gd name="connsiteX2685" fmla="*/ 1491245 w 12139750"/>
              <a:gd name="connsiteY2685" fmla="*/ 2537636 h 6858290"/>
              <a:gd name="connsiteX2686" fmla="*/ 1147861 w 12139750"/>
              <a:gd name="connsiteY2686" fmla="*/ 2638743 h 6858290"/>
              <a:gd name="connsiteX2687" fmla="*/ 1082999 w 12139750"/>
              <a:gd name="connsiteY2687" fmla="*/ 2602496 h 6858290"/>
              <a:gd name="connsiteX2688" fmla="*/ 1081092 w 12139750"/>
              <a:gd name="connsiteY2688" fmla="*/ 2587234 h 6858290"/>
              <a:gd name="connsiteX2689" fmla="*/ 1119245 w 12139750"/>
              <a:gd name="connsiteY2689" fmla="*/ 2537636 h 6858290"/>
              <a:gd name="connsiteX2690" fmla="*/ 1462630 w 12139750"/>
              <a:gd name="connsiteY2690" fmla="*/ 2436519 h 6858290"/>
              <a:gd name="connsiteX2691" fmla="*/ 1482958 w 12139750"/>
              <a:gd name="connsiteY2691" fmla="*/ 2434939 h 6858290"/>
              <a:gd name="connsiteX2692" fmla="*/ 4270882 w 12139750"/>
              <a:gd name="connsiteY2692" fmla="*/ 2431445 h 6858290"/>
              <a:gd name="connsiteX2693" fmla="*/ 4339323 w 12139750"/>
              <a:gd name="connsiteY2693" fmla="*/ 2475264 h 6858290"/>
              <a:gd name="connsiteX2694" fmla="*/ 4295596 w 12139750"/>
              <a:gd name="connsiteY2694" fmla="*/ 2543855 h 6858290"/>
              <a:gd name="connsiteX2695" fmla="*/ 3951515 w 12139750"/>
              <a:gd name="connsiteY2695" fmla="*/ 2618134 h 6858290"/>
              <a:gd name="connsiteX2696" fmla="*/ 3883074 w 12139750"/>
              <a:gd name="connsiteY2696" fmla="*/ 2574330 h 6858290"/>
              <a:gd name="connsiteX2697" fmla="*/ 3883074 w 12139750"/>
              <a:gd name="connsiteY2697" fmla="*/ 2562902 h 6858290"/>
              <a:gd name="connsiteX2698" fmla="*/ 3926800 w 12139750"/>
              <a:gd name="connsiteY2698" fmla="*/ 2507657 h 6858290"/>
              <a:gd name="connsiteX2699" fmla="*/ 4270882 w 12139750"/>
              <a:gd name="connsiteY2699" fmla="*/ 2431445 h 6858290"/>
              <a:gd name="connsiteX2700" fmla="*/ 2016607 w 12139750"/>
              <a:gd name="connsiteY2700" fmla="*/ 2431425 h 6858290"/>
              <a:gd name="connsiteX2701" fmla="*/ 2085053 w 12139750"/>
              <a:gd name="connsiteY2701" fmla="*/ 2475241 h 6858290"/>
              <a:gd name="connsiteX2702" fmla="*/ 2041322 w 12139750"/>
              <a:gd name="connsiteY2702" fmla="*/ 2543824 h 6858290"/>
              <a:gd name="connsiteX2703" fmla="*/ 1697222 w 12139750"/>
              <a:gd name="connsiteY2703" fmla="*/ 2618115 h 6858290"/>
              <a:gd name="connsiteX2704" fmla="*/ 1630683 w 12139750"/>
              <a:gd name="connsiteY2704" fmla="*/ 2574302 h 6858290"/>
              <a:gd name="connsiteX2705" fmla="*/ 1628782 w 12139750"/>
              <a:gd name="connsiteY2705" fmla="*/ 2562874 h 6858290"/>
              <a:gd name="connsiteX2706" fmla="*/ 1674409 w 12139750"/>
              <a:gd name="connsiteY2706" fmla="*/ 2507628 h 6858290"/>
              <a:gd name="connsiteX2707" fmla="*/ 2016607 w 12139750"/>
              <a:gd name="connsiteY2707" fmla="*/ 2431425 h 6858290"/>
              <a:gd name="connsiteX2708" fmla="*/ 2799530 w 12139750"/>
              <a:gd name="connsiteY2708" fmla="*/ 2428905 h 6858290"/>
              <a:gd name="connsiteX2709" fmla="*/ 3148602 w 12139750"/>
              <a:gd name="connsiteY2709" fmla="*/ 2428905 h 6858290"/>
              <a:gd name="connsiteX2710" fmla="*/ 3221084 w 12139750"/>
              <a:gd name="connsiteY2710" fmla="*/ 2499561 h 6858290"/>
              <a:gd name="connsiteX2711" fmla="*/ 3148602 w 12139750"/>
              <a:gd name="connsiteY2711" fmla="*/ 2570203 h 6858290"/>
              <a:gd name="connsiteX2712" fmla="*/ 2799530 w 12139750"/>
              <a:gd name="connsiteY2712" fmla="*/ 2570203 h 6858290"/>
              <a:gd name="connsiteX2713" fmla="*/ 2728954 w 12139750"/>
              <a:gd name="connsiteY2713" fmla="*/ 2499561 h 6858290"/>
              <a:gd name="connsiteX2714" fmla="*/ 2799530 w 12139750"/>
              <a:gd name="connsiteY2714" fmla="*/ 2428905 h 6858290"/>
              <a:gd name="connsiteX2715" fmla="*/ 3713473 w 12139750"/>
              <a:gd name="connsiteY2715" fmla="*/ 2424778 h 6858290"/>
              <a:gd name="connsiteX2716" fmla="*/ 3782104 w 12139750"/>
              <a:gd name="connsiteY2716" fmla="*/ 2478123 h 6858290"/>
              <a:gd name="connsiteX2717" fmla="*/ 3730631 w 12139750"/>
              <a:gd name="connsiteY2717" fmla="*/ 2546711 h 6858290"/>
              <a:gd name="connsiteX2718" fmla="*/ 3383700 w 12139750"/>
              <a:gd name="connsiteY2718" fmla="*/ 2598132 h 6858290"/>
              <a:gd name="connsiteX2719" fmla="*/ 3315070 w 12139750"/>
              <a:gd name="connsiteY2719" fmla="*/ 2546711 h 6858290"/>
              <a:gd name="connsiteX2720" fmla="*/ 3313164 w 12139750"/>
              <a:gd name="connsiteY2720" fmla="*/ 2537188 h 6858290"/>
              <a:gd name="connsiteX2721" fmla="*/ 3366541 w 12139750"/>
              <a:gd name="connsiteY2721" fmla="*/ 2476218 h 6858290"/>
              <a:gd name="connsiteX2722" fmla="*/ 3713473 w 12139750"/>
              <a:gd name="connsiteY2722" fmla="*/ 2424778 h 6858290"/>
              <a:gd name="connsiteX2723" fmla="*/ 2578386 w 12139750"/>
              <a:gd name="connsiteY2723" fmla="*/ 2424755 h 6858290"/>
              <a:gd name="connsiteX2724" fmla="*/ 2647013 w 12139750"/>
              <a:gd name="connsiteY2724" fmla="*/ 2478098 h 6858290"/>
              <a:gd name="connsiteX2725" fmla="*/ 2595543 w 12139750"/>
              <a:gd name="connsiteY2725" fmla="*/ 2546678 h 6858290"/>
              <a:gd name="connsiteX2726" fmla="*/ 2248597 w 12139750"/>
              <a:gd name="connsiteY2726" fmla="*/ 2598110 h 6858290"/>
              <a:gd name="connsiteX2727" fmla="*/ 2179970 w 12139750"/>
              <a:gd name="connsiteY2727" fmla="*/ 2546678 h 6858290"/>
              <a:gd name="connsiteX2728" fmla="*/ 2178063 w 12139750"/>
              <a:gd name="connsiteY2728" fmla="*/ 2537153 h 6858290"/>
              <a:gd name="connsiteX2729" fmla="*/ 2231440 w 12139750"/>
              <a:gd name="connsiteY2729" fmla="*/ 2476192 h 6858290"/>
              <a:gd name="connsiteX2730" fmla="*/ 2578386 w 12139750"/>
              <a:gd name="connsiteY2730" fmla="*/ 2424755 h 6858290"/>
              <a:gd name="connsiteX2731" fmla="*/ 9856995 w 12139750"/>
              <a:gd name="connsiteY2731" fmla="*/ 2158848 h 6858290"/>
              <a:gd name="connsiteX2732" fmla="*/ 9865791 w 12139750"/>
              <a:gd name="connsiteY2732" fmla="*/ 2163134 h 6858290"/>
              <a:gd name="connsiteX2733" fmla="*/ 9869594 w 12139750"/>
              <a:gd name="connsiteY2733" fmla="*/ 2172659 h 6858290"/>
              <a:gd name="connsiteX2734" fmla="*/ 9865791 w 12139750"/>
              <a:gd name="connsiteY2734" fmla="*/ 2182184 h 6858290"/>
              <a:gd name="connsiteX2735" fmla="*/ 9536809 w 12139750"/>
              <a:gd name="connsiteY2735" fmla="*/ 2494604 h 6858290"/>
              <a:gd name="connsiteX2736" fmla="*/ 9517792 w 12139750"/>
              <a:gd name="connsiteY2736" fmla="*/ 2494604 h 6858290"/>
              <a:gd name="connsiteX2737" fmla="*/ 9519694 w 12139750"/>
              <a:gd name="connsiteY2737" fmla="*/ 2475555 h 6858290"/>
              <a:gd name="connsiteX2738" fmla="*/ 9846774 w 12139750"/>
              <a:gd name="connsiteY2738" fmla="*/ 2163134 h 6858290"/>
              <a:gd name="connsiteX2739" fmla="*/ 9856995 w 12139750"/>
              <a:gd name="connsiteY2739" fmla="*/ 2158848 h 6858290"/>
              <a:gd name="connsiteX2740" fmla="*/ 9280994 w 12139750"/>
              <a:gd name="connsiteY2740" fmla="*/ 2152757 h 6858290"/>
              <a:gd name="connsiteX2741" fmla="*/ 9292682 w 12139750"/>
              <a:gd name="connsiteY2741" fmla="*/ 2158723 h 6858290"/>
              <a:gd name="connsiteX2742" fmla="*/ 9296499 w 12139750"/>
              <a:gd name="connsiteY2742" fmla="*/ 2170175 h 6858290"/>
              <a:gd name="connsiteX2743" fmla="*/ 9290774 w 12139750"/>
              <a:gd name="connsiteY2743" fmla="*/ 2183535 h 6858290"/>
              <a:gd name="connsiteX2744" fmla="*/ 8960635 w 12139750"/>
              <a:gd name="connsiteY2744" fmla="*/ 2475567 h 6858290"/>
              <a:gd name="connsiteX2745" fmla="*/ 8935827 w 12139750"/>
              <a:gd name="connsiteY2745" fmla="*/ 2473653 h 6858290"/>
              <a:gd name="connsiteX2746" fmla="*/ 8935827 w 12139750"/>
              <a:gd name="connsiteY2746" fmla="*/ 2448839 h 6858290"/>
              <a:gd name="connsiteX2747" fmla="*/ 9267874 w 12139750"/>
              <a:gd name="connsiteY2747" fmla="*/ 2156814 h 6858290"/>
              <a:gd name="connsiteX2748" fmla="*/ 9280994 w 12139750"/>
              <a:gd name="connsiteY2748" fmla="*/ 2152757 h 6858290"/>
              <a:gd name="connsiteX2749" fmla="*/ 10441167 w 12139750"/>
              <a:gd name="connsiteY2749" fmla="*/ 2152737 h 6858290"/>
              <a:gd name="connsiteX2750" fmla="*/ 10452845 w 12139750"/>
              <a:gd name="connsiteY2750" fmla="*/ 2158701 h 6858290"/>
              <a:gd name="connsiteX2751" fmla="*/ 10458565 w 12139750"/>
              <a:gd name="connsiteY2751" fmla="*/ 2170154 h 6858290"/>
              <a:gd name="connsiteX2752" fmla="*/ 10452845 w 12139750"/>
              <a:gd name="connsiteY2752" fmla="*/ 2183515 h 6858290"/>
              <a:gd name="connsiteX2753" fmla="*/ 10121085 w 12139750"/>
              <a:gd name="connsiteY2753" fmla="*/ 2475541 h 6858290"/>
              <a:gd name="connsiteX2754" fmla="*/ 10096299 w 12139750"/>
              <a:gd name="connsiteY2754" fmla="*/ 2473632 h 6858290"/>
              <a:gd name="connsiteX2755" fmla="*/ 10098205 w 12139750"/>
              <a:gd name="connsiteY2755" fmla="*/ 2448819 h 6858290"/>
              <a:gd name="connsiteX2756" fmla="*/ 10428058 w 12139750"/>
              <a:gd name="connsiteY2756" fmla="*/ 2156792 h 6858290"/>
              <a:gd name="connsiteX2757" fmla="*/ 10441167 w 12139750"/>
              <a:gd name="connsiteY2757" fmla="*/ 2152737 h 6858290"/>
              <a:gd name="connsiteX2758" fmla="*/ 8711083 w 12139750"/>
              <a:gd name="connsiteY2758" fmla="*/ 2147846 h 6858290"/>
              <a:gd name="connsiteX2759" fmla="*/ 8725621 w 12139750"/>
              <a:gd name="connsiteY2759" fmla="*/ 2156214 h 6858290"/>
              <a:gd name="connsiteX2760" fmla="*/ 8731341 w 12139750"/>
              <a:gd name="connsiteY2760" fmla="*/ 2169603 h 6858290"/>
              <a:gd name="connsiteX2761" fmla="*/ 8723715 w 12139750"/>
              <a:gd name="connsiteY2761" fmla="*/ 2186815 h 6858290"/>
              <a:gd name="connsiteX2762" fmla="*/ 8390055 w 12139750"/>
              <a:gd name="connsiteY2762" fmla="*/ 2454587 h 6858290"/>
              <a:gd name="connsiteX2763" fmla="*/ 8359549 w 12139750"/>
              <a:gd name="connsiteY2763" fmla="*/ 2450760 h 6858290"/>
              <a:gd name="connsiteX2764" fmla="*/ 8363363 w 12139750"/>
              <a:gd name="connsiteY2764" fmla="*/ 2420157 h 6858290"/>
              <a:gd name="connsiteX2765" fmla="*/ 8695115 w 12139750"/>
              <a:gd name="connsiteY2765" fmla="*/ 2152388 h 6858290"/>
              <a:gd name="connsiteX2766" fmla="*/ 8711083 w 12139750"/>
              <a:gd name="connsiteY2766" fmla="*/ 2147846 h 6858290"/>
              <a:gd name="connsiteX2767" fmla="*/ 11019424 w 12139750"/>
              <a:gd name="connsiteY2767" fmla="*/ 2147822 h 6858290"/>
              <a:gd name="connsiteX2768" fmla="*/ 11033901 w 12139750"/>
              <a:gd name="connsiteY2768" fmla="*/ 2156190 h 6858290"/>
              <a:gd name="connsiteX2769" fmla="*/ 11039597 w 12139750"/>
              <a:gd name="connsiteY2769" fmla="*/ 2169578 h 6858290"/>
              <a:gd name="connsiteX2770" fmla="*/ 11030104 w 12139750"/>
              <a:gd name="connsiteY2770" fmla="*/ 2186792 h 6858290"/>
              <a:gd name="connsiteX2771" fmla="*/ 10699740 w 12139750"/>
              <a:gd name="connsiteY2771" fmla="*/ 2454563 h 6858290"/>
              <a:gd name="connsiteX2772" fmla="*/ 10669362 w 12139750"/>
              <a:gd name="connsiteY2772" fmla="*/ 2450738 h 6858290"/>
              <a:gd name="connsiteX2773" fmla="*/ 10673159 w 12139750"/>
              <a:gd name="connsiteY2773" fmla="*/ 2420136 h 6858290"/>
              <a:gd name="connsiteX2774" fmla="*/ 11003523 w 12139750"/>
              <a:gd name="connsiteY2774" fmla="*/ 2152364 h 6858290"/>
              <a:gd name="connsiteX2775" fmla="*/ 11019424 w 12139750"/>
              <a:gd name="connsiteY2775" fmla="*/ 2147822 h 6858290"/>
              <a:gd name="connsiteX2776" fmla="*/ 8148561 w 12139750"/>
              <a:gd name="connsiteY2776" fmla="*/ 2143310 h 6858290"/>
              <a:gd name="connsiteX2777" fmla="*/ 8165230 w 12139750"/>
              <a:gd name="connsiteY2777" fmla="*/ 2153323 h 6858290"/>
              <a:gd name="connsiteX2778" fmla="*/ 8170945 w 12139750"/>
              <a:gd name="connsiteY2778" fmla="*/ 2168580 h 6858290"/>
              <a:gd name="connsiteX2779" fmla="*/ 8159515 w 12139750"/>
              <a:gd name="connsiteY2779" fmla="*/ 2189556 h 6858290"/>
              <a:gd name="connsiteX2780" fmla="*/ 7826135 w 12139750"/>
              <a:gd name="connsiteY2780" fmla="*/ 2433651 h 6858290"/>
              <a:gd name="connsiteX2781" fmla="*/ 7789940 w 12139750"/>
              <a:gd name="connsiteY2781" fmla="*/ 2427930 h 6858290"/>
              <a:gd name="connsiteX2782" fmla="*/ 7795655 w 12139750"/>
              <a:gd name="connsiteY2782" fmla="*/ 2391692 h 6858290"/>
              <a:gd name="connsiteX2783" fmla="*/ 8129034 w 12139750"/>
              <a:gd name="connsiteY2783" fmla="*/ 2147602 h 6858290"/>
              <a:gd name="connsiteX2784" fmla="*/ 8148561 w 12139750"/>
              <a:gd name="connsiteY2784" fmla="*/ 2143310 h 6858290"/>
              <a:gd name="connsiteX2785" fmla="*/ 11593070 w 12139750"/>
              <a:gd name="connsiteY2785" fmla="*/ 2143308 h 6858290"/>
              <a:gd name="connsiteX2786" fmla="*/ 11610468 w 12139750"/>
              <a:gd name="connsiteY2786" fmla="*/ 2153320 h 6858290"/>
              <a:gd name="connsiteX2787" fmla="*/ 11614281 w 12139750"/>
              <a:gd name="connsiteY2787" fmla="*/ 2168577 h 6858290"/>
              <a:gd name="connsiteX2788" fmla="*/ 11604748 w 12139750"/>
              <a:gd name="connsiteY2788" fmla="*/ 2189556 h 6858290"/>
              <a:gd name="connsiteX2789" fmla="*/ 11271096 w 12139750"/>
              <a:gd name="connsiteY2789" fmla="*/ 2433649 h 6858290"/>
              <a:gd name="connsiteX2790" fmla="*/ 11232964 w 12139750"/>
              <a:gd name="connsiteY2790" fmla="*/ 2427928 h 6858290"/>
              <a:gd name="connsiteX2791" fmla="*/ 11238684 w 12139750"/>
              <a:gd name="connsiteY2791" fmla="*/ 2391689 h 6858290"/>
              <a:gd name="connsiteX2792" fmla="*/ 11574243 w 12139750"/>
              <a:gd name="connsiteY2792" fmla="*/ 2147600 h 6858290"/>
              <a:gd name="connsiteX2793" fmla="*/ 11593070 w 12139750"/>
              <a:gd name="connsiteY2793" fmla="*/ 2143308 h 6858290"/>
              <a:gd name="connsiteX2794" fmla="*/ 12139750 w 12139750"/>
              <a:gd name="connsiteY2794" fmla="*/ 2139967 h 6858290"/>
              <a:gd name="connsiteX2795" fmla="*/ 12139750 w 12139750"/>
              <a:gd name="connsiteY2795" fmla="*/ 2212438 h 6858290"/>
              <a:gd name="connsiteX2796" fmla="*/ 11835489 w 12139750"/>
              <a:gd name="connsiteY2796" fmla="*/ 2414592 h 6858290"/>
              <a:gd name="connsiteX2797" fmla="*/ 11793653 w 12139750"/>
              <a:gd name="connsiteY2797" fmla="*/ 2406965 h 6858290"/>
              <a:gd name="connsiteX2798" fmla="*/ 11801260 w 12139750"/>
              <a:gd name="connsiteY2798" fmla="*/ 2363100 h 6858290"/>
              <a:gd name="connsiteX2799" fmla="*/ 12135947 w 12139750"/>
              <a:gd name="connsiteY2799" fmla="*/ 2141874 h 6858290"/>
              <a:gd name="connsiteX2800" fmla="*/ 12139750 w 12139750"/>
              <a:gd name="connsiteY2800" fmla="*/ 2139967 h 6858290"/>
              <a:gd name="connsiteX2801" fmla="*/ 7591500 w 12139750"/>
              <a:gd name="connsiteY2801" fmla="*/ 2137042 h 6858290"/>
              <a:gd name="connsiteX2802" fmla="*/ 7609598 w 12139750"/>
              <a:gd name="connsiteY2802" fmla="*/ 2151126 h 6858290"/>
              <a:gd name="connsiteX2803" fmla="*/ 7615313 w 12139750"/>
              <a:gd name="connsiteY2803" fmla="*/ 2168310 h 6858290"/>
              <a:gd name="connsiteX2804" fmla="*/ 7601978 w 12139750"/>
              <a:gd name="connsiteY2804" fmla="*/ 2193129 h 6858290"/>
              <a:gd name="connsiteX2805" fmla="*/ 7266693 w 12139750"/>
              <a:gd name="connsiteY2805" fmla="*/ 2414586 h 6858290"/>
              <a:gd name="connsiteX2806" fmla="*/ 7224783 w 12139750"/>
              <a:gd name="connsiteY2806" fmla="*/ 2406948 h 6858290"/>
              <a:gd name="connsiteX2807" fmla="*/ 7232403 w 12139750"/>
              <a:gd name="connsiteY2807" fmla="*/ 2363036 h 6858290"/>
              <a:gd name="connsiteX2808" fmla="*/ 7567687 w 12139750"/>
              <a:gd name="connsiteY2808" fmla="*/ 2141577 h 6858290"/>
              <a:gd name="connsiteX2809" fmla="*/ 7591500 w 12139750"/>
              <a:gd name="connsiteY2809" fmla="*/ 2137042 h 6858290"/>
              <a:gd name="connsiteX2810" fmla="*/ 7042453 w 12139750"/>
              <a:gd name="connsiteY2810" fmla="*/ 2131898 h 6858290"/>
              <a:gd name="connsiteX2811" fmla="*/ 7063473 w 12139750"/>
              <a:gd name="connsiteY2811" fmla="*/ 2148647 h 6858290"/>
              <a:gd name="connsiteX2812" fmla="*/ 7069206 w 12139750"/>
              <a:gd name="connsiteY2812" fmla="*/ 2165871 h 6858290"/>
              <a:gd name="connsiteX2813" fmla="*/ 7052008 w 12139750"/>
              <a:gd name="connsiteY2813" fmla="*/ 2196489 h 6858290"/>
              <a:gd name="connsiteX2814" fmla="*/ 6713777 w 12139750"/>
              <a:gd name="connsiteY2814" fmla="*/ 2395511 h 6858290"/>
              <a:gd name="connsiteX2815" fmla="*/ 6666004 w 12139750"/>
              <a:gd name="connsiteY2815" fmla="*/ 2382111 h 6858290"/>
              <a:gd name="connsiteX2816" fmla="*/ 6679381 w 12139750"/>
              <a:gd name="connsiteY2816" fmla="*/ 2334271 h 6858290"/>
              <a:gd name="connsiteX2817" fmla="*/ 7015700 w 12139750"/>
              <a:gd name="connsiteY2817" fmla="*/ 2135246 h 6858290"/>
              <a:gd name="connsiteX2818" fmla="*/ 7042453 w 12139750"/>
              <a:gd name="connsiteY2818" fmla="*/ 2131898 h 6858290"/>
              <a:gd name="connsiteX2819" fmla="*/ 6500021 w 12139750"/>
              <a:gd name="connsiteY2819" fmla="*/ 2128305 h 6858290"/>
              <a:gd name="connsiteX2820" fmla="*/ 6522150 w 12139750"/>
              <a:gd name="connsiteY2820" fmla="*/ 2147621 h 6858290"/>
              <a:gd name="connsiteX2821" fmla="*/ 6527861 w 12139750"/>
              <a:gd name="connsiteY2821" fmla="*/ 2164788 h 6858290"/>
              <a:gd name="connsiteX2822" fmla="*/ 6506921 w 12139750"/>
              <a:gd name="connsiteY2822" fmla="*/ 2199117 h 6858290"/>
              <a:gd name="connsiteX2823" fmla="*/ 6168083 w 12139750"/>
              <a:gd name="connsiteY2823" fmla="*/ 2374582 h 6858290"/>
              <a:gd name="connsiteX2824" fmla="*/ 6116686 w 12139750"/>
              <a:gd name="connsiteY2824" fmla="*/ 2359325 h 6858290"/>
              <a:gd name="connsiteX2825" fmla="*/ 6131914 w 12139750"/>
              <a:gd name="connsiteY2825" fmla="*/ 2305910 h 6858290"/>
              <a:gd name="connsiteX2826" fmla="*/ 6470753 w 12139750"/>
              <a:gd name="connsiteY2826" fmla="*/ 2130452 h 6858290"/>
              <a:gd name="connsiteX2827" fmla="*/ 6500021 w 12139750"/>
              <a:gd name="connsiteY2827" fmla="*/ 2128305 h 6858290"/>
              <a:gd name="connsiteX2828" fmla="*/ 5959154 w 12139750"/>
              <a:gd name="connsiteY2828" fmla="*/ 2123129 h 6858290"/>
              <a:gd name="connsiteX2829" fmla="*/ 5982710 w 12139750"/>
              <a:gd name="connsiteY2829" fmla="*/ 2145011 h 6858290"/>
              <a:gd name="connsiteX2830" fmla="*/ 5986518 w 12139750"/>
              <a:gd name="connsiteY2830" fmla="*/ 2164036 h 6858290"/>
              <a:gd name="connsiteX2831" fmla="*/ 5961771 w 12139750"/>
              <a:gd name="connsiteY2831" fmla="*/ 2202088 h 6858290"/>
              <a:gd name="connsiteX2832" fmla="*/ 5621031 w 12139750"/>
              <a:gd name="connsiteY2832" fmla="*/ 2354289 h 6858290"/>
              <a:gd name="connsiteX2833" fmla="*/ 5565827 w 12139750"/>
              <a:gd name="connsiteY2833" fmla="*/ 2333361 h 6858290"/>
              <a:gd name="connsiteX2834" fmla="*/ 5586767 w 12139750"/>
              <a:gd name="connsiteY2834" fmla="*/ 2276282 h 6858290"/>
              <a:gd name="connsiteX2835" fmla="*/ 5925602 w 12139750"/>
              <a:gd name="connsiteY2835" fmla="*/ 2124078 h 6858290"/>
              <a:gd name="connsiteX2836" fmla="*/ 5959154 w 12139750"/>
              <a:gd name="connsiteY2836" fmla="*/ 2123129 h 6858290"/>
              <a:gd name="connsiteX2837" fmla="*/ 398983 w 12139750"/>
              <a:gd name="connsiteY2837" fmla="*/ 2123125 h 6858290"/>
              <a:gd name="connsiteX2838" fmla="*/ 423236 w 12139750"/>
              <a:gd name="connsiteY2838" fmla="*/ 2145008 h 6858290"/>
              <a:gd name="connsiteX2839" fmla="*/ 427040 w 12139750"/>
              <a:gd name="connsiteY2839" fmla="*/ 2164035 h 6858290"/>
              <a:gd name="connsiteX2840" fmla="*/ 402311 w 12139750"/>
              <a:gd name="connsiteY2840" fmla="*/ 2202084 h 6858290"/>
              <a:gd name="connsiteX2841" fmla="*/ 61813 w 12139750"/>
              <a:gd name="connsiteY2841" fmla="*/ 2354287 h 6858290"/>
              <a:gd name="connsiteX2842" fmla="*/ 6649 w 12139750"/>
              <a:gd name="connsiteY2842" fmla="*/ 2333359 h 6858290"/>
              <a:gd name="connsiteX2843" fmla="*/ 27573 w 12139750"/>
              <a:gd name="connsiteY2843" fmla="*/ 2276282 h 6858290"/>
              <a:gd name="connsiteX2844" fmla="*/ 366169 w 12139750"/>
              <a:gd name="connsiteY2844" fmla="*/ 2124076 h 6858290"/>
              <a:gd name="connsiteX2845" fmla="*/ 398983 w 12139750"/>
              <a:gd name="connsiteY2845" fmla="*/ 2123125 h 6858290"/>
              <a:gd name="connsiteX2846" fmla="*/ 5396847 w 12139750"/>
              <a:gd name="connsiteY2846" fmla="*/ 2116229 h 6858290"/>
              <a:gd name="connsiteX2847" fmla="*/ 5438190 w 12139750"/>
              <a:gd name="connsiteY2847" fmla="*/ 2145804 h 6858290"/>
              <a:gd name="connsiteX2848" fmla="*/ 5442009 w 12139750"/>
              <a:gd name="connsiteY2848" fmla="*/ 2162858 h 6858290"/>
              <a:gd name="connsiteX2849" fmla="*/ 5411464 w 12139750"/>
              <a:gd name="connsiteY2849" fmla="*/ 2206436 h 6858290"/>
              <a:gd name="connsiteX2850" fmla="*/ 5069728 w 12139750"/>
              <a:gd name="connsiteY2850" fmla="*/ 2335278 h 6858290"/>
              <a:gd name="connsiteX2851" fmla="*/ 5008642 w 12139750"/>
              <a:gd name="connsiteY2851" fmla="*/ 2308745 h 6858290"/>
              <a:gd name="connsiteX2852" fmla="*/ 5037275 w 12139750"/>
              <a:gd name="connsiteY2852" fmla="*/ 2248119 h 6858290"/>
              <a:gd name="connsiteX2853" fmla="*/ 5379009 w 12139750"/>
              <a:gd name="connsiteY2853" fmla="*/ 2119278 h 6858290"/>
              <a:gd name="connsiteX2854" fmla="*/ 5396847 w 12139750"/>
              <a:gd name="connsiteY2854" fmla="*/ 2116229 h 6858290"/>
              <a:gd name="connsiteX2855" fmla="*/ 930370 w 12139750"/>
              <a:gd name="connsiteY2855" fmla="*/ 2116224 h 6858290"/>
              <a:gd name="connsiteX2856" fmla="*/ 972820 w 12139750"/>
              <a:gd name="connsiteY2856" fmla="*/ 2145802 h 6858290"/>
              <a:gd name="connsiteX2857" fmla="*/ 974730 w 12139750"/>
              <a:gd name="connsiteY2857" fmla="*/ 2162856 h 6858290"/>
              <a:gd name="connsiteX2858" fmla="*/ 944162 w 12139750"/>
              <a:gd name="connsiteY2858" fmla="*/ 2206434 h 6858290"/>
              <a:gd name="connsiteX2859" fmla="*/ 602179 w 12139750"/>
              <a:gd name="connsiteY2859" fmla="*/ 2335276 h 6858290"/>
              <a:gd name="connsiteX2860" fmla="*/ 542953 w 12139750"/>
              <a:gd name="connsiteY2860" fmla="*/ 2308745 h 6858290"/>
              <a:gd name="connsiteX2861" fmla="*/ 569700 w 12139750"/>
              <a:gd name="connsiteY2861" fmla="*/ 2248116 h 6858290"/>
              <a:gd name="connsiteX2862" fmla="*/ 911683 w 12139750"/>
              <a:gd name="connsiteY2862" fmla="*/ 2119276 h 6858290"/>
              <a:gd name="connsiteX2863" fmla="*/ 930370 w 12139750"/>
              <a:gd name="connsiteY2863" fmla="*/ 2116224 h 6858290"/>
              <a:gd name="connsiteX2864" fmla="*/ 4845975 w 12139750"/>
              <a:gd name="connsiteY2864" fmla="*/ 2110281 h 6858290"/>
              <a:gd name="connsiteX2865" fmla="*/ 4890814 w 12139750"/>
              <a:gd name="connsiteY2865" fmla="*/ 2147142 h 6858290"/>
              <a:gd name="connsiteX2866" fmla="*/ 4892723 w 12139750"/>
              <a:gd name="connsiteY2866" fmla="*/ 2162340 h 6858290"/>
              <a:gd name="connsiteX2867" fmla="*/ 4856445 w 12139750"/>
              <a:gd name="connsiteY2867" fmla="*/ 2209828 h 6858290"/>
              <a:gd name="connsiteX2868" fmla="*/ 4512821 w 12139750"/>
              <a:gd name="connsiteY2868" fmla="*/ 2316199 h 6858290"/>
              <a:gd name="connsiteX2869" fmla="*/ 4449824 w 12139750"/>
              <a:gd name="connsiteY2869" fmla="*/ 2283899 h 6858290"/>
              <a:gd name="connsiteX2870" fmla="*/ 4482278 w 12139750"/>
              <a:gd name="connsiteY2870" fmla="*/ 2219324 h 6858290"/>
              <a:gd name="connsiteX2871" fmla="*/ 4825898 w 12139750"/>
              <a:gd name="connsiteY2871" fmla="*/ 2112951 h 6858290"/>
              <a:gd name="connsiteX2872" fmla="*/ 4845975 w 12139750"/>
              <a:gd name="connsiteY2872" fmla="*/ 2110281 h 6858290"/>
              <a:gd name="connsiteX2873" fmla="*/ 1482447 w 12139750"/>
              <a:gd name="connsiteY2873" fmla="*/ 2110278 h 6858290"/>
              <a:gd name="connsiteX2874" fmla="*/ 1525280 w 12139750"/>
              <a:gd name="connsiteY2874" fmla="*/ 2147139 h 6858290"/>
              <a:gd name="connsiteX2875" fmla="*/ 1527184 w 12139750"/>
              <a:gd name="connsiteY2875" fmla="*/ 2162337 h 6858290"/>
              <a:gd name="connsiteX2876" fmla="*/ 1492917 w 12139750"/>
              <a:gd name="connsiteY2876" fmla="*/ 2209825 h 6858290"/>
              <a:gd name="connsiteX2877" fmla="*/ 1150255 w 12139750"/>
              <a:gd name="connsiteY2877" fmla="*/ 2316198 h 6858290"/>
              <a:gd name="connsiteX2878" fmla="*/ 1085530 w 12139750"/>
              <a:gd name="connsiteY2878" fmla="*/ 2283899 h 6858290"/>
              <a:gd name="connsiteX2879" fmla="*/ 1119796 w 12139750"/>
              <a:gd name="connsiteY2879" fmla="*/ 2219322 h 6858290"/>
              <a:gd name="connsiteX2880" fmla="*/ 1462458 w 12139750"/>
              <a:gd name="connsiteY2880" fmla="*/ 2112949 h 6858290"/>
              <a:gd name="connsiteX2881" fmla="*/ 1482447 w 12139750"/>
              <a:gd name="connsiteY2881" fmla="*/ 2110278 h 6858290"/>
              <a:gd name="connsiteX2882" fmla="*/ 4292467 w 12139750"/>
              <a:gd name="connsiteY2882" fmla="*/ 2106615 h 6858290"/>
              <a:gd name="connsiteX2883" fmla="*/ 4338673 w 12139750"/>
              <a:gd name="connsiteY2883" fmla="*/ 2147679 h 6858290"/>
              <a:gd name="connsiteX2884" fmla="*/ 4338673 w 12139750"/>
              <a:gd name="connsiteY2884" fmla="*/ 2160953 h 6858290"/>
              <a:gd name="connsiteX2885" fmla="*/ 4296646 w 12139750"/>
              <a:gd name="connsiteY2885" fmla="*/ 2214045 h 6858290"/>
              <a:gd name="connsiteX2886" fmla="*/ 3952805 w 12139750"/>
              <a:gd name="connsiteY2886" fmla="*/ 2297470 h 6858290"/>
              <a:gd name="connsiteX2887" fmla="*/ 3884033 w 12139750"/>
              <a:gd name="connsiteY2887" fmla="*/ 2257656 h 6858290"/>
              <a:gd name="connsiteX2888" fmla="*/ 3926060 w 12139750"/>
              <a:gd name="connsiteY2888" fmla="*/ 2191291 h 6858290"/>
              <a:gd name="connsiteX2889" fmla="*/ 4269902 w 12139750"/>
              <a:gd name="connsiteY2889" fmla="*/ 2107861 h 6858290"/>
              <a:gd name="connsiteX2890" fmla="*/ 4292467 w 12139750"/>
              <a:gd name="connsiteY2890" fmla="*/ 2106615 h 6858290"/>
              <a:gd name="connsiteX2891" fmla="*/ 2038710 w 12139750"/>
              <a:gd name="connsiteY2891" fmla="*/ 2106612 h 6858290"/>
              <a:gd name="connsiteX2892" fmla="*/ 2084082 w 12139750"/>
              <a:gd name="connsiteY2892" fmla="*/ 2147677 h 6858290"/>
              <a:gd name="connsiteX2893" fmla="*/ 2085991 w 12139750"/>
              <a:gd name="connsiteY2893" fmla="*/ 2160951 h 6858290"/>
              <a:gd name="connsiteX2894" fmla="*/ 2043989 w 12139750"/>
              <a:gd name="connsiteY2894" fmla="*/ 2214042 h 6858290"/>
              <a:gd name="connsiteX2895" fmla="*/ 1698467 w 12139750"/>
              <a:gd name="connsiteY2895" fmla="*/ 2297470 h 6858290"/>
              <a:gd name="connsiteX2896" fmla="*/ 1631654 w 12139750"/>
              <a:gd name="connsiteY2896" fmla="*/ 2257654 h 6858290"/>
              <a:gd name="connsiteX2897" fmla="*/ 1671742 w 12139750"/>
              <a:gd name="connsiteY2897" fmla="*/ 2191289 h 6858290"/>
              <a:gd name="connsiteX2898" fmla="*/ 2017264 w 12139750"/>
              <a:gd name="connsiteY2898" fmla="*/ 2107857 h 6858290"/>
              <a:gd name="connsiteX2899" fmla="*/ 2038710 w 12139750"/>
              <a:gd name="connsiteY2899" fmla="*/ 2106612 h 6858290"/>
              <a:gd name="connsiteX2900" fmla="*/ 3734742 w 12139750"/>
              <a:gd name="connsiteY2900" fmla="*/ 2101215 h 6858290"/>
              <a:gd name="connsiteX2901" fmla="*/ 3779871 w 12139750"/>
              <a:gd name="connsiteY2901" fmla="*/ 2149168 h 6858290"/>
              <a:gd name="connsiteX2902" fmla="*/ 3779871 w 12139750"/>
              <a:gd name="connsiteY2902" fmla="*/ 2158693 h 6858290"/>
              <a:gd name="connsiteX2903" fmla="*/ 3732116 w 12139750"/>
              <a:gd name="connsiteY2903" fmla="*/ 2217746 h 6858290"/>
              <a:gd name="connsiteX2904" fmla="*/ 3384469 w 12139750"/>
              <a:gd name="connsiteY2904" fmla="*/ 2278704 h 6858290"/>
              <a:gd name="connsiteX2905" fmla="*/ 3315701 w 12139750"/>
              <a:gd name="connsiteY2905" fmla="*/ 2231081 h 6858290"/>
              <a:gd name="connsiteX2906" fmla="*/ 3363456 w 12139750"/>
              <a:gd name="connsiteY2906" fmla="*/ 2160598 h 6858290"/>
              <a:gd name="connsiteX2907" fmla="*/ 3711103 w 12139750"/>
              <a:gd name="connsiteY2907" fmla="*/ 2101543 h 6858290"/>
              <a:gd name="connsiteX2908" fmla="*/ 3734742 w 12139750"/>
              <a:gd name="connsiteY2908" fmla="*/ 2101215 h 6858290"/>
              <a:gd name="connsiteX2909" fmla="*/ 2601252 w 12139750"/>
              <a:gd name="connsiteY2909" fmla="*/ 2101212 h 6858290"/>
              <a:gd name="connsiteX2910" fmla="*/ 2646380 w 12139750"/>
              <a:gd name="connsiteY2910" fmla="*/ 2149163 h 6858290"/>
              <a:gd name="connsiteX2911" fmla="*/ 2646380 w 12139750"/>
              <a:gd name="connsiteY2911" fmla="*/ 2158690 h 6858290"/>
              <a:gd name="connsiteX2912" fmla="*/ 2596716 w 12139750"/>
              <a:gd name="connsiteY2912" fmla="*/ 2217744 h 6858290"/>
              <a:gd name="connsiteX2913" fmla="*/ 2250972 w 12139750"/>
              <a:gd name="connsiteY2913" fmla="*/ 2278703 h 6858290"/>
              <a:gd name="connsiteX2914" fmla="*/ 2182206 w 12139750"/>
              <a:gd name="connsiteY2914" fmla="*/ 2231079 h 6858290"/>
              <a:gd name="connsiteX2915" fmla="*/ 2229960 w 12139750"/>
              <a:gd name="connsiteY2915" fmla="*/ 2160595 h 6858290"/>
              <a:gd name="connsiteX2916" fmla="*/ 2577613 w 12139750"/>
              <a:gd name="connsiteY2916" fmla="*/ 2101540 h 6858290"/>
              <a:gd name="connsiteX2917" fmla="*/ 2601252 w 12139750"/>
              <a:gd name="connsiteY2917" fmla="*/ 2101212 h 6858290"/>
              <a:gd name="connsiteX2918" fmla="*/ 3141099 w 12139750"/>
              <a:gd name="connsiteY2918" fmla="*/ 2094548 h 6858290"/>
              <a:gd name="connsiteX2919" fmla="*/ 3211538 w 12139750"/>
              <a:gd name="connsiteY2919" fmla="*/ 2151594 h 6858290"/>
              <a:gd name="connsiteX2920" fmla="*/ 3211538 w 12139750"/>
              <a:gd name="connsiteY2920" fmla="*/ 2159200 h 6858290"/>
              <a:gd name="connsiteX2921" fmla="*/ 3156330 w 12139750"/>
              <a:gd name="connsiteY2921" fmla="*/ 2221949 h 6858290"/>
              <a:gd name="connsiteX2922" fmla="*/ 2807941 w 12139750"/>
              <a:gd name="connsiteY2922" fmla="*/ 2259980 h 6858290"/>
              <a:gd name="connsiteX2923" fmla="*/ 2737501 w 12139750"/>
              <a:gd name="connsiteY2923" fmla="*/ 2202934 h 6858290"/>
              <a:gd name="connsiteX2924" fmla="*/ 2794614 w 12139750"/>
              <a:gd name="connsiteY2924" fmla="*/ 2132575 h 6858290"/>
              <a:gd name="connsiteX2925" fmla="*/ 3141099 w 12139750"/>
              <a:gd name="connsiteY2925" fmla="*/ 2094548 h 6858290"/>
              <a:gd name="connsiteX2926" fmla="*/ 9859129 w 12139750"/>
              <a:gd name="connsiteY2926" fmla="*/ 1839997 h 6858290"/>
              <a:gd name="connsiteX2927" fmla="*/ 9870549 w 12139750"/>
              <a:gd name="connsiteY2927" fmla="*/ 1845944 h 6858290"/>
              <a:gd name="connsiteX2928" fmla="*/ 9874356 w 12139750"/>
              <a:gd name="connsiteY2928" fmla="*/ 1857363 h 6858290"/>
              <a:gd name="connsiteX2929" fmla="*/ 9868646 w 12139750"/>
              <a:gd name="connsiteY2929" fmla="*/ 1868782 h 6858290"/>
              <a:gd name="connsiteX2930" fmla="*/ 9539364 w 12139750"/>
              <a:gd name="connsiteY2930" fmla="*/ 2165681 h 6858290"/>
              <a:gd name="connsiteX2931" fmla="*/ 9516524 w 12139750"/>
              <a:gd name="connsiteY2931" fmla="*/ 2165681 h 6858290"/>
              <a:gd name="connsiteX2932" fmla="*/ 9516524 w 12139750"/>
              <a:gd name="connsiteY2932" fmla="*/ 2142843 h 6858290"/>
              <a:gd name="connsiteX2933" fmla="*/ 9847709 w 12139750"/>
              <a:gd name="connsiteY2933" fmla="*/ 1844041 h 6858290"/>
              <a:gd name="connsiteX2934" fmla="*/ 9859129 w 12139750"/>
              <a:gd name="connsiteY2934" fmla="*/ 1839997 h 6858290"/>
              <a:gd name="connsiteX2935" fmla="*/ 9281354 w 12139750"/>
              <a:gd name="connsiteY2935" fmla="*/ 1833512 h 6858290"/>
              <a:gd name="connsiteX2936" fmla="*/ 9293964 w 12139750"/>
              <a:gd name="connsiteY2936" fmla="*/ 1841846 h 6858290"/>
              <a:gd name="connsiteX2937" fmla="*/ 9299674 w 12139750"/>
              <a:gd name="connsiteY2937" fmla="*/ 1853277 h 6858290"/>
              <a:gd name="connsiteX2938" fmla="*/ 9292060 w 12139750"/>
              <a:gd name="connsiteY2938" fmla="*/ 1868517 h 6858290"/>
              <a:gd name="connsiteX2939" fmla="*/ 8960867 w 12139750"/>
              <a:gd name="connsiteY2939" fmla="*/ 2146642 h 6858290"/>
              <a:gd name="connsiteX2940" fmla="*/ 8932316 w 12139750"/>
              <a:gd name="connsiteY2940" fmla="*/ 2144739 h 6858290"/>
              <a:gd name="connsiteX2941" fmla="*/ 8936123 w 12139750"/>
              <a:gd name="connsiteY2941" fmla="*/ 2116162 h 6858290"/>
              <a:gd name="connsiteX2942" fmla="*/ 9267316 w 12139750"/>
              <a:gd name="connsiteY2942" fmla="*/ 1838036 h 6858290"/>
              <a:gd name="connsiteX2943" fmla="*/ 9281354 w 12139750"/>
              <a:gd name="connsiteY2943" fmla="*/ 1833512 h 6858290"/>
              <a:gd name="connsiteX2944" fmla="*/ 10443580 w 12139750"/>
              <a:gd name="connsiteY2944" fmla="*/ 1833487 h 6858290"/>
              <a:gd name="connsiteX2945" fmla="*/ 10457916 w 12139750"/>
              <a:gd name="connsiteY2945" fmla="*/ 1841822 h 6858290"/>
              <a:gd name="connsiteX2946" fmla="*/ 10461739 w 12139750"/>
              <a:gd name="connsiteY2946" fmla="*/ 1853252 h 6858290"/>
              <a:gd name="connsiteX2947" fmla="*/ 10454093 w 12139750"/>
              <a:gd name="connsiteY2947" fmla="*/ 1868492 h 6858290"/>
              <a:gd name="connsiteX2948" fmla="*/ 10121491 w 12139750"/>
              <a:gd name="connsiteY2948" fmla="*/ 2146621 h 6858290"/>
              <a:gd name="connsiteX2949" fmla="*/ 10094730 w 12139750"/>
              <a:gd name="connsiteY2949" fmla="*/ 2144715 h 6858290"/>
              <a:gd name="connsiteX2950" fmla="*/ 10096642 w 12139750"/>
              <a:gd name="connsiteY2950" fmla="*/ 2116141 h 6858290"/>
              <a:gd name="connsiteX2951" fmla="*/ 10429243 w 12139750"/>
              <a:gd name="connsiteY2951" fmla="*/ 1838012 h 6858290"/>
              <a:gd name="connsiteX2952" fmla="*/ 10443580 w 12139750"/>
              <a:gd name="connsiteY2952" fmla="*/ 1833487 h 6858290"/>
              <a:gd name="connsiteX2953" fmla="*/ 8711664 w 12139750"/>
              <a:gd name="connsiteY2953" fmla="*/ 1828739 h 6858290"/>
              <a:gd name="connsiteX2954" fmla="*/ 8727194 w 12139750"/>
              <a:gd name="connsiteY2954" fmla="*/ 1837048 h 6858290"/>
              <a:gd name="connsiteX2955" fmla="*/ 8732928 w 12139750"/>
              <a:gd name="connsiteY2955" fmla="*/ 1852242 h 6858290"/>
              <a:gd name="connsiteX2956" fmla="*/ 8723371 w 12139750"/>
              <a:gd name="connsiteY2956" fmla="*/ 1871234 h 6858290"/>
              <a:gd name="connsiteX2957" fmla="*/ 8390798 w 12139750"/>
              <a:gd name="connsiteY2957" fmla="*/ 2127610 h 6858290"/>
              <a:gd name="connsiteX2958" fmla="*/ 8356393 w 12139750"/>
              <a:gd name="connsiteY2958" fmla="*/ 2123813 h 6858290"/>
              <a:gd name="connsiteX2959" fmla="*/ 8360216 w 12139750"/>
              <a:gd name="connsiteY2959" fmla="*/ 2089634 h 6858290"/>
              <a:gd name="connsiteX2960" fmla="*/ 8694701 w 12139750"/>
              <a:gd name="connsiteY2960" fmla="*/ 1833250 h 6858290"/>
              <a:gd name="connsiteX2961" fmla="*/ 8711664 w 12139750"/>
              <a:gd name="connsiteY2961" fmla="*/ 1828739 h 6858290"/>
              <a:gd name="connsiteX2962" fmla="*/ 11021508 w 12139750"/>
              <a:gd name="connsiteY2962" fmla="*/ 1828712 h 6858290"/>
              <a:gd name="connsiteX2963" fmla="*/ 11037038 w 12139750"/>
              <a:gd name="connsiteY2963" fmla="*/ 1837021 h 6858290"/>
              <a:gd name="connsiteX2964" fmla="*/ 11042772 w 12139750"/>
              <a:gd name="connsiteY2964" fmla="*/ 1852214 h 6858290"/>
              <a:gd name="connsiteX2965" fmla="*/ 11033215 w 12139750"/>
              <a:gd name="connsiteY2965" fmla="*/ 1871206 h 6858290"/>
              <a:gd name="connsiteX2966" fmla="*/ 10698730 w 12139750"/>
              <a:gd name="connsiteY2966" fmla="*/ 2127592 h 6858290"/>
              <a:gd name="connsiteX2967" fmla="*/ 10666237 w 12139750"/>
              <a:gd name="connsiteY2967" fmla="*/ 2123794 h 6858290"/>
              <a:gd name="connsiteX2968" fmla="*/ 10670060 w 12139750"/>
              <a:gd name="connsiteY2968" fmla="*/ 2089609 h 6858290"/>
              <a:gd name="connsiteX2969" fmla="*/ 11004545 w 12139750"/>
              <a:gd name="connsiteY2969" fmla="*/ 1833223 h 6858290"/>
              <a:gd name="connsiteX2970" fmla="*/ 11021508 w 12139750"/>
              <a:gd name="connsiteY2970" fmla="*/ 1828712 h 6858290"/>
              <a:gd name="connsiteX2971" fmla="*/ 8148424 w 12139750"/>
              <a:gd name="connsiteY2971" fmla="*/ 1822231 h 6858290"/>
              <a:gd name="connsiteX2972" fmla="*/ 8166804 w 12139750"/>
              <a:gd name="connsiteY2972" fmla="*/ 1832924 h 6858290"/>
              <a:gd name="connsiteX2973" fmla="*/ 8172533 w 12139750"/>
              <a:gd name="connsiteY2973" fmla="*/ 1850033 h 6858290"/>
              <a:gd name="connsiteX2974" fmla="*/ 8161075 w 12139750"/>
              <a:gd name="connsiteY2974" fmla="*/ 1872844 h 6858290"/>
              <a:gd name="connsiteX2975" fmla="*/ 7824980 w 12139750"/>
              <a:gd name="connsiteY2975" fmla="*/ 2108561 h 6858290"/>
              <a:gd name="connsiteX2976" fmla="*/ 7786788 w 12139750"/>
              <a:gd name="connsiteY2976" fmla="*/ 2100956 h 6858290"/>
              <a:gd name="connsiteX2977" fmla="*/ 7792517 w 12139750"/>
              <a:gd name="connsiteY2977" fmla="*/ 2062938 h 6858290"/>
              <a:gd name="connsiteX2978" fmla="*/ 8128611 w 12139750"/>
              <a:gd name="connsiteY2978" fmla="*/ 1827221 h 6858290"/>
              <a:gd name="connsiteX2979" fmla="*/ 8148424 w 12139750"/>
              <a:gd name="connsiteY2979" fmla="*/ 1822231 h 6858290"/>
              <a:gd name="connsiteX2980" fmla="*/ 11593502 w 12139750"/>
              <a:gd name="connsiteY2980" fmla="*/ 1822227 h 6858290"/>
              <a:gd name="connsiteX2981" fmla="*/ 11612061 w 12139750"/>
              <a:gd name="connsiteY2981" fmla="*/ 1832920 h 6858290"/>
              <a:gd name="connsiteX2982" fmla="*/ 11615868 w 12139750"/>
              <a:gd name="connsiteY2982" fmla="*/ 1850029 h 6858290"/>
              <a:gd name="connsiteX2983" fmla="*/ 11604447 w 12139750"/>
              <a:gd name="connsiteY2983" fmla="*/ 1872840 h 6858290"/>
              <a:gd name="connsiteX2984" fmla="*/ 11271337 w 12139750"/>
              <a:gd name="connsiteY2984" fmla="*/ 2108557 h 6858290"/>
              <a:gd name="connsiteX2985" fmla="*/ 11233267 w 12139750"/>
              <a:gd name="connsiteY2985" fmla="*/ 2100952 h 6858290"/>
              <a:gd name="connsiteX2986" fmla="*/ 11238978 w 12139750"/>
              <a:gd name="connsiteY2986" fmla="*/ 2062934 h 6858290"/>
              <a:gd name="connsiteX2987" fmla="*/ 11572088 w 12139750"/>
              <a:gd name="connsiteY2987" fmla="*/ 1827217 h 6858290"/>
              <a:gd name="connsiteX2988" fmla="*/ 11593502 w 12139750"/>
              <a:gd name="connsiteY2988" fmla="*/ 1822227 h 6858290"/>
              <a:gd name="connsiteX2989" fmla="*/ 12139750 w 12139750"/>
              <a:gd name="connsiteY2989" fmla="*/ 1819296 h 6858290"/>
              <a:gd name="connsiteX2990" fmla="*/ 12139750 w 12139750"/>
              <a:gd name="connsiteY2990" fmla="*/ 1893845 h 6858290"/>
              <a:gd name="connsiteX2991" fmla="*/ 11834405 w 12139750"/>
              <a:gd name="connsiteY2991" fmla="*/ 2090726 h 6858290"/>
              <a:gd name="connsiteX2992" fmla="*/ 11790512 w 12139750"/>
              <a:gd name="connsiteY2992" fmla="*/ 2081169 h 6858290"/>
              <a:gd name="connsiteX2993" fmla="*/ 11800054 w 12139750"/>
              <a:gd name="connsiteY2993" fmla="*/ 2037205 h 6858290"/>
              <a:gd name="connsiteX2994" fmla="*/ 12135933 w 12139750"/>
              <a:gd name="connsiteY2994" fmla="*/ 1821208 h 6858290"/>
              <a:gd name="connsiteX2995" fmla="*/ 12139750 w 12139750"/>
              <a:gd name="connsiteY2995" fmla="*/ 1819296 h 6858290"/>
              <a:gd name="connsiteX2996" fmla="*/ 7591461 w 12139750"/>
              <a:gd name="connsiteY2996" fmla="*/ 1816389 h 6858290"/>
              <a:gd name="connsiteX2997" fmla="*/ 7611195 w 12139750"/>
              <a:gd name="connsiteY2997" fmla="*/ 1830500 h 6858290"/>
              <a:gd name="connsiteX2998" fmla="*/ 7616901 w 12139750"/>
              <a:gd name="connsiteY2998" fmla="*/ 1847721 h 6858290"/>
              <a:gd name="connsiteX2999" fmla="*/ 7601685 w 12139750"/>
              <a:gd name="connsiteY2999" fmla="*/ 1874509 h 6858290"/>
              <a:gd name="connsiteX3000" fmla="*/ 7266927 w 12139750"/>
              <a:gd name="connsiteY3000" fmla="*/ 2090722 h 6858290"/>
              <a:gd name="connsiteX3001" fmla="*/ 7223180 w 12139750"/>
              <a:gd name="connsiteY3001" fmla="*/ 2081155 h 6858290"/>
              <a:gd name="connsiteX3002" fmla="*/ 7232690 w 12139750"/>
              <a:gd name="connsiteY3002" fmla="*/ 2037147 h 6858290"/>
              <a:gd name="connsiteX3003" fmla="*/ 7567448 w 12139750"/>
              <a:gd name="connsiteY3003" fmla="*/ 1820933 h 6858290"/>
              <a:gd name="connsiteX3004" fmla="*/ 7591461 w 12139750"/>
              <a:gd name="connsiteY3004" fmla="*/ 1816389 h 6858290"/>
              <a:gd name="connsiteX3005" fmla="*/ 7042453 w 12139750"/>
              <a:gd name="connsiteY3005" fmla="*/ 1811445 h 6858290"/>
              <a:gd name="connsiteX3006" fmla="*/ 7063473 w 12139750"/>
              <a:gd name="connsiteY3006" fmla="*/ 1827876 h 6858290"/>
              <a:gd name="connsiteX3007" fmla="*/ 7069206 w 12139750"/>
              <a:gd name="connsiteY3007" fmla="*/ 1845021 h 6858290"/>
              <a:gd name="connsiteX3008" fmla="*/ 7052008 w 12139750"/>
              <a:gd name="connsiteY3008" fmla="*/ 1875501 h 6858290"/>
              <a:gd name="connsiteX3009" fmla="*/ 6713777 w 12139750"/>
              <a:gd name="connsiteY3009" fmla="*/ 2071714 h 6858290"/>
              <a:gd name="connsiteX3010" fmla="*/ 6666004 w 12139750"/>
              <a:gd name="connsiteY3010" fmla="*/ 2058379 h 6858290"/>
              <a:gd name="connsiteX3011" fmla="*/ 6679381 w 12139750"/>
              <a:gd name="connsiteY3011" fmla="*/ 2010756 h 6858290"/>
              <a:gd name="connsiteX3012" fmla="*/ 7015700 w 12139750"/>
              <a:gd name="connsiteY3012" fmla="*/ 1816445 h 6858290"/>
              <a:gd name="connsiteX3013" fmla="*/ 7042453 w 12139750"/>
              <a:gd name="connsiteY3013" fmla="*/ 1811445 h 6858290"/>
              <a:gd name="connsiteX3014" fmla="*/ 6499936 w 12139750"/>
              <a:gd name="connsiteY3014" fmla="*/ 1806065 h 6858290"/>
              <a:gd name="connsiteX3015" fmla="*/ 6522132 w 12139750"/>
              <a:gd name="connsiteY3015" fmla="*/ 1825400 h 6858290"/>
              <a:gd name="connsiteX3016" fmla="*/ 6527860 w 12139750"/>
              <a:gd name="connsiteY3016" fmla="*/ 1842587 h 6858290"/>
              <a:gd name="connsiteX3017" fmla="*/ 6506857 w 12139750"/>
              <a:gd name="connsiteY3017" fmla="*/ 1876960 h 6858290"/>
              <a:gd name="connsiteX3018" fmla="*/ 6166999 w 12139750"/>
              <a:gd name="connsiteY3018" fmla="*/ 2052641 h 6858290"/>
              <a:gd name="connsiteX3019" fmla="*/ 6115448 w 12139750"/>
              <a:gd name="connsiteY3019" fmla="*/ 2035456 h 6858290"/>
              <a:gd name="connsiteX3020" fmla="*/ 6130722 w 12139750"/>
              <a:gd name="connsiteY3020" fmla="*/ 1983897 h 6858290"/>
              <a:gd name="connsiteX3021" fmla="*/ 6470580 w 12139750"/>
              <a:gd name="connsiteY3021" fmla="*/ 1808213 h 6858290"/>
              <a:gd name="connsiteX3022" fmla="*/ 6499936 w 12139750"/>
              <a:gd name="connsiteY3022" fmla="*/ 1806065 h 6858290"/>
              <a:gd name="connsiteX3023" fmla="*/ 5958440 w 12139750"/>
              <a:gd name="connsiteY3023" fmla="*/ 1800931 h 6858290"/>
              <a:gd name="connsiteX3024" fmla="*/ 5982710 w 12139750"/>
              <a:gd name="connsiteY3024" fmla="*/ 1822950 h 6858290"/>
              <a:gd name="connsiteX3025" fmla="*/ 5986518 w 12139750"/>
              <a:gd name="connsiteY3025" fmla="*/ 1840183 h 6858290"/>
              <a:gd name="connsiteX3026" fmla="*/ 5961771 w 12139750"/>
              <a:gd name="connsiteY3026" fmla="*/ 1878478 h 6858290"/>
              <a:gd name="connsiteX3027" fmla="*/ 5622934 w 12139750"/>
              <a:gd name="connsiteY3027" fmla="*/ 2033566 h 6858290"/>
              <a:gd name="connsiteX3028" fmla="*/ 5565827 w 12139750"/>
              <a:gd name="connsiteY3028" fmla="*/ 2012506 h 6858290"/>
              <a:gd name="connsiteX3029" fmla="*/ 5586767 w 12139750"/>
              <a:gd name="connsiteY3029" fmla="*/ 1955065 h 6858290"/>
              <a:gd name="connsiteX3030" fmla="*/ 5925602 w 12139750"/>
              <a:gd name="connsiteY3030" fmla="*/ 1801889 h 6858290"/>
              <a:gd name="connsiteX3031" fmla="*/ 5958440 w 12139750"/>
              <a:gd name="connsiteY3031" fmla="*/ 1800931 h 6858290"/>
              <a:gd name="connsiteX3032" fmla="*/ 398962 w 12139750"/>
              <a:gd name="connsiteY3032" fmla="*/ 1800922 h 6858290"/>
              <a:gd name="connsiteX3033" fmla="*/ 423233 w 12139750"/>
              <a:gd name="connsiteY3033" fmla="*/ 1822941 h 6858290"/>
              <a:gd name="connsiteX3034" fmla="*/ 427041 w 12139750"/>
              <a:gd name="connsiteY3034" fmla="*/ 1840174 h 6858290"/>
              <a:gd name="connsiteX3035" fmla="*/ 400390 w 12139750"/>
              <a:gd name="connsiteY3035" fmla="*/ 1878468 h 6858290"/>
              <a:gd name="connsiteX3036" fmla="*/ 61546 w 12139750"/>
              <a:gd name="connsiteY3036" fmla="*/ 2033558 h 6858290"/>
              <a:gd name="connsiteX3037" fmla="*/ 6342 w 12139750"/>
              <a:gd name="connsiteY3037" fmla="*/ 2012496 h 6858290"/>
              <a:gd name="connsiteX3038" fmla="*/ 27281 w 12139750"/>
              <a:gd name="connsiteY3038" fmla="*/ 1955055 h 6858290"/>
              <a:gd name="connsiteX3039" fmla="*/ 366125 w 12139750"/>
              <a:gd name="connsiteY3039" fmla="*/ 1801879 h 6858290"/>
              <a:gd name="connsiteX3040" fmla="*/ 398962 w 12139750"/>
              <a:gd name="connsiteY3040" fmla="*/ 1800922 h 6858290"/>
              <a:gd name="connsiteX3041" fmla="*/ 5395741 w 12139750"/>
              <a:gd name="connsiteY3041" fmla="*/ 1792156 h 6858290"/>
              <a:gd name="connsiteX3042" fmla="*/ 5438189 w 12139750"/>
              <a:gd name="connsiteY3042" fmla="*/ 1822160 h 6858290"/>
              <a:gd name="connsiteX3043" fmla="*/ 5442010 w 12139750"/>
              <a:gd name="connsiteY3043" fmla="*/ 1839306 h 6858290"/>
              <a:gd name="connsiteX3044" fmla="*/ 5411443 w 12139750"/>
              <a:gd name="connsiteY3044" fmla="*/ 1883121 h 6858290"/>
              <a:gd name="connsiteX3045" fmla="*/ 5069457 w 12139750"/>
              <a:gd name="connsiteY3045" fmla="*/ 2014565 h 6858290"/>
              <a:gd name="connsiteX3046" fmla="*/ 5010238 w 12139750"/>
              <a:gd name="connsiteY3046" fmla="*/ 1989801 h 6858290"/>
              <a:gd name="connsiteX3047" fmla="*/ 5036982 w 12139750"/>
              <a:gd name="connsiteY3047" fmla="*/ 1928841 h 6858290"/>
              <a:gd name="connsiteX3048" fmla="*/ 5377053 w 12139750"/>
              <a:gd name="connsiteY3048" fmla="*/ 1795490 h 6858290"/>
              <a:gd name="connsiteX3049" fmla="*/ 5395741 w 12139750"/>
              <a:gd name="connsiteY3049" fmla="*/ 1792156 h 6858290"/>
              <a:gd name="connsiteX3050" fmla="*/ 929266 w 12139750"/>
              <a:gd name="connsiteY3050" fmla="*/ 1792145 h 6858290"/>
              <a:gd name="connsiteX3051" fmla="*/ 970909 w 12139750"/>
              <a:gd name="connsiteY3051" fmla="*/ 1822149 h 6858290"/>
              <a:gd name="connsiteX3052" fmla="*/ 974730 w 12139750"/>
              <a:gd name="connsiteY3052" fmla="*/ 1839294 h 6858290"/>
              <a:gd name="connsiteX3053" fmla="*/ 946072 w 12139750"/>
              <a:gd name="connsiteY3053" fmla="*/ 1883109 h 6858290"/>
              <a:gd name="connsiteX3054" fmla="*/ 604089 w 12139750"/>
              <a:gd name="connsiteY3054" fmla="*/ 2014554 h 6858290"/>
              <a:gd name="connsiteX3055" fmla="*/ 542953 w 12139750"/>
              <a:gd name="connsiteY3055" fmla="*/ 1989789 h 6858290"/>
              <a:gd name="connsiteX3056" fmla="*/ 569700 w 12139750"/>
              <a:gd name="connsiteY3056" fmla="*/ 1928829 h 6858290"/>
              <a:gd name="connsiteX3057" fmla="*/ 911683 w 12139750"/>
              <a:gd name="connsiteY3057" fmla="*/ 1795478 h 6858290"/>
              <a:gd name="connsiteX3058" fmla="*/ 929266 w 12139750"/>
              <a:gd name="connsiteY3058" fmla="*/ 1792145 h 6858290"/>
              <a:gd name="connsiteX3059" fmla="*/ 4845291 w 12139750"/>
              <a:gd name="connsiteY3059" fmla="*/ 1786421 h 6858290"/>
              <a:gd name="connsiteX3060" fmla="*/ 4889232 w 12139750"/>
              <a:gd name="connsiteY3060" fmla="*/ 1819733 h 6858290"/>
              <a:gd name="connsiteX3061" fmla="*/ 4891138 w 12139750"/>
              <a:gd name="connsiteY3061" fmla="*/ 1836927 h 6858290"/>
              <a:gd name="connsiteX3062" fmla="*/ 4856840 w 12139750"/>
              <a:gd name="connsiteY3062" fmla="*/ 1884687 h 6858290"/>
              <a:gd name="connsiteX3063" fmla="*/ 4515847 w 12139750"/>
              <a:gd name="connsiteY3063" fmla="*/ 1997399 h 6858290"/>
              <a:gd name="connsiteX3064" fmla="*/ 4451077 w 12139750"/>
              <a:gd name="connsiteY3064" fmla="*/ 1964923 h 6858290"/>
              <a:gd name="connsiteX3065" fmla="*/ 4483463 w 12139750"/>
              <a:gd name="connsiteY3065" fmla="*/ 1901881 h 6858290"/>
              <a:gd name="connsiteX3066" fmla="*/ 4826356 w 12139750"/>
              <a:gd name="connsiteY3066" fmla="*/ 1789167 h 6858290"/>
              <a:gd name="connsiteX3067" fmla="*/ 4845291 w 12139750"/>
              <a:gd name="connsiteY3067" fmla="*/ 1786421 h 6858290"/>
              <a:gd name="connsiteX3068" fmla="*/ 1480544 w 12139750"/>
              <a:gd name="connsiteY3068" fmla="*/ 1786407 h 6858290"/>
              <a:gd name="connsiteX3069" fmla="*/ 1523376 w 12139750"/>
              <a:gd name="connsiteY3069" fmla="*/ 1819719 h 6858290"/>
              <a:gd name="connsiteX3070" fmla="*/ 1527184 w 12139750"/>
              <a:gd name="connsiteY3070" fmla="*/ 1836913 h 6858290"/>
              <a:gd name="connsiteX3071" fmla="*/ 1492918 w 12139750"/>
              <a:gd name="connsiteY3071" fmla="*/ 1884672 h 6858290"/>
              <a:gd name="connsiteX3072" fmla="*/ 1150255 w 12139750"/>
              <a:gd name="connsiteY3072" fmla="*/ 1997385 h 6858290"/>
              <a:gd name="connsiteX3073" fmla="*/ 1087434 w 12139750"/>
              <a:gd name="connsiteY3073" fmla="*/ 1964908 h 6858290"/>
              <a:gd name="connsiteX3074" fmla="*/ 1119796 w 12139750"/>
              <a:gd name="connsiteY3074" fmla="*/ 1901866 h 6858290"/>
              <a:gd name="connsiteX3075" fmla="*/ 1460555 w 12139750"/>
              <a:gd name="connsiteY3075" fmla="*/ 1789153 h 6858290"/>
              <a:gd name="connsiteX3076" fmla="*/ 1480544 w 12139750"/>
              <a:gd name="connsiteY3076" fmla="*/ 1786407 h 6858290"/>
              <a:gd name="connsiteX3077" fmla="*/ 4289928 w 12139750"/>
              <a:gd name="connsiteY3077" fmla="*/ 1779643 h 6858290"/>
              <a:gd name="connsiteX3078" fmla="*/ 4333596 w 12139750"/>
              <a:gd name="connsiteY3078" fmla="*/ 1819260 h 6858290"/>
              <a:gd name="connsiteX3079" fmla="*/ 4335502 w 12139750"/>
              <a:gd name="connsiteY3079" fmla="*/ 1834591 h 6858290"/>
              <a:gd name="connsiteX3080" fmla="*/ 4295494 w 12139750"/>
              <a:gd name="connsiteY3080" fmla="*/ 1886336 h 6858290"/>
              <a:gd name="connsiteX3081" fmla="*/ 3952611 w 12139750"/>
              <a:gd name="connsiteY3081" fmla="*/ 1978325 h 6858290"/>
              <a:gd name="connsiteX3082" fmla="*/ 3885933 w 12139750"/>
              <a:gd name="connsiteY3082" fmla="*/ 1939996 h 6858290"/>
              <a:gd name="connsiteX3083" fmla="*/ 3924035 w 12139750"/>
              <a:gd name="connsiteY3083" fmla="*/ 1872921 h 6858290"/>
              <a:gd name="connsiteX3084" fmla="*/ 4268823 w 12139750"/>
              <a:gd name="connsiteY3084" fmla="*/ 1780930 h 6858290"/>
              <a:gd name="connsiteX3085" fmla="*/ 4289928 w 12139750"/>
              <a:gd name="connsiteY3085" fmla="*/ 1779643 h 6858290"/>
              <a:gd name="connsiteX3086" fmla="*/ 2035631 w 12139750"/>
              <a:gd name="connsiteY3086" fmla="*/ 1779626 h 6858290"/>
              <a:gd name="connsiteX3087" fmla="*/ 2080910 w 12139750"/>
              <a:gd name="connsiteY3087" fmla="*/ 1819243 h 6858290"/>
              <a:gd name="connsiteX3088" fmla="*/ 2082815 w 12139750"/>
              <a:gd name="connsiteY3088" fmla="*/ 1834574 h 6858290"/>
              <a:gd name="connsiteX3089" fmla="*/ 2042805 w 12139750"/>
              <a:gd name="connsiteY3089" fmla="*/ 1886319 h 6858290"/>
              <a:gd name="connsiteX3090" fmla="*/ 1699901 w 12139750"/>
              <a:gd name="connsiteY3090" fmla="*/ 1978307 h 6858290"/>
              <a:gd name="connsiteX3091" fmla="*/ 1633225 w 12139750"/>
              <a:gd name="connsiteY3091" fmla="*/ 1939979 h 6858290"/>
              <a:gd name="connsiteX3092" fmla="*/ 1671326 w 12139750"/>
              <a:gd name="connsiteY3092" fmla="*/ 1872903 h 6858290"/>
              <a:gd name="connsiteX3093" fmla="*/ 2014230 w 12139750"/>
              <a:gd name="connsiteY3093" fmla="*/ 1780914 h 6858290"/>
              <a:gd name="connsiteX3094" fmla="*/ 2035631 w 12139750"/>
              <a:gd name="connsiteY3094" fmla="*/ 1779626 h 6858290"/>
              <a:gd name="connsiteX3095" fmla="*/ 3732186 w 12139750"/>
              <a:gd name="connsiteY3095" fmla="*/ 1775478 h 6858290"/>
              <a:gd name="connsiteX3096" fmla="*/ 3778298 w 12139750"/>
              <a:gd name="connsiteY3096" fmla="*/ 1820020 h 6858290"/>
              <a:gd name="connsiteX3097" fmla="*/ 3778298 w 12139750"/>
              <a:gd name="connsiteY3097" fmla="*/ 1831468 h 6858290"/>
              <a:gd name="connsiteX3098" fmla="*/ 3732542 w 12139750"/>
              <a:gd name="connsiteY3098" fmla="*/ 1888710 h 6858290"/>
              <a:gd name="connsiteX3099" fmla="*/ 3387515 w 12139750"/>
              <a:gd name="connsiteY3099" fmla="*/ 1959308 h 6858290"/>
              <a:gd name="connsiteX3100" fmla="*/ 3318884 w 12139750"/>
              <a:gd name="connsiteY3100" fmla="*/ 1915423 h 6858290"/>
              <a:gd name="connsiteX3101" fmla="*/ 3364636 w 12139750"/>
              <a:gd name="connsiteY3101" fmla="*/ 1846733 h 6858290"/>
              <a:gd name="connsiteX3102" fmla="*/ 3709666 w 12139750"/>
              <a:gd name="connsiteY3102" fmla="*/ 1776134 h 6858290"/>
              <a:gd name="connsiteX3103" fmla="*/ 3732186 w 12139750"/>
              <a:gd name="connsiteY3103" fmla="*/ 1775478 h 6858290"/>
              <a:gd name="connsiteX3104" fmla="*/ 2597096 w 12139750"/>
              <a:gd name="connsiteY3104" fmla="*/ 1775459 h 6858290"/>
              <a:gd name="connsiteX3105" fmla="*/ 2643205 w 12139750"/>
              <a:gd name="connsiteY3105" fmla="*/ 1820000 h 6858290"/>
              <a:gd name="connsiteX3106" fmla="*/ 2643205 w 12139750"/>
              <a:gd name="connsiteY3106" fmla="*/ 1831449 h 6858290"/>
              <a:gd name="connsiteX3107" fmla="*/ 2597454 w 12139750"/>
              <a:gd name="connsiteY3107" fmla="*/ 1888690 h 6858290"/>
              <a:gd name="connsiteX3108" fmla="*/ 2252409 w 12139750"/>
              <a:gd name="connsiteY3108" fmla="*/ 1959288 h 6858290"/>
              <a:gd name="connsiteX3109" fmla="*/ 2183781 w 12139750"/>
              <a:gd name="connsiteY3109" fmla="*/ 1915403 h 6858290"/>
              <a:gd name="connsiteX3110" fmla="*/ 2229533 w 12139750"/>
              <a:gd name="connsiteY3110" fmla="*/ 1846713 h 6858290"/>
              <a:gd name="connsiteX3111" fmla="*/ 2574577 w 12139750"/>
              <a:gd name="connsiteY3111" fmla="*/ 1776115 h 6858290"/>
              <a:gd name="connsiteX3112" fmla="*/ 2597096 w 12139750"/>
              <a:gd name="connsiteY3112" fmla="*/ 1775459 h 6858290"/>
              <a:gd name="connsiteX3113" fmla="*/ 3139439 w 12139750"/>
              <a:gd name="connsiteY3113" fmla="*/ 1767857 h 6858290"/>
              <a:gd name="connsiteX3114" fmla="*/ 3209972 w 12139750"/>
              <a:gd name="connsiteY3114" fmla="*/ 1819203 h 6858290"/>
              <a:gd name="connsiteX3115" fmla="*/ 3209972 w 12139750"/>
              <a:gd name="connsiteY3115" fmla="*/ 1828711 h 6858290"/>
              <a:gd name="connsiteX3116" fmla="*/ 3156597 w 12139750"/>
              <a:gd name="connsiteY3116" fmla="*/ 1889566 h 6858290"/>
              <a:gd name="connsiteX3117" fmla="*/ 2811555 w 12139750"/>
              <a:gd name="connsiteY3117" fmla="*/ 1939010 h 6858290"/>
              <a:gd name="connsiteX3118" fmla="*/ 2741022 w 12139750"/>
              <a:gd name="connsiteY3118" fmla="*/ 1887665 h 6858290"/>
              <a:gd name="connsiteX3119" fmla="*/ 2792492 w 12139750"/>
              <a:gd name="connsiteY3119" fmla="*/ 1819203 h 6858290"/>
              <a:gd name="connsiteX3120" fmla="*/ 3139439 w 12139750"/>
              <a:gd name="connsiteY3120" fmla="*/ 1767857 h 6858290"/>
              <a:gd name="connsiteX3121" fmla="*/ 9859195 w 12139750"/>
              <a:gd name="connsiteY3121" fmla="*/ 1522734 h 6858290"/>
              <a:gd name="connsiteX3122" fmla="*/ 9871816 w 12139750"/>
              <a:gd name="connsiteY3122" fmla="*/ 1530346 h 6858290"/>
              <a:gd name="connsiteX3123" fmla="*/ 9877531 w 12139750"/>
              <a:gd name="connsiteY3123" fmla="*/ 1541765 h 6858290"/>
              <a:gd name="connsiteX3124" fmla="*/ 9869911 w 12139750"/>
              <a:gd name="connsiteY3124" fmla="*/ 1556990 h 6858290"/>
              <a:gd name="connsiteX3125" fmla="*/ 9538436 w 12139750"/>
              <a:gd name="connsiteY3125" fmla="*/ 1838657 h 6858290"/>
              <a:gd name="connsiteX3126" fmla="*/ 9511766 w 12139750"/>
              <a:gd name="connsiteY3126" fmla="*/ 1836754 h 6858290"/>
              <a:gd name="connsiteX3127" fmla="*/ 9513671 w 12139750"/>
              <a:gd name="connsiteY3127" fmla="*/ 1810110 h 6858290"/>
              <a:gd name="connsiteX3128" fmla="*/ 9845146 w 12139750"/>
              <a:gd name="connsiteY3128" fmla="*/ 1526540 h 6858290"/>
              <a:gd name="connsiteX3129" fmla="*/ 9859195 w 12139750"/>
              <a:gd name="connsiteY3129" fmla="*/ 1522734 h 6858290"/>
              <a:gd name="connsiteX3130" fmla="*/ 9283544 w 12139750"/>
              <a:gd name="connsiteY3130" fmla="*/ 1516005 h 6858290"/>
              <a:gd name="connsiteX3131" fmla="*/ 9299036 w 12139750"/>
              <a:gd name="connsiteY3131" fmla="*/ 1524331 h 6858290"/>
              <a:gd name="connsiteX3132" fmla="*/ 9302849 w 12139750"/>
              <a:gd name="connsiteY3132" fmla="*/ 1537653 h 6858290"/>
              <a:gd name="connsiteX3133" fmla="*/ 9295223 w 12139750"/>
              <a:gd name="connsiteY3133" fmla="*/ 1554780 h 6858290"/>
              <a:gd name="connsiteX3134" fmla="*/ 8961563 w 12139750"/>
              <a:gd name="connsiteY3134" fmla="*/ 1821217 h 6858290"/>
              <a:gd name="connsiteX3135" fmla="*/ 8931057 w 12139750"/>
              <a:gd name="connsiteY3135" fmla="*/ 1817411 h 6858290"/>
              <a:gd name="connsiteX3136" fmla="*/ 8934871 w 12139750"/>
              <a:gd name="connsiteY3136" fmla="*/ 1785058 h 6858290"/>
              <a:gd name="connsiteX3137" fmla="*/ 9266623 w 12139750"/>
              <a:gd name="connsiteY3137" fmla="*/ 1520524 h 6858290"/>
              <a:gd name="connsiteX3138" fmla="*/ 9283544 w 12139750"/>
              <a:gd name="connsiteY3138" fmla="*/ 1516005 h 6858290"/>
              <a:gd name="connsiteX3139" fmla="*/ 10444673 w 12139750"/>
              <a:gd name="connsiteY3139" fmla="*/ 1515983 h 6858290"/>
              <a:gd name="connsiteX3140" fmla="*/ 10459199 w 12139750"/>
              <a:gd name="connsiteY3140" fmla="*/ 1524309 h 6858290"/>
              <a:gd name="connsiteX3141" fmla="*/ 10464914 w 12139750"/>
              <a:gd name="connsiteY3141" fmla="*/ 1537630 h 6858290"/>
              <a:gd name="connsiteX3142" fmla="*/ 10455389 w 12139750"/>
              <a:gd name="connsiteY3142" fmla="*/ 1554759 h 6858290"/>
              <a:gd name="connsiteX3143" fmla="*/ 10123915 w 12139750"/>
              <a:gd name="connsiteY3143" fmla="*/ 1821192 h 6858290"/>
              <a:gd name="connsiteX3144" fmla="*/ 10091529 w 12139750"/>
              <a:gd name="connsiteY3144" fmla="*/ 1817385 h 6858290"/>
              <a:gd name="connsiteX3145" fmla="*/ 10095339 w 12139750"/>
              <a:gd name="connsiteY3145" fmla="*/ 1785033 h 6858290"/>
              <a:gd name="connsiteX3146" fmla="*/ 10428719 w 12139750"/>
              <a:gd name="connsiteY3146" fmla="*/ 1520503 h 6858290"/>
              <a:gd name="connsiteX3147" fmla="*/ 10444673 w 12139750"/>
              <a:gd name="connsiteY3147" fmla="*/ 1515983 h 6858290"/>
              <a:gd name="connsiteX3148" fmla="*/ 8713305 w 12139750"/>
              <a:gd name="connsiteY3148" fmla="*/ 1508547 h 6858290"/>
              <a:gd name="connsiteX3149" fmla="*/ 8730703 w 12139750"/>
              <a:gd name="connsiteY3149" fmla="*/ 1518310 h 6858290"/>
              <a:gd name="connsiteX3150" fmla="*/ 8734516 w 12139750"/>
              <a:gd name="connsiteY3150" fmla="*/ 1533551 h 6858290"/>
              <a:gd name="connsiteX3151" fmla="*/ 8724983 w 12139750"/>
              <a:gd name="connsiteY3151" fmla="*/ 1554506 h 6858290"/>
              <a:gd name="connsiteX3152" fmla="*/ 8391331 w 12139750"/>
              <a:gd name="connsiteY3152" fmla="*/ 1802160 h 6858290"/>
              <a:gd name="connsiteX3153" fmla="*/ 8355106 w 12139750"/>
              <a:gd name="connsiteY3153" fmla="*/ 1796444 h 6858290"/>
              <a:gd name="connsiteX3154" fmla="*/ 8360826 w 12139750"/>
              <a:gd name="connsiteY3154" fmla="*/ 1760249 h 6858290"/>
              <a:gd name="connsiteX3155" fmla="*/ 8694478 w 12139750"/>
              <a:gd name="connsiteY3155" fmla="*/ 1514500 h 6858290"/>
              <a:gd name="connsiteX3156" fmla="*/ 8713305 w 12139750"/>
              <a:gd name="connsiteY3156" fmla="*/ 1508547 h 6858290"/>
              <a:gd name="connsiteX3157" fmla="*/ 11022911 w 12139750"/>
              <a:gd name="connsiteY3157" fmla="*/ 1508523 h 6858290"/>
              <a:gd name="connsiteX3158" fmla="*/ 11038640 w 12139750"/>
              <a:gd name="connsiteY3158" fmla="*/ 1518286 h 6858290"/>
              <a:gd name="connsiteX3159" fmla="*/ 11044360 w 12139750"/>
              <a:gd name="connsiteY3159" fmla="*/ 1533526 h 6858290"/>
              <a:gd name="connsiteX3160" fmla="*/ 11034827 w 12139750"/>
              <a:gd name="connsiteY3160" fmla="*/ 1554481 h 6858290"/>
              <a:gd name="connsiteX3161" fmla="*/ 10701175 w 12139750"/>
              <a:gd name="connsiteY3161" fmla="*/ 1802131 h 6858290"/>
              <a:gd name="connsiteX3162" fmla="*/ 10664950 w 12139750"/>
              <a:gd name="connsiteY3162" fmla="*/ 1796416 h 6858290"/>
              <a:gd name="connsiteX3163" fmla="*/ 10670670 w 12139750"/>
              <a:gd name="connsiteY3163" fmla="*/ 1760221 h 6858290"/>
              <a:gd name="connsiteX3164" fmla="*/ 11004322 w 12139750"/>
              <a:gd name="connsiteY3164" fmla="*/ 1514476 h 6858290"/>
              <a:gd name="connsiteX3165" fmla="*/ 11022911 w 12139750"/>
              <a:gd name="connsiteY3165" fmla="*/ 1508523 h 6858290"/>
              <a:gd name="connsiteX3166" fmla="*/ 8149812 w 12139750"/>
              <a:gd name="connsiteY3166" fmla="*/ 1501800 h 6858290"/>
              <a:gd name="connsiteX3167" fmla="*/ 8168401 w 12139750"/>
              <a:gd name="connsiteY3167" fmla="*/ 1514182 h 6858290"/>
              <a:gd name="connsiteX3168" fmla="*/ 8174121 w 12139750"/>
              <a:gd name="connsiteY3168" fmla="*/ 1531327 h 6858290"/>
              <a:gd name="connsiteX3169" fmla="*/ 8160775 w 12139750"/>
              <a:gd name="connsiteY3169" fmla="*/ 1554187 h 6858290"/>
              <a:gd name="connsiteX3170" fmla="*/ 7825223 w 12139750"/>
              <a:gd name="connsiteY3170" fmla="*/ 1782791 h 6858290"/>
              <a:gd name="connsiteX3171" fmla="*/ 7785185 w 12139750"/>
              <a:gd name="connsiteY3171" fmla="*/ 1775171 h 6858290"/>
              <a:gd name="connsiteX3172" fmla="*/ 7792812 w 12139750"/>
              <a:gd name="connsiteY3172" fmla="*/ 1735166 h 6858290"/>
              <a:gd name="connsiteX3173" fmla="*/ 8128364 w 12139750"/>
              <a:gd name="connsiteY3173" fmla="*/ 1506563 h 6858290"/>
              <a:gd name="connsiteX3174" fmla="*/ 8149812 w 12139750"/>
              <a:gd name="connsiteY3174" fmla="*/ 1501800 h 6858290"/>
              <a:gd name="connsiteX3175" fmla="*/ 11594174 w 12139750"/>
              <a:gd name="connsiteY3175" fmla="*/ 1501795 h 6858290"/>
              <a:gd name="connsiteX3176" fmla="*/ 11613654 w 12139750"/>
              <a:gd name="connsiteY3176" fmla="*/ 1514178 h 6858290"/>
              <a:gd name="connsiteX3177" fmla="*/ 11617455 w 12139750"/>
              <a:gd name="connsiteY3177" fmla="*/ 1531323 h 6858290"/>
              <a:gd name="connsiteX3178" fmla="*/ 11606052 w 12139750"/>
              <a:gd name="connsiteY3178" fmla="*/ 1554183 h 6858290"/>
              <a:gd name="connsiteX3179" fmla="*/ 11271574 w 12139750"/>
              <a:gd name="connsiteY3179" fmla="*/ 1782786 h 6858290"/>
              <a:gd name="connsiteX3180" fmla="*/ 11231664 w 12139750"/>
              <a:gd name="connsiteY3180" fmla="*/ 1775166 h 6858290"/>
              <a:gd name="connsiteX3181" fmla="*/ 11239266 w 12139750"/>
              <a:gd name="connsiteY3181" fmla="*/ 1735161 h 6858290"/>
              <a:gd name="connsiteX3182" fmla="*/ 11571844 w 12139750"/>
              <a:gd name="connsiteY3182" fmla="*/ 1506558 h 6858290"/>
              <a:gd name="connsiteX3183" fmla="*/ 11594174 w 12139750"/>
              <a:gd name="connsiteY3183" fmla="*/ 1501795 h 6858290"/>
              <a:gd name="connsiteX3184" fmla="*/ 12139750 w 12139750"/>
              <a:gd name="connsiteY3184" fmla="*/ 1497031 h 6858290"/>
              <a:gd name="connsiteX3185" fmla="*/ 12139750 w 12139750"/>
              <a:gd name="connsiteY3185" fmla="*/ 1573231 h 6858290"/>
              <a:gd name="connsiteX3186" fmla="*/ 11834677 w 12139750"/>
              <a:gd name="connsiteY3186" fmla="*/ 1763733 h 6858290"/>
              <a:gd name="connsiteX3187" fmla="*/ 11788917 w 12139750"/>
              <a:gd name="connsiteY3187" fmla="*/ 1754208 h 6858290"/>
              <a:gd name="connsiteX3188" fmla="*/ 11800357 w 12139750"/>
              <a:gd name="connsiteY3188" fmla="*/ 1710392 h 6858290"/>
              <a:gd name="connsiteX3189" fmla="*/ 12135937 w 12139750"/>
              <a:gd name="connsiteY3189" fmla="*/ 1498936 h 6858290"/>
              <a:gd name="connsiteX3190" fmla="*/ 12139750 w 12139750"/>
              <a:gd name="connsiteY3190" fmla="*/ 1497031 h 6858290"/>
              <a:gd name="connsiteX3191" fmla="*/ 7592412 w 12139750"/>
              <a:gd name="connsiteY3191" fmla="*/ 1496614 h 6858290"/>
              <a:gd name="connsiteX3192" fmla="*/ 7613097 w 12139750"/>
              <a:gd name="connsiteY3192" fmla="*/ 1511548 h 6858290"/>
              <a:gd name="connsiteX3193" fmla="*/ 7616901 w 12139750"/>
              <a:gd name="connsiteY3193" fmla="*/ 1528616 h 6858290"/>
              <a:gd name="connsiteX3194" fmla="*/ 7601685 w 12139750"/>
              <a:gd name="connsiteY3194" fmla="*/ 1555168 h 6858290"/>
              <a:gd name="connsiteX3195" fmla="*/ 7266927 w 12139750"/>
              <a:gd name="connsiteY3195" fmla="*/ 1763784 h 6858290"/>
              <a:gd name="connsiteX3196" fmla="*/ 7223180 w 12139750"/>
              <a:gd name="connsiteY3196" fmla="*/ 1754301 h 6858290"/>
              <a:gd name="connsiteX3197" fmla="*/ 7232690 w 12139750"/>
              <a:gd name="connsiteY3197" fmla="*/ 1710681 h 6858290"/>
              <a:gd name="connsiteX3198" fmla="*/ 7567448 w 12139750"/>
              <a:gd name="connsiteY3198" fmla="*/ 1500170 h 6858290"/>
              <a:gd name="connsiteX3199" fmla="*/ 7592412 w 12139750"/>
              <a:gd name="connsiteY3199" fmla="*/ 1496614 h 6858290"/>
              <a:gd name="connsiteX3200" fmla="*/ 7043429 w 12139750"/>
              <a:gd name="connsiteY3200" fmla="*/ 1490543 h 6858290"/>
              <a:gd name="connsiteX3201" fmla="*/ 7065387 w 12139750"/>
              <a:gd name="connsiteY3201" fmla="*/ 1507250 h 6858290"/>
              <a:gd name="connsiteX3202" fmla="*/ 7069206 w 12139750"/>
              <a:gd name="connsiteY3202" fmla="*/ 1524435 h 6858290"/>
              <a:gd name="connsiteX3203" fmla="*/ 7052021 w 12139750"/>
              <a:gd name="connsiteY3203" fmla="*/ 1554987 h 6858290"/>
              <a:gd name="connsiteX3204" fmla="*/ 6714055 w 12139750"/>
              <a:gd name="connsiteY3204" fmla="*/ 1747844 h 6858290"/>
              <a:gd name="connsiteX3205" fmla="*/ 6664410 w 12139750"/>
              <a:gd name="connsiteY3205" fmla="*/ 1734477 h 6858290"/>
              <a:gd name="connsiteX3206" fmla="*/ 6677776 w 12139750"/>
              <a:gd name="connsiteY3206" fmla="*/ 1684830 h 6858290"/>
              <a:gd name="connsiteX3207" fmla="*/ 7015742 w 12139750"/>
              <a:gd name="connsiteY3207" fmla="*/ 1493885 h 6858290"/>
              <a:gd name="connsiteX3208" fmla="*/ 7043429 w 12139750"/>
              <a:gd name="connsiteY3208" fmla="*/ 1490543 h 6858290"/>
              <a:gd name="connsiteX3209" fmla="*/ 6500175 w 12139750"/>
              <a:gd name="connsiteY3209" fmla="*/ 1483801 h 6858290"/>
              <a:gd name="connsiteX3210" fmla="*/ 6524041 w 12139750"/>
              <a:gd name="connsiteY3210" fmla="*/ 1503135 h 6858290"/>
              <a:gd name="connsiteX3211" fmla="*/ 6527860 w 12139750"/>
              <a:gd name="connsiteY3211" fmla="*/ 1520321 h 6858290"/>
              <a:gd name="connsiteX3212" fmla="*/ 6506857 w 12139750"/>
              <a:gd name="connsiteY3212" fmla="*/ 1554694 h 6858290"/>
              <a:gd name="connsiteX3213" fmla="*/ 6166999 w 12139750"/>
              <a:gd name="connsiteY3213" fmla="*/ 1728470 h 6858290"/>
              <a:gd name="connsiteX3214" fmla="*/ 6113538 w 12139750"/>
              <a:gd name="connsiteY3214" fmla="*/ 1711284 h 6858290"/>
              <a:gd name="connsiteX3215" fmla="*/ 6130722 w 12139750"/>
              <a:gd name="connsiteY3215" fmla="*/ 1659723 h 6858290"/>
              <a:gd name="connsiteX3216" fmla="*/ 6470580 w 12139750"/>
              <a:gd name="connsiteY3216" fmla="*/ 1485949 h 6858290"/>
              <a:gd name="connsiteX3217" fmla="*/ 6500175 w 12139750"/>
              <a:gd name="connsiteY3217" fmla="*/ 1483801 h 6858290"/>
              <a:gd name="connsiteX3218" fmla="*/ 5958440 w 12139750"/>
              <a:gd name="connsiteY3218" fmla="*/ 1477068 h 6858290"/>
              <a:gd name="connsiteX3219" fmla="*/ 5982710 w 12139750"/>
              <a:gd name="connsiteY3219" fmla="*/ 1499058 h 6858290"/>
              <a:gd name="connsiteX3220" fmla="*/ 5986518 w 12139750"/>
              <a:gd name="connsiteY3220" fmla="*/ 1516267 h 6858290"/>
              <a:gd name="connsiteX3221" fmla="*/ 5961771 w 12139750"/>
              <a:gd name="connsiteY3221" fmla="*/ 1556424 h 6858290"/>
              <a:gd name="connsiteX3222" fmla="*/ 5622934 w 12139750"/>
              <a:gd name="connsiteY3222" fmla="*/ 1711317 h 6858290"/>
              <a:gd name="connsiteX3223" fmla="*/ 5565827 w 12139750"/>
              <a:gd name="connsiteY3223" fmla="*/ 1690282 h 6858290"/>
              <a:gd name="connsiteX3224" fmla="*/ 5586767 w 12139750"/>
              <a:gd name="connsiteY3224" fmla="*/ 1632914 h 6858290"/>
              <a:gd name="connsiteX3225" fmla="*/ 5925602 w 12139750"/>
              <a:gd name="connsiteY3225" fmla="*/ 1478023 h 6858290"/>
              <a:gd name="connsiteX3226" fmla="*/ 5958440 w 12139750"/>
              <a:gd name="connsiteY3226" fmla="*/ 1477068 h 6858290"/>
              <a:gd name="connsiteX3227" fmla="*/ 398249 w 12139750"/>
              <a:gd name="connsiteY3227" fmla="*/ 1477059 h 6858290"/>
              <a:gd name="connsiteX3228" fmla="*/ 423234 w 12139750"/>
              <a:gd name="connsiteY3228" fmla="*/ 1499048 h 6858290"/>
              <a:gd name="connsiteX3229" fmla="*/ 427041 w 12139750"/>
              <a:gd name="connsiteY3229" fmla="*/ 1516259 h 6858290"/>
              <a:gd name="connsiteX3230" fmla="*/ 402294 w 12139750"/>
              <a:gd name="connsiteY3230" fmla="*/ 1556416 h 6858290"/>
              <a:gd name="connsiteX3231" fmla="*/ 61547 w 12139750"/>
              <a:gd name="connsiteY3231" fmla="*/ 1711307 h 6858290"/>
              <a:gd name="connsiteX3232" fmla="*/ 6342 w 12139750"/>
              <a:gd name="connsiteY3232" fmla="*/ 1690272 h 6858290"/>
              <a:gd name="connsiteX3233" fmla="*/ 27282 w 12139750"/>
              <a:gd name="connsiteY3233" fmla="*/ 1632905 h 6858290"/>
              <a:gd name="connsiteX3234" fmla="*/ 366125 w 12139750"/>
              <a:gd name="connsiteY3234" fmla="*/ 1478015 h 6858290"/>
              <a:gd name="connsiteX3235" fmla="*/ 398249 w 12139750"/>
              <a:gd name="connsiteY3235" fmla="*/ 1477059 h 6858290"/>
              <a:gd name="connsiteX3236" fmla="*/ 5394603 w 12139750"/>
              <a:gd name="connsiteY3236" fmla="*/ 1468287 h 6858290"/>
              <a:gd name="connsiteX3237" fmla="*/ 5436930 w 12139750"/>
              <a:gd name="connsiteY3237" fmla="*/ 1498212 h 6858290"/>
              <a:gd name="connsiteX3238" fmla="*/ 5438835 w 12139750"/>
              <a:gd name="connsiteY3238" fmla="*/ 1515311 h 6858290"/>
              <a:gd name="connsiteX3239" fmla="*/ 5410261 w 12139750"/>
              <a:gd name="connsiteY3239" fmla="*/ 1557113 h 6858290"/>
              <a:gd name="connsiteX3240" fmla="*/ 5069259 w 12139750"/>
              <a:gd name="connsiteY3240" fmla="*/ 1693914 h 6858290"/>
              <a:gd name="connsiteX3241" fmla="*/ 5010210 w 12139750"/>
              <a:gd name="connsiteY3241" fmla="*/ 1667314 h 6858290"/>
              <a:gd name="connsiteX3242" fmla="*/ 5036877 w 12139750"/>
              <a:gd name="connsiteY3242" fmla="*/ 1608413 h 6858290"/>
              <a:gd name="connsiteX3243" fmla="*/ 5375970 w 12139750"/>
              <a:gd name="connsiteY3243" fmla="*/ 1471613 h 6858290"/>
              <a:gd name="connsiteX3244" fmla="*/ 5394603 w 12139750"/>
              <a:gd name="connsiteY3244" fmla="*/ 1468287 h 6858290"/>
              <a:gd name="connsiteX3245" fmla="*/ 929397 w 12139750"/>
              <a:gd name="connsiteY3245" fmla="*/ 1468276 h 6858290"/>
              <a:gd name="connsiteX3246" fmla="*/ 970920 w 12139750"/>
              <a:gd name="connsiteY3246" fmla="*/ 1498200 h 6858290"/>
              <a:gd name="connsiteX3247" fmla="*/ 974730 w 12139750"/>
              <a:gd name="connsiteY3247" fmla="*/ 1515301 h 6858290"/>
              <a:gd name="connsiteX3248" fmla="*/ 946155 w 12139750"/>
              <a:gd name="connsiteY3248" fmla="*/ 1557101 h 6858290"/>
              <a:gd name="connsiteX3249" fmla="*/ 605156 w 12139750"/>
              <a:gd name="connsiteY3249" fmla="*/ 1693902 h 6858290"/>
              <a:gd name="connsiteX3250" fmla="*/ 546100 w 12139750"/>
              <a:gd name="connsiteY3250" fmla="*/ 1667301 h 6858290"/>
              <a:gd name="connsiteX3251" fmla="*/ 570866 w 12139750"/>
              <a:gd name="connsiteY3251" fmla="*/ 1608401 h 6858290"/>
              <a:gd name="connsiteX3252" fmla="*/ 911865 w 12139750"/>
              <a:gd name="connsiteY3252" fmla="*/ 1471601 h 6858290"/>
              <a:gd name="connsiteX3253" fmla="*/ 929397 w 12139750"/>
              <a:gd name="connsiteY3253" fmla="*/ 1468276 h 6858290"/>
              <a:gd name="connsiteX3254" fmla="*/ 4844457 w 12139750"/>
              <a:gd name="connsiteY3254" fmla="*/ 1461448 h 6858290"/>
              <a:gd name="connsiteX3255" fmla="*/ 4887326 w 12139750"/>
              <a:gd name="connsiteY3255" fmla="*/ 1493862 h 6858290"/>
              <a:gd name="connsiteX3256" fmla="*/ 4891138 w 12139750"/>
              <a:gd name="connsiteY3256" fmla="*/ 1511006 h 6858290"/>
              <a:gd name="connsiteX3257" fmla="*/ 4856840 w 12139750"/>
              <a:gd name="connsiteY3257" fmla="*/ 1556728 h 6858290"/>
              <a:gd name="connsiteX3258" fmla="*/ 4515847 w 12139750"/>
              <a:gd name="connsiteY3258" fmla="*/ 1674839 h 6858290"/>
              <a:gd name="connsiteX3259" fmla="*/ 4452982 w 12139750"/>
              <a:gd name="connsiteY3259" fmla="*/ 1644358 h 6858290"/>
              <a:gd name="connsiteX3260" fmla="*/ 4483463 w 12139750"/>
              <a:gd name="connsiteY3260" fmla="*/ 1583397 h 6858290"/>
              <a:gd name="connsiteX3261" fmla="*/ 4824450 w 12139750"/>
              <a:gd name="connsiteY3261" fmla="*/ 1463382 h 6858290"/>
              <a:gd name="connsiteX3262" fmla="*/ 4844457 w 12139750"/>
              <a:gd name="connsiteY3262" fmla="*/ 1461448 h 6858290"/>
              <a:gd name="connsiteX3263" fmla="*/ 1479724 w 12139750"/>
              <a:gd name="connsiteY3263" fmla="*/ 1461434 h 6858290"/>
              <a:gd name="connsiteX3264" fmla="*/ 1523689 w 12139750"/>
              <a:gd name="connsiteY3264" fmla="*/ 1493848 h 6858290"/>
              <a:gd name="connsiteX3265" fmla="*/ 1525596 w 12139750"/>
              <a:gd name="connsiteY3265" fmla="*/ 1510993 h 6858290"/>
              <a:gd name="connsiteX3266" fmla="*/ 1493187 w 12139750"/>
              <a:gd name="connsiteY3266" fmla="*/ 1556713 h 6858290"/>
              <a:gd name="connsiteX3267" fmla="*/ 1150039 w 12139750"/>
              <a:gd name="connsiteY3267" fmla="*/ 1674825 h 6858290"/>
              <a:gd name="connsiteX3268" fmla="*/ 1089034 w 12139750"/>
              <a:gd name="connsiteY3268" fmla="*/ 1644344 h 6858290"/>
              <a:gd name="connsiteX3269" fmla="*/ 1117630 w 12139750"/>
              <a:gd name="connsiteY3269" fmla="*/ 1583384 h 6858290"/>
              <a:gd name="connsiteX3270" fmla="*/ 1460779 w 12139750"/>
              <a:gd name="connsiteY3270" fmla="*/ 1463368 h 6858290"/>
              <a:gd name="connsiteX3271" fmla="*/ 1479724 w 12139750"/>
              <a:gd name="connsiteY3271" fmla="*/ 1461434 h 6858290"/>
              <a:gd name="connsiteX3272" fmla="*/ 4287991 w 12139750"/>
              <a:gd name="connsiteY3272" fmla="*/ 1454950 h 6858290"/>
              <a:gd name="connsiteX3273" fmla="*/ 4331690 w 12139750"/>
              <a:gd name="connsiteY3273" fmla="*/ 1491704 h 6858290"/>
              <a:gd name="connsiteX3274" fmla="*/ 4335502 w 12139750"/>
              <a:gd name="connsiteY3274" fmla="*/ 1506966 h 6858290"/>
              <a:gd name="connsiteX3275" fmla="*/ 4297375 w 12139750"/>
              <a:gd name="connsiteY3275" fmla="*/ 1558477 h 6858290"/>
              <a:gd name="connsiteX3276" fmla="*/ 3954252 w 12139750"/>
              <a:gd name="connsiteY3276" fmla="*/ 1657683 h 6858290"/>
              <a:gd name="connsiteX3277" fmla="*/ 3887526 w 12139750"/>
              <a:gd name="connsiteY3277" fmla="*/ 1621435 h 6858290"/>
              <a:gd name="connsiteX3278" fmla="*/ 3923748 w 12139750"/>
              <a:gd name="connsiteY3278" fmla="*/ 1556569 h 6858290"/>
              <a:gd name="connsiteX3279" fmla="*/ 4266871 w 12139750"/>
              <a:gd name="connsiteY3279" fmla="*/ 1457365 h 6858290"/>
              <a:gd name="connsiteX3280" fmla="*/ 4287991 w 12139750"/>
              <a:gd name="connsiteY3280" fmla="*/ 1454950 h 6858290"/>
              <a:gd name="connsiteX3281" fmla="*/ 2034947 w 12139750"/>
              <a:gd name="connsiteY3281" fmla="*/ 1454934 h 6858290"/>
              <a:gd name="connsiteX3282" fmla="*/ 2079328 w 12139750"/>
              <a:gd name="connsiteY3282" fmla="*/ 1491688 h 6858290"/>
              <a:gd name="connsiteX3283" fmla="*/ 2081229 w 12139750"/>
              <a:gd name="connsiteY3283" fmla="*/ 1506950 h 6858290"/>
              <a:gd name="connsiteX3284" fmla="*/ 2043205 w 12139750"/>
              <a:gd name="connsiteY3284" fmla="*/ 1558461 h 6858290"/>
              <a:gd name="connsiteX3285" fmla="*/ 1701020 w 12139750"/>
              <a:gd name="connsiteY3285" fmla="*/ 1657667 h 6858290"/>
              <a:gd name="connsiteX3286" fmla="*/ 1636385 w 12139750"/>
              <a:gd name="connsiteY3286" fmla="*/ 1621418 h 6858290"/>
              <a:gd name="connsiteX3287" fmla="*/ 1672505 w 12139750"/>
              <a:gd name="connsiteY3287" fmla="*/ 1556553 h 6858290"/>
              <a:gd name="connsiteX3288" fmla="*/ 2014689 w 12139750"/>
              <a:gd name="connsiteY3288" fmla="*/ 1457348 h 6858290"/>
              <a:gd name="connsiteX3289" fmla="*/ 2034947 w 12139750"/>
              <a:gd name="connsiteY3289" fmla="*/ 1454934 h 6858290"/>
              <a:gd name="connsiteX3290" fmla="*/ 3729077 w 12139750"/>
              <a:gd name="connsiteY3290" fmla="*/ 1449679 h 6858290"/>
              <a:gd name="connsiteX3291" fmla="*/ 3773220 w 12139750"/>
              <a:gd name="connsiteY3291" fmla="*/ 1490538 h 6858290"/>
              <a:gd name="connsiteX3292" fmla="*/ 3775123 w 12139750"/>
              <a:gd name="connsiteY3292" fmla="*/ 1503831 h 6858290"/>
              <a:gd name="connsiteX3293" fmla="*/ 3733267 w 12139750"/>
              <a:gd name="connsiteY3293" fmla="*/ 1558905 h 6858290"/>
              <a:gd name="connsiteX3294" fmla="*/ 3388946 w 12139750"/>
              <a:gd name="connsiteY3294" fmla="*/ 1638666 h 6858290"/>
              <a:gd name="connsiteX3295" fmla="*/ 3322361 w 12139750"/>
              <a:gd name="connsiteY3295" fmla="*/ 1598786 h 6858290"/>
              <a:gd name="connsiteX3296" fmla="*/ 3362311 w 12139750"/>
              <a:gd name="connsiteY3296" fmla="*/ 1530418 h 6858290"/>
              <a:gd name="connsiteX3297" fmla="*/ 3706634 w 12139750"/>
              <a:gd name="connsiteY3297" fmla="*/ 1450658 h 6858290"/>
              <a:gd name="connsiteX3298" fmla="*/ 3729077 w 12139750"/>
              <a:gd name="connsiteY3298" fmla="*/ 1449679 h 6858290"/>
              <a:gd name="connsiteX3299" fmla="*/ 2595306 w 12139750"/>
              <a:gd name="connsiteY3299" fmla="*/ 1449661 h 6858290"/>
              <a:gd name="connsiteX3300" fmla="*/ 2639715 w 12139750"/>
              <a:gd name="connsiteY3300" fmla="*/ 1490520 h 6858290"/>
              <a:gd name="connsiteX3301" fmla="*/ 2641617 w 12139750"/>
              <a:gd name="connsiteY3301" fmla="*/ 1503814 h 6858290"/>
              <a:gd name="connsiteX3302" fmla="*/ 2597862 w 12139750"/>
              <a:gd name="connsiteY3302" fmla="*/ 1558887 h 6858290"/>
              <a:gd name="connsiteX3303" fmla="*/ 2255431 w 12139750"/>
              <a:gd name="connsiteY3303" fmla="*/ 1638648 h 6858290"/>
              <a:gd name="connsiteX3304" fmla="*/ 2188847 w 12139750"/>
              <a:gd name="connsiteY3304" fmla="*/ 1598767 h 6858290"/>
              <a:gd name="connsiteX3305" fmla="*/ 2228797 w 12139750"/>
              <a:gd name="connsiteY3305" fmla="*/ 1530401 h 6858290"/>
              <a:gd name="connsiteX3306" fmla="*/ 2573131 w 12139750"/>
              <a:gd name="connsiteY3306" fmla="*/ 1450640 h 6858290"/>
              <a:gd name="connsiteX3307" fmla="*/ 2595306 w 12139750"/>
              <a:gd name="connsiteY3307" fmla="*/ 1449661 h 6858290"/>
              <a:gd name="connsiteX3308" fmla="*/ 3137756 w 12139750"/>
              <a:gd name="connsiteY3308" fmla="*/ 1442427 h 6858290"/>
              <a:gd name="connsiteX3309" fmla="*/ 3206475 w 12139750"/>
              <a:gd name="connsiteY3309" fmla="*/ 1490052 h 6858290"/>
              <a:gd name="connsiteX3310" fmla="*/ 3208386 w 12139750"/>
              <a:gd name="connsiteY3310" fmla="*/ 1499576 h 6858290"/>
              <a:gd name="connsiteX3311" fmla="*/ 3158755 w 12139750"/>
              <a:gd name="connsiteY3311" fmla="*/ 1558632 h 6858290"/>
              <a:gd name="connsiteX3312" fmla="*/ 2813246 w 12139750"/>
              <a:gd name="connsiteY3312" fmla="*/ 1621498 h 6858290"/>
              <a:gd name="connsiteX3313" fmla="*/ 2744525 w 12139750"/>
              <a:gd name="connsiteY3313" fmla="*/ 1573872 h 6858290"/>
              <a:gd name="connsiteX3314" fmla="*/ 2792248 w 12139750"/>
              <a:gd name="connsiteY3314" fmla="*/ 1505291 h 6858290"/>
              <a:gd name="connsiteX3315" fmla="*/ 3137756 w 12139750"/>
              <a:gd name="connsiteY3315" fmla="*/ 1442427 h 6858290"/>
              <a:gd name="connsiteX3316" fmla="*/ 9860829 w 12139750"/>
              <a:gd name="connsiteY3316" fmla="*/ 1204612 h 6858290"/>
              <a:gd name="connsiteX3317" fmla="*/ 9875319 w 12139750"/>
              <a:gd name="connsiteY3317" fmla="*/ 1211306 h 6858290"/>
              <a:gd name="connsiteX3318" fmla="*/ 9879119 w 12139750"/>
              <a:gd name="connsiteY3318" fmla="*/ 1226607 h 6858290"/>
              <a:gd name="connsiteX3319" fmla="*/ 9871518 w 12139750"/>
              <a:gd name="connsiteY3319" fmla="*/ 1243820 h 6858290"/>
              <a:gd name="connsiteX3320" fmla="*/ 9540880 w 12139750"/>
              <a:gd name="connsiteY3320" fmla="*/ 1511592 h 6858290"/>
              <a:gd name="connsiteX3321" fmla="*/ 9510477 w 12139750"/>
              <a:gd name="connsiteY3321" fmla="*/ 1509680 h 6858290"/>
              <a:gd name="connsiteX3322" fmla="*/ 9514277 w 12139750"/>
              <a:gd name="connsiteY3322" fmla="*/ 1479077 h 6858290"/>
              <a:gd name="connsiteX3323" fmla="*/ 9844915 w 12139750"/>
              <a:gd name="connsiteY3323" fmla="*/ 1209393 h 6858290"/>
              <a:gd name="connsiteX3324" fmla="*/ 9860829 w 12139750"/>
              <a:gd name="connsiteY3324" fmla="*/ 1204612 h 6858290"/>
              <a:gd name="connsiteX3325" fmla="*/ 9284557 w 12139750"/>
              <a:gd name="connsiteY3325" fmla="*/ 1198509 h 6858290"/>
              <a:gd name="connsiteX3326" fmla="*/ 9300299 w 12139750"/>
              <a:gd name="connsiteY3326" fmla="*/ 1206835 h 6858290"/>
              <a:gd name="connsiteX3327" fmla="*/ 9306023 w 12139750"/>
              <a:gd name="connsiteY3327" fmla="*/ 1222058 h 6858290"/>
              <a:gd name="connsiteX3328" fmla="*/ 9296482 w 12139750"/>
              <a:gd name="connsiteY3328" fmla="*/ 1242988 h 6858290"/>
              <a:gd name="connsiteX3329" fmla="*/ 8962556 w 12139750"/>
              <a:gd name="connsiteY3329" fmla="*/ 1494190 h 6858290"/>
              <a:gd name="connsiteX3330" fmla="*/ 8928209 w 12139750"/>
              <a:gd name="connsiteY3330" fmla="*/ 1490384 h 6858290"/>
              <a:gd name="connsiteX3331" fmla="*/ 8932025 w 12139750"/>
              <a:gd name="connsiteY3331" fmla="*/ 1454228 h 6858290"/>
              <a:gd name="connsiteX3332" fmla="*/ 9265952 w 12139750"/>
              <a:gd name="connsiteY3332" fmla="*/ 1203029 h 6858290"/>
              <a:gd name="connsiteX3333" fmla="*/ 9284557 w 12139750"/>
              <a:gd name="connsiteY3333" fmla="*/ 1198509 h 6858290"/>
              <a:gd name="connsiteX3334" fmla="*/ 10445106 w 12139750"/>
              <a:gd name="connsiteY3334" fmla="*/ 1198483 h 6858290"/>
              <a:gd name="connsiteX3335" fmla="*/ 10460796 w 12139750"/>
              <a:gd name="connsiteY3335" fmla="*/ 1206809 h 6858290"/>
              <a:gd name="connsiteX3336" fmla="*/ 10466502 w 12139750"/>
              <a:gd name="connsiteY3336" fmla="*/ 1222033 h 6858290"/>
              <a:gd name="connsiteX3337" fmla="*/ 10456993 w 12139750"/>
              <a:gd name="connsiteY3337" fmla="*/ 1242967 h 6858290"/>
              <a:gd name="connsiteX3338" fmla="*/ 10124163 w 12139750"/>
              <a:gd name="connsiteY3338" fmla="*/ 1494166 h 6858290"/>
              <a:gd name="connsiteX3339" fmla="*/ 10089930 w 12139750"/>
              <a:gd name="connsiteY3339" fmla="*/ 1490360 h 6858290"/>
              <a:gd name="connsiteX3340" fmla="*/ 10093733 w 12139750"/>
              <a:gd name="connsiteY3340" fmla="*/ 1454203 h 6858290"/>
              <a:gd name="connsiteX3341" fmla="*/ 10426563 w 12139750"/>
              <a:gd name="connsiteY3341" fmla="*/ 1203003 h 6858290"/>
              <a:gd name="connsiteX3342" fmla="*/ 10445106 w 12139750"/>
              <a:gd name="connsiteY3342" fmla="*/ 1198483 h 6858290"/>
              <a:gd name="connsiteX3343" fmla="*/ 8713976 w 12139750"/>
              <a:gd name="connsiteY3343" fmla="*/ 1190406 h 6858290"/>
              <a:gd name="connsiteX3344" fmla="*/ 8732297 w 12139750"/>
              <a:gd name="connsiteY3344" fmla="*/ 1201099 h 6858290"/>
              <a:gd name="connsiteX3345" fmla="*/ 8736104 w 12139750"/>
              <a:gd name="connsiteY3345" fmla="*/ 1218208 h 6858290"/>
              <a:gd name="connsiteX3346" fmla="*/ 8724683 w 12139750"/>
              <a:gd name="connsiteY3346" fmla="*/ 1241015 h 6858290"/>
              <a:gd name="connsiteX3347" fmla="*/ 8391573 w 12139750"/>
              <a:gd name="connsiteY3347" fmla="*/ 1476736 h 6858290"/>
              <a:gd name="connsiteX3348" fmla="*/ 8353503 w 12139750"/>
              <a:gd name="connsiteY3348" fmla="*/ 1469132 h 6858290"/>
              <a:gd name="connsiteX3349" fmla="*/ 8359214 w 12139750"/>
              <a:gd name="connsiteY3349" fmla="*/ 1431112 h 6858290"/>
              <a:gd name="connsiteX3350" fmla="*/ 8694227 w 12139750"/>
              <a:gd name="connsiteY3350" fmla="*/ 1195396 h 6858290"/>
              <a:gd name="connsiteX3351" fmla="*/ 8713976 w 12139750"/>
              <a:gd name="connsiteY3351" fmla="*/ 1190406 h 6858290"/>
              <a:gd name="connsiteX3352" fmla="*/ 11023582 w 12139750"/>
              <a:gd name="connsiteY3352" fmla="*/ 1190378 h 6858290"/>
              <a:gd name="connsiteX3353" fmla="*/ 11042141 w 12139750"/>
              <a:gd name="connsiteY3353" fmla="*/ 1201071 h 6858290"/>
              <a:gd name="connsiteX3354" fmla="*/ 11045948 w 12139750"/>
              <a:gd name="connsiteY3354" fmla="*/ 1218180 h 6858290"/>
              <a:gd name="connsiteX3355" fmla="*/ 11034527 w 12139750"/>
              <a:gd name="connsiteY3355" fmla="*/ 1240991 h 6858290"/>
              <a:gd name="connsiteX3356" fmla="*/ 10701417 w 12139750"/>
              <a:gd name="connsiteY3356" fmla="*/ 1476710 h 6858290"/>
              <a:gd name="connsiteX3357" fmla="*/ 10663347 w 12139750"/>
              <a:gd name="connsiteY3357" fmla="*/ 1469106 h 6858290"/>
              <a:gd name="connsiteX3358" fmla="*/ 10669058 w 12139750"/>
              <a:gd name="connsiteY3358" fmla="*/ 1431087 h 6858290"/>
              <a:gd name="connsiteX3359" fmla="*/ 11002168 w 12139750"/>
              <a:gd name="connsiteY3359" fmla="*/ 1195368 h 6858290"/>
              <a:gd name="connsiteX3360" fmla="*/ 11023582 w 12139750"/>
              <a:gd name="connsiteY3360" fmla="*/ 1190378 h 6858290"/>
              <a:gd name="connsiteX3361" fmla="*/ 8150486 w 12139750"/>
              <a:gd name="connsiteY3361" fmla="*/ 1182942 h 6858290"/>
              <a:gd name="connsiteX3362" fmla="*/ 8169997 w 12139750"/>
              <a:gd name="connsiteY3362" fmla="*/ 1196960 h 6858290"/>
              <a:gd name="connsiteX3363" fmla="*/ 8175708 w 12139750"/>
              <a:gd name="connsiteY3363" fmla="*/ 1212168 h 6858290"/>
              <a:gd name="connsiteX3364" fmla="*/ 8160480 w 12139750"/>
              <a:gd name="connsiteY3364" fmla="*/ 1238776 h 6858290"/>
              <a:gd name="connsiteX3365" fmla="*/ 7825460 w 12139750"/>
              <a:gd name="connsiteY3365" fmla="*/ 1457373 h 6858290"/>
              <a:gd name="connsiteX3366" fmla="*/ 7783582 w 12139750"/>
              <a:gd name="connsiteY3366" fmla="*/ 1449769 h 6858290"/>
              <a:gd name="connsiteX3367" fmla="*/ 7793100 w 12139750"/>
              <a:gd name="connsiteY3367" fmla="*/ 1407952 h 6858290"/>
              <a:gd name="connsiteX3368" fmla="*/ 8128120 w 12139750"/>
              <a:gd name="connsiteY3368" fmla="*/ 1187458 h 6858290"/>
              <a:gd name="connsiteX3369" fmla="*/ 8150486 w 12139750"/>
              <a:gd name="connsiteY3369" fmla="*/ 1182942 h 6858290"/>
              <a:gd name="connsiteX3370" fmla="*/ 11595229 w 12139750"/>
              <a:gd name="connsiteY3370" fmla="*/ 1182937 h 6858290"/>
              <a:gd name="connsiteX3371" fmla="*/ 11613327 w 12139750"/>
              <a:gd name="connsiteY3371" fmla="*/ 1196955 h 6858290"/>
              <a:gd name="connsiteX3372" fmla="*/ 11619042 w 12139750"/>
              <a:gd name="connsiteY3372" fmla="*/ 1212161 h 6858290"/>
              <a:gd name="connsiteX3373" fmla="*/ 11605707 w 12139750"/>
              <a:gd name="connsiteY3373" fmla="*/ 1238770 h 6858290"/>
              <a:gd name="connsiteX3374" fmla="*/ 11270423 w 12139750"/>
              <a:gd name="connsiteY3374" fmla="*/ 1457367 h 6858290"/>
              <a:gd name="connsiteX3375" fmla="*/ 11228512 w 12139750"/>
              <a:gd name="connsiteY3375" fmla="*/ 1449763 h 6858290"/>
              <a:gd name="connsiteX3376" fmla="*/ 11236132 w 12139750"/>
              <a:gd name="connsiteY3376" fmla="*/ 1407946 h 6858290"/>
              <a:gd name="connsiteX3377" fmla="*/ 11571416 w 12139750"/>
              <a:gd name="connsiteY3377" fmla="*/ 1187451 h 6858290"/>
              <a:gd name="connsiteX3378" fmla="*/ 11595229 w 12139750"/>
              <a:gd name="connsiteY3378" fmla="*/ 1182937 h 6858290"/>
              <a:gd name="connsiteX3379" fmla="*/ 12139750 w 12139750"/>
              <a:gd name="connsiteY3379" fmla="*/ 1177944 h 6858290"/>
              <a:gd name="connsiteX3380" fmla="*/ 12139750 w 12139750"/>
              <a:gd name="connsiteY3380" fmla="*/ 1255774 h 6858290"/>
              <a:gd name="connsiteX3381" fmla="*/ 11834677 w 12139750"/>
              <a:gd name="connsiteY3381" fmla="*/ 1439913 h 6858290"/>
              <a:gd name="connsiteX3382" fmla="*/ 11788917 w 12139750"/>
              <a:gd name="connsiteY3382" fmla="*/ 1428524 h 6858290"/>
              <a:gd name="connsiteX3383" fmla="*/ 11798450 w 12139750"/>
              <a:gd name="connsiteY3383" fmla="*/ 1382965 h 6858290"/>
              <a:gd name="connsiteX3384" fmla="*/ 12135937 w 12139750"/>
              <a:gd name="connsiteY3384" fmla="*/ 1179842 h 6858290"/>
              <a:gd name="connsiteX3385" fmla="*/ 12139750 w 12139750"/>
              <a:gd name="connsiteY3385" fmla="*/ 1177944 h 6858290"/>
              <a:gd name="connsiteX3386" fmla="*/ 7594338 w 12139750"/>
              <a:gd name="connsiteY3386" fmla="*/ 1175955 h 6858290"/>
              <a:gd name="connsiteX3387" fmla="*/ 7614356 w 12139750"/>
              <a:gd name="connsiteY3387" fmla="*/ 1190924 h 6858290"/>
              <a:gd name="connsiteX3388" fmla="*/ 7620076 w 12139750"/>
              <a:gd name="connsiteY3388" fmla="*/ 1208030 h 6858290"/>
              <a:gd name="connsiteX3389" fmla="*/ 7604824 w 12139750"/>
              <a:gd name="connsiteY3389" fmla="*/ 1236536 h 6858290"/>
              <a:gd name="connsiteX3390" fmla="*/ 7267372 w 12139750"/>
              <a:gd name="connsiteY3390" fmla="*/ 1439910 h 6858290"/>
              <a:gd name="connsiteX3391" fmla="*/ 7221615 w 12139750"/>
              <a:gd name="connsiteY3391" fmla="*/ 1428505 h 6858290"/>
              <a:gd name="connsiteX3392" fmla="*/ 7233054 w 12139750"/>
              <a:gd name="connsiteY3392" fmla="*/ 1382889 h 6858290"/>
              <a:gd name="connsiteX3393" fmla="*/ 7568600 w 12139750"/>
              <a:gd name="connsiteY3393" fmla="*/ 1179519 h 6858290"/>
              <a:gd name="connsiteX3394" fmla="*/ 7594338 w 12139750"/>
              <a:gd name="connsiteY3394" fmla="*/ 1175955 h 6858290"/>
              <a:gd name="connsiteX3395" fmla="*/ 7043844 w 12139750"/>
              <a:gd name="connsiteY3395" fmla="*/ 1168289 h 6858290"/>
              <a:gd name="connsiteX3396" fmla="*/ 7065070 w 12139750"/>
              <a:gd name="connsiteY3396" fmla="*/ 1185018 h 6858290"/>
              <a:gd name="connsiteX3397" fmla="*/ 7070794 w 12139750"/>
              <a:gd name="connsiteY3397" fmla="*/ 1204137 h 6858290"/>
              <a:gd name="connsiteX3398" fmla="*/ 7051714 w 12139750"/>
              <a:gd name="connsiteY3398" fmla="*/ 1234720 h 6858290"/>
              <a:gd name="connsiteX3399" fmla="*/ 6714009 w 12139750"/>
              <a:gd name="connsiteY3399" fmla="*/ 1423981 h 6858290"/>
              <a:gd name="connsiteX3400" fmla="*/ 6664402 w 12139750"/>
              <a:gd name="connsiteY3400" fmla="*/ 1410601 h 6858290"/>
              <a:gd name="connsiteX3401" fmla="*/ 6677758 w 12139750"/>
              <a:gd name="connsiteY3401" fmla="*/ 1360894 h 6858290"/>
              <a:gd name="connsiteX3402" fmla="*/ 7015463 w 12139750"/>
              <a:gd name="connsiteY3402" fmla="*/ 1171635 h 6858290"/>
              <a:gd name="connsiteX3403" fmla="*/ 7043844 w 12139750"/>
              <a:gd name="connsiteY3403" fmla="*/ 1168289 h 6858290"/>
              <a:gd name="connsiteX3404" fmla="*/ 6500891 w 12139750"/>
              <a:gd name="connsiteY3404" fmla="*/ 1161548 h 6858290"/>
              <a:gd name="connsiteX3405" fmla="*/ 6524041 w 12139750"/>
              <a:gd name="connsiteY3405" fmla="*/ 1180908 h 6858290"/>
              <a:gd name="connsiteX3406" fmla="*/ 6527860 w 12139750"/>
              <a:gd name="connsiteY3406" fmla="*/ 1198115 h 6858290"/>
              <a:gd name="connsiteX3407" fmla="*/ 6506857 w 12139750"/>
              <a:gd name="connsiteY3407" fmla="*/ 1234440 h 6858290"/>
              <a:gd name="connsiteX3408" fmla="*/ 6166999 w 12139750"/>
              <a:gd name="connsiteY3408" fmla="*/ 1406519 h 6858290"/>
              <a:gd name="connsiteX3409" fmla="*/ 6113538 w 12139750"/>
              <a:gd name="connsiteY3409" fmla="*/ 1389310 h 6858290"/>
              <a:gd name="connsiteX3410" fmla="*/ 6130722 w 12139750"/>
              <a:gd name="connsiteY3410" fmla="*/ 1335774 h 6858290"/>
              <a:gd name="connsiteX3411" fmla="*/ 6470580 w 12139750"/>
              <a:gd name="connsiteY3411" fmla="*/ 1163700 h 6858290"/>
              <a:gd name="connsiteX3412" fmla="*/ 6500891 w 12139750"/>
              <a:gd name="connsiteY3412" fmla="*/ 1161548 h 6858290"/>
              <a:gd name="connsiteX3413" fmla="*/ 5957727 w 12139750"/>
              <a:gd name="connsiteY3413" fmla="*/ 1155628 h 6858290"/>
              <a:gd name="connsiteX3414" fmla="*/ 5982710 w 12139750"/>
              <a:gd name="connsiteY3414" fmla="*/ 1178193 h 6858290"/>
              <a:gd name="connsiteX3415" fmla="*/ 5986518 w 12139750"/>
              <a:gd name="connsiteY3415" fmla="*/ 1195296 h 6858290"/>
              <a:gd name="connsiteX3416" fmla="*/ 5961771 w 12139750"/>
              <a:gd name="connsiteY3416" fmla="*/ 1233296 h 6858290"/>
              <a:gd name="connsiteX3417" fmla="*/ 5622934 w 12139750"/>
              <a:gd name="connsiteY3417" fmla="*/ 1389114 h 6858290"/>
              <a:gd name="connsiteX3418" fmla="*/ 5565827 w 12139750"/>
              <a:gd name="connsiteY3418" fmla="*/ 1368212 h 6858290"/>
              <a:gd name="connsiteX3419" fmla="*/ 5586767 w 12139750"/>
              <a:gd name="connsiteY3419" fmla="*/ 1313104 h 6858290"/>
              <a:gd name="connsiteX3420" fmla="*/ 5925602 w 12139750"/>
              <a:gd name="connsiteY3420" fmla="*/ 1157291 h 6858290"/>
              <a:gd name="connsiteX3421" fmla="*/ 5957727 w 12139750"/>
              <a:gd name="connsiteY3421" fmla="*/ 1155628 h 6858290"/>
              <a:gd name="connsiteX3422" fmla="*/ 398307 w 12139750"/>
              <a:gd name="connsiteY3422" fmla="*/ 1155617 h 6858290"/>
              <a:gd name="connsiteX3423" fmla="*/ 421644 w 12139750"/>
              <a:gd name="connsiteY3423" fmla="*/ 1178183 h 6858290"/>
              <a:gd name="connsiteX3424" fmla="*/ 425454 w 12139750"/>
              <a:gd name="connsiteY3424" fmla="*/ 1195284 h 6858290"/>
              <a:gd name="connsiteX3425" fmla="*/ 402594 w 12139750"/>
              <a:gd name="connsiteY3425" fmla="*/ 1233286 h 6858290"/>
              <a:gd name="connsiteX3426" fmla="*/ 61595 w 12139750"/>
              <a:gd name="connsiteY3426" fmla="*/ 1389103 h 6858290"/>
              <a:gd name="connsiteX3427" fmla="*/ 6349 w 12139750"/>
              <a:gd name="connsiteY3427" fmla="*/ 1368201 h 6858290"/>
              <a:gd name="connsiteX3428" fmla="*/ 27304 w 12139750"/>
              <a:gd name="connsiteY3428" fmla="*/ 1313094 h 6858290"/>
              <a:gd name="connsiteX3429" fmla="*/ 366398 w 12139750"/>
              <a:gd name="connsiteY3429" fmla="*/ 1157280 h 6858290"/>
              <a:gd name="connsiteX3430" fmla="*/ 398307 w 12139750"/>
              <a:gd name="connsiteY3430" fmla="*/ 1155617 h 6858290"/>
              <a:gd name="connsiteX3431" fmla="*/ 5393468 w 12139750"/>
              <a:gd name="connsiteY3431" fmla="*/ 1144402 h 6858290"/>
              <a:gd name="connsiteX3432" fmla="*/ 5435021 w 12139750"/>
              <a:gd name="connsiteY3432" fmla="*/ 1172421 h 6858290"/>
              <a:gd name="connsiteX3433" fmla="*/ 5438834 w 12139750"/>
              <a:gd name="connsiteY3433" fmla="*/ 1189500 h 6858290"/>
              <a:gd name="connsiteX3434" fmla="*/ 5410239 w 12139750"/>
              <a:gd name="connsiteY3434" fmla="*/ 1231244 h 6858290"/>
              <a:gd name="connsiteX3435" fmla="*/ 5070896 w 12139750"/>
              <a:gd name="connsiteY3435" fmla="*/ 1371665 h 6858290"/>
              <a:gd name="connsiteX3436" fmla="*/ 5011805 w 12139750"/>
              <a:gd name="connsiteY3436" fmla="*/ 1346995 h 6858290"/>
              <a:gd name="connsiteX3437" fmla="*/ 5036586 w 12139750"/>
              <a:gd name="connsiteY3437" fmla="*/ 1288169 h 6858290"/>
              <a:gd name="connsiteX3438" fmla="*/ 5375924 w 12139750"/>
              <a:gd name="connsiteY3438" fmla="*/ 1147752 h 6858290"/>
              <a:gd name="connsiteX3439" fmla="*/ 5393468 w 12139750"/>
              <a:gd name="connsiteY3439" fmla="*/ 1144402 h 6858290"/>
              <a:gd name="connsiteX3440" fmla="*/ 929385 w 12139750"/>
              <a:gd name="connsiteY3440" fmla="*/ 1144389 h 6858290"/>
              <a:gd name="connsiteX3441" fmla="*/ 969330 w 12139750"/>
              <a:gd name="connsiteY3441" fmla="*/ 1172407 h 6858290"/>
              <a:gd name="connsiteX3442" fmla="*/ 973143 w 12139750"/>
              <a:gd name="connsiteY3442" fmla="*/ 1189486 h 6858290"/>
              <a:gd name="connsiteX3443" fmla="*/ 946453 w 12139750"/>
              <a:gd name="connsiteY3443" fmla="*/ 1231231 h 6858290"/>
              <a:gd name="connsiteX3444" fmla="*/ 605206 w 12139750"/>
              <a:gd name="connsiteY3444" fmla="*/ 1371652 h 6858290"/>
              <a:gd name="connsiteX3445" fmla="*/ 546108 w 12139750"/>
              <a:gd name="connsiteY3445" fmla="*/ 1346983 h 6858290"/>
              <a:gd name="connsiteX3446" fmla="*/ 570891 w 12139750"/>
              <a:gd name="connsiteY3446" fmla="*/ 1288158 h 6858290"/>
              <a:gd name="connsiteX3447" fmla="*/ 912138 w 12139750"/>
              <a:gd name="connsiteY3447" fmla="*/ 1147739 h 6858290"/>
              <a:gd name="connsiteX3448" fmla="*/ 929385 w 12139750"/>
              <a:gd name="connsiteY3448" fmla="*/ 1144389 h 6858290"/>
              <a:gd name="connsiteX3449" fmla="*/ 4842182 w 12139750"/>
              <a:gd name="connsiteY3449" fmla="*/ 1136797 h 6858290"/>
              <a:gd name="connsiteX3450" fmla="*/ 4884158 w 12139750"/>
              <a:gd name="connsiteY3450" fmla="*/ 1168322 h 6858290"/>
              <a:gd name="connsiteX3451" fmla="*/ 4887962 w 12139750"/>
              <a:gd name="connsiteY3451" fmla="*/ 1185422 h 6858290"/>
              <a:gd name="connsiteX3452" fmla="*/ 4855639 w 12139750"/>
              <a:gd name="connsiteY3452" fmla="*/ 1231014 h 6858290"/>
              <a:gd name="connsiteX3453" fmla="*/ 4515380 w 12139750"/>
              <a:gd name="connsiteY3453" fmla="*/ 1354501 h 6858290"/>
              <a:gd name="connsiteX3454" fmla="*/ 4454549 w 12139750"/>
              <a:gd name="connsiteY3454" fmla="*/ 1326004 h 6858290"/>
              <a:gd name="connsiteX3455" fmla="*/ 4483062 w 12139750"/>
              <a:gd name="connsiteY3455" fmla="*/ 1263308 h 6858290"/>
              <a:gd name="connsiteX3456" fmla="*/ 4823320 w 12139750"/>
              <a:gd name="connsiteY3456" fmla="*/ 1139825 h 6858290"/>
              <a:gd name="connsiteX3457" fmla="*/ 4842182 w 12139750"/>
              <a:gd name="connsiteY3457" fmla="*/ 1136797 h 6858290"/>
              <a:gd name="connsiteX3458" fmla="*/ 1478252 w 12139750"/>
              <a:gd name="connsiteY3458" fmla="*/ 1136782 h 6858290"/>
              <a:gd name="connsiteX3459" fmla="*/ 1520519 w 12139750"/>
              <a:gd name="connsiteY3459" fmla="*/ 1168307 h 6858290"/>
              <a:gd name="connsiteX3460" fmla="*/ 1522421 w 12139750"/>
              <a:gd name="connsiteY3460" fmla="*/ 1185406 h 6858290"/>
              <a:gd name="connsiteX3461" fmla="*/ 1491984 w 12139750"/>
              <a:gd name="connsiteY3461" fmla="*/ 1231000 h 6858290"/>
              <a:gd name="connsiteX3462" fmla="*/ 1151475 w 12139750"/>
              <a:gd name="connsiteY3462" fmla="*/ 1354486 h 6858290"/>
              <a:gd name="connsiteX3463" fmla="*/ 1088700 w 12139750"/>
              <a:gd name="connsiteY3463" fmla="*/ 1325989 h 6858290"/>
              <a:gd name="connsiteX3464" fmla="*/ 1117234 w 12139750"/>
              <a:gd name="connsiteY3464" fmla="*/ 1263296 h 6858290"/>
              <a:gd name="connsiteX3465" fmla="*/ 1459646 w 12139750"/>
              <a:gd name="connsiteY3465" fmla="*/ 1139810 h 6858290"/>
              <a:gd name="connsiteX3466" fmla="*/ 1478252 w 12139750"/>
              <a:gd name="connsiteY3466" fmla="*/ 1136782 h 6858290"/>
              <a:gd name="connsiteX3467" fmla="*/ 4287305 w 12139750"/>
              <a:gd name="connsiteY3467" fmla="*/ 1129713 h 6858290"/>
              <a:gd name="connsiteX3468" fmla="*/ 4330109 w 12139750"/>
              <a:gd name="connsiteY3468" fmla="*/ 1165826 h 6858290"/>
              <a:gd name="connsiteX3469" fmla="*/ 4333914 w 12139750"/>
              <a:gd name="connsiteY3469" fmla="*/ 1181045 h 6858290"/>
              <a:gd name="connsiteX3470" fmla="*/ 4297769 w 12139750"/>
              <a:gd name="connsiteY3470" fmla="*/ 1228599 h 6858290"/>
              <a:gd name="connsiteX3471" fmla="*/ 3955368 w 12139750"/>
              <a:gd name="connsiteY3471" fmla="*/ 1337029 h 6858290"/>
              <a:gd name="connsiteX3472" fmla="*/ 3890686 w 12139750"/>
              <a:gd name="connsiteY3472" fmla="*/ 1302787 h 6858290"/>
              <a:gd name="connsiteX3473" fmla="*/ 3924929 w 12139750"/>
              <a:gd name="connsiteY3473" fmla="*/ 1240012 h 6858290"/>
              <a:gd name="connsiteX3474" fmla="*/ 4267332 w 12139750"/>
              <a:gd name="connsiteY3474" fmla="*/ 1131585 h 6858290"/>
              <a:gd name="connsiteX3475" fmla="*/ 4287305 w 12139750"/>
              <a:gd name="connsiteY3475" fmla="*/ 1129713 h 6858290"/>
              <a:gd name="connsiteX3476" fmla="*/ 2033027 w 12139750"/>
              <a:gd name="connsiteY3476" fmla="*/ 1129695 h 6858290"/>
              <a:gd name="connsiteX3477" fmla="*/ 2077737 w 12139750"/>
              <a:gd name="connsiteY3477" fmla="*/ 1165808 h 6858290"/>
              <a:gd name="connsiteX3478" fmla="*/ 2079642 w 12139750"/>
              <a:gd name="connsiteY3478" fmla="*/ 1181027 h 6858290"/>
              <a:gd name="connsiteX3479" fmla="*/ 2043467 w 12139750"/>
              <a:gd name="connsiteY3479" fmla="*/ 1228582 h 6858290"/>
              <a:gd name="connsiteX3480" fmla="*/ 1702708 w 12139750"/>
              <a:gd name="connsiteY3480" fmla="*/ 1337012 h 6858290"/>
              <a:gd name="connsiteX3481" fmla="*/ 1637983 w 12139750"/>
              <a:gd name="connsiteY3481" fmla="*/ 1302771 h 6858290"/>
              <a:gd name="connsiteX3482" fmla="*/ 1670346 w 12139750"/>
              <a:gd name="connsiteY3482" fmla="*/ 1239996 h 6858290"/>
              <a:gd name="connsiteX3483" fmla="*/ 2013008 w 12139750"/>
              <a:gd name="connsiteY3483" fmla="*/ 1131568 h 6858290"/>
              <a:gd name="connsiteX3484" fmla="*/ 2033027 w 12139750"/>
              <a:gd name="connsiteY3484" fmla="*/ 1129695 h 6858290"/>
              <a:gd name="connsiteX3485" fmla="*/ 3726351 w 12139750"/>
              <a:gd name="connsiteY3485" fmla="*/ 1122417 h 6858290"/>
              <a:gd name="connsiteX3486" fmla="*/ 3771628 w 12139750"/>
              <a:gd name="connsiteY3486" fmla="*/ 1162034 h 6858290"/>
              <a:gd name="connsiteX3487" fmla="*/ 3773536 w 12139750"/>
              <a:gd name="connsiteY3487" fmla="*/ 1175449 h 6858290"/>
              <a:gd name="connsiteX3488" fmla="*/ 3733526 w 12139750"/>
              <a:gd name="connsiteY3488" fmla="*/ 1229108 h 6858290"/>
              <a:gd name="connsiteX3489" fmla="*/ 3390639 w 12139750"/>
              <a:gd name="connsiteY3489" fmla="*/ 1321097 h 6858290"/>
              <a:gd name="connsiteX3490" fmla="*/ 3323960 w 12139750"/>
              <a:gd name="connsiteY3490" fmla="*/ 1282766 h 6858290"/>
              <a:gd name="connsiteX3491" fmla="*/ 3362059 w 12139750"/>
              <a:gd name="connsiteY3491" fmla="*/ 1215695 h 6858290"/>
              <a:gd name="connsiteX3492" fmla="*/ 3704953 w 12139750"/>
              <a:gd name="connsiteY3492" fmla="*/ 1123705 h 6858290"/>
              <a:gd name="connsiteX3493" fmla="*/ 3726351 w 12139750"/>
              <a:gd name="connsiteY3493" fmla="*/ 1122417 h 6858290"/>
              <a:gd name="connsiteX3494" fmla="*/ 2592851 w 12139750"/>
              <a:gd name="connsiteY3494" fmla="*/ 1122397 h 6858290"/>
              <a:gd name="connsiteX3495" fmla="*/ 2638126 w 12139750"/>
              <a:gd name="connsiteY3495" fmla="*/ 1162013 h 6858290"/>
              <a:gd name="connsiteX3496" fmla="*/ 2640031 w 12139750"/>
              <a:gd name="connsiteY3496" fmla="*/ 1175429 h 6858290"/>
              <a:gd name="connsiteX3497" fmla="*/ 2600026 w 12139750"/>
              <a:gd name="connsiteY3497" fmla="*/ 1229089 h 6858290"/>
              <a:gd name="connsiteX3498" fmla="*/ 2257122 w 12139750"/>
              <a:gd name="connsiteY3498" fmla="*/ 1321078 h 6858290"/>
              <a:gd name="connsiteX3499" fmla="*/ 2190445 w 12139750"/>
              <a:gd name="connsiteY3499" fmla="*/ 1282749 h 6858290"/>
              <a:gd name="connsiteX3500" fmla="*/ 2228546 w 12139750"/>
              <a:gd name="connsiteY3500" fmla="*/ 1215674 h 6858290"/>
              <a:gd name="connsiteX3501" fmla="*/ 2571449 w 12139750"/>
              <a:gd name="connsiteY3501" fmla="*/ 1123685 h 6858290"/>
              <a:gd name="connsiteX3502" fmla="*/ 2592851 w 12139750"/>
              <a:gd name="connsiteY3502" fmla="*/ 1122397 h 6858290"/>
              <a:gd name="connsiteX3503" fmla="*/ 3157611 w 12139750"/>
              <a:gd name="connsiteY3503" fmla="*/ 1116357 h 6858290"/>
              <a:gd name="connsiteX3504" fmla="*/ 3201720 w 12139750"/>
              <a:gd name="connsiteY3504" fmla="*/ 1159220 h 6858290"/>
              <a:gd name="connsiteX3505" fmla="*/ 3203622 w 12139750"/>
              <a:gd name="connsiteY3505" fmla="*/ 1172555 h 6858290"/>
              <a:gd name="connsiteX3506" fmla="*/ 3159900 w 12139750"/>
              <a:gd name="connsiteY3506" fmla="*/ 1227799 h 6858290"/>
              <a:gd name="connsiteX3507" fmla="*/ 2815798 w 12139750"/>
              <a:gd name="connsiteY3507" fmla="*/ 1303997 h 6858290"/>
              <a:gd name="connsiteX3508" fmla="*/ 2747356 w 12139750"/>
              <a:gd name="connsiteY3508" fmla="*/ 1260182 h 6858290"/>
              <a:gd name="connsiteX3509" fmla="*/ 2791085 w 12139750"/>
              <a:gd name="connsiteY3509" fmla="*/ 1191605 h 6858290"/>
              <a:gd name="connsiteX3510" fmla="*/ 3135178 w 12139750"/>
              <a:gd name="connsiteY3510" fmla="*/ 1117309 h 6858290"/>
              <a:gd name="connsiteX3511" fmla="*/ 3157611 w 12139750"/>
              <a:gd name="connsiteY3511" fmla="*/ 1116357 h 6858290"/>
              <a:gd name="connsiteX3512" fmla="*/ 9862398 w 12139750"/>
              <a:gd name="connsiteY3512" fmla="*/ 887331 h 6858290"/>
              <a:gd name="connsiteX3513" fmla="*/ 9878153 w 12139750"/>
              <a:gd name="connsiteY3513" fmla="*/ 895649 h 6858290"/>
              <a:gd name="connsiteX3514" fmla="*/ 9883882 w 12139750"/>
              <a:gd name="connsiteY3514" fmla="*/ 910857 h 6858290"/>
              <a:gd name="connsiteX3515" fmla="*/ 9874333 w 12139750"/>
              <a:gd name="connsiteY3515" fmla="*/ 929868 h 6858290"/>
              <a:gd name="connsiteX3516" fmla="*/ 9540128 w 12139750"/>
              <a:gd name="connsiteY3516" fmla="*/ 1184614 h 6858290"/>
              <a:gd name="connsiteX3517" fmla="*/ 9505753 w 12139750"/>
              <a:gd name="connsiteY3517" fmla="*/ 1178911 h 6858290"/>
              <a:gd name="connsiteX3518" fmla="*/ 9511482 w 12139750"/>
              <a:gd name="connsiteY3518" fmla="*/ 1144691 h 6858290"/>
              <a:gd name="connsiteX3519" fmla="*/ 9843777 w 12139750"/>
              <a:gd name="connsiteY3519" fmla="*/ 891846 h 6858290"/>
              <a:gd name="connsiteX3520" fmla="*/ 9862398 w 12139750"/>
              <a:gd name="connsiteY3520" fmla="*/ 887331 h 6858290"/>
              <a:gd name="connsiteX3521" fmla="*/ 9285227 w 12139750"/>
              <a:gd name="connsiteY3521" fmla="*/ 879270 h 6858290"/>
              <a:gd name="connsiteX3522" fmla="*/ 9301896 w 12139750"/>
              <a:gd name="connsiteY3522" fmla="*/ 890009 h 6858290"/>
              <a:gd name="connsiteX3523" fmla="*/ 9307611 w 12139750"/>
              <a:gd name="connsiteY3523" fmla="*/ 905281 h 6858290"/>
              <a:gd name="connsiteX3524" fmla="*/ 9296181 w 12139750"/>
              <a:gd name="connsiteY3524" fmla="*/ 928189 h 6858290"/>
              <a:gd name="connsiteX3525" fmla="*/ 8962802 w 12139750"/>
              <a:gd name="connsiteY3525" fmla="*/ 1168731 h 6858290"/>
              <a:gd name="connsiteX3526" fmla="*/ 8924701 w 12139750"/>
              <a:gd name="connsiteY3526" fmla="*/ 1161095 h 6858290"/>
              <a:gd name="connsiteX3527" fmla="*/ 8930416 w 12139750"/>
              <a:gd name="connsiteY3527" fmla="*/ 1124823 h 6858290"/>
              <a:gd name="connsiteX3528" fmla="*/ 9265700 w 12139750"/>
              <a:gd name="connsiteY3528" fmla="*/ 884282 h 6858290"/>
              <a:gd name="connsiteX3529" fmla="*/ 9285227 w 12139750"/>
              <a:gd name="connsiteY3529" fmla="*/ 879270 h 6858290"/>
              <a:gd name="connsiteX3530" fmla="*/ 10445943 w 12139750"/>
              <a:gd name="connsiteY3530" fmla="*/ 879249 h 6858290"/>
              <a:gd name="connsiteX3531" fmla="*/ 10464279 w 12139750"/>
              <a:gd name="connsiteY3531" fmla="*/ 889987 h 6858290"/>
              <a:gd name="connsiteX3532" fmla="*/ 10468089 w 12139750"/>
              <a:gd name="connsiteY3532" fmla="*/ 905259 h 6858290"/>
              <a:gd name="connsiteX3533" fmla="*/ 10458564 w 12139750"/>
              <a:gd name="connsiteY3533" fmla="*/ 928168 h 6858290"/>
              <a:gd name="connsiteX3534" fmla="*/ 10123280 w 12139750"/>
              <a:gd name="connsiteY3534" fmla="*/ 1168705 h 6858290"/>
              <a:gd name="connsiteX3535" fmla="*/ 10087084 w 12139750"/>
              <a:gd name="connsiteY3535" fmla="*/ 1161069 h 6858290"/>
              <a:gd name="connsiteX3536" fmla="*/ 10092799 w 12139750"/>
              <a:gd name="connsiteY3536" fmla="*/ 1124797 h 6858290"/>
              <a:gd name="connsiteX3537" fmla="*/ 10426178 w 12139750"/>
              <a:gd name="connsiteY3537" fmla="*/ 884260 h 6858290"/>
              <a:gd name="connsiteX3538" fmla="*/ 10445943 w 12139750"/>
              <a:gd name="connsiteY3538" fmla="*/ 879249 h 6858290"/>
              <a:gd name="connsiteX3539" fmla="*/ 8716319 w 12139750"/>
              <a:gd name="connsiteY3539" fmla="*/ 870617 h 6858290"/>
              <a:gd name="connsiteX3540" fmla="*/ 8735146 w 12139750"/>
              <a:gd name="connsiteY3540" fmla="*/ 883981 h 6858290"/>
              <a:gd name="connsiteX3541" fmla="*/ 8740866 w 12139750"/>
              <a:gd name="connsiteY3541" fmla="*/ 899254 h 6858290"/>
              <a:gd name="connsiteX3542" fmla="*/ 8727520 w 12139750"/>
              <a:gd name="connsiteY3542" fmla="*/ 924073 h 6858290"/>
              <a:gd name="connsiteX3543" fmla="*/ 8391968 w 12139750"/>
              <a:gd name="connsiteY3543" fmla="*/ 1151267 h 6858290"/>
              <a:gd name="connsiteX3544" fmla="*/ 8351931 w 12139750"/>
              <a:gd name="connsiteY3544" fmla="*/ 1141721 h 6858290"/>
              <a:gd name="connsiteX3545" fmla="*/ 8359557 w 12139750"/>
              <a:gd name="connsiteY3545" fmla="*/ 1101629 h 6858290"/>
              <a:gd name="connsiteX3546" fmla="*/ 8693202 w 12139750"/>
              <a:gd name="connsiteY3546" fmla="*/ 874435 h 6858290"/>
              <a:gd name="connsiteX3547" fmla="*/ 8716319 w 12139750"/>
              <a:gd name="connsiteY3547" fmla="*/ 870617 h 6858290"/>
              <a:gd name="connsiteX3548" fmla="*/ 11024254 w 12139750"/>
              <a:gd name="connsiteY3548" fmla="*/ 870594 h 6858290"/>
              <a:gd name="connsiteX3549" fmla="*/ 11043734 w 12139750"/>
              <a:gd name="connsiteY3549" fmla="*/ 883958 h 6858290"/>
              <a:gd name="connsiteX3550" fmla="*/ 11047535 w 12139750"/>
              <a:gd name="connsiteY3550" fmla="*/ 899231 h 6858290"/>
              <a:gd name="connsiteX3551" fmla="*/ 11036132 w 12139750"/>
              <a:gd name="connsiteY3551" fmla="*/ 924050 h 6858290"/>
              <a:gd name="connsiteX3552" fmla="*/ 10701654 w 12139750"/>
              <a:gd name="connsiteY3552" fmla="*/ 1151239 h 6858290"/>
              <a:gd name="connsiteX3553" fmla="*/ 10659844 w 12139750"/>
              <a:gd name="connsiteY3553" fmla="*/ 1141693 h 6858290"/>
              <a:gd name="connsiteX3554" fmla="*/ 10669346 w 12139750"/>
              <a:gd name="connsiteY3554" fmla="*/ 1101601 h 6858290"/>
              <a:gd name="connsiteX3555" fmla="*/ 11001924 w 12139750"/>
              <a:gd name="connsiteY3555" fmla="*/ 874412 h 6858290"/>
              <a:gd name="connsiteX3556" fmla="*/ 11024254 w 12139750"/>
              <a:gd name="connsiteY3556" fmla="*/ 870594 h 6858290"/>
              <a:gd name="connsiteX3557" fmla="*/ 8152171 w 12139750"/>
              <a:gd name="connsiteY3557" fmla="*/ 862274 h 6858290"/>
              <a:gd name="connsiteX3558" fmla="*/ 8171905 w 12139750"/>
              <a:gd name="connsiteY3558" fmla="*/ 876324 h 6858290"/>
              <a:gd name="connsiteX3559" fmla="*/ 8175709 w 12139750"/>
              <a:gd name="connsiteY3559" fmla="*/ 893468 h 6858290"/>
              <a:gd name="connsiteX3560" fmla="*/ 8162395 w 12139750"/>
              <a:gd name="connsiteY3560" fmla="*/ 920138 h 6858290"/>
              <a:gd name="connsiteX3561" fmla="*/ 7825735 w 12139750"/>
              <a:gd name="connsiteY3561" fmla="*/ 1133503 h 6858290"/>
              <a:gd name="connsiteX3562" fmla="*/ 7781988 w 12139750"/>
              <a:gd name="connsiteY3562" fmla="*/ 1123978 h 6858290"/>
              <a:gd name="connsiteX3563" fmla="*/ 7791498 w 12139750"/>
              <a:gd name="connsiteY3563" fmla="*/ 1078258 h 6858290"/>
              <a:gd name="connsiteX3564" fmla="*/ 8128158 w 12139750"/>
              <a:gd name="connsiteY3564" fmla="*/ 866799 h 6858290"/>
              <a:gd name="connsiteX3565" fmla="*/ 8152171 w 12139750"/>
              <a:gd name="connsiteY3565" fmla="*/ 862274 h 6858290"/>
              <a:gd name="connsiteX3566" fmla="*/ 11596678 w 12139750"/>
              <a:gd name="connsiteY3566" fmla="*/ 862268 h 6858290"/>
              <a:gd name="connsiteX3567" fmla="*/ 11616489 w 12139750"/>
              <a:gd name="connsiteY3567" fmla="*/ 876317 h 6858290"/>
              <a:gd name="connsiteX3568" fmla="*/ 11622218 w 12139750"/>
              <a:gd name="connsiteY3568" fmla="*/ 893462 h 6858290"/>
              <a:gd name="connsiteX3569" fmla="*/ 11606942 w 12139750"/>
              <a:gd name="connsiteY3569" fmla="*/ 920132 h 6858290"/>
              <a:gd name="connsiteX3570" fmla="*/ 11270867 w 12139750"/>
              <a:gd name="connsiteY3570" fmla="*/ 1133497 h 6858290"/>
              <a:gd name="connsiteX3571" fmla="*/ 11226948 w 12139750"/>
              <a:gd name="connsiteY3571" fmla="*/ 1123971 h 6858290"/>
              <a:gd name="connsiteX3572" fmla="*/ 11236495 w 12139750"/>
              <a:gd name="connsiteY3572" fmla="*/ 1078251 h 6858290"/>
              <a:gd name="connsiteX3573" fmla="*/ 11572571 w 12139750"/>
              <a:gd name="connsiteY3573" fmla="*/ 866793 h 6858290"/>
              <a:gd name="connsiteX3574" fmla="*/ 11596678 w 12139750"/>
              <a:gd name="connsiteY3574" fmla="*/ 862268 h 6858290"/>
              <a:gd name="connsiteX3575" fmla="*/ 12139750 w 12139750"/>
              <a:gd name="connsiteY3575" fmla="*/ 857266 h 6858290"/>
              <a:gd name="connsiteX3576" fmla="*/ 12139750 w 12139750"/>
              <a:gd name="connsiteY3576" fmla="*/ 935278 h 6858290"/>
              <a:gd name="connsiteX3577" fmla="*/ 11834946 w 12139750"/>
              <a:gd name="connsiteY3577" fmla="*/ 1116043 h 6858290"/>
              <a:gd name="connsiteX3578" fmla="*/ 11787320 w 12139750"/>
              <a:gd name="connsiteY3578" fmla="*/ 1104626 h 6858290"/>
              <a:gd name="connsiteX3579" fmla="*/ 11798750 w 12139750"/>
              <a:gd name="connsiteY3579" fmla="*/ 1057058 h 6858290"/>
              <a:gd name="connsiteX3580" fmla="*/ 12135940 w 12139750"/>
              <a:gd name="connsiteY3580" fmla="*/ 859168 h 6858290"/>
              <a:gd name="connsiteX3581" fmla="*/ 12139750 w 12139750"/>
              <a:gd name="connsiteY3581" fmla="*/ 857266 h 6858290"/>
              <a:gd name="connsiteX3582" fmla="*/ 7595013 w 12139750"/>
              <a:gd name="connsiteY3582" fmla="*/ 854170 h 6858290"/>
              <a:gd name="connsiteX3583" fmla="*/ 7615952 w 12139750"/>
              <a:gd name="connsiteY3583" fmla="*/ 870582 h 6858290"/>
              <a:gd name="connsiteX3584" fmla="*/ 7621663 w 12139750"/>
              <a:gd name="connsiteY3584" fmla="*/ 887708 h 6858290"/>
              <a:gd name="connsiteX3585" fmla="*/ 7604531 w 12139750"/>
              <a:gd name="connsiteY3585" fmla="*/ 918153 h 6858290"/>
              <a:gd name="connsiteX3586" fmla="*/ 7267601 w 12139750"/>
              <a:gd name="connsiteY3586" fmla="*/ 1116053 h 6858290"/>
              <a:gd name="connsiteX3587" fmla="*/ 7220013 w 12139750"/>
              <a:gd name="connsiteY3587" fmla="*/ 1104635 h 6858290"/>
              <a:gd name="connsiteX3588" fmla="*/ 7233337 w 12139750"/>
              <a:gd name="connsiteY3588" fmla="*/ 1057064 h 6858290"/>
              <a:gd name="connsiteX3589" fmla="*/ 7568363 w 12139750"/>
              <a:gd name="connsiteY3589" fmla="*/ 859165 h 6858290"/>
              <a:gd name="connsiteX3590" fmla="*/ 7595013 w 12139750"/>
              <a:gd name="connsiteY3590" fmla="*/ 854170 h 6858290"/>
              <a:gd name="connsiteX3591" fmla="*/ 7044817 w 12139750"/>
              <a:gd name="connsiteY3591" fmla="*/ 846270 h 6858290"/>
              <a:gd name="connsiteX3592" fmla="*/ 7066980 w 12139750"/>
              <a:gd name="connsiteY3592" fmla="*/ 864693 h 6858290"/>
              <a:gd name="connsiteX3593" fmla="*/ 7070793 w 12139750"/>
              <a:gd name="connsiteY3593" fmla="*/ 881918 h 6858290"/>
              <a:gd name="connsiteX3594" fmla="*/ 7051728 w 12139750"/>
              <a:gd name="connsiteY3594" fmla="*/ 914456 h 6858290"/>
              <a:gd name="connsiteX3595" fmla="*/ 6714282 w 12139750"/>
              <a:gd name="connsiteY3595" fmla="*/ 1100119 h 6858290"/>
              <a:gd name="connsiteX3596" fmla="*/ 6664714 w 12139750"/>
              <a:gd name="connsiteY3596" fmla="*/ 1084808 h 6858290"/>
              <a:gd name="connsiteX3597" fmla="*/ 6678059 w 12139750"/>
              <a:gd name="connsiteY3597" fmla="*/ 1035038 h 6858290"/>
              <a:gd name="connsiteX3598" fmla="*/ 7015505 w 12139750"/>
              <a:gd name="connsiteY3598" fmla="*/ 849380 h 6858290"/>
              <a:gd name="connsiteX3599" fmla="*/ 7044817 w 12139750"/>
              <a:gd name="connsiteY3599" fmla="*/ 846270 h 6858290"/>
              <a:gd name="connsiteX3600" fmla="*/ 6485646 w 12139750"/>
              <a:gd name="connsiteY3600" fmla="*/ 836909 h 6858290"/>
              <a:gd name="connsiteX3601" fmla="*/ 6524041 w 12139750"/>
              <a:gd name="connsiteY3601" fmla="*/ 858929 h 6858290"/>
              <a:gd name="connsiteX3602" fmla="*/ 6527860 w 12139750"/>
              <a:gd name="connsiteY3602" fmla="*/ 876115 h 6858290"/>
              <a:gd name="connsiteX3603" fmla="*/ 6506857 w 12139750"/>
              <a:gd name="connsiteY3603" fmla="*/ 912398 h 6858290"/>
              <a:gd name="connsiteX3604" fmla="*/ 6166999 w 12139750"/>
              <a:gd name="connsiteY3604" fmla="*/ 1082357 h 6858290"/>
              <a:gd name="connsiteX3605" fmla="*/ 6113538 w 12139750"/>
              <a:gd name="connsiteY3605" fmla="*/ 1065171 h 6858290"/>
              <a:gd name="connsiteX3606" fmla="*/ 6130722 w 12139750"/>
              <a:gd name="connsiteY3606" fmla="*/ 1011697 h 6858290"/>
              <a:gd name="connsiteX3607" fmla="*/ 6470580 w 12139750"/>
              <a:gd name="connsiteY3607" fmla="*/ 841743 h 6858290"/>
              <a:gd name="connsiteX3608" fmla="*/ 6485646 w 12139750"/>
              <a:gd name="connsiteY3608" fmla="*/ 836909 h 6858290"/>
              <a:gd name="connsiteX3609" fmla="*/ 5957785 w 12139750"/>
              <a:gd name="connsiteY3609" fmla="*/ 832476 h 6858290"/>
              <a:gd name="connsiteX3610" fmla="*/ 5981120 w 12139750"/>
              <a:gd name="connsiteY3610" fmla="*/ 854301 h 6858290"/>
              <a:gd name="connsiteX3611" fmla="*/ 5984930 w 12139750"/>
              <a:gd name="connsiteY3611" fmla="*/ 871381 h 6858290"/>
              <a:gd name="connsiteX3612" fmla="*/ 5962070 w 12139750"/>
              <a:gd name="connsiteY3612" fmla="*/ 909338 h 6858290"/>
              <a:gd name="connsiteX3613" fmla="*/ 5622984 w 12139750"/>
              <a:gd name="connsiteY3613" fmla="*/ 1066863 h 6858290"/>
              <a:gd name="connsiteX3614" fmla="*/ 5565833 w 12139750"/>
              <a:gd name="connsiteY3614" fmla="*/ 1045982 h 6858290"/>
              <a:gd name="connsiteX3615" fmla="*/ 5586789 w 12139750"/>
              <a:gd name="connsiteY3615" fmla="*/ 990945 h 6858290"/>
              <a:gd name="connsiteX3616" fmla="*/ 5925877 w 12139750"/>
              <a:gd name="connsiteY3616" fmla="*/ 833424 h 6858290"/>
              <a:gd name="connsiteX3617" fmla="*/ 5957785 w 12139750"/>
              <a:gd name="connsiteY3617" fmla="*/ 832476 h 6858290"/>
              <a:gd name="connsiteX3618" fmla="*/ 398307 w 12139750"/>
              <a:gd name="connsiteY3618" fmla="*/ 832466 h 6858290"/>
              <a:gd name="connsiteX3619" fmla="*/ 421644 w 12139750"/>
              <a:gd name="connsiteY3619" fmla="*/ 854291 h 6858290"/>
              <a:gd name="connsiteX3620" fmla="*/ 425454 w 12139750"/>
              <a:gd name="connsiteY3620" fmla="*/ 871371 h 6858290"/>
              <a:gd name="connsiteX3621" fmla="*/ 400689 w 12139750"/>
              <a:gd name="connsiteY3621" fmla="*/ 909328 h 6858290"/>
              <a:gd name="connsiteX3622" fmla="*/ 61595 w 12139750"/>
              <a:gd name="connsiteY3622" fmla="*/ 1066852 h 6858290"/>
              <a:gd name="connsiteX3623" fmla="*/ 6349 w 12139750"/>
              <a:gd name="connsiteY3623" fmla="*/ 1045972 h 6858290"/>
              <a:gd name="connsiteX3624" fmla="*/ 27304 w 12139750"/>
              <a:gd name="connsiteY3624" fmla="*/ 990935 h 6858290"/>
              <a:gd name="connsiteX3625" fmla="*/ 366398 w 12139750"/>
              <a:gd name="connsiteY3625" fmla="*/ 833414 h 6858290"/>
              <a:gd name="connsiteX3626" fmla="*/ 398307 w 12139750"/>
              <a:gd name="connsiteY3626" fmla="*/ 832466 h 6858290"/>
              <a:gd name="connsiteX3627" fmla="*/ 5410477 w 12139750"/>
              <a:gd name="connsiteY3627" fmla="*/ 824774 h 6858290"/>
              <a:gd name="connsiteX3628" fmla="*/ 5435021 w 12139750"/>
              <a:gd name="connsiteY3628" fmla="*/ 848257 h 6858290"/>
              <a:gd name="connsiteX3629" fmla="*/ 5438834 w 12139750"/>
              <a:gd name="connsiteY3629" fmla="*/ 865335 h 6858290"/>
              <a:gd name="connsiteX3630" fmla="*/ 5410239 w 12139750"/>
              <a:gd name="connsiteY3630" fmla="*/ 907081 h 6858290"/>
              <a:gd name="connsiteX3631" fmla="*/ 5070896 w 12139750"/>
              <a:gd name="connsiteY3631" fmla="*/ 1049397 h 6858290"/>
              <a:gd name="connsiteX3632" fmla="*/ 5011805 w 12139750"/>
              <a:gd name="connsiteY3632" fmla="*/ 1024730 h 6858290"/>
              <a:gd name="connsiteX3633" fmla="*/ 5034678 w 12139750"/>
              <a:gd name="connsiteY3633" fmla="*/ 967803 h 6858290"/>
              <a:gd name="connsiteX3634" fmla="*/ 5375924 w 12139750"/>
              <a:gd name="connsiteY3634" fmla="*/ 825486 h 6858290"/>
              <a:gd name="connsiteX3635" fmla="*/ 5410477 w 12139750"/>
              <a:gd name="connsiteY3635" fmla="*/ 824774 h 6858290"/>
              <a:gd name="connsiteX3636" fmla="*/ 944785 w 12139750"/>
              <a:gd name="connsiteY3636" fmla="*/ 824762 h 6858290"/>
              <a:gd name="connsiteX3637" fmla="*/ 969330 w 12139750"/>
              <a:gd name="connsiteY3637" fmla="*/ 848245 h 6858290"/>
              <a:gd name="connsiteX3638" fmla="*/ 973143 w 12139750"/>
              <a:gd name="connsiteY3638" fmla="*/ 865323 h 6858290"/>
              <a:gd name="connsiteX3639" fmla="*/ 946453 w 12139750"/>
              <a:gd name="connsiteY3639" fmla="*/ 907069 h 6858290"/>
              <a:gd name="connsiteX3640" fmla="*/ 605206 w 12139750"/>
              <a:gd name="connsiteY3640" fmla="*/ 1049386 h 6858290"/>
              <a:gd name="connsiteX3641" fmla="*/ 546108 w 12139750"/>
              <a:gd name="connsiteY3641" fmla="*/ 1024718 h 6858290"/>
              <a:gd name="connsiteX3642" fmla="*/ 570891 w 12139750"/>
              <a:gd name="connsiteY3642" fmla="*/ 967791 h 6858290"/>
              <a:gd name="connsiteX3643" fmla="*/ 910231 w 12139750"/>
              <a:gd name="connsiteY3643" fmla="*/ 825474 h 6858290"/>
              <a:gd name="connsiteX3644" fmla="*/ 944785 w 12139750"/>
              <a:gd name="connsiteY3644" fmla="*/ 824762 h 6858290"/>
              <a:gd name="connsiteX3645" fmla="*/ 4842165 w 12139750"/>
              <a:gd name="connsiteY3645" fmla="*/ 812941 h 6858290"/>
              <a:gd name="connsiteX3646" fmla="*/ 4884469 w 12139750"/>
              <a:gd name="connsiteY3646" fmla="*/ 842717 h 6858290"/>
              <a:gd name="connsiteX3647" fmla="*/ 4886373 w 12139750"/>
              <a:gd name="connsiteY3647" fmla="*/ 859885 h 6858290"/>
              <a:gd name="connsiteX3648" fmla="*/ 4855912 w 12139750"/>
              <a:gd name="connsiteY3648" fmla="*/ 903759 h 6858290"/>
              <a:gd name="connsiteX3649" fmla="*/ 4515162 w 12139750"/>
              <a:gd name="connsiteY3649" fmla="*/ 1033473 h 6858290"/>
              <a:gd name="connsiteX3650" fmla="*/ 4454246 w 12139750"/>
              <a:gd name="connsiteY3650" fmla="*/ 1006767 h 6858290"/>
              <a:gd name="connsiteX3651" fmla="*/ 4482802 w 12139750"/>
              <a:gd name="connsiteY3651" fmla="*/ 945725 h 6858290"/>
              <a:gd name="connsiteX3652" fmla="*/ 4823545 w 12139750"/>
              <a:gd name="connsiteY3652" fmla="*/ 816011 h 6858290"/>
              <a:gd name="connsiteX3653" fmla="*/ 4842165 w 12139750"/>
              <a:gd name="connsiteY3653" fmla="*/ 812941 h 6858290"/>
              <a:gd name="connsiteX3654" fmla="*/ 1476350 w 12139750"/>
              <a:gd name="connsiteY3654" fmla="*/ 812927 h 6858290"/>
              <a:gd name="connsiteX3655" fmla="*/ 1518617 w 12139750"/>
              <a:gd name="connsiteY3655" fmla="*/ 842703 h 6858290"/>
              <a:gd name="connsiteX3656" fmla="*/ 1522421 w 12139750"/>
              <a:gd name="connsiteY3656" fmla="*/ 859871 h 6858290"/>
              <a:gd name="connsiteX3657" fmla="*/ 1491985 w 12139750"/>
              <a:gd name="connsiteY3657" fmla="*/ 903745 h 6858290"/>
              <a:gd name="connsiteX3658" fmla="*/ 1151475 w 12139750"/>
              <a:gd name="connsiteY3658" fmla="*/ 1033459 h 6858290"/>
              <a:gd name="connsiteX3659" fmla="*/ 1090602 w 12139750"/>
              <a:gd name="connsiteY3659" fmla="*/ 1006753 h 6858290"/>
              <a:gd name="connsiteX3660" fmla="*/ 1117234 w 12139750"/>
              <a:gd name="connsiteY3660" fmla="*/ 945711 h 6858290"/>
              <a:gd name="connsiteX3661" fmla="*/ 1457744 w 12139750"/>
              <a:gd name="connsiteY3661" fmla="*/ 815997 h 6858290"/>
              <a:gd name="connsiteX3662" fmla="*/ 1476350 w 12139750"/>
              <a:gd name="connsiteY3662" fmla="*/ 812927 h 6858290"/>
              <a:gd name="connsiteX3663" fmla="*/ 4285653 w 12139750"/>
              <a:gd name="connsiteY3663" fmla="*/ 804258 h 6858290"/>
              <a:gd name="connsiteX3664" fmla="*/ 4328517 w 12139750"/>
              <a:gd name="connsiteY3664" fmla="*/ 838596 h 6858290"/>
              <a:gd name="connsiteX3665" fmla="*/ 4332326 w 12139750"/>
              <a:gd name="connsiteY3665" fmla="*/ 853857 h 6858290"/>
              <a:gd name="connsiteX3666" fmla="*/ 4298036 w 12139750"/>
              <a:gd name="connsiteY3666" fmla="*/ 901549 h 6858290"/>
              <a:gd name="connsiteX3667" fmla="*/ 3957054 w 12139750"/>
              <a:gd name="connsiteY3667" fmla="*/ 1017917 h 6858290"/>
              <a:gd name="connsiteX3668" fmla="*/ 3894188 w 12139750"/>
              <a:gd name="connsiteY3668" fmla="*/ 985486 h 6858290"/>
              <a:gd name="connsiteX3669" fmla="*/ 3924670 w 12139750"/>
              <a:gd name="connsiteY3669" fmla="*/ 922533 h 6858290"/>
              <a:gd name="connsiteX3670" fmla="*/ 4265648 w 12139750"/>
              <a:gd name="connsiteY3670" fmla="*/ 806166 h 6858290"/>
              <a:gd name="connsiteX3671" fmla="*/ 4285653 w 12139750"/>
              <a:gd name="connsiteY3671" fmla="*/ 804258 h 6858290"/>
              <a:gd name="connsiteX3672" fmla="*/ 2032209 w 12139750"/>
              <a:gd name="connsiteY3672" fmla="*/ 804242 h 6858290"/>
              <a:gd name="connsiteX3673" fmla="*/ 2076149 w 12139750"/>
              <a:gd name="connsiteY3673" fmla="*/ 838580 h 6858290"/>
              <a:gd name="connsiteX3674" fmla="*/ 2078054 w 12139750"/>
              <a:gd name="connsiteY3674" fmla="*/ 853842 h 6858290"/>
              <a:gd name="connsiteX3675" fmla="*/ 2043758 w 12139750"/>
              <a:gd name="connsiteY3675" fmla="*/ 901533 h 6858290"/>
              <a:gd name="connsiteX3676" fmla="*/ 1702759 w 12139750"/>
              <a:gd name="connsiteY3676" fmla="*/ 1017901 h 6858290"/>
              <a:gd name="connsiteX3677" fmla="*/ 1639894 w 12139750"/>
              <a:gd name="connsiteY3677" fmla="*/ 985471 h 6858290"/>
              <a:gd name="connsiteX3678" fmla="*/ 1670374 w 12139750"/>
              <a:gd name="connsiteY3678" fmla="*/ 922518 h 6858290"/>
              <a:gd name="connsiteX3679" fmla="*/ 2013278 w 12139750"/>
              <a:gd name="connsiteY3679" fmla="*/ 806150 h 6858290"/>
              <a:gd name="connsiteX3680" fmla="*/ 2032209 w 12139750"/>
              <a:gd name="connsiteY3680" fmla="*/ 804242 h 6858290"/>
              <a:gd name="connsiteX3681" fmla="*/ 3725237 w 12139750"/>
              <a:gd name="connsiteY3681" fmla="*/ 796620 h 6858290"/>
              <a:gd name="connsiteX3682" fmla="*/ 3770041 w 12139750"/>
              <a:gd name="connsiteY3682" fmla="*/ 832569 h 6858290"/>
              <a:gd name="connsiteX3683" fmla="*/ 3771946 w 12139750"/>
              <a:gd name="connsiteY3683" fmla="*/ 847831 h 6858290"/>
              <a:gd name="connsiteX3684" fmla="*/ 3733792 w 12139750"/>
              <a:gd name="connsiteY3684" fmla="*/ 897434 h 6858290"/>
              <a:gd name="connsiteX3685" fmla="*/ 3390422 w 12139750"/>
              <a:gd name="connsiteY3685" fmla="*/ 1000454 h 6858290"/>
              <a:gd name="connsiteX3686" fmla="*/ 3325558 w 12139750"/>
              <a:gd name="connsiteY3686" fmla="*/ 964206 h 6858290"/>
              <a:gd name="connsiteX3687" fmla="*/ 3361805 w 12139750"/>
              <a:gd name="connsiteY3687" fmla="*/ 899342 h 6858290"/>
              <a:gd name="connsiteX3688" fmla="*/ 3705176 w 12139750"/>
              <a:gd name="connsiteY3688" fmla="*/ 798229 h 6858290"/>
              <a:gd name="connsiteX3689" fmla="*/ 3725237 w 12139750"/>
              <a:gd name="connsiteY3689" fmla="*/ 796620 h 6858290"/>
              <a:gd name="connsiteX3690" fmla="*/ 2591734 w 12139750"/>
              <a:gd name="connsiteY3690" fmla="*/ 796602 h 6858290"/>
              <a:gd name="connsiteX3691" fmla="*/ 2636535 w 12139750"/>
              <a:gd name="connsiteY3691" fmla="*/ 832551 h 6858290"/>
              <a:gd name="connsiteX3692" fmla="*/ 2638443 w 12139750"/>
              <a:gd name="connsiteY3692" fmla="*/ 847814 h 6858290"/>
              <a:gd name="connsiteX3693" fmla="*/ 2600289 w 12139750"/>
              <a:gd name="connsiteY3693" fmla="*/ 897416 h 6858290"/>
              <a:gd name="connsiteX3694" fmla="*/ 2256905 w 12139750"/>
              <a:gd name="connsiteY3694" fmla="*/ 1000437 h 6858290"/>
              <a:gd name="connsiteX3695" fmla="*/ 2192043 w 12139750"/>
              <a:gd name="connsiteY3695" fmla="*/ 964189 h 6858290"/>
              <a:gd name="connsiteX3696" fmla="*/ 2228290 w 12139750"/>
              <a:gd name="connsiteY3696" fmla="*/ 899324 h 6858290"/>
              <a:gd name="connsiteX3697" fmla="*/ 2571674 w 12139750"/>
              <a:gd name="connsiteY3697" fmla="*/ 798211 h 6858290"/>
              <a:gd name="connsiteX3698" fmla="*/ 2591734 w 12139750"/>
              <a:gd name="connsiteY3698" fmla="*/ 796602 h 6858290"/>
              <a:gd name="connsiteX3699" fmla="*/ 3154889 w 12139750"/>
              <a:gd name="connsiteY3699" fmla="*/ 787711 h 6858290"/>
              <a:gd name="connsiteX3700" fmla="*/ 3200131 w 12139750"/>
              <a:gd name="connsiteY3700" fmla="*/ 828698 h 6858290"/>
              <a:gd name="connsiteX3701" fmla="*/ 3202035 w 12139750"/>
              <a:gd name="connsiteY3701" fmla="*/ 842033 h 6858290"/>
              <a:gd name="connsiteX3702" fmla="*/ 3160154 w 12139750"/>
              <a:gd name="connsiteY3702" fmla="*/ 895372 h 6858290"/>
              <a:gd name="connsiteX3703" fmla="*/ 2817485 w 12139750"/>
              <a:gd name="connsiteY3703" fmla="*/ 983002 h 6858290"/>
              <a:gd name="connsiteX3704" fmla="*/ 2750856 w 12139750"/>
              <a:gd name="connsiteY3704" fmla="*/ 944903 h 6858290"/>
              <a:gd name="connsiteX3705" fmla="*/ 2788928 w 12139750"/>
              <a:gd name="connsiteY3705" fmla="*/ 878228 h 6858290"/>
              <a:gd name="connsiteX3706" fmla="*/ 3133501 w 12139750"/>
              <a:gd name="connsiteY3706" fmla="*/ 788693 h 6858290"/>
              <a:gd name="connsiteX3707" fmla="*/ 3154889 w 12139750"/>
              <a:gd name="connsiteY3707" fmla="*/ 787711 h 6858290"/>
              <a:gd name="connsiteX3708" fmla="*/ 9863739 w 12139750"/>
              <a:gd name="connsiteY3708" fmla="*/ 570068 h 6858290"/>
              <a:gd name="connsiteX3709" fmla="*/ 9881347 w 12139750"/>
              <a:gd name="connsiteY3709" fmla="*/ 580048 h 6858290"/>
              <a:gd name="connsiteX3710" fmla="*/ 9887057 w 12139750"/>
              <a:gd name="connsiteY3710" fmla="*/ 597157 h 6858290"/>
              <a:gd name="connsiteX3711" fmla="*/ 9875636 w 12139750"/>
              <a:gd name="connsiteY3711" fmla="*/ 618067 h 6858290"/>
              <a:gd name="connsiteX3712" fmla="*/ 9540623 w 12139750"/>
              <a:gd name="connsiteY3712" fmla="*/ 857587 h 6858290"/>
              <a:gd name="connsiteX3713" fmla="*/ 9504456 w 12139750"/>
              <a:gd name="connsiteY3713" fmla="*/ 849984 h 6858290"/>
              <a:gd name="connsiteX3714" fmla="*/ 9510167 w 12139750"/>
              <a:gd name="connsiteY3714" fmla="*/ 811965 h 6858290"/>
              <a:gd name="connsiteX3715" fmla="*/ 9843277 w 12139750"/>
              <a:gd name="connsiteY3715" fmla="*/ 574345 h 6858290"/>
              <a:gd name="connsiteX3716" fmla="*/ 9863739 w 12139750"/>
              <a:gd name="connsiteY3716" fmla="*/ 570068 h 6858290"/>
              <a:gd name="connsiteX3717" fmla="*/ 9288066 w 12139750"/>
              <a:gd name="connsiteY3717" fmla="*/ 561743 h 6858290"/>
              <a:gd name="connsiteX3718" fmla="*/ 9306654 w 12139750"/>
              <a:gd name="connsiteY3718" fmla="*/ 574308 h 6858290"/>
              <a:gd name="connsiteX3719" fmla="*/ 9312374 w 12139750"/>
              <a:gd name="connsiteY3719" fmla="*/ 589483 h 6858290"/>
              <a:gd name="connsiteX3720" fmla="*/ 9299028 w 12139750"/>
              <a:gd name="connsiteY3720" fmla="*/ 614140 h 6858290"/>
              <a:gd name="connsiteX3721" fmla="*/ 8963476 w 12139750"/>
              <a:gd name="connsiteY3721" fmla="*/ 839853 h 6858290"/>
              <a:gd name="connsiteX3722" fmla="*/ 8923439 w 12139750"/>
              <a:gd name="connsiteY3722" fmla="*/ 832266 h 6858290"/>
              <a:gd name="connsiteX3723" fmla="*/ 8931065 w 12139750"/>
              <a:gd name="connsiteY3723" fmla="*/ 792434 h 6858290"/>
              <a:gd name="connsiteX3724" fmla="*/ 9266617 w 12139750"/>
              <a:gd name="connsiteY3724" fmla="*/ 564825 h 6858290"/>
              <a:gd name="connsiteX3725" fmla="*/ 9288066 w 12139750"/>
              <a:gd name="connsiteY3725" fmla="*/ 561743 h 6858290"/>
              <a:gd name="connsiteX3726" fmla="*/ 10448544 w 12139750"/>
              <a:gd name="connsiteY3726" fmla="*/ 561719 h 6858290"/>
              <a:gd name="connsiteX3727" fmla="*/ 10467132 w 12139750"/>
              <a:gd name="connsiteY3727" fmla="*/ 574285 h 6858290"/>
              <a:gd name="connsiteX3728" fmla="*/ 10472852 w 12139750"/>
              <a:gd name="connsiteY3728" fmla="*/ 589459 h 6858290"/>
              <a:gd name="connsiteX3729" fmla="*/ 10459506 w 12139750"/>
              <a:gd name="connsiteY3729" fmla="*/ 614117 h 6858290"/>
              <a:gd name="connsiteX3730" fmla="*/ 10123954 w 12139750"/>
              <a:gd name="connsiteY3730" fmla="*/ 839831 h 6858290"/>
              <a:gd name="connsiteX3731" fmla="*/ 10083917 w 12139750"/>
              <a:gd name="connsiteY3731" fmla="*/ 832244 h 6858290"/>
              <a:gd name="connsiteX3732" fmla="*/ 10091543 w 12139750"/>
              <a:gd name="connsiteY3732" fmla="*/ 792412 h 6858290"/>
              <a:gd name="connsiteX3733" fmla="*/ 10427095 w 12139750"/>
              <a:gd name="connsiteY3733" fmla="*/ 564801 h 6858290"/>
              <a:gd name="connsiteX3734" fmla="*/ 10448544 w 12139750"/>
              <a:gd name="connsiteY3734" fmla="*/ 561719 h 6858290"/>
              <a:gd name="connsiteX3735" fmla="*/ 8716914 w 12139750"/>
              <a:gd name="connsiteY3735" fmla="*/ 552708 h 6858290"/>
              <a:gd name="connsiteX3736" fmla="*/ 8736725 w 12139750"/>
              <a:gd name="connsiteY3736" fmla="*/ 566742 h 6858290"/>
              <a:gd name="connsiteX3737" fmla="*/ 8742454 w 12139750"/>
              <a:gd name="connsiteY3737" fmla="*/ 583868 h 6858290"/>
              <a:gd name="connsiteX3738" fmla="*/ 8727178 w 12139750"/>
              <a:gd name="connsiteY3738" fmla="*/ 608605 h 6858290"/>
              <a:gd name="connsiteX3739" fmla="*/ 8391103 w 12139750"/>
              <a:gd name="connsiteY3739" fmla="*/ 825535 h 6858290"/>
              <a:gd name="connsiteX3740" fmla="*/ 8347184 w 12139750"/>
              <a:gd name="connsiteY3740" fmla="*/ 816021 h 6858290"/>
              <a:gd name="connsiteX3741" fmla="*/ 8356731 w 12139750"/>
              <a:gd name="connsiteY3741" fmla="*/ 772254 h 6858290"/>
              <a:gd name="connsiteX3742" fmla="*/ 8692807 w 12139750"/>
              <a:gd name="connsiteY3742" fmla="*/ 557227 h 6858290"/>
              <a:gd name="connsiteX3743" fmla="*/ 8716914 w 12139750"/>
              <a:gd name="connsiteY3743" fmla="*/ 552708 h 6858290"/>
              <a:gd name="connsiteX3744" fmla="*/ 11026758 w 12139750"/>
              <a:gd name="connsiteY3744" fmla="*/ 552682 h 6858290"/>
              <a:gd name="connsiteX3745" fmla="*/ 11046569 w 12139750"/>
              <a:gd name="connsiteY3745" fmla="*/ 566716 h 6858290"/>
              <a:gd name="connsiteX3746" fmla="*/ 11052298 w 12139750"/>
              <a:gd name="connsiteY3746" fmla="*/ 583843 h 6858290"/>
              <a:gd name="connsiteX3747" fmla="*/ 11037022 w 12139750"/>
              <a:gd name="connsiteY3747" fmla="*/ 608580 h 6858290"/>
              <a:gd name="connsiteX3748" fmla="*/ 10700947 w 12139750"/>
              <a:gd name="connsiteY3748" fmla="*/ 825511 h 6858290"/>
              <a:gd name="connsiteX3749" fmla="*/ 10657028 w 12139750"/>
              <a:gd name="connsiteY3749" fmla="*/ 815996 h 6858290"/>
              <a:gd name="connsiteX3750" fmla="*/ 10666575 w 12139750"/>
              <a:gd name="connsiteY3750" fmla="*/ 772230 h 6858290"/>
              <a:gd name="connsiteX3751" fmla="*/ 11002651 w 12139750"/>
              <a:gd name="connsiteY3751" fmla="*/ 557202 h 6858290"/>
              <a:gd name="connsiteX3752" fmla="*/ 11026758 w 12139750"/>
              <a:gd name="connsiteY3752" fmla="*/ 552682 h 6858290"/>
              <a:gd name="connsiteX3753" fmla="*/ 8152845 w 12139750"/>
              <a:gd name="connsiteY3753" fmla="*/ 544127 h 6858290"/>
              <a:gd name="connsiteX3754" fmla="*/ 8173498 w 12139750"/>
              <a:gd name="connsiteY3754" fmla="*/ 559095 h 6858290"/>
              <a:gd name="connsiteX3755" fmla="*/ 8177296 w 12139750"/>
              <a:gd name="connsiteY3755" fmla="*/ 576201 h 6858290"/>
              <a:gd name="connsiteX3756" fmla="*/ 8162103 w 12139750"/>
              <a:gd name="connsiteY3756" fmla="*/ 604711 h 6858290"/>
              <a:gd name="connsiteX3757" fmla="*/ 7825963 w 12139750"/>
              <a:gd name="connsiteY3757" fmla="*/ 808083 h 6858290"/>
              <a:gd name="connsiteX3758" fmla="*/ 7780385 w 12139750"/>
              <a:gd name="connsiteY3758" fmla="*/ 796679 h 6858290"/>
              <a:gd name="connsiteX3759" fmla="*/ 7791780 w 12139750"/>
              <a:gd name="connsiteY3759" fmla="*/ 751063 h 6858290"/>
              <a:gd name="connsiteX3760" fmla="*/ 8127919 w 12139750"/>
              <a:gd name="connsiteY3760" fmla="*/ 547691 h 6858290"/>
              <a:gd name="connsiteX3761" fmla="*/ 8152845 w 12139750"/>
              <a:gd name="connsiteY3761" fmla="*/ 544127 h 6858290"/>
              <a:gd name="connsiteX3762" fmla="*/ 11598067 w 12139750"/>
              <a:gd name="connsiteY3762" fmla="*/ 544120 h 6858290"/>
              <a:gd name="connsiteX3763" fmla="*/ 11618085 w 12139750"/>
              <a:gd name="connsiteY3763" fmla="*/ 559088 h 6858290"/>
              <a:gd name="connsiteX3764" fmla="*/ 11623805 w 12139750"/>
              <a:gd name="connsiteY3764" fmla="*/ 576194 h 6858290"/>
              <a:gd name="connsiteX3765" fmla="*/ 11606646 w 12139750"/>
              <a:gd name="connsiteY3765" fmla="*/ 604704 h 6858290"/>
              <a:gd name="connsiteX3766" fmla="*/ 11271101 w 12139750"/>
              <a:gd name="connsiteY3766" fmla="*/ 808077 h 6858290"/>
              <a:gd name="connsiteX3767" fmla="*/ 11225345 w 12139750"/>
              <a:gd name="connsiteY3767" fmla="*/ 796673 h 6858290"/>
              <a:gd name="connsiteX3768" fmla="*/ 11236784 w 12139750"/>
              <a:gd name="connsiteY3768" fmla="*/ 751056 h 6858290"/>
              <a:gd name="connsiteX3769" fmla="*/ 11572329 w 12139750"/>
              <a:gd name="connsiteY3769" fmla="*/ 547684 h 6858290"/>
              <a:gd name="connsiteX3770" fmla="*/ 11598067 w 12139750"/>
              <a:gd name="connsiteY3770" fmla="*/ 544120 h 6858290"/>
              <a:gd name="connsiteX3771" fmla="*/ 12139750 w 12139750"/>
              <a:gd name="connsiteY3771" fmla="*/ 535003 h 6858290"/>
              <a:gd name="connsiteX3772" fmla="*/ 12139750 w 12139750"/>
              <a:gd name="connsiteY3772" fmla="*/ 616918 h 6858290"/>
              <a:gd name="connsiteX3773" fmla="*/ 11835212 w 12139750"/>
              <a:gd name="connsiteY3773" fmla="*/ 792178 h 6858290"/>
              <a:gd name="connsiteX3774" fmla="*/ 11785725 w 12139750"/>
              <a:gd name="connsiteY3774" fmla="*/ 778843 h 6858290"/>
              <a:gd name="connsiteX3775" fmla="*/ 11799048 w 12139750"/>
              <a:gd name="connsiteY3775" fmla="*/ 729313 h 6858290"/>
              <a:gd name="connsiteX3776" fmla="*/ 12135943 w 12139750"/>
              <a:gd name="connsiteY3776" fmla="*/ 536908 h 6858290"/>
              <a:gd name="connsiteX3777" fmla="*/ 12139750 w 12139750"/>
              <a:gd name="connsiteY3777" fmla="*/ 535003 h 6858290"/>
              <a:gd name="connsiteX3778" fmla="*/ 7595886 w 12139750"/>
              <a:gd name="connsiteY3778" fmla="*/ 534825 h 6858290"/>
              <a:gd name="connsiteX3779" fmla="*/ 7617844 w 12139750"/>
              <a:gd name="connsiteY3779" fmla="*/ 551417 h 6858290"/>
              <a:gd name="connsiteX3780" fmla="*/ 7621663 w 12139750"/>
              <a:gd name="connsiteY3780" fmla="*/ 568482 h 6858290"/>
              <a:gd name="connsiteX3781" fmla="*/ 7604478 w 12139750"/>
              <a:gd name="connsiteY3781" fmla="*/ 600717 h 6858290"/>
              <a:gd name="connsiteX3782" fmla="*/ 7266512 w 12139750"/>
              <a:gd name="connsiteY3782" fmla="*/ 792231 h 6858290"/>
              <a:gd name="connsiteX3783" fmla="*/ 7218776 w 12139750"/>
              <a:gd name="connsiteY3783" fmla="*/ 778957 h 6858290"/>
              <a:gd name="connsiteX3784" fmla="*/ 7230233 w 12139750"/>
              <a:gd name="connsiteY3784" fmla="*/ 729657 h 6858290"/>
              <a:gd name="connsiteX3785" fmla="*/ 7568199 w 12139750"/>
              <a:gd name="connsiteY3785" fmla="*/ 538144 h 6858290"/>
              <a:gd name="connsiteX3786" fmla="*/ 7595886 w 12139750"/>
              <a:gd name="connsiteY3786" fmla="*/ 534825 h 6858290"/>
              <a:gd name="connsiteX3787" fmla="*/ 7044520 w 12139750"/>
              <a:gd name="connsiteY3787" fmla="*/ 526281 h 6858290"/>
              <a:gd name="connsiteX3788" fmla="*/ 7066666 w 12139750"/>
              <a:gd name="connsiteY3788" fmla="*/ 543903 h 6858290"/>
              <a:gd name="connsiteX3789" fmla="*/ 7072381 w 12139750"/>
              <a:gd name="connsiteY3789" fmla="*/ 562953 h 6858290"/>
              <a:gd name="connsiteX3790" fmla="*/ 7051425 w 12139750"/>
              <a:gd name="connsiteY3790" fmla="*/ 595337 h 6858290"/>
              <a:gd name="connsiteX3791" fmla="*/ 6714236 w 12139750"/>
              <a:gd name="connsiteY3791" fmla="*/ 776312 h 6858290"/>
              <a:gd name="connsiteX3792" fmla="*/ 6662800 w 12139750"/>
              <a:gd name="connsiteY3792" fmla="*/ 761072 h 6858290"/>
              <a:gd name="connsiteX3793" fmla="*/ 6678040 w 12139750"/>
              <a:gd name="connsiteY3793" fmla="*/ 709637 h 6858290"/>
              <a:gd name="connsiteX3794" fmla="*/ 7015230 w 12139750"/>
              <a:gd name="connsiteY3794" fmla="*/ 528663 h 6858290"/>
              <a:gd name="connsiteX3795" fmla="*/ 7044520 w 12139750"/>
              <a:gd name="connsiteY3795" fmla="*/ 526281 h 6858290"/>
              <a:gd name="connsiteX3796" fmla="*/ 6500891 w 12139750"/>
              <a:gd name="connsiteY3796" fmla="*/ 517214 h 6858290"/>
              <a:gd name="connsiteX3797" fmla="*/ 6524041 w 12139750"/>
              <a:gd name="connsiteY3797" fmla="*/ 538118 h 6858290"/>
              <a:gd name="connsiteX3798" fmla="*/ 6527860 w 12139750"/>
              <a:gd name="connsiteY3798" fmla="*/ 555221 h 6858290"/>
              <a:gd name="connsiteX3799" fmla="*/ 6506857 w 12139750"/>
              <a:gd name="connsiteY3799" fmla="*/ 591328 h 6858290"/>
              <a:gd name="connsiteX3800" fmla="*/ 6166999 w 12139750"/>
              <a:gd name="connsiteY3800" fmla="*/ 760460 h 6858290"/>
              <a:gd name="connsiteX3801" fmla="*/ 6113538 w 12139750"/>
              <a:gd name="connsiteY3801" fmla="*/ 743357 h 6858290"/>
              <a:gd name="connsiteX3802" fmla="*/ 6130722 w 12139750"/>
              <a:gd name="connsiteY3802" fmla="*/ 690147 h 6858290"/>
              <a:gd name="connsiteX3803" fmla="*/ 6470580 w 12139750"/>
              <a:gd name="connsiteY3803" fmla="*/ 519114 h 6858290"/>
              <a:gd name="connsiteX3804" fmla="*/ 6500891 w 12139750"/>
              <a:gd name="connsiteY3804" fmla="*/ 517214 h 6858290"/>
              <a:gd name="connsiteX3805" fmla="*/ 5942009 w 12139750"/>
              <a:gd name="connsiteY3805" fmla="*/ 506693 h 6858290"/>
              <a:gd name="connsiteX3806" fmla="*/ 5981120 w 12139750"/>
              <a:gd name="connsiteY3806" fmla="*/ 530416 h 6858290"/>
              <a:gd name="connsiteX3807" fmla="*/ 5984930 w 12139750"/>
              <a:gd name="connsiteY3807" fmla="*/ 547475 h 6858290"/>
              <a:gd name="connsiteX3808" fmla="*/ 5962070 w 12139750"/>
              <a:gd name="connsiteY3808" fmla="*/ 585386 h 6858290"/>
              <a:gd name="connsiteX3809" fmla="*/ 5622984 w 12139750"/>
              <a:gd name="connsiteY3809" fmla="*/ 744609 h 6858290"/>
              <a:gd name="connsiteX3810" fmla="*/ 5565833 w 12139750"/>
              <a:gd name="connsiteY3810" fmla="*/ 723759 h 6858290"/>
              <a:gd name="connsiteX3811" fmla="*/ 5586789 w 12139750"/>
              <a:gd name="connsiteY3811" fmla="*/ 668789 h 6858290"/>
              <a:gd name="connsiteX3812" fmla="*/ 5925877 w 12139750"/>
              <a:gd name="connsiteY3812" fmla="*/ 511460 h 6858290"/>
              <a:gd name="connsiteX3813" fmla="*/ 5942009 w 12139750"/>
              <a:gd name="connsiteY3813" fmla="*/ 506693 h 6858290"/>
              <a:gd name="connsiteX3814" fmla="*/ 382532 w 12139750"/>
              <a:gd name="connsiteY3814" fmla="*/ 506681 h 6858290"/>
              <a:gd name="connsiteX3815" fmla="*/ 421644 w 12139750"/>
              <a:gd name="connsiteY3815" fmla="*/ 530405 h 6858290"/>
              <a:gd name="connsiteX3816" fmla="*/ 425454 w 12139750"/>
              <a:gd name="connsiteY3816" fmla="*/ 547464 h 6858290"/>
              <a:gd name="connsiteX3817" fmla="*/ 400689 w 12139750"/>
              <a:gd name="connsiteY3817" fmla="*/ 585374 h 6858290"/>
              <a:gd name="connsiteX3818" fmla="*/ 61595 w 12139750"/>
              <a:gd name="connsiteY3818" fmla="*/ 744598 h 6858290"/>
              <a:gd name="connsiteX3819" fmla="*/ 6349 w 12139750"/>
              <a:gd name="connsiteY3819" fmla="*/ 723747 h 6858290"/>
              <a:gd name="connsiteX3820" fmla="*/ 27305 w 12139750"/>
              <a:gd name="connsiteY3820" fmla="*/ 668777 h 6858290"/>
              <a:gd name="connsiteX3821" fmla="*/ 366399 w 12139750"/>
              <a:gd name="connsiteY3821" fmla="*/ 511449 h 6858290"/>
              <a:gd name="connsiteX3822" fmla="*/ 382532 w 12139750"/>
              <a:gd name="connsiteY3822" fmla="*/ 506681 h 6858290"/>
              <a:gd name="connsiteX3823" fmla="*/ 5409823 w 12139750"/>
              <a:gd name="connsiteY3823" fmla="*/ 500973 h 6858290"/>
              <a:gd name="connsiteX3824" fmla="*/ 5433432 w 12139750"/>
              <a:gd name="connsiteY3824" fmla="*/ 524577 h 6858290"/>
              <a:gd name="connsiteX3825" fmla="*/ 5437247 w 12139750"/>
              <a:gd name="connsiteY3825" fmla="*/ 541744 h 6858290"/>
              <a:gd name="connsiteX3826" fmla="*/ 5410538 w 12139750"/>
              <a:gd name="connsiteY3826" fmla="*/ 581801 h 6858290"/>
              <a:gd name="connsiteX3827" fmla="*/ 5070946 w 12139750"/>
              <a:gd name="connsiteY3827" fmla="*/ 728676 h 6858290"/>
              <a:gd name="connsiteX3828" fmla="*/ 5011810 w 12139750"/>
              <a:gd name="connsiteY3828" fmla="*/ 705786 h 6858290"/>
              <a:gd name="connsiteX3829" fmla="*/ 5034702 w 12139750"/>
              <a:gd name="connsiteY3829" fmla="*/ 648562 h 6858290"/>
              <a:gd name="connsiteX3830" fmla="*/ 5376199 w 12139750"/>
              <a:gd name="connsiteY3830" fmla="*/ 501688 h 6858290"/>
              <a:gd name="connsiteX3831" fmla="*/ 5409823 w 12139750"/>
              <a:gd name="connsiteY3831" fmla="*/ 500973 h 6858290"/>
              <a:gd name="connsiteX3832" fmla="*/ 943575 w 12139750"/>
              <a:gd name="connsiteY3832" fmla="*/ 500959 h 6858290"/>
              <a:gd name="connsiteX3833" fmla="*/ 968066 w 12139750"/>
              <a:gd name="connsiteY3833" fmla="*/ 524564 h 6858290"/>
              <a:gd name="connsiteX3834" fmla="*/ 969968 w 12139750"/>
              <a:gd name="connsiteY3834" fmla="*/ 541731 h 6858290"/>
              <a:gd name="connsiteX3835" fmla="*/ 945239 w 12139750"/>
              <a:gd name="connsiteY3835" fmla="*/ 581788 h 6858290"/>
              <a:gd name="connsiteX3836" fmla="*/ 604741 w 12139750"/>
              <a:gd name="connsiteY3836" fmla="*/ 728662 h 6858290"/>
              <a:gd name="connsiteX3837" fmla="*/ 547674 w 12139750"/>
              <a:gd name="connsiteY3837" fmla="*/ 705773 h 6858290"/>
              <a:gd name="connsiteX3838" fmla="*/ 570501 w 12139750"/>
              <a:gd name="connsiteY3838" fmla="*/ 648549 h 6858290"/>
              <a:gd name="connsiteX3839" fmla="*/ 909097 w 12139750"/>
              <a:gd name="connsiteY3839" fmla="*/ 501674 h 6858290"/>
              <a:gd name="connsiteX3840" fmla="*/ 943575 w 12139750"/>
              <a:gd name="connsiteY3840" fmla="*/ 500959 h 6858290"/>
              <a:gd name="connsiteX3841" fmla="*/ 4841065 w 12139750"/>
              <a:gd name="connsiteY3841" fmla="*/ 488779 h 6858290"/>
              <a:gd name="connsiteX3842" fmla="*/ 4882566 w 12139750"/>
              <a:gd name="connsiteY3842" fmla="*/ 516870 h 6858290"/>
              <a:gd name="connsiteX3843" fmla="*/ 4886373 w 12139750"/>
              <a:gd name="connsiteY3843" fmla="*/ 533993 h 6858290"/>
              <a:gd name="connsiteX3844" fmla="*/ 4855912 w 12139750"/>
              <a:gd name="connsiteY3844" fmla="*/ 577749 h 6858290"/>
              <a:gd name="connsiteX3845" fmla="*/ 4517068 w 12139750"/>
              <a:gd name="connsiteY3845" fmla="*/ 712825 h 6858290"/>
              <a:gd name="connsiteX3846" fmla="*/ 4456150 w 12139750"/>
              <a:gd name="connsiteY3846" fmla="*/ 686191 h 6858290"/>
              <a:gd name="connsiteX3847" fmla="*/ 4482802 w 12139750"/>
              <a:gd name="connsiteY3847" fmla="*/ 627214 h 6858290"/>
              <a:gd name="connsiteX3848" fmla="*/ 4823545 w 12139750"/>
              <a:gd name="connsiteY3848" fmla="*/ 492138 h 6858290"/>
              <a:gd name="connsiteX3849" fmla="*/ 4841065 w 12139750"/>
              <a:gd name="connsiteY3849" fmla="*/ 488779 h 6858290"/>
              <a:gd name="connsiteX3850" fmla="*/ 1475768 w 12139750"/>
              <a:gd name="connsiteY3850" fmla="*/ 488763 h 6858290"/>
              <a:gd name="connsiteX3851" fmla="*/ 1517023 w 12139750"/>
              <a:gd name="connsiteY3851" fmla="*/ 516854 h 6858290"/>
              <a:gd name="connsiteX3852" fmla="*/ 1520833 w 12139750"/>
              <a:gd name="connsiteY3852" fmla="*/ 533977 h 6858290"/>
              <a:gd name="connsiteX3853" fmla="*/ 1492258 w 12139750"/>
              <a:gd name="connsiteY3853" fmla="*/ 577734 h 6858290"/>
              <a:gd name="connsiteX3854" fmla="*/ 1151259 w 12139750"/>
              <a:gd name="connsiteY3854" fmla="*/ 712810 h 6858290"/>
              <a:gd name="connsiteX3855" fmla="*/ 1092203 w 12139750"/>
              <a:gd name="connsiteY3855" fmla="*/ 686175 h 6858290"/>
              <a:gd name="connsiteX3856" fmla="*/ 1116969 w 12139750"/>
              <a:gd name="connsiteY3856" fmla="*/ 627198 h 6858290"/>
              <a:gd name="connsiteX3857" fmla="*/ 1457968 w 12139750"/>
              <a:gd name="connsiteY3857" fmla="*/ 492122 h 6858290"/>
              <a:gd name="connsiteX3858" fmla="*/ 1475768 w 12139750"/>
              <a:gd name="connsiteY3858" fmla="*/ 488763 h 6858290"/>
              <a:gd name="connsiteX3859" fmla="*/ 4284536 w 12139750"/>
              <a:gd name="connsiteY3859" fmla="*/ 479572 h 6858290"/>
              <a:gd name="connsiteX3860" fmla="*/ 4326924 w 12139750"/>
              <a:gd name="connsiteY3860" fmla="*/ 511096 h 6858290"/>
              <a:gd name="connsiteX3861" fmla="*/ 4330739 w 12139750"/>
              <a:gd name="connsiteY3861" fmla="*/ 528194 h 6858290"/>
              <a:gd name="connsiteX3862" fmla="*/ 4298308 w 12139750"/>
              <a:gd name="connsiteY3862" fmla="*/ 571889 h 6858290"/>
              <a:gd name="connsiteX3863" fmla="*/ 3956841 w 12139750"/>
              <a:gd name="connsiteY3863" fmla="*/ 695376 h 6858290"/>
              <a:gd name="connsiteX3864" fmla="*/ 3895790 w 12139750"/>
              <a:gd name="connsiteY3864" fmla="*/ 666879 h 6858290"/>
              <a:gd name="connsiteX3865" fmla="*/ 3924406 w 12139750"/>
              <a:gd name="connsiteY3865" fmla="*/ 606085 h 6858290"/>
              <a:gd name="connsiteX3866" fmla="*/ 4265875 w 12139750"/>
              <a:gd name="connsiteY3866" fmla="*/ 482599 h 6858290"/>
              <a:gd name="connsiteX3867" fmla="*/ 4284536 w 12139750"/>
              <a:gd name="connsiteY3867" fmla="*/ 479572 h 6858290"/>
              <a:gd name="connsiteX3868" fmla="*/ 2030557 w 12139750"/>
              <a:gd name="connsiteY3868" fmla="*/ 479554 h 6858290"/>
              <a:gd name="connsiteX3869" fmla="*/ 2074559 w 12139750"/>
              <a:gd name="connsiteY3869" fmla="*/ 511078 h 6858290"/>
              <a:gd name="connsiteX3870" fmla="*/ 2076466 w 12139750"/>
              <a:gd name="connsiteY3870" fmla="*/ 528177 h 6858290"/>
              <a:gd name="connsiteX3871" fmla="*/ 2045939 w 12139750"/>
              <a:gd name="connsiteY3871" fmla="*/ 571872 h 6858290"/>
              <a:gd name="connsiteX3872" fmla="*/ 1702543 w 12139750"/>
              <a:gd name="connsiteY3872" fmla="*/ 695358 h 6858290"/>
              <a:gd name="connsiteX3873" fmla="*/ 1641495 w 12139750"/>
              <a:gd name="connsiteY3873" fmla="*/ 666862 h 6858290"/>
              <a:gd name="connsiteX3874" fmla="*/ 1670112 w 12139750"/>
              <a:gd name="connsiteY3874" fmla="*/ 606068 h 6858290"/>
              <a:gd name="connsiteX3875" fmla="*/ 2011599 w 12139750"/>
              <a:gd name="connsiteY3875" fmla="*/ 482582 h 6858290"/>
              <a:gd name="connsiteX3876" fmla="*/ 2030557 w 12139750"/>
              <a:gd name="connsiteY3876" fmla="*/ 479554 h 6858290"/>
              <a:gd name="connsiteX3877" fmla="*/ 3723550 w 12139750"/>
              <a:gd name="connsiteY3877" fmla="*/ 470402 h 6858290"/>
              <a:gd name="connsiteX3878" fmla="*/ 3766538 w 12139750"/>
              <a:gd name="connsiteY3878" fmla="*/ 505544 h 6858290"/>
              <a:gd name="connsiteX3879" fmla="*/ 3770359 w 12139750"/>
              <a:gd name="connsiteY3879" fmla="*/ 520805 h 6858290"/>
              <a:gd name="connsiteX3880" fmla="*/ 3734059 w 12139750"/>
              <a:gd name="connsiteY3880" fmla="*/ 568497 h 6858290"/>
              <a:gd name="connsiteX3881" fmla="*/ 3392114 w 12139750"/>
              <a:gd name="connsiteY3881" fmla="*/ 681049 h 6858290"/>
              <a:gd name="connsiteX3882" fmla="*/ 3329067 w 12139750"/>
              <a:gd name="connsiteY3882" fmla="*/ 648619 h 6858290"/>
              <a:gd name="connsiteX3883" fmla="*/ 3359634 w 12139750"/>
              <a:gd name="connsiteY3883" fmla="*/ 585666 h 6858290"/>
              <a:gd name="connsiteX3884" fmla="*/ 3703492 w 12139750"/>
              <a:gd name="connsiteY3884" fmla="*/ 473114 h 6858290"/>
              <a:gd name="connsiteX3885" fmla="*/ 3723550 w 12139750"/>
              <a:gd name="connsiteY3885" fmla="*/ 470402 h 6858290"/>
              <a:gd name="connsiteX3886" fmla="*/ 2590051 w 12139750"/>
              <a:gd name="connsiteY3886" fmla="*/ 470381 h 6858290"/>
              <a:gd name="connsiteX3887" fmla="*/ 2633035 w 12139750"/>
              <a:gd name="connsiteY3887" fmla="*/ 505524 h 6858290"/>
              <a:gd name="connsiteX3888" fmla="*/ 2636856 w 12139750"/>
              <a:gd name="connsiteY3888" fmla="*/ 520785 h 6858290"/>
              <a:gd name="connsiteX3889" fmla="*/ 2600558 w 12139750"/>
              <a:gd name="connsiteY3889" fmla="*/ 568477 h 6858290"/>
              <a:gd name="connsiteX3890" fmla="*/ 2258596 w 12139750"/>
              <a:gd name="connsiteY3890" fmla="*/ 681030 h 6858290"/>
              <a:gd name="connsiteX3891" fmla="*/ 2195553 w 12139750"/>
              <a:gd name="connsiteY3891" fmla="*/ 648599 h 6858290"/>
              <a:gd name="connsiteX3892" fmla="*/ 2226119 w 12139750"/>
              <a:gd name="connsiteY3892" fmla="*/ 585646 h 6858290"/>
              <a:gd name="connsiteX3893" fmla="*/ 2569992 w 12139750"/>
              <a:gd name="connsiteY3893" fmla="*/ 473094 h 6858290"/>
              <a:gd name="connsiteX3894" fmla="*/ 2590051 w 12139750"/>
              <a:gd name="connsiteY3894" fmla="*/ 470381 h 6858290"/>
              <a:gd name="connsiteX3895" fmla="*/ 3153226 w 12139750"/>
              <a:gd name="connsiteY3895" fmla="*/ 461689 h 6858290"/>
              <a:gd name="connsiteX3896" fmla="*/ 3196952 w 12139750"/>
              <a:gd name="connsiteY3896" fmla="*/ 499516 h 6858290"/>
              <a:gd name="connsiteX3897" fmla="*/ 3198860 w 12139750"/>
              <a:gd name="connsiteY3897" fmla="*/ 512871 h 6858290"/>
              <a:gd name="connsiteX3898" fmla="*/ 3162613 w 12139750"/>
              <a:gd name="connsiteY3898" fmla="*/ 564381 h 6858290"/>
              <a:gd name="connsiteX3899" fmla="*/ 2819230 w 12139750"/>
              <a:gd name="connsiteY3899" fmla="*/ 665493 h 6858290"/>
              <a:gd name="connsiteX3900" fmla="*/ 2754365 w 12139750"/>
              <a:gd name="connsiteY3900" fmla="*/ 629246 h 6858290"/>
              <a:gd name="connsiteX3901" fmla="*/ 2788707 w 12139750"/>
              <a:gd name="connsiteY3901" fmla="*/ 564381 h 6858290"/>
              <a:gd name="connsiteX3902" fmla="*/ 3132091 w 12139750"/>
              <a:gd name="connsiteY3902" fmla="*/ 463269 h 6858290"/>
              <a:gd name="connsiteX3903" fmla="*/ 3153226 w 12139750"/>
              <a:gd name="connsiteY3903" fmla="*/ 461689 h 6858290"/>
              <a:gd name="connsiteX3904" fmla="*/ 9865382 w 12139750"/>
              <a:gd name="connsiteY3904" fmla="*/ 251073 h 6858290"/>
              <a:gd name="connsiteX3905" fmla="*/ 9884846 w 12139750"/>
              <a:gd name="connsiteY3905" fmla="*/ 265137 h 6858290"/>
              <a:gd name="connsiteX3906" fmla="*/ 9888644 w 12139750"/>
              <a:gd name="connsiteY3906" fmla="*/ 280394 h 6858290"/>
              <a:gd name="connsiteX3907" fmla="*/ 9875351 w 12139750"/>
              <a:gd name="connsiteY3907" fmla="*/ 305186 h 6858290"/>
              <a:gd name="connsiteX3908" fmla="*/ 9543036 w 12139750"/>
              <a:gd name="connsiteY3908" fmla="*/ 530219 h 6858290"/>
              <a:gd name="connsiteX3909" fmla="*/ 9501259 w 12139750"/>
              <a:gd name="connsiteY3909" fmla="*/ 520684 h 6858290"/>
              <a:gd name="connsiteX3910" fmla="*/ 9508855 w 12139750"/>
              <a:gd name="connsiteY3910" fmla="*/ 480636 h 6858290"/>
              <a:gd name="connsiteX3911" fmla="*/ 9843069 w 12139750"/>
              <a:gd name="connsiteY3911" fmla="*/ 255602 h 6858290"/>
              <a:gd name="connsiteX3912" fmla="*/ 9865382 w 12139750"/>
              <a:gd name="connsiteY3912" fmla="*/ 251073 h 6858290"/>
              <a:gd name="connsiteX3913" fmla="*/ 9288660 w 12139750"/>
              <a:gd name="connsiteY3913" fmla="*/ 242274 h 6858290"/>
              <a:gd name="connsiteX3914" fmla="*/ 9308232 w 12139750"/>
              <a:gd name="connsiteY3914" fmla="*/ 255594 h 6858290"/>
              <a:gd name="connsiteX3915" fmla="*/ 9313961 w 12139750"/>
              <a:gd name="connsiteY3915" fmla="*/ 272720 h 6858290"/>
              <a:gd name="connsiteX3916" fmla="*/ 9298685 w 12139750"/>
              <a:gd name="connsiteY3916" fmla="*/ 299361 h 6858290"/>
              <a:gd name="connsiteX3917" fmla="*/ 8962610 w 12139750"/>
              <a:gd name="connsiteY3917" fmla="*/ 514388 h 6858290"/>
              <a:gd name="connsiteX3918" fmla="*/ 8918691 w 12139750"/>
              <a:gd name="connsiteY3918" fmla="*/ 504873 h 6858290"/>
              <a:gd name="connsiteX3919" fmla="*/ 8928238 w 12139750"/>
              <a:gd name="connsiteY3919" fmla="*/ 461107 h 6858290"/>
              <a:gd name="connsiteX3920" fmla="*/ 9266223 w 12139750"/>
              <a:gd name="connsiteY3920" fmla="*/ 246080 h 6858290"/>
              <a:gd name="connsiteX3921" fmla="*/ 9288660 w 12139750"/>
              <a:gd name="connsiteY3921" fmla="*/ 242274 h 6858290"/>
              <a:gd name="connsiteX3922" fmla="*/ 10450170 w 12139750"/>
              <a:gd name="connsiteY3922" fmla="*/ 242248 h 6858290"/>
              <a:gd name="connsiteX3923" fmla="*/ 10470633 w 12139750"/>
              <a:gd name="connsiteY3923" fmla="*/ 255569 h 6858290"/>
              <a:gd name="connsiteX3924" fmla="*/ 10474440 w 12139750"/>
              <a:gd name="connsiteY3924" fmla="*/ 272695 h 6858290"/>
              <a:gd name="connsiteX3925" fmla="*/ 10461115 w 12139750"/>
              <a:gd name="connsiteY3925" fmla="*/ 299335 h 6858290"/>
              <a:gd name="connsiteX3926" fmla="*/ 10124192 w 12139750"/>
              <a:gd name="connsiteY3926" fmla="*/ 514363 h 6858290"/>
              <a:gd name="connsiteX3927" fmla="*/ 10082315 w 12139750"/>
              <a:gd name="connsiteY3927" fmla="*/ 504848 h 6858290"/>
              <a:gd name="connsiteX3928" fmla="*/ 10091832 w 12139750"/>
              <a:gd name="connsiteY3928" fmla="*/ 461082 h 6858290"/>
              <a:gd name="connsiteX3929" fmla="*/ 10426852 w 12139750"/>
              <a:gd name="connsiteY3929" fmla="*/ 246054 h 6858290"/>
              <a:gd name="connsiteX3930" fmla="*/ 10450170 w 12139750"/>
              <a:gd name="connsiteY3930" fmla="*/ 242248 h 6858290"/>
              <a:gd name="connsiteX3931" fmla="*/ 8718303 w 12139750"/>
              <a:gd name="connsiteY3931" fmla="*/ 233007 h 6858290"/>
              <a:gd name="connsiteX3932" fmla="*/ 8738321 w 12139750"/>
              <a:gd name="connsiteY3932" fmla="*/ 248042 h 6858290"/>
              <a:gd name="connsiteX3933" fmla="*/ 8744041 w 12139750"/>
              <a:gd name="connsiteY3933" fmla="*/ 265226 h 6858290"/>
              <a:gd name="connsiteX3934" fmla="*/ 8728789 w 12139750"/>
              <a:gd name="connsiteY3934" fmla="*/ 293865 h 6858290"/>
              <a:gd name="connsiteX3935" fmla="*/ 8391337 w 12139750"/>
              <a:gd name="connsiteY3935" fmla="*/ 500068 h 6858290"/>
              <a:gd name="connsiteX3936" fmla="*/ 8345581 w 12139750"/>
              <a:gd name="connsiteY3936" fmla="*/ 488612 h 6858290"/>
              <a:gd name="connsiteX3937" fmla="*/ 8357020 w 12139750"/>
              <a:gd name="connsiteY3937" fmla="*/ 442790 h 6858290"/>
              <a:gd name="connsiteX3938" fmla="*/ 8692565 w 12139750"/>
              <a:gd name="connsiteY3938" fmla="*/ 236587 h 6858290"/>
              <a:gd name="connsiteX3939" fmla="*/ 8718303 w 12139750"/>
              <a:gd name="connsiteY3939" fmla="*/ 233007 h 6858290"/>
              <a:gd name="connsiteX3940" fmla="*/ 11027432 w 12139750"/>
              <a:gd name="connsiteY3940" fmla="*/ 232979 h 6858290"/>
              <a:gd name="connsiteX3941" fmla="*/ 11048165 w 12139750"/>
              <a:gd name="connsiteY3941" fmla="*/ 248015 h 6858290"/>
              <a:gd name="connsiteX3942" fmla="*/ 11053885 w 12139750"/>
              <a:gd name="connsiteY3942" fmla="*/ 265198 h 6858290"/>
              <a:gd name="connsiteX3943" fmla="*/ 11036726 w 12139750"/>
              <a:gd name="connsiteY3943" fmla="*/ 293838 h 6858290"/>
              <a:gd name="connsiteX3944" fmla="*/ 10701181 w 12139750"/>
              <a:gd name="connsiteY3944" fmla="*/ 500041 h 6858290"/>
              <a:gd name="connsiteX3945" fmla="*/ 10655425 w 12139750"/>
              <a:gd name="connsiteY3945" fmla="*/ 488585 h 6858290"/>
              <a:gd name="connsiteX3946" fmla="*/ 10666864 w 12139750"/>
              <a:gd name="connsiteY3946" fmla="*/ 442762 h 6858290"/>
              <a:gd name="connsiteX3947" fmla="*/ 11002409 w 12139750"/>
              <a:gd name="connsiteY3947" fmla="*/ 236559 h 6858290"/>
              <a:gd name="connsiteX3948" fmla="*/ 11027432 w 12139750"/>
              <a:gd name="connsiteY3948" fmla="*/ 232979 h 6858290"/>
              <a:gd name="connsiteX3949" fmla="*/ 8154912 w 12139750"/>
              <a:gd name="connsiteY3949" fmla="*/ 223468 h 6858290"/>
              <a:gd name="connsiteX3950" fmla="*/ 8176649 w 12139750"/>
              <a:gd name="connsiteY3950" fmla="*/ 238470 h 6858290"/>
              <a:gd name="connsiteX3951" fmla="*/ 8180471 w 12139750"/>
              <a:gd name="connsiteY3951" fmla="*/ 257520 h 6858290"/>
              <a:gd name="connsiteX3952" fmla="*/ 8163273 w 12139750"/>
              <a:gd name="connsiteY3952" fmla="*/ 288000 h 6858290"/>
              <a:gd name="connsiteX3953" fmla="*/ 7825042 w 12139750"/>
              <a:gd name="connsiteY3953" fmla="*/ 484214 h 6858290"/>
              <a:gd name="connsiteX3954" fmla="*/ 7777269 w 12139750"/>
              <a:gd name="connsiteY3954" fmla="*/ 470879 h 6858290"/>
              <a:gd name="connsiteX3955" fmla="*/ 7790646 w 12139750"/>
              <a:gd name="connsiteY3955" fmla="*/ 423255 h 6858290"/>
              <a:gd name="connsiteX3956" fmla="*/ 8128876 w 12139750"/>
              <a:gd name="connsiteY3956" fmla="*/ 227040 h 6858290"/>
              <a:gd name="connsiteX3957" fmla="*/ 8154912 w 12139750"/>
              <a:gd name="connsiteY3957" fmla="*/ 223468 h 6858290"/>
              <a:gd name="connsiteX3958" fmla="*/ 11598743 w 12139750"/>
              <a:gd name="connsiteY3958" fmla="*/ 223460 h 6858290"/>
              <a:gd name="connsiteX3959" fmla="*/ 11619682 w 12139750"/>
              <a:gd name="connsiteY3959" fmla="*/ 238461 h 6858290"/>
              <a:gd name="connsiteX3960" fmla="*/ 11625393 w 12139750"/>
              <a:gd name="connsiteY3960" fmla="*/ 257511 h 6858290"/>
              <a:gd name="connsiteX3961" fmla="*/ 11608261 w 12139750"/>
              <a:gd name="connsiteY3961" fmla="*/ 287991 h 6858290"/>
              <a:gd name="connsiteX3962" fmla="*/ 11271332 w 12139750"/>
              <a:gd name="connsiteY3962" fmla="*/ 484206 h 6858290"/>
              <a:gd name="connsiteX3963" fmla="*/ 11223743 w 12139750"/>
              <a:gd name="connsiteY3963" fmla="*/ 470871 h 6858290"/>
              <a:gd name="connsiteX3964" fmla="*/ 11237068 w 12139750"/>
              <a:gd name="connsiteY3964" fmla="*/ 423246 h 6858290"/>
              <a:gd name="connsiteX3965" fmla="*/ 11572093 w 12139750"/>
              <a:gd name="connsiteY3965" fmla="*/ 227031 h 6858290"/>
              <a:gd name="connsiteX3966" fmla="*/ 11598743 w 12139750"/>
              <a:gd name="connsiteY3966" fmla="*/ 223460 h 6858290"/>
              <a:gd name="connsiteX3967" fmla="*/ 12139750 w 12139750"/>
              <a:gd name="connsiteY3967" fmla="*/ 215916 h 6858290"/>
              <a:gd name="connsiteX3968" fmla="*/ 12139750 w 12139750"/>
              <a:gd name="connsiteY3968" fmla="*/ 297535 h 6858290"/>
              <a:gd name="connsiteX3969" fmla="*/ 11835475 w 12139750"/>
              <a:gd name="connsiteY3969" fmla="*/ 466465 h 6858290"/>
              <a:gd name="connsiteX3970" fmla="*/ 11784129 w 12139750"/>
              <a:gd name="connsiteY3970" fmla="*/ 453179 h 6858290"/>
              <a:gd name="connsiteX3971" fmla="*/ 11799342 w 12139750"/>
              <a:gd name="connsiteY3971" fmla="*/ 403828 h 6858290"/>
              <a:gd name="connsiteX3972" fmla="*/ 12135947 w 12139750"/>
              <a:gd name="connsiteY3972" fmla="*/ 217814 h 6858290"/>
              <a:gd name="connsiteX3973" fmla="*/ 12139750 w 12139750"/>
              <a:gd name="connsiteY3973" fmla="*/ 215916 h 6858290"/>
              <a:gd name="connsiteX3974" fmla="*/ 7596540 w 12139750"/>
              <a:gd name="connsiteY3974" fmla="*/ 214167 h 6858290"/>
              <a:gd name="connsiteX3975" fmla="*/ 7619435 w 12139750"/>
              <a:gd name="connsiteY3975" fmla="*/ 230796 h 6858290"/>
              <a:gd name="connsiteX3976" fmla="*/ 7623251 w 12139750"/>
              <a:gd name="connsiteY3976" fmla="*/ 247901 h 6858290"/>
              <a:gd name="connsiteX3977" fmla="*/ 7604171 w 12139750"/>
              <a:gd name="connsiteY3977" fmla="*/ 280210 h 6858290"/>
              <a:gd name="connsiteX3978" fmla="*/ 7266466 w 12139750"/>
              <a:gd name="connsiteY3978" fmla="*/ 466461 h 6858290"/>
              <a:gd name="connsiteX3979" fmla="*/ 7216859 w 12139750"/>
              <a:gd name="connsiteY3979" fmla="*/ 453158 h 6858290"/>
              <a:gd name="connsiteX3980" fmla="*/ 7230215 w 12139750"/>
              <a:gd name="connsiteY3980" fmla="*/ 403744 h 6858290"/>
              <a:gd name="connsiteX3981" fmla="*/ 7567920 w 12139750"/>
              <a:gd name="connsiteY3981" fmla="*/ 217493 h 6858290"/>
              <a:gd name="connsiteX3982" fmla="*/ 7596540 w 12139750"/>
              <a:gd name="connsiteY3982" fmla="*/ 214167 h 6858290"/>
              <a:gd name="connsiteX3983" fmla="*/ 7044758 w 12139750"/>
              <a:gd name="connsiteY3983" fmla="*/ 204259 h 6858290"/>
              <a:gd name="connsiteX3984" fmla="*/ 7068571 w 12139750"/>
              <a:gd name="connsiteY3984" fmla="*/ 223547 h 6858290"/>
              <a:gd name="connsiteX3985" fmla="*/ 7072381 w 12139750"/>
              <a:gd name="connsiteY3985" fmla="*/ 240692 h 6858290"/>
              <a:gd name="connsiteX3986" fmla="*/ 7051425 w 12139750"/>
              <a:gd name="connsiteY3986" fmla="*/ 274982 h 6858290"/>
              <a:gd name="connsiteX3987" fmla="*/ 6714236 w 12139750"/>
              <a:gd name="connsiteY3987" fmla="*/ 452146 h 6858290"/>
              <a:gd name="connsiteX3988" fmla="*/ 6662800 w 12139750"/>
              <a:gd name="connsiteY3988" fmla="*/ 436906 h 6858290"/>
              <a:gd name="connsiteX3989" fmla="*/ 6678040 w 12139750"/>
              <a:gd name="connsiteY3989" fmla="*/ 385472 h 6858290"/>
              <a:gd name="connsiteX3990" fmla="*/ 7015230 w 12139750"/>
              <a:gd name="connsiteY3990" fmla="*/ 206402 h 6858290"/>
              <a:gd name="connsiteX3991" fmla="*/ 7044758 w 12139750"/>
              <a:gd name="connsiteY3991" fmla="*/ 204259 h 6858290"/>
              <a:gd name="connsiteX3992" fmla="*/ 6500891 w 12139750"/>
              <a:gd name="connsiteY3992" fmla="*/ 194963 h 6858290"/>
              <a:gd name="connsiteX3993" fmla="*/ 6524041 w 12139750"/>
              <a:gd name="connsiteY3993" fmla="*/ 215892 h 6858290"/>
              <a:gd name="connsiteX3994" fmla="*/ 6527860 w 12139750"/>
              <a:gd name="connsiteY3994" fmla="*/ 233016 h 6858290"/>
              <a:gd name="connsiteX3995" fmla="*/ 6506857 w 12139750"/>
              <a:gd name="connsiteY3995" fmla="*/ 269166 h 6858290"/>
              <a:gd name="connsiteX3996" fmla="*/ 6166999 w 12139750"/>
              <a:gd name="connsiteY3996" fmla="*/ 436601 h 6858290"/>
              <a:gd name="connsiteX3997" fmla="*/ 6113538 w 12139750"/>
              <a:gd name="connsiteY3997" fmla="*/ 419477 h 6858290"/>
              <a:gd name="connsiteX3998" fmla="*/ 6130722 w 12139750"/>
              <a:gd name="connsiteY3998" fmla="*/ 366202 h 6858290"/>
              <a:gd name="connsiteX3999" fmla="*/ 6470580 w 12139750"/>
              <a:gd name="connsiteY3999" fmla="*/ 196865 h 6858290"/>
              <a:gd name="connsiteX4000" fmla="*/ 6500891 w 12139750"/>
              <a:gd name="connsiteY4000" fmla="*/ 194963 h 6858290"/>
              <a:gd name="connsiteX4001" fmla="*/ 5957785 w 12139750"/>
              <a:gd name="connsiteY4001" fmla="*/ 186367 h 6858290"/>
              <a:gd name="connsiteX4002" fmla="*/ 5981120 w 12139750"/>
              <a:gd name="connsiteY4002" fmla="*/ 208192 h 6858290"/>
              <a:gd name="connsiteX4003" fmla="*/ 5984930 w 12139750"/>
              <a:gd name="connsiteY4003" fmla="*/ 225273 h 6858290"/>
              <a:gd name="connsiteX4004" fmla="*/ 5962070 w 12139750"/>
              <a:gd name="connsiteY4004" fmla="*/ 263230 h 6858290"/>
              <a:gd name="connsiteX4005" fmla="*/ 5622984 w 12139750"/>
              <a:gd name="connsiteY4005" fmla="*/ 420750 h 6858290"/>
              <a:gd name="connsiteX4006" fmla="*/ 5567739 w 12139750"/>
              <a:gd name="connsiteY4006" fmla="*/ 401772 h 6858290"/>
              <a:gd name="connsiteX4007" fmla="*/ 5586789 w 12139750"/>
              <a:gd name="connsiteY4007" fmla="*/ 346734 h 6858290"/>
              <a:gd name="connsiteX4008" fmla="*/ 5925877 w 12139750"/>
              <a:gd name="connsiteY4008" fmla="*/ 187316 h 6858290"/>
              <a:gd name="connsiteX4009" fmla="*/ 5957785 w 12139750"/>
              <a:gd name="connsiteY4009" fmla="*/ 186367 h 6858290"/>
              <a:gd name="connsiteX4010" fmla="*/ 398308 w 12139750"/>
              <a:gd name="connsiteY4010" fmla="*/ 186354 h 6858290"/>
              <a:gd name="connsiteX4011" fmla="*/ 421644 w 12139750"/>
              <a:gd name="connsiteY4011" fmla="*/ 208179 h 6858290"/>
              <a:gd name="connsiteX4012" fmla="*/ 425454 w 12139750"/>
              <a:gd name="connsiteY4012" fmla="*/ 225260 h 6858290"/>
              <a:gd name="connsiteX4013" fmla="*/ 400689 w 12139750"/>
              <a:gd name="connsiteY4013" fmla="*/ 263217 h 6858290"/>
              <a:gd name="connsiteX4014" fmla="*/ 61595 w 12139750"/>
              <a:gd name="connsiteY4014" fmla="*/ 420738 h 6858290"/>
              <a:gd name="connsiteX4015" fmla="*/ 6349 w 12139750"/>
              <a:gd name="connsiteY4015" fmla="*/ 401759 h 6858290"/>
              <a:gd name="connsiteX4016" fmla="*/ 27305 w 12139750"/>
              <a:gd name="connsiteY4016" fmla="*/ 346722 h 6858290"/>
              <a:gd name="connsiteX4017" fmla="*/ 366399 w 12139750"/>
              <a:gd name="connsiteY4017" fmla="*/ 187303 h 6858290"/>
              <a:gd name="connsiteX4018" fmla="*/ 398308 w 12139750"/>
              <a:gd name="connsiteY4018" fmla="*/ 186354 h 6858290"/>
              <a:gd name="connsiteX4019" fmla="*/ 5409190 w 12139750"/>
              <a:gd name="connsiteY4019" fmla="*/ 176874 h 6858290"/>
              <a:gd name="connsiteX4020" fmla="*/ 5433442 w 12139750"/>
              <a:gd name="connsiteY4020" fmla="*/ 198782 h 6858290"/>
              <a:gd name="connsiteX4021" fmla="*/ 5437247 w 12139750"/>
              <a:gd name="connsiteY4021" fmla="*/ 217832 h 6858290"/>
              <a:gd name="connsiteX4022" fmla="*/ 5410617 w 12139750"/>
              <a:gd name="connsiteY4022" fmla="*/ 255932 h 6858290"/>
              <a:gd name="connsiteX4023" fmla="*/ 5072019 w 12139750"/>
              <a:gd name="connsiteY4023" fmla="*/ 406426 h 6858290"/>
              <a:gd name="connsiteX4024" fmla="*/ 5014958 w 12139750"/>
              <a:gd name="connsiteY4024" fmla="*/ 385471 h 6858290"/>
              <a:gd name="connsiteX4025" fmla="*/ 5035880 w 12139750"/>
              <a:gd name="connsiteY4025" fmla="*/ 328321 h 6858290"/>
              <a:gd name="connsiteX4026" fmla="*/ 5376377 w 12139750"/>
              <a:gd name="connsiteY4026" fmla="*/ 177827 h 6858290"/>
              <a:gd name="connsiteX4027" fmla="*/ 5409190 w 12139750"/>
              <a:gd name="connsiteY4027" fmla="*/ 176874 h 6858290"/>
              <a:gd name="connsiteX4028" fmla="*/ 942624 w 12139750"/>
              <a:gd name="connsiteY4028" fmla="*/ 176859 h 6858290"/>
              <a:gd name="connsiteX4029" fmla="*/ 966164 w 12139750"/>
              <a:gd name="connsiteY4029" fmla="*/ 198766 h 6858290"/>
              <a:gd name="connsiteX4030" fmla="*/ 969968 w 12139750"/>
              <a:gd name="connsiteY4030" fmla="*/ 217816 h 6858290"/>
              <a:gd name="connsiteX4031" fmla="*/ 945239 w 12139750"/>
              <a:gd name="connsiteY4031" fmla="*/ 255916 h 6858290"/>
              <a:gd name="connsiteX4032" fmla="*/ 604741 w 12139750"/>
              <a:gd name="connsiteY4032" fmla="*/ 406411 h 6858290"/>
              <a:gd name="connsiteX4033" fmla="*/ 547674 w 12139750"/>
              <a:gd name="connsiteY4033" fmla="*/ 385456 h 6858290"/>
              <a:gd name="connsiteX4034" fmla="*/ 570501 w 12139750"/>
              <a:gd name="connsiteY4034" fmla="*/ 328306 h 6858290"/>
              <a:gd name="connsiteX4035" fmla="*/ 909097 w 12139750"/>
              <a:gd name="connsiteY4035" fmla="*/ 177812 h 6858290"/>
              <a:gd name="connsiteX4036" fmla="*/ 942624 w 12139750"/>
              <a:gd name="connsiteY4036" fmla="*/ 176859 h 6858290"/>
              <a:gd name="connsiteX4037" fmla="*/ 4856423 w 12139750"/>
              <a:gd name="connsiteY4037" fmla="*/ 167564 h 6858290"/>
              <a:gd name="connsiteX4038" fmla="*/ 4880971 w 12139750"/>
              <a:gd name="connsiteY4038" fmla="*/ 191077 h 6858290"/>
              <a:gd name="connsiteX4039" fmla="*/ 4884786 w 12139750"/>
              <a:gd name="connsiteY4039" fmla="*/ 208176 h 6858290"/>
              <a:gd name="connsiteX4040" fmla="*/ 4856184 w 12139750"/>
              <a:gd name="connsiteY4040" fmla="*/ 249976 h 6858290"/>
              <a:gd name="connsiteX4041" fmla="*/ 4516851 w 12139750"/>
              <a:gd name="connsiteY4041" fmla="*/ 390576 h 6858290"/>
              <a:gd name="connsiteX4042" fmla="*/ 4457750 w 12139750"/>
              <a:gd name="connsiteY4042" fmla="*/ 367776 h 6858290"/>
              <a:gd name="connsiteX4043" fmla="*/ 4482534 w 12139750"/>
              <a:gd name="connsiteY4043" fmla="*/ 308876 h 6858290"/>
              <a:gd name="connsiteX4044" fmla="*/ 4821864 w 12139750"/>
              <a:gd name="connsiteY4044" fmla="*/ 168277 h 6858290"/>
              <a:gd name="connsiteX4045" fmla="*/ 4856423 w 12139750"/>
              <a:gd name="connsiteY4045" fmla="*/ 167564 h 6858290"/>
              <a:gd name="connsiteX4046" fmla="*/ 1492476 w 12139750"/>
              <a:gd name="connsiteY4046" fmla="*/ 167547 h 6858290"/>
              <a:gd name="connsiteX4047" fmla="*/ 1517021 w 12139750"/>
              <a:gd name="connsiteY4047" fmla="*/ 191059 h 6858290"/>
              <a:gd name="connsiteX4048" fmla="*/ 1520833 w 12139750"/>
              <a:gd name="connsiteY4048" fmla="*/ 208159 h 6858290"/>
              <a:gd name="connsiteX4049" fmla="*/ 1492237 w 12139750"/>
              <a:gd name="connsiteY4049" fmla="*/ 249959 h 6858290"/>
              <a:gd name="connsiteX4050" fmla="*/ 1150990 w 12139750"/>
              <a:gd name="connsiteY4050" fmla="*/ 390559 h 6858290"/>
              <a:gd name="connsiteX4051" fmla="*/ 1093798 w 12139750"/>
              <a:gd name="connsiteY4051" fmla="*/ 367759 h 6858290"/>
              <a:gd name="connsiteX4052" fmla="*/ 1116675 w 12139750"/>
              <a:gd name="connsiteY4052" fmla="*/ 308859 h 6858290"/>
              <a:gd name="connsiteX4053" fmla="*/ 1457922 w 12139750"/>
              <a:gd name="connsiteY4053" fmla="*/ 168259 h 6858290"/>
              <a:gd name="connsiteX4054" fmla="*/ 1492476 w 12139750"/>
              <a:gd name="connsiteY4054" fmla="*/ 167547 h 6858290"/>
              <a:gd name="connsiteX4055" fmla="*/ 4266102 w 12139750"/>
              <a:gd name="connsiteY4055" fmla="*/ 156882 h 6858290"/>
              <a:gd name="connsiteX4056" fmla="*/ 4325330 w 12139750"/>
              <a:gd name="connsiteY4056" fmla="*/ 183588 h 6858290"/>
              <a:gd name="connsiteX4057" fmla="*/ 4329151 w 12139750"/>
              <a:gd name="connsiteY4057" fmla="*/ 200756 h 6858290"/>
              <a:gd name="connsiteX4058" fmla="*/ 4298581 w 12139750"/>
              <a:gd name="connsiteY4058" fmla="*/ 244630 h 6858290"/>
              <a:gd name="connsiteX4059" fmla="*/ 3956620 w 12139750"/>
              <a:gd name="connsiteY4059" fmla="*/ 376251 h 6858290"/>
              <a:gd name="connsiteX4060" fmla="*/ 3897391 w 12139750"/>
              <a:gd name="connsiteY4060" fmla="*/ 349546 h 6858290"/>
              <a:gd name="connsiteX4061" fmla="*/ 3924139 w 12139750"/>
              <a:gd name="connsiteY4061" fmla="*/ 290411 h 6858290"/>
              <a:gd name="connsiteX4062" fmla="*/ 4266102 w 12139750"/>
              <a:gd name="connsiteY4062" fmla="*/ 156882 h 6858290"/>
              <a:gd name="connsiteX4063" fmla="*/ 2010467 w 12139750"/>
              <a:gd name="connsiteY4063" fmla="*/ 156862 h 6858290"/>
              <a:gd name="connsiteX4064" fmla="*/ 2071389 w 12139750"/>
              <a:gd name="connsiteY4064" fmla="*/ 183568 h 6858290"/>
              <a:gd name="connsiteX4065" fmla="*/ 2073291 w 12139750"/>
              <a:gd name="connsiteY4065" fmla="*/ 200736 h 6858290"/>
              <a:gd name="connsiteX4066" fmla="*/ 2044733 w 12139750"/>
              <a:gd name="connsiteY4066" fmla="*/ 244610 h 6858290"/>
              <a:gd name="connsiteX4067" fmla="*/ 1703979 w 12139750"/>
              <a:gd name="connsiteY4067" fmla="*/ 376232 h 6858290"/>
              <a:gd name="connsiteX4068" fmla="*/ 1643062 w 12139750"/>
              <a:gd name="connsiteY4068" fmla="*/ 349526 h 6858290"/>
              <a:gd name="connsiteX4069" fmla="*/ 1669713 w 12139750"/>
              <a:gd name="connsiteY4069" fmla="*/ 290392 h 6858290"/>
              <a:gd name="connsiteX4070" fmla="*/ 2010467 w 12139750"/>
              <a:gd name="connsiteY4070" fmla="*/ 156862 h 6858290"/>
              <a:gd name="connsiteX4071" fmla="*/ 3720655 w 12139750"/>
              <a:gd name="connsiteY4071" fmla="*/ 144611 h 6858290"/>
              <a:gd name="connsiteX4072" fmla="*/ 3763695 w 12139750"/>
              <a:gd name="connsiteY4072" fmla="*/ 176135 h 6858290"/>
              <a:gd name="connsiteX4073" fmla="*/ 3765597 w 12139750"/>
              <a:gd name="connsiteY4073" fmla="*/ 193233 h 6858290"/>
              <a:gd name="connsiteX4074" fmla="*/ 3735180 w 12139750"/>
              <a:gd name="connsiteY4074" fmla="*/ 238828 h 6858290"/>
              <a:gd name="connsiteX4075" fmla="*/ 3393026 w 12139750"/>
              <a:gd name="connsiteY4075" fmla="*/ 360415 h 6858290"/>
              <a:gd name="connsiteX4076" fmla="*/ 3332194 w 12139750"/>
              <a:gd name="connsiteY4076" fmla="*/ 331918 h 6858290"/>
              <a:gd name="connsiteX4077" fmla="*/ 3360709 w 12139750"/>
              <a:gd name="connsiteY4077" fmla="*/ 271125 h 6858290"/>
              <a:gd name="connsiteX4078" fmla="*/ 3700965 w 12139750"/>
              <a:gd name="connsiteY4078" fmla="*/ 147639 h 6858290"/>
              <a:gd name="connsiteX4079" fmla="*/ 3720655 w 12139750"/>
              <a:gd name="connsiteY4079" fmla="*/ 144611 h 6858290"/>
              <a:gd name="connsiteX4080" fmla="*/ 2586993 w 12139750"/>
              <a:gd name="connsiteY4080" fmla="*/ 144589 h 6858290"/>
              <a:gd name="connsiteX4081" fmla="*/ 2630185 w 12139750"/>
              <a:gd name="connsiteY4081" fmla="*/ 176114 h 6858290"/>
              <a:gd name="connsiteX4082" fmla="*/ 2632093 w 12139750"/>
              <a:gd name="connsiteY4082" fmla="*/ 193212 h 6858290"/>
              <a:gd name="connsiteX4083" fmla="*/ 2601569 w 12139750"/>
              <a:gd name="connsiteY4083" fmla="*/ 238807 h 6858290"/>
              <a:gd name="connsiteX4084" fmla="*/ 2258175 w 12139750"/>
              <a:gd name="connsiteY4084" fmla="*/ 360394 h 6858290"/>
              <a:gd name="connsiteX4085" fmla="*/ 2197127 w 12139750"/>
              <a:gd name="connsiteY4085" fmla="*/ 331897 h 6858290"/>
              <a:gd name="connsiteX4086" fmla="*/ 2225743 w 12139750"/>
              <a:gd name="connsiteY4086" fmla="*/ 271103 h 6858290"/>
              <a:gd name="connsiteX4087" fmla="*/ 2567230 w 12139750"/>
              <a:gd name="connsiteY4087" fmla="*/ 147617 h 6858290"/>
              <a:gd name="connsiteX4088" fmla="*/ 2586993 w 12139750"/>
              <a:gd name="connsiteY4088" fmla="*/ 144589 h 6858290"/>
              <a:gd name="connsiteX4089" fmla="*/ 3149046 w 12139750"/>
              <a:gd name="connsiteY4089" fmla="*/ 135364 h 6858290"/>
              <a:gd name="connsiteX4090" fmla="*/ 3191880 w 12139750"/>
              <a:gd name="connsiteY4090" fmla="*/ 168396 h 6858290"/>
              <a:gd name="connsiteX4091" fmla="*/ 3195686 w 12139750"/>
              <a:gd name="connsiteY4091" fmla="*/ 185444 h 6858290"/>
              <a:gd name="connsiteX4092" fmla="*/ 3161419 w 12139750"/>
              <a:gd name="connsiteY4092" fmla="*/ 232802 h 6858290"/>
              <a:gd name="connsiteX4093" fmla="*/ 2818756 w 12139750"/>
              <a:gd name="connsiteY4093" fmla="*/ 344567 h 6858290"/>
              <a:gd name="connsiteX4094" fmla="*/ 2755934 w 12139750"/>
              <a:gd name="connsiteY4094" fmla="*/ 314258 h 6858290"/>
              <a:gd name="connsiteX4095" fmla="*/ 2788294 w 12139750"/>
              <a:gd name="connsiteY4095" fmla="*/ 249851 h 6858290"/>
              <a:gd name="connsiteX4096" fmla="*/ 3129057 w 12139750"/>
              <a:gd name="connsiteY4096" fmla="*/ 138087 h 6858290"/>
              <a:gd name="connsiteX4097" fmla="*/ 3149046 w 12139750"/>
              <a:gd name="connsiteY4097" fmla="*/ 135364 h 6858290"/>
              <a:gd name="connsiteX4098" fmla="*/ 9144187 w 12139750"/>
              <a:gd name="connsiteY4098" fmla="*/ 30 h 6858290"/>
              <a:gd name="connsiteX4099" fmla="*/ 9275861 w 12139750"/>
              <a:gd name="connsiteY4099" fmla="*/ 30 h 6858290"/>
              <a:gd name="connsiteX4100" fmla="*/ 8962897 w 12139750"/>
              <a:gd name="connsiteY4100" fmla="*/ 187323 h 6858290"/>
              <a:gd name="connsiteX4101" fmla="*/ 8917098 w 12139750"/>
              <a:gd name="connsiteY4101" fmla="*/ 175856 h 6858290"/>
              <a:gd name="connsiteX4102" fmla="*/ 8928547 w 12139750"/>
              <a:gd name="connsiteY4102" fmla="*/ 129989 h 6858290"/>
              <a:gd name="connsiteX4103" fmla="*/ 9144187 w 12139750"/>
              <a:gd name="connsiteY4103" fmla="*/ 30 h 6858290"/>
              <a:gd name="connsiteX4104" fmla="*/ 8549535 w 12139750"/>
              <a:gd name="connsiteY4104" fmla="*/ 29 h 6858290"/>
              <a:gd name="connsiteX4105" fmla="*/ 8688477 w 12139750"/>
              <a:gd name="connsiteY4105" fmla="*/ 29 h 6858290"/>
              <a:gd name="connsiteX4106" fmla="*/ 8391560 w 12139750"/>
              <a:gd name="connsiteY4106" fmla="*/ 173083 h 6858290"/>
              <a:gd name="connsiteX4107" fmla="*/ 8343977 w 12139750"/>
              <a:gd name="connsiteY4107" fmla="*/ 159771 h 6858290"/>
              <a:gd name="connsiteX4108" fmla="*/ 8357300 w 12139750"/>
              <a:gd name="connsiteY4108" fmla="*/ 112230 h 6858290"/>
              <a:gd name="connsiteX4109" fmla="*/ 8549535 w 12139750"/>
              <a:gd name="connsiteY4109" fmla="*/ 29 h 6858290"/>
              <a:gd name="connsiteX4110" fmla="*/ 7958714 w 12139750"/>
              <a:gd name="connsiteY4110" fmla="*/ 29 h 6858290"/>
              <a:gd name="connsiteX4111" fmla="*/ 8107445 w 12139750"/>
              <a:gd name="connsiteY4111" fmla="*/ 29 h 6858290"/>
              <a:gd name="connsiteX4112" fmla="*/ 7825239 w 12139750"/>
              <a:gd name="connsiteY4112" fmla="*/ 158743 h 6858290"/>
              <a:gd name="connsiteX4113" fmla="*/ 7775662 w 12139750"/>
              <a:gd name="connsiteY4113" fmla="*/ 145357 h 6858290"/>
              <a:gd name="connsiteX4114" fmla="*/ 7790916 w 12139750"/>
              <a:gd name="connsiteY4114" fmla="*/ 95640 h 6858290"/>
              <a:gd name="connsiteX4115" fmla="*/ 7958714 w 12139750"/>
              <a:gd name="connsiteY4115" fmla="*/ 29 h 6858290"/>
              <a:gd name="connsiteX4116" fmla="*/ 7373861 w 12139750"/>
              <a:gd name="connsiteY4116" fmla="*/ 29 h 6858290"/>
              <a:gd name="connsiteX4117" fmla="*/ 7534349 w 12139750"/>
              <a:gd name="connsiteY4117" fmla="*/ 29 h 6858290"/>
              <a:gd name="connsiteX4118" fmla="*/ 7266870 w 12139750"/>
              <a:gd name="connsiteY4118" fmla="*/ 142904 h 6858290"/>
              <a:gd name="connsiteX4119" fmla="*/ 7215285 w 12139750"/>
              <a:gd name="connsiteY4119" fmla="*/ 127664 h 6858290"/>
              <a:gd name="connsiteX4120" fmla="*/ 7230569 w 12139750"/>
              <a:gd name="connsiteY4120" fmla="*/ 76229 h 6858290"/>
              <a:gd name="connsiteX4121" fmla="*/ 7373861 w 12139750"/>
              <a:gd name="connsiteY4121" fmla="*/ 29 h 6858290"/>
              <a:gd name="connsiteX4122" fmla="*/ 6792947 w 12139750"/>
              <a:gd name="connsiteY4122" fmla="*/ 29 h 6858290"/>
              <a:gd name="connsiteX4123" fmla="*/ 6962841 w 12139750"/>
              <a:gd name="connsiteY4123" fmla="*/ 29 h 6858290"/>
              <a:gd name="connsiteX4124" fmla="*/ 6714681 w 12139750"/>
              <a:gd name="connsiteY4124" fmla="*/ 130160 h 6858290"/>
              <a:gd name="connsiteX4125" fmla="*/ 6661231 w 12139750"/>
              <a:gd name="connsiteY4125" fmla="*/ 112937 h 6858290"/>
              <a:gd name="connsiteX4126" fmla="*/ 6678412 w 12139750"/>
              <a:gd name="connsiteY4126" fmla="*/ 59354 h 6858290"/>
              <a:gd name="connsiteX4127" fmla="*/ 6792947 w 12139750"/>
              <a:gd name="connsiteY4127" fmla="*/ 29 h 6858290"/>
              <a:gd name="connsiteX4128" fmla="*/ 6214724 w 12139750"/>
              <a:gd name="connsiteY4128" fmla="*/ 29 h 6858290"/>
              <a:gd name="connsiteX4129" fmla="*/ 6396096 w 12139750"/>
              <a:gd name="connsiteY4129" fmla="*/ 29 h 6858290"/>
              <a:gd name="connsiteX4130" fmla="*/ 6166995 w 12139750"/>
              <a:gd name="connsiteY4130" fmla="*/ 114329 h 6858290"/>
              <a:gd name="connsiteX4131" fmla="*/ 6113538 w 12139750"/>
              <a:gd name="connsiteY4131" fmla="*/ 95279 h 6858290"/>
              <a:gd name="connsiteX4132" fmla="*/ 6130720 w 12139750"/>
              <a:gd name="connsiteY4132" fmla="*/ 41939 h 6858290"/>
              <a:gd name="connsiteX4133" fmla="*/ 6214724 w 12139750"/>
              <a:gd name="connsiteY4133" fmla="*/ 29 h 6858290"/>
              <a:gd name="connsiteX4134" fmla="*/ 5637626 w 12139750"/>
              <a:gd name="connsiteY4134" fmla="*/ 29 h 6858290"/>
              <a:gd name="connsiteX4135" fmla="*/ 5829356 w 12139750"/>
              <a:gd name="connsiteY4135" fmla="*/ 29 h 6858290"/>
              <a:gd name="connsiteX4136" fmla="*/ 5622440 w 12139750"/>
              <a:gd name="connsiteY4136" fmla="*/ 99958 h 6858290"/>
              <a:gd name="connsiteX4137" fmla="*/ 5567388 w 12139750"/>
              <a:gd name="connsiteY4137" fmla="*/ 80741 h 6858290"/>
              <a:gd name="connsiteX4138" fmla="*/ 5586371 w 12139750"/>
              <a:gd name="connsiteY4138" fmla="*/ 25011 h 6858290"/>
              <a:gd name="connsiteX4139" fmla="*/ 5637626 w 12139750"/>
              <a:gd name="connsiteY4139" fmla="*/ 29 h 6858290"/>
              <a:gd name="connsiteX4140" fmla="*/ 5050991 w 12139750"/>
              <a:gd name="connsiteY4140" fmla="*/ 29 h 6858290"/>
              <a:gd name="connsiteX4141" fmla="*/ 5257856 w 12139750"/>
              <a:gd name="connsiteY4141" fmla="*/ 29 h 6858290"/>
              <a:gd name="connsiteX4142" fmla="*/ 5071865 w 12139750"/>
              <a:gd name="connsiteY4142" fmla="*/ 83849 h 6858290"/>
              <a:gd name="connsiteX4143" fmla="*/ 5014936 w 12139750"/>
              <a:gd name="connsiteY4143" fmla="*/ 62894 h 6858290"/>
              <a:gd name="connsiteX4144" fmla="*/ 5037707 w 12139750"/>
              <a:gd name="connsiteY4144" fmla="*/ 7649 h 6858290"/>
              <a:gd name="connsiteX4145" fmla="*/ 5050991 w 12139750"/>
              <a:gd name="connsiteY4145" fmla="*/ 29 h 6858290"/>
              <a:gd name="connsiteX4146" fmla="*/ 4468137 w 12139750"/>
              <a:gd name="connsiteY4146" fmla="*/ 29 h 6858290"/>
              <a:gd name="connsiteX4147" fmla="*/ 4678410 w 12139750"/>
              <a:gd name="connsiteY4147" fmla="*/ 29 h 6858290"/>
              <a:gd name="connsiteX4148" fmla="*/ 4517388 w 12139750"/>
              <a:gd name="connsiteY4148" fmla="*/ 71353 h 6858290"/>
              <a:gd name="connsiteX4149" fmla="*/ 4460559 w 12139750"/>
              <a:gd name="connsiteY4149" fmla="*/ 48221 h 6858290"/>
              <a:gd name="connsiteX4150" fmla="*/ 4468137 w 12139750"/>
              <a:gd name="connsiteY4150" fmla="*/ 29 h 6858290"/>
              <a:gd name="connsiteX4151" fmla="*/ 3898004 w 12139750"/>
              <a:gd name="connsiteY4151" fmla="*/ 29 h 6858290"/>
              <a:gd name="connsiteX4152" fmla="*/ 4092633 w 12139750"/>
              <a:gd name="connsiteY4152" fmla="*/ 29 h 6858290"/>
              <a:gd name="connsiteX4153" fmla="*/ 3959064 w 12139750"/>
              <a:gd name="connsiteY4153" fmla="*/ 55545 h 6858290"/>
              <a:gd name="connsiteX4154" fmla="*/ 3899911 w 12139750"/>
              <a:gd name="connsiteY4154" fmla="*/ 30658 h 6858290"/>
              <a:gd name="connsiteX4155" fmla="*/ 3898004 w 12139750"/>
              <a:gd name="connsiteY4155" fmla="*/ 29 h 6858290"/>
              <a:gd name="connsiteX4156" fmla="*/ 3332214 w 12139750"/>
              <a:gd name="connsiteY4156" fmla="*/ 29 h 6858290"/>
              <a:gd name="connsiteX4157" fmla="*/ 3497315 w 12139750"/>
              <a:gd name="connsiteY4157" fmla="*/ 29 h 6858290"/>
              <a:gd name="connsiteX4158" fmla="*/ 3394843 w 12139750"/>
              <a:gd name="connsiteY4158" fmla="*/ 41670 h 6858290"/>
              <a:gd name="connsiteX4159" fmla="*/ 3334112 w 12139750"/>
              <a:gd name="connsiteY4159" fmla="*/ 15171 h 6858290"/>
              <a:gd name="connsiteX4160" fmla="*/ 3332214 w 12139750"/>
              <a:gd name="connsiteY4160" fmla="*/ 29 h 6858290"/>
              <a:gd name="connsiteX4161" fmla="*/ 2760704 w 12139750"/>
              <a:gd name="connsiteY4161" fmla="*/ 28 h 6858290"/>
              <a:gd name="connsiteX4162" fmla="*/ 2890879 w 12139750"/>
              <a:gd name="connsiteY4162" fmla="*/ 28 h 6858290"/>
              <a:gd name="connsiteX4163" fmla="*/ 2821076 w 12139750"/>
              <a:gd name="connsiteY4163" fmla="*/ 27192 h 6858290"/>
              <a:gd name="connsiteX4164" fmla="*/ 2760704 w 12139750"/>
              <a:gd name="connsiteY4164" fmla="*/ 28 h 6858290"/>
              <a:gd name="connsiteX4165" fmla="*/ 11404328 w 12139750"/>
              <a:gd name="connsiteY4165" fmla="*/ 19 h 6858290"/>
              <a:gd name="connsiteX4166" fmla="*/ 11552367 w 12139750"/>
              <a:gd name="connsiteY4166" fmla="*/ 19 h 6858290"/>
              <a:gd name="connsiteX4167" fmla="*/ 11271473 w 12139750"/>
              <a:gd name="connsiteY4167" fmla="*/ 158733 h 6858290"/>
              <a:gd name="connsiteX4168" fmla="*/ 11222127 w 12139750"/>
              <a:gd name="connsiteY4168" fmla="*/ 145347 h 6858290"/>
              <a:gd name="connsiteX4169" fmla="*/ 11235412 w 12139750"/>
              <a:gd name="connsiteY4169" fmla="*/ 95630 h 6858290"/>
              <a:gd name="connsiteX4170" fmla="*/ 11404328 w 12139750"/>
              <a:gd name="connsiteY4170" fmla="*/ 19 h 6858290"/>
              <a:gd name="connsiteX4171" fmla="*/ 11942099 w 12139750"/>
              <a:gd name="connsiteY4171" fmla="*/ 17 h 6858290"/>
              <a:gd name="connsiteX4172" fmla="*/ 12100062 w 12139750"/>
              <a:gd name="connsiteY4172" fmla="*/ 17 h 6858290"/>
              <a:gd name="connsiteX4173" fmla="*/ 11835521 w 12139750"/>
              <a:gd name="connsiteY4173" fmla="*/ 142892 h 6858290"/>
              <a:gd name="connsiteX4174" fmla="*/ 11784136 w 12139750"/>
              <a:gd name="connsiteY4174" fmla="*/ 127652 h 6858290"/>
              <a:gd name="connsiteX4175" fmla="*/ 11799361 w 12139750"/>
              <a:gd name="connsiteY4175" fmla="*/ 76217 h 6858290"/>
              <a:gd name="connsiteX4176" fmla="*/ 11942099 w 12139750"/>
              <a:gd name="connsiteY4176" fmla="*/ 17 h 6858290"/>
              <a:gd name="connsiteX4177" fmla="*/ 76928 w 12139750"/>
              <a:gd name="connsiteY4177" fmla="*/ 14 h 6858290"/>
              <a:gd name="connsiteX4178" fmla="*/ 271465 w 12139750"/>
              <a:gd name="connsiteY4178" fmla="*/ 14 h 6858290"/>
              <a:gd name="connsiteX4179" fmla="*/ 63577 w 12139750"/>
              <a:gd name="connsiteY4179" fmla="*/ 99944 h 6858290"/>
              <a:gd name="connsiteX4180" fmla="*/ 8268 w 12139750"/>
              <a:gd name="connsiteY4180" fmla="*/ 80727 h 6858290"/>
              <a:gd name="connsiteX4181" fmla="*/ 27340 w 12139750"/>
              <a:gd name="connsiteY4181" fmla="*/ 24997 h 6858290"/>
              <a:gd name="connsiteX4182" fmla="*/ 76928 w 12139750"/>
              <a:gd name="connsiteY4182" fmla="*/ 14 h 6858290"/>
              <a:gd name="connsiteX4183" fmla="*/ 583733 w 12139750"/>
              <a:gd name="connsiteY4183" fmla="*/ 12 h 6858290"/>
              <a:gd name="connsiteX4184" fmla="*/ 792167 w 12139750"/>
              <a:gd name="connsiteY4184" fmla="*/ 12 h 6858290"/>
              <a:gd name="connsiteX4185" fmla="*/ 604767 w 12139750"/>
              <a:gd name="connsiteY4185" fmla="*/ 83832 h 6858290"/>
              <a:gd name="connsiteX4186" fmla="*/ 549312 w 12139750"/>
              <a:gd name="connsiteY4186" fmla="*/ 62877 h 6858290"/>
              <a:gd name="connsiteX4187" fmla="*/ 570347 w 12139750"/>
              <a:gd name="connsiteY4187" fmla="*/ 7632 h 6858290"/>
              <a:gd name="connsiteX4188" fmla="*/ 583733 w 12139750"/>
              <a:gd name="connsiteY4188" fmla="*/ 12 h 6858290"/>
              <a:gd name="connsiteX4189" fmla="*/ 1102307 w 12139750"/>
              <a:gd name="connsiteY4189" fmla="*/ 10 h 6858290"/>
              <a:gd name="connsiteX4190" fmla="*/ 1312869 w 12139750"/>
              <a:gd name="connsiteY4190" fmla="*/ 10 h 6858290"/>
              <a:gd name="connsiteX4191" fmla="*/ 1153525 w 12139750"/>
              <a:gd name="connsiteY4191" fmla="*/ 71334 h 6858290"/>
              <a:gd name="connsiteX4192" fmla="*/ 1094719 w 12139750"/>
              <a:gd name="connsiteY4192" fmla="*/ 48202 h 6858290"/>
              <a:gd name="connsiteX4193" fmla="*/ 1102307 w 12139750"/>
              <a:gd name="connsiteY4193" fmla="*/ 10 h 6858290"/>
              <a:gd name="connsiteX4194" fmla="*/ 1643393 w 12139750"/>
              <a:gd name="connsiteY4194" fmla="*/ 7 h 6858290"/>
              <a:gd name="connsiteX4195" fmla="*/ 1838335 w 12139750"/>
              <a:gd name="connsiteY4195" fmla="*/ 7 h 6858290"/>
              <a:gd name="connsiteX4196" fmla="*/ 1704551 w 12139750"/>
              <a:gd name="connsiteY4196" fmla="*/ 55524 h 6858290"/>
              <a:gd name="connsiteX4197" fmla="*/ 1645304 w 12139750"/>
              <a:gd name="connsiteY4197" fmla="*/ 30637 h 6858290"/>
              <a:gd name="connsiteX4198" fmla="*/ 1643393 w 12139750"/>
              <a:gd name="connsiteY4198" fmla="*/ 7 h 6858290"/>
              <a:gd name="connsiteX4199" fmla="*/ 2197113 w 12139750"/>
              <a:gd name="connsiteY4199" fmla="*/ 5 h 6858290"/>
              <a:gd name="connsiteX4200" fmla="*/ 2363803 w 12139750"/>
              <a:gd name="connsiteY4200" fmla="*/ 5 h 6858290"/>
              <a:gd name="connsiteX4201" fmla="*/ 2260340 w 12139750"/>
              <a:gd name="connsiteY4201" fmla="*/ 41647 h 6858290"/>
              <a:gd name="connsiteX4202" fmla="*/ 2199030 w 12139750"/>
              <a:gd name="connsiteY4202" fmla="*/ 15147 h 6858290"/>
              <a:gd name="connsiteX4203" fmla="*/ 2197113 w 12139750"/>
              <a:gd name="connsiteY4203" fmla="*/ 5 h 6858290"/>
              <a:gd name="connsiteX4204" fmla="*/ 9742489 w 12139750"/>
              <a:gd name="connsiteY4204" fmla="*/ 4 h 6858290"/>
              <a:gd name="connsiteX4205" fmla="*/ 9866419 w 12139750"/>
              <a:gd name="connsiteY4205" fmla="*/ 4 h 6858290"/>
              <a:gd name="connsiteX4206" fmla="*/ 9542293 w 12139750"/>
              <a:gd name="connsiteY4206" fmla="*/ 201631 h 6858290"/>
              <a:gd name="connsiteX4207" fmla="*/ 9496534 w 12139750"/>
              <a:gd name="connsiteY4207" fmla="*/ 192120 h 6858290"/>
              <a:gd name="connsiteX4208" fmla="*/ 9507974 w 12139750"/>
              <a:gd name="connsiteY4208" fmla="*/ 146469 h 6858290"/>
              <a:gd name="connsiteX4209" fmla="*/ 9742489 w 12139750"/>
              <a:gd name="connsiteY4209" fmla="*/ 4 h 6858290"/>
              <a:gd name="connsiteX4210" fmla="*/ 10304665 w 12139750"/>
              <a:gd name="connsiteY4210" fmla="*/ 2 h 6858290"/>
              <a:gd name="connsiteX4211" fmla="*/ 10436339 w 12139750"/>
              <a:gd name="connsiteY4211" fmla="*/ 2 h 6858290"/>
              <a:gd name="connsiteX4212" fmla="*/ 10125283 w 12139750"/>
              <a:gd name="connsiteY4212" fmla="*/ 187296 h 6858290"/>
              <a:gd name="connsiteX4213" fmla="*/ 10077576 w 12139750"/>
              <a:gd name="connsiteY4213" fmla="*/ 175829 h 6858290"/>
              <a:gd name="connsiteX4214" fmla="*/ 10089025 w 12139750"/>
              <a:gd name="connsiteY4214" fmla="*/ 129961 h 6858290"/>
              <a:gd name="connsiteX4215" fmla="*/ 10304665 w 12139750"/>
              <a:gd name="connsiteY4215" fmla="*/ 2 h 6858290"/>
              <a:gd name="connsiteX4216" fmla="*/ 10857477 w 12139750"/>
              <a:gd name="connsiteY4216" fmla="*/ 0 h 6858290"/>
              <a:gd name="connsiteX4217" fmla="*/ 10998322 w 12139750"/>
              <a:gd name="connsiteY4217" fmla="*/ 0 h 6858290"/>
              <a:gd name="connsiteX4218" fmla="*/ 10701405 w 12139750"/>
              <a:gd name="connsiteY4218" fmla="*/ 173054 h 6858290"/>
              <a:gd name="connsiteX4219" fmla="*/ 10653822 w 12139750"/>
              <a:gd name="connsiteY4219" fmla="*/ 159742 h 6858290"/>
              <a:gd name="connsiteX4220" fmla="*/ 10665241 w 12139750"/>
              <a:gd name="connsiteY4220" fmla="*/ 112200 h 6858290"/>
              <a:gd name="connsiteX4221" fmla="*/ 10857477 w 12139750"/>
              <a:gd name="connsiteY4221" fmla="*/ 0 h 6858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</a:cxnLst>
            <a:rect l="l" t="t" r="r" b="b"/>
            <a:pathLst>
              <a:path w="12139750" h="6858290">
                <a:moveTo>
                  <a:pt x="9863865" y="6730848"/>
                </a:moveTo>
                <a:cubicBezTo>
                  <a:pt x="9882230" y="6731206"/>
                  <a:pt x="9898990" y="6742279"/>
                  <a:pt x="9906123" y="6760852"/>
                </a:cubicBezTo>
                <a:cubicBezTo>
                  <a:pt x="9915632" y="6783712"/>
                  <a:pt x="9904221" y="6810382"/>
                  <a:pt x="9879496" y="6819907"/>
                </a:cubicBezTo>
                <a:cubicBezTo>
                  <a:pt x="9879496" y="6819907"/>
                  <a:pt x="9879496" y="6819907"/>
                  <a:pt x="9782500" y="6858007"/>
                </a:cubicBezTo>
                <a:cubicBezTo>
                  <a:pt x="9782500" y="6858007"/>
                  <a:pt x="9782500" y="6858007"/>
                  <a:pt x="9531452" y="6858007"/>
                </a:cubicBezTo>
                <a:cubicBezTo>
                  <a:pt x="9531452" y="6858007"/>
                  <a:pt x="9531452" y="6858007"/>
                  <a:pt x="9845262" y="6734182"/>
                </a:cubicBezTo>
                <a:cubicBezTo>
                  <a:pt x="9851443" y="6731801"/>
                  <a:pt x="9857743" y="6730729"/>
                  <a:pt x="9863865" y="6730848"/>
                </a:cubicBezTo>
                <a:close/>
                <a:moveTo>
                  <a:pt x="10445577" y="6718092"/>
                </a:moveTo>
                <a:cubicBezTo>
                  <a:pt x="10463182" y="6718359"/>
                  <a:pt x="10479983" y="6729028"/>
                  <a:pt x="10487132" y="6746099"/>
                </a:cubicBezTo>
                <a:cubicBezTo>
                  <a:pt x="10496665" y="6768860"/>
                  <a:pt x="10485226" y="6795414"/>
                  <a:pt x="10462348" y="6804898"/>
                </a:cubicBezTo>
                <a:cubicBezTo>
                  <a:pt x="10462348" y="6804898"/>
                  <a:pt x="10462348" y="6804898"/>
                  <a:pt x="10328892" y="6858007"/>
                </a:cubicBezTo>
                <a:cubicBezTo>
                  <a:pt x="10328892" y="6858007"/>
                  <a:pt x="10328892" y="6858007"/>
                  <a:pt x="10088672" y="6858007"/>
                </a:cubicBezTo>
                <a:cubicBezTo>
                  <a:pt x="10088672" y="6858007"/>
                  <a:pt x="10088672" y="6858007"/>
                  <a:pt x="10428031" y="6721441"/>
                </a:cubicBezTo>
                <a:cubicBezTo>
                  <a:pt x="10433751" y="6719070"/>
                  <a:pt x="10439708" y="6718003"/>
                  <a:pt x="10445577" y="6718092"/>
                </a:cubicBezTo>
                <a:close/>
                <a:moveTo>
                  <a:pt x="9285099" y="6718092"/>
                </a:moveTo>
                <a:cubicBezTo>
                  <a:pt x="9302704" y="6718359"/>
                  <a:pt x="9319505" y="6729028"/>
                  <a:pt x="9326654" y="6746099"/>
                </a:cubicBezTo>
                <a:cubicBezTo>
                  <a:pt x="9336187" y="6768860"/>
                  <a:pt x="9324748" y="6795414"/>
                  <a:pt x="9301870" y="6804898"/>
                </a:cubicBezTo>
                <a:cubicBezTo>
                  <a:pt x="9301870" y="6804898"/>
                  <a:pt x="9301870" y="6804898"/>
                  <a:pt x="9168414" y="6858007"/>
                </a:cubicBezTo>
                <a:cubicBezTo>
                  <a:pt x="9168414" y="6858007"/>
                  <a:pt x="9168414" y="6858007"/>
                  <a:pt x="8928194" y="6858007"/>
                </a:cubicBezTo>
                <a:cubicBezTo>
                  <a:pt x="8928194" y="6858007"/>
                  <a:pt x="8928194" y="6858007"/>
                  <a:pt x="9267553" y="6721441"/>
                </a:cubicBezTo>
                <a:cubicBezTo>
                  <a:pt x="9273273" y="6719070"/>
                  <a:pt x="9279230" y="6718003"/>
                  <a:pt x="9285099" y="6718092"/>
                </a:cubicBezTo>
                <a:close/>
                <a:moveTo>
                  <a:pt x="11021925" y="6702243"/>
                </a:moveTo>
                <a:cubicBezTo>
                  <a:pt x="11039503" y="6702511"/>
                  <a:pt x="11056279" y="6713227"/>
                  <a:pt x="11063417" y="6730372"/>
                </a:cubicBezTo>
                <a:cubicBezTo>
                  <a:pt x="11072935" y="6753232"/>
                  <a:pt x="11061513" y="6779902"/>
                  <a:pt x="11038670" y="6789427"/>
                </a:cubicBezTo>
                <a:cubicBezTo>
                  <a:pt x="11038670" y="6789427"/>
                  <a:pt x="11038670" y="6789427"/>
                  <a:pt x="10873058" y="6858007"/>
                </a:cubicBezTo>
                <a:cubicBezTo>
                  <a:pt x="10873058" y="6858007"/>
                  <a:pt x="10873058" y="6858007"/>
                  <a:pt x="10652242" y="6858007"/>
                </a:cubicBezTo>
                <a:cubicBezTo>
                  <a:pt x="10656049" y="6854197"/>
                  <a:pt x="10659856" y="6852292"/>
                  <a:pt x="10665567" y="6850387"/>
                </a:cubicBezTo>
                <a:cubicBezTo>
                  <a:pt x="10665567" y="6850387"/>
                  <a:pt x="10665567" y="6850387"/>
                  <a:pt x="11004406" y="6705607"/>
                </a:cubicBezTo>
                <a:cubicBezTo>
                  <a:pt x="11010117" y="6703225"/>
                  <a:pt x="11016065" y="6702154"/>
                  <a:pt x="11021925" y="6702243"/>
                </a:cubicBezTo>
                <a:close/>
                <a:moveTo>
                  <a:pt x="8712081" y="6702243"/>
                </a:moveTo>
                <a:cubicBezTo>
                  <a:pt x="8729659" y="6702511"/>
                  <a:pt x="8746435" y="6713227"/>
                  <a:pt x="8753573" y="6730372"/>
                </a:cubicBezTo>
                <a:cubicBezTo>
                  <a:pt x="8763091" y="6753232"/>
                  <a:pt x="8753573" y="6779902"/>
                  <a:pt x="8730730" y="6789427"/>
                </a:cubicBezTo>
                <a:cubicBezTo>
                  <a:pt x="8730730" y="6789427"/>
                  <a:pt x="8730730" y="6789427"/>
                  <a:pt x="8565118" y="6858007"/>
                </a:cubicBezTo>
                <a:cubicBezTo>
                  <a:pt x="8565118" y="6858007"/>
                  <a:pt x="8565118" y="6858007"/>
                  <a:pt x="8342398" y="6858007"/>
                </a:cubicBezTo>
                <a:cubicBezTo>
                  <a:pt x="8346205" y="6854197"/>
                  <a:pt x="8350012" y="6852292"/>
                  <a:pt x="8355723" y="6850387"/>
                </a:cubicBezTo>
                <a:cubicBezTo>
                  <a:pt x="8355723" y="6850387"/>
                  <a:pt x="8355723" y="6850387"/>
                  <a:pt x="8694562" y="6705607"/>
                </a:cubicBezTo>
                <a:cubicBezTo>
                  <a:pt x="8700273" y="6703226"/>
                  <a:pt x="8706221" y="6702154"/>
                  <a:pt x="8712081" y="6702243"/>
                </a:cubicBezTo>
                <a:close/>
                <a:moveTo>
                  <a:pt x="11608144" y="6692160"/>
                </a:moveTo>
                <a:cubicBezTo>
                  <a:pt x="11618391" y="6696194"/>
                  <a:pt x="11626970" y="6704261"/>
                  <a:pt x="11631736" y="6715650"/>
                </a:cubicBezTo>
                <a:cubicBezTo>
                  <a:pt x="11641268" y="6738427"/>
                  <a:pt x="11631736" y="6763102"/>
                  <a:pt x="11608859" y="6772593"/>
                </a:cubicBezTo>
                <a:cubicBezTo>
                  <a:pt x="11608859" y="6772593"/>
                  <a:pt x="11608859" y="6772593"/>
                  <a:pt x="11412495" y="6858007"/>
                </a:cubicBezTo>
                <a:cubicBezTo>
                  <a:pt x="11412495" y="6858007"/>
                  <a:pt x="11412495" y="6858007"/>
                  <a:pt x="11214225" y="6858007"/>
                </a:cubicBezTo>
                <a:cubicBezTo>
                  <a:pt x="11219944" y="6850415"/>
                  <a:pt x="11225664" y="6844721"/>
                  <a:pt x="11235196" y="6840924"/>
                </a:cubicBezTo>
                <a:cubicBezTo>
                  <a:pt x="11235196" y="6840924"/>
                  <a:pt x="11235196" y="6840924"/>
                  <a:pt x="11574543" y="6692872"/>
                </a:cubicBezTo>
                <a:cubicBezTo>
                  <a:pt x="11585982" y="6688127"/>
                  <a:pt x="11597897" y="6688127"/>
                  <a:pt x="11608144" y="6692160"/>
                </a:cubicBezTo>
                <a:close/>
                <a:moveTo>
                  <a:pt x="8162632" y="6692160"/>
                </a:moveTo>
                <a:cubicBezTo>
                  <a:pt x="8173079" y="6696194"/>
                  <a:pt x="8182101" y="6704261"/>
                  <a:pt x="8186849" y="6715650"/>
                </a:cubicBezTo>
                <a:cubicBezTo>
                  <a:pt x="8196346" y="6738427"/>
                  <a:pt x="8186849" y="6763102"/>
                  <a:pt x="8164057" y="6772593"/>
                </a:cubicBezTo>
                <a:cubicBezTo>
                  <a:pt x="8164057" y="6772593"/>
                  <a:pt x="8164057" y="6772593"/>
                  <a:pt x="7966524" y="6858007"/>
                </a:cubicBezTo>
                <a:cubicBezTo>
                  <a:pt x="7966524" y="6858007"/>
                  <a:pt x="7966524" y="6858007"/>
                  <a:pt x="7770890" y="6858007"/>
                </a:cubicBezTo>
                <a:cubicBezTo>
                  <a:pt x="7774688" y="6850415"/>
                  <a:pt x="7782286" y="6844721"/>
                  <a:pt x="7789883" y="6840924"/>
                </a:cubicBezTo>
                <a:cubicBezTo>
                  <a:pt x="7789883" y="6840924"/>
                  <a:pt x="7789883" y="6840924"/>
                  <a:pt x="8129868" y="6692872"/>
                </a:cubicBezTo>
                <a:cubicBezTo>
                  <a:pt x="8140315" y="6688127"/>
                  <a:pt x="8152186" y="6688127"/>
                  <a:pt x="8162632" y="6692160"/>
                </a:cubicBezTo>
                <a:close/>
                <a:moveTo>
                  <a:pt x="7602161" y="6677681"/>
                </a:moveTo>
                <a:cubicBezTo>
                  <a:pt x="7612631" y="6681497"/>
                  <a:pt x="7621673" y="6689130"/>
                  <a:pt x="7626432" y="6699625"/>
                </a:cubicBezTo>
                <a:cubicBezTo>
                  <a:pt x="7635950" y="6720616"/>
                  <a:pt x="7626432" y="6747331"/>
                  <a:pt x="7605492" y="6756872"/>
                </a:cubicBezTo>
                <a:cubicBezTo>
                  <a:pt x="7605492" y="6756872"/>
                  <a:pt x="7605492" y="6756872"/>
                  <a:pt x="7378961" y="6858007"/>
                </a:cubicBezTo>
                <a:cubicBezTo>
                  <a:pt x="7378961" y="6858007"/>
                  <a:pt x="7378961" y="6858007"/>
                  <a:pt x="7205732" y="6858007"/>
                </a:cubicBezTo>
                <a:cubicBezTo>
                  <a:pt x="7209539" y="6846558"/>
                  <a:pt x="7219057" y="6837017"/>
                  <a:pt x="7230479" y="6831292"/>
                </a:cubicBezTo>
                <a:cubicBezTo>
                  <a:pt x="7230479" y="6831292"/>
                  <a:pt x="7230479" y="6831292"/>
                  <a:pt x="7569323" y="6678635"/>
                </a:cubicBezTo>
                <a:cubicBezTo>
                  <a:pt x="7579793" y="6673864"/>
                  <a:pt x="7591691" y="6673864"/>
                  <a:pt x="7602161" y="6677681"/>
                </a:cubicBezTo>
                <a:close/>
                <a:moveTo>
                  <a:pt x="12139750" y="6677032"/>
                </a:moveTo>
                <a:cubicBezTo>
                  <a:pt x="12139750" y="6677032"/>
                  <a:pt x="12139750" y="6677032"/>
                  <a:pt x="12139750" y="6770377"/>
                </a:cubicBezTo>
                <a:cubicBezTo>
                  <a:pt x="12139750" y="6770377"/>
                  <a:pt x="12139750" y="6770377"/>
                  <a:pt x="12139750" y="6858007"/>
                </a:cubicBezTo>
                <a:cubicBezTo>
                  <a:pt x="12139750" y="6858007"/>
                  <a:pt x="12139750" y="6858007"/>
                  <a:pt x="11945775" y="6858007"/>
                </a:cubicBezTo>
                <a:cubicBezTo>
                  <a:pt x="11945775" y="6858007"/>
                  <a:pt x="11945775" y="6858007"/>
                  <a:pt x="11774620" y="6858007"/>
                </a:cubicBezTo>
                <a:cubicBezTo>
                  <a:pt x="11778423" y="6846577"/>
                  <a:pt x="11786030" y="6837052"/>
                  <a:pt x="11797441" y="6831337"/>
                </a:cubicBezTo>
                <a:lnTo>
                  <a:pt x="12137848" y="6678937"/>
                </a:lnTo>
                <a:cubicBezTo>
                  <a:pt x="12137848" y="6678937"/>
                  <a:pt x="12139750" y="6677032"/>
                  <a:pt x="12139750" y="6677032"/>
                </a:cubicBezTo>
                <a:close/>
                <a:moveTo>
                  <a:pt x="7049044" y="6663353"/>
                </a:moveTo>
                <a:cubicBezTo>
                  <a:pt x="7059045" y="6667151"/>
                  <a:pt x="7067618" y="6674747"/>
                  <a:pt x="7072381" y="6685192"/>
                </a:cubicBezTo>
                <a:cubicBezTo>
                  <a:pt x="7081906" y="6706082"/>
                  <a:pt x="7074286" y="6730770"/>
                  <a:pt x="7051425" y="6742164"/>
                </a:cubicBezTo>
                <a:cubicBezTo>
                  <a:pt x="7051425" y="6742164"/>
                  <a:pt x="7051425" y="6742164"/>
                  <a:pt x="6798057" y="6858007"/>
                </a:cubicBezTo>
                <a:cubicBezTo>
                  <a:pt x="6798057" y="6858007"/>
                  <a:pt x="6798057" y="6858007"/>
                  <a:pt x="6653275" y="6858007"/>
                </a:cubicBezTo>
                <a:cubicBezTo>
                  <a:pt x="6653275" y="6842815"/>
                  <a:pt x="6662800" y="6829521"/>
                  <a:pt x="6678040" y="6821925"/>
                </a:cubicBezTo>
                <a:cubicBezTo>
                  <a:pt x="6678040" y="6821925"/>
                  <a:pt x="6678040" y="6821925"/>
                  <a:pt x="7017135" y="6664302"/>
                </a:cubicBezTo>
                <a:cubicBezTo>
                  <a:pt x="7027613" y="6659555"/>
                  <a:pt x="7039043" y="6659555"/>
                  <a:pt x="7049044" y="6663353"/>
                </a:cubicBezTo>
                <a:close/>
                <a:moveTo>
                  <a:pt x="6502912" y="6648865"/>
                </a:moveTo>
                <a:cubicBezTo>
                  <a:pt x="6512921" y="6652443"/>
                  <a:pt x="6521500" y="6659597"/>
                  <a:pt x="6526266" y="6669136"/>
                </a:cubicBezTo>
                <a:cubicBezTo>
                  <a:pt x="6535798" y="6690121"/>
                  <a:pt x="6528172" y="6714923"/>
                  <a:pt x="6507201" y="6724462"/>
                </a:cubicBezTo>
                <a:cubicBezTo>
                  <a:pt x="6507201" y="6724462"/>
                  <a:pt x="6507201" y="6724462"/>
                  <a:pt x="6226954" y="6858007"/>
                </a:cubicBezTo>
                <a:cubicBezTo>
                  <a:pt x="6226954" y="6858007"/>
                  <a:pt x="6226954" y="6858007"/>
                  <a:pt x="6108755" y="6858007"/>
                </a:cubicBezTo>
                <a:cubicBezTo>
                  <a:pt x="6108755" y="6856099"/>
                  <a:pt x="6108755" y="6852284"/>
                  <a:pt x="6108755" y="6850376"/>
                </a:cubicBezTo>
                <a:cubicBezTo>
                  <a:pt x="6108755" y="6835114"/>
                  <a:pt x="6118287" y="6819851"/>
                  <a:pt x="6131632" y="6812220"/>
                </a:cubicBezTo>
                <a:cubicBezTo>
                  <a:pt x="6131632" y="6812220"/>
                  <a:pt x="6131632" y="6812220"/>
                  <a:pt x="6470979" y="6650058"/>
                </a:cubicBezTo>
                <a:cubicBezTo>
                  <a:pt x="6481464" y="6645288"/>
                  <a:pt x="6492903" y="6645288"/>
                  <a:pt x="6502912" y="6648865"/>
                </a:cubicBezTo>
                <a:close/>
                <a:moveTo>
                  <a:pt x="5955433" y="6635428"/>
                </a:moveTo>
                <a:cubicBezTo>
                  <a:pt x="5965211" y="6638757"/>
                  <a:pt x="5973796" y="6645891"/>
                  <a:pt x="5978566" y="6656354"/>
                </a:cubicBezTo>
                <a:cubicBezTo>
                  <a:pt x="5988105" y="6675378"/>
                  <a:pt x="5980473" y="6700109"/>
                  <a:pt x="5961395" y="6709621"/>
                </a:cubicBezTo>
                <a:cubicBezTo>
                  <a:pt x="5961395" y="6709621"/>
                  <a:pt x="5961395" y="6709621"/>
                  <a:pt x="5656142" y="6858007"/>
                </a:cubicBezTo>
                <a:cubicBezTo>
                  <a:pt x="5656142" y="6858007"/>
                  <a:pt x="5656142" y="6858007"/>
                  <a:pt x="5568382" y="6858007"/>
                </a:cubicBezTo>
                <a:cubicBezTo>
                  <a:pt x="5568382" y="6858007"/>
                  <a:pt x="5568382" y="6858007"/>
                  <a:pt x="5566474" y="6858007"/>
                </a:cubicBezTo>
                <a:cubicBezTo>
                  <a:pt x="5564566" y="6852300"/>
                  <a:pt x="5562659" y="6844691"/>
                  <a:pt x="5562659" y="6838983"/>
                </a:cubicBezTo>
                <a:cubicBezTo>
                  <a:pt x="5562659" y="6823764"/>
                  <a:pt x="5572198" y="6810448"/>
                  <a:pt x="5585552" y="6802838"/>
                </a:cubicBezTo>
                <a:cubicBezTo>
                  <a:pt x="5585552" y="6802838"/>
                  <a:pt x="5585552" y="6802838"/>
                  <a:pt x="5925146" y="6637331"/>
                </a:cubicBezTo>
                <a:cubicBezTo>
                  <a:pt x="5934685" y="6632575"/>
                  <a:pt x="5945655" y="6632099"/>
                  <a:pt x="5955433" y="6635428"/>
                </a:cubicBezTo>
                <a:close/>
                <a:moveTo>
                  <a:pt x="396081" y="6635428"/>
                </a:moveTo>
                <a:cubicBezTo>
                  <a:pt x="405822" y="6638757"/>
                  <a:pt x="414376" y="6645891"/>
                  <a:pt x="419127" y="6656354"/>
                </a:cubicBezTo>
                <a:cubicBezTo>
                  <a:pt x="428631" y="6675378"/>
                  <a:pt x="421028" y="6700109"/>
                  <a:pt x="400120" y="6709621"/>
                </a:cubicBezTo>
                <a:cubicBezTo>
                  <a:pt x="400120" y="6709621"/>
                  <a:pt x="400120" y="6709621"/>
                  <a:pt x="97901" y="6858007"/>
                </a:cubicBezTo>
                <a:cubicBezTo>
                  <a:pt x="97901" y="6858007"/>
                  <a:pt x="97901" y="6858007"/>
                  <a:pt x="10466" y="6858007"/>
                </a:cubicBezTo>
                <a:cubicBezTo>
                  <a:pt x="10466" y="6858007"/>
                  <a:pt x="8566" y="6858007"/>
                  <a:pt x="8566" y="6858007"/>
                </a:cubicBezTo>
                <a:cubicBezTo>
                  <a:pt x="6665" y="6852300"/>
                  <a:pt x="4764" y="6844691"/>
                  <a:pt x="4764" y="6838983"/>
                </a:cubicBezTo>
                <a:cubicBezTo>
                  <a:pt x="4764" y="6823764"/>
                  <a:pt x="12367" y="6810448"/>
                  <a:pt x="27573" y="6802838"/>
                </a:cubicBezTo>
                <a:cubicBezTo>
                  <a:pt x="27573" y="6802838"/>
                  <a:pt x="27573" y="6802838"/>
                  <a:pt x="365906" y="6637331"/>
                </a:cubicBezTo>
                <a:cubicBezTo>
                  <a:pt x="375410" y="6632575"/>
                  <a:pt x="386339" y="6632099"/>
                  <a:pt x="396081" y="6635428"/>
                </a:cubicBezTo>
                <a:close/>
                <a:moveTo>
                  <a:pt x="5405387" y="6619812"/>
                </a:moveTo>
                <a:cubicBezTo>
                  <a:pt x="5414897" y="6622912"/>
                  <a:pt x="5422981" y="6630065"/>
                  <a:pt x="5427736" y="6640556"/>
                </a:cubicBezTo>
                <a:cubicBezTo>
                  <a:pt x="5437247" y="6659630"/>
                  <a:pt x="5429639" y="6682520"/>
                  <a:pt x="5410617" y="6693965"/>
                </a:cubicBezTo>
                <a:cubicBezTo>
                  <a:pt x="5410617" y="6693965"/>
                  <a:pt x="5410617" y="6693965"/>
                  <a:pt x="5083441" y="6858007"/>
                </a:cubicBezTo>
                <a:cubicBezTo>
                  <a:pt x="5083441" y="6858007"/>
                  <a:pt x="5083441" y="6858007"/>
                  <a:pt x="5028285" y="6858007"/>
                </a:cubicBezTo>
                <a:cubicBezTo>
                  <a:pt x="5024482" y="6856100"/>
                  <a:pt x="5022579" y="6852285"/>
                  <a:pt x="5020677" y="6846562"/>
                </a:cubicBezTo>
                <a:cubicBezTo>
                  <a:pt x="5016874" y="6840840"/>
                  <a:pt x="5014972" y="6835118"/>
                  <a:pt x="5014972" y="6829395"/>
                </a:cubicBezTo>
                <a:cubicBezTo>
                  <a:pt x="5014972" y="6814136"/>
                  <a:pt x="5024482" y="6800783"/>
                  <a:pt x="5037797" y="6793153"/>
                </a:cubicBezTo>
                <a:cubicBezTo>
                  <a:pt x="5037797" y="6793153"/>
                  <a:pt x="5037797" y="6793153"/>
                  <a:pt x="5374478" y="6623389"/>
                </a:cubicBezTo>
                <a:cubicBezTo>
                  <a:pt x="5384938" y="6617666"/>
                  <a:pt x="5395876" y="6616713"/>
                  <a:pt x="5405387" y="6619812"/>
                </a:cubicBezTo>
                <a:close/>
                <a:moveTo>
                  <a:pt x="939733" y="6619812"/>
                </a:moveTo>
                <a:cubicBezTo>
                  <a:pt x="949279" y="6622912"/>
                  <a:pt x="957871" y="6630065"/>
                  <a:pt x="963599" y="6640556"/>
                </a:cubicBezTo>
                <a:cubicBezTo>
                  <a:pt x="973146" y="6659630"/>
                  <a:pt x="965508" y="6682520"/>
                  <a:pt x="944506" y="6693965"/>
                </a:cubicBezTo>
                <a:cubicBezTo>
                  <a:pt x="944506" y="6693965"/>
                  <a:pt x="944506" y="6693965"/>
                  <a:pt x="618014" y="6858007"/>
                </a:cubicBezTo>
                <a:cubicBezTo>
                  <a:pt x="618014" y="6858007"/>
                  <a:pt x="618014" y="6858007"/>
                  <a:pt x="562644" y="6858007"/>
                </a:cubicBezTo>
                <a:cubicBezTo>
                  <a:pt x="558825" y="6856100"/>
                  <a:pt x="555007" y="6852285"/>
                  <a:pt x="553097" y="6846562"/>
                </a:cubicBezTo>
                <a:cubicBezTo>
                  <a:pt x="549279" y="6840840"/>
                  <a:pt x="549279" y="6835118"/>
                  <a:pt x="549279" y="6829395"/>
                </a:cubicBezTo>
                <a:cubicBezTo>
                  <a:pt x="549279" y="6814136"/>
                  <a:pt x="556916" y="6800783"/>
                  <a:pt x="570281" y="6793153"/>
                </a:cubicBezTo>
                <a:cubicBezTo>
                  <a:pt x="570281" y="6793153"/>
                  <a:pt x="570281" y="6793153"/>
                  <a:pt x="910138" y="6623389"/>
                </a:cubicBezTo>
                <a:cubicBezTo>
                  <a:pt x="919685" y="6617666"/>
                  <a:pt x="930186" y="6616712"/>
                  <a:pt x="939733" y="6619812"/>
                </a:cubicBezTo>
                <a:close/>
                <a:moveTo>
                  <a:pt x="4850593" y="6606634"/>
                </a:moveTo>
                <a:cubicBezTo>
                  <a:pt x="4860352" y="6609734"/>
                  <a:pt x="4868919" y="6616409"/>
                  <a:pt x="4873679" y="6625946"/>
                </a:cubicBezTo>
                <a:cubicBezTo>
                  <a:pt x="4883197" y="6645019"/>
                  <a:pt x="4875583" y="6667906"/>
                  <a:pt x="4856545" y="6677443"/>
                </a:cubicBezTo>
                <a:cubicBezTo>
                  <a:pt x="4856545" y="6677443"/>
                  <a:pt x="4856545" y="6677443"/>
                  <a:pt x="4519612" y="6852914"/>
                </a:cubicBezTo>
                <a:cubicBezTo>
                  <a:pt x="4500578" y="6864357"/>
                  <a:pt x="4477736" y="6856728"/>
                  <a:pt x="4466313" y="6837655"/>
                </a:cubicBezTo>
                <a:cubicBezTo>
                  <a:pt x="4464410" y="6831933"/>
                  <a:pt x="4462507" y="6824304"/>
                  <a:pt x="4462507" y="6818582"/>
                </a:cubicBezTo>
                <a:cubicBezTo>
                  <a:pt x="4462507" y="6805231"/>
                  <a:pt x="4470122" y="6791880"/>
                  <a:pt x="4483446" y="6784251"/>
                </a:cubicBezTo>
                <a:cubicBezTo>
                  <a:pt x="4483446" y="6784251"/>
                  <a:pt x="4483446" y="6784251"/>
                  <a:pt x="4820371" y="6608780"/>
                </a:cubicBezTo>
                <a:cubicBezTo>
                  <a:pt x="4829888" y="6604012"/>
                  <a:pt x="4840837" y="6603535"/>
                  <a:pt x="4850593" y="6606634"/>
                </a:cubicBezTo>
                <a:close/>
                <a:moveTo>
                  <a:pt x="1485698" y="6606634"/>
                </a:moveTo>
                <a:cubicBezTo>
                  <a:pt x="1494978" y="6609734"/>
                  <a:pt x="1503069" y="6616409"/>
                  <a:pt x="1507827" y="6625946"/>
                </a:cubicBezTo>
                <a:cubicBezTo>
                  <a:pt x="1519249" y="6645019"/>
                  <a:pt x="1511635" y="6667906"/>
                  <a:pt x="1492599" y="6677443"/>
                </a:cubicBezTo>
                <a:cubicBezTo>
                  <a:pt x="1492599" y="6677443"/>
                  <a:pt x="1492599" y="6677443"/>
                  <a:pt x="1153761" y="6852914"/>
                </a:cubicBezTo>
                <a:cubicBezTo>
                  <a:pt x="1134725" y="6864357"/>
                  <a:pt x="1111882" y="6856728"/>
                  <a:pt x="1102364" y="6837655"/>
                </a:cubicBezTo>
                <a:cubicBezTo>
                  <a:pt x="1098557" y="6831933"/>
                  <a:pt x="1098557" y="6824304"/>
                  <a:pt x="1098557" y="6818582"/>
                </a:cubicBezTo>
                <a:cubicBezTo>
                  <a:pt x="1098557" y="6805231"/>
                  <a:pt x="1106171" y="6791880"/>
                  <a:pt x="1119496" y="6784251"/>
                </a:cubicBezTo>
                <a:cubicBezTo>
                  <a:pt x="1119496" y="6784251"/>
                  <a:pt x="1119496" y="6784251"/>
                  <a:pt x="1456431" y="6608780"/>
                </a:cubicBezTo>
                <a:cubicBezTo>
                  <a:pt x="1465949" y="6604012"/>
                  <a:pt x="1476418" y="6603535"/>
                  <a:pt x="1485698" y="6606634"/>
                </a:cubicBezTo>
                <a:close/>
                <a:moveTo>
                  <a:pt x="4291129" y="6592973"/>
                </a:moveTo>
                <a:cubicBezTo>
                  <a:pt x="4300416" y="6595593"/>
                  <a:pt x="4308513" y="6601784"/>
                  <a:pt x="4313276" y="6611309"/>
                </a:cubicBezTo>
                <a:cubicBezTo>
                  <a:pt x="4322801" y="6630359"/>
                  <a:pt x="4317086" y="6653219"/>
                  <a:pt x="4298036" y="6662744"/>
                </a:cubicBezTo>
                <a:cubicBezTo>
                  <a:pt x="4298036" y="6662744"/>
                  <a:pt x="4298036" y="6662744"/>
                  <a:pt x="3960866" y="6841814"/>
                </a:cubicBezTo>
                <a:cubicBezTo>
                  <a:pt x="3941816" y="6853244"/>
                  <a:pt x="3918955" y="6845624"/>
                  <a:pt x="3909428" y="6826574"/>
                </a:cubicBezTo>
                <a:cubicBezTo>
                  <a:pt x="3905618" y="6820859"/>
                  <a:pt x="3903714" y="6815144"/>
                  <a:pt x="3903714" y="6809429"/>
                </a:cubicBezTo>
                <a:cubicBezTo>
                  <a:pt x="3903714" y="6796094"/>
                  <a:pt x="3911332" y="6782759"/>
                  <a:pt x="3924671" y="6775139"/>
                </a:cubicBezTo>
                <a:cubicBezTo>
                  <a:pt x="3924671" y="6775139"/>
                  <a:pt x="3924671" y="6775139"/>
                  <a:pt x="4261839" y="6596069"/>
                </a:cubicBezTo>
                <a:cubicBezTo>
                  <a:pt x="4271364" y="6591306"/>
                  <a:pt x="4281843" y="6590354"/>
                  <a:pt x="4291129" y="6592973"/>
                </a:cubicBezTo>
                <a:close/>
                <a:moveTo>
                  <a:pt x="2037015" y="6592973"/>
                </a:moveTo>
                <a:cubicBezTo>
                  <a:pt x="2046302" y="6595592"/>
                  <a:pt x="2054881" y="6601784"/>
                  <a:pt x="2060596" y="6611309"/>
                </a:cubicBezTo>
                <a:cubicBezTo>
                  <a:pt x="2070120" y="6630359"/>
                  <a:pt x="2062500" y="6653219"/>
                  <a:pt x="2043445" y="6662744"/>
                </a:cubicBezTo>
                <a:cubicBezTo>
                  <a:pt x="2043445" y="6662744"/>
                  <a:pt x="2043445" y="6662744"/>
                  <a:pt x="1706255" y="6841814"/>
                </a:cubicBezTo>
                <a:cubicBezTo>
                  <a:pt x="1687205" y="6853244"/>
                  <a:pt x="1664344" y="6845624"/>
                  <a:pt x="1654819" y="6826574"/>
                </a:cubicBezTo>
                <a:cubicBezTo>
                  <a:pt x="1652914" y="6820859"/>
                  <a:pt x="1651009" y="6815144"/>
                  <a:pt x="1651009" y="6809429"/>
                </a:cubicBezTo>
                <a:cubicBezTo>
                  <a:pt x="1651009" y="6796094"/>
                  <a:pt x="1658629" y="6782759"/>
                  <a:pt x="1670059" y="6775139"/>
                </a:cubicBezTo>
                <a:cubicBezTo>
                  <a:pt x="1670059" y="6775139"/>
                  <a:pt x="1670059" y="6775139"/>
                  <a:pt x="2009154" y="6596069"/>
                </a:cubicBezTo>
                <a:cubicBezTo>
                  <a:pt x="2017727" y="6591306"/>
                  <a:pt x="2027728" y="6590354"/>
                  <a:pt x="2037015" y="6592973"/>
                </a:cubicBezTo>
                <a:close/>
                <a:moveTo>
                  <a:pt x="3727788" y="6578033"/>
                </a:moveTo>
                <a:cubicBezTo>
                  <a:pt x="3736845" y="6580647"/>
                  <a:pt x="3744949" y="6586823"/>
                  <a:pt x="3749713" y="6595376"/>
                </a:cubicBezTo>
                <a:cubicBezTo>
                  <a:pt x="3759249" y="6614381"/>
                  <a:pt x="3753527" y="6635287"/>
                  <a:pt x="3734461" y="6646690"/>
                </a:cubicBezTo>
                <a:cubicBezTo>
                  <a:pt x="3734461" y="6646690"/>
                  <a:pt x="3734461" y="6646690"/>
                  <a:pt x="3397031" y="6831042"/>
                </a:cubicBezTo>
                <a:cubicBezTo>
                  <a:pt x="3379871" y="6840544"/>
                  <a:pt x="3356993" y="6832942"/>
                  <a:pt x="3347460" y="6815837"/>
                </a:cubicBezTo>
                <a:cubicBezTo>
                  <a:pt x="3343648" y="6810136"/>
                  <a:pt x="3341740" y="6804434"/>
                  <a:pt x="3341740" y="6798733"/>
                </a:cubicBezTo>
                <a:cubicBezTo>
                  <a:pt x="3341740" y="6785429"/>
                  <a:pt x="3349368" y="6772125"/>
                  <a:pt x="3362712" y="6764523"/>
                </a:cubicBezTo>
                <a:cubicBezTo>
                  <a:pt x="3362712" y="6764523"/>
                  <a:pt x="3362712" y="6764523"/>
                  <a:pt x="3700145" y="6582072"/>
                </a:cubicBezTo>
                <a:cubicBezTo>
                  <a:pt x="3708725" y="6576370"/>
                  <a:pt x="3718734" y="6575420"/>
                  <a:pt x="3727788" y="6578033"/>
                </a:cubicBezTo>
                <a:close/>
                <a:moveTo>
                  <a:pt x="2592701" y="6578033"/>
                </a:moveTo>
                <a:cubicBezTo>
                  <a:pt x="2601758" y="6580646"/>
                  <a:pt x="2609859" y="6586823"/>
                  <a:pt x="2614625" y="6595376"/>
                </a:cubicBezTo>
                <a:cubicBezTo>
                  <a:pt x="2624159" y="6614381"/>
                  <a:pt x="2618440" y="6635287"/>
                  <a:pt x="2599374" y="6646690"/>
                </a:cubicBezTo>
                <a:cubicBezTo>
                  <a:pt x="2599374" y="6646690"/>
                  <a:pt x="2599374" y="6646690"/>
                  <a:pt x="2261929" y="6831042"/>
                </a:cubicBezTo>
                <a:cubicBezTo>
                  <a:pt x="2244771" y="6840544"/>
                  <a:pt x="2221893" y="6832942"/>
                  <a:pt x="2212361" y="6815837"/>
                </a:cubicBezTo>
                <a:cubicBezTo>
                  <a:pt x="2208548" y="6810136"/>
                  <a:pt x="2206641" y="6804434"/>
                  <a:pt x="2206641" y="6798733"/>
                </a:cubicBezTo>
                <a:cubicBezTo>
                  <a:pt x="2206641" y="6785429"/>
                  <a:pt x="2214267" y="6772125"/>
                  <a:pt x="2225706" y="6764523"/>
                </a:cubicBezTo>
                <a:cubicBezTo>
                  <a:pt x="2225706" y="6764523"/>
                  <a:pt x="2225706" y="6764523"/>
                  <a:pt x="2565057" y="6582072"/>
                </a:cubicBezTo>
                <a:cubicBezTo>
                  <a:pt x="2573637" y="6576370"/>
                  <a:pt x="2583646" y="6575420"/>
                  <a:pt x="2592701" y="6578033"/>
                </a:cubicBezTo>
                <a:close/>
                <a:moveTo>
                  <a:pt x="3153212" y="6564138"/>
                </a:moveTo>
                <a:cubicBezTo>
                  <a:pt x="3162242" y="6566511"/>
                  <a:pt x="3170318" y="6572206"/>
                  <a:pt x="3175071" y="6580749"/>
                </a:cubicBezTo>
                <a:cubicBezTo>
                  <a:pt x="3184575" y="6599732"/>
                  <a:pt x="3178875" y="6620614"/>
                  <a:pt x="3161765" y="6630106"/>
                </a:cubicBezTo>
                <a:cubicBezTo>
                  <a:pt x="3161765" y="6630106"/>
                  <a:pt x="3161765" y="6630106"/>
                  <a:pt x="2825349" y="6819941"/>
                </a:cubicBezTo>
                <a:cubicBezTo>
                  <a:pt x="2808242" y="6829432"/>
                  <a:pt x="2785435" y="6823737"/>
                  <a:pt x="2775933" y="6804754"/>
                </a:cubicBezTo>
                <a:cubicBezTo>
                  <a:pt x="2772130" y="6799059"/>
                  <a:pt x="2770229" y="6793364"/>
                  <a:pt x="2770229" y="6787669"/>
                </a:cubicBezTo>
                <a:cubicBezTo>
                  <a:pt x="2770229" y="6774380"/>
                  <a:pt x="2777830" y="6762990"/>
                  <a:pt x="2789238" y="6757295"/>
                </a:cubicBezTo>
                <a:cubicBezTo>
                  <a:pt x="2789238" y="6757295"/>
                  <a:pt x="2789238" y="6757295"/>
                  <a:pt x="3125653" y="6567460"/>
                </a:cubicBezTo>
                <a:cubicBezTo>
                  <a:pt x="3134208" y="6562715"/>
                  <a:pt x="3144188" y="6561765"/>
                  <a:pt x="3153212" y="6564138"/>
                </a:cubicBezTo>
                <a:close/>
                <a:moveTo>
                  <a:pt x="9862101" y="6403755"/>
                </a:moveTo>
                <a:cubicBezTo>
                  <a:pt x="9878927" y="6403933"/>
                  <a:pt x="9895752" y="6414278"/>
                  <a:pt x="9902911" y="6429975"/>
                </a:cubicBezTo>
                <a:cubicBezTo>
                  <a:pt x="9912457" y="6452806"/>
                  <a:pt x="9902911" y="6477539"/>
                  <a:pt x="9880000" y="6487052"/>
                </a:cubicBezTo>
                <a:lnTo>
                  <a:pt x="9540159" y="6637356"/>
                </a:lnTo>
                <a:cubicBezTo>
                  <a:pt x="9517248" y="6646869"/>
                  <a:pt x="9492429" y="6635453"/>
                  <a:pt x="9482882" y="6614525"/>
                </a:cubicBezTo>
                <a:cubicBezTo>
                  <a:pt x="9479064" y="6608817"/>
                  <a:pt x="9479064" y="6603109"/>
                  <a:pt x="9479064" y="6597402"/>
                </a:cubicBezTo>
                <a:cubicBezTo>
                  <a:pt x="9479064" y="6580278"/>
                  <a:pt x="9488610" y="6565058"/>
                  <a:pt x="9505793" y="6557447"/>
                </a:cubicBezTo>
                <a:cubicBezTo>
                  <a:pt x="9505793" y="6557447"/>
                  <a:pt x="9505793" y="6557447"/>
                  <a:pt x="9845634" y="6407144"/>
                </a:cubicBezTo>
                <a:cubicBezTo>
                  <a:pt x="9850884" y="6404766"/>
                  <a:pt x="9856493" y="6403695"/>
                  <a:pt x="9862101" y="6403755"/>
                </a:cubicBezTo>
                <a:close/>
                <a:moveTo>
                  <a:pt x="10444610" y="6390314"/>
                </a:moveTo>
                <a:cubicBezTo>
                  <a:pt x="10460838" y="6389686"/>
                  <a:pt x="10476531" y="6400097"/>
                  <a:pt x="10483665" y="6415894"/>
                </a:cubicBezTo>
                <a:cubicBezTo>
                  <a:pt x="10495078" y="6436955"/>
                  <a:pt x="10483665" y="6463761"/>
                  <a:pt x="10462740" y="6473334"/>
                </a:cubicBezTo>
                <a:cubicBezTo>
                  <a:pt x="10462740" y="6473334"/>
                  <a:pt x="10462740" y="6473334"/>
                  <a:pt x="10124143" y="6624595"/>
                </a:cubicBezTo>
                <a:cubicBezTo>
                  <a:pt x="10101317" y="6634169"/>
                  <a:pt x="10076588" y="6624595"/>
                  <a:pt x="10067076" y="6603534"/>
                </a:cubicBezTo>
                <a:cubicBezTo>
                  <a:pt x="10065174" y="6597790"/>
                  <a:pt x="10063272" y="6592045"/>
                  <a:pt x="10063272" y="6586301"/>
                </a:cubicBezTo>
                <a:cubicBezTo>
                  <a:pt x="10063272" y="6569069"/>
                  <a:pt x="10072783" y="6553752"/>
                  <a:pt x="10088001" y="6546093"/>
                </a:cubicBezTo>
                <a:cubicBezTo>
                  <a:pt x="10088001" y="6546093"/>
                  <a:pt x="10088001" y="6546093"/>
                  <a:pt x="10428500" y="6394832"/>
                </a:cubicBezTo>
                <a:cubicBezTo>
                  <a:pt x="10433731" y="6391960"/>
                  <a:pt x="10439200" y="6390524"/>
                  <a:pt x="10444610" y="6390314"/>
                </a:cubicBezTo>
                <a:close/>
                <a:moveTo>
                  <a:pt x="9283606" y="6390314"/>
                </a:moveTo>
                <a:cubicBezTo>
                  <a:pt x="9300650" y="6389686"/>
                  <a:pt x="9316354" y="6400097"/>
                  <a:pt x="9323493" y="6415894"/>
                </a:cubicBezTo>
                <a:cubicBezTo>
                  <a:pt x="9333011" y="6436955"/>
                  <a:pt x="9323493" y="6463761"/>
                  <a:pt x="9302553" y="6473334"/>
                </a:cubicBezTo>
                <a:cubicBezTo>
                  <a:pt x="9302553" y="6473334"/>
                  <a:pt x="9302553" y="6473334"/>
                  <a:pt x="8961805" y="6624595"/>
                </a:cubicBezTo>
                <a:cubicBezTo>
                  <a:pt x="8940865" y="6634169"/>
                  <a:pt x="8916118" y="6624595"/>
                  <a:pt x="8906600" y="6603534"/>
                </a:cubicBezTo>
                <a:cubicBezTo>
                  <a:pt x="8902793" y="6597790"/>
                  <a:pt x="8902793" y="6592045"/>
                  <a:pt x="8902793" y="6586301"/>
                </a:cubicBezTo>
                <a:cubicBezTo>
                  <a:pt x="8902793" y="6569069"/>
                  <a:pt x="8912311" y="6553752"/>
                  <a:pt x="8927540" y="6546093"/>
                </a:cubicBezTo>
                <a:cubicBezTo>
                  <a:pt x="8927540" y="6546093"/>
                  <a:pt x="8927540" y="6546093"/>
                  <a:pt x="9266384" y="6394832"/>
                </a:cubicBezTo>
                <a:cubicBezTo>
                  <a:pt x="9272095" y="6391960"/>
                  <a:pt x="9277925" y="6390524"/>
                  <a:pt x="9283606" y="6390314"/>
                </a:cubicBezTo>
                <a:close/>
                <a:moveTo>
                  <a:pt x="11020686" y="6377294"/>
                </a:moveTo>
                <a:cubicBezTo>
                  <a:pt x="11037076" y="6376226"/>
                  <a:pt x="11053197" y="6385845"/>
                  <a:pt x="11061795" y="6402947"/>
                </a:cubicBezTo>
                <a:cubicBezTo>
                  <a:pt x="11071348" y="6423849"/>
                  <a:pt x="11061795" y="6448552"/>
                  <a:pt x="11038867" y="6458052"/>
                </a:cubicBezTo>
                <a:cubicBezTo>
                  <a:pt x="11038867" y="6458052"/>
                  <a:pt x="11038867" y="6458052"/>
                  <a:pt x="10698772" y="6611968"/>
                </a:cubicBezTo>
                <a:cubicBezTo>
                  <a:pt x="10677755" y="6621469"/>
                  <a:pt x="10652917" y="6611968"/>
                  <a:pt x="10643363" y="6591066"/>
                </a:cubicBezTo>
                <a:cubicBezTo>
                  <a:pt x="10639542" y="6585365"/>
                  <a:pt x="10639542" y="6579665"/>
                  <a:pt x="10639542" y="6573964"/>
                </a:cubicBezTo>
                <a:cubicBezTo>
                  <a:pt x="10639542" y="6556862"/>
                  <a:pt x="10647185" y="6541661"/>
                  <a:pt x="10664380" y="6534060"/>
                </a:cubicBezTo>
                <a:cubicBezTo>
                  <a:pt x="10664380" y="6534060"/>
                  <a:pt x="10664380" y="6534060"/>
                  <a:pt x="11004475" y="6382045"/>
                </a:cubicBezTo>
                <a:cubicBezTo>
                  <a:pt x="11009729" y="6379195"/>
                  <a:pt x="11015223" y="6377651"/>
                  <a:pt x="11020686" y="6377294"/>
                </a:cubicBezTo>
                <a:close/>
                <a:moveTo>
                  <a:pt x="8711111" y="6377294"/>
                </a:moveTo>
                <a:cubicBezTo>
                  <a:pt x="8727949" y="6376226"/>
                  <a:pt x="8744786" y="6385845"/>
                  <a:pt x="8751951" y="6402947"/>
                </a:cubicBezTo>
                <a:cubicBezTo>
                  <a:pt x="8761504" y="6423849"/>
                  <a:pt x="8751951" y="6448552"/>
                  <a:pt x="8730934" y="6458052"/>
                </a:cubicBezTo>
                <a:cubicBezTo>
                  <a:pt x="8730934" y="6458052"/>
                  <a:pt x="8730934" y="6458052"/>
                  <a:pt x="8388928" y="6611968"/>
                </a:cubicBezTo>
                <a:cubicBezTo>
                  <a:pt x="8367911" y="6621469"/>
                  <a:pt x="8343073" y="6611968"/>
                  <a:pt x="8333519" y="6591066"/>
                </a:cubicBezTo>
                <a:cubicBezTo>
                  <a:pt x="8329698" y="6585365"/>
                  <a:pt x="8329698" y="6579665"/>
                  <a:pt x="8329698" y="6573964"/>
                </a:cubicBezTo>
                <a:cubicBezTo>
                  <a:pt x="8329698" y="6556862"/>
                  <a:pt x="8339251" y="6541661"/>
                  <a:pt x="8354536" y="6534060"/>
                </a:cubicBezTo>
                <a:cubicBezTo>
                  <a:pt x="8354536" y="6534060"/>
                  <a:pt x="8354536" y="6534060"/>
                  <a:pt x="8694631" y="6382045"/>
                </a:cubicBezTo>
                <a:cubicBezTo>
                  <a:pt x="8699885" y="6379195"/>
                  <a:pt x="8705498" y="6377651"/>
                  <a:pt x="8711111" y="6377294"/>
                </a:cubicBezTo>
                <a:close/>
                <a:moveTo>
                  <a:pt x="8145353" y="6364557"/>
                </a:moveTo>
                <a:cubicBezTo>
                  <a:pt x="8162396" y="6363400"/>
                  <a:pt x="8178101" y="6372652"/>
                  <a:pt x="8185240" y="6388309"/>
                </a:cubicBezTo>
                <a:cubicBezTo>
                  <a:pt x="8194758" y="6411083"/>
                  <a:pt x="8185240" y="6435755"/>
                  <a:pt x="8164300" y="6445244"/>
                </a:cubicBezTo>
                <a:cubicBezTo>
                  <a:pt x="8164300" y="6445244"/>
                  <a:pt x="8164300" y="6445244"/>
                  <a:pt x="7825456" y="6600868"/>
                </a:cubicBezTo>
                <a:cubicBezTo>
                  <a:pt x="7804516" y="6610357"/>
                  <a:pt x="7779769" y="6600868"/>
                  <a:pt x="7768347" y="6579991"/>
                </a:cubicBezTo>
                <a:cubicBezTo>
                  <a:pt x="7766443" y="6574298"/>
                  <a:pt x="7764540" y="6568604"/>
                  <a:pt x="7764540" y="6562911"/>
                </a:cubicBezTo>
                <a:cubicBezTo>
                  <a:pt x="7764540" y="6545830"/>
                  <a:pt x="7774058" y="6530647"/>
                  <a:pt x="7789287" y="6523056"/>
                </a:cubicBezTo>
                <a:cubicBezTo>
                  <a:pt x="7789287" y="6523056"/>
                  <a:pt x="7789287" y="6523056"/>
                  <a:pt x="8128131" y="6369331"/>
                </a:cubicBezTo>
                <a:cubicBezTo>
                  <a:pt x="8133842" y="6366484"/>
                  <a:pt x="8139672" y="6364942"/>
                  <a:pt x="8145353" y="6364557"/>
                </a:cubicBezTo>
                <a:close/>
                <a:moveTo>
                  <a:pt x="11589455" y="6364556"/>
                </a:moveTo>
                <a:cubicBezTo>
                  <a:pt x="11605707" y="6363400"/>
                  <a:pt x="11621424" y="6372652"/>
                  <a:pt x="11628568" y="6388309"/>
                </a:cubicBezTo>
                <a:cubicBezTo>
                  <a:pt x="11638093" y="6411083"/>
                  <a:pt x="11630473" y="6435755"/>
                  <a:pt x="11607613" y="6445244"/>
                </a:cubicBezTo>
                <a:cubicBezTo>
                  <a:pt x="11607613" y="6445244"/>
                  <a:pt x="11607613" y="6445244"/>
                  <a:pt x="11268518" y="6600868"/>
                </a:cubicBezTo>
                <a:cubicBezTo>
                  <a:pt x="11247563" y="6610357"/>
                  <a:pt x="11222797" y="6600868"/>
                  <a:pt x="11213272" y="6579991"/>
                </a:cubicBezTo>
                <a:cubicBezTo>
                  <a:pt x="11211367" y="6574298"/>
                  <a:pt x="11209462" y="6568604"/>
                  <a:pt x="11209462" y="6562911"/>
                </a:cubicBezTo>
                <a:cubicBezTo>
                  <a:pt x="11209462" y="6545830"/>
                  <a:pt x="11218987" y="6530647"/>
                  <a:pt x="11234227" y="6523056"/>
                </a:cubicBezTo>
                <a:cubicBezTo>
                  <a:pt x="11234227" y="6523056"/>
                  <a:pt x="11234227" y="6523056"/>
                  <a:pt x="11573322" y="6369331"/>
                </a:cubicBezTo>
                <a:cubicBezTo>
                  <a:pt x="11578561" y="6366484"/>
                  <a:pt x="11584038" y="6364942"/>
                  <a:pt x="11589455" y="6364556"/>
                </a:cubicBezTo>
                <a:close/>
                <a:moveTo>
                  <a:pt x="12139750" y="6353181"/>
                </a:moveTo>
                <a:cubicBezTo>
                  <a:pt x="12139750" y="6353181"/>
                  <a:pt x="12139750" y="6353181"/>
                  <a:pt x="12139750" y="6444739"/>
                </a:cubicBezTo>
                <a:cubicBezTo>
                  <a:pt x="12139750" y="6444739"/>
                  <a:pt x="12139750" y="6444739"/>
                  <a:pt x="11833573" y="6587799"/>
                </a:cubicBezTo>
                <a:cubicBezTo>
                  <a:pt x="11812654" y="6599244"/>
                  <a:pt x="11787932" y="6589706"/>
                  <a:pt x="11778423" y="6568724"/>
                </a:cubicBezTo>
                <a:cubicBezTo>
                  <a:pt x="11774620" y="6563002"/>
                  <a:pt x="11774620" y="6557280"/>
                  <a:pt x="11774620" y="6551557"/>
                </a:cubicBezTo>
                <a:cubicBezTo>
                  <a:pt x="11774620" y="6534390"/>
                  <a:pt x="11782227" y="6519130"/>
                  <a:pt x="11797441" y="6513408"/>
                </a:cubicBezTo>
                <a:lnTo>
                  <a:pt x="12135947" y="6355088"/>
                </a:lnTo>
                <a:cubicBezTo>
                  <a:pt x="12137848" y="6353181"/>
                  <a:pt x="12139750" y="6353181"/>
                  <a:pt x="12139750" y="6353181"/>
                </a:cubicBezTo>
                <a:close/>
                <a:moveTo>
                  <a:pt x="7585725" y="6350302"/>
                </a:moveTo>
                <a:cubicBezTo>
                  <a:pt x="7601977" y="6349140"/>
                  <a:pt x="7617694" y="6358438"/>
                  <a:pt x="7624838" y="6374174"/>
                </a:cubicBezTo>
                <a:cubicBezTo>
                  <a:pt x="7634363" y="6395155"/>
                  <a:pt x="7624838" y="6419951"/>
                  <a:pt x="7605787" y="6429488"/>
                </a:cubicBezTo>
                <a:cubicBezTo>
                  <a:pt x="7605787" y="6429488"/>
                  <a:pt x="7605787" y="6429488"/>
                  <a:pt x="7264788" y="6587800"/>
                </a:cubicBezTo>
                <a:cubicBezTo>
                  <a:pt x="7243832" y="6599244"/>
                  <a:pt x="7219067" y="6589707"/>
                  <a:pt x="7209542" y="6568726"/>
                </a:cubicBezTo>
                <a:cubicBezTo>
                  <a:pt x="7207637" y="6563004"/>
                  <a:pt x="7205732" y="6557282"/>
                  <a:pt x="7205732" y="6551559"/>
                </a:cubicBezTo>
                <a:cubicBezTo>
                  <a:pt x="7205732" y="6534393"/>
                  <a:pt x="7215257" y="6519134"/>
                  <a:pt x="7230497" y="6513412"/>
                </a:cubicBezTo>
                <a:cubicBezTo>
                  <a:pt x="7230497" y="6513412"/>
                  <a:pt x="7230497" y="6513412"/>
                  <a:pt x="7569592" y="6355100"/>
                </a:cubicBezTo>
                <a:cubicBezTo>
                  <a:pt x="7574831" y="6352239"/>
                  <a:pt x="7580308" y="6350689"/>
                  <a:pt x="7585725" y="6350302"/>
                </a:cubicBezTo>
                <a:close/>
                <a:moveTo>
                  <a:pt x="7049044" y="6340183"/>
                </a:moveTo>
                <a:cubicBezTo>
                  <a:pt x="7059045" y="6343525"/>
                  <a:pt x="7067618" y="6350687"/>
                  <a:pt x="7072381" y="6361190"/>
                </a:cubicBezTo>
                <a:cubicBezTo>
                  <a:pt x="7081906" y="6382198"/>
                  <a:pt x="7072381" y="6407025"/>
                  <a:pt x="7051425" y="6416574"/>
                </a:cubicBezTo>
                <a:cubicBezTo>
                  <a:pt x="7051425" y="6416574"/>
                  <a:pt x="7051425" y="6416574"/>
                  <a:pt x="6714236" y="6576995"/>
                </a:cubicBezTo>
                <a:cubicBezTo>
                  <a:pt x="6693280" y="6586544"/>
                  <a:pt x="6668515" y="6578905"/>
                  <a:pt x="6658990" y="6557897"/>
                </a:cubicBezTo>
                <a:cubicBezTo>
                  <a:pt x="6655180" y="6552168"/>
                  <a:pt x="6653275" y="6546438"/>
                  <a:pt x="6653275" y="6540709"/>
                </a:cubicBezTo>
                <a:cubicBezTo>
                  <a:pt x="6653275" y="6523521"/>
                  <a:pt x="6662800" y="6510153"/>
                  <a:pt x="6678040" y="6502514"/>
                </a:cubicBezTo>
                <a:cubicBezTo>
                  <a:pt x="6678040" y="6502514"/>
                  <a:pt x="6678040" y="6502514"/>
                  <a:pt x="7017135" y="6342093"/>
                </a:cubicBezTo>
                <a:cubicBezTo>
                  <a:pt x="7027612" y="6337318"/>
                  <a:pt x="7039043" y="6336841"/>
                  <a:pt x="7049044" y="6340183"/>
                </a:cubicBezTo>
                <a:close/>
                <a:moveTo>
                  <a:pt x="6502912" y="6327426"/>
                </a:moveTo>
                <a:cubicBezTo>
                  <a:pt x="6512921" y="6330743"/>
                  <a:pt x="6521500" y="6337851"/>
                  <a:pt x="6526266" y="6348277"/>
                </a:cubicBezTo>
                <a:cubicBezTo>
                  <a:pt x="6535798" y="6367232"/>
                  <a:pt x="6528172" y="6391874"/>
                  <a:pt x="6507201" y="6401351"/>
                </a:cubicBezTo>
                <a:cubicBezTo>
                  <a:pt x="6507201" y="6401351"/>
                  <a:pt x="6507201" y="6401351"/>
                  <a:pt x="6167854" y="6564366"/>
                </a:cubicBezTo>
                <a:cubicBezTo>
                  <a:pt x="6146884" y="6573844"/>
                  <a:pt x="6122100" y="6566262"/>
                  <a:pt x="6112568" y="6545411"/>
                </a:cubicBezTo>
                <a:cubicBezTo>
                  <a:pt x="6110661" y="6539724"/>
                  <a:pt x="6108755" y="6534038"/>
                  <a:pt x="6108755" y="6528351"/>
                </a:cubicBezTo>
                <a:cubicBezTo>
                  <a:pt x="6108755" y="6513187"/>
                  <a:pt x="6118287" y="6498023"/>
                  <a:pt x="6131632" y="6490441"/>
                </a:cubicBezTo>
                <a:cubicBezTo>
                  <a:pt x="6131632" y="6490441"/>
                  <a:pt x="6131632" y="6490441"/>
                  <a:pt x="6470979" y="6329321"/>
                </a:cubicBezTo>
                <a:cubicBezTo>
                  <a:pt x="6481464" y="6324583"/>
                  <a:pt x="6492903" y="6324109"/>
                  <a:pt x="6502912" y="6327426"/>
                </a:cubicBezTo>
                <a:close/>
                <a:moveTo>
                  <a:pt x="5955853" y="6313176"/>
                </a:moveTo>
                <a:cubicBezTo>
                  <a:pt x="5965385" y="6316510"/>
                  <a:pt x="5973487" y="6323653"/>
                  <a:pt x="5978253" y="6334131"/>
                </a:cubicBezTo>
                <a:cubicBezTo>
                  <a:pt x="5989691" y="6353181"/>
                  <a:pt x="5980159" y="6377946"/>
                  <a:pt x="5961095" y="6387471"/>
                </a:cubicBezTo>
                <a:cubicBezTo>
                  <a:pt x="5961095" y="6387471"/>
                  <a:pt x="5961095" y="6387471"/>
                  <a:pt x="5621756" y="6553206"/>
                </a:cubicBezTo>
                <a:cubicBezTo>
                  <a:pt x="5600786" y="6562731"/>
                  <a:pt x="5576003" y="6553206"/>
                  <a:pt x="5566471" y="6534156"/>
                </a:cubicBezTo>
                <a:cubicBezTo>
                  <a:pt x="5564565" y="6528441"/>
                  <a:pt x="5562659" y="6522726"/>
                  <a:pt x="5562659" y="6517011"/>
                </a:cubicBezTo>
                <a:cubicBezTo>
                  <a:pt x="5562659" y="6501771"/>
                  <a:pt x="5572190" y="6486531"/>
                  <a:pt x="5585535" y="6478911"/>
                </a:cubicBezTo>
                <a:cubicBezTo>
                  <a:pt x="5585535" y="6478911"/>
                  <a:pt x="5585535" y="6478911"/>
                  <a:pt x="5924873" y="6315081"/>
                </a:cubicBezTo>
                <a:cubicBezTo>
                  <a:pt x="5935358" y="6310318"/>
                  <a:pt x="5946322" y="6309842"/>
                  <a:pt x="5955853" y="6313176"/>
                </a:cubicBezTo>
                <a:close/>
                <a:moveTo>
                  <a:pt x="396081" y="6313176"/>
                </a:moveTo>
                <a:cubicBezTo>
                  <a:pt x="405822" y="6316509"/>
                  <a:pt x="414375" y="6323653"/>
                  <a:pt x="419127" y="6334131"/>
                </a:cubicBezTo>
                <a:cubicBezTo>
                  <a:pt x="428631" y="6353181"/>
                  <a:pt x="421028" y="6377946"/>
                  <a:pt x="400120" y="6387471"/>
                </a:cubicBezTo>
                <a:cubicBezTo>
                  <a:pt x="400120" y="6387471"/>
                  <a:pt x="400120" y="6387471"/>
                  <a:pt x="63687" y="6553206"/>
                </a:cubicBezTo>
                <a:cubicBezTo>
                  <a:pt x="42779" y="6562731"/>
                  <a:pt x="18069" y="6553206"/>
                  <a:pt x="8565" y="6534156"/>
                </a:cubicBezTo>
                <a:cubicBezTo>
                  <a:pt x="6665" y="6528441"/>
                  <a:pt x="4764" y="6522726"/>
                  <a:pt x="4764" y="6517011"/>
                </a:cubicBezTo>
                <a:cubicBezTo>
                  <a:pt x="4764" y="6501771"/>
                  <a:pt x="12367" y="6486531"/>
                  <a:pt x="27573" y="6478911"/>
                </a:cubicBezTo>
                <a:cubicBezTo>
                  <a:pt x="27573" y="6478911"/>
                  <a:pt x="27573" y="6478911"/>
                  <a:pt x="365906" y="6315081"/>
                </a:cubicBezTo>
                <a:cubicBezTo>
                  <a:pt x="375410" y="6310318"/>
                  <a:pt x="386339" y="6309842"/>
                  <a:pt x="396081" y="6313176"/>
                </a:cubicBezTo>
                <a:close/>
                <a:moveTo>
                  <a:pt x="5405334" y="6300229"/>
                </a:moveTo>
                <a:cubicBezTo>
                  <a:pt x="5415075" y="6303320"/>
                  <a:pt x="5423629" y="6309980"/>
                  <a:pt x="5429330" y="6319493"/>
                </a:cubicBezTo>
                <a:cubicBezTo>
                  <a:pt x="5438834" y="6340422"/>
                  <a:pt x="5431231" y="6363255"/>
                  <a:pt x="5410323" y="6372768"/>
                </a:cubicBezTo>
                <a:cubicBezTo>
                  <a:pt x="5410323" y="6372768"/>
                  <a:pt x="5410323" y="6372768"/>
                  <a:pt x="5071987" y="6540203"/>
                </a:cubicBezTo>
                <a:cubicBezTo>
                  <a:pt x="5052982" y="6551619"/>
                  <a:pt x="5028276" y="6542105"/>
                  <a:pt x="5018773" y="6523079"/>
                </a:cubicBezTo>
                <a:cubicBezTo>
                  <a:pt x="5016873" y="6517371"/>
                  <a:pt x="5014972" y="6511663"/>
                  <a:pt x="5014972" y="6505955"/>
                </a:cubicBezTo>
                <a:cubicBezTo>
                  <a:pt x="5014972" y="6490733"/>
                  <a:pt x="5022575" y="6475512"/>
                  <a:pt x="5037779" y="6469804"/>
                </a:cubicBezTo>
                <a:cubicBezTo>
                  <a:pt x="5037779" y="6469804"/>
                  <a:pt x="5037779" y="6469804"/>
                  <a:pt x="5374210" y="6302369"/>
                </a:cubicBezTo>
                <a:cubicBezTo>
                  <a:pt x="5384664" y="6297613"/>
                  <a:pt x="5395593" y="6297137"/>
                  <a:pt x="5405334" y="6300229"/>
                </a:cubicBezTo>
                <a:close/>
                <a:moveTo>
                  <a:pt x="940474" y="6300229"/>
                </a:moveTo>
                <a:cubicBezTo>
                  <a:pt x="950252" y="6303320"/>
                  <a:pt x="958837" y="6309980"/>
                  <a:pt x="963607" y="6319493"/>
                </a:cubicBezTo>
                <a:cubicBezTo>
                  <a:pt x="973147" y="6340422"/>
                  <a:pt x="965515" y="6363255"/>
                  <a:pt x="944528" y="6372768"/>
                </a:cubicBezTo>
                <a:cubicBezTo>
                  <a:pt x="944528" y="6372768"/>
                  <a:pt x="944528" y="6372768"/>
                  <a:pt x="606835" y="6540203"/>
                </a:cubicBezTo>
                <a:cubicBezTo>
                  <a:pt x="585849" y="6551619"/>
                  <a:pt x="562954" y="6542105"/>
                  <a:pt x="551507" y="6523079"/>
                </a:cubicBezTo>
                <a:cubicBezTo>
                  <a:pt x="549599" y="6517371"/>
                  <a:pt x="547691" y="6511663"/>
                  <a:pt x="547691" y="6505955"/>
                </a:cubicBezTo>
                <a:cubicBezTo>
                  <a:pt x="547691" y="6490733"/>
                  <a:pt x="557231" y="6475512"/>
                  <a:pt x="570586" y="6469804"/>
                </a:cubicBezTo>
                <a:cubicBezTo>
                  <a:pt x="570586" y="6469804"/>
                  <a:pt x="570586" y="6469804"/>
                  <a:pt x="910187" y="6302369"/>
                </a:cubicBezTo>
                <a:cubicBezTo>
                  <a:pt x="919726" y="6297613"/>
                  <a:pt x="930696" y="6297137"/>
                  <a:pt x="940474" y="6300229"/>
                </a:cubicBezTo>
                <a:close/>
                <a:moveTo>
                  <a:pt x="4851393" y="6285987"/>
                </a:moveTo>
                <a:cubicBezTo>
                  <a:pt x="4860933" y="6289098"/>
                  <a:pt x="4869519" y="6295798"/>
                  <a:pt x="4875244" y="6305369"/>
                </a:cubicBezTo>
                <a:cubicBezTo>
                  <a:pt x="4884786" y="6324513"/>
                  <a:pt x="4877153" y="6349399"/>
                  <a:pt x="4856165" y="6358971"/>
                </a:cubicBezTo>
                <a:cubicBezTo>
                  <a:pt x="4856165" y="6358971"/>
                  <a:pt x="4856165" y="6358971"/>
                  <a:pt x="4518477" y="6529347"/>
                </a:cubicBezTo>
                <a:cubicBezTo>
                  <a:pt x="4497490" y="6538919"/>
                  <a:pt x="4474595" y="6531261"/>
                  <a:pt x="4465055" y="6512118"/>
                </a:cubicBezTo>
                <a:cubicBezTo>
                  <a:pt x="4461240" y="6506375"/>
                  <a:pt x="4459331" y="6500632"/>
                  <a:pt x="4459331" y="6494889"/>
                </a:cubicBezTo>
                <a:cubicBezTo>
                  <a:pt x="4459331" y="6479574"/>
                  <a:pt x="4468871" y="6466174"/>
                  <a:pt x="4482227" y="6458517"/>
                </a:cubicBezTo>
                <a:cubicBezTo>
                  <a:pt x="4482227" y="6458517"/>
                  <a:pt x="4482227" y="6458517"/>
                  <a:pt x="4821819" y="6288140"/>
                </a:cubicBezTo>
                <a:cubicBezTo>
                  <a:pt x="4831358" y="6283355"/>
                  <a:pt x="4841851" y="6282876"/>
                  <a:pt x="4851393" y="6285987"/>
                </a:cubicBezTo>
                <a:close/>
                <a:moveTo>
                  <a:pt x="1486674" y="6285987"/>
                </a:moveTo>
                <a:cubicBezTo>
                  <a:pt x="1496423" y="6289098"/>
                  <a:pt x="1504982" y="6295798"/>
                  <a:pt x="1509738" y="6305369"/>
                </a:cubicBezTo>
                <a:cubicBezTo>
                  <a:pt x="1519249" y="6324513"/>
                  <a:pt x="1511640" y="6349399"/>
                  <a:pt x="1492618" y="6358971"/>
                </a:cubicBezTo>
                <a:cubicBezTo>
                  <a:pt x="1492618" y="6358971"/>
                  <a:pt x="1492618" y="6358971"/>
                  <a:pt x="1154033" y="6529347"/>
                </a:cubicBezTo>
                <a:cubicBezTo>
                  <a:pt x="1135012" y="6538919"/>
                  <a:pt x="1110284" y="6531261"/>
                  <a:pt x="1100773" y="6512118"/>
                </a:cubicBezTo>
                <a:cubicBezTo>
                  <a:pt x="1098871" y="6506375"/>
                  <a:pt x="1096968" y="6500632"/>
                  <a:pt x="1096968" y="6494889"/>
                </a:cubicBezTo>
                <a:cubicBezTo>
                  <a:pt x="1096968" y="6479574"/>
                  <a:pt x="1104577" y="6466174"/>
                  <a:pt x="1117892" y="6458517"/>
                </a:cubicBezTo>
                <a:cubicBezTo>
                  <a:pt x="1117892" y="6458517"/>
                  <a:pt x="1117892" y="6458517"/>
                  <a:pt x="1456477" y="6288140"/>
                </a:cubicBezTo>
                <a:cubicBezTo>
                  <a:pt x="1465988" y="6283355"/>
                  <a:pt x="1476926" y="6282876"/>
                  <a:pt x="1486674" y="6285987"/>
                </a:cubicBezTo>
                <a:close/>
                <a:moveTo>
                  <a:pt x="4292528" y="6273233"/>
                </a:moveTo>
                <a:cubicBezTo>
                  <a:pt x="4302039" y="6276321"/>
                  <a:pt x="4310122" y="6282972"/>
                  <a:pt x="4314878" y="6292474"/>
                </a:cubicBezTo>
                <a:cubicBezTo>
                  <a:pt x="4324389" y="6311478"/>
                  <a:pt x="4316781" y="6334282"/>
                  <a:pt x="4297758" y="6345684"/>
                </a:cubicBezTo>
                <a:cubicBezTo>
                  <a:pt x="4297758" y="6345684"/>
                  <a:pt x="4297758" y="6345684"/>
                  <a:pt x="3961097" y="6516717"/>
                </a:cubicBezTo>
                <a:cubicBezTo>
                  <a:pt x="3940170" y="6526219"/>
                  <a:pt x="3917344" y="6518617"/>
                  <a:pt x="3907836" y="6499614"/>
                </a:cubicBezTo>
                <a:cubicBezTo>
                  <a:pt x="3904028" y="6493913"/>
                  <a:pt x="3902129" y="6488211"/>
                  <a:pt x="3902129" y="6482510"/>
                </a:cubicBezTo>
                <a:cubicBezTo>
                  <a:pt x="3902129" y="6467307"/>
                  <a:pt x="3911639" y="6454005"/>
                  <a:pt x="3924955" y="6446403"/>
                </a:cubicBezTo>
                <a:cubicBezTo>
                  <a:pt x="3924955" y="6446403"/>
                  <a:pt x="3924955" y="6446403"/>
                  <a:pt x="4261616" y="6275371"/>
                </a:cubicBezTo>
                <a:cubicBezTo>
                  <a:pt x="4272078" y="6270620"/>
                  <a:pt x="4283016" y="6270145"/>
                  <a:pt x="4292528" y="6273233"/>
                </a:cubicBezTo>
                <a:close/>
                <a:moveTo>
                  <a:pt x="2038415" y="6273233"/>
                </a:moveTo>
                <a:cubicBezTo>
                  <a:pt x="2047926" y="6276321"/>
                  <a:pt x="2056491" y="6282972"/>
                  <a:pt x="2062197" y="6292474"/>
                </a:cubicBezTo>
                <a:cubicBezTo>
                  <a:pt x="2071708" y="6311478"/>
                  <a:pt x="2064099" y="6334282"/>
                  <a:pt x="2045072" y="6345684"/>
                </a:cubicBezTo>
                <a:cubicBezTo>
                  <a:pt x="2045072" y="6345684"/>
                  <a:pt x="2045072" y="6345684"/>
                  <a:pt x="1706487" y="6516717"/>
                </a:cubicBezTo>
                <a:cubicBezTo>
                  <a:pt x="1687465" y="6526219"/>
                  <a:pt x="1662737" y="6518617"/>
                  <a:pt x="1653226" y="6499614"/>
                </a:cubicBezTo>
                <a:cubicBezTo>
                  <a:pt x="1651324" y="6493913"/>
                  <a:pt x="1649422" y="6488211"/>
                  <a:pt x="1649422" y="6482510"/>
                </a:cubicBezTo>
                <a:cubicBezTo>
                  <a:pt x="1649422" y="6467307"/>
                  <a:pt x="1657031" y="6454005"/>
                  <a:pt x="1670346" y="6446403"/>
                </a:cubicBezTo>
                <a:cubicBezTo>
                  <a:pt x="1670346" y="6446403"/>
                  <a:pt x="1670346" y="6446403"/>
                  <a:pt x="2008931" y="6275371"/>
                </a:cubicBezTo>
                <a:cubicBezTo>
                  <a:pt x="2018442" y="6270620"/>
                  <a:pt x="2028904" y="6270145"/>
                  <a:pt x="2038415" y="6273233"/>
                </a:cubicBezTo>
                <a:close/>
                <a:moveTo>
                  <a:pt x="3729185" y="6260524"/>
                </a:moveTo>
                <a:cubicBezTo>
                  <a:pt x="3738466" y="6263608"/>
                  <a:pt x="3746556" y="6270252"/>
                  <a:pt x="3751317" y="6279742"/>
                </a:cubicBezTo>
                <a:cubicBezTo>
                  <a:pt x="3760834" y="6298723"/>
                  <a:pt x="3755123" y="6321500"/>
                  <a:pt x="3736088" y="6330991"/>
                </a:cubicBezTo>
                <a:cubicBezTo>
                  <a:pt x="3736088" y="6330991"/>
                  <a:pt x="3736088" y="6330991"/>
                  <a:pt x="3397263" y="6505616"/>
                </a:cubicBezTo>
                <a:cubicBezTo>
                  <a:pt x="3378225" y="6515107"/>
                  <a:pt x="3355382" y="6507514"/>
                  <a:pt x="3345863" y="6488533"/>
                </a:cubicBezTo>
                <a:cubicBezTo>
                  <a:pt x="3342056" y="6482839"/>
                  <a:pt x="3340155" y="6477145"/>
                  <a:pt x="3340155" y="6469552"/>
                </a:cubicBezTo>
                <a:cubicBezTo>
                  <a:pt x="3340155" y="6456266"/>
                  <a:pt x="3347767" y="6442979"/>
                  <a:pt x="3361092" y="6435386"/>
                </a:cubicBezTo>
                <a:cubicBezTo>
                  <a:pt x="3361092" y="6435386"/>
                  <a:pt x="3361092" y="6435386"/>
                  <a:pt x="3699918" y="6262659"/>
                </a:cubicBezTo>
                <a:cubicBezTo>
                  <a:pt x="3709435" y="6257914"/>
                  <a:pt x="3719905" y="6257440"/>
                  <a:pt x="3729185" y="6260524"/>
                </a:cubicBezTo>
                <a:close/>
                <a:moveTo>
                  <a:pt x="2595567" y="6260524"/>
                </a:moveTo>
                <a:cubicBezTo>
                  <a:pt x="2604882" y="6263608"/>
                  <a:pt x="2613003" y="6270252"/>
                  <a:pt x="2617780" y="6279742"/>
                </a:cubicBezTo>
                <a:cubicBezTo>
                  <a:pt x="2627334" y="6298723"/>
                  <a:pt x="2621602" y="6321500"/>
                  <a:pt x="2600583" y="6330991"/>
                </a:cubicBezTo>
                <a:cubicBezTo>
                  <a:pt x="2600583" y="6330991"/>
                  <a:pt x="2600583" y="6330991"/>
                  <a:pt x="2262377" y="6505616"/>
                </a:cubicBezTo>
                <a:cubicBezTo>
                  <a:pt x="2243270" y="6515107"/>
                  <a:pt x="2220340" y="6507514"/>
                  <a:pt x="2210786" y="6488533"/>
                </a:cubicBezTo>
                <a:cubicBezTo>
                  <a:pt x="2206965" y="6482839"/>
                  <a:pt x="2205054" y="6477145"/>
                  <a:pt x="2205054" y="6469552"/>
                </a:cubicBezTo>
                <a:cubicBezTo>
                  <a:pt x="2205054" y="6456266"/>
                  <a:pt x="2212697" y="6442979"/>
                  <a:pt x="2226072" y="6435386"/>
                </a:cubicBezTo>
                <a:cubicBezTo>
                  <a:pt x="2226072" y="6435386"/>
                  <a:pt x="2226072" y="6435386"/>
                  <a:pt x="2566189" y="6262659"/>
                </a:cubicBezTo>
                <a:cubicBezTo>
                  <a:pt x="2575744" y="6257914"/>
                  <a:pt x="2586253" y="6257440"/>
                  <a:pt x="2595567" y="6260524"/>
                </a:cubicBezTo>
                <a:close/>
                <a:moveTo>
                  <a:pt x="3155660" y="6245326"/>
                </a:moveTo>
                <a:cubicBezTo>
                  <a:pt x="3164974" y="6247952"/>
                  <a:pt x="3173095" y="6254158"/>
                  <a:pt x="3177873" y="6263706"/>
                </a:cubicBezTo>
                <a:cubicBezTo>
                  <a:pt x="3189335" y="6282802"/>
                  <a:pt x="3181695" y="6305717"/>
                  <a:pt x="3162585" y="6317174"/>
                </a:cubicBezTo>
                <a:cubicBezTo>
                  <a:pt x="3162585" y="6317174"/>
                  <a:pt x="3162585" y="6317174"/>
                  <a:pt x="2822466" y="6492858"/>
                </a:cubicBezTo>
                <a:cubicBezTo>
                  <a:pt x="2805270" y="6502406"/>
                  <a:pt x="2780429" y="6496677"/>
                  <a:pt x="2770875" y="6477581"/>
                </a:cubicBezTo>
                <a:cubicBezTo>
                  <a:pt x="2768965" y="6471852"/>
                  <a:pt x="2767054" y="6466123"/>
                  <a:pt x="2767054" y="6458485"/>
                </a:cubicBezTo>
                <a:cubicBezTo>
                  <a:pt x="2767054" y="6445118"/>
                  <a:pt x="2774696" y="6431751"/>
                  <a:pt x="2788073" y="6426022"/>
                </a:cubicBezTo>
                <a:cubicBezTo>
                  <a:pt x="2788073" y="6426022"/>
                  <a:pt x="2788073" y="6426022"/>
                  <a:pt x="3126282" y="6248429"/>
                </a:cubicBezTo>
                <a:cubicBezTo>
                  <a:pt x="3135835" y="6243655"/>
                  <a:pt x="3146344" y="6242700"/>
                  <a:pt x="3155660" y="6245326"/>
                </a:cubicBezTo>
                <a:close/>
                <a:moveTo>
                  <a:pt x="9874931" y="6079814"/>
                </a:moveTo>
                <a:cubicBezTo>
                  <a:pt x="9884903" y="6083147"/>
                  <a:pt x="9893450" y="6090291"/>
                  <a:pt x="9898198" y="6100769"/>
                </a:cubicBezTo>
                <a:cubicBezTo>
                  <a:pt x="9907695" y="6119819"/>
                  <a:pt x="9900098" y="6144584"/>
                  <a:pt x="9879205" y="6154109"/>
                </a:cubicBezTo>
                <a:cubicBezTo>
                  <a:pt x="9879205" y="6154109"/>
                  <a:pt x="9879205" y="6154109"/>
                  <a:pt x="9541119" y="6319844"/>
                </a:cubicBezTo>
                <a:cubicBezTo>
                  <a:pt x="9522125" y="6329369"/>
                  <a:pt x="9497434" y="6319844"/>
                  <a:pt x="9487937" y="6300794"/>
                </a:cubicBezTo>
                <a:cubicBezTo>
                  <a:pt x="9484138" y="6295079"/>
                  <a:pt x="9482239" y="6287459"/>
                  <a:pt x="9482239" y="6281744"/>
                </a:cubicBezTo>
                <a:cubicBezTo>
                  <a:pt x="9482239" y="6266504"/>
                  <a:pt x="9491736" y="6253169"/>
                  <a:pt x="9506931" y="6245549"/>
                </a:cubicBezTo>
                <a:cubicBezTo>
                  <a:pt x="9506931" y="6245549"/>
                  <a:pt x="9506931" y="6245549"/>
                  <a:pt x="9843117" y="6081719"/>
                </a:cubicBezTo>
                <a:cubicBezTo>
                  <a:pt x="9853563" y="6076956"/>
                  <a:pt x="9864959" y="6076480"/>
                  <a:pt x="9874931" y="6079814"/>
                </a:cubicBezTo>
                <a:close/>
                <a:moveTo>
                  <a:pt x="10459016" y="6066240"/>
                </a:moveTo>
                <a:cubicBezTo>
                  <a:pt x="10469025" y="6069812"/>
                  <a:pt x="10477604" y="6076956"/>
                  <a:pt x="10482370" y="6086481"/>
                </a:cubicBezTo>
                <a:cubicBezTo>
                  <a:pt x="10491902" y="6107436"/>
                  <a:pt x="10484276" y="6132201"/>
                  <a:pt x="10463305" y="6141726"/>
                </a:cubicBezTo>
                <a:cubicBezTo>
                  <a:pt x="10463305" y="6141726"/>
                  <a:pt x="10463305" y="6141726"/>
                  <a:pt x="10123959" y="6305556"/>
                </a:cubicBezTo>
                <a:cubicBezTo>
                  <a:pt x="10102988" y="6315081"/>
                  <a:pt x="10080111" y="6307461"/>
                  <a:pt x="10068672" y="6286506"/>
                </a:cubicBezTo>
                <a:cubicBezTo>
                  <a:pt x="10066765" y="6280791"/>
                  <a:pt x="10064859" y="6275076"/>
                  <a:pt x="10064859" y="6269361"/>
                </a:cubicBezTo>
                <a:cubicBezTo>
                  <a:pt x="10064859" y="6254121"/>
                  <a:pt x="10074391" y="6238881"/>
                  <a:pt x="10087736" y="6231261"/>
                </a:cubicBezTo>
                <a:cubicBezTo>
                  <a:pt x="10087736" y="6231261"/>
                  <a:pt x="10087736" y="6231261"/>
                  <a:pt x="10427083" y="6067431"/>
                </a:cubicBezTo>
                <a:cubicBezTo>
                  <a:pt x="10437569" y="6062668"/>
                  <a:pt x="10449007" y="6062668"/>
                  <a:pt x="10459016" y="6066240"/>
                </a:cubicBezTo>
                <a:close/>
                <a:moveTo>
                  <a:pt x="9297823" y="6066240"/>
                </a:moveTo>
                <a:cubicBezTo>
                  <a:pt x="9307593" y="6069812"/>
                  <a:pt x="9316173" y="6076956"/>
                  <a:pt x="9321892" y="6086481"/>
                </a:cubicBezTo>
                <a:cubicBezTo>
                  <a:pt x="9331424" y="6107436"/>
                  <a:pt x="9321892" y="6132201"/>
                  <a:pt x="9302827" y="6141726"/>
                </a:cubicBezTo>
                <a:cubicBezTo>
                  <a:pt x="9302827" y="6141726"/>
                  <a:pt x="9302827" y="6141726"/>
                  <a:pt x="8963481" y="6305556"/>
                </a:cubicBezTo>
                <a:cubicBezTo>
                  <a:pt x="8942510" y="6315081"/>
                  <a:pt x="8917726" y="6307461"/>
                  <a:pt x="8908194" y="6286506"/>
                </a:cubicBezTo>
                <a:cubicBezTo>
                  <a:pt x="8906287" y="6280791"/>
                  <a:pt x="8904381" y="6275076"/>
                  <a:pt x="8904381" y="6269361"/>
                </a:cubicBezTo>
                <a:cubicBezTo>
                  <a:pt x="8904381" y="6254121"/>
                  <a:pt x="8912007" y="6238881"/>
                  <a:pt x="8927258" y="6231261"/>
                </a:cubicBezTo>
                <a:cubicBezTo>
                  <a:pt x="8927258" y="6231261"/>
                  <a:pt x="8927258" y="6231261"/>
                  <a:pt x="9266605" y="6067431"/>
                </a:cubicBezTo>
                <a:cubicBezTo>
                  <a:pt x="9277090" y="6062668"/>
                  <a:pt x="9288052" y="6062668"/>
                  <a:pt x="9297823" y="6066240"/>
                </a:cubicBezTo>
                <a:close/>
                <a:moveTo>
                  <a:pt x="11018858" y="6051844"/>
                </a:moveTo>
                <a:cubicBezTo>
                  <a:pt x="11034272" y="6050683"/>
                  <a:pt x="11049953" y="6059970"/>
                  <a:pt x="11057081" y="6075686"/>
                </a:cubicBezTo>
                <a:cubicBezTo>
                  <a:pt x="11066585" y="6094736"/>
                  <a:pt x="11058982" y="6119501"/>
                  <a:pt x="11038074" y="6129026"/>
                </a:cubicBezTo>
                <a:cubicBezTo>
                  <a:pt x="11038074" y="6129026"/>
                  <a:pt x="11038074" y="6129026"/>
                  <a:pt x="10699740" y="6292856"/>
                </a:cubicBezTo>
                <a:cubicBezTo>
                  <a:pt x="10680732" y="6302381"/>
                  <a:pt x="10656022" y="6294761"/>
                  <a:pt x="10646519" y="6273806"/>
                </a:cubicBezTo>
                <a:cubicBezTo>
                  <a:pt x="10642717" y="6268091"/>
                  <a:pt x="10642717" y="6262376"/>
                  <a:pt x="10642717" y="6256661"/>
                </a:cubicBezTo>
                <a:cubicBezTo>
                  <a:pt x="10642717" y="6241421"/>
                  <a:pt x="10650320" y="6226181"/>
                  <a:pt x="10665526" y="6220466"/>
                </a:cubicBezTo>
                <a:cubicBezTo>
                  <a:pt x="10665526" y="6220466"/>
                  <a:pt x="10665526" y="6220466"/>
                  <a:pt x="11003860" y="6056636"/>
                </a:cubicBezTo>
                <a:cubicBezTo>
                  <a:pt x="11008612" y="6053778"/>
                  <a:pt x="11013720" y="6052230"/>
                  <a:pt x="11018858" y="6051844"/>
                </a:cubicBezTo>
                <a:close/>
                <a:moveTo>
                  <a:pt x="8710944" y="6051843"/>
                </a:moveTo>
                <a:cubicBezTo>
                  <a:pt x="8726672" y="6050683"/>
                  <a:pt x="8741328" y="6059970"/>
                  <a:pt x="8748477" y="6075686"/>
                </a:cubicBezTo>
                <a:cubicBezTo>
                  <a:pt x="8759916" y="6094736"/>
                  <a:pt x="8750384" y="6119501"/>
                  <a:pt x="8731319" y="6129026"/>
                </a:cubicBezTo>
                <a:cubicBezTo>
                  <a:pt x="8731319" y="6129026"/>
                  <a:pt x="8731319" y="6129026"/>
                  <a:pt x="8391973" y="6292856"/>
                </a:cubicBezTo>
                <a:cubicBezTo>
                  <a:pt x="8371002" y="6302381"/>
                  <a:pt x="8346218" y="6294761"/>
                  <a:pt x="8336686" y="6273806"/>
                </a:cubicBezTo>
                <a:cubicBezTo>
                  <a:pt x="8334779" y="6268091"/>
                  <a:pt x="8332873" y="6262376"/>
                  <a:pt x="8332873" y="6256661"/>
                </a:cubicBezTo>
                <a:cubicBezTo>
                  <a:pt x="8332873" y="6241421"/>
                  <a:pt x="8340499" y="6226181"/>
                  <a:pt x="8355750" y="6220466"/>
                </a:cubicBezTo>
                <a:cubicBezTo>
                  <a:pt x="8355750" y="6220466"/>
                  <a:pt x="8355750" y="6220466"/>
                  <a:pt x="8695097" y="6056636"/>
                </a:cubicBezTo>
                <a:cubicBezTo>
                  <a:pt x="8700340" y="6053778"/>
                  <a:pt x="8705702" y="6052230"/>
                  <a:pt x="8710944" y="6051843"/>
                </a:cubicBezTo>
                <a:close/>
                <a:moveTo>
                  <a:pt x="11603954" y="6041714"/>
                </a:moveTo>
                <a:cubicBezTo>
                  <a:pt x="11613696" y="6045048"/>
                  <a:pt x="11622249" y="6052191"/>
                  <a:pt x="11627001" y="6062669"/>
                </a:cubicBezTo>
                <a:cubicBezTo>
                  <a:pt x="11636505" y="6083624"/>
                  <a:pt x="11628902" y="6106484"/>
                  <a:pt x="11607994" y="6117914"/>
                </a:cubicBezTo>
                <a:cubicBezTo>
                  <a:pt x="11607994" y="6117914"/>
                  <a:pt x="11607994" y="6117914"/>
                  <a:pt x="11271560" y="6281744"/>
                </a:cubicBezTo>
                <a:cubicBezTo>
                  <a:pt x="11250652" y="6291269"/>
                  <a:pt x="11225942" y="6281744"/>
                  <a:pt x="11216439" y="6262694"/>
                </a:cubicBezTo>
                <a:cubicBezTo>
                  <a:pt x="11212637" y="6256979"/>
                  <a:pt x="11212637" y="6251264"/>
                  <a:pt x="11212637" y="6243644"/>
                </a:cubicBezTo>
                <a:cubicBezTo>
                  <a:pt x="11212637" y="6228404"/>
                  <a:pt x="11220240" y="6215069"/>
                  <a:pt x="11235446" y="6207449"/>
                </a:cubicBezTo>
                <a:cubicBezTo>
                  <a:pt x="11235446" y="6207449"/>
                  <a:pt x="11235446" y="6207449"/>
                  <a:pt x="11573780" y="6043619"/>
                </a:cubicBezTo>
                <a:cubicBezTo>
                  <a:pt x="11583284" y="6038856"/>
                  <a:pt x="11594213" y="6038380"/>
                  <a:pt x="11603954" y="6041714"/>
                </a:cubicBezTo>
                <a:close/>
                <a:moveTo>
                  <a:pt x="8160285" y="6041714"/>
                </a:moveTo>
                <a:cubicBezTo>
                  <a:pt x="8170294" y="6045048"/>
                  <a:pt x="8178872" y="6052191"/>
                  <a:pt x="8183639" y="6062669"/>
                </a:cubicBezTo>
                <a:cubicBezTo>
                  <a:pt x="8193171" y="6083624"/>
                  <a:pt x="8183639" y="6106484"/>
                  <a:pt x="8164574" y="6117914"/>
                </a:cubicBezTo>
                <a:cubicBezTo>
                  <a:pt x="8164574" y="6117914"/>
                  <a:pt x="8164574" y="6117914"/>
                  <a:pt x="7825227" y="6281744"/>
                </a:cubicBezTo>
                <a:cubicBezTo>
                  <a:pt x="7804257" y="6291269"/>
                  <a:pt x="7781379" y="6281744"/>
                  <a:pt x="7769941" y="6262694"/>
                </a:cubicBezTo>
                <a:cubicBezTo>
                  <a:pt x="7768034" y="6256979"/>
                  <a:pt x="7766128" y="6251264"/>
                  <a:pt x="7766128" y="6243644"/>
                </a:cubicBezTo>
                <a:cubicBezTo>
                  <a:pt x="7766128" y="6228404"/>
                  <a:pt x="7775660" y="6215069"/>
                  <a:pt x="7789005" y="6207449"/>
                </a:cubicBezTo>
                <a:cubicBezTo>
                  <a:pt x="7789005" y="6207449"/>
                  <a:pt x="7789005" y="6207449"/>
                  <a:pt x="8128352" y="6043619"/>
                </a:cubicBezTo>
                <a:cubicBezTo>
                  <a:pt x="8138837" y="6038856"/>
                  <a:pt x="8150276" y="6038380"/>
                  <a:pt x="8160285" y="6041714"/>
                </a:cubicBezTo>
                <a:close/>
                <a:moveTo>
                  <a:pt x="12135947" y="6029331"/>
                </a:moveTo>
                <a:cubicBezTo>
                  <a:pt x="12137848" y="6029331"/>
                  <a:pt x="12139750" y="6029331"/>
                  <a:pt x="12139750" y="6029331"/>
                </a:cubicBezTo>
                <a:cubicBezTo>
                  <a:pt x="12139750" y="6029331"/>
                  <a:pt x="12139750" y="6029331"/>
                  <a:pt x="12139750" y="6118866"/>
                </a:cubicBezTo>
                <a:cubicBezTo>
                  <a:pt x="12139750" y="6118866"/>
                  <a:pt x="12139750" y="6118866"/>
                  <a:pt x="11833573" y="6267456"/>
                </a:cubicBezTo>
                <a:cubicBezTo>
                  <a:pt x="11814556" y="6276981"/>
                  <a:pt x="11789834" y="6269361"/>
                  <a:pt x="11780325" y="6248406"/>
                </a:cubicBezTo>
                <a:cubicBezTo>
                  <a:pt x="11776522" y="6242691"/>
                  <a:pt x="11774620" y="6236976"/>
                  <a:pt x="11774620" y="6231261"/>
                </a:cubicBezTo>
                <a:cubicBezTo>
                  <a:pt x="11774620" y="6216021"/>
                  <a:pt x="11784129" y="6200781"/>
                  <a:pt x="11797441" y="6195066"/>
                </a:cubicBezTo>
                <a:close/>
                <a:moveTo>
                  <a:pt x="7599809" y="6028140"/>
                </a:moveTo>
                <a:cubicBezTo>
                  <a:pt x="7609579" y="6031712"/>
                  <a:pt x="7618158" y="6038856"/>
                  <a:pt x="7622924" y="6048381"/>
                </a:cubicBezTo>
                <a:cubicBezTo>
                  <a:pt x="7634363" y="6069336"/>
                  <a:pt x="7624831" y="6094101"/>
                  <a:pt x="7603860" y="6103626"/>
                </a:cubicBezTo>
                <a:cubicBezTo>
                  <a:pt x="7603860" y="6103626"/>
                  <a:pt x="7603860" y="6103626"/>
                  <a:pt x="7266419" y="6267456"/>
                </a:cubicBezTo>
                <a:cubicBezTo>
                  <a:pt x="7245449" y="6276981"/>
                  <a:pt x="7220665" y="6269361"/>
                  <a:pt x="7211133" y="6248406"/>
                </a:cubicBezTo>
                <a:cubicBezTo>
                  <a:pt x="7209226" y="6242691"/>
                  <a:pt x="7207320" y="6236976"/>
                  <a:pt x="7207320" y="6231261"/>
                </a:cubicBezTo>
                <a:cubicBezTo>
                  <a:pt x="7207320" y="6216021"/>
                  <a:pt x="7214946" y="6200781"/>
                  <a:pt x="7230197" y="6195066"/>
                </a:cubicBezTo>
                <a:cubicBezTo>
                  <a:pt x="7230197" y="6195066"/>
                  <a:pt x="7230197" y="6195066"/>
                  <a:pt x="7569544" y="6029331"/>
                </a:cubicBezTo>
                <a:cubicBezTo>
                  <a:pt x="7579076" y="6024568"/>
                  <a:pt x="7590038" y="6024568"/>
                  <a:pt x="7599809" y="6028140"/>
                </a:cubicBezTo>
                <a:close/>
                <a:moveTo>
                  <a:pt x="7047351" y="6016314"/>
                </a:moveTo>
                <a:cubicBezTo>
                  <a:pt x="7057121" y="6019648"/>
                  <a:pt x="7065700" y="6026791"/>
                  <a:pt x="7070466" y="6037269"/>
                </a:cubicBezTo>
                <a:cubicBezTo>
                  <a:pt x="7081905" y="6056319"/>
                  <a:pt x="7072373" y="6081084"/>
                  <a:pt x="7051402" y="6090609"/>
                </a:cubicBezTo>
                <a:cubicBezTo>
                  <a:pt x="7051402" y="6090609"/>
                  <a:pt x="7051402" y="6090609"/>
                  <a:pt x="6713961" y="6254439"/>
                </a:cubicBezTo>
                <a:cubicBezTo>
                  <a:pt x="6692991" y="6265869"/>
                  <a:pt x="6668207" y="6256344"/>
                  <a:pt x="6658675" y="6235389"/>
                </a:cubicBezTo>
                <a:cubicBezTo>
                  <a:pt x="6656768" y="6229674"/>
                  <a:pt x="6654862" y="6223959"/>
                  <a:pt x="6654862" y="6218244"/>
                </a:cubicBezTo>
                <a:cubicBezTo>
                  <a:pt x="6654862" y="6203004"/>
                  <a:pt x="6662488" y="6189669"/>
                  <a:pt x="6677739" y="6182049"/>
                </a:cubicBezTo>
                <a:cubicBezTo>
                  <a:pt x="6677739" y="6182049"/>
                  <a:pt x="6677739" y="6182049"/>
                  <a:pt x="7017086" y="6018219"/>
                </a:cubicBezTo>
                <a:cubicBezTo>
                  <a:pt x="7026618" y="6013456"/>
                  <a:pt x="7037580" y="6012980"/>
                  <a:pt x="7047351" y="6016314"/>
                </a:cubicBezTo>
                <a:close/>
                <a:moveTo>
                  <a:pt x="6502912" y="6003613"/>
                </a:moveTo>
                <a:cubicBezTo>
                  <a:pt x="6512921" y="6006947"/>
                  <a:pt x="6521499" y="6014090"/>
                  <a:pt x="6526266" y="6024568"/>
                </a:cubicBezTo>
                <a:cubicBezTo>
                  <a:pt x="6535798" y="6045523"/>
                  <a:pt x="6526266" y="6070288"/>
                  <a:pt x="6507201" y="6079813"/>
                </a:cubicBezTo>
                <a:cubicBezTo>
                  <a:pt x="6507201" y="6079813"/>
                  <a:pt x="6507201" y="6079813"/>
                  <a:pt x="6167854" y="6243643"/>
                </a:cubicBezTo>
                <a:cubicBezTo>
                  <a:pt x="6146884" y="6253168"/>
                  <a:pt x="6124006" y="6243643"/>
                  <a:pt x="6112568" y="6224593"/>
                </a:cubicBezTo>
                <a:cubicBezTo>
                  <a:pt x="6110661" y="6218878"/>
                  <a:pt x="6108755" y="6213163"/>
                  <a:pt x="6108755" y="6207448"/>
                </a:cubicBezTo>
                <a:cubicBezTo>
                  <a:pt x="6108755" y="6192208"/>
                  <a:pt x="6118287" y="6176968"/>
                  <a:pt x="6131632" y="6169348"/>
                </a:cubicBezTo>
                <a:cubicBezTo>
                  <a:pt x="6131632" y="6169348"/>
                  <a:pt x="6131632" y="6169348"/>
                  <a:pt x="6470979" y="6005518"/>
                </a:cubicBezTo>
                <a:cubicBezTo>
                  <a:pt x="6481464" y="6000755"/>
                  <a:pt x="6492903" y="6000279"/>
                  <a:pt x="6502912" y="6003613"/>
                </a:cubicBezTo>
                <a:close/>
                <a:moveTo>
                  <a:pt x="5940750" y="5988314"/>
                </a:moveTo>
                <a:cubicBezTo>
                  <a:pt x="5956568" y="5987064"/>
                  <a:pt x="5971580" y="5995993"/>
                  <a:pt x="5980159" y="6010281"/>
                </a:cubicBezTo>
                <a:cubicBezTo>
                  <a:pt x="5989691" y="6031236"/>
                  <a:pt x="5980159" y="6056001"/>
                  <a:pt x="5961095" y="6065526"/>
                </a:cubicBezTo>
                <a:cubicBezTo>
                  <a:pt x="5961095" y="6065526"/>
                  <a:pt x="5961095" y="6065526"/>
                  <a:pt x="5621756" y="6229356"/>
                </a:cubicBezTo>
                <a:cubicBezTo>
                  <a:pt x="5600786" y="6238881"/>
                  <a:pt x="5576003" y="6231261"/>
                  <a:pt x="5566471" y="6210306"/>
                </a:cubicBezTo>
                <a:cubicBezTo>
                  <a:pt x="5564565" y="6204591"/>
                  <a:pt x="5562659" y="6198876"/>
                  <a:pt x="5562659" y="6193161"/>
                </a:cubicBezTo>
                <a:cubicBezTo>
                  <a:pt x="5562659" y="6177921"/>
                  <a:pt x="5570284" y="6162681"/>
                  <a:pt x="5585535" y="6156966"/>
                </a:cubicBezTo>
                <a:cubicBezTo>
                  <a:pt x="5585535" y="6156966"/>
                  <a:pt x="5585535" y="6156966"/>
                  <a:pt x="5924873" y="5993136"/>
                </a:cubicBezTo>
                <a:cubicBezTo>
                  <a:pt x="5930116" y="5990278"/>
                  <a:pt x="5935479" y="5988730"/>
                  <a:pt x="5940750" y="5988314"/>
                </a:cubicBezTo>
                <a:close/>
                <a:moveTo>
                  <a:pt x="380904" y="5988314"/>
                </a:moveTo>
                <a:cubicBezTo>
                  <a:pt x="396318" y="5987064"/>
                  <a:pt x="411999" y="5995993"/>
                  <a:pt x="419127" y="6010281"/>
                </a:cubicBezTo>
                <a:cubicBezTo>
                  <a:pt x="428631" y="6031236"/>
                  <a:pt x="421028" y="6056001"/>
                  <a:pt x="400119" y="6065526"/>
                </a:cubicBezTo>
                <a:cubicBezTo>
                  <a:pt x="400119" y="6065526"/>
                  <a:pt x="400119" y="6065526"/>
                  <a:pt x="63687" y="6229356"/>
                </a:cubicBezTo>
                <a:cubicBezTo>
                  <a:pt x="42779" y="6238881"/>
                  <a:pt x="18069" y="6231261"/>
                  <a:pt x="8565" y="6210306"/>
                </a:cubicBezTo>
                <a:cubicBezTo>
                  <a:pt x="6664" y="6204591"/>
                  <a:pt x="4764" y="6198876"/>
                  <a:pt x="4764" y="6193161"/>
                </a:cubicBezTo>
                <a:cubicBezTo>
                  <a:pt x="4764" y="6177921"/>
                  <a:pt x="12367" y="6162681"/>
                  <a:pt x="27573" y="6156966"/>
                </a:cubicBezTo>
                <a:cubicBezTo>
                  <a:pt x="27573" y="6156966"/>
                  <a:pt x="27573" y="6156966"/>
                  <a:pt x="365906" y="5993136"/>
                </a:cubicBezTo>
                <a:cubicBezTo>
                  <a:pt x="370658" y="5990278"/>
                  <a:pt x="375766" y="5988730"/>
                  <a:pt x="380904" y="5988314"/>
                </a:cubicBezTo>
                <a:close/>
                <a:moveTo>
                  <a:pt x="5406285" y="5978213"/>
                </a:moveTo>
                <a:cubicBezTo>
                  <a:pt x="5416026" y="5981547"/>
                  <a:pt x="5424578" y="5988690"/>
                  <a:pt x="5429330" y="5999168"/>
                </a:cubicBezTo>
                <a:cubicBezTo>
                  <a:pt x="5438834" y="6018218"/>
                  <a:pt x="5431231" y="6042983"/>
                  <a:pt x="5410323" y="6052508"/>
                </a:cubicBezTo>
                <a:cubicBezTo>
                  <a:pt x="5410323" y="6052508"/>
                  <a:pt x="5410323" y="6052508"/>
                  <a:pt x="5071987" y="6218243"/>
                </a:cubicBezTo>
                <a:cubicBezTo>
                  <a:pt x="5052982" y="6227768"/>
                  <a:pt x="5028276" y="6218243"/>
                  <a:pt x="5018773" y="6199193"/>
                </a:cubicBezTo>
                <a:cubicBezTo>
                  <a:pt x="5014972" y="6193478"/>
                  <a:pt x="5014972" y="6185858"/>
                  <a:pt x="5014972" y="6180143"/>
                </a:cubicBezTo>
                <a:cubicBezTo>
                  <a:pt x="5014972" y="6164903"/>
                  <a:pt x="5022575" y="6151568"/>
                  <a:pt x="5037779" y="6143948"/>
                </a:cubicBezTo>
                <a:cubicBezTo>
                  <a:pt x="5037779" y="6143948"/>
                  <a:pt x="5037779" y="6143948"/>
                  <a:pt x="5376110" y="5980118"/>
                </a:cubicBezTo>
                <a:cubicBezTo>
                  <a:pt x="5385614" y="5975355"/>
                  <a:pt x="5396543" y="5974879"/>
                  <a:pt x="5406285" y="5978213"/>
                </a:cubicBezTo>
                <a:close/>
                <a:moveTo>
                  <a:pt x="940179" y="5978213"/>
                </a:moveTo>
                <a:cubicBezTo>
                  <a:pt x="949950" y="5981546"/>
                  <a:pt x="958529" y="5988690"/>
                  <a:pt x="963295" y="5999168"/>
                </a:cubicBezTo>
                <a:cubicBezTo>
                  <a:pt x="974733" y="6018218"/>
                  <a:pt x="965201" y="6042983"/>
                  <a:pt x="944230" y="6052508"/>
                </a:cubicBezTo>
                <a:cubicBezTo>
                  <a:pt x="944230" y="6052508"/>
                  <a:pt x="944230" y="6052508"/>
                  <a:pt x="606791" y="6218243"/>
                </a:cubicBezTo>
                <a:cubicBezTo>
                  <a:pt x="585820" y="6227768"/>
                  <a:pt x="561036" y="6218243"/>
                  <a:pt x="551504" y="6199193"/>
                </a:cubicBezTo>
                <a:cubicBezTo>
                  <a:pt x="549598" y="6193478"/>
                  <a:pt x="547691" y="6185858"/>
                  <a:pt x="547691" y="6180143"/>
                </a:cubicBezTo>
                <a:cubicBezTo>
                  <a:pt x="547691" y="6164903"/>
                  <a:pt x="555317" y="6151568"/>
                  <a:pt x="570568" y="6143948"/>
                </a:cubicBezTo>
                <a:cubicBezTo>
                  <a:pt x="570568" y="6143948"/>
                  <a:pt x="570568" y="6143948"/>
                  <a:pt x="909915" y="5980118"/>
                </a:cubicBezTo>
                <a:cubicBezTo>
                  <a:pt x="919447" y="5975355"/>
                  <a:pt x="930409" y="5974879"/>
                  <a:pt x="940179" y="5978213"/>
                </a:cubicBezTo>
                <a:close/>
                <a:moveTo>
                  <a:pt x="4852107" y="5966227"/>
                </a:moveTo>
                <a:cubicBezTo>
                  <a:pt x="4861889" y="5969799"/>
                  <a:pt x="4870476" y="5976943"/>
                  <a:pt x="4875244" y="5986468"/>
                </a:cubicBezTo>
                <a:cubicBezTo>
                  <a:pt x="4884786" y="6007423"/>
                  <a:pt x="4877153" y="6032188"/>
                  <a:pt x="4856165" y="6041713"/>
                </a:cubicBezTo>
                <a:cubicBezTo>
                  <a:pt x="4856165" y="6041713"/>
                  <a:pt x="4856165" y="6041713"/>
                  <a:pt x="4516568" y="6205543"/>
                </a:cubicBezTo>
                <a:cubicBezTo>
                  <a:pt x="4497490" y="6215068"/>
                  <a:pt x="4472687" y="6207448"/>
                  <a:pt x="4463148" y="6186493"/>
                </a:cubicBezTo>
                <a:cubicBezTo>
                  <a:pt x="4459331" y="6180778"/>
                  <a:pt x="4459331" y="6175063"/>
                  <a:pt x="4459331" y="6169348"/>
                </a:cubicBezTo>
                <a:cubicBezTo>
                  <a:pt x="4459331" y="6154108"/>
                  <a:pt x="4466963" y="6138868"/>
                  <a:pt x="4482227" y="6131248"/>
                </a:cubicBezTo>
                <a:cubicBezTo>
                  <a:pt x="4482227" y="6131248"/>
                  <a:pt x="4482227" y="6131248"/>
                  <a:pt x="4821819" y="5967418"/>
                </a:cubicBezTo>
                <a:cubicBezTo>
                  <a:pt x="4831358" y="5962655"/>
                  <a:pt x="4842329" y="5962655"/>
                  <a:pt x="4852107" y="5966227"/>
                </a:cubicBezTo>
                <a:close/>
                <a:moveTo>
                  <a:pt x="1487950" y="5966227"/>
                </a:moveTo>
                <a:cubicBezTo>
                  <a:pt x="1497958" y="5969799"/>
                  <a:pt x="1506537" y="5976943"/>
                  <a:pt x="1511303" y="5986468"/>
                </a:cubicBezTo>
                <a:cubicBezTo>
                  <a:pt x="1520836" y="6007423"/>
                  <a:pt x="1513210" y="6032188"/>
                  <a:pt x="1492239" y="6041713"/>
                </a:cubicBezTo>
                <a:cubicBezTo>
                  <a:pt x="1492239" y="6041713"/>
                  <a:pt x="1492239" y="6041713"/>
                  <a:pt x="1152893" y="6205543"/>
                </a:cubicBezTo>
                <a:cubicBezTo>
                  <a:pt x="1131922" y="6215068"/>
                  <a:pt x="1109045" y="6207448"/>
                  <a:pt x="1097606" y="6186493"/>
                </a:cubicBezTo>
                <a:cubicBezTo>
                  <a:pt x="1095700" y="6180778"/>
                  <a:pt x="1093793" y="6175063"/>
                  <a:pt x="1093793" y="6169348"/>
                </a:cubicBezTo>
                <a:cubicBezTo>
                  <a:pt x="1093793" y="6154108"/>
                  <a:pt x="1103326" y="6138868"/>
                  <a:pt x="1116671" y="6131248"/>
                </a:cubicBezTo>
                <a:cubicBezTo>
                  <a:pt x="1116671" y="6131248"/>
                  <a:pt x="1116671" y="6131248"/>
                  <a:pt x="1456017" y="5967418"/>
                </a:cubicBezTo>
                <a:cubicBezTo>
                  <a:pt x="1466502" y="5962655"/>
                  <a:pt x="1477941" y="5962655"/>
                  <a:pt x="1487950" y="5966227"/>
                </a:cubicBezTo>
                <a:close/>
                <a:moveTo>
                  <a:pt x="4293424" y="5952822"/>
                </a:moveTo>
                <a:cubicBezTo>
                  <a:pt x="4303166" y="5956160"/>
                  <a:pt x="4311720" y="5963313"/>
                  <a:pt x="4316472" y="5973803"/>
                </a:cubicBezTo>
                <a:cubicBezTo>
                  <a:pt x="4325976" y="5992877"/>
                  <a:pt x="4318373" y="6017673"/>
                  <a:pt x="4297464" y="6027210"/>
                </a:cubicBezTo>
                <a:cubicBezTo>
                  <a:pt x="4297464" y="6027210"/>
                  <a:pt x="4297464" y="6027210"/>
                  <a:pt x="3959151" y="6191244"/>
                </a:cubicBezTo>
                <a:cubicBezTo>
                  <a:pt x="3940144" y="6200781"/>
                  <a:pt x="3915433" y="6193151"/>
                  <a:pt x="3905929" y="6172170"/>
                </a:cubicBezTo>
                <a:cubicBezTo>
                  <a:pt x="3902129" y="6166448"/>
                  <a:pt x="3902129" y="6160726"/>
                  <a:pt x="3902129" y="6155004"/>
                </a:cubicBezTo>
                <a:cubicBezTo>
                  <a:pt x="3902129" y="6139745"/>
                  <a:pt x="3909731" y="6124486"/>
                  <a:pt x="3924936" y="6118764"/>
                </a:cubicBezTo>
                <a:cubicBezTo>
                  <a:pt x="3924936" y="6118764"/>
                  <a:pt x="3924936" y="6118764"/>
                  <a:pt x="4263250" y="5954730"/>
                </a:cubicBezTo>
                <a:cubicBezTo>
                  <a:pt x="4272755" y="5949961"/>
                  <a:pt x="4283683" y="5949484"/>
                  <a:pt x="4293424" y="5952822"/>
                </a:cubicBezTo>
                <a:close/>
                <a:moveTo>
                  <a:pt x="2039813" y="5952822"/>
                </a:moveTo>
                <a:cubicBezTo>
                  <a:pt x="2049553" y="5956160"/>
                  <a:pt x="2058100" y="5963313"/>
                  <a:pt x="2063798" y="5973803"/>
                </a:cubicBezTo>
                <a:cubicBezTo>
                  <a:pt x="2073294" y="5992877"/>
                  <a:pt x="2063798" y="6017673"/>
                  <a:pt x="2044799" y="6027210"/>
                </a:cubicBezTo>
                <a:cubicBezTo>
                  <a:pt x="2044799" y="6027210"/>
                  <a:pt x="2044799" y="6027210"/>
                  <a:pt x="1706714" y="6191244"/>
                </a:cubicBezTo>
                <a:cubicBezTo>
                  <a:pt x="1685821" y="6200781"/>
                  <a:pt x="1661129" y="6193151"/>
                  <a:pt x="1651633" y="6172170"/>
                </a:cubicBezTo>
                <a:cubicBezTo>
                  <a:pt x="1649733" y="6166448"/>
                  <a:pt x="1647834" y="6160726"/>
                  <a:pt x="1647834" y="6155004"/>
                </a:cubicBezTo>
                <a:cubicBezTo>
                  <a:pt x="1647834" y="6139745"/>
                  <a:pt x="1655431" y="6124486"/>
                  <a:pt x="1670626" y="6118764"/>
                </a:cubicBezTo>
                <a:cubicBezTo>
                  <a:pt x="1670626" y="6118764"/>
                  <a:pt x="1670626" y="6118764"/>
                  <a:pt x="2008712" y="5954730"/>
                </a:cubicBezTo>
                <a:cubicBezTo>
                  <a:pt x="2019158" y="5949961"/>
                  <a:pt x="2030079" y="5949484"/>
                  <a:pt x="2039813" y="5952822"/>
                </a:cubicBezTo>
                <a:close/>
                <a:moveTo>
                  <a:pt x="3730406" y="5940113"/>
                </a:moveTo>
                <a:cubicBezTo>
                  <a:pt x="3740180" y="5943447"/>
                  <a:pt x="3748760" y="5950590"/>
                  <a:pt x="3754477" y="5961068"/>
                </a:cubicBezTo>
                <a:cubicBezTo>
                  <a:pt x="3764010" y="5982023"/>
                  <a:pt x="3754477" y="6004883"/>
                  <a:pt x="3735413" y="6016313"/>
                </a:cubicBezTo>
                <a:cubicBezTo>
                  <a:pt x="3735413" y="6016313"/>
                  <a:pt x="3735413" y="6016313"/>
                  <a:pt x="3396079" y="6180143"/>
                </a:cubicBezTo>
                <a:cubicBezTo>
                  <a:pt x="3375108" y="6189668"/>
                  <a:pt x="3350324" y="6180143"/>
                  <a:pt x="3340792" y="6161093"/>
                </a:cubicBezTo>
                <a:cubicBezTo>
                  <a:pt x="3338885" y="6155378"/>
                  <a:pt x="3336978" y="6149663"/>
                  <a:pt x="3336978" y="6142043"/>
                </a:cubicBezTo>
                <a:cubicBezTo>
                  <a:pt x="3336978" y="6126803"/>
                  <a:pt x="3346510" y="6113468"/>
                  <a:pt x="3359858" y="6105848"/>
                </a:cubicBezTo>
                <a:cubicBezTo>
                  <a:pt x="3359858" y="6105848"/>
                  <a:pt x="3359858" y="6105848"/>
                  <a:pt x="3699190" y="5942018"/>
                </a:cubicBezTo>
                <a:cubicBezTo>
                  <a:pt x="3709675" y="5937255"/>
                  <a:pt x="3720636" y="5936779"/>
                  <a:pt x="3730406" y="5940113"/>
                </a:cubicBezTo>
                <a:close/>
                <a:moveTo>
                  <a:pt x="2596908" y="5940113"/>
                </a:moveTo>
                <a:cubicBezTo>
                  <a:pt x="2606678" y="5943447"/>
                  <a:pt x="2615256" y="5950590"/>
                  <a:pt x="2620975" y="5961068"/>
                </a:cubicBezTo>
                <a:cubicBezTo>
                  <a:pt x="2630507" y="5982023"/>
                  <a:pt x="2620975" y="6004883"/>
                  <a:pt x="2601911" y="6016313"/>
                </a:cubicBezTo>
                <a:cubicBezTo>
                  <a:pt x="2601911" y="6016313"/>
                  <a:pt x="2601911" y="6016313"/>
                  <a:pt x="2262565" y="6180143"/>
                </a:cubicBezTo>
                <a:cubicBezTo>
                  <a:pt x="2241595" y="6189668"/>
                  <a:pt x="2216811" y="6180143"/>
                  <a:pt x="2207278" y="6161093"/>
                </a:cubicBezTo>
                <a:cubicBezTo>
                  <a:pt x="2205372" y="6155378"/>
                  <a:pt x="2203466" y="6149663"/>
                  <a:pt x="2203466" y="6142043"/>
                </a:cubicBezTo>
                <a:cubicBezTo>
                  <a:pt x="2203466" y="6126803"/>
                  <a:pt x="2211092" y="6113468"/>
                  <a:pt x="2226343" y="6105848"/>
                </a:cubicBezTo>
                <a:cubicBezTo>
                  <a:pt x="2226343" y="6105848"/>
                  <a:pt x="2226343" y="6105848"/>
                  <a:pt x="2565688" y="5942018"/>
                </a:cubicBezTo>
                <a:cubicBezTo>
                  <a:pt x="2576174" y="5937255"/>
                  <a:pt x="2587136" y="5936779"/>
                  <a:pt x="2596908" y="5940113"/>
                </a:cubicBezTo>
                <a:close/>
                <a:moveTo>
                  <a:pt x="3158037" y="5928127"/>
                </a:moveTo>
                <a:cubicBezTo>
                  <a:pt x="3168045" y="5931699"/>
                  <a:pt x="3176626" y="5938843"/>
                  <a:pt x="3181391" y="5948368"/>
                </a:cubicBezTo>
                <a:cubicBezTo>
                  <a:pt x="3190925" y="5969323"/>
                  <a:pt x="3183297" y="5994088"/>
                  <a:pt x="3162327" y="6003613"/>
                </a:cubicBezTo>
                <a:cubicBezTo>
                  <a:pt x="3162327" y="6003613"/>
                  <a:pt x="3162327" y="6003613"/>
                  <a:pt x="2822979" y="6167443"/>
                </a:cubicBezTo>
                <a:cubicBezTo>
                  <a:pt x="2803914" y="6176968"/>
                  <a:pt x="2779130" y="6169348"/>
                  <a:pt x="2769600" y="6148393"/>
                </a:cubicBezTo>
                <a:cubicBezTo>
                  <a:pt x="2765787" y="6142678"/>
                  <a:pt x="2763879" y="6136963"/>
                  <a:pt x="2763879" y="6131248"/>
                </a:cubicBezTo>
                <a:cubicBezTo>
                  <a:pt x="2763879" y="6116008"/>
                  <a:pt x="2773411" y="6100768"/>
                  <a:pt x="2788663" y="6093148"/>
                </a:cubicBezTo>
                <a:cubicBezTo>
                  <a:pt x="2788663" y="6093148"/>
                  <a:pt x="2788663" y="6093148"/>
                  <a:pt x="3126104" y="5929318"/>
                </a:cubicBezTo>
                <a:cubicBezTo>
                  <a:pt x="3136589" y="5924555"/>
                  <a:pt x="3148027" y="5924555"/>
                  <a:pt x="3158037" y="5928127"/>
                </a:cubicBezTo>
                <a:close/>
                <a:moveTo>
                  <a:pt x="9872849" y="5750963"/>
                </a:moveTo>
                <a:cubicBezTo>
                  <a:pt x="9882136" y="5754058"/>
                  <a:pt x="9890232" y="5760726"/>
                  <a:pt x="9894995" y="5770251"/>
                </a:cubicBezTo>
                <a:cubicBezTo>
                  <a:pt x="9904520" y="5787396"/>
                  <a:pt x="9898805" y="5810256"/>
                  <a:pt x="9879755" y="5821686"/>
                </a:cubicBezTo>
                <a:cubicBezTo>
                  <a:pt x="9879755" y="5821686"/>
                  <a:pt x="9879755" y="5821686"/>
                  <a:pt x="9542565" y="6000756"/>
                </a:cubicBezTo>
                <a:cubicBezTo>
                  <a:pt x="9523515" y="6010281"/>
                  <a:pt x="9500654" y="6002661"/>
                  <a:pt x="9489224" y="5983611"/>
                </a:cubicBezTo>
                <a:cubicBezTo>
                  <a:pt x="9487319" y="5977896"/>
                  <a:pt x="9485414" y="5972181"/>
                  <a:pt x="9485414" y="5966466"/>
                </a:cubicBezTo>
                <a:cubicBezTo>
                  <a:pt x="9485414" y="5953131"/>
                  <a:pt x="9493034" y="5939796"/>
                  <a:pt x="9506369" y="5932176"/>
                </a:cubicBezTo>
                <a:cubicBezTo>
                  <a:pt x="9506369" y="5932176"/>
                  <a:pt x="9506369" y="5932176"/>
                  <a:pt x="9843559" y="5753106"/>
                </a:cubicBezTo>
                <a:cubicBezTo>
                  <a:pt x="9853084" y="5748343"/>
                  <a:pt x="9863562" y="5747867"/>
                  <a:pt x="9872849" y="5750963"/>
                </a:cubicBezTo>
                <a:close/>
                <a:moveTo>
                  <a:pt x="10455469" y="5739858"/>
                </a:moveTo>
                <a:cubicBezTo>
                  <a:pt x="10464756" y="5742958"/>
                  <a:pt x="10472852" y="5749633"/>
                  <a:pt x="10477615" y="5759170"/>
                </a:cubicBezTo>
                <a:cubicBezTo>
                  <a:pt x="10487140" y="5776335"/>
                  <a:pt x="10481425" y="5801130"/>
                  <a:pt x="10462375" y="5810667"/>
                </a:cubicBezTo>
                <a:cubicBezTo>
                  <a:pt x="10462375" y="5810667"/>
                  <a:pt x="10462375" y="5810667"/>
                  <a:pt x="10123280" y="5988044"/>
                </a:cubicBezTo>
                <a:cubicBezTo>
                  <a:pt x="10104230" y="5997581"/>
                  <a:pt x="10081369" y="5989952"/>
                  <a:pt x="10071844" y="5970879"/>
                </a:cubicBezTo>
                <a:cubicBezTo>
                  <a:pt x="10068034" y="5965157"/>
                  <a:pt x="10068034" y="5959435"/>
                  <a:pt x="10068034" y="5953713"/>
                </a:cubicBezTo>
                <a:cubicBezTo>
                  <a:pt x="10068034" y="5938455"/>
                  <a:pt x="10075654" y="5925104"/>
                  <a:pt x="10088989" y="5919382"/>
                </a:cubicBezTo>
                <a:cubicBezTo>
                  <a:pt x="10088989" y="5919382"/>
                  <a:pt x="10088989" y="5919382"/>
                  <a:pt x="10426179" y="5742004"/>
                </a:cubicBezTo>
                <a:cubicBezTo>
                  <a:pt x="10435704" y="5737236"/>
                  <a:pt x="10446182" y="5736759"/>
                  <a:pt x="10455469" y="5739858"/>
                </a:cubicBezTo>
                <a:close/>
                <a:moveTo>
                  <a:pt x="9295014" y="5739858"/>
                </a:moveTo>
                <a:cubicBezTo>
                  <a:pt x="9304294" y="5742958"/>
                  <a:pt x="9312384" y="5749633"/>
                  <a:pt x="9317143" y="5759170"/>
                </a:cubicBezTo>
                <a:cubicBezTo>
                  <a:pt x="9326661" y="5776335"/>
                  <a:pt x="9319047" y="5801130"/>
                  <a:pt x="9300011" y="5810667"/>
                </a:cubicBezTo>
                <a:cubicBezTo>
                  <a:pt x="9300011" y="5810667"/>
                  <a:pt x="9300011" y="5810667"/>
                  <a:pt x="8963076" y="5988044"/>
                </a:cubicBezTo>
                <a:cubicBezTo>
                  <a:pt x="8944040" y="5997581"/>
                  <a:pt x="8921197" y="5989952"/>
                  <a:pt x="8911679" y="5970879"/>
                </a:cubicBezTo>
                <a:cubicBezTo>
                  <a:pt x="8907872" y="5965157"/>
                  <a:pt x="8905968" y="5959435"/>
                  <a:pt x="8905968" y="5953713"/>
                </a:cubicBezTo>
                <a:cubicBezTo>
                  <a:pt x="8905968" y="5938455"/>
                  <a:pt x="8913582" y="5925104"/>
                  <a:pt x="8926907" y="5919382"/>
                </a:cubicBezTo>
                <a:cubicBezTo>
                  <a:pt x="8926907" y="5919382"/>
                  <a:pt x="8926907" y="5919382"/>
                  <a:pt x="9265746" y="5742004"/>
                </a:cubicBezTo>
                <a:cubicBezTo>
                  <a:pt x="9275264" y="5737236"/>
                  <a:pt x="9285734" y="5736759"/>
                  <a:pt x="9295014" y="5739858"/>
                </a:cubicBezTo>
                <a:close/>
                <a:moveTo>
                  <a:pt x="11032399" y="5727762"/>
                </a:moveTo>
                <a:cubicBezTo>
                  <a:pt x="11042155" y="5730372"/>
                  <a:pt x="11050721" y="5736541"/>
                  <a:pt x="11055480" y="5746031"/>
                </a:cubicBezTo>
                <a:cubicBezTo>
                  <a:pt x="11064998" y="5766910"/>
                  <a:pt x="11057384" y="5789687"/>
                  <a:pt x="11038348" y="5799178"/>
                </a:cubicBezTo>
                <a:cubicBezTo>
                  <a:pt x="11038348" y="5799178"/>
                  <a:pt x="11038348" y="5799178"/>
                  <a:pt x="10701413" y="5973803"/>
                </a:cubicBezTo>
                <a:cubicBezTo>
                  <a:pt x="10682377" y="5983294"/>
                  <a:pt x="10657630" y="5975701"/>
                  <a:pt x="10648112" y="5956720"/>
                </a:cubicBezTo>
                <a:cubicBezTo>
                  <a:pt x="10646209" y="5951026"/>
                  <a:pt x="10644305" y="5945332"/>
                  <a:pt x="10644305" y="5937739"/>
                </a:cubicBezTo>
                <a:cubicBezTo>
                  <a:pt x="10644305" y="5924453"/>
                  <a:pt x="10651919" y="5911166"/>
                  <a:pt x="10665244" y="5903573"/>
                </a:cubicBezTo>
                <a:cubicBezTo>
                  <a:pt x="10665244" y="5903573"/>
                  <a:pt x="10665244" y="5903573"/>
                  <a:pt x="11002180" y="5730846"/>
                </a:cubicBezTo>
                <a:cubicBezTo>
                  <a:pt x="11011697" y="5726101"/>
                  <a:pt x="11022643" y="5725152"/>
                  <a:pt x="11032399" y="5727762"/>
                </a:cubicBezTo>
                <a:close/>
                <a:moveTo>
                  <a:pt x="8723506" y="5727762"/>
                </a:moveTo>
                <a:cubicBezTo>
                  <a:pt x="8732786" y="5730372"/>
                  <a:pt x="8740876" y="5736541"/>
                  <a:pt x="8745635" y="5746031"/>
                </a:cubicBezTo>
                <a:cubicBezTo>
                  <a:pt x="8755153" y="5766910"/>
                  <a:pt x="8747539" y="5789687"/>
                  <a:pt x="8728503" y="5799178"/>
                </a:cubicBezTo>
                <a:cubicBezTo>
                  <a:pt x="8728503" y="5799178"/>
                  <a:pt x="8728503" y="5799178"/>
                  <a:pt x="8391568" y="5973803"/>
                </a:cubicBezTo>
                <a:cubicBezTo>
                  <a:pt x="8372532" y="5983294"/>
                  <a:pt x="8349689" y="5975701"/>
                  <a:pt x="8338267" y="5956720"/>
                </a:cubicBezTo>
                <a:cubicBezTo>
                  <a:pt x="8336363" y="5951026"/>
                  <a:pt x="8334460" y="5945332"/>
                  <a:pt x="8334460" y="5937739"/>
                </a:cubicBezTo>
                <a:cubicBezTo>
                  <a:pt x="8334460" y="5924453"/>
                  <a:pt x="8342074" y="5911166"/>
                  <a:pt x="8355399" y="5903573"/>
                </a:cubicBezTo>
                <a:cubicBezTo>
                  <a:pt x="8355399" y="5903573"/>
                  <a:pt x="8355399" y="5903573"/>
                  <a:pt x="8694238" y="5730846"/>
                </a:cubicBezTo>
                <a:cubicBezTo>
                  <a:pt x="8703756" y="5726101"/>
                  <a:pt x="8714226" y="5725152"/>
                  <a:pt x="8723506" y="5727762"/>
                </a:cubicBezTo>
                <a:close/>
                <a:moveTo>
                  <a:pt x="11603271" y="5714468"/>
                </a:moveTo>
                <a:cubicBezTo>
                  <a:pt x="11612551" y="5717571"/>
                  <a:pt x="11620641" y="5724254"/>
                  <a:pt x="11625400" y="5733802"/>
                </a:cubicBezTo>
                <a:cubicBezTo>
                  <a:pt x="11634918" y="5754808"/>
                  <a:pt x="11627304" y="5777723"/>
                  <a:pt x="11608268" y="5787271"/>
                </a:cubicBezTo>
                <a:cubicBezTo>
                  <a:pt x="11608268" y="5787271"/>
                  <a:pt x="11608268" y="5787271"/>
                  <a:pt x="11271333" y="5961045"/>
                </a:cubicBezTo>
                <a:cubicBezTo>
                  <a:pt x="11252297" y="5970593"/>
                  <a:pt x="11227550" y="5962954"/>
                  <a:pt x="11218032" y="5941949"/>
                </a:cubicBezTo>
                <a:cubicBezTo>
                  <a:pt x="11214225" y="5936220"/>
                  <a:pt x="11214225" y="5930491"/>
                  <a:pt x="11214225" y="5924762"/>
                </a:cubicBezTo>
                <a:cubicBezTo>
                  <a:pt x="11214225" y="5911395"/>
                  <a:pt x="11221839" y="5896118"/>
                  <a:pt x="11235164" y="5890389"/>
                </a:cubicBezTo>
                <a:cubicBezTo>
                  <a:pt x="11235164" y="5890389"/>
                  <a:pt x="11235164" y="5890389"/>
                  <a:pt x="11574003" y="5716616"/>
                </a:cubicBezTo>
                <a:cubicBezTo>
                  <a:pt x="11583521" y="5711842"/>
                  <a:pt x="11593991" y="5711364"/>
                  <a:pt x="11603271" y="5714468"/>
                </a:cubicBezTo>
                <a:close/>
                <a:moveTo>
                  <a:pt x="8158886" y="5714468"/>
                </a:moveTo>
                <a:cubicBezTo>
                  <a:pt x="8168671" y="5717571"/>
                  <a:pt x="8177263" y="5724254"/>
                  <a:pt x="8182036" y="5733802"/>
                </a:cubicBezTo>
                <a:cubicBezTo>
                  <a:pt x="8191583" y="5754808"/>
                  <a:pt x="8183946" y="5777723"/>
                  <a:pt x="8164852" y="5787271"/>
                </a:cubicBezTo>
                <a:cubicBezTo>
                  <a:pt x="8164852" y="5787271"/>
                  <a:pt x="8164852" y="5787271"/>
                  <a:pt x="7824994" y="5961045"/>
                </a:cubicBezTo>
                <a:cubicBezTo>
                  <a:pt x="7805901" y="5970593"/>
                  <a:pt x="7782989" y="5962954"/>
                  <a:pt x="7771533" y="5941949"/>
                </a:cubicBezTo>
                <a:cubicBezTo>
                  <a:pt x="7769624" y="5936220"/>
                  <a:pt x="7767715" y="5930491"/>
                  <a:pt x="7767715" y="5924762"/>
                </a:cubicBezTo>
                <a:cubicBezTo>
                  <a:pt x="7767715" y="5911395"/>
                  <a:pt x="7775352" y="5896118"/>
                  <a:pt x="7788717" y="5890389"/>
                </a:cubicBezTo>
                <a:cubicBezTo>
                  <a:pt x="7788717" y="5890389"/>
                  <a:pt x="7788717" y="5890389"/>
                  <a:pt x="8128575" y="5716616"/>
                </a:cubicBezTo>
                <a:cubicBezTo>
                  <a:pt x="8138122" y="5711842"/>
                  <a:pt x="8149101" y="5711364"/>
                  <a:pt x="8158886" y="5714468"/>
                </a:cubicBezTo>
                <a:close/>
                <a:moveTo>
                  <a:pt x="12139750" y="5703893"/>
                </a:moveTo>
                <a:cubicBezTo>
                  <a:pt x="12139750" y="5703893"/>
                  <a:pt x="12139750" y="5703893"/>
                  <a:pt x="12139750" y="5793652"/>
                </a:cubicBezTo>
                <a:cubicBezTo>
                  <a:pt x="12139750" y="5793652"/>
                  <a:pt x="12139750" y="5793652"/>
                  <a:pt x="11833309" y="5948344"/>
                </a:cubicBezTo>
                <a:cubicBezTo>
                  <a:pt x="11814275" y="5957893"/>
                  <a:pt x="11789532" y="5950254"/>
                  <a:pt x="11780015" y="5929246"/>
                </a:cubicBezTo>
                <a:cubicBezTo>
                  <a:pt x="11778111" y="5923517"/>
                  <a:pt x="11776208" y="5917787"/>
                  <a:pt x="11776208" y="5912058"/>
                </a:cubicBezTo>
                <a:cubicBezTo>
                  <a:pt x="11776208" y="5896780"/>
                  <a:pt x="11783821" y="5883412"/>
                  <a:pt x="11799048" y="5875772"/>
                </a:cubicBezTo>
                <a:lnTo>
                  <a:pt x="12135943" y="5705803"/>
                </a:lnTo>
                <a:cubicBezTo>
                  <a:pt x="12137847" y="5705803"/>
                  <a:pt x="12139750" y="5705803"/>
                  <a:pt x="12139750" y="5703893"/>
                </a:cubicBezTo>
                <a:close/>
                <a:moveTo>
                  <a:pt x="7600201" y="5703365"/>
                </a:moveTo>
                <a:cubicBezTo>
                  <a:pt x="7609950" y="5706472"/>
                  <a:pt x="7618510" y="5713164"/>
                  <a:pt x="7623265" y="5722723"/>
                </a:cubicBezTo>
                <a:cubicBezTo>
                  <a:pt x="7632776" y="5743755"/>
                  <a:pt x="7625167" y="5766698"/>
                  <a:pt x="7604243" y="5776258"/>
                </a:cubicBezTo>
                <a:cubicBezTo>
                  <a:pt x="7604243" y="5776258"/>
                  <a:pt x="7604243" y="5776258"/>
                  <a:pt x="7267560" y="5948334"/>
                </a:cubicBezTo>
                <a:cubicBezTo>
                  <a:pt x="7246636" y="5957894"/>
                  <a:pt x="7223810" y="5950246"/>
                  <a:pt x="7214299" y="5929214"/>
                </a:cubicBezTo>
                <a:cubicBezTo>
                  <a:pt x="7210495" y="5923479"/>
                  <a:pt x="7210495" y="5917743"/>
                  <a:pt x="7210495" y="5912007"/>
                </a:cubicBezTo>
                <a:cubicBezTo>
                  <a:pt x="7210495" y="5896711"/>
                  <a:pt x="7218103" y="5883327"/>
                  <a:pt x="7231419" y="5875680"/>
                </a:cubicBezTo>
                <a:cubicBezTo>
                  <a:pt x="7231419" y="5875680"/>
                  <a:pt x="7231419" y="5875680"/>
                  <a:pt x="7570004" y="5705516"/>
                </a:cubicBezTo>
                <a:cubicBezTo>
                  <a:pt x="7579515" y="5700736"/>
                  <a:pt x="7590452" y="5700258"/>
                  <a:pt x="7600201" y="5703365"/>
                </a:cubicBezTo>
                <a:close/>
                <a:moveTo>
                  <a:pt x="7047645" y="5692216"/>
                </a:moveTo>
                <a:cubicBezTo>
                  <a:pt x="7057423" y="5695307"/>
                  <a:pt x="7066009" y="5701967"/>
                  <a:pt x="7070778" y="5711480"/>
                </a:cubicBezTo>
                <a:cubicBezTo>
                  <a:pt x="7080318" y="5732409"/>
                  <a:pt x="7072686" y="5757144"/>
                  <a:pt x="7051700" y="5766658"/>
                </a:cubicBezTo>
                <a:cubicBezTo>
                  <a:pt x="7051700" y="5766658"/>
                  <a:pt x="7051700" y="5766658"/>
                  <a:pt x="6714006" y="5934092"/>
                </a:cubicBezTo>
                <a:cubicBezTo>
                  <a:pt x="6693019" y="5943606"/>
                  <a:pt x="6670125" y="5934092"/>
                  <a:pt x="6658677" y="5915066"/>
                </a:cubicBezTo>
                <a:cubicBezTo>
                  <a:pt x="6656770" y="5909358"/>
                  <a:pt x="6654862" y="5903650"/>
                  <a:pt x="6654862" y="5897942"/>
                </a:cubicBezTo>
                <a:cubicBezTo>
                  <a:pt x="6654862" y="5882720"/>
                  <a:pt x="6664401" y="5867499"/>
                  <a:pt x="6677756" y="5861791"/>
                </a:cubicBezTo>
                <a:cubicBezTo>
                  <a:pt x="6677756" y="5861791"/>
                  <a:pt x="6677756" y="5861791"/>
                  <a:pt x="7017358" y="5694356"/>
                </a:cubicBezTo>
                <a:cubicBezTo>
                  <a:pt x="7026897" y="5689600"/>
                  <a:pt x="7037868" y="5689124"/>
                  <a:pt x="7047645" y="5692216"/>
                </a:cubicBezTo>
                <a:close/>
                <a:moveTo>
                  <a:pt x="6486856" y="5678743"/>
                </a:moveTo>
                <a:cubicBezTo>
                  <a:pt x="6502673" y="5677494"/>
                  <a:pt x="6517686" y="5686413"/>
                  <a:pt x="6526266" y="5700683"/>
                </a:cubicBezTo>
                <a:cubicBezTo>
                  <a:pt x="6535798" y="5721612"/>
                  <a:pt x="6526266" y="5746347"/>
                  <a:pt x="6507201" y="5755860"/>
                </a:cubicBezTo>
                <a:cubicBezTo>
                  <a:pt x="6507201" y="5755860"/>
                  <a:pt x="6507201" y="5755860"/>
                  <a:pt x="6167854" y="5921392"/>
                </a:cubicBezTo>
                <a:cubicBezTo>
                  <a:pt x="6146884" y="5930906"/>
                  <a:pt x="6124006" y="5921392"/>
                  <a:pt x="6114474" y="5902366"/>
                </a:cubicBezTo>
                <a:cubicBezTo>
                  <a:pt x="6110661" y="5896658"/>
                  <a:pt x="6108755" y="5890950"/>
                  <a:pt x="6108755" y="5883339"/>
                </a:cubicBezTo>
                <a:cubicBezTo>
                  <a:pt x="6108755" y="5870020"/>
                  <a:pt x="6118287" y="5854799"/>
                  <a:pt x="6131632" y="5847188"/>
                </a:cubicBezTo>
                <a:cubicBezTo>
                  <a:pt x="6131632" y="5847188"/>
                  <a:pt x="6131632" y="5847188"/>
                  <a:pt x="6470979" y="5683559"/>
                </a:cubicBezTo>
                <a:cubicBezTo>
                  <a:pt x="6476222" y="5680705"/>
                  <a:pt x="6481583" y="5679159"/>
                  <a:pt x="6486856" y="5678743"/>
                </a:cubicBezTo>
                <a:close/>
                <a:moveTo>
                  <a:pt x="5956806" y="5667777"/>
                </a:moveTo>
                <a:cubicBezTo>
                  <a:pt x="5966814" y="5671349"/>
                  <a:pt x="5975394" y="5678493"/>
                  <a:pt x="5980159" y="5688018"/>
                </a:cubicBezTo>
                <a:cubicBezTo>
                  <a:pt x="5989691" y="5708973"/>
                  <a:pt x="5980159" y="5733738"/>
                  <a:pt x="5961095" y="5743263"/>
                </a:cubicBezTo>
                <a:cubicBezTo>
                  <a:pt x="5961095" y="5743263"/>
                  <a:pt x="5961095" y="5743263"/>
                  <a:pt x="5621756" y="5907093"/>
                </a:cubicBezTo>
                <a:cubicBezTo>
                  <a:pt x="5600786" y="5916618"/>
                  <a:pt x="5576003" y="5907093"/>
                  <a:pt x="5566471" y="5888043"/>
                </a:cubicBezTo>
                <a:cubicBezTo>
                  <a:pt x="5564565" y="5882328"/>
                  <a:pt x="5562659" y="5874708"/>
                  <a:pt x="5562659" y="5868993"/>
                </a:cubicBezTo>
                <a:cubicBezTo>
                  <a:pt x="5562659" y="5853753"/>
                  <a:pt x="5570284" y="5840418"/>
                  <a:pt x="5585535" y="5832798"/>
                </a:cubicBezTo>
                <a:cubicBezTo>
                  <a:pt x="5585535" y="5832798"/>
                  <a:pt x="5585535" y="5832798"/>
                  <a:pt x="5924873" y="5668968"/>
                </a:cubicBezTo>
                <a:cubicBezTo>
                  <a:pt x="5935358" y="5664205"/>
                  <a:pt x="5946797" y="5664205"/>
                  <a:pt x="5956806" y="5667777"/>
                </a:cubicBezTo>
                <a:close/>
                <a:moveTo>
                  <a:pt x="397251" y="5667777"/>
                </a:moveTo>
                <a:cubicBezTo>
                  <a:pt x="407022" y="5671349"/>
                  <a:pt x="415601" y="5678493"/>
                  <a:pt x="420367" y="5688018"/>
                </a:cubicBezTo>
                <a:cubicBezTo>
                  <a:pt x="431806" y="5708973"/>
                  <a:pt x="422273" y="5733738"/>
                  <a:pt x="401303" y="5743263"/>
                </a:cubicBezTo>
                <a:cubicBezTo>
                  <a:pt x="401303" y="5743263"/>
                  <a:pt x="401303" y="5743263"/>
                  <a:pt x="63863" y="5907093"/>
                </a:cubicBezTo>
                <a:cubicBezTo>
                  <a:pt x="42892" y="5916618"/>
                  <a:pt x="18108" y="5907093"/>
                  <a:pt x="8576" y="5888043"/>
                </a:cubicBezTo>
                <a:cubicBezTo>
                  <a:pt x="4764" y="5882328"/>
                  <a:pt x="4764" y="5874708"/>
                  <a:pt x="4764" y="5868993"/>
                </a:cubicBezTo>
                <a:cubicBezTo>
                  <a:pt x="4764" y="5853753"/>
                  <a:pt x="12389" y="5840418"/>
                  <a:pt x="27641" y="5832798"/>
                </a:cubicBezTo>
                <a:cubicBezTo>
                  <a:pt x="27641" y="5832798"/>
                  <a:pt x="27641" y="5832798"/>
                  <a:pt x="366987" y="5668968"/>
                </a:cubicBezTo>
                <a:cubicBezTo>
                  <a:pt x="376519" y="5664205"/>
                  <a:pt x="387481" y="5664205"/>
                  <a:pt x="397251" y="5667777"/>
                </a:cubicBezTo>
                <a:close/>
                <a:moveTo>
                  <a:pt x="5407592" y="5656676"/>
                </a:moveTo>
                <a:cubicBezTo>
                  <a:pt x="5417631" y="5660252"/>
                  <a:pt x="5426713" y="5667405"/>
                  <a:pt x="5432448" y="5676941"/>
                </a:cubicBezTo>
                <a:cubicBezTo>
                  <a:pt x="5442009" y="5697922"/>
                  <a:pt x="5432448" y="5722718"/>
                  <a:pt x="5411416" y="5732255"/>
                </a:cubicBezTo>
                <a:cubicBezTo>
                  <a:pt x="5411416" y="5732255"/>
                  <a:pt x="5411416" y="5732255"/>
                  <a:pt x="5071065" y="5894382"/>
                </a:cubicBezTo>
                <a:cubicBezTo>
                  <a:pt x="5050035" y="5903919"/>
                  <a:pt x="5025180" y="5894382"/>
                  <a:pt x="5015620" y="5873401"/>
                </a:cubicBezTo>
                <a:cubicBezTo>
                  <a:pt x="5013708" y="5867679"/>
                  <a:pt x="5011797" y="5861957"/>
                  <a:pt x="5011797" y="5856234"/>
                </a:cubicBezTo>
                <a:cubicBezTo>
                  <a:pt x="5011797" y="5840975"/>
                  <a:pt x="5021357" y="5825716"/>
                  <a:pt x="5036652" y="5818087"/>
                </a:cubicBezTo>
                <a:cubicBezTo>
                  <a:pt x="5036652" y="5818087"/>
                  <a:pt x="5036652" y="5818087"/>
                  <a:pt x="5377000" y="5657868"/>
                </a:cubicBezTo>
                <a:cubicBezTo>
                  <a:pt x="5386560" y="5653099"/>
                  <a:pt x="5397554" y="5653099"/>
                  <a:pt x="5407592" y="5656676"/>
                </a:cubicBezTo>
                <a:close/>
                <a:moveTo>
                  <a:pt x="941847" y="5656676"/>
                </a:moveTo>
                <a:cubicBezTo>
                  <a:pt x="951856" y="5660252"/>
                  <a:pt x="960435" y="5667405"/>
                  <a:pt x="965201" y="5676941"/>
                </a:cubicBezTo>
                <a:cubicBezTo>
                  <a:pt x="974733" y="5697922"/>
                  <a:pt x="965201" y="5722718"/>
                  <a:pt x="946137" y="5732255"/>
                </a:cubicBezTo>
                <a:cubicBezTo>
                  <a:pt x="946137" y="5732255"/>
                  <a:pt x="946137" y="5732255"/>
                  <a:pt x="606791" y="5894382"/>
                </a:cubicBezTo>
                <a:cubicBezTo>
                  <a:pt x="585820" y="5903919"/>
                  <a:pt x="561036" y="5894382"/>
                  <a:pt x="551504" y="5873401"/>
                </a:cubicBezTo>
                <a:cubicBezTo>
                  <a:pt x="547691" y="5867679"/>
                  <a:pt x="547691" y="5861957"/>
                  <a:pt x="547691" y="5856234"/>
                </a:cubicBezTo>
                <a:cubicBezTo>
                  <a:pt x="547691" y="5840975"/>
                  <a:pt x="555317" y="5825716"/>
                  <a:pt x="570568" y="5818087"/>
                </a:cubicBezTo>
                <a:cubicBezTo>
                  <a:pt x="570568" y="5818087"/>
                  <a:pt x="570568" y="5818087"/>
                  <a:pt x="909914" y="5657868"/>
                </a:cubicBezTo>
                <a:cubicBezTo>
                  <a:pt x="920400" y="5653099"/>
                  <a:pt x="931838" y="5653099"/>
                  <a:pt x="941847" y="5656676"/>
                </a:cubicBezTo>
                <a:close/>
                <a:moveTo>
                  <a:pt x="4853505" y="5644857"/>
                </a:moveTo>
                <a:cubicBezTo>
                  <a:pt x="4863509" y="5648199"/>
                  <a:pt x="4872084" y="5655361"/>
                  <a:pt x="4876847" y="5665864"/>
                </a:cubicBezTo>
                <a:cubicBezTo>
                  <a:pt x="4886373" y="5686872"/>
                  <a:pt x="4876847" y="5711699"/>
                  <a:pt x="4855889" y="5723158"/>
                </a:cubicBezTo>
                <a:cubicBezTo>
                  <a:pt x="4855889" y="5723158"/>
                  <a:pt x="4855889" y="5723158"/>
                  <a:pt x="4516799" y="5881669"/>
                </a:cubicBezTo>
                <a:cubicBezTo>
                  <a:pt x="4495845" y="5891218"/>
                  <a:pt x="4471079" y="5881669"/>
                  <a:pt x="4461553" y="5860661"/>
                </a:cubicBezTo>
                <a:cubicBezTo>
                  <a:pt x="4459649" y="5854932"/>
                  <a:pt x="4457744" y="5849203"/>
                  <a:pt x="4457744" y="5843473"/>
                </a:cubicBezTo>
                <a:cubicBezTo>
                  <a:pt x="4457744" y="5828195"/>
                  <a:pt x="4467269" y="5812917"/>
                  <a:pt x="4482509" y="5805278"/>
                </a:cubicBezTo>
                <a:cubicBezTo>
                  <a:pt x="4482509" y="5805278"/>
                  <a:pt x="4482509" y="5805278"/>
                  <a:pt x="4821594" y="5646767"/>
                </a:cubicBezTo>
                <a:cubicBezTo>
                  <a:pt x="4832072" y="5641992"/>
                  <a:pt x="4843504" y="5641515"/>
                  <a:pt x="4853505" y="5644857"/>
                </a:cubicBezTo>
                <a:close/>
                <a:moveTo>
                  <a:pt x="1487895" y="5644857"/>
                </a:moveTo>
                <a:cubicBezTo>
                  <a:pt x="1498134" y="5648199"/>
                  <a:pt x="1507183" y="5655361"/>
                  <a:pt x="1512898" y="5665864"/>
                </a:cubicBezTo>
                <a:cubicBezTo>
                  <a:pt x="1522423" y="5686872"/>
                  <a:pt x="1512898" y="5711699"/>
                  <a:pt x="1491943" y="5723158"/>
                </a:cubicBezTo>
                <a:cubicBezTo>
                  <a:pt x="1491943" y="5723158"/>
                  <a:pt x="1491943" y="5723158"/>
                  <a:pt x="1152849" y="5881669"/>
                </a:cubicBezTo>
                <a:cubicBezTo>
                  <a:pt x="1131894" y="5891218"/>
                  <a:pt x="1107128" y="5881669"/>
                  <a:pt x="1097603" y="5860661"/>
                </a:cubicBezTo>
                <a:cubicBezTo>
                  <a:pt x="1093793" y="5854932"/>
                  <a:pt x="1093793" y="5849203"/>
                  <a:pt x="1093793" y="5843473"/>
                </a:cubicBezTo>
                <a:cubicBezTo>
                  <a:pt x="1093793" y="5828195"/>
                  <a:pt x="1101413" y="5812917"/>
                  <a:pt x="1116653" y="5805278"/>
                </a:cubicBezTo>
                <a:cubicBezTo>
                  <a:pt x="1116653" y="5805278"/>
                  <a:pt x="1116653" y="5805278"/>
                  <a:pt x="1455748" y="5646767"/>
                </a:cubicBezTo>
                <a:cubicBezTo>
                  <a:pt x="1466225" y="5641992"/>
                  <a:pt x="1477655" y="5641515"/>
                  <a:pt x="1487895" y="5644857"/>
                </a:cubicBezTo>
                <a:close/>
                <a:moveTo>
                  <a:pt x="4280333" y="5631131"/>
                </a:moveTo>
                <a:cubicBezTo>
                  <a:pt x="4296645" y="5629974"/>
                  <a:pt x="4312420" y="5639226"/>
                  <a:pt x="4319591" y="5654883"/>
                </a:cubicBezTo>
                <a:cubicBezTo>
                  <a:pt x="4329151" y="5677657"/>
                  <a:pt x="4319591" y="5702329"/>
                  <a:pt x="4298558" y="5711818"/>
                </a:cubicBezTo>
                <a:cubicBezTo>
                  <a:pt x="4298558" y="5711818"/>
                  <a:pt x="4298558" y="5711818"/>
                  <a:pt x="3958230" y="5867442"/>
                </a:cubicBezTo>
                <a:cubicBezTo>
                  <a:pt x="3937192" y="5876931"/>
                  <a:pt x="3912337" y="5867442"/>
                  <a:pt x="3902775" y="5846565"/>
                </a:cubicBezTo>
                <a:cubicBezTo>
                  <a:pt x="3898949" y="5840872"/>
                  <a:pt x="3898949" y="5835178"/>
                  <a:pt x="3898949" y="5829485"/>
                </a:cubicBezTo>
                <a:cubicBezTo>
                  <a:pt x="3898949" y="5812404"/>
                  <a:pt x="3906601" y="5797221"/>
                  <a:pt x="3923810" y="5789630"/>
                </a:cubicBezTo>
                <a:cubicBezTo>
                  <a:pt x="3923810" y="5789630"/>
                  <a:pt x="3923810" y="5789630"/>
                  <a:pt x="4264140" y="5635905"/>
                </a:cubicBezTo>
                <a:cubicBezTo>
                  <a:pt x="4269397" y="5633058"/>
                  <a:pt x="4274895" y="5631516"/>
                  <a:pt x="4280333" y="5631131"/>
                </a:cubicBezTo>
                <a:close/>
                <a:moveTo>
                  <a:pt x="2025802" y="5631130"/>
                </a:moveTo>
                <a:cubicBezTo>
                  <a:pt x="2042192" y="5629974"/>
                  <a:pt x="2058318" y="5639226"/>
                  <a:pt x="2066916" y="5654883"/>
                </a:cubicBezTo>
                <a:cubicBezTo>
                  <a:pt x="2076469" y="5677657"/>
                  <a:pt x="2066916" y="5702329"/>
                  <a:pt x="2045894" y="5711818"/>
                </a:cubicBezTo>
                <a:cubicBezTo>
                  <a:pt x="2045894" y="5711818"/>
                  <a:pt x="2045894" y="5711818"/>
                  <a:pt x="1705799" y="5867442"/>
                </a:cubicBezTo>
                <a:cubicBezTo>
                  <a:pt x="1682871" y="5876931"/>
                  <a:pt x="1658033" y="5867442"/>
                  <a:pt x="1648480" y="5846565"/>
                </a:cubicBezTo>
                <a:cubicBezTo>
                  <a:pt x="1646569" y="5840872"/>
                  <a:pt x="1644659" y="5835178"/>
                  <a:pt x="1644659" y="5829485"/>
                </a:cubicBezTo>
                <a:cubicBezTo>
                  <a:pt x="1644659" y="5812404"/>
                  <a:pt x="1654212" y="5797221"/>
                  <a:pt x="1669497" y="5789630"/>
                </a:cubicBezTo>
                <a:cubicBezTo>
                  <a:pt x="1669497" y="5789630"/>
                  <a:pt x="1669497" y="5789630"/>
                  <a:pt x="2009592" y="5635905"/>
                </a:cubicBezTo>
                <a:cubicBezTo>
                  <a:pt x="2014846" y="5633058"/>
                  <a:pt x="2020339" y="5631516"/>
                  <a:pt x="2025802" y="5631130"/>
                </a:cubicBezTo>
                <a:close/>
                <a:moveTo>
                  <a:pt x="3732520" y="5620423"/>
                </a:moveTo>
                <a:cubicBezTo>
                  <a:pt x="3742752" y="5624247"/>
                  <a:pt x="3751319" y="5631896"/>
                  <a:pt x="3756079" y="5642413"/>
                </a:cubicBezTo>
                <a:cubicBezTo>
                  <a:pt x="3765597" y="5665360"/>
                  <a:pt x="3756079" y="5690219"/>
                  <a:pt x="3735138" y="5699780"/>
                </a:cubicBezTo>
                <a:cubicBezTo>
                  <a:pt x="3735138" y="5699780"/>
                  <a:pt x="3735138" y="5699780"/>
                  <a:pt x="3396310" y="5854670"/>
                </a:cubicBezTo>
                <a:cubicBezTo>
                  <a:pt x="3373463" y="5864231"/>
                  <a:pt x="3348715" y="5854670"/>
                  <a:pt x="3339198" y="5833635"/>
                </a:cubicBezTo>
                <a:cubicBezTo>
                  <a:pt x="3337294" y="5827899"/>
                  <a:pt x="3335390" y="5820250"/>
                  <a:pt x="3335390" y="5814513"/>
                </a:cubicBezTo>
                <a:cubicBezTo>
                  <a:pt x="3335390" y="5799215"/>
                  <a:pt x="3344909" y="5783918"/>
                  <a:pt x="3360137" y="5776269"/>
                </a:cubicBezTo>
                <a:cubicBezTo>
                  <a:pt x="3360137" y="5776269"/>
                  <a:pt x="3360137" y="5776269"/>
                  <a:pt x="3698969" y="5621379"/>
                </a:cubicBezTo>
                <a:cubicBezTo>
                  <a:pt x="3710391" y="5616598"/>
                  <a:pt x="3722287" y="5616598"/>
                  <a:pt x="3732520" y="5620423"/>
                </a:cubicBezTo>
                <a:close/>
                <a:moveTo>
                  <a:pt x="2598307" y="5620423"/>
                </a:moveTo>
                <a:cubicBezTo>
                  <a:pt x="2608779" y="5624247"/>
                  <a:pt x="2617818" y="5631896"/>
                  <a:pt x="2622577" y="5642413"/>
                </a:cubicBezTo>
                <a:cubicBezTo>
                  <a:pt x="2632096" y="5665360"/>
                  <a:pt x="2622577" y="5690219"/>
                  <a:pt x="2601638" y="5699780"/>
                </a:cubicBezTo>
                <a:cubicBezTo>
                  <a:pt x="2601638" y="5699780"/>
                  <a:pt x="2601638" y="5699780"/>
                  <a:pt x="2262794" y="5854670"/>
                </a:cubicBezTo>
                <a:cubicBezTo>
                  <a:pt x="2239951" y="5864231"/>
                  <a:pt x="2215204" y="5854670"/>
                  <a:pt x="2205686" y="5833635"/>
                </a:cubicBezTo>
                <a:cubicBezTo>
                  <a:pt x="2203782" y="5827899"/>
                  <a:pt x="2201878" y="5820250"/>
                  <a:pt x="2201878" y="5814513"/>
                </a:cubicBezTo>
                <a:cubicBezTo>
                  <a:pt x="2201878" y="5799215"/>
                  <a:pt x="2211397" y="5783918"/>
                  <a:pt x="2226626" y="5776269"/>
                </a:cubicBezTo>
                <a:cubicBezTo>
                  <a:pt x="2226626" y="5776269"/>
                  <a:pt x="2226626" y="5776269"/>
                  <a:pt x="2565469" y="5621379"/>
                </a:cubicBezTo>
                <a:cubicBezTo>
                  <a:pt x="2575938" y="5616598"/>
                  <a:pt x="2587837" y="5616598"/>
                  <a:pt x="2598307" y="5620423"/>
                </a:cubicBezTo>
                <a:close/>
                <a:moveTo>
                  <a:pt x="3160334" y="5609267"/>
                </a:moveTo>
                <a:cubicBezTo>
                  <a:pt x="3170795" y="5613073"/>
                  <a:pt x="3179834" y="5620683"/>
                  <a:pt x="3184587" y="5631147"/>
                </a:cubicBezTo>
                <a:cubicBezTo>
                  <a:pt x="3194099" y="5653978"/>
                  <a:pt x="3184587" y="5678712"/>
                  <a:pt x="3161760" y="5688224"/>
                </a:cubicBezTo>
                <a:cubicBezTo>
                  <a:pt x="3161760" y="5688224"/>
                  <a:pt x="3161760" y="5688224"/>
                  <a:pt x="2823162" y="5840431"/>
                </a:cubicBezTo>
                <a:cubicBezTo>
                  <a:pt x="2800335" y="5849944"/>
                  <a:pt x="2775606" y="5840431"/>
                  <a:pt x="2766096" y="5817600"/>
                </a:cubicBezTo>
                <a:cubicBezTo>
                  <a:pt x="2764193" y="5811892"/>
                  <a:pt x="2762293" y="5806184"/>
                  <a:pt x="2762293" y="5800477"/>
                </a:cubicBezTo>
                <a:cubicBezTo>
                  <a:pt x="2762293" y="5783353"/>
                  <a:pt x="2771799" y="5768133"/>
                  <a:pt x="2787019" y="5760522"/>
                </a:cubicBezTo>
                <a:cubicBezTo>
                  <a:pt x="2787019" y="5760522"/>
                  <a:pt x="2787019" y="5760522"/>
                  <a:pt x="3127521" y="5610219"/>
                </a:cubicBezTo>
                <a:cubicBezTo>
                  <a:pt x="3137984" y="5605462"/>
                  <a:pt x="3149873" y="5605462"/>
                  <a:pt x="3160334" y="5609267"/>
                </a:cubicBezTo>
                <a:close/>
                <a:moveTo>
                  <a:pt x="9870770" y="5423698"/>
                </a:moveTo>
                <a:cubicBezTo>
                  <a:pt x="9879370" y="5426080"/>
                  <a:pt x="9887013" y="5431795"/>
                  <a:pt x="9891790" y="5439415"/>
                </a:cubicBezTo>
                <a:cubicBezTo>
                  <a:pt x="9901345" y="5456560"/>
                  <a:pt x="9895612" y="5479420"/>
                  <a:pt x="9878414" y="5488945"/>
                </a:cubicBezTo>
                <a:cubicBezTo>
                  <a:pt x="9878414" y="5488945"/>
                  <a:pt x="9878414" y="5488945"/>
                  <a:pt x="9542094" y="5683255"/>
                </a:cubicBezTo>
                <a:cubicBezTo>
                  <a:pt x="9524896" y="5692780"/>
                  <a:pt x="9501965" y="5687065"/>
                  <a:pt x="9492411" y="5669920"/>
                </a:cubicBezTo>
                <a:cubicBezTo>
                  <a:pt x="9490500" y="5664205"/>
                  <a:pt x="9488589" y="5658490"/>
                  <a:pt x="9488589" y="5650870"/>
                </a:cubicBezTo>
                <a:cubicBezTo>
                  <a:pt x="9488589" y="5639440"/>
                  <a:pt x="9494322" y="5628010"/>
                  <a:pt x="9505787" y="5620390"/>
                </a:cubicBezTo>
                <a:cubicBezTo>
                  <a:pt x="9505787" y="5620390"/>
                  <a:pt x="9505787" y="5620390"/>
                  <a:pt x="9844018" y="5427985"/>
                </a:cubicBezTo>
                <a:cubicBezTo>
                  <a:pt x="9852617" y="5422270"/>
                  <a:pt x="9862172" y="5421317"/>
                  <a:pt x="9870770" y="5423698"/>
                </a:cubicBezTo>
                <a:close/>
                <a:moveTo>
                  <a:pt x="10454072" y="5413206"/>
                </a:moveTo>
                <a:cubicBezTo>
                  <a:pt x="10463135" y="5415582"/>
                  <a:pt x="10471244" y="5421284"/>
                  <a:pt x="10476013" y="5429836"/>
                </a:cubicBezTo>
                <a:cubicBezTo>
                  <a:pt x="10485553" y="5446941"/>
                  <a:pt x="10479829" y="5469747"/>
                  <a:pt x="10460750" y="5479250"/>
                </a:cubicBezTo>
                <a:cubicBezTo>
                  <a:pt x="10460750" y="5479250"/>
                  <a:pt x="10460750" y="5479250"/>
                  <a:pt x="10123044" y="5667402"/>
                </a:cubicBezTo>
                <a:cubicBezTo>
                  <a:pt x="10105873" y="5676905"/>
                  <a:pt x="10084886" y="5671203"/>
                  <a:pt x="10075346" y="5654098"/>
                </a:cubicBezTo>
                <a:cubicBezTo>
                  <a:pt x="10071530" y="5648397"/>
                  <a:pt x="10069622" y="5642695"/>
                  <a:pt x="10069622" y="5636994"/>
                </a:cubicBezTo>
                <a:cubicBezTo>
                  <a:pt x="10069622" y="5623690"/>
                  <a:pt x="10077254" y="5610386"/>
                  <a:pt x="10088701" y="5604685"/>
                </a:cubicBezTo>
                <a:cubicBezTo>
                  <a:pt x="10088701" y="5604685"/>
                  <a:pt x="10088701" y="5604685"/>
                  <a:pt x="10426407" y="5416532"/>
                </a:cubicBezTo>
                <a:cubicBezTo>
                  <a:pt x="10434993" y="5411781"/>
                  <a:pt x="10445009" y="5410831"/>
                  <a:pt x="10454072" y="5413206"/>
                </a:cubicBezTo>
                <a:close/>
                <a:moveTo>
                  <a:pt x="9292639" y="5413206"/>
                </a:moveTo>
                <a:cubicBezTo>
                  <a:pt x="9301225" y="5415582"/>
                  <a:pt x="9308857" y="5421284"/>
                  <a:pt x="9313626" y="5429836"/>
                </a:cubicBezTo>
                <a:cubicBezTo>
                  <a:pt x="9325074" y="5446941"/>
                  <a:pt x="9317442" y="5469747"/>
                  <a:pt x="9300271" y="5479250"/>
                </a:cubicBezTo>
                <a:cubicBezTo>
                  <a:pt x="9300271" y="5479250"/>
                  <a:pt x="9300271" y="5479250"/>
                  <a:pt x="8962565" y="5667402"/>
                </a:cubicBezTo>
                <a:cubicBezTo>
                  <a:pt x="8945394" y="5676905"/>
                  <a:pt x="8922499" y="5671203"/>
                  <a:pt x="8912959" y="5654098"/>
                </a:cubicBezTo>
                <a:cubicBezTo>
                  <a:pt x="8911051" y="5648397"/>
                  <a:pt x="8909143" y="5642695"/>
                  <a:pt x="8909143" y="5636994"/>
                </a:cubicBezTo>
                <a:cubicBezTo>
                  <a:pt x="8909143" y="5623690"/>
                  <a:pt x="8914867" y="5610386"/>
                  <a:pt x="8928222" y="5604685"/>
                </a:cubicBezTo>
                <a:cubicBezTo>
                  <a:pt x="8928222" y="5604685"/>
                  <a:pt x="8928222" y="5604685"/>
                  <a:pt x="9265928" y="5416532"/>
                </a:cubicBezTo>
                <a:cubicBezTo>
                  <a:pt x="9274513" y="5411781"/>
                  <a:pt x="9284053" y="5410831"/>
                  <a:pt x="9292639" y="5413206"/>
                </a:cubicBezTo>
                <a:close/>
                <a:moveTo>
                  <a:pt x="11031715" y="5402102"/>
                </a:moveTo>
                <a:cubicBezTo>
                  <a:pt x="11041009" y="5404480"/>
                  <a:pt x="11049111" y="5410188"/>
                  <a:pt x="11053878" y="5418751"/>
                </a:cubicBezTo>
                <a:cubicBezTo>
                  <a:pt x="11063410" y="5437778"/>
                  <a:pt x="11055784" y="5460611"/>
                  <a:pt x="11038626" y="5470125"/>
                </a:cubicBezTo>
                <a:cubicBezTo>
                  <a:pt x="11038626" y="5470125"/>
                  <a:pt x="11038626" y="5470125"/>
                  <a:pt x="10701180" y="5654692"/>
                </a:cubicBezTo>
                <a:cubicBezTo>
                  <a:pt x="10682115" y="5664206"/>
                  <a:pt x="10661144" y="5658498"/>
                  <a:pt x="10649705" y="5639470"/>
                </a:cubicBezTo>
                <a:cubicBezTo>
                  <a:pt x="10647798" y="5633762"/>
                  <a:pt x="10645892" y="5628053"/>
                  <a:pt x="10645892" y="5622345"/>
                </a:cubicBezTo>
                <a:cubicBezTo>
                  <a:pt x="10645892" y="5609026"/>
                  <a:pt x="10653518" y="5595707"/>
                  <a:pt x="10664957" y="5589998"/>
                </a:cubicBezTo>
                <a:cubicBezTo>
                  <a:pt x="10664957" y="5589998"/>
                  <a:pt x="10664957" y="5589998"/>
                  <a:pt x="11002403" y="5405432"/>
                </a:cubicBezTo>
                <a:cubicBezTo>
                  <a:pt x="11011936" y="5400675"/>
                  <a:pt x="11022421" y="5399723"/>
                  <a:pt x="11031715" y="5402102"/>
                </a:cubicBezTo>
                <a:close/>
                <a:moveTo>
                  <a:pt x="8722109" y="5402102"/>
                </a:moveTo>
                <a:cubicBezTo>
                  <a:pt x="8731165" y="5404480"/>
                  <a:pt x="8739267" y="5410189"/>
                  <a:pt x="8744034" y="5418751"/>
                </a:cubicBezTo>
                <a:cubicBezTo>
                  <a:pt x="8753566" y="5437778"/>
                  <a:pt x="8747847" y="5460611"/>
                  <a:pt x="8728782" y="5470125"/>
                </a:cubicBezTo>
                <a:cubicBezTo>
                  <a:pt x="8728782" y="5470125"/>
                  <a:pt x="8728782" y="5470125"/>
                  <a:pt x="8391336" y="5654692"/>
                </a:cubicBezTo>
                <a:cubicBezTo>
                  <a:pt x="8374177" y="5664206"/>
                  <a:pt x="8351300" y="5658498"/>
                  <a:pt x="8341767" y="5639470"/>
                </a:cubicBezTo>
                <a:cubicBezTo>
                  <a:pt x="8337954" y="5633762"/>
                  <a:pt x="8336048" y="5628053"/>
                  <a:pt x="8336048" y="5622345"/>
                </a:cubicBezTo>
                <a:cubicBezTo>
                  <a:pt x="8336048" y="5609026"/>
                  <a:pt x="8343674" y="5595707"/>
                  <a:pt x="8355113" y="5589998"/>
                </a:cubicBezTo>
                <a:cubicBezTo>
                  <a:pt x="8355113" y="5589998"/>
                  <a:pt x="8355113" y="5589998"/>
                  <a:pt x="8694465" y="5405432"/>
                </a:cubicBezTo>
                <a:cubicBezTo>
                  <a:pt x="8703045" y="5400675"/>
                  <a:pt x="8713054" y="5399723"/>
                  <a:pt x="8722109" y="5402102"/>
                </a:cubicBezTo>
                <a:close/>
                <a:moveTo>
                  <a:pt x="11601635" y="5389647"/>
                </a:moveTo>
                <a:cubicBezTo>
                  <a:pt x="11610929" y="5392266"/>
                  <a:pt x="11619031" y="5398458"/>
                  <a:pt x="11623798" y="5407983"/>
                </a:cubicBezTo>
                <a:cubicBezTo>
                  <a:pt x="11633330" y="5427033"/>
                  <a:pt x="11627611" y="5449893"/>
                  <a:pt x="11608546" y="5459418"/>
                </a:cubicBezTo>
                <a:cubicBezTo>
                  <a:pt x="11608546" y="5459418"/>
                  <a:pt x="11608546" y="5459418"/>
                  <a:pt x="11271100" y="5638488"/>
                </a:cubicBezTo>
                <a:cubicBezTo>
                  <a:pt x="11252035" y="5649918"/>
                  <a:pt x="11229157" y="5642298"/>
                  <a:pt x="11219625" y="5623248"/>
                </a:cubicBezTo>
                <a:cubicBezTo>
                  <a:pt x="11215812" y="5617533"/>
                  <a:pt x="11215812" y="5611818"/>
                  <a:pt x="11215812" y="5606103"/>
                </a:cubicBezTo>
                <a:cubicBezTo>
                  <a:pt x="11215812" y="5592768"/>
                  <a:pt x="11221531" y="5579433"/>
                  <a:pt x="11234877" y="5571813"/>
                </a:cubicBezTo>
                <a:cubicBezTo>
                  <a:pt x="11234877" y="5571813"/>
                  <a:pt x="11234877" y="5571813"/>
                  <a:pt x="11572323" y="5392743"/>
                </a:cubicBezTo>
                <a:cubicBezTo>
                  <a:pt x="11581856" y="5387980"/>
                  <a:pt x="11592341" y="5387028"/>
                  <a:pt x="11601635" y="5389647"/>
                </a:cubicBezTo>
                <a:close/>
                <a:moveTo>
                  <a:pt x="8158325" y="5389647"/>
                </a:moveTo>
                <a:cubicBezTo>
                  <a:pt x="8167612" y="5392267"/>
                  <a:pt x="8175708" y="5398458"/>
                  <a:pt x="8180471" y="5407983"/>
                </a:cubicBezTo>
                <a:cubicBezTo>
                  <a:pt x="8189996" y="5427033"/>
                  <a:pt x="8182376" y="5449893"/>
                  <a:pt x="8165230" y="5459418"/>
                </a:cubicBezTo>
                <a:cubicBezTo>
                  <a:pt x="8165230" y="5459418"/>
                  <a:pt x="8165230" y="5459418"/>
                  <a:pt x="7826136" y="5638488"/>
                </a:cubicBezTo>
                <a:cubicBezTo>
                  <a:pt x="7808990" y="5649918"/>
                  <a:pt x="7786130" y="5642298"/>
                  <a:pt x="7774700" y="5623248"/>
                </a:cubicBezTo>
                <a:cubicBezTo>
                  <a:pt x="7772795" y="5617533"/>
                  <a:pt x="7770890" y="5611818"/>
                  <a:pt x="7770890" y="5606103"/>
                </a:cubicBezTo>
                <a:cubicBezTo>
                  <a:pt x="7770890" y="5592768"/>
                  <a:pt x="7778510" y="5579433"/>
                  <a:pt x="7791845" y="5571813"/>
                </a:cubicBezTo>
                <a:cubicBezTo>
                  <a:pt x="7791845" y="5571813"/>
                  <a:pt x="7791845" y="5571813"/>
                  <a:pt x="8129035" y="5392743"/>
                </a:cubicBezTo>
                <a:cubicBezTo>
                  <a:pt x="8138560" y="5387980"/>
                  <a:pt x="8149038" y="5387028"/>
                  <a:pt x="8158325" y="5389647"/>
                </a:cubicBezTo>
                <a:close/>
                <a:moveTo>
                  <a:pt x="12139750" y="5380043"/>
                </a:moveTo>
                <a:cubicBezTo>
                  <a:pt x="12139750" y="5380043"/>
                  <a:pt x="12139750" y="5380043"/>
                  <a:pt x="12139750" y="5467782"/>
                </a:cubicBezTo>
                <a:cubicBezTo>
                  <a:pt x="12139750" y="5467782"/>
                  <a:pt x="12139750" y="5467782"/>
                  <a:pt x="11833041" y="5626094"/>
                </a:cubicBezTo>
                <a:cubicBezTo>
                  <a:pt x="11813991" y="5635631"/>
                  <a:pt x="11791130" y="5628001"/>
                  <a:pt x="11781605" y="5608928"/>
                </a:cubicBezTo>
                <a:cubicBezTo>
                  <a:pt x="11777795" y="5603205"/>
                  <a:pt x="11777795" y="5597483"/>
                  <a:pt x="11777795" y="5591761"/>
                </a:cubicBezTo>
                <a:cubicBezTo>
                  <a:pt x="11777795" y="5578410"/>
                  <a:pt x="11785415" y="5565058"/>
                  <a:pt x="11798750" y="5557428"/>
                </a:cubicBezTo>
                <a:lnTo>
                  <a:pt x="12135940" y="5381950"/>
                </a:lnTo>
                <a:cubicBezTo>
                  <a:pt x="12137845" y="5381950"/>
                  <a:pt x="12139750" y="5380043"/>
                  <a:pt x="12139750" y="5380043"/>
                </a:cubicBezTo>
                <a:close/>
                <a:moveTo>
                  <a:pt x="7599540" y="5379505"/>
                </a:moveTo>
                <a:cubicBezTo>
                  <a:pt x="7608821" y="5382608"/>
                  <a:pt x="7616911" y="5389291"/>
                  <a:pt x="7621670" y="5398839"/>
                </a:cubicBezTo>
                <a:cubicBezTo>
                  <a:pt x="7631188" y="5417935"/>
                  <a:pt x="7623573" y="5440850"/>
                  <a:pt x="7604538" y="5450398"/>
                </a:cubicBezTo>
                <a:cubicBezTo>
                  <a:pt x="7604538" y="5450398"/>
                  <a:pt x="7604538" y="5450398"/>
                  <a:pt x="7267602" y="5626082"/>
                </a:cubicBezTo>
                <a:cubicBezTo>
                  <a:pt x="7248567" y="5635630"/>
                  <a:pt x="7225723" y="5627991"/>
                  <a:pt x="7214302" y="5608895"/>
                </a:cubicBezTo>
                <a:cubicBezTo>
                  <a:pt x="7212398" y="5603167"/>
                  <a:pt x="7210495" y="5597438"/>
                  <a:pt x="7210495" y="5591709"/>
                </a:cubicBezTo>
                <a:cubicBezTo>
                  <a:pt x="7210495" y="5578342"/>
                  <a:pt x="7218109" y="5564975"/>
                  <a:pt x="7231434" y="5557336"/>
                </a:cubicBezTo>
                <a:cubicBezTo>
                  <a:pt x="7231434" y="5557336"/>
                  <a:pt x="7231434" y="5557336"/>
                  <a:pt x="7570273" y="5381653"/>
                </a:cubicBezTo>
                <a:cubicBezTo>
                  <a:pt x="7579791" y="5376879"/>
                  <a:pt x="7590261" y="5376401"/>
                  <a:pt x="7599540" y="5379505"/>
                </a:cubicBezTo>
                <a:close/>
                <a:moveTo>
                  <a:pt x="7046905" y="5368357"/>
                </a:moveTo>
                <a:cubicBezTo>
                  <a:pt x="7056451" y="5371445"/>
                  <a:pt x="7065043" y="5378096"/>
                  <a:pt x="7070771" y="5387598"/>
                </a:cubicBezTo>
                <a:cubicBezTo>
                  <a:pt x="7080318" y="5406602"/>
                  <a:pt x="7072681" y="5431306"/>
                  <a:pt x="7051678" y="5440808"/>
                </a:cubicBezTo>
                <a:cubicBezTo>
                  <a:pt x="7051678" y="5440808"/>
                  <a:pt x="7051678" y="5440808"/>
                  <a:pt x="6713729" y="5611841"/>
                </a:cubicBezTo>
                <a:cubicBezTo>
                  <a:pt x="6694636" y="5621343"/>
                  <a:pt x="6669815" y="5613741"/>
                  <a:pt x="6660268" y="5594738"/>
                </a:cubicBezTo>
                <a:cubicBezTo>
                  <a:pt x="6656450" y="5589037"/>
                  <a:pt x="6656450" y="5581435"/>
                  <a:pt x="6656450" y="5575734"/>
                </a:cubicBezTo>
                <a:cubicBezTo>
                  <a:pt x="6656450" y="5562431"/>
                  <a:pt x="6664087" y="5547229"/>
                  <a:pt x="6677452" y="5541527"/>
                </a:cubicBezTo>
                <a:cubicBezTo>
                  <a:pt x="6677452" y="5541527"/>
                  <a:pt x="6677452" y="5541527"/>
                  <a:pt x="7017310" y="5370495"/>
                </a:cubicBezTo>
                <a:cubicBezTo>
                  <a:pt x="7026857" y="5365744"/>
                  <a:pt x="7037358" y="5365269"/>
                  <a:pt x="7046905" y="5368357"/>
                </a:cubicBezTo>
                <a:close/>
                <a:moveTo>
                  <a:pt x="6501958" y="5357490"/>
                </a:moveTo>
                <a:cubicBezTo>
                  <a:pt x="6511491" y="5360820"/>
                  <a:pt x="6519593" y="5367955"/>
                  <a:pt x="6524359" y="5378420"/>
                </a:cubicBezTo>
                <a:cubicBezTo>
                  <a:pt x="6535798" y="5397446"/>
                  <a:pt x="6526266" y="5422181"/>
                  <a:pt x="6507201" y="5431695"/>
                </a:cubicBezTo>
                <a:cubicBezTo>
                  <a:pt x="6507201" y="5431695"/>
                  <a:pt x="6507201" y="5431695"/>
                  <a:pt x="6167854" y="5597227"/>
                </a:cubicBezTo>
                <a:cubicBezTo>
                  <a:pt x="6148790" y="5608643"/>
                  <a:pt x="6124006" y="5599129"/>
                  <a:pt x="6114474" y="5580103"/>
                </a:cubicBezTo>
                <a:cubicBezTo>
                  <a:pt x="6110661" y="5574395"/>
                  <a:pt x="6108755" y="5568687"/>
                  <a:pt x="6108755" y="5561076"/>
                </a:cubicBezTo>
                <a:cubicBezTo>
                  <a:pt x="6108755" y="5547757"/>
                  <a:pt x="6118287" y="5532536"/>
                  <a:pt x="6131632" y="5524925"/>
                </a:cubicBezTo>
                <a:cubicBezTo>
                  <a:pt x="6131632" y="5524925"/>
                  <a:pt x="6131632" y="5524925"/>
                  <a:pt x="6470979" y="5359393"/>
                </a:cubicBezTo>
                <a:cubicBezTo>
                  <a:pt x="6481464" y="5354637"/>
                  <a:pt x="6492426" y="5354161"/>
                  <a:pt x="6501958" y="5357490"/>
                </a:cubicBezTo>
                <a:close/>
                <a:moveTo>
                  <a:pt x="5956806" y="5347061"/>
                </a:moveTo>
                <a:cubicBezTo>
                  <a:pt x="5966814" y="5350615"/>
                  <a:pt x="5975394" y="5357723"/>
                  <a:pt x="5980159" y="5367201"/>
                </a:cubicBezTo>
                <a:cubicBezTo>
                  <a:pt x="5989691" y="5388051"/>
                  <a:pt x="5980159" y="5412693"/>
                  <a:pt x="5961095" y="5422171"/>
                </a:cubicBezTo>
                <a:cubicBezTo>
                  <a:pt x="5961095" y="5422171"/>
                  <a:pt x="5961095" y="5422171"/>
                  <a:pt x="5621756" y="5583290"/>
                </a:cubicBezTo>
                <a:cubicBezTo>
                  <a:pt x="5600786" y="5592768"/>
                  <a:pt x="5576003" y="5585186"/>
                  <a:pt x="5566471" y="5564335"/>
                </a:cubicBezTo>
                <a:cubicBezTo>
                  <a:pt x="5562659" y="5558648"/>
                  <a:pt x="5562659" y="5552962"/>
                  <a:pt x="5562659" y="5547275"/>
                </a:cubicBezTo>
                <a:cubicBezTo>
                  <a:pt x="5562659" y="5532111"/>
                  <a:pt x="5570284" y="5516947"/>
                  <a:pt x="5585535" y="5509365"/>
                </a:cubicBezTo>
                <a:cubicBezTo>
                  <a:pt x="5585535" y="5509365"/>
                  <a:pt x="5585535" y="5509365"/>
                  <a:pt x="5924873" y="5348245"/>
                </a:cubicBezTo>
                <a:cubicBezTo>
                  <a:pt x="5935358" y="5343507"/>
                  <a:pt x="5946797" y="5343507"/>
                  <a:pt x="5956806" y="5347061"/>
                </a:cubicBezTo>
                <a:close/>
                <a:moveTo>
                  <a:pt x="398204" y="5347061"/>
                </a:moveTo>
                <a:cubicBezTo>
                  <a:pt x="407975" y="5350615"/>
                  <a:pt x="416554" y="5357723"/>
                  <a:pt x="422273" y="5367201"/>
                </a:cubicBezTo>
                <a:cubicBezTo>
                  <a:pt x="431805" y="5388051"/>
                  <a:pt x="422273" y="5412693"/>
                  <a:pt x="401302" y="5422171"/>
                </a:cubicBezTo>
                <a:cubicBezTo>
                  <a:pt x="401302" y="5422171"/>
                  <a:pt x="401302" y="5422171"/>
                  <a:pt x="63863" y="5583290"/>
                </a:cubicBezTo>
                <a:cubicBezTo>
                  <a:pt x="42892" y="5592768"/>
                  <a:pt x="18108" y="5585186"/>
                  <a:pt x="8576" y="5564335"/>
                </a:cubicBezTo>
                <a:cubicBezTo>
                  <a:pt x="4763" y="5558648"/>
                  <a:pt x="4763" y="5552962"/>
                  <a:pt x="4763" y="5547275"/>
                </a:cubicBezTo>
                <a:cubicBezTo>
                  <a:pt x="4763" y="5532111"/>
                  <a:pt x="12389" y="5516947"/>
                  <a:pt x="27641" y="5509365"/>
                </a:cubicBezTo>
                <a:cubicBezTo>
                  <a:pt x="27641" y="5509365"/>
                  <a:pt x="27641" y="5509365"/>
                  <a:pt x="366986" y="5348245"/>
                </a:cubicBezTo>
                <a:cubicBezTo>
                  <a:pt x="377472" y="5343507"/>
                  <a:pt x="388434" y="5343507"/>
                  <a:pt x="398204" y="5347061"/>
                </a:cubicBezTo>
                <a:close/>
                <a:moveTo>
                  <a:pt x="5409026" y="5334662"/>
                </a:moveTo>
                <a:cubicBezTo>
                  <a:pt x="5419064" y="5338481"/>
                  <a:pt x="5427669" y="5346121"/>
                  <a:pt x="5432448" y="5356624"/>
                </a:cubicBezTo>
                <a:cubicBezTo>
                  <a:pt x="5442009" y="5377632"/>
                  <a:pt x="5432448" y="5402459"/>
                  <a:pt x="5411416" y="5412008"/>
                </a:cubicBezTo>
                <a:cubicBezTo>
                  <a:pt x="5411416" y="5412008"/>
                  <a:pt x="5411416" y="5412008"/>
                  <a:pt x="5071065" y="5570519"/>
                </a:cubicBezTo>
                <a:cubicBezTo>
                  <a:pt x="5050035" y="5580068"/>
                  <a:pt x="5025180" y="5570519"/>
                  <a:pt x="5015620" y="5549511"/>
                </a:cubicBezTo>
                <a:cubicBezTo>
                  <a:pt x="5011797" y="5543782"/>
                  <a:pt x="5011797" y="5538053"/>
                  <a:pt x="5011797" y="5532323"/>
                </a:cubicBezTo>
                <a:cubicBezTo>
                  <a:pt x="5011797" y="5515135"/>
                  <a:pt x="5021357" y="5499857"/>
                  <a:pt x="5036652" y="5494128"/>
                </a:cubicBezTo>
                <a:cubicBezTo>
                  <a:pt x="5036652" y="5494128"/>
                  <a:pt x="5036652" y="5494128"/>
                  <a:pt x="5377000" y="5335617"/>
                </a:cubicBezTo>
                <a:cubicBezTo>
                  <a:pt x="5387516" y="5330842"/>
                  <a:pt x="5398989" y="5330842"/>
                  <a:pt x="5409026" y="5334662"/>
                </a:cubicBezTo>
                <a:close/>
                <a:moveTo>
                  <a:pt x="941871" y="5334662"/>
                </a:moveTo>
                <a:cubicBezTo>
                  <a:pt x="951873" y="5338481"/>
                  <a:pt x="960445" y="5346121"/>
                  <a:pt x="965208" y="5356624"/>
                </a:cubicBezTo>
                <a:cubicBezTo>
                  <a:pt x="974733" y="5377632"/>
                  <a:pt x="967113" y="5402459"/>
                  <a:pt x="946158" y="5412008"/>
                </a:cubicBezTo>
                <a:cubicBezTo>
                  <a:pt x="946158" y="5412008"/>
                  <a:pt x="946158" y="5412008"/>
                  <a:pt x="605159" y="5570519"/>
                </a:cubicBezTo>
                <a:cubicBezTo>
                  <a:pt x="584203" y="5580068"/>
                  <a:pt x="559438" y="5570519"/>
                  <a:pt x="549913" y="5549511"/>
                </a:cubicBezTo>
                <a:cubicBezTo>
                  <a:pt x="548008" y="5543782"/>
                  <a:pt x="546103" y="5538053"/>
                  <a:pt x="546103" y="5532323"/>
                </a:cubicBezTo>
                <a:cubicBezTo>
                  <a:pt x="546103" y="5515135"/>
                  <a:pt x="555628" y="5499857"/>
                  <a:pt x="570868" y="5494128"/>
                </a:cubicBezTo>
                <a:cubicBezTo>
                  <a:pt x="570868" y="5494128"/>
                  <a:pt x="570868" y="5494128"/>
                  <a:pt x="909962" y="5335617"/>
                </a:cubicBezTo>
                <a:cubicBezTo>
                  <a:pt x="920440" y="5330842"/>
                  <a:pt x="931870" y="5330842"/>
                  <a:pt x="941871" y="5334662"/>
                </a:cubicBezTo>
                <a:close/>
                <a:moveTo>
                  <a:pt x="4854192" y="5323799"/>
                </a:moveTo>
                <a:cubicBezTo>
                  <a:pt x="4864654" y="5327862"/>
                  <a:pt x="4873693" y="5335989"/>
                  <a:pt x="4878448" y="5347462"/>
                </a:cubicBezTo>
                <a:cubicBezTo>
                  <a:pt x="4887962" y="5368497"/>
                  <a:pt x="4878448" y="5393356"/>
                  <a:pt x="4855617" y="5402917"/>
                </a:cubicBezTo>
                <a:cubicBezTo>
                  <a:pt x="4855617" y="5402917"/>
                  <a:pt x="4855617" y="5402917"/>
                  <a:pt x="4517030" y="5555894"/>
                </a:cubicBezTo>
                <a:cubicBezTo>
                  <a:pt x="4496104" y="5567368"/>
                  <a:pt x="4471375" y="5557807"/>
                  <a:pt x="4459961" y="5534860"/>
                </a:cubicBezTo>
                <a:cubicBezTo>
                  <a:pt x="4458059" y="5529123"/>
                  <a:pt x="4456156" y="5523387"/>
                  <a:pt x="4456156" y="5517650"/>
                </a:cubicBezTo>
                <a:cubicBezTo>
                  <a:pt x="4456156" y="5500440"/>
                  <a:pt x="4465668" y="5485142"/>
                  <a:pt x="4482788" y="5477493"/>
                </a:cubicBezTo>
                <a:cubicBezTo>
                  <a:pt x="4482788" y="5477493"/>
                  <a:pt x="4482788" y="5477493"/>
                  <a:pt x="4821375" y="5324516"/>
                </a:cubicBezTo>
                <a:cubicBezTo>
                  <a:pt x="4831836" y="5319735"/>
                  <a:pt x="4843727" y="5319735"/>
                  <a:pt x="4854192" y="5323799"/>
                </a:cubicBezTo>
                <a:close/>
                <a:moveTo>
                  <a:pt x="1489585" y="5323799"/>
                </a:moveTo>
                <a:cubicBezTo>
                  <a:pt x="1499579" y="5327862"/>
                  <a:pt x="1508145" y="5335989"/>
                  <a:pt x="1512904" y="5347462"/>
                </a:cubicBezTo>
                <a:cubicBezTo>
                  <a:pt x="1522422" y="5368497"/>
                  <a:pt x="1512904" y="5393356"/>
                  <a:pt x="1491964" y="5402917"/>
                </a:cubicBezTo>
                <a:cubicBezTo>
                  <a:pt x="1491964" y="5402917"/>
                  <a:pt x="1491964" y="5402917"/>
                  <a:pt x="1153121" y="5555894"/>
                </a:cubicBezTo>
                <a:cubicBezTo>
                  <a:pt x="1130277" y="5567368"/>
                  <a:pt x="1105530" y="5557807"/>
                  <a:pt x="1096012" y="5534860"/>
                </a:cubicBezTo>
                <a:cubicBezTo>
                  <a:pt x="1094109" y="5529123"/>
                  <a:pt x="1092205" y="5523387"/>
                  <a:pt x="1092205" y="5517650"/>
                </a:cubicBezTo>
                <a:cubicBezTo>
                  <a:pt x="1092205" y="5500440"/>
                  <a:pt x="1101723" y="5485142"/>
                  <a:pt x="1116952" y="5477493"/>
                </a:cubicBezTo>
                <a:cubicBezTo>
                  <a:pt x="1116952" y="5477493"/>
                  <a:pt x="1116952" y="5477493"/>
                  <a:pt x="1457699" y="5324516"/>
                </a:cubicBezTo>
                <a:cubicBezTo>
                  <a:pt x="1468169" y="5319735"/>
                  <a:pt x="1479591" y="5319735"/>
                  <a:pt x="1489585" y="5323799"/>
                </a:cubicBezTo>
                <a:close/>
                <a:moveTo>
                  <a:pt x="4281187" y="5309975"/>
                </a:moveTo>
                <a:cubicBezTo>
                  <a:pt x="4298281" y="5310153"/>
                  <a:pt x="4314033" y="5320512"/>
                  <a:pt x="4321192" y="5336228"/>
                </a:cubicBezTo>
                <a:cubicBezTo>
                  <a:pt x="4330738" y="5359088"/>
                  <a:pt x="4321192" y="5383853"/>
                  <a:pt x="4298281" y="5395283"/>
                </a:cubicBezTo>
                <a:cubicBezTo>
                  <a:pt x="4298281" y="5395283"/>
                  <a:pt x="4298281" y="5395283"/>
                  <a:pt x="3958460" y="5541968"/>
                </a:cubicBezTo>
                <a:cubicBezTo>
                  <a:pt x="3935549" y="5551493"/>
                  <a:pt x="3910729" y="5541968"/>
                  <a:pt x="3901183" y="5519108"/>
                </a:cubicBezTo>
                <a:cubicBezTo>
                  <a:pt x="3897363" y="5513393"/>
                  <a:pt x="3897363" y="5507678"/>
                  <a:pt x="3897363" y="5501963"/>
                </a:cubicBezTo>
                <a:cubicBezTo>
                  <a:pt x="3897363" y="5484818"/>
                  <a:pt x="3906908" y="5469578"/>
                  <a:pt x="3924095" y="5461958"/>
                </a:cubicBezTo>
                <a:cubicBezTo>
                  <a:pt x="3924095" y="5461958"/>
                  <a:pt x="3924095" y="5461958"/>
                  <a:pt x="4263914" y="5313368"/>
                </a:cubicBezTo>
                <a:cubicBezTo>
                  <a:pt x="4269641" y="5310987"/>
                  <a:pt x="4275488" y="5309915"/>
                  <a:pt x="4281187" y="5309975"/>
                </a:cubicBezTo>
                <a:close/>
                <a:moveTo>
                  <a:pt x="2026929" y="5309974"/>
                </a:moveTo>
                <a:cubicBezTo>
                  <a:pt x="2044546" y="5310153"/>
                  <a:pt x="2061364" y="5320511"/>
                  <a:pt x="2068518" y="5336228"/>
                </a:cubicBezTo>
                <a:cubicBezTo>
                  <a:pt x="2078057" y="5359088"/>
                  <a:pt x="2066610" y="5383853"/>
                  <a:pt x="2045620" y="5395283"/>
                </a:cubicBezTo>
                <a:cubicBezTo>
                  <a:pt x="2045620" y="5395283"/>
                  <a:pt x="2045620" y="5395283"/>
                  <a:pt x="1704121" y="5541968"/>
                </a:cubicBezTo>
                <a:cubicBezTo>
                  <a:pt x="1683136" y="5551493"/>
                  <a:pt x="1656426" y="5541968"/>
                  <a:pt x="1646887" y="5519108"/>
                </a:cubicBezTo>
                <a:cubicBezTo>
                  <a:pt x="1644979" y="5513393"/>
                  <a:pt x="1643071" y="5507678"/>
                  <a:pt x="1643071" y="5501963"/>
                </a:cubicBezTo>
                <a:cubicBezTo>
                  <a:pt x="1643071" y="5484818"/>
                  <a:pt x="1652611" y="5469578"/>
                  <a:pt x="1669781" y="5461958"/>
                </a:cubicBezTo>
                <a:cubicBezTo>
                  <a:pt x="1669781" y="5461958"/>
                  <a:pt x="1669781" y="5461958"/>
                  <a:pt x="2009371" y="5313368"/>
                </a:cubicBezTo>
                <a:cubicBezTo>
                  <a:pt x="2015094" y="5310986"/>
                  <a:pt x="2021056" y="5309915"/>
                  <a:pt x="2026929" y="5309974"/>
                </a:cubicBezTo>
                <a:close/>
                <a:moveTo>
                  <a:pt x="3719254" y="5298899"/>
                </a:moveTo>
                <a:cubicBezTo>
                  <a:pt x="3736338" y="5299168"/>
                  <a:pt x="3752077" y="5309897"/>
                  <a:pt x="3759233" y="5327064"/>
                </a:cubicBezTo>
                <a:cubicBezTo>
                  <a:pt x="3768773" y="5349954"/>
                  <a:pt x="3759233" y="5376658"/>
                  <a:pt x="3736338" y="5386196"/>
                </a:cubicBezTo>
                <a:cubicBezTo>
                  <a:pt x="3736338" y="5386196"/>
                  <a:pt x="3736338" y="5386196"/>
                  <a:pt x="3394855" y="5529255"/>
                </a:cubicBezTo>
                <a:cubicBezTo>
                  <a:pt x="3371961" y="5538793"/>
                  <a:pt x="3347156" y="5527348"/>
                  <a:pt x="3337618" y="5504458"/>
                </a:cubicBezTo>
                <a:cubicBezTo>
                  <a:pt x="3333805" y="5498736"/>
                  <a:pt x="3333805" y="5493014"/>
                  <a:pt x="3333805" y="5487291"/>
                </a:cubicBezTo>
                <a:cubicBezTo>
                  <a:pt x="3333805" y="5470124"/>
                  <a:pt x="3343343" y="5454864"/>
                  <a:pt x="3360512" y="5447234"/>
                </a:cubicBezTo>
                <a:cubicBezTo>
                  <a:pt x="3360512" y="5447234"/>
                  <a:pt x="3360512" y="5447234"/>
                  <a:pt x="3701998" y="5302267"/>
                </a:cubicBezTo>
                <a:cubicBezTo>
                  <a:pt x="3707720" y="5299883"/>
                  <a:pt x="3713563" y="5298810"/>
                  <a:pt x="3719254" y="5298899"/>
                </a:cubicBezTo>
                <a:close/>
                <a:moveTo>
                  <a:pt x="2583547" y="5298899"/>
                </a:moveTo>
                <a:cubicBezTo>
                  <a:pt x="2600298" y="5299168"/>
                  <a:pt x="2617051" y="5309897"/>
                  <a:pt x="2624178" y="5327064"/>
                </a:cubicBezTo>
                <a:cubicBezTo>
                  <a:pt x="2633682" y="5349954"/>
                  <a:pt x="2624178" y="5376658"/>
                  <a:pt x="2601368" y="5386196"/>
                </a:cubicBezTo>
                <a:cubicBezTo>
                  <a:pt x="2601368" y="5386196"/>
                  <a:pt x="2601368" y="5386196"/>
                  <a:pt x="2261117" y="5529255"/>
                </a:cubicBezTo>
                <a:cubicBezTo>
                  <a:pt x="2238307" y="5538793"/>
                  <a:pt x="2213596" y="5527348"/>
                  <a:pt x="2204092" y="5504458"/>
                </a:cubicBezTo>
                <a:cubicBezTo>
                  <a:pt x="2200290" y="5498736"/>
                  <a:pt x="2200290" y="5493014"/>
                  <a:pt x="2200290" y="5487291"/>
                </a:cubicBezTo>
                <a:cubicBezTo>
                  <a:pt x="2200290" y="5470124"/>
                  <a:pt x="2209794" y="5454864"/>
                  <a:pt x="2226902" y="5447234"/>
                </a:cubicBezTo>
                <a:cubicBezTo>
                  <a:pt x="2226902" y="5447234"/>
                  <a:pt x="2226902" y="5447234"/>
                  <a:pt x="2567153" y="5302267"/>
                </a:cubicBezTo>
                <a:cubicBezTo>
                  <a:pt x="2572380" y="5299883"/>
                  <a:pt x="2577964" y="5298810"/>
                  <a:pt x="2583547" y="5298899"/>
                </a:cubicBezTo>
                <a:close/>
                <a:moveTo>
                  <a:pt x="3161733" y="5292230"/>
                </a:moveTo>
                <a:cubicBezTo>
                  <a:pt x="3172419" y="5296505"/>
                  <a:pt x="3181440" y="5305055"/>
                  <a:pt x="3186189" y="5317405"/>
                </a:cubicBezTo>
                <a:cubicBezTo>
                  <a:pt x="3195686" y="5340205"/>
                  <a:pt x="3184291" y="5366805"/>
                  <a:pt x="3161496" y="5376305"/>
                </a:cubicBezTo>
                <a:cubicBezTo>
                  <a:pt x="3161496" y="5376305"/>
                  <a:pt x="3161496" y="5376305"/>
                  <a:pt x="2821486" y="5515005"/>
                </a:cubicBezTo>
                <a:cubicBezTo>
                  <a:pt x="2798693" y="5524505"/>
                  <a:pt x="2772099" y="5513105"/>
                  <a:pt x="2762605" y="5488405"/>
                </a:cubicBezTo>
                <a:cubicBezTo>
                  <a:pt x="2760704" y="5484605"/>
                  <a:pt x="2760704" y="5477005"/>
                  <a:pt x="2760704" y="5471305"/>
                </a:cubicBezTo>
                <a:cubicBezTo>
                  <a:pt x="2760704" y="5454205"/>
                  <a:pt x="2770200" y="5437105"/>
                  <a:pt x="2787294" y="5429505"/>
                </a:cubicBezTo>
                <a:cubicBezTo>
                  <a:pt x="2787294" y="5429505"/>
                  <a:pt x="2787294" y="5429505"/>
                  <a:pt x="3127304" y="5292705"/>
                </a:cubicBezTo>
                <a:cubicBezTo>
                  <a:pt x="3138702" y="5287955"/>
                  <a:pt x="3151048" y="5287955"/>
                  <a:pt x="3161733" y="5292230"/>
                </a:cubicBezTo>
                <a:close/>
                <a:moveTo>
                  <a:pt x="9868289" y="5096095"/>
                </a:moveTo>
                <a:cubicBezTo>
                  <a:pt x="9876611" y="5097754"/>
                  <a:pt x="9884219" y="5102496"/>
                  <a:pt x="9888974" y="5110082"/>
                </a:cubicBezTo>
                <a:cubicBezTo>
                  <a:pt x="9896582" y="5125253"/>
                  <a:pt x="9892778" y="5146115"/>
                  <a:pt x="9877562" y="5155597"/>
                </a:cubicBezTo>
                <a:cubicBezTo>
                  <a:pt x="9877562" y="5155597"/>
                  <a:pt x="9877562" y="5155597"/>
                  <a:pt x="9542804" y="5364209"/>
                </a:cubicBezTo>
                <a:cubicBezTo>
                  <a:pt x="9527588" y="5373692"/>
                  <a:pt x="9506665" y="5368002"/>
                  <a:pt x="9497155" y="5352831"/>
                </a:cubicBezTo>
                <a:cubicBezTo>
                  <a:pt x="9493351" y="5347141"/>
                  <a:pt x="9493351" y="5341452"/>
                  <a:pt x="9493351" y="5335762"/>
                </a:cubicBezTo>
                <a:cubicBezTo>
                  <a:pt x="9493351" y="5324383"/>
                  <a:pt x="9497155" y="5314901"/>
                  <a:pt x="9508567" y="5307315"/>
                </a:cubicBezTo>
                <a:cubicBezTo>
                  <a:pt x="9508567" y="5307315"/>
                  <a:pt x="9508567" y="5307315"/>
                  <a:pt x="9843325" y="5100599"/>
                </a:cubicBezTo>
                <a:cubicBezTo>
                  <a:pt x="9850933" y="5095858"/>
                  <a:pt x="9859968" y="5094436"/>
                  <a:pt x="9868289" y="5096095"/>
                </a:cubicBezTo>
                <a:close/>
                <a:moveTo>
                  <a:pt x="10452111" y="5084390"/>
                </a:moveTo>
                <a:cubicBezTo>
                  <a:pt x="10460452" y="5086541"/>
                  <a:pt x="10468078" y="5091797"/>
                  <a:pt x="10472844" y="5099443"/>
                </a:cubicBezTo>
                <a:cubicBezTo>
                  <a:pt x="10482377" y="5116646"/>
                  <a:pt x="10476657" y="5137673"/>
                  <a:pt x="10461405" y="5147230"/>
                </a:cubicBezTo>
                <a:cubicBezTo>
                  <a:pt x="10461405" y="5147230"/>
                  <a:pt x="10461405" y="5147230"/>
                  <a:pt x="10125860" y="5349847"/>
                </a:cubicBezTo>
                <a:cubicBezTo>
                  <a:pt x="10108701" y="5359405"/>
                  <a:pt x="10087730" y="5353670"/>
                  <a:pt x="10078197" y="5338378"/>
                </a:cubicBezTo>
                <a:cubicBezTo>
                  <a:pt x="10074384" y="5332644"/>
                  <a:pt x="10074384" y="5326910"/>
                  <a:pt x="10074384" y="5321175"/>
                </a:cubicBezTo>
                <a:cubicBezTo>
                  <a:pt x="10074384" y="5309706"/>
                  <a:pt x="10080104" y="5298237"/>
                  <a:pt x="10089636" y="5290591"/>
                </a:cubicBezTo>
                <a:cubicBezTo>
                  <a:pt x="10089636" y="5290591"/>
                  <a:pt x="10089636" y="5290591"/>
                  <a:pt x="10427088" y="5087974"/>
                </a:cubicBezTo>
                <a:cubicBezTo>
                  <a:pt x="10434714" y="5083196"/>
                  <a:pt x="10443770" y="5082240"/>
                  <a:pt x="10452111" y="5084390"/>
                </a:cubicBezTo>
                <a:close/>
                <a:moveTo>
                  <a:pt x="9291418" y="5084390"/>
                </a:moveTo>
                <a:cubicBezTo>
                  <a:pt x="9299991" y="5086541"/>
                  <a:pt x="9307611" y="5091797"/>
                  <a:pt x="9312374" y="5099443"/>
                </a:cubicBezTo>
                <a:cubicBezTo>
                  <a:pt x="9321899" y="5116646"/>
                  <a:pt x="9316184" y="5137673"/>
                  <a:pt x="9300944" y="5147230"/>
                </a:cubicBezTo>
                <a:cubicBezTo>
                  <a:pt x="9300944" y="5147230"/>
                  <a:pt x="9300944" y="5147230"/>
                  <a:pt x="8963754" y="5349847"/>
                </a:cubicBezTo>
                <a:cubicBezTo>
                  <a:pt x="8948514" y="5359405"/>
                  <a:pt x="8927558" y="5353670"/>
                  <a:pt x="8918033" y="5338378"/>
                </a:cubicBezTo>
                <a:cubicBezTo>
                  <a:pt x="8914223" y="5332644"/>
                  <a:pt x="8912318" y="5326910"/>
                  <a:pt x="8912318" y="5321175"/>
                </a:cubicBezTo>
                <a:cubicBezTo>
                  <a:pt x="8912318" y="5309706"/>
                  <a:pt x="8918033" y="5298237"/>
                  <a:pt x="8929463" y="5290591"/>
                </a:cubicBezTo>
                <a:cubicBezTo>
                  <a:pt x="8929463" y="5290591"/>
                  <a:pt x="8929463" y="5290591"/>
                  <a:pt x="9264748" y="5087974"/>
                </a:cubicBezTo>
                <a:cubicBezTo>
                  <a:pt x="9273320" y="5083196"/>
                  <a:pt x="9282846" y="5082240"/>
                  <a:pt x="9291418" y="5084390"/>
                </a:cubicBezTo>
                <a:close/>
                <a:moveTo>
                  <a:pt x="11029363" y="5075090"/>
                </a:moveTo>
                <a:cubicBezTo>
                  <a:pt x="11037955" y="5077474"/>
                  <a:pt x="11045593" y="5083196"/>
                  <a:pt x="11050367" y="5091778"/>
                </a:cubicBezTo>
                <a:cubicBezTo>
                  <a:pt x="11061823" y="5107036"/>
                  <a:pt x="11056095" y="5129922"/>
                  <a:pt x="11038910" y="5139458"/>
                </a:cubicBezTo>
                <a:cubicBezTo>
                  <a:pt x="11038910" y="5139458"/>
                  <a:pt x="11038910" y="5139458"/>
                  <a:pt x="10700944" y="5333994"/>
                </a:cubicBezTo>
                <a:cubicBezTo>
                  <a:pt x="10683759" y="5343530"/>
                  <a:pt x="10662755" y="5337808"/>
                  <a:pt x="10653208" y="5320643"/>
                </a:cubicBezTo>
                <a:cubicBezTo>
                  <a:pt x="10649389" y="5314922"/>
                  <a:pt x="10647480" y="5309200"/>
                  <a:pt x="10647480" y="5303478"/>
                </a:cubicBezTo>
                <a:cubicBezTo>
                  <a:pt x="10647480" y="5292035"/>
                  <a:pt x="10655118" y="5280592"/>
                  <a:pt x="10664665" y="5272963"/>
                </a:cubicBezTo>
                <a:cubicBezTo>
                  <a:pt x="10664665" y="5272963"/>
                  <a:pt x="10664665" y="5272963"/>
                  <a:pt x="11002631" y="5078428"/>
                </a:cubicBezTo>
                <a:cubicBezTo>
                  <a:pt x="11011223" y="5073660"/>
                  <a:pt x="11020770" y="5072706"/>
                  <a:pt x="11029363" y="5075090"/>
                </a:cubicBezTo>
                <a:close/>
                <a:moveTo>
                  <a:pt x="8719756" y="5075090"/>
                </a:moveTo>
                <a:cubicBezTo>
                  <a:pt x="8728587" y="5077474"/>
                  <a:pt x="8736703" y="5083196"/>
                  <a:pt x="8742431" y="5091778"/>
                </a:cubicBezTo>
                <a:cubicBezTo>
                  <a:pt x="8751978" y="5107036"/>
                  <a:pt x="8746250" y="5129922"/>
                  <a:pt x="8729065" y="5139458"/>
                </a:cubicBezTo>
                <a:cubicBezTo>
                  <a:pt x="8729065" y="5139458"/>
                  <a:pt x="8729065" y="5139458"/>
                  <a:pt x="8391099" y="5333994"/>
                </a:cubicBezTo>
                <a:cubicBezTo>
                  <a:pt x="8373914" y="5343530"/>
                  <a:pt x="8352910" y="5337808"/>
                  <a:pt x="8343363" y="5320643"/>
                </a:cubicBezTo>
                <a:cubicBezTo>
                  <a:pt x="8339544" y="5314922"/>
                  <a:pt x="8337635" y="5309200"/>
                  <a:pt x="8337635" y="5303478"/>
                </a:cubicBezTo>
                <a:cubicBezTo>
                  <a:pt x="8337635" y="5292035"/>
                  <a:pt x="8345273" y="5280592"/>
                  <a:pt x="8356729" y="5272963"/>
                </a:cubicBezTo>
                <a:cubicBezTo>
                  <a:pt x="8356729" y="5272963"/>
                  <a:pt x="8356729" y="5272963"/>
                  <a:pt x="8692786" y="5078428"/>
                </a:cubicBezTo>
                <a:cubicBezTo>
                  <a:pt x="8701378" y="5073660"/>
                  <a:pt x="8710925" y="5072706"/>
                  <a:pt x="8719756" y="5075090"/>
                </a:cubicBezTo>
                <a:close/>
                <a:moveTo>
                  <a:pt x="11600954" y="5064224"/>
                </a:moveTo>
                <a:cubicBezTo>
                  <a:pt x="11609785" y="5066850"/>
                  <a:pt x="11617423" y="5073055"/>
                  <a:pt x="11622196" y="5082602"/>
                </a:cubicBezTo>
                <a:cubicBezTo>
                  <a:pt x="11631743" y="5099787"/>
                  <a:pt x="11626015" y="5120791"/>
                  <a:pt x="11608830" y="5132248"/>
                </a:cubicBezTo>
                <a:cubicBezTo>
                  <a:pt x="11608830" y="5132248"/>
                  <a:pt x="11608830" y="5132248"/>
                  <a:pt x="11270864" y="5319373"/>
                </a:cubicBezTo>
                <a:cubicBezTo>
                  <a:pt x="11253679" y="5330830"/>
                  <a:pt x="11230766" y="5323192"/>
                  <a:pt x="11221219" y="5306007"/>
                </a:cubicBezTo>
                <a:cubicBezTo>
                  <a:pt x="11217400" y="5300279"/>
                  <a:pt x="11217400" y="5294550"/>
                  <a:pt x="11217400" y="5288822"/>
                </a:cubicBezTo>
                <a:cubicBezTo>
                  <a:pt x="11217400" y="5275456"/>
                  <a:pt x="11223128" y="5262090"/>
                  <a:pt x="11234585" y="5256362"/>
                </a:cubicBezTo>
                <a:cubicBezTo>
                  <a:pt x="11234585" y="5256362"/>
                  <a:pt x="11234585" y="5256362"/>
                  <a:pt x="11572551" y="5067327"/>
                </a:cubicBezTo>
                <a:cubicBezTo>
                  <a:pt x="11582098" y="5062553"/>
                  <a:pt x="11592123" y="5061599"/>
                  <a:pt x="11600954" y="5064224"/>
                </a:cubicBezTo>
                <a:close/>
                <a:moveTo>
                  <a:pt x="8155460" y="5064224"/>
                </a:moveTo>
                <a:cubicBezTo>
                  <a:pt x="8164488" y="5066850"/>
                  <a:pt x="8172566" y="5073055"/>
                  <a:pt x="8177317" y="5082602"/>
                </a:cubicBezTo>
                <a:cubicBezTo>
                  <a:pt x="8186821" y="5099787"/>
                  <a:pt x="8181119" y="5120791"/>
                  <a:pt x="8162112" y="5132248"/>
                </a:cubicBezTo>
                <a:cubicBezTo>
                  <a:pt x="8162112" y="5132248"/>
                  <a:pt x="8162112" y="5132248"/>
                  <a:pt x="7825696" y="5319373"/>
                </a:cubicBezTo>
                <a:cubicBezTo>
                  <a:pt x="7808590" y="5330830"/>
                  <a:pt x="7787683" y="5323192"/>
                  <a:pt x="7776279" y="5306007"/>
                </a:cubicBezTo>
                <a:cubicBezTo>
                  <a:pt x="7774378" y="5300279"/>
                  <a:pt x="7772478" y="5294550"/>
                  <a:pt x="7772478" y="5288822"/>
                </a:cubicBezTo>
                <a:cubicBezTo>
                  <a:pt x="7772478" y="5275456"/>
                  <a:pt x="7780080" y="5262090"/>
                  <a:pt x="7791484" y="5256362"/>
                </a:cubicBezTo>
                <a:cubicBezTo>
                  <a:pt x="7791484" y="5256362"/>
                  <a:pt x="7791484" y="5256362"/>
                  <a:pt x="8127900" y="5067327"/>
                </a:cubicBezTo>
                <a:cubicBezTo>
                  <a:pt x="8136453" y="5062553"/>
                  <a:pt x="8146432" y="5061599"/>
                  <a:pt x="8155460" y="5064224"/>
                </a:cubicBezTo>
                <a:close/>
                <a:moveTo>
                  <a:pt x="12139750" y="5056192"/>
                </a:moveTo>
                <a:cubicBezTo>
                  <a:pt x="12139750" y="5056192"/>
                  <a:pt x="12139750" y="5056192"/>
                  <a:pt x="12139750" y="5139909"/>
                </a:cubicBezTo>
                <a:cubicBezTo>
                  <a:pt x="12139750" y="5139909"/>
                  <a:pt x="12139750" y="5139909"/>
                  <a:pt x="11834946" y="5305441"/>
                </a:cubicBezTo>
                <a:cubicBezTo>
                  <a:pt x="11815896" y="5314955"/>
                  <a:pt x="11793035" y="5307344"/>
                  <a:pt x="11783510" y="5290220"/>
                </a:cubicBezTo>
                <a:cubicBezTo>
                  <a:pt x="11779700" y="5284512"/>
                  <a:pt x="11777795" y="5276901"/>
                  <a:pt x="11777795" y="5271193"/>
                </a:cubicBezTo>
                <a:cubicBezTo>
                  <a:pt x="11777795" y="5257875"/>
                  <a:pt x="11785415" y="5244556"/>
                  <a:pt x="11798750" y="5238848"/>
                </a:cubicBezTo>
                <a:lnTo>
                  <a:pt x="12135940" y="5058094"/>
                </a:lnTo>
                <a:cubicBezTo>
                  <a:pt x="12137845" y="5056192"/>
                  <a:pt x="12137845" y="5056192"/>
                  <a:pt x="12139750" y="5056192"/>
                </a:cubicBezTo>
                <a:close/>
                <a:moveTo>
                  <a:pt x="7597906" y="5054684"/>
                </a:moveTo>
                <a:cubicBezTo>
                  <a:pt x="7607200" y="5057304"/>
                  <a:pt x="7615302" y="5063495"/>
                  <a:pt x="7620068" y="5073020"/>
                </a:cubicBezTo>
                <a:cubicBezTo>
                  <a:pt x="7629601" y="5090165"/>
                  <a:pt x="7623881" y="5113025"/>
                  <a:pt x="7604817" y="5124455"/>
                </a:cubicBezTo>
                <a:cubicBezTo>
                  <a:pt x="7604817" y="5124455"/>
                  <a:pt x="7604817" y="5124455"/>
                  <a:pt x="7267371" y="5305430"/>
                </a:cubicBezTo>
                <a:cubicBezTo>
                  <a:pt x="7248306" y="5314955"/>
                  <a:pt x="7225428" y="5307335"/>
                  <a:pt x="7215896" y="5290190"/>
                </a:cubicBezTo>
                <a:cubicBezTo>
                  <a:pt x="7213989" y="5284475"/>
                  <a:pt x="7212083" y="5276855"/>
                  <a:pt x="7212083" y="5271140"/>
                </a:cubicBezTo>
                <a:cubicBezTo>
                  <a:pt x="7212083" y="5257805"/>
                  <a:pt x="7219709" y="5244470"/>
                  <a:pt x="7231147" y="5238755"/>
                </a:cubicBezTo>
                <a:cubicBezTo>
                  <a:pt x="7231147" y="5238755"/>
                  <a:pt x="7231147" y="5238755"/>
                  <a:pt x="7568594" y="5057780"/>
                </a:cubicBezTo>
                <a:cubicBezTo>
                  <a:pt x="7578126" y="5053017"/>
                  <a:pt x="7588612" y="5052065"/>
                  <a:pt x="7597906" y="5054684"/>
                </a:cubicBezTo>
                <a:close/>
                <a:moveTo>
                  <a:pt x="7046964" y="5044542"/>
                </a:moveTo>
                <a:cubicBezTo>
                  <a:pt x="7056279" y="5047645"/>
                  <a:pt x="7064400" y="5054328"/>
                  <a:pt x="7069177" y="5063876"/>
                </a:cubicBezTo>
                <a:cubicBezTo>
                  <a:pt x="7078731" y="5082972"/>
                  <a:pt x="7071088" y="5105887"/>
                  <a:pt x="7051980" y="5115435"/>
                </a:cubicBezTo>
                <a:cubicBezTo>
                  <a:pt x="7051980" y="5115435"/>
                  <a:pt x="7051980" y="5115435"/>
                  <a:pt x="6713773" y="5291119"/>
                </a:cubicBezTo>
                <a:cubicBezTo>
                  <a:pt x="6694665" y="5300667"/>
                  <a:pt x="6669825" y="5293028"/>
                  <a:pt x="6660271" y="5273932"/>
                </a:cubicBezTo>
                <a:cubicBezTo>
                  <a:pt x="6658361" y="5268204"/>
                  <a:pt x="6656450" y="5262475"/>
                  <a:pt x="6656450" y="5256746"/>
                </a:cubicBezTo>
                <a:cubicBezTo>
                  <a:pt x="6656450" y="5241469"/>
                  <a:pt x="6664093" y="5228102"/>
                  <a:pt x="6677468" y="5222373"/>
                </a:cubicBezTo>
                <a:cubicBezTo>
                  <a:pt x="6677468" y="5222373"/>
                  <a:pt x="6677468" y="5222373"/>
                  <a:pt x="7017586" y="5046690"/>
                </a:cubicBezTo>
                <a:cubicBezTo>
                  <a:pt x="7027140" y="5041916"/>
                  <a:pt x="7037649" y="5041438"/>
                  <a:pt x="7046964" y="5044542"/>
                </a:cubicBezTo>
                <a:close/>
                <a:moveTo>
                  <a:pt x="6485663" y="5032630"/>
                </a:moveTo>
                <a:cubicBezTo>
                  <a:pt x="6501356" y="5031381"/>
                  <a:pt x="6515979" y="5040300"/>
                  <a:pt x="6523112" y="5054570"/>
                </a:cubicBezTo>
                <a:cubicBezTo>
                  <a:pt x="6532623" y="5075499"/>
                  <a:pt x="6525014" y="5098331"/>
                  <a:pt x="6505992" y="5107845"/>
                </a:cubicBezTo>
                <a:cubicBezTo>
                  <a:pt x="6505992" y="5107845"/>
                  <a:pt x="6505992" y="5107845"/>
                  <a:pt x="6167407" y="5275279"/>
                </a:cubicBezTo>
                <a:cubicBezTo>
                  <a:pt x="6148385" y="5284793"/>
                  <a:pt x="6123657" y="5277182"/>
                  <a:pt x="6114146" y="5258155"/>
                </a:cubicBezTo>
                <a:cubicBezTo>
                  <a:pt x="6110342" y="5252447"/>
                  <a:pt x="6110342" y="5246739"/>
                  <a:pt x="6110342" y="5239129"/>
                </a:cubicBezTo>
                <a:cubicBezTo>
                  <a:pt x="6110342" y="5225810"/>
                  <a:pt x="6117950" y="5210589"/>
                  <a:pt x="6131266" y="5202978"/>
                </a:cubicBezTo>
                <a:cubicBezTo>
                  <a:pt x="6131266" y="5202978"/>
                  <a:pt x="6131266" y="5202978"/>
                  <a:pt x="6469851" y="5037446"/>
                </a:cubicBezTo>
                <a:cubicBezTo>
                  <a:pt x="6475082" y="5034592"/>
                  <a:pt x="6480432" y="5033046"/>
                  <a:pt x="6485663" y="5032630"/>
                </a:cubicBezTo>
                <a:close/>
                <a:moveTo>
                  <a:pt x="5956806" y="5024850"/>
                </a:moveTo>
                <a:cubicBezTo>
                  <a:pt x="5966814" y="5028426"/>
                  <a:pt x="5975394" y="5035579"/>
                  <a:pt x="5980159" y="5045115"/>
                </a:cubicBezTo>
                <a:cubicBezTo>
                  <a:pt x="5989691" y="5066096"/>
                  <a:pt x="5980159" y="5090892"/>
                  <a:pt x="5961095" y="5100429"/>
                </a:cubicBezTo>
                <a:cubicBezTo>
                  <a:pt x="5961095" y="5100429"/>
                  <a:pt x="5961095" y="5100429"/>
                  <a:pt x="5621756" y="5262556"/>
                </a:cubicBezTo>
                <a:cubicBezTo>
                  <a:pt x="5600786" y="5272093"/>
                  <a:pt x="5576003" y="5262556"/>
                  <a:pt x="5566471" y="5241575"/>
                </a:cubicBezTo>
                <a:cubicBezTo>
                  <a:pt x="5562659" y="5235853"/>
                  <a:pt x="5562659" y="5230131"/>
                  <a:pt x="5562659" y="5224408"/>
                </a:cubicBezTo>
                <a:cubicBezTo>
                  <a:pt x="5562659" y="5209149"/>
                  <a:pt x="5570284" y="5193890"/>
                  <a:pt x="5585535" y="5186261"/>
                </a:cubicBezTo>
                <a:cubicBezTo>
                  <a:pt x="5585535" y="5186261"/>
                  <a:pt x="5585535" y="5186261"/>
                  <a:pt x="5924873" y="5026042"/>
                </a:cubicBezTo>
                <a:cubicBezTo>
                  <a:pt x="5935358" y="5021273"/>
                  <a:pt x="5946797" y="5021273"/>
                  <a:pt x="5956806" y="5024850"/>
                </a:cubicBezTo>
                <a:close/>
                <a:moveTo>
                  <a:pt x="398945" y="5024850"/>
                </a:moveTo>
                <a:cubicBezTo>
                  <a:pt x="408946" y="5028426"/>
                  <a:pt x="417519" y="5035578"/>
                  <a:pt x="422281" y="5045115"/>
                </a:cubicBezTo>
                <a:cubicBezTo>
                  <a:pt x="431806" y="5066096"/>
                  <a:pt x="422281" y="5090892"/>
                  <a:pt x="401326" y="5100429"/>
                </a:cubicBezTo>
                <a:cubicBezTo>
                  <a:pt x="401326" y="5100429"/>
                  <a:pt x="401326" y="5100429"/>
                  <a:pt x="62232" y="5262556"/>
                </a:cubicBezTo>
                <a:cubicBezTo>
                  <a:pt x="43182" y="5272093"/>
                  <a:pt x="18416" y="5262556"/>
                  <a:pt x="8891" y="5241575"/>
                </a:cubicBezTo>
                <a:cubicBezTo>
                  <a:pt x="5081" y="5235853"/>
                  <a:pt x="3176" y="5230131"/>
                  <a:pt x="3176" y="5224408"/>
                </a:cubicBezTo>
                <a:cubicBezTo>
                  <a:pt x="3176" y="5209149"/>
                  <a:pt x="12701" y="5193890"/>
                  <a:pt x="27941" y="5186261"/>
                </a:cubicBezTo>
                <a:cubicBezTo>
                  <a:pt x="27941" y="5186261"/>
                  <a:pt x="27941" y="5186261"/>
                  <a:pt x="367035" y="5026042"/>
                </a:cubicBezTo>
                <a:cubicBezTo>
                  <a:pt x="377513" y="5021273"/>
                  <a:pt x="388943" y="5021273"/>
                  <a:pt x="398945" y="5024850"/>
                </a:cubicBezTo>
                <a:close/>
                <a:moveTo>
                  <a:pt x="5409053" y="5014180"/>
                </a:moveTo>
                <a:cubicBezTo>
                  <a:pt x="5419083" y="5018218"/>
                  <a:pt x="5427680" y="5026294"/>
                  <a:pt x="5432457" y="5037695"/>
                </a:cubicBezTo>
                <a:cubicBezTo>
                  <a:pt x="5442010" y="5058597"/>
                  <a:pt x="5434368" y="5083300"/>
                  <a:pt x="5411441" y="5092800"/>
                </a:cubicBezTo>
                <a:cubicBezTo>
                  <a:pt x="5411441" y="5092800"/>
                  <a:pt x="5411441" y="5092800"/>
                  <a:pt x="5071343" y="5246716"/>
                </a:cubicBezTo>
                <a:cubicBezTo>
                  <a:pt x="5050329" y="5256217"/>
                  <a:pt x="5025493" y="5246716"/>
                  <a:pt x="5014031" y="5225814"/>
                </a:cubicBezTo>
                <a:cubicBezTo>
                  <a:pt x="5012121" y="5220113"/>
                  <a:pt x="5010210" y="5214413"/>
                  <a:pt x="5010210" y="5208712"/>
                </a:cubicBezTo>
                <a:cubicBezTo>
                  <a:pt x="5010210" y="5191610"/>
                  <a:pt x="5019763" y="5176409"/>
                  <a:pt x="5036956" y="5168808"/>
                </a:cubicBezTo>
                <a:cubicBezTo>
                  <a:pt x="5036956" y="5168808"/>
                  <a:pt x="5036956" y="5168808"/>
                  <a:pt x="5377049" y="5014893"/>
                </a:cubicBezTo>
                <a:cubicBezTo>
                  <a:pt x="5387558" y="5010142"/>
                  <a:pt x="5399021" y="5010142"/>
                  <a:pt x="5409053" y="5014180"/>
                </a:cubicBezTo>
                <a:close/>
                <a:moveTo>
                  <a:pt x="942531" y="5014180"/>
                </a:moveTo>
                <a:cubicBezTo>
                  <a:pt x="953000" y="5018218"/>
                  <a:pt x="962043" y="5026294"/>
                  <a:pt x="966802" y="5037695"/>
                </a:cubicBezTo>
                <a:cubicBezTo>
                  <a:pt x="976320" y="5058597"/>
                  <a:pt x="966802" y="5083300"/>
                  <a:pt x="945862" y="5092800"/>
                </a:cubicBezTo>
                <a:cubicBezTo>
                  <a:pt x="945862" y="5092800"/>
                  <a:pt x="945862" y="5092800"/>
                  <a:pt x="605115" y="5246716"/>
                </a:cubicBezTo>
                <a:cubicBezTo>
                  <a:pt x="584175" y="5256217"/>
                  <a:pt x="559428" y="5246716"/>
                  <a:pt x="549910" y="5225814"/>
                </a:cubicBezTo>
                <a:cubicBezTo>
                  <a:pt x="546103" y="5220113"/>
                  <a:pt x="546103" y="5214413"/>
                  <a:pt x="546103" y="5208712"/>
                </a:cubicBezTo>
                <a:cubicBezTo>
                  <a:pt x="546103" y="5191610"/>
                  <a:pt x="555621" y="5176409"/>
                  <a:pt x="570850" y="5168808"/>
                </a:cubicBezTo>
                <a:cubicBezTo>
                  <a:pt x="570850" y="5168808"/>
                  <a:pt x="570850" y="5168808"/>
                  <a:pt x="909693" y="5014893"/>
                </a:cubicBezTo>
                <a:cubicBezTo>
                  <a:pt x="920163" y="5010142"/>
                  <a:pt x="932061" y="5010142"/>
                  <a:pt x="942531" y="5014180"/>
                </a:cubicBezTo>
                <a:close/>
                <a:moveTo>
                  <a:pt x="4856076" y="5004632"/>
                </a:moveTo>
                <a:cubicBezTo>
                  <a:pt x="4866332" y="5008659"/>
                  <a:pt x="4874919" y="5016714"/>
                  <a:pt x="4879690" y="5028084"/>
                </a:cubicBezTo>
                <a:cubicBezTo>
                  <a:pt x="4891138" y="5050826"/>
                  <a:pt x="4879690" y="5075463"/>
                  <a:pt x="4856790" y="5084939"/>
                </a:cubicBezTo>
                <a:cubicBezTo>
                  <a:pt x="4856790" y="5084939"/>
                  <a:pt x="4856790" y="5084939"/>
                  <a:pt x="4517206" y="5230866"/>
                </a:cubicBezTo>
                <a:cubicBezTo>
                  <a:pt x="4494314" y="5240342"/>
                  <a:pt x="4469511" y="5230866"/>
                  <a:pt x="4459973" y="5208124"/>
                </a:cubicBezTo>
                <a:cubicBezTo>
                  <a:pt x="4456156" y="5202439"/>
                  <a:pt x="4456156" y="5196753"/>
                  <a:pt x="4456156" y="5191068"/>
                </a:cubicBezTo>
                <a:cubicBezTo>
                  <a:pt x="4456156" y="5174011"/>
                  <a:pt x="4465695" y="5158850"/>
                  <a:pt x="4482866" y="5151269"/>
                </a:cubicBezTo>
                <a:cubicBezTo>
                  <a:pt x="4482866" y="5151269"/>
                  <a:pt x="4482866" y="5151269"/>
                  <a:pt x="4822447" y="5005343"/>
                </a:cubicBezTo>
                <a:cubicBezTo>
                  <a:pt x="4833892" y="5000605"/>
                  <a:pt x="4845819" y="5000605"/>
                  <a:pt x="4856076" y="5004632"/>
                </a:cubicBezTo>
                <a:close/>
                <a:moveTo>
                  <a:pt x="1491734" y="5004632"/>
                </a:moveTo>
                <a:cubicBezTo>
                  <a:pt x="1502228" y="5008659"/>
                  <a:pt x="1511290" y="5016713"/>
                  <a:pt x="1516059" y="5028084"/>
                </a:cubicBezTo>
                <a:cubicBezTo>
                  <a:pt x="1525598" y="5050826"/>
                  <a:pt x="1516059" y="5075463"/>
                  <a:pt x="1493165" y="5084939"/>
                </a:cubicBezTo>
                <a:cubicBezTo>
                  <a:pt x="1493165" y="5084939"/>
                  <a:pt x="1493165" y="5084939"/>
                  <a:pt x="1153575" y="5230866"/>
                </a:cubicBezTo>
                <a:cubicBezTo>
                  <a:pt x="1130682" y="5240342"/>
                  <a:pt x="1103972" y="5230866"/>
                  <a:pt x="1094433" y="5208124"/>
                </a:cubicBezTo>
                <a:cubicBezTo>
                  <a:pt x="1092526" y="5202439"/>
                  <a:pt x="1090618" y="5196753"/>
                  <a:pt x="1090618" y="5191068"/>
                </a:cubicBezTo>
                <a:cubicBezTo>
                  <a:pt x="1090618" y="5174011"/>
                  <a:pt x="1102065" y="5158850"/>
                  <a:pt x="1117327" y="5151269"/>
                </a:cubicBezTo>
                <a:cubicBezTo>
                  <a:pt x="1117327" y="5151269"/>
                  <a:pt x="1117327" y="5151269"/>
                  <a:pt x="1458825" y="5005343"/>
                </a:cubicBezTo>
                <a:cubicBezTo>
                  <a:pt x="1469318" y="5000605"/>
                  <a:pt x="1481242" y="5000605"/>
                  <a:pt x="1491734" y="5004632"/>
                </a:cubicBezTo>
                <a:close/>
                <a:moveTo>
                  <a:pt x="4281239" y="4989344"/>
                </a:moveTo>
                <a:cubicBezTo>
                  <a:pt x="4298844" y="4989613"/>
                  <a:pt x="4315645" y="5000357"/>
                  <a:pt x="4322794" y="5017546"/>
                </a:cubicBezTo>
                <a:cubicBezTo>
                  <a:pt x="4332326" y="5040466"/>
                  <a:pt x="4320887" y="5067205"/>
                  <a:pt x="4298009" y="5076755"/>
                </a:cubicBezTo>
                <a:cubicBezTo>
                  <a:pt x="4298009" y="5076755"/>
                  <a:pt x="4298009" y="5076755"/>
                  <a:pt x="3958691" y="5218092"/>
                </a:cubicBezTo>
                <a:cubicBezTo>
                  <a:pt x="3933907" y="5227642"/>
                  <a:pt x="3909122" y="5216182"/>
                  <a:pt x="3899588" y="5193262"/>
                </a:cubicBezTo>
                <a:cubicBezTo>
                  <a:pt x="3895778" y="5187533"/>
                  <a:pt x="3895778" y="5181803"/>
                  <a:pt x="3895778" y="5176073"/>
                </a:cubicBezTo>
                <a:cubicBezTo>
                  <a:pt x="3895778" y="5156973"/>
                  <a:pt x="3905310" y="5141694"/>
                  <a:pt x="3924372" y="5134054"/>
                </a:cubicBezTo>
                <a:cubicBezTo>
                  <a:pt x="3924372" y="5134054"/>
                  <a:pt x="3924372" y="5134054"/>
                  <a:pt x="4263693" y="4992717"/>
                </a:cubicBezTo>
                <a:cubicBezTo>
                  <a:pt x="4269413" y="4990329"/>
                  <a:pt x="4275372" y="4989255"/>
                  <a:pt x="4281239" y="4989344"/>
                </a:cubicBezTo>
                <a:close/>
                <a:moveTo>
                  <a:pt x="2028590" y="4989344"/>
                </a:moveTo>
                <a:cubicBezTo>
                  <a:pt x="2046182" y="4989613"/>
                  <a:pt x="2062975" y="5000357"/>
                  <a:pt x="2070119" y="5017546"/>
                </a:cubicBezTo>
                <a:cubicBezTo>
                  <a:pt x="2079644" y="5040466"/>
                  <a:pt x="2068213" y="5067205"/>
                  <a:pt x="2045348" y="5076755"/>
                </a:cubicBezTo>
                <a:cubicBezTo>
                  <a:pt x="2045348" y="5076755"/>
                  <a:pt x="2045348" y="5076755"/>
                  <a:pt x="1704349" y="5218092"/>
                </a:cubicBezTo>
                <a:cubicBezTo>
                  <a:pt x="1681489" y="5227642"/>
                  <a:pt x="1654818" y="5216182"/>
                  <a:pt x="1645293" y="5193262"/>
                </a:cubicBezTo>
                <a:cubicBezTo>
                  <a:pt x="1643388" y="5187533"/>
                  <a:pt x="1641483" y="5181803"/>
                  <a:pt x="1641483" y="5176073"/>
                </a:cubicBezTo>
                <a:cubicBezTo>
                  <a:pt x="1641483" y="5156973"/>
                  <a:pt x="1652914" y="5141694"/>
                  <a:pt x="1670059" y="5134054"/>
                </a:cubicBezTo>
                <a:cubicBezTo>
                  <a:pt x="1670059" y="5134054"/>
                  <a:pt x="1670059" y="5134054"/>
                  <a:pt x="2011058" y="4992717"/>
                </a:cubicBezTo>
                <a:cubicBezTo>
                  <a:pt x="2016773" y="4990329"/>
                  <a:pt x="2022726" y="4989255"/>
                  <a:pt x="2028590" y="4989344"/>
                </a:cubicBezTo>
                <a:close/>
                <a:moveTo>
                  <a:pt x="3720410" y="4979833"/>
                </a:moveTo>
                <a:cubicBezTo>
                  <a:pt x="3738805" y="4980190"/>
                  <a:pt x="3755596" y="4991263"/>
                  <a:pt x="3762740" y="5009837"/>
                </a:cubicBezTo>
                <a:cubicBezTo>
                  <a:pt x="3770359" y="5032697"/>
                  <a:pt x="3758930" y="5059367"/>
                  <a:pt x="3736068" y="5068892"/>
                </a:cubicBezTo>
                <a:cubicBezTo>
                  <a:pt x="3736068" y="5068892"/>
                  <a:pt x="3736068" y="5068892"/>
                  <a:pt x="3395084" y="5202242"/>
                </a:cubicBezTo>
                <a:cubicBezTo>
                  <a:pt x="3370317" y="5211767"/>
                  <a:pt x="3343646" y="5200337"/>
                  <a:pt x="3334121" y="5175572"/>
                </a:cubicBezTo>
                <a:cubicBezTo>
                  <a:pt x="3332216" y="5169857"/>
                  <a:pt x="3332216" y="5164142"/>
                  <a:pt x="3332216" y="5158427"/>
                </a:cubicBezTo>
                <a:cubicBezTo>
                  <a:pt x="3332216" y="5141282"/>
                  <a:pt x="3343646" y="5122232"/>
                  <a:pt x="3360791" y="5116517"/>
                </a:cubicBezTo>
                <a:cubicBezTo>
                  <a:pt x="3360791" y="5116517"/>
                  <a:pt x="3360791" y="5116517"/>
                  <a:pt x="3701777" y="4983167"/>
                </a:cubicBezTo>
                <a:cubicBezTo>
                  <a:pt x="3707968" y="4980786"/>
                  <a:pt x="3714279" y="4979714"/>
                  <a:pt x="3720410" y="4979833"/>
                </a:cubicBezTo>
                <a:close/>
                <a:moveTo>
                  <a:pt x="2585923" y="4979833"/>
                </a:moveTo>
                <a:cubicBezTo>
                  <a:pt x="2604116" y="4980190"/>
                  <a:pt x="2622041" y="4991263"/>
                  <a:pt x="2629210" y="5009837"/>
                </a:cubicBezTo>
                <a:cubicBezTo>
                  <a:pt x="2636858" y="5032697"/>
                  <a:pt x="2625386" y="5059367"/>
                  <a:pt x="2602443" y="5068892"/>
                </a:cubicBezTo>
                <a:cubicBezTo>
                  <a:pt x="2602443" y="5068892"/>
                  <a:pt x="2602443" y="5068892"/>
                  <a:pt x="2260209" y="5202242"/>
                </a:cubicBezTo>
                <a:cubicBezTo>
                  <a:pt x="2235354" y="5211767"/>
                  <a:pt x="2208587" y="5200337"/>
                  <a:pt x="2199027" y="5175572"/>
                </a:cubicBezTo>
                <a:cubicBezTo>
                  <a:pt x="2197115" y="5169857"/>
                  <a:pt x="2197115" y="5164142"/>
                  <a:pt x="2197115" y="5158427"/>
                </a:cubicBezTo>
                <a:cubicBezTo>
                  <a:pt x="2197115" y="5141282"/>
                  <a:pt x="2206675" y="5122232"/>
                  <a:pt x="2225794" y="5116517"/>
                </a:cubicBezTo>
                <a:cubicBezTo>
                  <a:pt x="2225794" y="5116517"/>
                  <a:pt x="2225794" y="5116517"/>
                  <a:pt x="2568028" y="4983167"/>
                </a:cubicBezTo>
                <a:cubicBezTo>
                  <a:pt x="2573765" y="4980785"/>
                  <a:pt x="2579858" y="4979714"/>
                  <a:pt x="2585923" y="4979833"/>
                </a:cubicBezTo>
                <a:close/>
                <a:moveTo>
                  <a:pt x="3148522" y="4969036"/>
                </a:moveTo>
                <a:cubicBezTo>
                  <a:pt x="3166944" y="4969932"/>
                  <a:pt x="3183757" y="4982109"/>
                  <a:pt x="3190911" y="5000733"/>
                </a:cubicBezTo>
                <a:cubicBezTo>
                  <a:pt x="3200449" y="5025565"/>
                  <a:pt x="3187093" y="5052307"/>
                  <a:pt x="3162292" y="5061858"/>
                </a:cubicBezTo>
                <a:cubicBezTo>
                  <a:pt x="3162292" y="5061858"/>
                  <a:pt x="3162292" y="5061858"/>
                  <a:pt x="2820805" y="5187929"/>
                </a:cubicBezTo>
                <a:cubicBezTo>
                  <a:pt x="2796004" y="5197480"/>
                  <a:pt x="2769295" y="5184109"/>
                  <a:pt x="2759755" y="5161187"/>
                </a:cubicBezTo>
                <a:cubicBezTo>
                  <a:pt x="2757848" y="5155456"/>
                  <a:pt x="2755939" y="5149726"/>
                  <a:pt x="2755939" y="5143995"/>
                </a:cubicBezTo>
                <a:cubicBezTo>
                  <a:pt x="2755939" y="5124894"/>
                  <a:pt x="2767389" y="5105792"/>
                  <a:pt x="2788374" y="5098151"/>
                </a:cubicBezTo>
                <a:cubicBezTo>
                  <a:pt x="2788374" y="5098151"/>
                  <a:pt x="2788374" y="5098151"/>
                  <a:pt x="3129863" y="4972081"/>
                </a:cubicBezTo>
                <a:cubicBezTo>
                  <a:pt x="3136062" y="4969693"/>
                  <a:pt x="3142380" y="4968738"/>
                  <a:pt x="3148522" y="4969036"/>
                </a:cubicBezTo>
                <a:close/>
                <a:moveTo>
                  <a:pt x="9865943" y="4767278"/>
                </a:moveTo>
                <a:cubicBezTo>
                  <a:pt x="9873563" y="4768710"/>
                  <a:pt x="9880707" y="4773005"/>
                  <a:pt x="9885469" y="4779687"/>
                </a:cubicBezTo>
                <a:cubicBezTo>
                  <a:pt x="9894994" y="4794960"/>
                  <a:pt x="9891184" y="4812143"/>
                  <a:pt x="9875944" y="4821688"/>
                </a:cubicBezTo>
                <a:cubicBezTo>
                  <a:pt x="9875944" y="4821688"/>
                  <a:pt x="9875944" y="4821688"/>
                  <a:pt x="9542565" y="5046968"/>
                </a:cubicBezTo>
                <a:cubicBezTo>
                  <a:pt x="9527324" y="5054605"/>
                  <a:pt x="9510179" y="5052696"/>
                  <a:pt x="9500654" y="5037422"/>
                </a:cubicBezTo>
                <a:cubicBezTo>
                  <a:pt x="9496844" y="5033604"/>
                  <a:pt x="9494939" y="5027877"/>
                  <a:pt x="9494939" y="5022149"/>
                </a:cubicBezTo>
                <a:cubicBezTo>
                  <a:pt x="9494939" y="5012603"/>
                  <a:pt x="9500654" y="5003058"/>
                  <a:pt x="9508274" y="4997330"/>
                </a:cubicBezTo>
                <a:cubicBezTo>
                  <a:pt x="9508274" y="4997330"/>
                  <a:pt x="9508274" y="4997330"/>
                  <a:pt x="9843558" y="4772051"/>
                </a:cubicBezTo>
                <a:cubicBezTo>
                  <a:pt x="9850226" y="4767278"/>
                  <a:pt x="9858322" y="4765846"/>
                  <a:pt x="9865943" y="4767278"/>
                </a:cubicBezTo>
                <a:close/>
                <a:moveTo>
                  <a:pt x="10450715" y="4757980"/>
                </a:moveTo>
                <a:cubicBezTo>
                  <a:pt x="10458830" y="4759647"/>
                  <a:pt x="10466468" y="4764410"/>
                  <a:pt x="10471242" y="4772030"/>
                </a:cubicBezTo>
                <a:cubicBezTo>
                  <a:pt x="10480790" y="4787270"/>
                  <a:pt x="10475061" y="4806320"/>
                  <a:pt x="10461695" y="4815845"/>
                </a:cubicBezTo>
                <a:cubicBezTo>
                  <a:pt x="10461695" y="4815845"/>
                  <a:pt x="10461695" y="4815845"/>
                  <a:pt x="10125619" y="5029205"/>
                </a:cubicBezTo>
                <a:cubicBezTo>
                  <a:pt x="10110343" y="5038730"/>
                  <a:pt x="10091248" y="5034920"/>
                  <a:pt x="10081701" y="5019680"/>
                </a:cubicBezTo>
                <a:cubicBezTo>
                  <a:pt x="10077882" y="5015870"/>
                  <a:pt x="10075972" y="5010155"/>
                  <a:pt x="10075972" y="5004440"/>
                </a:cubicBezTo>
                <a:cubicBezTo>
                  <a:pt x="10075972" y="4993010"/>
                  <a:pt x="10081701" y="4983485"/>
                  <a:pt x="10091248" y="4977770"/>
                </a:cubicBezTo>
                <a:cubicBezTo>
                  <a:pt x="10091248" y="4977770"/>
                  <a:pt x="10091248" y="4977770"/>
                  <a:pt x="10427323" y="4762505"/>
                </a:cubicBezTo>
                <a:cubicBezTo>
                  <a:pt x="10434006" y="4757742"/>
                  <a:pt x="10442599" y="4756314"/>
                  <a:pt x="10450715" y="4757980"/>
                </a:cubicBezTo>
                <a:close/>
                <a:moveTo>
                  <a:pt x="9287869" y="4757980"/>
                </a:moveTo>
                <a:cubicBezTo>
                  <a:pt x="9295721" y="4759647"/>
                  <a:pt x="9302859" y="4764410"/>
                  <a:pt x="9307618" y="4772030"/>
                </a:cubicBezTo>
                <a:cubicBezTo>
                  <a:pt x="9317136" y="4787270"/>
                  <a:pt x="9313329" y="4806320"/>
                  <a:pt x="9298101" y="4815845"/>
                </a:cubicBezTo>
                <a:cubicBezTo>
                  <a:pt x="9298101" y="4815845"/>
                  <a:pt x="9298101" y="4815845"/>
                  <a:pt x="8963081" y="5029205"/>
                </a:cubicBezTo>
                <a:cubicBezTo>
                  <a:pt x="8949756" y="5038730"/>
                  <a:pt x="8928818" y="5034920"/>
                  <a:pt x="8919300" y="5019680"/>
                </a:cubicBezTo>
                <a:cubicBezTo>
                  <a:pt x="8917397" y="5015870"/>
                  <a:pt x="8915493" y="5010155"/>
                  <a:pt x="8915493" y="5004440"/>
                </a:cubicBezTo>
                <a:cubicBezTo>
                  <a:pt x="8915493" y="4993010"/>
                  <a:pt x="8919300" y="4983485"/>
                  <a:pt x="8928818" y="4977770"/>
                </a:cubicBezTo>
                <a:cubicBezTo>
                  <a:pt x="8928818" y="4977770"/>
                  <a:pt x="8928818" y="4977770"/>
                  <a:pt x="9263837" y="4762505"/>
                </a:cubicBezTo>
                <a:cubicBezTo>
                  <a:pt x="9271451" y="4757742"/>
                  <a:pt x="9280017" y="4756314"/>
                  <a:pt x="9287869" y="4757980"/>
                </a:cubicBezTo>
                <a:close/>
                <a:moveTo>
                  <a:pt x="11026794" y="4748711"/>
                </a:moveTo>
                <a:cubicBezTo>
                  <a:pt x="11035135" y="4750623"/>
                  <a:pt x="11042761" y="4755879"/>
                  <a:pt x="11047527" y="4764481"/>
                </a:cubicBezTo>
                <a:cubicBezTo>
                  <a:pt x="11057060" y="4779773"/>
                  <a:pt x="11053247" y="4800799"/>
                  <a:pt x="11036088" y="4810357"/>
                </a:cubicBezTo>
                <a:cubicBezTo>
                  <a:pt x="11036088" y="4810357"/>
                  <a:pt x="11036088" y="4810357"/>
                  <a:pt x="10700543" y="5014885"/>
                </a:cubicBezTo>
                <a:cubicBezTo>
                  <a:pt x="10685291" y="5024443"/>
                  <a:pt x="10664319" y="5020620"/>
                  <a:pt x="10654787" y="5005328"/>
                </a:cubicBezTo>
                <a:cubicBezTo>
                  <a:pt x="10650974" y="4999593"/>
                  <a:pt x="10649067" y="4993859"/>
                  <a:pt x="10649067" y="4988125"/>
                </a:cubicBezTo>
                <a:cubicBezTo>
                  <a:pt x="10649067" y="4976656"/>
                  <a:pt x="10654787" y="4965187"/>
                  <a:pt x="10666226" y="4959452"/>
                </a:cubicBezTo>
                <a:cubicBezTo>
                  <a:pt x="10666226" y="4959452"/>
                  <a:pt x="10666226" y="4959452"/>
                  <a:pt x="11001771" y="4753012"/>
                </a:cubicBezTo>
                <a:cubicBezTo>
                  <a:pt x="11009397" y="4748234"/>
                  <a:pt x="11018453" y="4746800"/>
                  <a:pt x="11026794" y="4748711"/>
                </a:cubicBezTo>
                <a:close/>
                <a:moveTo>
                  <a:pt x="8717757" y="4748711"/>
                </a:moveTo>
                <a:cubicBezTo>
                  <a:pt x="8725835" y="4750623"/>
                  <a:pt x="8732962" y="4755880"/>
                  <a:pt x="8737713" y="4764481"/>
                </a:cubicBezTo>
                <a:cubicBezTo>
                  <a:pt x="8747216" y="4779773"/>
                  <a:pt x="8743415" y="4800799"/>
                  <a:pt x="8728210" y="4810357"/>
                </a:cubicBezTo>
                <a:cubicBezTo>
                  <a:pt x="8728210" y="4810357"/>
                  <a:pt x="8728210" y="4810357"/>
                  <a:pt x="8391812" y="5014885"/>
                </a:cubicBezTo>
                <a:cubicBezTo>
                  <a:pt x="8376608" y="5024443"/>
                  <a:pt x="8355702" y="5020620"/>
                  <a:pt x="8346199" y="5005328"/>
                </a:cubicBezTo>
                <a:cubicBezTo>
                  <a:pt x="8342398" y="4999593"/>
                  <a:pt x="8342398" y="4993859"/>
                  <a:pt x="8342398" y="4988125"/>
                </a:cubicBezTo>
                <a:cubicBezTo>
                  <a:pt x="8342398" y="4976656"/>
                  <a:pt x="8348100" y="4965187"/>
                  <a:pt x="8357602" y="4959452"/>
                </a:cubicBezTo>
                <a:cubicBezTo>
                  <a:pt x="8357602" y="4959452"/>
                  <a:pt x="8357602" y="4959452"/>
                  <a:pt x="8692100" y="4753012"/>
                </a:cubicBezTo>
                <a:cubicBezTo>
                  <a:pt x="8700653" y="4748234"/>
                  <a:pt x="8709680" y="4746800"/>
                  <a:pt x="8717757" y="4748711"/>
                </a:cubicBezTo>
                <a:close/>
                <a:moveTo>
                  <a:pt x="11598111" y="4739890"/>
                </a:moveTo>
                <a:cubicBezTo>
                  <a:pt x="11606677" y="4742035"/>
                  <a:pt x="11614291" y="4747280"/>
                  <a:pt x="11619050" y="4754909"/>
                </a:cubicBezTo>
                <a:cubicBezTo>
                  <a:pt x="11628568" y="4772074"/>
                  <a:pt x="11622857" y="4793053"/>
                  <a:pt x="11607629" y="4802589"/>
                </a:cubicBezTo>
                <a:cubicBezTo>
                  <a:pt x="11607629" y="4802589"/>
                  <a:pt x="11607629" y="4802589"/>
                  <a:pt x="11270700" y="4999032"/>
                </a:cubicBezTo>
                <a:cubicBezTo>
                  <a:pt x="11253568" y="5008568"/>
                  <a:pt x="11232628" y="5002846"/>
                  <a:pt x="11223111" y="4987588"/>
                </a:cubicBezTo>
                <a:cubicBezTo>
                  <a:pt x="11219304" y="4981867"/>
                  <a:pt x="11217400" y="4976145"/>
                  <a:pt x="11217400" y="4968516"/>
                </a:cubicBezTo>
                <a:cubicBezTo>
                  <a:pt x="11217400" y="4957073"/>
                  <a:pt x="11225014" y="4945630"/>
                  <a:pt x="11236436" y="4939908"/>
                </a:cubicBezTo>
                <a:cubicBezTo>
                  <a:pt x="11236436" y="4939908"/>
                  <a:pt x="11236436" y="4939908"/>
                  <a:pt x="11571461" y="4743466"/>
                </a:cubicBezTo>
                <a:cubicBezTo>
                  <a:pt x="11580027" y="4738698"/>
                  <a:pt x="11589545" y="4737744"/>
                  <a:pt x="11598111" y="4739890"/>
                </a:cubicBezTo>
                <a:close/>
                <a:moveTo>
                  <a:pt x="8154062" y="4739890"/>
                </a:moveTo>
                <a:cubicBezTo>
                  <a:pt x="8162866" y="4742035"/>
                  <a:pt x="8170956" y="4747280"/>
                  <a:pt x="8175715" y="4754909"/>
                </a:cubicBezTo>
                <a:cubicBezTo>
                  <a:pt x="8185233" y="4772074"/>
                  <a:pt x="8179522" y="4793053"/>
                  <a:pt x="8162390" y="4802589"/>
                </a:cubicBezTo>
                <a:cubicBezTo>
                  <a:pt x="8162390" y="4802589"/>
                  <a:pt x="8162390" y="4802589"/>
                  <a:pt x="7825461" y="4999032"/>
                </a:cubicBezTo>
                <a:cubicBezTo>
                  <a:pt x="7810232" y="5008568"/>
                  <a:pt x="7787390" y="5002846"/>
                  <a:pt x="7777872" y="4987588"/>
                </a:cubicBezTo>
                <a:cubicBezTo>
                  <a:pt x="7775968" y="4981867"/>
                  <a:pt x="7774065" y="4976145"/>
                  <a:pt x="7774065" y="4968516"/>
                </a:cubicBezTo>
                <a:cubicBezTo>
                  <a:pt x="7774065" y="4957073"/>
                  <a:pt x="7779775" y="4945630"/>
                  <a:pt x="7791197" y="4939908"/>
                </a:cubicBezTo>
                <a:cubicBezTo>
                  <a:pt x="7791197" y="4939908"/>
                  <a:pt x="7791197" y="4939908"/>
                  <a:pt x="8128126" y="4743466"/>
                </a:cubicBezTo>
                <a:cubicBezTo>
                  <a:pt x="8135740" y="4738698"/>
                  <a:pt x="8145258" y="4737744"/>
                  <a:pt x="8154062" y="4739890"/>
                </a:cubicBezTo>
                <a:close/>
                <a:moveTo>
                  <a:pt x="12135937" y="4732342"/>
                </a:moveTo>
                <a:cubicBezTo>
                  <a:pt x="12137843" y="4732342"/>
                  <a:pt x="12137843" y="4732342"/>
                  <a:pt x="12139750" y="4732342"/>
                </a:cubicBezTo>
                <a:cubicBezTo>
                  <a:pt x="12139750" y="4732342"/>
                  <a:pt x="12139750" y="4732342"/>
                  <a:pt x="12139750" y="4814057"/>
                </a:cubicBezTo>
                <a:cubicBezTo>
                  <a:pt x="12139750" y="4814057"/>
                  <a:pt x="12139750" y="4814057"/>
                  <a:pt x="11834677" y="4983190"/>
                </a:cubicBezTo>
                <a:cubicBezTo>
                  <a:pt x="11815610" y="4992692"/>
                  <a:pt x="11794637" y="4986991"/>
                  <a:pt x="11783196" y="4969887"/>
                </a:cubicBezTo>
                <a:cubicBezTo>
                  <a:pt x="11781290" y="4964186"/>
                  <a:pt x="11779383" y="4958485"/>
                  <a:pt x="11779383" y="4950884"/>
                </a:cubicBezTo>
                <a:cubicBezTo>
                  <a:pt x="11779383" y="4939482"/>
                  <a:pt x="11787010" y="4926179"/>
                  <a:pt x="11798450" y="4920478"/>
                </a:cubicBezTo>
                <a:close/>
                <a:moveTo>
                  <a:pt x="7597191" y="4729944"/>
                </a:moveTo>
                <a:cubicBezTo>
                  <a:pt x="7606247" y="4732795"/>
                  <a:pt x="7614349" y="4738971"/>
                  <a:pt x="7620068" y="4747524"/>
                </a:cubicBezTo>
                <a:cubicBezTo>
                  <a:pt x="7629601" y="4764628"/>
                  <a:pt x="7621975" y="4787435"/>
                  <a:pt x="7604817" y="4796937"/>
                </a:cubicBezTo>
                <a:cubicBezTo>
                  <a:pt x="7604817" y="4796937"/>
                  <a:pt x="7604817" y="4796937"/>
                  <a:pt x="7267371" y="4983189"/>
                </a:cubicBezTo>
                <a:cubicBezTo>
                  <a:pt x="7250212" y="4992692"/>
                  <a:pt x="7227335" y="4986990"/>
                  <a:pt x="7217802" y="4969885"/>
                </a:cubicBezTo>
                <a:cubicBezTo>
                  <a:pt x="7213989" y="4964184"/>
                  <a:pt x="7212083" y="4958482"/>
                  <a:pt x="7212083" y="4950880"/>
                </a:cubicBezTo>
                <a:cubicBezTo>
                  <a:pt x="7212083" y="4939477"/>
                  <a:pt x="7219709" y="4926173"/>
                  <a:pt x="7231147" y="4920472"/>
                </a:cubicBezTo>
                <a:cubicBezTo>
                  <a:pt x="7231147" y="4920472"/>
                  <a:pt x="7231147" y="4920472"/>
                  <a:pt x="7568594" y="4732319"/>
                </a:cubicBezTo>
                <a:cubicBezTo>
                  <a:pt x="7578126" y="4727568"/>
                  <a:pt x="7588135" y="4727093"/>
                  <a:pt x="7597191" y="4729944"/>
                </a:cubicBezTo>
                <a:close/>
                <a:moveTo>
                  <a:pt x="7045531" y="4720682"/>
                </a:moveTo>
                <a:cubicBezTo>
                  <a:pt x="7054846" y="4723782"/>
                  <a:pt x="7063444" y="4730457"/>
                  <a:pt x="7069177" y="4739994"/>
                </a:cubicBezTo>
                <a:cubicBezTo>
                  <a:pt x="7078731" y="4759067"/>
                  <a:pt x="7071088" y="4781954"/>
                  <a:pt x="7051980" y="4791491"/>
                </a:cubicBezTo>
                <a:cubicBezTo>
                  <a:pt x="7051980" y="4791491"/>
                  <a:pt x="7051980" y="4791491"/>
                  <a:pt x="6713773" y="4968868"/>
                </a:cubicBezTo>
                <a:cubicBezTo>
                  <a:pt x="6694665" y="4978405"/>
                  <a:pt x="6671736" y="4972683"/>
                  <a:pt x="6662182" y="4953610"/>
                </a:cubicBezTo>
                <a:cubicBezTo>
                  <a:pt x="6658361" y="4947888"/>
                  <a:pt x="6656450" y="4942166"/>
                  <a:pt x="6656450" y="4934537"/>
                </a:cubicBezTo>
                <a:cubicBezTo>
                  <a:pt x="6656450" y="4921186"/>
                  <a:pt x="6664093" y="4907835"/>
                  <a:pt x="6677468" y="4902113"/>
                </a:cubicBezTo>
                <a:cubicBezTo>
                  <a:pt x="6677468" y="4902113"/>
                  <a:pt x="6677468" y="4902113"/>
                  <a:pt x="7017586" y="4722828"/>
                </a:cubicBezTo>
                <a:cubicBezTo>
                  <a:pt x="7026184" y="4718060"/>
                  <a:pt x="7036216" y="4717583"/>
                  <a:pt x="7045531" y="4720682"/>
                </a:cubicBezTo>
                <a:close/>
                <a:moveTo>
                  <a:pt x="6500048" y="4711377"/>
                </a:moveTo>
                <a:cubicBezTo>
                  <a:pt x="6509797" y="4714707"/>
                  <a:pt x="6518357" y="4721842"/>
                  <a:pt x="6523112" y="4732307"/>
                </a:cubicBezTo>
                <a:cubicBezTo>
                  <a:pt x="6532623" y="4751333"/>
                  <a:pt x="6525014" y="4774166"/>
                  <a:pt x="6505992" y="4785582"/>
                </a:cubicBezTo>
                <a:cubicBezTo>
                  <a:pt x="6505992" y="4785582"/>
                  <a:pt x="6505992" y="4785582"/>
                  <a:pt x="6167407" y="4953016"/>
                </a:cubicBezTo>
                <a:cubicBezTo>
                  <a:pt x="6148385" y="4962530"/>
                  <a:pt x="6123657" y="4954919"/>
                  <a:pt x="6114146" y="4935892"/>
                </a:cubicBezTo>
                <a:cubicBezTo>
                  <a:pt x="6110342" y="4930184"/>
                  <a:pt x="6110342" y="4924476"/>
                  <a:pt x="6110342" y="4916866"/>
                </a:cubicBezTo>
                <a:cubicBezTo>
                  <a:pt x="6110342" y="4903547"/>
                  <a:pt x="6117950" y="4888326"/>
                  <a:pt x="6131266" y="4882618"/>
                </a:cubicBezTo>
                <a:cubicBezTo>
                  <a:pt x="6131266" y="4882618"/>
                  <a:pt x="6131266" y="4882618"/>
                  <a:pt x="6469851" y="4713280"/>
                </a:cubicBezTo>
                <a:cubicBezTo>
                  <a:pt x="6479362" y="4708524"/>
                  <a:pt x="6490299" y="4708048"/>
                  <a:pt x="6500048" y="4711377"/>
                </a:cubicBezTo>
                <a:close/>
                <a:moveTo>
                  <a:pt x="5956806" y="4701881"/>
                </a:moveTo>
                <a:cubicBezTo>
                  <a:pt x="5966814" y="4705223"/>
                  <a:pt x="5975394" y="4712385"/>
                  <a:pt x="5980159" y="4722888"/>
                </a:cubicBezTo>
                <a:cubicBezTo>
                  <a:pt x="5989691" y="4743896"/>
                  <a:pt x="5982065" y="4768723"/>
                  <a:pt x="5961095" y="4778272"/>
                </a:cubicBezTo>
                <a:cubicBezTo>
                  <a:pt x="5961095" y="4778272"/>
                  <a:pt x="5961095" y="4778272"/>
                  <a:pt x="5621756" y="4938693"/>
                </a:cubicBezTo>
                <a:cubicBezTo>
                  <a:pt x="5600786" y="4948242"/>
                  <a:pt x="5576003" y="4940603"/>
                  <a:pt x="5566471" y="4919595"/>
                </a:cubicBezTo>
                <a:cubicBezTo>
                  <a:pt x="5562659" y="4913866"/>
                  <a:pt x="5562659" y="4906227"/>
                  <a:pt x="5562659" y="4900497"/>
                </a:cubicBezTo>
                <a:cubicBezTo>
                  <a:pt x="5562659" y="4885219"/>
                  <a:pt x="5570284" y="4869941"/>
                  <a:pt x="5585535" y="4864212"/>
                </a:cubicBezTo>
                <a:cubicBezTo>
                  <a:pt x="5585535" y="4864212"/>
                  <a:pt x="5585535" y="4864212"/>
                  <a:pt x="5924873" y="4703791"/>
                </a:cubicBezTo>
                <a:cubicBezTo>
                  <a:pt x="5935358" y="4699016"/>
                  <a:pt x="5946797" y="4698539"/>
                  <a:pt x="5956806" y="4701881"/>
                </a:cubicBezTo>
                <a:close/>
                <a:moveTo>
                  <a:pt x="398944" y="4701881"/>
                </a:moveTo>
                <a:cubicBezTo>
                  <a:pt x="408946" y="4705223"/>
                  <a:pt x="417518" y="4712385"/>
                  <a:pt x="422281" y="4722888"/>
                </a:cubicBezTo>
                <a:cubicBezTo>
                  <a:pt x="431806" y="4743896"/>
                  <a:pt x="422281" y="4768723"/>
                  <a:pt x="401326" y="4778272"/>
                </a:cubicBezTo>
                <a:cubicBezTo>
                  <a:pt x="401326" y="4778272"/>
                  <a:pt x="401326" y="4778272"/>
                  <a:pt x="62232" y="4938693"/>
                </a:cubicBezTo>
                <a:cubicBezTo>
                  <a:pt x="43182" y="4948242"/>
                  <a:pt x="16511" y="4940603"/>
                  <a:pt x="6986" y="4919595"/>
                </a:cubicBezTo>
                <a:cubicBezTo>
                  <a:pt x="5081" y="4913866"/>
                  <a:pt x="3176" y="4906227"/>
                  <a:pt x="3176" y="4900497"/>
                </a:cubicBezTo>
                <a:cubicBezTo>
                  <a:pt x="3176" y="4885219"/>
                  <a:pt x="12701" y="4869941"/>
                  <a:pt x="27941" y="4864212"/>
                </a:cubicBezTo>
                <a:cubicBezTo>
                  <a:pt x="27941" y="4864212"/>
                  <a:pt x="27941" y="4864212"/>
                  <a:pt x="367035" y="4703791"/>
                </a:cubicBezTo>
                <a:cubicBezTo>
                  <a:pt x="377513" y="4699016"/>
                  <a:pt x="388943" y="4698539"/>
                  <a:pt x="398944" y="4701881"/>
                </a:cubicBezTo>
                <a:close/>
                <a:moveTo>
                  <a:pt x="5409709" y="4693289"/>
                </a:moveTo>
                <a:cubicBezTo>
                  <a:pt x="5420209" y="4697099"/>
                  <a:pt x="5429278" y="4704719"/>
                  <a:pt x="5434051" y="4715197"/>
                </a:cubicBezTo>
                <a:cubicBezTo>
                  <a:pt x="5443597" y="4738057"/>
                  <a:pt x="5434051" y="4762822"/>
                  <a:pt x="5411141" y="4772347"/>
                </a:cubicBezTo>
                <a:cubicBezTo>
                  <a:pt x="5411141" y="4772347"/>
                  <a:pt x="5411141" y="4772347"/>
                  <a:pt x="5071298" y="4922842"/>
                </a:cubicBezTo>
                <a:cubicBezTo>
                  <a:pt x="5048391" y="4932367"/>
                  <a:pt x="5023573" y="4922842"/>
                  <a:pt x="5014028" y="4901887"/>
                </a:cubicBezTo>
                <a:cubicBezTo>
                  <a:pt x="5012119" y="4894267"/>
                  <a:pt x="5010210" y="4888552"/>
                  <a:pt x="5010210" y="4882837"/>
                </a:cubicBezTo>
                <a:cubicBezTo>
                  <a:pt x="5010210" y="4867597"/>
                  <a:pt x="5019755" y="4850452"/>
                  <a:pt x="5036936" y="4842832"/>
                </a:cubicBezTo>
                <a:cubicBezTo>
                  <a:pt x="5036936" y="4842832"/>
                  <a:pt x="5036936" y="4842832"/>
                  <a:pt x="5376776" y="4694242"/>
                </a:cubicBezTo>
                <a:cubicBezTo>
                  <a:pt x="5387276" y="4689479"/>
                  <a:pt x="5399208" y="4689479"/>
                  <a:pt x="5409709" y="4693289"/>
                </a:cubicBezTo>
                <a:close/>
                <a:moveTo>
                  <a:pt x="943147" y="4693289"/>
                </a:moveTo>
                <a:cubicBezTo>
                  <a:pt x="953409" y="4697099"/>
                  <a:pt x="962001" y="4704719"/>
                  <a:pt x="966774" y="4715197"/>
                </a:cubicBezTo>
                <a:cubicBezTo>
                  <a:pt x="976320" y="4738057"/>
                  <a:pt x="966774" y="4762822"/>
                  <a:pt x="945772" y="4772347"/>
                </a:cubicBezTo>
                <a:cubicBezTo>
                  <a:pt x="945772" y="4772347"/>
                  <a:pt x="945772" y="4772347"/>
                  <a:pt x="604023" y="4922842"/>
                </a:cubicBezTo>
                <a:cubicBezTo>
                  <a:pt x="583021" y="4932367"/>
                  <a:pt x="556292" y="4922842"/>
                  <a:pt x="546746" y="4901887"/>
                </a:cubicBezTo>
                <a:cubicBezTo>
                  <a:pt x="544837" y="4894267"/>
                  <a:pt x="542928" y="4888552"/>
                  <a:pt x="542928" y="4882837"/>
                </a:cubicBezTo>
                <a:cubicBezTo>
                  <a:pt x="542928" y="4867597"/>
                  <a:pt x="552474" y="4850452"/>
                  <a:pt x="569657" y="4842832"/>
                </a:cubicBezTo>
                <a:cubicBezTo>
                  <a:pt x="569657" y="4842832"/>
                  <a:pt x="569657" y="4842832"/>
                  <a:pt x="909497" y="4694242"/>
                </a:cubicBezTo>
                <a:cubicBezTo>
                  <a:pt x="920952" y="4689479"/>
                  <a:pt x="932885" y="4689479"/>
                  <a:pt x="943147" y="4693289"/>
                </a:cubicBezTo>
                <a:close/>
                <a:moveTo>
                  <a:pt x="4840042" y="4679741"/>
                </a:moveTo>
                <a:cubicBezTo>
                  <a:pt x="4857649" y="4680008"/>
                  <a:pt x="4874452" y="4690682"/>
                  <a:pt x="4881602" y="4707760"/>
                </a:cubicBezTo>
                <a:cubicBezTo>
                  <a:pt x="4891136" y="4730531"/>
                  <a:pt x="4879696" y="4757097"/>
                  <a:pt x="4856815" y="4766584"/>
                </a:cubicBezTo>
                <a:cubicBezTo>
                  <a:pt x="4856815" y="4766584"/>
                  <a:pt x="4856815" y="4766584"/>
                  <a:pt x="4517479" y="4907004"/>
                </a:cubicBezTo>
                <a:cubicBezTo>
                  <a:pt x="4494604" y="4916492"/>
                  <a:pt x="4467914" y="4905106"/>
                  <a:pt x="4458382" y="4882336"/>
                </a:cubicBezTo>
                <a:cubicBezTo>
                  <a:pt x="4456475" y="4876643"/>
                  <a:pt x="4454569" y="4870950"/>
                  <a:pt x="4454569" y="4865258"/>
                </a:cubicBezTo>
                <a:cubicBezTo>
                  <a:pt x="4454569" y="4848180"/>
                  <a:pt x="4466007" y="4831101"/>
                  <a:pt x="4483165" y="4823511"/>
                </a:cubicBezTo>
                <a:cubicBezTo>
                  <a:pt x="4483165" y="4823511"/>
                  <a:pt x="4483165" y="4823511"/>
                  <a:pt x="4822497" y="4683092"/>
                </a:cubicBezTo>
                <a:cubicBezTo>
                  <a:pt x="4828215" y="4680720"/>
                  <a:pt x="4834173" y="4679652"/>
                  <a:pt x="4840042" y="4679741"/>
                </a:cubicBezTo>
                <a:close/>
                <a:moveTo>
                  <a:pt x="1476099" y="4679741"/>
                </a:moveTo>
                <a:cubicBezTo>
                  <a:pt x="1493704" y="4680008"/>
                  <a:pt x="1510504" y="4690682"/>
                  <a:pt x="1517653" y="4707760"/>
                </a:cubicBezTo>
                <a:cubicBezTo>
                  <a:pt x="1527185" y="4730531"/>
                  <a:pt x="1515746" y="4757097"/>
                  <a:pt x="1492870" y="4766584"/>
                </a:cubicBezTo>
                <a:cubicBezTo>
                  <a:pt x="1492870" y="4766584"/>
                  <a:pt x="1492870" y="4766584"/>
                  <a:pt x="1151623" y="4907004"/>
                </a:cubicBezTo>
                <a:cubicBezTo>
                  <a:pt x="1128746" y="4916492"/>
                  <a:pt x="1102056" y="4905106"/>
                  <a:pt x="1094431" y="4882336"/>
                </a:cubicBezTo>
                <a:cubicBezTo>
                  <a:pt x="1090618" y="4876643"/>
                  <a:pt x="1090618" y="4870950"/>
                  <a:pt x="1090618" y="4865258"/>
                </a:cubicBezTo>
                <a:cubicBezTo>
                  <a:pt x="1090618" y="4848180"/>
                  <a:pt x="1100150" y="4831101"/>
                  <a:pt x="1117307" y="4823511"/>
                </a:cubicBezTo>
                <a:cubicBezTo>
                  <a:pt x="1117307" y="4823511"/>
                  <a:pt x="1117307" y="4823511"/>
                  <a:pt x="1458554" y="4683092"/>
                </a:cubicBezTo>
                <a:cubicBezTo>
                  <a:pt x="1464274" y="4680720"/>
                  <a:pt x="1470231" y="4679652"/>
                  <a:pt x="1476099" y="4679741"/>
                </a:cubicBezTo>
                <a:close/>
                <a:moveTo>
                  <a:pt x="4282901" y="4670538"/>
                </a:moveTo>
                <a:cubicBezTo>
                  <a:pt x="4300481" y="4671342"/>
                  <a:pt x="4317257" y="4683129"/>
                  <a:pt x="4324395" y="4700274"/>
                </a:cubicBezTo>
                <a:cubicBezTo>
                  <a:pt x="4333914" y="4725039"/>
                  <a:pt x="4322492" y="4751709"/>
                  <a:pt x="4297744" y="4761234"/>
                </a:cubicBezTo>
                <a:cubicBezTo>
                  <a:pt x="4297744" y="4761234"/>
                  <a:pt x="4297744" y="4761234"/>
                  <a:pt x="3957010" y="4892679"/>
                </a:cubicBezTo>
                <a:cubicBezTo>
                  <a:pt x="3934167" y="4902204"/>
                  <a:pt x="3907514" y="4890774"/>
                  <a:pt x="3897997" y="4866009"/>
                </a:cubicBezTo>
                <a:cubicBezTo>
                  <a:pt x="3896092" y="4860294"/>
                  <a:pt x="3894190" y="4854579"/>
                  <a:pt x="3894190" y="4848864"/>
                </a:cubicBezTo>
                <a:cubicBezTo>
                  <a:pt x="3894190" y="4829814"/>
                  <a:pt x="3905611" y="4812669"/>
                  <a:pt x="3924648" y="4805049"/>
                </a:cubicBezTo>
                <a:cubicBezTo>
                  <a:pt x="3924648" y="4805049"/>
                  <a:pt x="3924648" y="4805049"/>
                  <a:pt x="4265381" y="4673604"/>
                </a:cubicBezTo>
                <a:cubicBezTo>
                  <a:pt x="4271092" y="4671223"/>
                  <a:pt x="4277042" y="4670270"/>
                  <a:pt x="4282901" y="4670538"/>
                </a:cubicBezTo>
                <a:close/>
                <a:moveTo>
                  <a:pt x="2029448" y="4670538"/>
                </a:moveTo>
                <a:cubicBezTo>
                  <a:pt x="2047817" y="4671342"/>
                  <a:pt x="2064585" y="4683129"/>
                  <a:pt x="2071719" y="4700274"/>
                </a:cubicBezTo>
                <a:cubicBezTo>
                  <a:pt x="2081231" y="4725039"/>
                  <a:pt x="2067915" y="4751709"/>
                  <a:pt x="2045083" y="4761234"/>
                </a:cubicBezTo>
                <a:cubicBezTo>
                  <a:pt x="2045083" y="4761234"/>
                  <a:pt x="2045083" y="4761234"/>
                  <a:pt x="1704573" y="4892679"/>
                </a:cubicBezTo>
                <a:cubicBezTo>
                  <a:pt x="1679843" y="4902204"/>
                  <a:pt x="1653211" y="4890774"/>
                  <a:pt x="1643700" y="4866009"/>
                </a:cubicBezTo>
                <a:cubicBezTo>
                  <a:pt x="1641797" y="4860294"/>
                  <a:pt x="1639895" y="4854579"/>
                  <a:pt x="1639895" y="4848864"/>
                </a:cubicBezTo>
                <a:cubicBezTo>
                  <a:pt x="1639895" y="4829814"/>
                  <a:pt x="1651309" y="4812669"/>
                  <a:pt x="1670332" y="4805049"/>
                </a:cubicBezTo>
                <a:cubicBezTo>
                  <a:pt x="1670332" y="4805049"/>
                  <a:pt x="1670332" y="4805049"/>
                  <a:pt x="2010841" y="4673604"/>
                </a:cubicBezTo>
                <a:cubicBezTo>
                  <a:pt x="2017024" y="4671223"/>
                  <a:pt x="2023325" y="4670270"/>
                  <a:pt x="2029448" y="4670538"/>
                </a:cubicBezTo>
                <a:close/>
                <a:moveTo>
                  <a:pt x="3720840" y="4661025"/>
                </a:moveTo>
                <a:cubicBezTo>
                  <a:pt x="3740053" y="4661915"/>
                  <a:pt x="3756854" y="4674027"/>
                  <a:pt x="3764003" y="4692550"/>
                </a:cubicBezTo>
                <a:cubicBezTo>
                  <a:pt x="3773537" y="4717247"/>
                  <a:pt x="3760192" y="4745744"/>
                  <a:pt x="3735407" y="4755243"/>
                </a:cubicBezTo>
                <a:cubicBezTo>
                  <a:pt x="3735407" y="4755243"/>
                  <a:pt x="3735407" y="4755243"/>
                  <a:pt x="3392273" y="4876830"/>
                </a:cubicBezTo>
                <a:cubicBezTo>
                  <a:pt x="3367488" y="4886329"/>
                  <a:pt x="3340798" y="4873030"/>
                  <a:pt x="3331267" y="4848333"/>
                </a:cubicBezTo>
                <a:cubicBezTo>
                  <a:pt x="3329358" y="4842633"/>
                  <a:pt x="3327455" y="4836934"/>
                  <a:pt x="3327455" y="4831235"/>
                </a:cubicBezTo>
                <a:cubicBezTo>
                  <a:pt x="3327455" y="4812237"/>
                  <a:pt x="3340798" y="4793239"/>
                  <a:pt x="3359861" y="4785640"/>
                </a:cubicBezTo>
                <a:cubicBezTo>
                  <a:pt x="3359861" y="4785640"/>
                  <a:pt x="3359861" y="4785640"/>
                  <a:pt x="3701090" y="4664053"/>
                </a:cubicBezTo>
                <a:cubicBezTo>
                  <a:pt x="3707763" y="4661678"/>
                  <a:pt x="3714436" y="4660728"/>
                  <a:pt x="3720840" y="4661025"/>
                </a:cubicBezTo>
                <a:close/>
                <a:moveTo>
                  <a:pt x="2587339" y="4661025"/>
                </a:moveTo>
                <a:cubicBezTo>
                  <a:pt x="2606552" y="4661915"/>
                  <a:pt x="2623352" y="4674027"/>
                  <a:pt x="2630501" y="4692550"/>
                </a:cubicBezTo>
                <a:cubicBezTo>
                  <a:pt x="2640033" y="4717247"/>
                  <a:pt x="2626688" y="4745744"/>
                  <a:pt x="2601905" y="4755243"/>
                </a:cubicBezTo>
                <a:cubicBezTo>
                  <a:pt x="2601905" y="4755243"/>
                  <a:pt x="2601905" y="4755243"/>
                  <a:pt x="2258757" y="4876830"/>
                </a:cubicBezTo>
                <a:cubicBezTo>
                  <a:pt x="2233974" y="4886329"/>
                  <a:pt x="2207285" y="4873030"/>
                  <a:pt x="2197753" y="4848333"/>
                </a:cubicBezTo>
                <a:cubicBezTo>
                  <a:pt x="2195847" y="4842633"/>
                  <a:pt x="2193940" y="4836934"/>
                  <a:pt x="2193940" y="4831235"/>
                </a:cubicBezTo>
                <a:cubicBezTo>
                  <a:pt x="2193940" y="4812237"/>
                  <a:pt x="2207285" y="4793239"/>
                  <a:pt x="2226349" y="4785640"/>
                </a:cubicBezTo>
                <a:cubicBezTo>
                  <a:pt x="2226349" y="4785640"/>
                  <a:pt x="2226349" y="4785640"/>
                  <a:pt x="2567591" y="4664053"/>
                </a:cubicBezTo>
                <a:cubicBezTo>
                  <a:pt x="2574263" y="4661678"/>
                  <a:pt x="2580935" y="4660728"/>
                  <a:pt x="2587339" y="4661025"/>
                </a:cubicBezTo>
                <a:close/>
                <a:moveTo>
                  <a:pt x="3149677" y="4651825"/>
                </a:moveTo>
                <a:cubicBezTo>
                  <a:pt x="3169410" y="4653256"/>
                  <a:pt x="3187272" y="4666490"/>
                  <a:pt x="3194415" y="4685090"/>
                </a:cubicBezTo>
                <a:cubicBezTo>
                  <a:pt x="3202032" y="4711797"/>
                  <a:pt x="3188700" y="4740412"/>
                  <a:pt x="3162028" y="4748043"/>
                </a:cubicBezTo>
                <a:cubicBezTo>
                  <a:pt x="3162028" y="4748043"/>
                  <a:pt x="3162028" y="4748043"/>
                  <a:pt x="2819123" y="4862503"/>
                </a:cubicBezTo>
                <a:cubicBezTo>
                  <a:pt x="2794358" y="4872042"/>
                  <a:pt x="2765782" y="4856780"/>
                  <a:pt x="2756258" y="4830073"/>
                </a:cubicBezTo>
                <a:cubicBezTo>
                  <a:pt x="2754356" y="4826258"/>
                  <a:pt x="2754356" y="4820535"/>
                  <a:pt x="2754356" y="4814812"/>
                </a:cubicBezTo>
                <a:cubicBezTo>
                  <a:pt x="2754356" y="4793827"/>
                  <a:pt x="2767688" y="4774750"/>
                  <a:pt x="2788641" y="4767120"/>
                </a:cubicBezTo>
                <a:cubicBezTo>
                  <a:pt x="2788641" y="4767120"/>
                  <a:pt x="2788641" y="4767120"/>
                  <a:pt x="3129644" y="4654567"/>
                </a:cubicBezTo>
                <a:cubicBezTo>
                  <a:pt x="3136312" y="4652183"/>
                  <a:pt x="3143099" y="4651348"/>
                  <a:pt x="3149677" y="4651825"/>
                </a:cubicBezTo>
                <a:close/>
                <a:moveTo>
                  <a:pt x="9864585" y="4440631"/>
                </a:moveTo>
                <a:cubicBezTo>
                  <a:pt x="9871274" y="4441819"/>
                  <a:pt x="9877485" y="4445621"/>
                  <a:pt x="9882263" y="4452274"/>
                </a:cubicBezTo>
                <a:cubicBezTo>
                  <a:pt x="9891819" y="4463680"/>
                  <a:pt x="9887997" y="4480789"/>
                  <a:pt x="9876529" y="4488393"/>
                </a:cubicBezTo>
                <a:cubicBezTo>
                  <a:pt x="9876529" y="4488393"/>
                  <a:pt x="9876529" y="4488393"/>
                  <a:pt x="9540160" y="4727913"/>
                </a:cubicBezTo>
                <a:cubicBezTo>
                  <a:pt x="9528693" y="4735517"/>
                  <a:pt x="9511492" y="4733616"/>
                  <a:pt x="9503848" y="4720309"/>
                </a:cubicBezTo>
                <a:cubicBezTo>
                  <a:pt x="9500025" y="4716507"/>
                  <a:pt x="9498114" y="4710804"/>
                  <a:pt x="9498114" y="4705101"/>
                </a:cubicBezTo>
                <a:cubicBezTo>
                  <a:pt x="9498114" y="4697498"/>
                  <a:pt x="9501936" y="4687993"/>
                  <a:pt x="9509581" y="4684191"/>
                </a:cubicBezTo>
                <a:cubicBezTo>
                  <a:pt x="9509581" y="4684191"/>
                  <a:pt x="9509581" y="4684191"/>
                  <a:pt x="9844039" y="4444671"/>
                </a:cubicBezTo>
                <a:cubicBezTo>
                  <a:pt x="9850729" y="4440869"/>
                  <a:pt x="9857896" y="4439443"/>
                  <a:pt x="9864585" y="4440631"/>
                </a:cubicBezTo>
                <a:close/>
                <a:moveTo>
                  <a:pt x="10447906" y="4432309"/>
                </a:moveTo>
                <a:cubicBezTo>
                  <a:pt x="10455055" y="4433740"/>
                  <a:pt x="10461728" y="4438030"/>
                  <a:pt x="10466494" y="4444705"/>
                </a:cubicBezTo>
                <a:cubicBezTo>
                  <a:pt x="10476027" y="4458055"/>
                  <a:pt x="10472214" y="4475218"/>
                  <a:pt x="10458868" y="4484754"/>
                </a:cubicBezTo>
                <a:cubicBezTo>
                  <a:pt x="10458868" y="4484754"/>
                  <a:pt x="10458868" y="4484754"/>
                  <a:pt x="10123316" y="4711694"/>
                </a:cubicBezTo>
                <a:cubicBezTo>
                  <a:pt x="10109970" y="4721230"/>
                  <a:pt x="10092811" y="4717416"/>
                  <a:pt x="10083279" y="4704066"/>
                </a:cubicBezTo>
                <a:cubicBezTo>
                  <a:pt x="10079466" y="4698345"/>
                  <a:pt x="10077559" y="4692624"/>
                  <a:pt x="10077559" y="4686903"/>
                </a:cubicBezTo>
                <a:cubicBezTo>
                  <a:pt x="10077559" y="4679274"/>
                  <a:pt x="10083279" y="4669739"/>
                  <a:pt x="10090905" y="4664018"/>
                </a:cubicBezTo>
                <a:cubicBezTo>
                  <a:pt x="10090905" y="4664018"/>
                  <a:pt x="10090905" y="4664018"/>
                  <a:pt x="10426457" y="4437077"/>
                </a:cubicBezTo>
                <a:cubicBezTo>
                  <a:pt x="10433130" y="4432310"/>
                  <a:pt x="10440756" y="4430879"/>
                  <a:pt x="10447906" y="4432309"/>
                </a:cubicBezTo>
                <a:close/>
                <a:moveTo>
                  <a:pt x="9287428" y="4432309"/>
                </a:moveTo>
                <a:cubicBezTo>
                  <a:pt x="9294577" y="4433740"/>
                  <a:pt x="9301250" y="4438031"/>
                  <a:pt x="9306016" y="4444705"/>
                </a:cubicBezTo>
                <a:cubicBezTo>
                  <a:pt x="9315549" y="4458055"/>
                  <a:pt x="9311736" y="4475218"/>
                  <a:pt x="9298390" y="4484754"/>
                </a:cubicBezTo>
                <a:cubicBezTo>
                  <a:pt x="9298390" y="4484754"/>
                  <a:pt x="9298390" y="4484754"/>
                  <a:pt x="8962838" y="4711694"/>
                </a:cubicBezTo>
                <a:cubicBezTo>
                  <a:pt x="8949492" y="4721230"/>
                  <a:pt x="8932333" y="4717416"/>
                  <a:pt x="8922801" y="4704066"/>
                </a:cubicBezTo>
                <a:cubicBezTo>
                  <a:pt x="8918988" y="4698345"/>
                  <a:pt x="8917081" y="4692624"/>
                  <a:pt x="8917081" y="4686903"/>
                </a:cubicBezTo>
                <a:cubicBezTo>
                  <a:pt x="8917081" y="4679274"/>
                  <a:pt x="8922801" y="4669739"/>
                  <a:pt x="8930427" y="4664018"/>
                </a:cubicBezTo>
                <a:cubicBezTo>
                  <a:pt x="8930427" y="4664018"/>
                  <a:pt x="8930427" y="4664018"/>
                  <a:pt x="9265979" y="4437077"/>
                </a:cubicBezTo>
                <a:cubicBezTo>
                  <a:pt x="9272652" y="4432310"/>
                  <a:pt x="9280278" y="4430879"/>
                  <a:pt x="9287428" y="4432309"/>
                </a:cubicBezTo>
                <a:close/>
                <a:moveTo>
                  <a:pt x="11026206" y="4423012"/>
                </a:moveTo>
                <a:cubicBezTo>
                  <a:pt x="11034058" y="4424677"/>
                  <a:pt x="11041196" y="4429434"/>
                  <a:pt x="11045955" y="4437046"/>
                </a:cubicBezTo>
                <a:cubicBezTo>
                  <a:pt x="11055473" y="4450366"/>
                  <a:pt x="11051666" y="4471298"/>
                  <a:pt x="11036438" y="4478910"/>
                </a:cubicBezTo>
                <a:cubicBezTo>
                  <a:pt x="11036438" y="4478910"/>
                  <a:pt x="11036438" y="4478910"/>
                  <a:pt x="10701418" y="4695840"/>
                </a:cubicBezTo>
                <a:cubicBezTo>
                  <a:pt x="10686190" y="4705355"/>
                  <a:pt x="10667155" y="4699646"/>
                  <a:pt x="10657637" y="4686326"/>
                </a:cubicBezTo>
                <a:cubicBezTo>
                  <a:pt x="10653830" y="4680617"/>
                  <a:pt x="10653830" y="4674908"/>
                  <a:pt x="10653830" y="4669200"/>
                </a:cubicBezTo>
                <a:cubicBezTo>
                  <a:pt x="10653830" y="4657782"/>
                  <a:pt x="10657637" y="4648268"/>
                  <a:pt x="10667155" y="4642559"/>
                </a:cubicBezTo>
                <a:cubicBezTo>
                  <a:pt x="10667155" y="4642559"/>
                  <a:pt x="10667155" y="4642559"/>
                  <a:pt x="11002174" y="4427531"/>
                </a:cubicBezTo>
                <a:cubicBezTo>
                  <a:pt x="11009789" y="4422774"/>
                  <a:pt x="11018354" y="4421347"/>
                  <a:pt x="11026206" y="4423012"/>
                </a:cubicBezTo>
                <a:close/>
                <a:moveTo>
                  <a:pt x="8716363" y="4423012"/>
                </a:moveTo>
                <a:cubicBezTo>
                  <a:pt x="8724215" y="4424677"/>
                  <a:pt x="8731353" y="4429434"/>
                  <a:pt x="8736111" y="4437046"/>
                </a:cubicBezTo>
                <a:cubicBezTo>
                  <a:pt x="8745629" y="4450366"/>
                  <a:pt x="8741822" y="4471298"/>
                  <a:pt x="8726594" y="4478910"/>
                </a:cubicBezTo>
                <a:cubicBezTo>
                  <a:pt x="8726594" y="4478910"/>
                  <a:pt x="8726594" y="4478910"/>
                  <a:pt x="8391574" y="4695840"/>
                </a:cubicBezTo>
                <a:cubicBezTo>
                  <a:pt x="8378249" y="4705355"/>
                  <a:pt x="8357311" y="4699646"/>
                  <a:pt x="8347793" y="4686326"/>
                </a:cubicBezTo>
                <a:cubicBezTo>
                  <a:pt x="8345890" y="4680617"/>
                  <a:pt x="8343986" y="4674908"/>
                  <a:pt x="8343986" y="4669200"/>
                </a:cubicBezTo>
                <a:cubicBezTo>
                  <a:pt x="8343986" y="4657782"/>
                  <a:pt x="8347793" y="4648268"/>
                  <a:pt x="8357311" y="4642559"/>
                </a:cubicBezTo>
                <a:cubicBezTo>
                  <a:pt x="8357311" y="4642559"/>
                  <a:pt x="8357311" y="4642559"/>
                  <a:pt x="8692330" y="4427531"/>
                </a:cubicBezTo>
                <a:cubicBezTo>
                  <a:pt x="8699944" y="4422774"/>
                  <a:pt x="8708511" y="4421347"/>
                  <a:pt x="8716363" y="4423012"/>
                </a:cubicBezTo>
                <a:close/>
                <a:moveTo>
                  <a:pt x="11596714" y="4414431"/>
                </a:moveTo>
                <a:cubicBezTo>
                  <a:pt x="11605055" y="4416570"/>
                  <a:pt x="11612681" y="4421797"/>
                  <a:pt x="11617447" y="4429399"/>
                </a:cubicBezTo>
                <a:cubicBezTo>
                  <a:pt x="11626980" y="4444605"/>
                  <a:pt x="11623167" y="4465512"/>
                  <a:pt x="11606008" y="4475016"/>
                </a:cubicBezTo>
                <a:cubicBezTo>
                  <a:pt x="11606008" y="4475016"/>
                  <a:pt x="11606008" y="4475016"/>
                  <a:pt x="11270463" y="4678388"/>
                </a:cubicBezTo>
                <a:cubicBezTo>
                  <a:pt x="11255211" y="4687892"/>
                  <a:pt x="11234239" y="4684090"/>
                  <a:pt x="11224707" y="4666984"/>
                </a:cubicBezTo>
                <a:cubicBezTo>
                  <a:pt x="11220894" y="4663183"/>
                  <a:pt x="11218987" y="4655580"/>
                  <a:pt x="11218987" y="4649878"/>
                </a:cubicBezTo>
                <a:cubicBezTo>
                  <a:pt x="11218987" y="4638474"/>
                  <a:pt x="11224707" y="4628971"/>
                  <a:pt x="11236146" y="4621368"/>
                </a:cubicBezTo>
                <a:cubicBezTo>
                  <a:pt x="11236146" y="4621368"/>
                  <a:pt x="11236146" y="4621368"/>
                  <a:pt x="11571691" y="4417995"/>
                </a:cubicBezTo>
                <a:cubicBezTo>
                  <a:pt x="11579317" y="4413244"/>
                  <a:pt x="11588373" y="4412293"/>
                  <a:pt x="11596714" y="4414431"/>
                </a:cubicBezTo>
                <a:close/>
                <a:moveTo>
                  <a:pt x="8153380" y="4414431"/>
                </a:moveTo>
                <a:cubicBezTo>
                  <a:pt x="8161721" y="4416570"/>
                  <a:pt x="8169347" y="4421797"/>
                  <a:pt x="8174113" y="4429399"/>
                </a:cubicBezTo>
                <a:cubicBezTo>
                  <a:pt x="8183646" y="4444605"/>
                  <a:pt x="8177926" y="4465512"/>
                  <a:pt x="8162674" y="4475016"/>
                </a:cubicBezTo>
                <a:cubicBezTo>
                  <a:pt x="8162674" y="4475016"/>
                  <a:pt x="8162674" y="4475016"/>
                  <a:pt x="7825222" y="4678388"/>
                </a:cubicBezTo>
                <a:cubicBezTo>
                  <a:pt x="7809970" y="4687892"/>
                  <a:pt x="7788998" y="4684090"/>
                  <a:pt x="7779466" y="4666984"/>
                </a:cubicBezTo>
                <a:cubicBezTo>
                  <a:pt x="7777559" y="4663183"/>
                  <a:pt x="7775653" y="4655580"/>
                  <a:pt x="7775653" y="4649878"/>
                </a:cubicBezTo>
                <a:cubicBezTo>
                  <a:pt x="7775653" y="4638474"/>
                  <a:pt x="7781372" y="4628971"/>
                  <a:pt x="7790905" y="4621368"/>
                </a:cubicBezTo>
                <a:cubicBezTo>
                  <a:pt x="7790905" y="4621368"/>
                  <a:pt x="7790905" y="4621368"/>
                  <a:pt x="8128357" y="4417995"/>
                </a:cubicBezTo>
                <a:cubicBezTo>
                  <a:pt x="8135983" y="4413244"/>
                  <a:pt x="8145039" y="4412293"/>
                  <a:pt x="8153380" y="4414431"/>
                </a:cubicBezTo>
                <a:close/>
                <a:moveTo>
                  <a:pt x="12139750" y="4406904"/>
                </a:moveTo>
                <a:cubicBezTo>
                  <a:pt x="12139750" y="4406904"/>
                  <a:pt x="12139750" y="4406904"/>
                  <a:pt x="12139750" y="4488819"/>
                </a:cubicBezTo>
                <a:cubicBezTo>
                  <a:pt x="12139750" y="4488819"/>
                  <a:pt x="12139750" y="4488819"/>
                  <a:pt x="11834405" y="4664079"/>
                </a:cubicBezTo>
                <a:cubicBezTo>
                  <a:pt x="11817230" y="4673604"/>
                  <a:pt x="11794329" y="4667889"/>
                  <a:pt x="11784787" y="4650744"/>
                </a:cubicBezTo>
                <a:cubicBezTo>
                  <a:pt x="11780970" y="4645029"/>
                  <a:pt x="11780970" y="4639314"/>
                  <a:pt x="11780970" y="4633599"/>
                </a:cubicBezTo>
                <a:cubicBezTo>
                  <a:pt x="11780970" y="4620264"/>
                  <a:pt x="11786695" y="4608834"/>
                  <a:pt x="11798146" y="4601214"/>
                </a:cubicBezTo>
                <a:lnTo>
                  <a:pt x="12135933" y="4408809"/>
                </a:lnTo>
                <a:cubicBezTo>
                  <a:pt x="12137842" y="4408809"/>
                  <a:pt x="12137842" y="4408809"/>
                  <a:pt x="12139750" y="4406904"/>
                </a:cubicBezTo>
                <a:close/>
                <a:moveTo>
                  <a:pt x="7595041" y="4405165"/>
                </a:moveTo>
                <a:cubicBezTo>
                  <a:pt x="7604076" y="4407549"/>
                  <a:pt x="7612160" y="4413271"/>
                  <a:pt x="7616915" y="4421853"/>
                </a:cubicBezTo>
                <a:cubicBezTo>
                  <a:pt x="7626426" y="4439018"/>
                  <a:pt x="7620719" y="4461905"/>
                  <a:pt x="7603601" y="4471441"/>
                </a:cubicBezTo>
                <a:cubicBezTo>
                  <a:pt x="7603601" y="4471441"/>
                  <a:pt x="7603601" y="4471441"/>
                  <a:pt x="7266929" y="4664069"/>
                </a:cubicBezTo>
                <a:cubicBezTo>
                  <a:pt x="7249810" y="4673605"/>
                  <a:pt x="7228887" y="4667883"/>
                  <a:pt x="7219376" y="4650718"/>
                </a:cubicBezTo>
                <a:cubicBezTo>
                  <a:pt x="7215572" y="4644997"/>
                  <a:pt x="7213670" y="4639275"/>
                  <a:pt x="7213670" y="4633553"/>
                </a:cubicBezTo>
                <a:cubicBezTo>
                  <a:pt x="7213670" y="4620203"/>
                  <a:pt x="7219376" y="4608760"/>
                  <a:pt x="7230789" y="4601131"/>
                </a:cubicBezTo>
                <a:cubicBezTo>
                  <a:pt x="7230789" y="4601131"/>
                  <a:pt x="7230789" y="4601131"/>
                  <a:pt x="7567461" y="4408503"/>
                </a:cubicBezTo>
                <a:cubicBezTo>
                  <a:pt x="7576020" y="4403735"/>
                  <a:pt x="7586006" y="4402781"/>
                  <a:pt x="7595041" y="4405165"/>
                </a:cubicBezTo>
                <a:close/>
                <a:moveTo>
                  <a:pt x="7045448" y="4396577"/>
                </a:moveTo>
                <a:cubicBezTo>
                  <a:pt x="7054742" y="4399431"/>
                  <a:pt x="7062844" y="4405615"/>
                  <a:pt x="7067610" y="4414178"/>
                </a:cubicBezTo>
                <a:cubicBezTo>
                  <a:pt x="7077143" y="4433205"/>
                  <a:pt x="7071423" y="4456038"/>
                  <a:pt x="7052359" y="4465552"/>
                </a:cubicBezTo>
                <a:cubicBezTo>
                  <a:pt x="7052359" y="4465552"/>
                  <a:pt x="7052359" y="4465552"/>
                  <a:pt x="6714913" y="4646313"/>
                </a:cubicBezTo>
                <a:cubicBezTo>
                  <a:pt x="6695848" y="4657730"/>
                  <a:pt x="6672970" y="4650119"/>
                  <a:pt x="6663438" y="4631091"/>
                </a:cubicBezTo>
                <a:cubicBezTo>
                  <a:pt x="6661531" y="4625383"/>
                  <a:pt x="6659625" y="4619675"/>
                  <a:pt x="6659625" y="4613966"/>
                </a:cubicBezTo>
                <a:cubicBezTo>
                  <a:pt x="6659625" y="4600647"/>
                  <a:pt x="6667251" y="4587328"/>
                  <a:pt x="6678689" y="4581620"/>
                </a:cubicBezTo>
                <a:cubicBezTo>
                  <a:pt x="6678689" y="4581620"/>
                  <a:pt x="6678689" y="4581620"/>
                  <a:pt x="7016136" y="4398956"/>
                </a:cubicBezTo>
                <a:cubicBezTo>
                  <a:pt x="7025668" y="4394199"/>
                  <a:pt x="7036154" y="4393723"/>
                  <a:pt x="7045448" y="4396577"/>
                </a:cubicBezTo>
                <a:close/>
                <a:moveTo>
                  <a:pt x="6484860" y="4386509"/>
                </a:moveTo>
                <a:cubicBezTo>
                  <a:pt x="6500286" y="4385262"/>
                  <a:pt x="6515979" y="4394170"/>
                  <a:pt x="6523112" y="4408422"/>
                </a:cubicBezTo>
                <a:cubicBezTo>
                  <a:pt x="6532623" y="4427426"/>
                  <a:pt x="6525014" y="4452131"/>
                  <a:pt x="6505992" y="4461632"/>
                </a:cubicBezTo>
                <a:cubicBezTo>
                  <a:pt x="6505992" y="4461632"/>
                  <a:pt x="6505992" y="4461632"/>
                  <a:pt x="6167407" y="4630765"/>
                </a:cubicBezTo>
                <a:cubicBezTo>
                  <a:pt x="6148385" y="4640267"/>
                  <a:pt x="6123657" y="4632665"/>
                  <a:pt x="6114146" y="4613662"/>
                </a:cubicBezTo>
                <a:cubicBezTo>
                  <a:pt x="6112244" y="4607961"/>
                  <a:pt x="6110342" y="4600359"/>
                  <a:pt x="6110342" y="4594658"/>
                </a:cubicBezTo>
                <a:cubicBezTo>
                  <a:pt x="6110342" y="4581355"/>
                  <a:pt x="6117950" y="4566153"/>
                  <a:pt x="6131266" y="4560451"/>
                </a:cubicBezTo>
                <a:cubicBezTo>
                  <a:pt x="6131266" y="4560451"/>
                  <a:pt x="6131266" y="4560451"/>
                  <a:pt x="6469851" y="4391319"/>
                </a:cubicBezTo>
                <a:cubicBezTo>
                  <a:pt x="6474607" y="4388468"/>
                  <a:pt x="6479719" y="4386924"/>
                  <a:pt x="6484860" y="4386509"/>
                </a:cubicBezTo>
                <a:close/>
                <a:moveTo>
                  <a:pt x="5956832" y="4379618"/>
                </a:moveTo>
                <a:cubicBezTo>
                  <a:pt x="5966832" y="4382960"/>
                  <a:pt x="5975405" y="4390122"/>
                  <a:pt x="5980168" y="4400625"/>
                </a:cubicBezTo>
                <a:cubicBezTo>
                  <a:pt x="5989693" y="4421633"/>
                  <a:pt x="5982072" y="4446460"/>
                  <a:pt x="5961118" y="4456009"/>
                </a:cubicBezTo>
                <a:cubicBezTo>
                  <a:pt x="5961118" y="4456009"/>
                  <a:pt x="5961118" y="4456009"/>
                  <a:pt x="5622031" y="4616430"/>
                </a:cubicBezTo>
                <a:cubicBezTo>
                  <a:pt x="5601076" y="4625979"/>
                  <a:pt x="5576311" y="4616430"/>
                  <a:pt x="5564881" y="4595422"/>
                </a:cubicBezTo>
                <a:cubicBezTo>
                  <a:pt x="5562976" y="4589693"/>
                  <a:pt x="5561071" y="4583964"/>
                  <a:pt x="5561071" y="4578234"/>
                </a:cubicBezTo>
                <a:cubicBezTo>
                  <a:pt x="5561071" y="4561046"/>
                  <a:pt x="5570596" y="4547678"/>
                  <a:pt x="5585836" y="4540039"/>
                </a:cubicBezTo>
                <a:cubicBezTo>
                  <a:pt x="5585836" y="4540039"/>
                  <a:pt x="5585836" y="4540039"/>
                  <a:pt x="5924923" y="4381528"/>
                </a:cubicBezTo>
                <a:cubicBezTo>
                  <a:pt x="5935400" y="4376753"/>
                  <a:pt x="5946830" y="4376276"/>
                  <a:pt x="5956832" y="4379618"/>
                </a:cubicBezTo>
                <a:close/>
                <a:moveTo>
                  <a:pt x="398944" y="4379618"/>
                </a:moveTo>
                <a:cubicBezTo>
                  <a:pt x="408946" y="4382960"/>
                  <a:pt x="417518" y="4390121"/>
                  <a:pt x="422281" y="4400625"/>
                </a:cubicBezTo>
                <a:cubicBezTo>
                  <a:pt x="431806" y="4421633"/>
                  <a:pt x="422281" y="4446460"/>
                  <a:pt x="401326" y="4456009"/>
                </a:cubicBezTo>
                <a:cubicBezTo>
                  <a:pt x="401326" y="4456009"/>
                  <a:pt x="401326" y="4456009"/>
                  <a:pt x="62231" y="4616430"/>
                </a:cubicBezTo>
                <a:cubicBezTo>
                  <a:pt x="41276" y="4625979"/>
                  <a:pt x="16511" y="4616430"/>
                  <a:pt x="6986" y="4595422"/>
                </a:cubicBezTo>
                <a:cubicBezTo>
                  <a:pt x="5081" y="4589693"/>
                  <a:pt x="3176" y="4583964"/>
                  <a:pt x="3176" y="4578234"/>
                </a:cubicBezTo>
                <a:cubicBezTo>
                  <a:pt x="3176" y="4561046"/>
                  <a:pt x="12701" y="4547678"/>
                  <a:pt x="27941" y="4540039"/>
                </a:cubicBezTo>
                <a:cubicBezTo>
                  <a:pt x="27941" y="4540039"/>
                  <a:pt x="27941" y="4540039"/>
                  <a:pt x="367035" y="4381528"/>
                </a:cubicBezTo>
                <a:cubicBezTo>
                  <a:pt x="377513" y="4376753"/>
                  <a:pt x="388943" y="4376276"/>
                  <a:pt x="398944" y="4379618"/>
                </a:cubicBezTo>
                <a:close/>
                <a:moveTo>
                  <a:pt x="5410426" y="4371276"/>
                </a:moveTo>
                <a:cubicBezTo>
                  <a:pt x="5420687" y="4375329"/>
                  <a:pt x="5429278" y="4383436"/>
                  <a:pt x="5434051" y="4394881"/>
                </a:cubicBezTo>
                <a:cubicBezTo>
                  <a:pt x="5443597" y="4415863"/>
                  <a:pt x="5434051" y="4442567"/>
                  <a:pt x="5411141" y="4452105"/>
                </a:cubicBezTo>
                <a:cubicBezTo>
                  <a:pt x="5411141" y="4452105"/>
                  <a:pt x="5411141" y="4452105"/>
                  <a:pt x="5071298" y="4598979"/>
                </a:cubicBezTo>
                <a:cubicBezTo>
                  <a:pt x="5048391" y="4608517"/>
                  <a:pt x="5023573" y="4598979"/>
                  <a:pt x="5014028" y="4576090"/>
                </a:cubicBezTo>
                <a:cubicBezTo>
                  <a:pt x="5010210" y="4570367"/>
                  <a:pt x="5010210" y="4564645"/>
                  <a:pt x="5010210" y="4558923"/>
                </a:cubicBezTo>
                <a:cubicBezTo>
                  <a:pt x="5010210" y="4541755"/>
                  <a:pt x="5019755" y="4526496"/>
                  <a:pt x="5036936" y="4518866"/>
                </a:cubicBezTo>
                <a:cubicBezTo>
                  <a:pt x="5036936" y="4518866"/>
                  <a:pt x="5036936" y="4518866"/>
                  <a:pt x="5376776" y="4371991"/>
                </a:cubicBezTo>
                <a:cubicBezTo>
                  <a:pt x="5388232" y="4367223"/>
                  <a:pt x="5400163" y="4367223"/>
                  <a:pt x="5410426" y="4371276"/>
                </a:cubicBezTo>
                <a:close/>
                <a:moveTo>
                  <a:pt x="943805" y="4371276"/>
                </a:moveTo>
                <a:cubicBezTo>
                  <a:pt x="954537" y="4375329"/>
                  <a:pt x="963599" y="4383436"/>
                  <a:pt x="968368" y="4394881"/>
                </a:cubicBezTo>
                <a:cubicBezTo>
                  <a:pt x="977908" y="4415863"/>
                  <a:pt x="966461" y="4442567"/>
                  <a:pt x="945475" y="4452105"/>
                </a:cubicBezTo>
                <a:cubicBezTo>
                  <a:pt x="945475" y="4452105"/>
                  <a:pt x="945475" y="4452105"/>
                  <a:pt x="603977" y="4598979"/>
                </a:cubicBezTo>
                <a:cubicBezTo>
                  <a:pt x="581083" y="4608517"/>
                  <a:pt x="556282" y="4598979"/>
                  <a:pt x="546743" y="4576090"/>
                </a:cubicBezTo>
                <a:cubicBezTo>
                  <a:pt x="544835" y="4570367"/>
                  <a:pt x="542927" y="4564645"/>
                  <a:pt x="542927" y="4558923"/>
                </a:cubicBezTo>
                <a:cubicBezTo>
                  <a:pt x="542927" y="4541755"/>
                  <a:pt x="552466" y="4526496"/>
                  <a:pt x="569637" y="4518866"/>
                </a:cubicBezTo>
                <a:cubicBezTo>
                  <a:pt x="569637" y="4518866"/>
                  <a:pt x="569637" y="4518866"/>
                  <a:pt x="909226" y="4371991"/>
                </a:cubicBezTo>
                <a:cubicBezTo>
                  <a:pt x="920673" y="4367223"/>
                  <a:pt x="933074" y="4367223"/>
                  <a:pt x="943805" y="4371276"/>
                </a:cubicBezTo>
                <a:close/>
                <a:moveTo>
                  <a:pt x="4841668" y="4359082"/>
                </a:moveTo>
                <a:cubicBezTo>
                  <a:pt x="4859263" y="4359350"/>
                  <a:pt x="4876052" y="4370051"/>
                  <a:pt x="4883197" y="4387173"/>
                </a:cubicBezTo>
                <a:cubicBezTo>
                  <a:pt x="4892725" y="4411906"/>
                  <a:pt x="4881293" y="4438541"/>
                  <a:pt x="4856523" y="4448053"/>
                </a:cubicBezTo>
                <a:cubicBezTo>
                  <a:pt x="4856523" y="4448053"/>
                  <a:pt x="4856523" y="4448053"/>
                  <a:pt x="4517432" y="4583129"/>
                </a:cubicBezTo>
                <a:cubicBezTo>
                  <a:pt x="4492669" y="4592642"/>
                  <a:pt x="4465998" y="4581227"/>
                  <a:pt x="4456473" y="4556495"/>
                </a:cubicBezTo>
                <a:cubicBezTo>
                  <a:pt x="4454569" y="4550787"/>
                  <a:pt x="4454569" y="4545080"/>
                  <a:pt x="4454569" y="4539372"/>
                </a:cubicBezTo>
                <a:cubicBezTo>
                  <a:pt x="4454569" y="4522250"/>
                  <a:pt x="4464094" y="4505127"/>
                  <a:pt x="4483145" y="4497518"/>
                </a:cubicBezTo>
                <a:cubicBezTo>
                  <a:pt x="4483145" y="4497518"/>
                  <a:pt x="4483145" y="4497518"/>
                  <a:pt x="4824134" y="4362441"/>
                </a:cubicBezTo>
                <a:cubicBezTo>
                  <a:pt x="4829847" y="4360063"/>
                  <a:pt x="4835801" y="4358993"/>
                  <a:pt x="4841668" y="4359082"/>
                </a:cubicBezTo>
                <a:close/>
                <a:moveTo>
                  <a:pt x="1477208" y="4359082"/>
                </a:moveTo>
                <a:cubicBezTo>
                  <a:pt x="1495514" y="4359350"/>
                  <a:pt x="1511945" y="4370051"/>
                  <a:pt x="1517660" y="4387173"/>
                </a:cubicBezTo>
                <a:cubicBezTo>
                  <a:pt x="1527185" y="4411906"/>
                  <a:pt x="1515755" y="4438541"/>
                  <a:pt x="1492894" y="4448053"/>
                </a:cubicBezTo>
                <a:cubicBezTo>
                  <a:pt x="1492894" y="4448053"/>
                  <a:pt x="1492894" y="4448053"/>
                  <a:pt x="1151895" y="4583129"/>
                </a:cubicBezTo>
                <a:cubicBezTo>
                  <a:pt x="1129035" y="4592642"/>
                  <a:pt x="1102365" y="4581227"/>
                  <a:pt x="1092840" y="4556495"/>
                </a:cubicBezTo>
                <a:cubicBezTo>
                  <a:pt x="1090935" y="4550787"/>
                  <a:pt x="1089029" y="4545080"/>
                  <a:pt x="1089029" y="4539372"/>
                </a:cubicBezTo>
                <a:cubicBezTo>
                  <a:pt x="1089029" y="4522250"/>
                  <a:pt x="1100460" y="4505127"/>
                  <a:pt x="1117605" y="4497518"/>
                </a:cubicBezTo>
                <a:cubicBezTo>
                  <a:pt x="1117605" y="4497518"/>
                  <a:pt x="1117605" y="4497518"/>
                  <a:pt x="1458604" y="4362441"/>
                </a:cubicBezTo>
                <a:cubicBezTo>
                  <a:pt x="1464795" y="4360063"/>
                  <a:pt x="1471106" y="4358993"/>
                  <a:pt x="1477208" y="4359082"/>
                </a:cubicBezTo>
                <a:close/>
                <a:moveTo>
                  <a:pt x="4284028" y="4349919"/>
                </a:moveTo>
                <a:cubicBezTo>
                  <a:pt x="4302829" y="4350816"/>
                  <a:pt x="4320295" y="4363010"/>
                  <a:pt x="4325998" y="4381660"/>
                </a:cubicBezTo>
                <a:cubicBezTo>
                  <a:pt x="4335502" y="4406527"/>
                  <a:pt x="4322195" y="4435219"/>
                  <a:pt x="4297483" y="4442870"/>
                </a:cubicBezTo>
                <a:cubicBezTo>
                  <a:pt x="4297483" y="4442870"/>
                  <a:pt x="4297483" y="4442870"/>
                  <a:pt x="3957235" y="4569116"/>
                </a:cubicBezTo>
                <a:cubicBezTo>
                  <a:pt x="3932521" y="4576767"/>
                  <a:pt x="3904007" y="4565290"/>
                  <a:pt x="3896403" y="4538511"/>
                </a:cubicBezTo>
                <a:cubicBezTo>
                  <a:pt x="3894503" y="4534685"/>
                  <a:pt x="3892602" y="4528946"/>
                  <a:pt x="3892602" y="4523208"/>
                </a:cubicBezTo>
                <a:cubicBezTo>
                  <a:pt x="3892602" y="4502167"/>
                  <a:pt x="3904007" y="4484952"/>
                  <a:pt x="3924919" y="4477301"/>
                </a:cubicBezTo>
                <a:cubicBezTo>
                  <a:pt x="3924919" y="4477301"/>
                  <a:pt x="3924919" y="4477301"/>
                  <a:pt x="4265165" y="4352968"/>
                </a:cubicBezTo>
                <a:cubicBezTo>
                  <a:pt x="4271343" y="4350577"/>
                  <a:pt x="4277760" y="4349620"/>
                  <a:pt x="4284028" y="4349919"/>
                </a:cubicBezTo>
                <a:close/>
                <a:moveTo>
                  <a:pt x="2029783" y="4349919"/>
                </a:moveTo>
                <a:cubicBezTo>
                  <a:pt x="2048677" y="4350816"/>
                  <a:pt x="2066500" y="4363010"/>
                  <a:pt x="2073628" y="4381660"/>
                </a:cubicBezTo>
                <a:cubicBezTo>
                  <a:pt x="2081232" y="4406527"/>
                  <a:pt x="2069826" y="4435219"/>
                  <a:pt x="2045109" y="4442870"/>
                </a:cubicBezTo>
                <a:cubicBezTo>
                  <a:pt x="2045109" y="4442870"/>
                  <a:pt x="2045109" y="4442870"/>
                  <a:pt x="1702940" y="4569116"/>
                </a:cubicBezTo>
                <a:cubicBezTo>
                  <a:pt x="1678228" y="4576767"/>
                  <a:pt x="1651615" y="4565290"/>
                  <a:pt x="1642110" y="4538511"/>
                </a:cubicBezTo>
                <a:cubicBezTo>
                  <a:pt x="1640209" y="4534685"/>
                  <a:pt x="1638308" y="4528946"/>
                  <a:pt x="1638308" y="4523208"/>
                </a:cubicBezTo>
                <a:cubicBezTo>
                  <a:pt x="1638308" y="4502167"/>
                  <a:pt x="1651615" y="4484952"/>
                  <a:pt x="1670624" y="4477301"/>
                </a:cubicBezTo>
                <a:cubicBezTo>
                  <a:pt x="1670624" y="4477301"/>
                  <a:pt x="1670624" y="4477301"/>
                  <a:pt x="2010892" y="4352968"/>
                </a:cubicBezTo>
                <a:cubicBezTo>
                  <a:pt x="2017070" y="4350577"/>
                  <a:pt x="2023486" y="4349620"/>
                  <a:pt x="2029783" y="4349919"/>
                </a:cubicBezTo>
                <a:close/>
                <a:moveTo>
                  <a:pt x="3722769" y="4341198"/>
                </a:moveTo>
                <a:cubicBezTo>
                  <a:pt x="3742402" y="4342989"/>
                  <a:pt x="3759894" y="4355526"/>
                  <a:pt x="3765605" y="4375585"/>
                </a:cubicBezTo>
                <a:cubicBezTo>
                  <a:pt x="3775123" y="4402330"/>
                  <a:pt x="3759894" y="4430986"/>
                  <a:pt x="3733239" y="4438627"/>
                </a:cubicBezTo>
                <a:cubicBezTo>
                  <a:pt x="3733239" y="4438627"/>
                  <a:pt x="3733239" y="4438627"/>
                  <a:pt x="3392495" y="4551340"/>
                </a:cubicBezTo>
                <a:cubicBezTo>
                  <a:pt x="3365843" y="4560892"/>
                  <a:pt x="3337287" y="4545609"/>
                  <a:pt x="3329672" y="4518863"/>
                </a:cubicBezTo>
                <a:cubicBezTo>
                  <a:pt x="3327768" y="4515043"/>
                  <a:pt x="3325867" y="4509311"/>
                  <a:pt x="3325867" y="4503580"/>
                </a:cubicBezTo>
                <a:cubicBezTo>
                  <a:pt x="3325867" y="4482566"/>
                  <a:pt x="3339190" y="4463462"/>
                  <a:pt x="3360130" y="4455821"/>
                </a:cubicBezTo>
                <a:cubicBezTo>
                  <a:pt x="3360130" y="4455821"/>
                  <a:pt x="3360130" y="4455821"/>
                  <a:pt x="3702778" y="4343108"/>
                </a:cubicBezTo>
                <a:cubicBezTo>
                  <a:pt x="3709442" y="4341198"/>
                  <a:pt x="3716224" y="4340601"/>
                  <a:pt x="3722769" y="4341198"/>
                </a:cubicBezTo>
                <a:close/>
                <a:moveTo>
                  <a:pt x="2589270" y="4341198"/>
                </a:moveTo>
                <a:cubicBezTo>
                  <a:pt x="2608904" y="4342989"/>
                  <a:pt x="2626391" y="4355526"/>
                  <a:pt x="2632102" y="4375585"/>
                </a:cubicBezTo>
                <a:cubicBezTo>
                  <a:pt x="2641621" y="4402330"/>
                  <a:pt x="2626391" y="4430986"/>
                  <a:pt x="2599740" y="4438627"/>
                </a:cubicBezTo>
                <a:cubicBezTo>
                  <a:pt x="2599740" y="4438627"/>
                  <a:pt x="2599740" y="4438627"/>
                  <a:pt x="2258982" y="4551340"/>
                </a:cubicBezTo>
                <a:cubicBezTo>
                  <a:pt x="2232330" y="4560892"/>
                  <a:pt x="2203775" y="4545609"/>
                  <a:pt x="2196160" y="4518863"/>
                </a:cubicBezTo>
                <a:cubicBezTo>
                  <a:pt x="2194256" y="4515043"/>
                  <a:pt x="2192353" y="4509311"/>
                  <a:pt x="2192353" y="4503580"/>
                </a:cubicBezTo>
                <a:cubicBezTo>
                  <a:pt x="2192353" y="4482566"/>
                  <a:pt x="2205678" y="4463462"/>
                  <a:pt x="2226618" y="4455821"/>
                </a:cubicBezTo>
                <a:cubicBezTo>
                  <a:pt x="2226618" y="4455821"/>
                  <a:pt x="2226618" y="4455821"/>
                  <a:pt x="2569281" y="4343108"/>
                </a:cubicBezTo>
                <a:cubicBezTo>
                  <a:pt x="2575943" y="4341198"/>
                  <a:pt x="2582725" y="4340601"/>
                  <a:pt x="2589270" y="4341198"/>
                </a:cubicBezTo>
                <a:close/>
                <a:moveTo>
                  <a:pt x="3152166" y="4331993"/>
                </a:moveTo>
                <a:cubicBezTo>
                  <a:pt x="3172560" y="4334408"/>
                  <a:pt x="3190013" y="4348358"/>
                  <a:pt x="3195711" y="4369821"/>
                </a:cubicBezTo>
                <a:cubicBezTo>
                  <a:pt x="3205210" y="4396530"/>
                  <a:pt x="3188112" y="4427055"/>
                  <a:pt x="3161515" y="4434686"/>
                </a:cubicBezTo>
                <a:cubicBezTo>
                  <a:pt x="3161515" y="4434686"/>
                  <a:pt x="3161515" y="4434686"/>
                  <a:pt x="2819567" y="4535799"/>
                </a:cubicBezTo>
                <a:cubicBezTo>
                  <a:pt x="2791072" y="4543430"/>
                  <a:pt x="2762578" y="4528167"/>
                  <a:pt x="2753076" y="4499551"/>
                </a:cubicBezTo>
                <a:cubicBezTo>
                  <a:pt x="2753076" y="4495735"/>
                  <a:pt x="2751179" y="4490012"/>
                  <a:pt x="2751179" y="4486196"/>
                </a:cubicBezTo>
                <a:cubicBezTo>
                  <a:pt x="2751179" y="4463303"/>
                  <a:pt x="2766374" y="4442317"/>
                  <a:pt x="2789171" y="4434686"/>
                </a:cubicBezTo>
                <a:cubicBezTo>
                  <a:pt x="2789171" y="4434686"/>
                  <a:pt x="2789171" y="4434686"/>
                  <a:pt x="3131122" y="4333573"/>
                </a:cubicBezTo>
                <a:cubicBezTo>
                  <a:pt x="3138245" y="4331665"/>
                  <a:pt x="3145368" y="4331188"/>
                  <a:pt x="3152166" y="4331993"/>
                </a:cubicBezTo>
                <a:close/>
                <a:moveTo>
                  <a:pt x="9861856" y="4113368"/>
                </a:moveTo>
                <a:cubicBezTo>
                  <a:pt x="9868037" y="4114318"/>
                  <a:pt x="9873743" y="4117645"/>
                  <a:pt x="9877547" y="4123348"/>
                </a:cubicBezTo>
                <a:cubicBezTo>
                  <a:pt x="9887056" y="4132854"/>
                  <a:pt x="9885154" y="4149964"/>
                  <a:pt x="9873743" y="4157568"/>
                </a:cubicBezTo>
                <a:cubicBezTo>
                  <a:pt x="9873743" y="4157568"/>
                  <a:pt x="9873743" y="4157568"/>
                  <a:pt x="9540914" y="4410411"/>
                </a:cubicBezTo>
                <a:cubicBezTo>
                  <a:pt x="9531404" y="4418016"/>
                  <a:pt x="9516189" y="4416115"/>
                  <a:pt x="9506680" y="4404708"/>
                </a:cubicBezTo>
                <a:cubicBezTo>
                  <a:pt x="9502876" y="4400906"/>
                  <a:pt x="9502876" y="4395203"/>
                  <a:pt x="9502876" y="4391401"/>
                </a:cubicBezTo>
                <a:cubicBezTo>
                  <a:pt x="9502876" y="4383796"/>
                  <a:pt x="9504778" y="4376192"/>
                  <a:pt x="9512385" y="4370489"/>
                </a:cubicBezTo>
                <a:cubicBezTo>
                  <a:pt x="9512385" y="4370489"/>
                  <a:pt x="9512385" y="4370489"/>
                  <a:pt x="9843313" y="4117645"/>
                </a:cubicBezTo>
                <a:cubicBezTo>
                  <a:pt x="9849019" y="4113843"/>
                  <a:pt x="9855675" y="4112417"/>
                  <a:pt x="9861856" y="4113368"/>
                </a:cubicBezTo>
                <a:close/>
                <a:moveTo>
                  <a:pt x="10446896" y="4105427"/>
                </a:moveTo>
                <a:cubicBezTo>
                  <a:pt x="10453802" y="4106377"/>
                  <a:pt x="10460470" y="4109700"/>
                  <a:pt x="10465232" y="4115397"/>
                </a:cubicBezTo>
                <a:cubicBezTo>
                  <a:pt x="10472852" y="4128690"/>
                  <a:pt x="10470947" y="4145780"/>
                  <a:pt x="10459517" y="4153376"/>
                </a:cubicBezTo>
                <a:cubicBezTo>
                  <a:pt x="10459517" y="4153376"/>
                  <a:pt x="10459517" y="4153376"/>
                  <a:pt x="10124233" y="4392647"/>
                </a:cubicBezTo>
                <a:cubicBezTo>
                  <a:pt x="10112802" y="4402142"/>
                  <a:pt x="10095657" y="4398344"/>
                  <a:pt x="10088037" y="4386950"/>
                </a:cubicBezTo>
                <a:cubicBezTo>
                  <a:pt x="10084227" y="4381253"/>
                  <a:pt x="10082322" y="4375556"/>
                  <a:pt x="10082322" y="4369859"/>
                </a:cubicBezTo>
                <a:cubicBezTo>
                  <a:pt x="10082322" y="4362263"/>
                  <a:pt x="10086132" y="4354667"/>
                  <a:pt x="10093752" y="4348970"/>
                </a:cubicBezTo>
                <a:cubicBezTo>
                  <a:pt x="10093752" y="4348970"/>
                  <a:pt x="10093752" y="4348970"/>
                  <a:pt x="10427131" y="4109700"/>
                </a:cubicBezTo>
                <a:cubicBezTo>
                  <a:pt x="10432846" y="4105902"/>
                  <a:pt x="10439990" y="4104478"/>
                  <a:pt x="10446896" y="4105427"/>
                </a:cubicBezTo>
                <a:close/>
                <a:moveTo>
                  <a:pt x="9286179" y="4105427"/>
                </a:moveTo>
                <a:cubicBezTo>
                  <a:pt x="9292847" y="4106377"/>
                  <a:pt x="9299038" y="4109700"/>
                  <a:pt x="9302848" y="4115397"/>
                </a:cubicBezTo>
                <a:cubicBezTo>
                  <a:pt x="9312373" y="4128690"/>
                  <a:pt x="9310468" y="4145780"/>
                  <a:pt x="9297133" y="4153376"/>
                </a:cubicBezTo>
                <a:cubicBezTo>
                  <a:pt x="9297133" y="4153376"/>
                  <a:pt x="9297133" y="4153376"/>
                  <a:pt x="8963754" y="4392647"/>
                </a:cubicBezTo>
                <a:cubicBezTo>
                  <a:pt x="8952323" y="4402142"/>
                  <a:pt x="8935178" y="4398344"/>
                  <a:pt x="8925653" y="4386950"/>
                </a:cubicBezTo>
                <a:cubicBezTo>
                  <a:pt x="8921843" y="4381253"/>
                  <a:pt x="8921843" y="4375556"/>
                  <a:pt x="8921843" y="4369859"/>
                </a:cubicBezTo>
                <a:cubicBezTo>
                  <a:pt x="8921843" y="4362263"/>
                  <a:pt x="8925653" y="4354667"/>
                  <a:pt x="8931368" y="4348970"/>
                </a:cubicBezTo>
                <a:cubicBezTo>
                  <a:pt x="8931368" y="4348970"/>
                  <a:pt x="8931368" y="4348970"/>
                  <a:pt x="9266652" y="4109700"/>
                </a:cubicBezTo>
                <a:cubicBezTo>
                  <a:pt x="9272368" y="4105902"/>
                  <a:pt x="9279512" y="4104478"/>
                  <a:pt x="9286179" y="4105427"/>
                </a:cubicBezTo>
                <a:close/>
                <a:moveTo>
                  <a:pt x="11024810" y="4097347"/>
                </a:moveTo>
                <a:cubicBezTo>
                  <a:pt x="11032437" y="4098777"/>
                  <a:pt x="11039586" y="4103068"/>
                  <a:pt x="11044352" y="4109742"/>
                </a:cubicBezTo>
                <a:cubicBezTo>
                  <a:pt x="11053885" y="4123092"/>
                  <a:pt x="11050072" y="4142163"/>
                  <a:pt x="11036726" y="4149791"/>
                </a:cubicBezTo>
                <a:cubicBezTo>
                  <a:pt x="11036726" y="4149791"/>
                  <a:pt x="11036726" y="4149791"/>
                  <a:pt x="10701174" y="4376731"/>
                </a:cubicBezTo>
                <a:cubicBezTo>
                  <a:pt x="10687828" y="4386267"/>
                  <a:pt x="10668763" y="4382453"/>
                  <a:pt x="10659230" y="4369103"/>
                </a:cubicBezTo>
                <a:cubicBezTo>
                  <a:pt x="10657324" y="4363382"/>
                  <a:pt x="10655417" y="4357661"/>
                  <a:pt x="10655417" y="4351940"/>
                </a:cubicBezTo>
                <a:cubicBezTo>
                  <a:pt x="10655417" y="4342404"/>
                  <a:pt x="10659230" y="4332869"/>
                  <a:pt x="10668763" y="4327148"/>
                </a:cubicBezTo>
                <a:cubicBezTo>
                  <a:pt x="10668763" y="4327148"/>
                  <a:pt x="10668763" y="4327148"/>
                  <a:pt x="11002408" y="4102114"/>
                </a:cubicBezTo>
                <a:cubicBezTo>
                  <a:pt x="11009081" y="4097346"/>
                  <a:pt x="11017184" y="4095916"/>
                  <a:pt x="11024810" y="4097347"/>
                </a:cubicBezTo>
                <a:close/>
                <a:moveTo>
                  <a:pt x="8715681" y="4097347"/>
                </a:moveTo>
                <a:cubicBezTo>
                  <a:pt x="8723069" y="4098777"/>
                  <a:pt x="8729742" y="4103068"/>
                  <a:pt x="8734508" y="4109742"/>
                </a:cubicBezTo>
                <a:cubicBezTo>
                  <a:pt x="8744041" y="4123092"/>
                  <a:pt x="8740228" y="4142163"/>
                  <a:pt x="8726882" y="4149791"/>
                </a:cubicBezTo>
                <a:cubicBezTo>
                  <a:pt x="8726882" y="4149791"/>
                  <a:pt x="8726882" y="4149791"/>
                  <a:pt x="8391330" y="4376731"/>
                </a:cubicBezTo>
                <a:cubicBezTo>
                  <a:pt x="8377984" y="4386267"/>
                  <a:pt x="8358919" y="4382453"/>
                  <a:pt x="8351293" y="4369103"/>
                </a:cubicBezTo>
                <a:cubicBezTo>
                  <a:pt x="8347480" y="4363382"/>
                  <a:pt x="8345573" y="4357661"/>
                  <a:pt x="8345573" y="4351940"/>
                </a:cubicBezTo>
                <a:cubicBezTo>
                  <a:pt x="8345573" y="4342404"/>
                  <a:pt x="8349386" y="4332869"/>
                  <a:pt x="8358919" y="4327148"/>
                </a:cubicBezTo>
                <a:cubicBezTo>
                  <a:pt x="8358919" y="4327148"/>
                  <a:pt x="8358919" y="4327148"/>
                  <a:pt x="8692564" y="4102114"/>
                </a:cubicBezTo>
                <a:cubicBezTo>
                  <a:pt x="8700191" y="4097347"/>
                  <a:pt x="8708294" y="4095916"/>
                  <a:pt x="8715681" y="4097347"/>
                </a:cubicBezTo>
                <a:close/>
                <a:moveTo>
                  <a:pt x="11596149" y="4089007"/>
                </a:moveTo>
                <a:cubicBezTo>
                  <a:pt x="11603995" y="4091150"/>
                  <a:pt x="11611128" y="4096389"/>
                  <a:pt x="11615883" y="4104009"/>
                </a:cubicBezTo>
                <a:cubicBezTo>
                  <a:pt x="11625393" y="4117344"/>
                  <a:pt x="11621589" y="4138299"/>
                  <a:pt x="11606373" y="4147824"/>
                </a:cubicBezTo>
                <a:cubicBezTo>
                  <a:pt x="11606373" y="4147824"/>
                  <a:pt x="11606373" y="4147824"/>
                  <a:pt x="11271615" y="4359279"/>
                </a:cubicBezTo>
                <a:cubicBezTo>
                  <a:pt x="11256399" y="4368804"/>
                  <a:pt x="11237378" y="4364994"/>
                  <a:pt x="11227868" y="4349754"/>
                </a:cubicBezTo>
                <a:cubicBezTo>
                  <a:pt x="11224064" y="4344039"/>
                  <a:pt x="11222162" y="4338324"/>
                  <a:pt x="11222162" y="4332609"/>
                </a:cubicBezTo>
                <a:cubicBezTo>
                  <a:pt x="11222162" y="4321179"/>
                  <a:pt x="11227868" y="4311654"/>
                  <a:pt x="11237378" y="4305939"/>
                </a:cubicBezTo>
                <a:cubicBezTo>
                  <a:pt x="11237378" y="4305939"/>
                  <a:pt x="11237378" y="4305939"/>
                  <a:pt x="11572136" y="4092579"/>
                </a:cubicBezTo>
                <a:cubicBezTo>
                  <a:pt x="11579744" y="4087816"/>
                  <a:pt x="11588303" y="4086864"/>
                  <a:pt x="11596149" y="4089007"/>
                </a:cubicBezTo>
                <a:close/>
                <a:moveTo>
                  <a:pt x="8152699" y="4089007"/>
                </a:moveTo>
                <a:cubicBezTo>
                  <a:pt x="8160576" y="4091150"/>
                  <a:pt x="8167736" y="4096389"/>
                  <a:pt x="8172510" y="4104009"/>
                </a:cubicBezTo>
                <a:cubicBezTo>
                  <a:pt x="8182058" y="4117344"/>
                  <a:pt x="8176329" y="4138299"/>
                  <a:pt x="8162963" y="4147824"/>
                </a:cubicBezTo>
                <a:cubicBezTo>
                  <a:pt x="8162963" y="4147824"/>
                  <a:pt x="8162963" y="4147824"/>
                  <a:pt x="7824978" y="4359279"/>
                </a:cubicBezTo>
                <a:cubicBezTo>
                  <a:pt x="7811611" y="4368804"/>
                  <a:pt x="7790606" y="4364994"/>
                  <a:pt x="7781059" y="4349754"/>
                </a:cubicBezTo>
                <a:cubicBezTo>
                  <a:pt x="7779149" y="4344039"/>
                  <a:pt x="7777240" y="4338324"/>
                  <a:pt x="7777240" y="4332609"/>
                </a:cubicBezTo>
                <a:cubicBezTo>
                  <a:pt x="7777240" y="4321179"/>
                  <a:pt x="7781059" y="4311654"/>
                  <a:pt x="7792516" y="4305939"/>
                </a:cubicBezTo>
                <a:cubicBezTo>
                  <a:pt x="7792516" y="4305939"/>
                  <a:pt x="7792516" y="4305939"/>
                  <a:pt x="8128591" y="4092579"/>
                </a:cubicBezTo>
                <a:cubicBezTo>
                  <a:pt x="8136229" y="4087816"/>
                  <a:pt x="8144822" y="4086864"/>
                  <a:pt x="8152699" y="4089007"/>
                </a:cubicBezTo>
                <a:close/>
                <a:moveTo>
                  <a:pt x="12139750" y="4083054"/>
                </a:moveTo>
                <a:cubicBezTo>
                  <a:pt x="12139750" y="4083054"/>
                  <a:pt x="12139750" y="4083054"/>
                  <a:pt x="12139750" y="4162969"/>
                </a:cubicBezTo>
                <a:cubicBezTo>
                  <a:pt x="12139750" y="4162969"/>
                  <a:pt x="12139750" y="4162969"/>
                  <a:pt x="11834405" y="4341828"/>
                </a:cubicBezTo>
                <a:cubicBezTo>
                  <a:pt x="11817230" y="4351342"/>
                  <a:pt x="11796237" y="4347536"/>
                  <a:pt x="11786695" y="4330411"/>
                </a:cubicBezTo>
                <a:cubicBezTo>
                  <a:pt x="11782878" y="4324703"/>
                  <a:pt x="11780970" y="4318995"/>
                  <a:pt x="11780970" y="4313287"/>
                </a:cubicBezTo>
                <a:cubicBezTo>
                  <a:pt x="11780970" y="4301870"/>
                  <a:pt x="11788604" y="4290454"/>
                  <a:pt x="11798146" y="4282843"/>
                </a:cubicBezTo>
                <a:lnTo>
                  <a:pt x="12135933" y="4084957"/>
                </a:lnTo>
                <a:cubicBezTo>
                  <a:pt x="12137842" y="4084957"/>
                  <a:pt x="12137842" y="4083054"/>
                  <a:pt x="12139750" y="4083054"/>
                </a:cubicBezTo>
                <a:close/>
                <a:moveTo>
                  <a:pt x="7594358" y="4081069"/>
                </a:moveTo>
                <a:cubicBezTo>
                  <a:pt x="7602931" y="4083212"/>
                  <a:pt x="7610551" y="4088451"/>
                  <a:pt x="7615314" y="4096071"/>
                </a:cubicBezTo>
                <a:cubicBezTo>
                  <a:pt x="7624839" y="4113216"/>
                  <a:pt x="7619124" y="4134171"/>
                  <a:pt x="7603883" y="4143696"/>
                </a:cubicBezTo>
                <a:cubicBezTo>
                  <a:pt x="7603883" y="4143696"/>
                  <a:pt x="7603883" y="4143696"/>
                  <a:pt x="7266694" y="4341816"/>
                </a:cubicBezTo>
                <a:cubicBezTo>
                  <a:pt x="7249548" y="4351341"/>
                  <a:pt x="7228593" y="4347531"/>
                  <a:pt x="7219068" y="4330386"/>
                </a:cubicBezTo>
                <a:cubicBezTo>
                  <a:pt x="7217163" y="4324671"/>
                  <a:pt x="7215258" y="4318956"/>
                  <a:pt x="7215258" y="4313241"/>
                </a:cubicBezTo>
                <a:cubicBezTo>
                  <a:pt x="7215258" y="4301811"/>
                  <a:pt x="7220973" y="4290381"/>
                  <a:pt x="7232403" y="4282761"/>
                </a:cubicBezTo>
                <a:cubicBezTo>
                  <a:pt x="7232403" y="4282761"/>
                  <a:pt x="7232403" y="4282761"/>
                  <a:pt x="7567688" y="4084641"/>
                </a:cubicBezTo>
                <a:cubicBezTo>
                  <a:pt x="7576260" y="4079878"/>
                  <a:pt x="7585786" y="4078926"/>
                  <a:pt x="7594358" y="4081069"/>
                </a:cubicBezTo>
                <a:close/>
                <a:moveTo>
                  <a:pt x="7045448" y="4072718"/>
                </a:moveTo>
                <a:cubicBezTo>
                  <a:pt x="7054741" y="4075569"/>
                  <a:pt x="7062844" y="4081745"/>
                  <a:pt x="7067610" y="4090298"/>
                </a:cubicBezTo>
                <a:cubicBezTo>
                  <a:pt x="7077143" y="4109303"/>
                  <a:pt x="7069517" y="4130209"/>
                  <a:pt x="7052359" y="4141612"/>
                </a:cubicBezTo>
                <a:cubicBezTo>
                  <a:pt x="7052359" y="4141612"/>
                  <a:pt x="7052359" y="4141612"/>
                  <a:pt x="6714913" y="4325963"/>
                </a:cubicBezTo>
                <a:cubicBezTo>
                  <a:pt x="6697754" y="4335466"/>
                  <a:pt x="6674877" y="4327864"/>
                  <a:pt x="6665344" y="4310759"/>
                </a:cubicBezTo>
                <a:cubicBezTo>
                  <a:pt x="6661531" y="4305057"/>
                  <a:pt x="6659625" y="4299356"/>
                  <a:pt x="6659625" y="4293654"/>
                </a:cubicBezTo>
                <a:cubicBezTo>
                  <a:pt x="6659625" y="4280350"/>
                  <a:pt x="6667251" y="4267047"/>
                  <a:pt x="6678689" y="4259445"/>
                </a:cubicBezTo>
                <a:cubicBezTo>
                  <a:pt x="6678689" y="4259445"/>
                  <a:pt x="6678689" y="4259445"/>
                  <a:pt x="7016136" y="4075094"/>
                </a:cubicBezTo>
                <a:cubicBezTo>
                  <a:pt x="7025668" y="4070342"/>
                  <a:pt x="7036153" y="4069867"/>
                  <a:pt x="7045448" y="4072718"/>
                </a:cubicBezTo>
                <a:close/>
                <a:moveTo>
                  <a:pt x="6500048" y="4065063"/>
                </a:moveTo>
                <a:cubicBezTo>
                  <a:pt x="6509797" y="4068170"/>
                  <a:pt x="6518356" y="4074862"/>
                  <a:pt x="6523112" y="4084421"/>
                </a:cubicBezTo>
                <a:cubicBezTo>
                  <a:pt x="6532623" y="4103541"/>
                  <a:pt x="6525014" y="4128396"/>
                  <a:pt x="6505992" y="4137956"/>
                </a:cubicBezTo>
                <a:cubicBezTo>
                  <a:pt x="6505992" y="4137956"/>
                  <a:pt x="6505992" y="4137956"/>
                  <a:pt x="6167407" y="4310032"/>
                </a:cubicBezTo>
                <a:cubicBezTo>
                  <a:pt x="6148385" y="4319592"/>
                  <a:pt x="6123657" y="4311944"/>
                  <a:pt x="6114146" y="4292824"/>
                </a:cubicBezTo>
                <a:cubicBezTo>
                  <a:pt x="6112244" y="4287089"/>
                  <a:pt x="6110342" y="4279441"/>
                  <a:pt x="6110342" y="4273705"/>
                </a:cubicBezTo>
                <a:cubicBezTo>
                  <a:pt x="6110342" y="4260321"/>
                  <a:pt x="6117950" y="4245025"/>
                  <a:pt x="6131266" y="4239290"/>
                </a:cubicBezTo>
                <a:cubicBezTo>
                  <a:pt x="6131266" y="4239290"/>
                  <a:pt x="6131266" y="4239290"/>
                  <a:pt x="6469851" y="4067214"/>
                </a:cubicBezTo>
                <a:cubicBezTo>
                  <a:pt x="6479362" y="4062434"/>
                  <a:pt x="6490299" y="4061956"/>
                  <a:pt x="6500048" y="4065063"/>
                </a:cubicBezTo>
                <a:close/>
                <a:moveTo>
                  <a:pt x="5941057" y="4054783"/>
                </a:moveTo>
                <a:cubicBezTo>
                  <a:pt x="5957307" y="4053619"/>
                  <a:pt x="5973023" y="4062930"/>
                  <a:pt x="5980168" y="4078685"/>
                </a:cubicBezTo>
                <a:cubicBezTo>
                  <a:pt x="5989693" y="4099693"/>
                  <a:pt x="5982072" y="4124520"/>
                  <a:pt x="5961118" y="4135978"/>
                </a:cubicBezTo>
                <a:cubicBezTo>
                  <a:pt x="5961118" y="4135978"/>
                  <a:pt x="5961118" y="4135978"/>
                  <a:pt x="5622031" y="4292580"/>
                </a:cubicBezTo>
                <a:cubicBezTo>
                  <a:pt x="5601076" y="4302129"/>
                  <a:pt x="5574406" y="4292580"/>
                  <a:pt x="5564881" y="4271572"/>
                </a:cubicBezTo>
                <a:cubicBezTo>
                  <a:pt x="5562976" y="4265843"/>
                  <a:pt x="5561071" y="4260114"/>
                  <a:pt x="5561071" y="4254384"/>
                </a:cubicBezTo>
                <a:cubicBezTo>
                  <a:pt x="5561071" y="4239106"/>
                  <a:pt x="5570596" y="4223828"/>
                  <a:pt x="5585836" y="4216189"/>
                </a:cubicBezTo>
                <a:cubicBezTo>
                  <a:pt x="5585836" y="4216189"/>
                  <a:pt x="5585836" y="4216189"/>
                  <a:pt x="5924923" y="4059588"/>
                </a:cubicBezTo>
                <a:cubicBezTo>
                  <a:pt x="5930163" y="4056723"/>
                  <a:pt x="5935639" y="4055171"/>
                  <a:pt x="5941057" y="4054783"/>
                </a:cubicBezTo>
                <a:close/>
                <a:moveTo>
                  <a:pt x="383168" y="4054783"/>
                </a:moveTo>
                <a:cubicBezTo>
                  <a:pt x="399420" y="4053619"/>
                  <a:pt x="415137" y="4062930"/>
                  <a:pt x="422281" y="4078685"/>
                </a:cubicBezTo>
                <a:cubicBezTo>
                  <a:pt x="431806" y="4099693"/>
                  <a:pt x="424186" y="4124520"/>
                  <a:pt x="401325" y="4135978"/>
                </a:cubicBezTo>
                <a:cubicBezTo>
                  <a:pt x="401325" y="4135978"/>
                  <a:pt x="401325" y="4135978"/>
                  <a:pt x="62231" y="4292580"/>
                </a:cubicBezTo>
                <a:cubicBezTo>
                  <a:pt x="41276" y="4302129"/>
                  <a:pt x="16511" y="4292580"/>
                  <a:pt x="6986" y="4271572"/>
                </a:cubicBezTo>
                <a:cubicBezTo>
                  <a:pt x="5081" y="4265843"/>
                  <a:pt x="3175" y="4260114"/>
                  <a:pt x="3175" y="4254384"/>
                </a:cubicBezTo>
                <a:cubicBezTo>
                  <a:pt x="3175" y="4239106"/>
                  <a:pt x="12701" y="4223828"/>
                  <a:pt x="27941" y="4216189"/>
                </a:cubicBezTo>
                <a:cubicBezTo>
                  <a:pt x="27941" y="4216189"/>
                  <a:pt x="27941" y="4216189"/>
                  <a:pt x="367035" y="4059588"/>
                </a:cubicBezTo>
                <a:cubicBezTo>
                  <a:pt x="372274" y="4056723"/>
                  <a:pt x="377751" y="4055171"/>
                  <a:pt x="383168" y="4054783"/>
                </a:cubicBezTo>
                <a:close/>
                <a:moveTo>
                  <a:pt x="5394100" y="4046339"/>
                </a:moveTo>
                <a:cubicBezTo>
                  <a:pt x="5411703" y="4046518"/>
                  <a:pt x="5428503" y="4056903"/>
                  <a:pt x="5435653" y="4072660"/>
                </a:cubicBezTo>
                <a:cubicBezTo>
                  <a:pt x="5445184" y="4095580"/>
                  <a:pt x="5433745" y="4122319"/>
                  <a:pt x="5410869" y="4131869"/>
                </a:cubicBezTo>
                <a:cubicBezTo>
                  <a:pt x="5410869" y="4131869"/>
                  <a:pt x="5410869" y="4131869"/>
                  <a:pt x="5071527" y="4275116"/>
                </a:cubicBezTo>
                <a:cubicBezTo>
                  <a:pt x="5048652" y="4284666"/>
                  <a:pt x="5021966" y="4275116"/>
                  <a:pt x="5012435" y="4252196"/>
                </a:cubicBezTo>
                <a:cubicBezTo>
                  <a:pt x="5010529" y="4246467"/>
                  <a:pt x="5008622" y="4240737"/>
                  <a:pt x="5008622" y="4235007"/>
                </a:cubicBezTo>
                <a:cubicBezTo>
                  <a:pt x="5008622" y="4217817"/>
                  <a:pt x="5020060" y="4200627"/>
                  <a:pt x="5037216" y="4192988"/>
                </a:cubicBezTo>
                <a:cubicBezTo>
                  <a:pt x="5037216" y="4192988"/>
                  <a:pt x="5037216" y="4192988"/>
                  <a:pt x="5376554" y="4049741"/>
                </a:cubicBezTo>
                <a:cubicBezTo>
                  <a:pt x="5382274" y="4047353"/>
                  <a:pt x="5388232" y="4046279"/>
                  <a:pt x="5394100" y="4046339"/>
                </a:cubicBezTo>
                <a:close/>
                <a:moveTo>
                  <a:pt x="926784" y="4046338"/>
                </a:moveTo>
                <a:cubicBezTo>
                  <a:pt x="944402" y="4046518"/>
                  <a:pt x="961214" y="4056903"/>
                  <a:pt x="968368" y="4072660"/>
                </a:cubicBezTo>
                <a:cubicBezTo>
                  <a:pt x="977907" y="4095580"/>
                  <a:pt x="966460" y="4122319"/>
                  <a:pt x="945475" y="4131869"/>
                </a:cubicBezTo>
                <a:cubicBezTo>
                  <a:pt x="945475" y="4131869"/>
                  <a:pt x="945475" y="4131869"/>
                  <a:pt x="603977" y="4275116"/>
                </a:cubicBezTo>
                <a:cubicBezTo>
                  <a:pt x="581083" y="4284666"/>
                  <a:pt x="554374" y="4275116"/>
                  <a:pt x="544835" y="4252196"/>
                </a:cubicBezTo>
                <a:cubicBezTo>
                  <a:pt x="542927" y="4246467"/>
                  <a:pt x="542927" y="4240737"/>
                  <a:pt x="542927" y="4235007"/>
                </a:cubicBezTo>
                <a:cubicBezTo>
                  <a:pt x="542927" y="4217817"/>
                  <a:pt x="552466" y="4200627"/>
                  <a:pt x="569637" y="4192988"/>
                </a:cubicBezTo>
                <a:cubicBezTo>
                  <a:pt x="569637" y="4192988"/>
                  <a:pt x="569637" y="4192988"/>
                  <a:pt x="909226" y="4049741"/>
                </a:cubicBezTo>
                <a:cubicBezTo>
                  <a:pt x="914950" y="4047353"/>
                  <a:pt x="920912" y="4046279"/>
                  <a:pt x="926784" y="4046338"/>
                </a:cubicBezTo>
                <a:close/>
                <a:moveTo>
                  <a:pt x="4823917" y="4041420"/>
                </a:moveTo>
                <a:cubicBezTo>
                  <a:pt x="4848651" y="4033841"/>
                  <a:pt x="4875285" y="4045209"/>
                  <a:pt x="4884800" y="4069841"/>
                </a:cubicBezTo>
                <a:cubicBezTo>
                  <a:pt x="4894312" y="4092578"/>
                  <a:pt x="4880993" y="4121000"/>
                  <a:pt x="4856262" y="4130474"/>
                </a:cubicBezTo>
                <a:cubicBezTo>
                  <a:pt x="4856262" y="4130474"/>
                  <a:pt x="4856262" y="4130474"/>
                  <a:pt x="4515758" y="4259317"/>
                </a:cubicBezTo>
                <a:cubicBezTo>
                  <a:pt x="4492930" y="4268791"/>
                  <a:pt x="4464395" y="4255527"/>
                  <a:pt x="4454884" y="4230896"/>
                </a:cubicBezTo>
                <a:cubicBezTo>
                  <a:pt x="4452982" y="4225211"/>
                  <a:pt x="4452982" y="4219527"/>
                  <a:pt x="4452982" y="4215738"/>
                </a:cubicBezTo>
                <a:cubicBezTo>
                  <a:pt x="4452982" y="4196790"/>
                  <a:pt x="4464395" y="4177842"/>
                  <a:pt x="4483419" y="4170263"/>
                </a:cubicBezTo>
                <a:cubicBezTo>
                  <a:pt x="4483419" y="4170263"/>
                  <a:pt x="4483419" y="4170263"/>
                  <a:pt x="4823917" y="4041420"/>
                </a:cubicBezTo>
                <a:close/>
                <a:moveTo>
                  <a:pt x="1458388" y="4041420"/>
                </a:moveTo>
                <a:cubicBezTo>
                  <a:pt x="1483118" y="4033841"/>
                  <a:pt x="1509750" y="4045209"/>
                  <a:pt x="1519261" y="4069841"/>
                </a:cubicBezTo>
                <a:cubicBezTo>
                  <a:pt x="1528773" y="4092578"/>
                  <a:pt x="1517359" y="4121000"/>
                  <a:pt x="1492629" y="4130474"/>
                </a:cubicBezTo>
                <a:cubicBezTo>
                  <a:pt x="1492629" y="4130474"/>
                  <a:pt x="1492629" y="4130474"/>
                  <a:pt x="1152120" y="4259317"/>
                </a:cubicBezTo>
                <a:cubicBezTo>
                  <a:pt x="1127390" y="4268791"/>
                  <a:pt x="1100758" y="4255527"/>
                  <a:pt x="1091247" y="4230896"/>
                </a:cubicBezTo>
                <a:cubicBezTo>
                  <a:pt x="1089345" y="4225211"/>
                  <a:pt x="1087442" y="4219527"/>
                  <a:pt x="1087442" y="4215738"/>
                </a:cubicBezTo>
                <a:cubicBezTo>
                  <a:pt x="1087442" y="4196790"/>
                  <a:pt x="1098856" y="4177842"/>
                  <a:pt x="1117879" y="4170263"/>
                </a:cubicBezTo>
                <a:cubicBezTo>
                  <a:pt x="1117879" y="4170263"/>
                  <a:pt x="1117879" y="4170263"/>
                  <a:pt x="1458388" y="4041420"/>
                </a:cubicBezTo>
                <a:close/>
                <a:moveTo>
                  <a:pt x="4286101" y="4031102"/>
                </a:moveTo>
                <a:cubicBezTo>
                  <a:pt x="4305816" y="4032531"/>
                  <a:pt x="4323382" y="4045747"/>
                  <a:pt x="4329117" y="4064321"/>
                </a:cubicBezTo>
                <a:cubicBezTo>
                  <a:pt x="4338677" y="4090991"/>
                  <a:pt x="4325294" y="4119566"/>
                  <a:pt x="4298528" y="4127186"/>
                </a:cubicBezTo>
                <a:cubicBezTo>
                  <a:pt x="4298528" y="4127186"/>
                  <a:pt x="4298528" y="4127186"/>
                  <a:pt x="3956339" y="4243391"/>
                </a:cubicBezTo>
                <a:cubicBezTo>
                  <a:pt x="3929575" y="4252916"/>
                  <a:pt x="3900896" y="4237676"/>
                  <a:pt x="3893249" y="4212911"/>
                </a:cubicBezTo>
                <a:cubicBezTo>
                  <a:pt x="3891338" y="4207196"/>
                  <a:pt x="3889424" y="4201481"/>
                  <a:pt x="3889424" y="4195766"/>
                </a:cubicBezTo>
                <a:cubicBezTo>
                  <a:pt x="3889424" y="4174811"/>
                  <a:pt x="3902808" y="4155761"/>
                  <a:pt x="3923838" y="4150046"/>
                </a:cubicBezTo>
                <a:cubicBezTo>
                  <a:pt x="3923838" y="4150046"/>
                  <a:pt x="3923838" y="4150046"/>
                  <a:pt x="4266027" y="4033841"/>
                </a:cubicBezTo>
                <a:cubicBezTo>
                  <a:pt x="4272718" y="4031460"/>
                  <a:pt x="4279529" y="4030626"/>
                  <a:pt x="4286101" y="4031102"/>
                </a:cubicBezTo>
                <a:close/>
                <a:moveTo>
                  <a:pt x="2031406" y="4031102"/>
                </a:moveTo>
                <a:cubicBezTo>
                  <a:pt x="2050288" y="4032531"/>
                  <a:pt x="2068096" y="4045747"/>
                  <a:pt x="2075220" y="4064321"/>
                </a:cubicBezTo>
                <a:cubicBezTo>
                  <a:pt x="2082818" y="4090991"/>
                  <a:pt x="2069520" y="4119566"/>
                  <a:pt x="2042922" y="4127186"/>
                </a:cubicBezTo>
                <a:cubicBezTo>
                  <a:pt x="2042922" y="4127186"/>
                  <a:pt x="2042922" y="4127186"/>
                  <a:pt x="1702894" y="4243391"/>
                </a:cubicBezTo>
                <a:cubicBezTo>
                  <a:pt x="1676300" y="4252916"/>
                  <a:pt x="1649706" y="4237676"/>
                  <a:pt x="1640208" y="4212911"/>
                </a:cubicBezTo>
                <a:cubicBezTo>
                  <a:pt x="1638308" y="4207196"/>
                  <a:pt x="1638308" y="4201481"/>
                  <a:pt x="1638308" y="4195766"/>
                </a:cubicBezTo>
                <a:cubicBezTo>
                  <a:pt x="1638308" y="4174811"/>
                  <a:pt x="1649706" y="4155761"/>
                  <a:pt x="1670601" y="4150046"/>
                </a:cubicBezTo>
                <a:cubicBezTo>
                  <a:pt x="1670601" y="4150046"/>
                  <a:pt x="1670601" y="4150046"/>
                  <a:pt x="2012528" y="4033841"/>
                </a:cubicBezTo>
                <a:cubicBezTo>
                  <a:pt x="2018702" y="4031460"/>
                  <a:pt x="2025113" y="4030626"/>
                  <a:pt x="2031406" y="4031102"/>
                </a:cubicBezTo>
                <a:close/>
                <a:moveTo>
                  <a:pt x="3725865" y="4022421"/>
                </a:moveTo>
                <a:cubicBezTo>
                  <a:pt x="3745628" y="4024832"/>
                  <a:pt x="3763512" y="4038763"/>
                  <a:pt x="3770669" y="4060194"/>
                </a:cubicBezTo>
                <a:cubicBezTo>
                  <a:pt x="3778298" y="4086864"/>
                  <a:pt x="3763036" y="4115439"/>
                  <a:pt x="3734419" y="4124964"/>
                </a:cubicBezTo>
                <a:cubicBezTo>
                  <a:pt x="3734419" y="4124964"/>
                  <a:pt x="3734419" y="4124964"/>
                  <a:pt x="3391050" y="4225929"/>
                </a:cubicBezTo>
                <a:cubicBezTo>
                  <a:pt x="3364339" y="4235454"/>
                  <a:pt x="3335723" y="4218309"/>
                  <a:pt x="3326186" y="4191639"/>
                </a:cubicBezTo>
                <a:cubicBezTo>
                  <a:pt x="3326186" y="4185924"/>
                  <a:pt x="3324277" y="4182114"/>
                  <a:pt x="3324277" y="4176399"/>
                </a:cubicBezTo>
                <a:cubicBezTo>
                  <a:pt x="3324277" y="4153539"/>
                  <a:pt x="3339540" y="4132584"/>
                  <a:pt x="3362431" y="4126869"/>
                </a:cubicBezTo>
                <a:cubicBezTo>
                  <a:pt x="3362431" y="4126869"/>
                  <a:pt x="3362431" y="4126869"/>
                  <a:pt x="3705802" y="4023999"/>
                </a:cubicBezTo>
                <a:cubicBezTo>
                  <a:pt x="3712481" y="4022094"/>
                  <a:pt x="3719277" y="4021618"/>
                  <a:pt x="3725865" y="4022421"/>
                </a:cubicBezTo>
                <a:close/>
                <a:moveTo>
                  <a:pt x="2590959" y="4022421"/>
                </a:moveTo>
                <a:cubicBezTo>
                  <a:pt x="2610652" y="4024832"/>
                  <a:pt x="2628474" y="4038763"/>
                  <a:pt x="2635603" y="4060194"/>
                </a:cubicBezTo>
                <a:cubicBezTo>
                  <a:pt x="2643207" y="4086864"/>
                  <a:pt x="2627999" y="4115439"/>
                  <a:pt x="2599484" y="4124964"/>
                </a:cubicBezTo>
                <a:cubicBezTo>
                  <a:pt x="2599484" y="4124964"/>
                  <a:pt x="2599484" y="4124964"/>
                  <a:pt x="2257300" y="4225929"/>
                </a:cubicBezTo>
                <a:cubicBezTo>
                  <a:pt x="2230686" y="4235454"/>
                  <a:pt x="2202171" y="4218309"/>
                  <a:pt x="2192666" y="4191639"/>
                </a:cubicBezTo>
                <a:cubicBezTo>
                  <a:pt x="2190765" y="4185924"/>
                  <a:pt x="2190765" y="4182114"/>
                  <a:pt x="2190765" y="4176399"/>
                </a:cubicBezTo>
                <a:cubicBezTo>
                  <a:pt x="2190765" y="4153539"/>
                  <a:pt x="2205973" y="4132584"/>
                  <a:pt x="2228785" y="4126869"/>
                </a:cubicBezTo>
                <a:cubicBezTo>
                  <a:pt x="2228785" y="4126869"/>
                  <a:pt x="2228785" y="4126869"/>
                  <a:pt x="2570968" y="4023999"/>
                </a:cubicBezTo>
                <a:cubicBezTo>
                  <a:pt x="2577622" y="4022094"/>
                  <a:pt x="2584395" y="4021618"/>
                  <a:pt x="2590959" y="4022421"/>
                </a:cubicBezTo>
                <a:close/>
                <a:moveTo>
                  <a:pt x="3155345" y="4014781"/>
                </a:moveTo>
                <a:cubicBezTo>
                  <a:pt x="3176389" y="4017728"/>
                  <a:pt x="3195013" y="4032730"/>
                  <a:pt x="3200742" y="4054161"/>
                </a:cubicBezTo>
                <a:cubicBezTo>
                  <a:pt x="3208386" y="4084641"/>
                  <a:pt x="3189283" y="4113216"/>
                  <a:pt x="3160628" y="4120836"/>
                </a:cubicBezTo>
                <a:cubicBezTo>
                  <a:pt x="3160628" y="4120836"/>
                  <a:pt x="3160628" y="4120836"/>
                  <a:pt x="2816774" y="4210371"/>
                </a:cubicBezTo>
                <a:cubicBezTo>
                  <a:pt x="2786209" y="4217991"/>
                  <a:pt x="2757555" y="4198941"/>
                  <a:pt x="2749912" y="4170366"/>
                </a:cubicBezTo>
                <a:cubicBezTo>
                  <a:pt x="2748004" y="4166556"/>
                  <a:pt x="2748004" y="4160841"/>
                  <a:pt x="2748004" y="4157031"/>
                </a:cubicBezTo>
                <a:cubicBezTo>
                  <a:pt x="2748004" y="4132266"/>
                  <a:pt x="2765195" y="4109406"/>
                  <a:pt x="2788118" y="4103691"/>
                </a:cubicBezTo>
                <a:cubicBezTo>
                  <a:pt x="2788118" y="4103691"/>
                  <a:pt x="2788118" y="4103691"/>
                  <a:pt x="3133884" y="4016061"/>
                </a:cubicBezTo>
                <a:cubicBezTo>
                  <a:pt x="3141048" y="4014156"/>
                  <a:pt x="3148333" y="4013799"/>
                  <a:pt x="3155345" y="4014781"/>
                </a:cubicBezTo>
                <a:close/>
                <a:moveTo>
                  <a:pt x="9861718" y="3784929"/>
                </a:moveTo>
                <a:cubicBezTo>
                  <a:pt x="9867199" y="3785407"/>
                  <a:pt x="9872442" y="3787798"/>
                  <a:pt x="9876255" y="3792579"/>
                </a:cubicBezTo>
                <a:cubicBezTo>
                  <a:pt x="9883882" y="3802142"/>
                  <a:pt x="9881975" y="3815531"/>
                  <a:pt x="9872442" y="3823182"/>
                </a:cubicBezTo>
                <a:cubicBezTo>
                  <a:pt x="9872442" y="3823182"/>
                  <a:pt x="9872442" y="3823182"/>
                  <a:pt x="9540690" y="4092865"/>
                </a:cubicBezTo>
                <a:cubicBezTo>
                  <a:pt x="9531157" y="4100516"/>
                  <a:pt x="9517810" y="4098603"/>
                  <a:pt x="9510184" y="4089040"/>
                </a:cubicBezTo>
                <a:cubicBezTo>
                  <a:pt x="9506371" y="4085215"/>
                  <a:pt x="9504464" y="4081389"/>
                  <a:pt x="9504464" y="4075651"/>
                </a:cubicBezTo>
                <a:cubicBezTo>
                  <a:pt x="9504464" y="4069913"/>
                  <a:pt x="9508277" y="4064175"/>
                  <a:pt x="9513997" y="4058438"/>
                </a:cubicBezTo>
                <a:cubicBezTo>
                  <a:pt x="9513997" y="4058438"/>
                  <a:pt x="9513997" y="4058438"/>
                  <a:pt x="9845750" y="3788754"/>
                </a:cubicBezTo>
                <a:cubicBezTo>
                  <a:pt x="9850516" y="3785885"/>
                  <a:pt x="9856236" y="3784450"/>
                  <a:pt x="9861718" y="3784929"/>
                </a:cubicBezTo>
                <a:close/>
                <a:moveTo>
                  <a:pt x="10445981" y="3777074"/>
                </a:moveTo>
                <a:cubicBezTo>
                  <a:pt x="10452183" y="3777790"/>
                  <a:pt x="10457907" y="3781135"/>
                  <a:pt x="10461723" y="3786867"/>
                </a:cubicBezTo>
                <a:cubicBezTo>
                  <a:pt x="10471264" y="3798332"/>
                  <a:pt x="10469356" y="3813619"/>
                  <a:pt x="10457907" y="3821263"/>
                </a:cubicBezTo>
                <a:cubicBezTo>
                  <a:pt x="10457907" y="3821263"/>
                  <a:pt x="10457907" y="3821263"/>
                  <a:pt x="10123980" y="4075410"/>
                </a:cubicBezTo>
                <a:cubicBezTo>
                  <a:pt x="10112531" y="4083054"/>
                  <a:pt x="10097266" y="4081143"/>
                  <a:pt x="10089633" y="4069678"/>
                </a:cubicBezTo>
                <a:cubicBezTo>
                  <a:pt x="10085817" y="4065856"/>
                  <a:pt x="10083909" y="4060123"/>
                  <a:pt x="10083909" y="4054391"/>
                </a:cubicBezTo>
                <a:cubicBezTo>
                  <a:pt x="10083909" y="4048658"/>
                  <a:pt x="10087725" y="4041014"/>
                  <a:pt x="10093450" y="4035282"/>
                </a:cubicBezTo>
                <a:cubicBezTo>
                  <a:pt x="10093450" y="4035282"/>
                  <a:pt x="10093450" y="4035282"/>
                  <a:pt x="10427377" y="3783045"/>
                </a:cubicBezTo>
                <a:cubicBezTo>
                  <a:pt x="10433101" y="3778268"/>
                  <a:pt x="10439780" y="3776357"/>
                  <a:pt x="10445981" y="3777074"/>
                </a:cubicBezTo>
                <a:close/>
                <a:moveTo>
                  <a:pt x="9284313" y="3777074"/>
                </a:moveTo>
                <a:cubicBezTo>
                  <a:pt x="9290494" y="3777790"/>
                  <a:pt x="9296200" y="3781135"/>
                  <a:pt x="9300003" y="3786867"/>
                </a:cubicBezTo>
                <a:cubicBezTo>
                  <a:pt x="9307611" y="3798332"/>
                  <a:pt x="9305709" y="3813619"/>
                  <a:pt x="9296200" y="3821263"/>
                </a:cubicBezTo>
                <a:cubicBezTo>
                  <a:pt x="9296200" y="3821263"/>
                  <a:pt x="9296200" y="3821263"/>
                  <a:pt x="8963371" y="4075410"/>
                </a:cubicBezTo>
                <a:cubicBezTo>
                  <a:pt x="8951959" y="4083054"/>
                  <a:pt x="8936744" y="4081143"/>
                  <a:pt x="8929137" y="4069678"/>
                </a:cubicBezTo>
                <a:cubicBezTo>
                  <a:pt x="8925333" y="4065856"/>
                  <a:pt x="8923431" y="4060123"/>
                  <a:pt x="8923431" y="4054391"/>
                </a:cubicBezTo>
                <a:cubicBezTo>
                  <a:pt x="8923431" y="4048658"/>
                  <a:pt x="8927235" y="4041014"/>
                  <a:pt x="8932940" y="4035282"/>
                </a:cubicBezTo>
                <a:cubicBezTo>
                  <a:pt x="8932940" y="4035282"/>
                  <a:pt x="8932940" y="4035282"/>
                  <a:pt x="9265770" y="3783045"/>
                </a:cubicBezTo>
                <a:cubicBezTo>
                  <a:pt x="9271475" y="3778268"/>
                  <a:pt x="9278132" y="3776357"/>
                  <a:pt x="9284313" y="3777074"/>
                </a:cubicBezTo>
                <a:close/>
                <a:moveTo>
                  <a:pt x="8714826" y="3771656"/>
                </a:moveTo>
                <a:cubicBezTo>
                  <a:pt x="8721754" y="3772844"/>
                  <a:pt x="8728443" y="3776646"/>
                  <a:pt x="8733221" y="3782349"/>
                </a:cubicBezTo>
                <a:cubicBezTo>
                  <a:pt x="8740866" y="3795655"/>
                  <a:pt x="8738955" y="3812764"/>
                  <a:pt x="8725577" y="3820368"/>
                </a:cubicBezTo>
                <a:cubicBezTo>
                  <a:pt x="8725577" y="3820368"/>
                  <a:pt x="8725577" y="3820368"/>
                  <a:pt x="8391118" y="4056086"/>
                </a:cubicBezTo>
                <a:cubicBezTo>
                  <a:pt x="8377740" y="4065591"/>
                  <a:pt x="8360539" y="4063690"/>
                  <a:pt x="8352895" y="4050383"/>
                </a:cubicBezTo>
                <a:cubicBezTo>
                  <a:pt x="8349072" y="4044680"/>
                  <a:pt x="8347161" y="4040878"/>
                  <a:pt x="8347161" y="4035176"/>
                </a:cubicBezTo>
                <a:cubicBezTo>
                  <a:pt x="8347161" y="4025671"/>
                  <a:pt x="8350983" y="4018067"/>
                  <a:pt x="8358628" y="4012364"/>
                </a:cubicBezTo>
                <a:cubicBezTo>
                  <a:pt x="8358628" y="4012364"/>
                  <a:pt x="8358628" y="4012364"/>
                  <a:pt x="8694997" y="3776646"/>
                </a:cubicBezTo>
                <a:cubicBezTo>
                  <a:pt x="8700731" y="3771893"/>
                  <a:pt x="8707898" y="3770468"/>
                  <a:pt x="8714826" y="3771656"/>
                </a:cubicBezTo>
                <a:close/>
                <a:moveTo>
                  <a:pt x="11022950" y="3771656"/>
                </a:moveTo>
                <a:cubicBezTo>
                  <a:pt x="11030088" y="3772844"/>
                  <a:pt x="11036751" y="3776646"/>
                  <a:pt x="11041509" y="3782349"/>
                </a:cubicBezTo>
                <a:cubicBezTo>
                  <a:pt x="11049123" y="3795655"/>
                  <a:pt x="11047219" y="3812764"/>
                  <a:pt x="11033895" y="3820368"/>
                </a:cubicBezTo>
                <a:cubicBezTo>
                  <a:pt x="11033895" y="3820368"/>
                  <a:pt x="11033895" y="3820368"/>
                  <a:pt x="10700785" y="4056086"/>
                </a:cubicBezTo>
                <a:cubicBezTo>
                  <a:pt x="10687461" y="4065591"/>
                  <a:pt x="10670329" y="4063690"/>
                  <a:pt x="10662715" y="4050383"/>
                </a:cubicBezTo>
                <a:cubicBezTo>
                  <a:pt x="10658908" y="4044680"/>
                  <a:pt x="10657005" y="4040878"/>
                  <a:pt x="10657005" y="4035176"/>
                </a:cubicBezTo>
                <a:cubicBezTo>
                  <a:pt x="10657005" y="4025671"/>
                  <a:pt x="10660812" y="4018067"/>
                  <a:pt x="10668426" y="4012364"/>
                </a:cubicBezTo>
                <a:cubicBezTo>
                  <a:pt x="10668426" y="4012364"/>
                  <a:pt x="10668426" y="4012364"/>
                  <a:pt x="11001536" y="3776646"/>
                </a:cubicBezTo>
                <a:cubicBezTo>
                  <a:pt x="11008198" y="3771893"/>
                  <a:pt x="11015812" y="3770468"/>
                  <a:pt x="11022950" y="3771656"/>
                </a:cubicBezTo>
                <a:close/>
                <a:moveTo>
                  <a:pt x="8151418" y="3763955"/>
                </a:moveTo>
                <a:cubicBezTo>
                  <a:pt x="8159038" y="3765381"/>
                  <a:pt x="8166182" y="3769658"/>
                  <a:pt x="8170945" y="3776310"/>
                </a:cubicBezTo>
                <a:cubicBezTo>
                  <a:pt x="8180470" y="3791517"/>
                  <a:pt x="8176660" y="3810525"/>
                  <a:pt x="8161420" y="3820029"/>
                </a:cubicBezTo>
                <a:cubicBezTo>
                  <a:pt x="8161420" y="3820029"/>
                  <a:pt x="8161420" y="3820029"/>
                  <a:pt x="7826135" y="4038624"/>
                </a:cubicBezTo>
                <a:cubicBezTo>
                  <a:pt x="7812800" y="4048128"/>
                  <a:pt x="7793750" y="4044326"/>
                  <a:pt x="7784225" y="4031020"/>
                </a:cubicBezTo>
                <a:cubicBezTo>
                  <a:pt x="7780415" y="4025318"/>
                  <a:pt x="7780415" y="4019616"/>
                  <a:pt x="7780415" y="4013913"/>
                </a:cubicBezTo>
                <a:cubicBezTo>
                  <a:pt x="7780415" y="4004409"/>
                  <a:pt x="7784225" y="3993004"/>
                  <a:pt x="7793750" y="3987302"/>
                </a:cubicBezTo>
                <a:cubicBezTo>
                  <a:pt x="7793750" y="3987302"/>
                  <a:pt x="7793750" y="3987302"/>
                  <a:pt x="8129034" y="3768707"/>
                </a:cubicBezTo>
                <a:cubicBezTo>
                  <a:pt x="8135702" y="3763955"/>
                  <a:pt x="8143798" y="3762529"/>
                  <a:pt x="8151418" y="3763955"/>
                </a:cubicBezTo>
                <a:close/>
                <a:moveTo>
                  <a:pt x="11596182" y="3763955"/>
                </a:moveTo>
                <a:cubicBezTo>
                  <a:pt x="11603802" y="3765381"/>
                  <a:pt x="11610470" y="3769658"/>
                  <a:pt x="11614280" y="3776310"/>
                </a:cubicBezTo>
                <a:cubicBezTo>
                  <a:pt x="11623805" y="3791517"/>
                  <a:pt x="11619995" y="3810525"/>
                  <a:pt x="11606660" y="3820029"/>
                </a:cubicBezTo>
                <a:cubicBezTo>
                  <a:pt x="11606660" y="3820029"/>
                  <a:pt x="11606660" y="3820029"/>
                  <a:pt x="11271376" y="4038624"/>
                </a:cubicBezTo>
                <a:cubicBezTo>
                  <a:pt x="11258040" y="4048128"/>
                  <a:pt x="11238990" y="4044326"/>
                  <a:pt x="11229465" y="4031020"/>
                </a:cubicBezTo>
                <a:cubicBezTo>
                  <a:pt x="11225655" y="4025318"/>
                  <a:pt x="11223750" y="4019616"/>
                  <a:pt x="11223750" y="4013913"/>
                </a:cubicBezTo>
                <a:cubicBezTo>
                  <a:pt x="11223750" y="4004409"/>
                  <a:pt x="11229465" y="3993004"/>
                  <a:pt x="11237085" y="3987302"/>
                </a:cubicBezTo>
                <a:cubicBezTo>
                  <a:pt x="11237085" y="3987302"/>
                  <a:pt x="11237085" y="3987302"/>
                  <a:pt x="11572369" y="3768707"/>
                </a:cubicBezTo>
                <a:cubicBezTo>
                  <a:pt x="11579990" y="3763955"/>
                  <a:pt x="11588562" y="3762529"/>
                  <a:pt x="11596182" y="3763955"/>
                </a:cubicBezTo>
                <a:close/>
                <a:moveTo>
                  <a:pt x="12139750" y="3759203"/>
                </a:moveTo>
                <a:cubicBezTo>
                  <a:pt x="12139750" y="3759203"/>
                  <a:pt x="12139750" y="3759203"/>
                  <a:pt x="12139750" y="3835137"/>
                </a:cubicBezTo>
                <a:cubicBezTo>
                  <a:pt x="12139750" y="3835137"/>
                  <a:pt x="12139750" y="3835137"/>
                  <a:pt x="11835489" y="4021174"/>
                </a:cubicBezTo>
                <a:cubicBezTo>
                  <a:pt x="11818374" y="4030666"/>
                  <a:pt x="11799358" y="4024971"/>
                  <a:pt x="11789850" y="4009784"/>
                </a:cubicBezTo>
                <a:cubicBezTo>
                  <a:pt x="11786047" y="4004089"/>
                  <a:pt x="11784145" y="3998394"/>
                  <a:pt x="11784145" y="3992699"/>
                </a:cubicBezTo>
                <a:cubicBezTo>
                  <a:pt x="11784145" y="3981309"/>
                  <a:pt x="11789850" y="3969919"/>
                  <a:pt x="11799358" y="3964224"/>
                </a:cubicBezTo>
                <a:lnTo>
                  <a:pt x="12135947" y="3761101"/>
                </a:lnTo>
                <a:cubicBezTo>
                  <a:pt x="12137848" y="3759203"/>
                  <a:pt x="12137848" y="3759203"/>
                  <a:pt x="12139750" y="3759203"/>
                </a:cubicBezTo>
                <a:close/>
                <a:moveTo>
                  <a:pt x="7593700" y="3756493"/>
                </a:moveTo>
                <a:cubicBezTo>
                  <a:pt x="7601803" y="3758393"/>
                  <a:pt x="7608952" y="3763620"/>
                  <a:pt x="7613718" y="3772173"/>
                </a:cubicBezTo>
                <a:cubicBezTo>
                  <a:pt x="7623251" y="3787379"/>
                  <a:pt x="7619438" y="3808286"/>
                  <a:pt x="7604186" y="3817790"/>
                </a:cubicBezTo>
                <a:cubicBezTo>
                  <a:pt x="7604186" y="3817790"/>
                  <a:pt x="7604186" y="3817790"/>
                  <a:pt x="7266734" y="4021162"/>
                </a:cubicBezTo>
                <a:cubicBezTo>
                  <a:pt x="7251481" y="4030666"/>
                  <a:pt x="7230510" y="4024964"/>
                  <a:pt x="7220977" y="4009758"/>
                </a:cubicBezTo>
                <a:cubicBezTo>
                  <a:pt x="7217164" y="4004056"/>
                  <a:pt x="7215258" y="3998354"/>
                  <a:pt x="7215258" y="3992652"/>
                </a:cubicBezTo>
                <a:cubicBezTo>
                  <a:pt x="7215258" y="3981248"/>
                  <a:pt x="7220977" y="3969844"/>
                  <a:pt x="7232416" y="3964142"/>
                </a:cubicBezTo>
                <a:cubicBezTo>
                  <a:pt x="7232416" y="3964142"/>
                  <a:pt x="7232416" y="3964142"/>
                  <a:pt x="7567962" y="3760769"/>
                </a:cubicBezTo>
                <a:cubicBezTo>
                  <a:pt x="7576541" y="3756018"/>
                  <a:pt x="7585597" y="3754592"/>
                  <a:pt x="7593700" y="3756493"/>
                </a:cubicBezTo>
                <a:close/>
                <a:moveTo>
                  <a:pt x="7044469" y="3749140"/>
                </a:moveTo>
                <a:cubicBezTo>
                  <a:pt x="7053293" y="3751765"/>
                  <a:pt x="7060925" y="3757971"/>
                  <a:pt x="7065695" y="3766564"/>
                </a:cubicBezTo>
                <a:cubicBezTo>
                  <a:pt x="7077143" y="3783749"/>
                  <a:pt x="7069511" y="3806662"/>
                  <a:pt x="7052340" y="3816209"/>
                </a:cubicBezTo>
                <a:cubicBezTo>
                  <a:pt x="7052340" y="3816209"/>
                  <a:pt x="7052340" y="3816209"/>
                  <a:pt x="6714634" y="4005244"/>
                </a:cubicBezTo>
                <a:cubicBezTo>
                  <a:pt x="6697463" y="4014791"/>
                  <a:pt x="6674567" y="4009063"/>
                  <a:pt x="6665028" y="3989968"/>
                </a:cubicBezTo>
                <a:cubicBezTo>
                  <a:pt x="6661212" y="3984240"/>
                  <a:pt x="6661212" y="3978511"/>
                  <a:pt x="6661212" y="3972783"/>
                </a:cubicBezTo>
                <a:cubicBezTo>
                  <a:pt x="6661212" y="3959417"/>
                  <a:pt x="6666936" y="3947960"/>
                  <a:pt x="6678383" y="3940323"/>
                </a:cubicBezTo>
                <a:cubicBezTo>
                  <a:pt x="6678383" y="3940323"/>
                  <a:pt x="6678383" y="3940323"/>
                  <a:pt x="7016089" y="3753198"/>
                </a:cubicBezTo>
                <a:cubicBezTo>
                  <a:pt x="7025628" y="3747469"/>
                  <a:pt x="7035645" y="3746515"/>
                  <a:pt x="7044469" y="3749140"/>
                </a:cubicBezTo>
                <a:close/>
                <a:moveTo>
                  <a:pt x="6500048" y="3741441"/>
                </a:moveTo>
                <a:cubicBezTo>
                  <a:pt x="6509797" y="3744783"/>
                  <a:pt x="6518357" y="3751944"/>
                  <a:pt x="6523112" y="3762447"/>
                </a:cubicBezTo>
                <a:cubicBezTo>
                  <a:pt x="6532623" y="3781543"/>
                  <a:pt x="6525014" y="3804458"/>
                  <a:pt x="6505992" y="3814006"/>
                </a:cubicBezTo>
                <a:cubicBezTo>
                  <a:pt x="6505992" y="3814006"/>
                  <a:pt x="6505992" y="3814006"/>
                  <a:pt x="6167407" y="3987780"/>
                </a:cubicBezTo>
                <a:cubicBezTo>
                  <a:pt x="6148385" y="3997328"/>
                  <a:pt x="6125559" y="3989689"/>
                  <a:pt x="6114146" y="3970593"/>
                </a:cubicBezTo>
                <a:cubicBezTo>
                  <a:pt x="6112244" y="3964865"/>
                  <a:pt x="6110342" y="3957226"/>
                  <a:pt x="6110342" y="3951497"/>
                </a:cubicBezTo>
                <a:cubicBezTo>
                  <a:pt x="6110342" y="3938130"/>
                  <a:pt x="6117950" y="3922853"/>
                  <a:pt x="6131266" y="3917125"/>
                </a:cubicBezTo>
                <a:cubicBezTo>
                  <a:pt x="6131266" y="3917125"/>
                  <a:pt x="6131266" y="3917125"/>
                  <a:pt x="6469851" y="3743351"/>
                </a:cubicBezTo>
                <a:cubicBezTo>
                  <a:pt x="6479362" y="3738577"/>
                  <a:pt x="6490299" y="3738100"/>
                  <a:pt x="6500048" y="3741441"/>
                </a:cubicBezTo>
                <a:close/>
                <a:moveTo>
                  <a:pt x="5958238" y="3734460"/>
                </a:moveTo>
                <a:cubicBezTo>
                  <a:pt x="5968507" y="3738279"/>
                  <a:pt x="5977583" y="3745919"/>
                  <a:pt x="5983314" y="3756422"/>
                </a:cubicBezTo>
                <a:cubicBezTo>
                  <a:pt x="5992867" y="3777430"/>
                  <a:pt x="5983314" y="3804167"/>
                  <a:pt x="5962297" y="3813715"/>
                </a:cubicBezTo>
                <a:cubicBezTo>
                  <a:pt x="5962297" y="3813715"/>
                  <a:pt x="5962297" y="3813715"/>
                  <a:pt x="5622210" y="3970317"/>
                </a:cubicBezTo>
                <a:cubicBezTo>
                  <a:pt x="5599284" y="3979866"/>
                  <a:pt x="5574446" y="3970317"/>
                  <a:pt x="5564892" y="3949309"/>
                </a:cubicBezTo>
                <a:cubicBezTo>
                  <a:pt x="5562982" y="3943580"/>
                  <a:pt x="5561071" y="3935941"/>
                  <a:pt x="5561071" y="3930212"/>
                </a:cubicBezTo>
                <a:cubicBezTo>
                  <a:pt x="5561071" y="3914934"/>
                  <a:pt x="5570624" y="3899655"/>
                  <a:pt x="5585909" y="3892016"/>
                </a:cubicBezTo>
                <a:cubicBezTo>
                  <a:pt x="5585909" y="3892016"/>
                  <a:pt x="5585909" y="3892016"/>
                  <a:pt x="5925997" y="3735415"/>
                </a:cubicBezTo>
                <a:cubicBezTo>
                  <a:pt x="5936505" y="3730640"/>
                  <a:pt x="5947969" y="3730640"/>
                  <a:pt x="5958238" y="3734460"/>
                </a:cubicBezTo>
                <a:close/>
                <a:moveTo>
                  <a:pt x="398944" y="3734460"/>
                </a:moveTo>
                <a:cubicBezTo>
                  <a:pt x="408945" y="3738279"/>
                  <a:pt x="417518" y="3745919"/>
                  <a:pt x="422280" y="3756422"/>
                </a:cubicBezTo>
                <a:cubicBezTo>
                  <a:pt x="431806" y="3777430"/>
                  <a:pt x="424186" y="3804167"/>
                  <a:pt x="401325" y="3813715"/>
                </a:cubicBezTo>
                <a:cubicBezTo>
                  <a:pt x="401325" y="3813715"/>
                  <a:pt x="401325" y="3813715"/>
                  <a:pt x="62231" y="3970317"/>
                </a:cubicBezTo>
                <a:cubicBezTo>
                  <a:pt x="41276" y="3979866"/>
                  <a:pt x="16511" y="3970317"/>
                  <a:pt x="6986" y="3949309"/>
                </a:cubicBezTo>
                <a:cubicBezTo>
                  <a:pt x="5080" y="3943580"/>
                  <a:pt x="3175" y="3935941"/>
                  <a:pt x="3175" y="3930212"/>
                </a:cubicBezTo>
                <a:cubicBezTo>
                  <a:pt x="3175" y="3914934"/>
                  <a:pt x="12701" y="3899655"/>
                  <a:pt x="27941" y="3892016"/>
                </a:cubicBezTo>
                <a:cubicBezTo>
                  <a:pt x="27941" y="3892016"/>
                  <a:pt x="27941" y="3892016"/>
                  <a:pt x="367035" y="3735415"/>
                </a:cubicBezTo>
                <a:cubicBezTo>
                  <a:pt x="377512" y="3730640"/>
                  <a:pt x="388943" y="3730640"/>
                  <a:pt x="398944" y="3734460"/>
                </a:cubicBezTo>
                <a:close/>
                <a:moveTo>
                  <a:pt x="5394100" y="3725661"/>
                </a:moveTo>
                <a:cubicBezTo>
                  <a:pt x="5411704" y="3725928"/>
                  <a:pt x="5428503" y="3736616"/>
                  <a:pt x="5435653" y="3753716"/>
                </a:cubicBezTo>
                <a:cubicBezTo>
                  <a:pt x="5445184" y="3776516"/>
                  <a:pt x="5433745" y="3803116"/>
                  <a:pt x="5410869" y="3812616"/>
                </a:cubicBezTo>
                <a:cubicBezTo>
                  <a:pt x="5410869" y="3812616"/>
                  <a:pt x="5410869" y="3812616"/>
                  <a:pt x="5071527" y="3951316"/>
                </a:cubicBezTo>
                <a:cubicBezTo>
                  <a:pt x="5046746" y="3960816"/>
                  <a:pt x="5021966" y="3951316"/>
                  <a:pt x="5012435" y="3928516"/>
                </a:cubicBezTo>
                <a:cubicBezTo>
                  <a:pt x="5008622" y="3922816"/>
                  <a:pt x="5008622" y="3917116"/>
                  <a:pt x="5008622" y="3911416"/>
                </a:cubicBezTo>
                <a:cubicBezTo>
                  <a:pt x="5008622" y="3892416"/>
                  <a:pt x="5018154" y="3875316"/>
                  <a:pt x="5037216" y="3869616"/>
                </a:cubicBezTo>
                <a:cubicBezTo>
                  <a:pt x="5037216" y="3869616"/>
                  <a:pt x="5037216" y="3869616"/>
                  <a:pt x="5376554" y="3729016"/>
                </a:cubicBezTo>
                <a:cubicBezTo>
                  <a:pt x="5382274" y="3726641"/>
                  <a:pt x="5388232" y="3725572"/>
                  <a:pt x="5394100" y="3725661"/>
                </a:cubicBezTo>
                <a:close/>
                <a:moveTo>
                  <a:pt x="927625" y="3725661"/>
                </a:moveTo>
                <a:cubicBezTo>
                  <a:pt x="945497" y="3725928"/>
                  <a:pt x="961225" y="3736616"/>
                  <a:pt x="968374" y="3753716"/>
                </a:cubicBezTo>
                <a:cubicBezTo>
                  <a:pt x="977906" y="3776516"/>
                  <a:pt x="968374" y="3803116"/>
                  <a:pt x="945497" y="3812616"/>
                </a:cubicBezTo>
                <a:cubicBezTo>
                  <a:pt x="945497" y="3812616"/>
                  <a:pt x="945497" y="3812616"/>
                  <a:pt x="604250" y="3951316"/>
                </a:cubicBezTo>
                <a:cubicBezTo>
                  <a:pt x="581374" y="3960816"/>
                  <a:pt x="554684" y="3951316"/>
                  <a:pt x="545152" y="3928516"/>
                </a:cubicBezTo>
                <a:cubicBezTo>
                  <a:pt x="543246" y="3922816"/>
                  <a:pt x="541339" y="3917116"/>
                  <a:pt x="541339" y="3911416"/>
                </a:cubicBezTo>
                <a:cubicBezTo>
                  <a:pt x="541339" y="3892416"/>
                  <a:pt x="552778" y="3875316"/>
                  <a:pt x="569935" y="3869616"/>
                </a:cubicBezTo>
                <a:cubicBezTo>
                  <a:pt x="569935" y="3869616"/>
                  <a:pt x="569935" y="3869616"/>
                  <a:pt x="909276" y="3729016"/>
                </a:cubicBezTo>
                <a:cubicBezTo>
                  <a:pt x="915471" y="3726641"/>
                  <a:pt x="921667" y="3725572"/>
                  <a:pt x="927625" y="3725661"/>
                </a:cubicBezTo>
                <a:close/>
                <a:moveTo>
                  <a:pt x="4842646" y="3718049"/>
                </a:moveTo>
                <a:cubicBezTo>
                  <a:pt x="4861517" y="3718940"/>
                  <a:pt x="4879048" y="3731051"/>
                  <a:pt x="4884772" y="3749574"/>
                </a:cubicBezTo>
                <a:cubicBezTo>
                  <a:pt x="4894312" y="3774271"/>
                  <a:pt x="4880957" y="3802768"/>
                  <a:pt x="4856151" y="3810367"/>
                </a:cubicBezTo>
                <a:cubicBezTo>
                  <a:pt x="4856151" y="3810367"/>
                  <a:pt x="4856151" y="3810367"/>
                  <a:pt x="4514669" y="3933854"/>
                </a:cubicBezTo>
                <a:cubicBezTo>
                  <a:pt x="4489871" y="3943353"/>
                  <a:pt x="4463161" y="3930054"/>
                  <a:pt x="4453622" y="3905357"/>
                </a:cubicBezTo>
                <a:cubicBezTo>
                  <a:pt x="4451715" y="3901557"/>
                  <a:pt x="4449806" y="3895858"/>
                  <a:pt x="4449806" y="3890159"/>
                </a:cubicBezTo>
                <a:cubicBezTo>
                  <a:pt x="4449806" y="3869261"/>
                  <a:pt x="4463161" y="3852163"/>
                  <a:pt x="4482239" y="3844564"/>
                </a:cubicBezTo>
                <a:cubicBezTo>
                  <a:pt x="4482239" y="3844564"/>
                  <a:pt x="4482239" y="3844564"/>
                  <a:pt x="4823714" y="3721077"/>
                </a:cubicBezTo>
                <a:cubicBezTo>
                  <a:pt x="4829916" y="3718702"/>
                  <a:pt x="4836354" y="3717752"/>
                  <a:pt x="4842646" y="3718049"/>
                </a:cubicBezTo>
                <a:close/>
                <a:moveTo>
                  <a:pt x="1478619" y="3718049"/>
                </a:moveTo>
                <a:cubicBezTo>
                  <a:pt x="1496975" y="3718940"/>
                  <a:pt x="1513727" y="3731051"/>
                  <a:pt x="1520856" y="3749574"/>
                </a:cubicBezTo>
                <a:cubicBezTo>
                  <a:pt x="1530360" y="3774271"/>
                  <a:pt x="1517054" y="3802768"/>
                  <a:pt x="1492342" y="3810367"/>
                </a:cubicBezTo>
                <a:cubicBezTo>
                  <a:pt x="1492342" y="3810367"/>
                  <a:pt x="1492342" y="3810367"/>
                  <a:pt x="1152074" y="3933854"/>
                </a:cubicBezTo>
                <a:cubicBezTo>
                  <a:pt x="1127362" y="3943353"/>
                  <a:pt x="1098848" y="3930054"/>
                  <a:pt x="1089343" y="3905357"/>
                </a:cubicBezTo>
                <a:cubicBezTo>
                  <a:pt x="1087442" y="3901557"/>
                  <a:pt x="1087442" y="3895858"/>
                  <a:pt x="1087442" y="3890159"/>
                </a:cubicBezTo>
                <a:cubicBezTo>
                  <a:pt x="1087442" y="3869261"/>
                  <a:pt x="1098848" y="3852163"/>
                  <a:pt x="1117857" y="3844564"/>
                </a:cubicBezTo>
                <a:cubicBezTo>
                  <a:pt x="1117857" y="3844564"/>
                  <a:pt x="1117857" y="3844564"/>
                  <a:pt x="1460026" y="3721077"/>
                </a:cubicBezTo>
                <a:cubicBezTo>
                  <a:pt x="1466204" y="3718702"/>
                  <a:pt x="1472501" y="3717752"/>
                  <a:pt x="1478619" y="3718049"/>
                </a:cubicBezTo>
                <a:close/>
                <a:moveTo>
                  <a:pt x="2033482" y="3710438"/>
                </a:moveTo>
                <a:cubicBezTo>
                  <a:pt x="2053278" y="3711952"/>
                  <a:pt x="2071188" y="3725486"/>
                  <a:pt x="2078351" y="3745431"/>
                </a:cubicBezTo>
                <a:cubicBezTo>
                  <a:pt x="2085994" y="3772025"/>
                  <a:pt x="2070710" y="3800519"/>
                  <a:pt x="2043959" y="3810017"/>
                </a:cubicBezTo>
                <a:cubicBezTo>
                  <a:pt x="2043959" y="3810017"/>
                  <a:pt x="2043959" y="3810017"/>
                  <a:pt x="1701997" y="3916393"/>
                </a:cubicBezTo>
                <a:cubicBezTo>
                  <a:pt x="1673341" y="3925891"/>
                  <a:pt x="1644685" y="3910694"/>
                  <a:pt x="1637043" y="3884100"/>
                </a:cubicBezTo>
                <a:cubicBezTo>
                  <a:pt x="1635133" y="3878402"/>
                  <a:pt x="1635133" y="3874602"/>
                  <a:pt x="1635133" y="3868904"/>
                </a:cubicBezTo>
                <a:cubicBezTo>
                  <a:pt x="1635133" y="3846109"/>
                  <a:pt x="1648506" y="3827113"/>
                  <a:pt x="1669520" y="3819515"/>
                </a:cubicBezTo>
                <a:cubicBezTo>
                  <a:pt x="1669520" y="3819515"/>
                  <a:pt x="1669520" y="3819515"/>
                  <a:pt x="2013393" y="3713139"/>
                </a:cubicBezTo>
                <a:cubicBezTo>
                  <a:pt x="2020079" y="3710764"/>
                  <a:pt x="2026885" y="3709933"/>
                  <a:pt x="2033482" y="3710438"/>
                </a:cubicBezTo>
                <a:close/>
                <a:moveTo>
                  <a:pt x="4287765" y="3710438"/>
                </a:moveTo>
                <a:cubicBezTo>
                  <a:pt x="4307452" y="3711952"/>
                  <a:pt x="4324992" y="3725486"/>
                  <a:pt x="4330719" y="3745431"/>
                </a:cubicBezTo>
                <a:cubicBezTo>
                  <a:pt x="4340265" y="3772025"/>
                  <a:pt x="4324992" y="3800519"/>
                  <a:pt x="4298264" y="3810017"/>
                </a:cubicBezTo>
                <a:cubicBezTo>
                  <a:pt x="4298264" y="3810017"/>
                  <a:pt x="4298264" y="3810017"/>
                  <a:pt x="3954657" y="3916393"/>
                </a:cubicBezTo>
                <a:cubicBezTo>
                  <a:pt x="3927930" y="3925891"/>
                  <a:pt x="3899292" y="3910694"/>
                  <a:pt x="3891655" y="3884100"/>
                </a:cubicBezTo>
                <a:cubicBezTo>
                  <a:pt x="3889748" y="3878402"/>
                  <a:pt x="3887839" y="3874602"/>
                  <a:pt x="3887839" y="3868904"/>
                </a:cubicBezTo>
                <a:cubicBezTo>
                  <a:pt x="3887839" y="3846109"/>
                  <a:pt x="3903110" y="3827113"/>
                  <a:pt x="3924112" y="3819515"/>
                </a:cubicBezTo>
                <a:cubicBezTo>
                  <a:pt x="3924112" y="3819515"/>
                  <a:pt x="3924112" y="3819515"/>
                  <a:pt x="4267718" y="3713139"/>
                </a:cubicBezTo>
                <a:cubicBezTo>
                  <a:pt x="4274402" y="3710764"/>
                  <a:pt x="4281202" y="3709933"/>
                  <a:pt x="4287765" y="3710438"/>
                </a:cubicBezTo>
                <a:close/>
                <a:moveTo>
                  <a:pt x="3726990" y="3702866"/>
                </a:moveTo>
                <a:cubicBezTo>
                  <a:pt x="3747976" y="3705095"/>
                  <a:pt x="3766551" y="3720431"/>
                  <a:pt x="3772266" y="3743256"/>
                </a:cubicBezTo>
                <a:cubicBezTo>
                  <a:pt x="3779888" y="3771789"/>
                  <a:pt x="3762740" y="3800321"/>
                  <a:pt x="3734163" y="3807929"/>
                </a:cubicBezTo>
                <a:cubicBezTo>
                  <a:pt x="3734163" y="3807929"/>
                  <a:pt x="3734163" y="3807929"/>
                  <a:pt x="3391272" y="3899232"/>
                </a:cubicBezTo>
                <a:cubicBezTo>
                  <a:pt x="3360791" y="3906841"/>
                  <a:pt x="3332216" y="3889722"/>
                  <a:pt x="3324595" y="3861189"/>
                </a:cubicBezTo>
                <a:cubicBezTo>
                  <a:pt x="3322690" y="3857385"/>
                  <a:pt x="3322690" y="3851679"/>
                  <a:pt x="3322690" y="3847874"/>
                </a:cubicBezTo>
                <a:cubicBezTo>
                  <a:pt x="3322690" y="3823147"/>
                  <a:pt x="3337931" y="3802223"/>
                  <a:pt x="3362695" y="3796517"/>
                </a:cubicBezTo>
                <a:cubicBezTo>
                  <a:pt x="3362695" y="3796517"/>
                  <a:pt x="3362695" y="3796517"/>
                  <a:pt x="3705586" y="3705214"/>
                </a:cubicBezTo>
                <a:cubicBezTo>
                  <a:pt x="3712731" y="3702836"/>
                  <a:pt x="3719994" y="3702123"/>
                  <a:pt x="3726990" y="3702866"/>
                </a:cubicBezTo>
                <a:close/>
                <a:moveTo>
                  <a:pt x="2593305" y="3702866"/>
                </a:moveTo>
                <a:cubicBezTo>
                  <a:pt x="2614363" y="3705095"/>
                  <a:pt x="2633001" y="3720431"/>
                  <a:pt x="2638736" y="3743256"/>
                </a:cubicBezTo>
                <a:cubicBezTo>
                  <a:pt x="2646383" y="3771789"/>
                  <a:pt x="2629177" y="3800321"/>
                  <a:pt x="2600503" y="3807929"/>
                </a:cubicBezTo>
                <a:cubicBezTo>
                  <a:pt x="2600503" y="3807929"/>
                  <a:pt x="2600503" y="3807929"/>
                  <a:pt x="2256408" y="3899232"/>
                </a:cubicBezTo>
                <a:cubicBezTo>
                  <a:pt x="2225822" y="3906841"/>
                  <a:pt x="2197147" y="3889722"/>
                  <a:pt x="2189501" y="3861189"/>
                </a:cubicBezTo>
                <a:cubicBezTo>
                  <a:pt x="2187589" y="3857385"/>
                  <a:pt x="2187589" y="3851679"/>
                  <a:pt x="2187589" y="3847874"/>
                </a:cubicBezTo>
                <a:cubicBezTo>
                  <a:pt x="2187589" y="3823147"/>
                  <a:pt x="2202883" y="3802223"/>
                  <a:pt x="2227734" y="3796517"/>
                </a:cubicBezTo>
                <a:cubicBezTo>
                  <a:pt x="2227734" y="3796517"/>
                  <a:pt x="2227734" y="3796517"/>
                  <a:pt x="2571828" y="3705214"/>
                </a:cubicBezTo>
                <a:cubicBezTo>
                  <a:pt x="2578997" y="3702836"/>
                  <a:pt x="2586286" y="3702123"/>
                  <a:pt x="2593305" y="3702866"/>
                </a:cubicBezTo>
                <a:close/>
                <a:moveTo>
                  <a:pt x="3135574" y="3696656"/>
                </a:moveTo>
                <a:cubicBezTo>
                  <a:pt x="3166095" y="3690941"/>
                  <a:pt x="3196618" y="3709991"/>
                  <a:pt x="3202340" y="3740471"/>
                </a:cubicBezTo>
                <a:cubicBezTo>
                  <a:pt x="3209972" y="3770951"/>
                  <a:pt x="3190896" y="3801431"/>
                  <a:pt x="3160374" y="3809051"/>
                </a:cubicBezTo>
                <a:cubicBezTo>
                  <a:pt x="3160374" y="3809051"/>
                  <a:pt x="3160374" y="3809051"/>
                  <a:pt x="2815091" y="3883346"/>
                </a:cubicBezTo>
                <a:cubicBezTo>
                  <a:pt x="2784566" y="3890966"/>
                  <a:pt x="2754046" y="3871916"/>
                  <a:pt x="2746414" y="3841436"/>
                </a:cubicBezTo>
                <a:cubicBezTo>
                  <a:pt x="2746414" y="3835721"/>
                  <a:pt x="2746414" y="3831911"/>
                  <a:pt x="2746414" y="3828101"/>
                </a:cubicBezTo>
                <a:cubicBezTo>
                  <a:pt x="2746414" y="3801431"/>
                  <a:pt x="2763585" y="3778571"/>
                  <a:pt x="2790292" y="3772856"/>
                </a:cubicBezTo>
                <a:cubicBezTo>
                  <a:pt x="2790292" y="3772856"/>
                  <a:pt x="2790292" y="3772856"/>
                  <a:pt x="3135574" y="3696656"/>
                </a:cubicBezTo>
                <a:close/>
                <a:moveTo>
                  <a:pt x="9858878" y="3457894"/>
                </a:moveTo>
                <a:cubicBezTo>
                  <a:pt x="9863879" y="3458370"/>
                  <a:pt x="9868641" y="3460749"/>
                  <a:pt x="9871499" y="3465507"/>
                </a:cubicBezTo>
                <a:cubicBezTo>
                  <a:pt x="9879119" y="3473119"/>
                  <a:pt x="9877214" y="3484538"/>
                  <a:pt x="9869594" y="3492151"/>
                </a:cubicBezTo>
                <a:cubicBezTo>
                  <a:pt x="9869594" y="3492151"/>
                  <a:pt x="9869594" y="3492151"/>
                  <a:pt x="9538119" y="3773816"/>
                </a:cubicBezTo>
                <a:cubicBezTo>
                  <a:pt x="9530499" y="3781429"/>
                  <a:pt x="9519069" y="3781429"/>
                  <a:pt x="9511449" y="3771913"/>
                </a:cubicBezTo>
                <a:cubicBezTo>
                  <a:pt x="9509544" y="3768107"/>
                  <a:pt x="9507639" y="3764301"/>
                  <a:pt x="9507639" y="3760494"/>
                </a:cubicBezTo>
                <a:cubicBezTo>
                  <a:pt x="9507639" y="3754785"/>
                  <a:pt x="9509544" y="3749075"/>
                  <a:pt x="9513354" y="3745269"/>
                </a:cubicBezTo>
                <a:cubicBezTo>
                  <a:pt x="9513354" y="3745269"/>
                  <a:pt x="9513354" y="3745269"/>
                  <a:pt x="9844829" y="3461700"/>
                </a:cubicBezTo>
                <a:cubicBezTo>
                  <a:pt x="9848639" y="3458846"/>
                  <a:pt x="9853878" y="3457418"/>
                  <a:pt x="9858878" y="3457894"/>
                </a:cubicBezTo>
                <a:close/>
                <a:moveTo>
                  <a:pt x="10444338" y="3451145"/>
                </a:moveTo>
                <a:cubicBezTo>
                  <a:pt x="10449819" y="3451859"/>
                  <a:pt x="10455062" y="3454714"/>
                  <a:pt x="10458875" y="3459471"/>
                </a:cubicBezTo>
                <a:cubicBezTo>
                  <a:pt x="10466502" y="3468987"/>
                  <a:pt x="10464595" y="3482308"/>
                  <a:pt x="10455062" y="3489921"/>
                </a:cubicBezTo>
                <a:cubicBezTo>
                  <a:pt x="10455062" y="3489921"/>
                  <a:pt x="10455062" y="3489921"/>
                  <a:pt x="10123310" y="3756353"/>
                </a:cubicBezTo>
                <a:cubicBezTo>
                  <a:pt x="10113777" y="3763966"/>
                  <a:pt x="10098524" y="3762063"/>
                  <a:pt x="10090897" y="3752547"/>
                </a:cubicBezTo>
                <a:cubicBezTo>
                  <a:pt x="10088991" y="3748741"/>
                  <a:pt x="10087084" y="3743032"/>
                  <a:pt x="10087084" y="3737323"/>
                </a:cubicBezTo>
                <a:cubicBezTo>
                  <a:pt x="10087084" y="3731613"/>
                  <a:pt x="10088991" y="3725904"/>
                  <a:pt x="10094710" y="3720195"/>
                </a:cubicBezTo>
                <a:cubicBezTo>
                  <a:pt x="10094710" y="3720195"/>
                  <a:pt x="10094710" y="3720195"/>
                  <a:pt x="10428370" y="3455665"/>
                </a:cubicBezTo>
                <a:cubicBezTo>
                  <a:pt x="10433136" y="3451859"/>
                  <a:pt x="10438856" y="3450432"/>
                  <a:pt x="10444338" y="3451145"/>
                </a:cubicBezTo>
                <a:close/>
                <a:moveTo>
                  <a:pt x="9282925" y="3451145"/>
                </a:moveTo>
                <a:cubicBezTo>
                  <a:pt x="9288878" y="3451859"/>
                  <a:pt x="9294593" y="3454714"/>
                  <a:pt x="9298403" y="3459471"/>
                </a:cubicBezTo>
                <a:cubicBezTo>
                  <a:pt x="9306023" y="3468987"/>
                  <a:pt x="9304118" y="3482308"/>
                  <a:pt x="9294593" y="3489921"/>
                </a:cubicBezTo>
                <a:cubicBezTo>
                  <a:pt x="9294593" y="3489921"/>
                  <a:pt x="9294593" y="3489921"/>
                  <a:pt x="8961213" y="3756353"/>
                </a:cubicBezTo>
                <a:cubicBezTo>
                  <a:pt x="8951688" y="3763966"/>
                  <a:pt x="8938353" y="3762063"/>
                  <a:pt x="8930733" y="3752547"/>
                </a:cubicBezTo>
                <a:cubicBezTo>
                  <a:pt x="8926923" y="3748741"/>
                  <a:pt x="8925018" y="3743032"/>
                  <a:pt x="8925018" y="3737323"/>
                </a:cubicBezTo>
                <a:cubicBezTo>
                  <a:pt x="8925018" y="3731613"/>
                  <a:pt x="8928828" y="3725904"/>
                  <a:pt x="8934543" y="3720195"/>
                </a:cubicBezTo>
                <a:cubicBezTo>
                  <a:pt x="8934543" y="3720195"/>
                  <a:pt x="8934543" y="3720195"/>
                  <a:pt x="9266017" y="3455665"/>
                </a:cubicBezTo>
                <a:cubicBezTo>
                  <a:pt x="9270780" y="3451859"/>
                  <a:pt x="9276972" y="3450432"/>
                  <a:pt x="9282925" y="3451145"/>
                </a:cubicBezTo>
                <a:close/>
                <a:moveTo>
                  <a:pt x="8712667" y="3443688"/>
                </a:moveTo>
                <a:cubicBezTo>
                  <a:pt x="8719102" y="3444402"/>
                  <a:pt x="8725298" y="3447736"/>
                  <a:pt x="8730065" y="3453451"/>
                </a:cubicBezTo>
                <a:cubicBezTo>
                  <a:pt x="8737691" y="3464881"/>
                  <a:pt x="8735784" y="3482026"/>
                  <a:pt x="8724345" y="3489646"/>
                </a:cubicBezTo>
                <a:cubicBezTo>
                  <a:pt x="8724345" y="3489646"/>
                  <a:pt x="8724345" y="3489646"/>
                  <a:pt x="8390693" y="3737296"/>
                </a:cubicBezTo>
                <a:cubicBezTo>
                  <a:pt x="8379253" y="3744916"/>
                  <a:pt x="8362094" y="3743011"/>
                  <a:pt x="8354468" y="3731581"/>
                </a:cubicBezTo>
                <a:cubicBezTo>
                  <a:pt x="8350655" y="3727771"/>
                  <a:pt x="8348748" y="3722056"/>
                  <a:pt x="8348748" y="3716341"/>
                </a:cubicBezTo>
                <a:cubicBezTo>
                  <a:pt x="8348748" y="3708721"/>
                  <a:pt x="8352561" y="3701101"/>
                  <a:pt x="8360187" y="3695386"/>
                </a:cubicBezTo>
                <a:cubicBezTo>
                  <a:pt x="8360187" y="3695386"/>
                  <a:pt x="8360187" y="3695386"/>
                  <a:pt x="8693840" y="3449641"/>
                </a:cubicBezTo>
                <a:cubicBezTo>
                  <a:pt x="8699560" y="3444878"/>
                  <a:pt x="8706233" y="3442973"/>
                  <a:pt x="8712667" y="3443688"/>
                </a:cubicBezTo>
                <a:close/>
                <a:moveTo>
                  <a:pt x="11022273" y="3443688"/>
                </a:moveTo>
                <a:cubicBezTo>
                  <a:pt x="11028469" y="3444402"/>
                  <a:pt x="11034189" y="3447736"/>
                  <a:pt x="11038002" y="3453451"/>
                </a:cubicBezTo>
                <a:cubicBezTo>
                  <a:pt x="11047535" y="3464881"/>
                  <a:pt x="11045628" y="3482026"/>
                  <a:pt x="11034189" y="3489646"/>
                </a:cubicBezTo>
                <a:cubicBezTo>
                  <a:pt x="11034189" y="3489646"/>
                  <a:pt x="11034189" y="3489646"/>
                  <a:pt x="10700537" y="3737296"/>
                </a:cubicBezTo>
                <a:cubicBezTo>
                  <a:pt x="10689097" y="3744916"/>
                  <a:pt x="10671938" y="3743011"/>
                  <a:pt x="10664312" y="3731581"/>
                </a:cubicBezTo>
                <a:cubicBezTo>
                  <a:pt x="10660499" y="3727771"/>
                  <a:pt x="10658592" y="3722056"/>
                  <a:pt x="10658592" y="3716341"/>
                </a:cubicBezTo>
                <a:cubicBezTo>
                  <a:pt x="10658592" y="3708721"/>
                  <a:pt x="10662405" y="3701101"/>
                  <a:pt x="10670031" y="3695386"/>
                </a:cubicBezTo>
                <a:cubicBezTo>
                  <a:pt x="10670031" y="3695386"/>
                  <a:pt x="10670031" y="3695386"/>
                  <a:pt x="11003684" y="3449641"/>
                </a:cubicBezTo>
                <a:cubicBezTo>
                  <a:pt x="11009404" y="3444878"/>
                  <a:pt x="11016077" y="3442973"/>
                  <a:pt x="11022273" y="3443688"/>
                </a:cubicBezTo>
                <a:close/>
                <a:moveTo>
                  <a:pt x="11595028" y="3438528"/>
                </a:moveTo>
                <a:cubicBezTo>
                  <a:pt x="11602660" y="3439957"/>
                  <a:pt x="11609816" y="3444243"/>
                  <a:pt x="11614586" y="3450911"/>
                </a:cubicBezTo>
                <a:cubicBezTo>
                  <a:pt x="11622218" y="3464246"/>
                  <a:pt x="11620310" y="3483296"/>
                  <a:pt x="11606953" y="3490916"/>
                </a:cubicBezTo>
                <a:cubicBezTo>
                  <a:pt x="11606953" y="3490916"/>
                  <a:pt x="11606953" y="3490916"/>
                  <a:pt x="11271132" y="3719516"/>
                </a:cubicBezTo>
                <a:cubicBezTo>
                  <a:pt x="11257775" y="3729041"/>
                  <a:pt x="11238695" y="3725231"/>
                  <a:pt x="11231062" y="3711896"/>
                </a:cubicBezTo>
                <a:cubicBezTo>
                  <a:pt x="11227246" y="3706181"/>
                  <a:pt x="11225338" y="3700466"/>
                  <a:pt x="11225338" y="3696656"/>
                </a:cubicBezTo>
                <a:cubicBezTo>
                  <a:pt x="11225338" y="3687131"/>
                  <a:pt x="11229154" y="3677606"/>
                  <a:pt x="11238695" y="3671891"/>
                </a:cubicBezTo>
                <a:cubicBezTo>
                  <a:pt x="11238695" y="3671891"/>
                  <a:pt x="11238695" y="3671891"/>
                  <a:pt x="11572608" y="3443291"/>
                </a:cubicBezTo>
                <a:cubicBezTo>
                  <a:pt x="11579286" y="3438528"/>
                  <a:pt x="11587396" y="3437100"/>
                  <a:pt x="11595028" y="3438528"/>
                </a:cubicBezTo>
                <a:close/>
                <a:moveTo>
                  <a:pt x="8149264" y="3438528"/>
                </a:moveTo>
                <a:cubicBezTo>
                  <a:pt x="8156391" y="3439957"/>
                  <a:pt x="8163042" y="3444243"/>
                  <a:pt x="8167794" y="3450911"/>
                </a:cubicBezTo>
                <a:cubicBezTo>
                  <a:pt x="8177296" y="3464246"/>
                  <a:pt x="8173495" y="3483296"/>
                  <a:pt x="8160192" y="3490916"/>
                </a:cubicBezTo>
                <a:cubicBezTo>
                  <a:pt x="8160192" y="3490916"/>
                  <a:pt x="8160192" y="3490916"/>
                  <a:pt x="7825713" y="3719516"/>
                </a:cubicBezTo>
                <a:cubicBezTo>
                  <a:pt x="7812410" y="3729041"/>
                  <a:pt x="7795306" y="3725231"/>
                  <a:pt x="7785804" y="3711896"/>
                </a:cubicBezTo>
                <a:cubicBezTo>
                  <a:pt x="7782003" y="3706181"/>
                  <a:pt x="7782003" y="3700466"/>
                  <a:pt x="7782003" y="3696656"/>
                </a:cubicBezTo>
                <a:cubicBezTo>
                  <a:pt x="7782003" y="3687131"/>
                  <a:pt x="7785804" y="3677606"/>
                  <a:pt x="7793405" y="3671891"/>
                </a:cubicBezTo>
                <a:cubicBezTo>
                  <a:pt x="7793405" y="3671891"/>
                  <a:pt x="7793405" y="3671891"/>
                  <a:pt x="8127884" y="3443291"/>
                </a:cubicBezTo>
                <a:cubicBezTo>
                  <a:pt x="8134536" y="3438528"/>
                  <a:pt x="8142137" y="3437100"/>
                  <a:pt x="8149264" y="3438528"/>
                </a:cubicBezTo>
                <a:close/>
                <a:moveTo>
                  <a:pt x="12139750" y="3433766"/>
                </a:moveTo>
                <a:cubicBezTo>
                  <a:pt x="12139750" y="3433766"/>
                  <a:pt x="12139750" y="3433766"/>
                  <a:pt x="12139750" y="3509879"/>
                </a:cubicBezTo>
                <a:cubicBezTo>
                  <a:pt x="12139750" y="3509879"/>
                  <a:pt x="12139750" y="3509879"/>
                  <a:pt x="11835219" y="3702065"/>
                </a:cubicBezTo>
                <a:cubicBezTo>
                  <a:pt x="11819993" y="3711579"/>
                  <a:pt x="11799056" y="3705870"/>
                  <a:pt x="11789540" y="3690648"/>
                </a:cubicBezTo>
                <a:cubicBezTo>
                  <a:pt x="11785733" y="3684939"/>
                  <a:pt x="11785733" y="3679231"/>
                  <a:pt x="11785733" y="3673522"/>
                </a:cubicBezTo>
                <a:cubicBezTo>
                  <a:pt x="11785733" y="3662105"/>
                  <a:pt x="11789540" y="3652591"/>
                  <a:pt x="11800960" y="3646883"/>
                </a:cubicBezTo>
                <a:lnTo>
                  <a:pt x="12135943" y="3435669"/>
                </a:lnTo>
                <a:cubicBezTo>
                  <a:pt x="12137847" y="3435669"/>
                  <a:pt x="12137847" y="3435669"/>
                  <a:pt x="12139750" y="3433766"/>
                </a:cubicBezTo>
                <a:close/>
                <a:moveTo>
                  <a:pt x="7592961" y="3431781"/>
                </a:moveTo>
                <a:cubicBezTo>
                  <a:pt x="7601309" y="3433924"/>
                  <a:pt x="7608941" y="3439163"/>
                  <a:pt x="7613711" y="3446783"/>
                </a:cubicBezTo>
                <a:cubicBezTo>
                  <a:pt x="7623251" y="3462023"/>
                  <a:pt x="7617527" y="3481073"/>
                  <a:pt x="7602263" y="3490598"/>
                </a:cubicBezTo>
                <a:cubicBezTo>
                  <a:pt x="7602263" y="3490598"/>
                  <a:pt x="7602263" y="3490598"/>
                  <a:pt x="7266453" y="3702053"/>
                </a:cubicBezTo>
                <a:cubicBezTo>
                  <a:pt x="7251189" y="3711578"/>
                  <a:pt x="7232109" y="3705863"/>
                  <a:pt x="7222569" y="3690623"/>
                </a:cubicBezTo>
                <a:cubicBezTo>
                  <a:pt x="7218753" y="3684908"/>
                  <a:pt x="7216845" y="3679193"/>
                  <a:pt x="7216845" y="3673478"/>
                </a:cubicBezTo>
                <a:cubicBezTo>
                  <a:pt x="7216845" y="3662048"/>
                  <a:pt x="7222569" y="3652523"/>
                  <a:pt x="7232109" y="3646808"/>
                </a:cubicBezTo>
                <a:cubicBezTo>
                  <a:pt x="7232109" y="3646808"/>
                  <a:pt x="7232109" y="3646808"/>
                  <a:pt x="7567918" y="3435353"/>
                </a:cubicBezTo>
                <a:cubicBezTo>
                  <a:pt x="7575551" y="3430590"/>
                  <a:pt x="7584614" y="3429638"/>
                  <a:pt x="7592961" y="3431781"/>
                </a:cubicBezTo>
                <a:close/>
                <a:moveTo>
                  <a:pt x="7042583" y="3425684"/>
                </a:moveTo>
                <a:cubicBezTo>
                  <a:pt x="7051618" y="3428071"/>
                  <a:pt x="7059702" y="3433799"/>
                  <a:pt x="7064457" y="3442391"/>
                </a:cubicBezTo>
                <a:cubicBezTo>
                  <a:pt x="7073968" y="3459576"/>
                  <a:pt x="7068261" y="3480580"/>
                  <a:pt x="7051143" y="3490127"/>
                </a:cubicBezTo>
                <a:cubicBezTo>
                  <a:pt x="7051143" y="3490127"/>
                  <a:pt x="7051143" y="3490127"/>
                  <a:pt x="6714471" y="3682981"/>
                </a:cubicBezTo>
                <a:cubicBezTo>
                  <a:pt x="6697352" y="3692528"/>
                  <a:pt x="6676429" y="3686800"/>
                  <a:pt x="6665016" y="3669615"/>
                </a:cubicBezTo>
                <a:cubicBezTo>
                  <a:pt x="6663114" y="3663886"/>
                  <a:pt x="6661212" y="3658158"/>
                  <a:pt x="6661212" y="3652430"/>
                </a:cubicBezTo>
                <a:cubicBezTo>
                  <a:pt x="6661212" y="3639064"/>
                  <a:pt x="6666918" y="3627607"/>
                  <a:pt x="6678331" y="3619969"/>
                </a:cubicBezTo>
                <a:cubicBezTo>
                  <a:pt x="6678331" y="3619969"/>
                  <a:pt x="6678331" y="3619969"/>
                  <a:pt x="7015003" y="3429025"/>
                </a:cubicBezTo>
                <a:cubicBezTo>
                  <a:pt x="7023562" y="3424254"/>
                  <a:pt x="7033548" y="3423297"/>
                  <a:pt x="7042583" y="3425684"/>
                </a:cubicBezTo>
                <a:close/>
                <a:moveTo>
                  <a:pt x="6499335" y="3418940"/>
                </a:moveTo>
                <a:cubicBezTo>
                  <a:pt x="6508845" y="3422044"/>
                  <a:pt x="6517405" y="3428727"/>
                  <a:pt x="6523112" y="3438274"/>
                </a:cubicBezTo>
                <a:cubicBezTo>
                  <a:pt x="6532623" y="3457370"/>
                  <a:pt x="6525014" y="3480286"/>
                  <a:pt x="6505992" y="3491743"/>
                </a:cubicBezTo>
                <a:cubicBezTo>
                  <a:pt x="6505992" y="3491743"/>
                  <a:pt x="6505992" y="3491743"/>
                  <a:pt x="6167407" y="3663607"/>
                </a:cubicBezTo>
                <a:cubicBezTo>
                  <a:pt x="6148385" y="3675065"/>
                  <a:pt x="6125559" y="3667426"/>
                  <a:pt x="6116048" y="3648330"/>
                </a:cubicBezTo>
                <a:cubicBezTo>
                  <a:pt x="6112244" y="3642602"/>
                  <a:pt x="6110342" y="3634963"/>
                  <a:pt x="6110342" y="3629234"/>
                </a:cubicBezTo>
                <a:cubicBezTo>
                  <a:pt x="6110342" y="3615867"/>
                  <a:pt x="6117950" y="3602500"/>
                  <a:pt x="6131266" y="3594862"/>
                </a:cubicBezTo>
                <a:cubicBezTo>
                  <a:pt x="6131266" y="3594862"/>
                  <a:pt x="6131266" y="3594862"/>
                  <a:pt x="6469851" y="3421090"/>
                </a:cubicBezTo>
                <a:cubicBezTo>
                  <a:pt x="6479362" y="3416316"/>
                  <a:pt x="6489824" y="3415839"/>
                  <a:pt x="6499335" y="3418940"/>
                </a:cubicBezTo>
                <a:close/>
                <a:moveTo>
                  <a:pt x="5958954" y="3413743"/>
                </a:moveTo>
                <a:cubicBezTo>
                  <a:pt x="5969463" y="3417542"/>
                  <a:pt x="5978538" y="3425142"/>
                  <a:pt x="5983314" y="3435593"/>
                </a:cubicBezTo>
                <a:cubicBezTo>
                  <a:pt x="5992867" y="3456495"/>
                  <a:pt x="5983314" y="3483098"/>
                  <a:pt x="5962297" y="3492599"/>
                </a:cubicBezTo>
                <a:cubicBezTo>
                  <a:pt x="5962297" y="3492599"/>
                  <a:pt x="5962297" y="3492599"/>
                  <a:pt x="5622210" y="3646514"/>
                </a:cubicBezTo>
                <a:cubicBezTo>
                  <a:pt x="5599284" y="3656015"/>
                  <a:pt x="5574446" y="3646514"/>
                  <a:pt x="5564892" y="3625612"/>
                </a:cubicBezTo>
                <a:cubicBezTo>
                  <a:pt x="5562982" y="3619911"/>
                  <a:pt x="5561071" y="3614211"/>
                  <a:pt x="5561071" y="3608510"/>
                </a:cubicBezTo>
                <a:cubicBezTo>
                  <a:pt x="5561071" y="3591408"/>
                  <a:pt x="5570624" y="3576207"/>
                  <a:pt x="5585909" y="3568606"/>
                </a:cubicBezTo>
                <a:cubicBezTo>
                  <a:pt x="5585909" y="3568606"/>
                  <a:pt x="5585909" y="3568606"/>
                  <a:pt x="5925997" y="3414692"/>
                </a:cubicBezTo>
                <a:cubicBezTo>
                  <a:pt x="5936505" y="3409944"/>
                  <a:pt x="5948446" y="3409944"/>
                  <a:pt x="5958954" y="3413743"/>
                </a:cubicBezTo>
                <a:close/>
                <a:moveTo>
                  <a:pt x="398651" y="3413741"/>
                </a:moveTo>
                <a:cubicBezTo>
                  <a:pt x="408645" y="3417542"/>
                  <a:pt x="417212" y="3425142"/>
                  <a:pt x="421971" y="3435593"/>
                </a:cubicBezTo>
                <a:cubicBezTo>
                  <a:pt x="433392" y="3456495"/>
                  <a:pt x="423874" y="3483098"/>
                  <a:pt x="401031" y="3492599"/>
                </a:cubicBezTo>
                <a:cubicBezTo>
                  <a:pt x="401031" y="3492599"/>
                  <a:pt x="401031" y="3492599"/>
                  <a:pt x="62187" y="3646514"/>
                </a:cubicBezTo>
                <a:cubicBezTo>
                  <a:pt x="41247" y="3656015"/>
                  <a:pt x="16500" y="3646514"/>
                  <a:pt x="6982" y="3625612"/>
                </a:cubicBezTo>
                <a:cubicBezTo>
                  <a:pt x="3175" y="3619911"/>
                  <a:pt x="3175" y="3614211"/>
                  <a:pt x="3175" y="3608510"/>
                </a:cubicBezTo>
                <a:cubicBezTo>
                  <a:pt x="3175" y="3591408"/>
                  <a:pt x="12693" y="3576207"/>
                  <a:pt x="27922" y="3568606"/>
                </a:cubicBezTo>
                <a:cubicBezTo>
                  <a:pt x="27922" y="3568606"/>
                  <a:pt x="27922" y="3568606"/>
                  <a:pt x="366766" y="3414692"/>
                </a:cubicBezTo>
                <a:cubicBezTo>
                  <a:pt x="377236" y="3409942"/>
                  <a:pt x="388657" y="3409942"/>
                  <a:pt x="398651" y="3413741"/>
                </a:cubicBezTo>
                <a:close/>
                <a:moveTo>
                  <a:pt x="5394960" y="3403430"/>
                </a:moveTo>
                <a:cubicBezTo>
                  <a:pt x="5413341" y="3403787"/>
                  <a:pt x="5430116" y="3414829"/>
                  <a:pt x="5437255" y="3433353"/>
                </a:cubicBezTo>
                <a:cubicBezTo>
                  <a:pt x="5446773" y="3456153"/>
                  <a:pt x="5435351" y="3482753"/>
                  <a:pt x="5410604" y="3492253"/>
                </a:cubicBezTo>
                <a:cubicBezTo>
                  <a:pt x="5410604" y="3492253"/>
                  <a:pt x="5410604" y="3492253"/>
                  <a:pt x="5069848" y="3629053"/>
                </a:cubicBezTo>
                <a:cubicBezTo>
                  <a:pt x="5047008" y="3638553"/>
                  <a:pt x="5020360" y="3627153"/>
                  <a:pt x="5010843" y="3602453"/>
                </a:cubicBezTo>
                <a:cubicBezTo>
                  <a:pt x="5008939" y="3596753"/>
                  <a:pt x="5007036" y="3591053"/>
                  <a:pt x="5007036" y="3585353"/>
                </a:cubicBezTo>
                <a:cubicBezTo>
                  <a:pt x="5007036" y="3568253"/>
                  <a:pt x="5018457" y="3551153"/>
                  <a:pt x="5037490" y="3543553"/>
                </a:cubicBezTo>
                <a:cubicBezTo>
                  <a:pt x="5037490" y="3543553"/>
                  <a:pt x="5037490" y="3543553"/>
                  <a:pt x="5376339" y="3406755"/>
                </a:cubicBezTo>
                <a:cubicBezTo>
                  <a:pt x="5382526" y="3404382"/>
                  <a:pt x="5388832" y="3403312"/>
                  <a:pt x="5394960" y="3403430"/>
                </a:cubicBezTo>
                <a:close/>
                <a:moveTo>
                  <a:pt x="928445" y="3403428"/>
                </a:moveTo>
                <a:cubicBezTo>
                  <a:pt x="946037" y="3403784"/>
                  <a:pt x="962825" y="3414829"/>
                  <a:pt x="969969" y="3433353"/>
                </a:cubicBezTo>
                <a:cubicBezTo>
                  <a:pt x="979494" y="3456153"/>
                  <a:pt x="968064" y="3482753"/>
                  <a:pt x="945204" y="3492253"/>
                </a:cubicBezTo>
                <a:cubicBezTo>
                  <a:pt x="945204" y="3492253"/>
                  <a:pt x="945204" y="3492253"/>
                  <a:pt x="604205" y="3629053"/>
                </a:cubicBezTo>
                <a:cubicBezTo>
                  <a:pt x="579439" y="3638553"/>
                  <a:pt x="552769" y="3627153"/>
                  <a:pt x="543244" y="3602453"/>
                </a:cubicBezTo>
                <a:cubicBezTo>
                  <a:pt x="541339" y="3596753"/>
                  <a:pt x="541339" y="3591053"/>
                  <a:pt x="541339" y="3585353"/>
                </a:cubicBezTo>
                <a:cubicBezTo>
                  <a:pt x="541339" y="3568253"/>
                  <a:pt x="550864" y="3551153"/>
                  <a:pt x="569914" y="3543553"/>
                </a:cubicBezTo>
                <a:cubicBezTo>
                  <a:pt x="569914" y="3543553"/>
                  <a:pt x="569914" y="3543553"/>
                  <a:pt x="910913" y="3406753"/>
                </a:cubicBezTo>
                <a:cubicBezTo>
                  <a:pt x="916628" y="3404380"/>
                  <a:pt x="922582" y="3403309"/>
                  <a:pt x="928445" y="3403428"/>
                </a:cubicBezTo>
                <a:close/>
                <a:moveTo>
                  <a:pt x="4843466" y="3396591"/>
                </a:moveTo>
                <a:cubicBezTo>
                  <a:pt x="4863128" y="3398289"/>
                  <a:pt x="4880648" y="3410433"/>
                  <a:pt x="4886367" y="3429004"/>
                </a:cubicBezTo>
                <a:cubicBezTo>
                  <a:pt x="4895901" y="3455673"/>
                  <a:pt x="4882555" y="3484248"/>
                  <a:pt x="4855862" y="3491868"/>
                </a:cubicBezTo>
                <a:cubicBezTo>
                  <a:pt x="4855862" y="3491868"/>
                  <a:pt x="4855862" y="3491868"/>
                  <a:pt x="4514622" y="3609978"/>
                </a:cubicBezTo>
                <a:cubicBezTo>
                  <a:pt x="4487935" y="3619503"/>
                  <a:pt x="4461245" y="3606168"/>
                  <a:pt x="4451713" y="3579498"/>
                </a:cubicBezTo>
                <a:cubicBezTo>
                  <a:pt x="4449806" y="3575688"/>
                  <a:pt x="4449806" y="3569973"/>
                  <a:pt x="4449806" y="3564258"/>
                </a:cubicBezTo>
                <a:cubicBezTo>
                  <a:pt x="4449806" y="3543303"/>
                  <a:pt x="4461245" y="3524253"/>
                  <a:pt x="4482215" y="3518538"/>
                </a:cubicBezTo>
                <a:cubicBezTo>
                  <a:pt x="4482215" y="3518538"/>
                  <a:pt x="4482215" y="3518538"/>
                  <a:pt x="4823447" y="3398526"/>
                </a:cubicBezTo>
                <a:cubicBezTo>
                  <a:pt x="4830119" y="3396621"/>
                  <a:pt x="4836913" y="3396026"/>
                  <a:pt x="4843466" y="3396591"/>
                </a:cubicBezTo>
                <a:close/>
                <a:moveTo>
                  <a:pt x="1478769" y="3396589"/>
                </a:moveTo>
                <a:cubicBezTo>
                  <a:pt x="1497714" y="3398285"/>
                  <a:pt x="1515586" y="3410431"/>
                  <a:pt x="1522735" y="3429004"/>
                </a:cubicBezTo>
                <a:cubicBezTo>
                  <a:pt x="1530360" y="3455673"/>
                  <a:pt x="1517016" y="3484248"/>
                  <a:pt x="1492233" y="3491868"/>
                </a:cubicBezTo>
                <a:cubicBezTo>
                  <a:pt x="1492233" y="3491868"/>
                  <a:pt x="1492233" y="3491868"/>
                  <a:pt x="1149084" y="3609978"/>
                </a:cubicBezTo>
                <a:cubicBezTo>
                  <a:pt x="1124301" y="3619503"/>
                  <a:pt x="1095705" y="3606168"/>
                  <a:pt x="1088080" y="3579498"/>
                </a:cubicBezTo>
                <a:cubicBezTo>
                  <a:pt x="1086173" y="3575688"/>
                  <a:pt x="1084267" y="3569973"/>
                  <a:pt x="1084267" y="3564258"/>
                </a:cubicBezTo>
                <a:cubicBezTo>
                  <a:pt x="1084267" y="3543303"/>
                  <a:pt x="1097612" y="3524253"/>
                  <a:pt x="1116676" y="3518538"/>
                </a:cubicBezTo>
                <a:cubicBezTo>
                  <a:pt x="1116676" y="3518538"/>
                  <a:pt x="1116676" y="3518538"/>
                  <a:pt x="1459824" y="3398524"/>
                </a:cubicBezTo>
                <a:cubicBezTo>
                  <a:pt x="1466020" y="3396619"/>
                  <a:pt x="1472454" y="3396023"/>
                  <a:pt x="1478769" y="3396589"/>
                </a:cubicBezTo>
                <a:close/>
                <a:moveTo>
                  <a:pt x="4288621" y="3390094"/>
                </a:moveTo>
                <a:cubicBezTo>
                  <a:pt x="4309086" y="3392150"/>
                  <a:pt x="4326601" y="3406815"/>
                  <a:pt x="4332319" y="3426845"/>
                </a:cubicBezTo>
                <a:cubicBezTo>
                  <a:pt x="4341852" y="3455461"/>
                  <a:pt x="4324694" y="3484078"/>
                  <a:pt x="4298005" y="3491709"/>
                </a:cubicBezTo>
                <a:cubicBezTo>
                  <a:pt x="4298005" y="3491709"/>
                  <a:pt x="4298005" y="3491709"/>
                  <a:pt x="3954880" y="3592822"/>
                </a:cubicBezTo>
                <a:cubicBezTo>
                  <a:pt x="3926286" y="3600453"/>
                  <a:pt x="3897688" y="3585191"/>
                  <a:pt x="3888156" y="3556574"/>
                </a:cubicBezTo>
                <a:cubicBezTo>
                  <a:pt x="3888156" y="3552758"/>
                  <a:pt x="3886249" y="3547035"/>
                  <a:pt x="3886249" y="3541311"/>
                </a:cubicBezTo>
                <a:cubicBezTo>
                  <a:pt x="3886249" y="3518418"/>
                  <a:pt x="3901500" y="3497432"/>
                  <a:pt x="3924379" y="3491709"/>
                </a:cubicBezTo>
                <a:cubicBezTo>
                  <a:pt x="3924379" y="3491709"/>
                  <a:pt x="3924379" y="3491709"/>
                  <a:pt x="4267501" y="3392508"/>
                </a:cubicBezTo>
                <a:cubicBezTo>
                  <a:pt x="4274652" y="3390124"/>
                  <a:pt x="4281800" y="3389407"/>
                  <a:pt x="4288621" y="3390094"/>
                </a:cubicBezTo>
                <a:close/>
                <a:moveTo>
                  <a:pt x="2035411" y="3390091"/>
                </a:moveTo>
                <a:cubicBezTo>
                  <a:pt x="2055627" y="3392148"/>
                  <a:pt x="2074226" y="3406813"/>
                  <a:pt x="2079949" y="3426845"/>
                </a:cubicBezTo>
                <a:cubicBezTo>
                  <a:pt x="2087580" y="3455461"/>
                  <a:pt x="2072318" y="3484078"/>
                  <a:pt x="2043698" y="3491709"/>
                </a:cubicBezTo>
                <a:cubicBezTo>
                  <a:pt x="2043698" y="3491709"/>
                  <a:pt x="2043698" y="3491709"/>
                  <a:pt x="1700314" y="3592822"/>
                </a:cubicBezTo>
                <a:cubicBezTo>
                  <a:pt x="1671698" y="3600453"/>
                  <a:pt x="1643083" y="3585191"/>
                  <a:pt x="1635452" y="3556574"/>
                </a:cubicBezTo>
                <a:cubicBezTo>
                  <a:pt x="1633545" y="3552758"/>
                  <a:pt x="1633545" y="3547035"/>
                  <a:pt x="1633545" y="3541311"/>
                </a:cubicBezTo>
                <a:cubicBezTo>
                  <a:pt x="1633545" y="3518418"/>
                  <a:pt x="1648806" y="3497432"/>
                  <a:pt x="1671698" y="3491709"/>
                </a:cubicBezTo>
                <a:cubicBezTo>
                  <a:pt x="1671698" y="3491709"/>
                  <a:pt x="1671698" y="3491709"/>
                  <a:pt x="2015083" y="3392506"/>
                </a:cubicBezTo>
                <a:cubicBezTo>
                  <a:pt x="2021760" y="3390122"/>
                  <a:pt x="2028675" y="3389405"/>
                  <a:pt x="2035411" y="3390091"/>
                </a:cubicBezTo>
                <a:close/>
                <a:moveTo>
                  <a:pt x="3729542" y="3384855"/>
                </a:moveTo>
                <a:cubicBezTo>
                  <a:pt x="3751288" y="3388416"/>
                  <a:pt x="3769541" y="3404794"/>
                  <a:pt x="3773838" y="3427580"/>
                </a:cubicBezTo>
                <a:cubicBezTo>
                  <a:pt x="3781473" y="3456065"/>
                  <a:pt x="3762384" y="3486450"/>
                  <a:pt x="3733746" y="3494046"/>
                </a:cubicBezTo>
                <a:cubicBezTo>
                  <a:pt x="3733746" y="3494046"/>
                  <a:pt x="3733746" y="3494046"/>
                  <a:pt x="3388241" y="3575706"/>
                </a:cubicBezTo>
                <a:cubicBezTo>
                  <a:pt x="3357694" y="3581403"/>
                  <a:pt x="3327152" y="3564311"/>
                  <a:pt x="3321424" y="3533926"/>
                </a:cubicBezTo>
                <a:cubicBezTo>
                  <a:pt x="3319514" y="3528229"/>
                  <a:pt x="3319514" y="3524431"/>
                  <a:pt x="3319514" y="3520633"/>
                </a:cubicBezTo>
                <a:cubicBezTo>
                  <a:pt x="3319514" y="3495945"/>
                  <a:pt x="3336696" y="3473156"/>
                  <a:pt x="3361513" y="3465560"/>
                </a:cubicBezTo>
                <a:cubicBezTo>
                  <a:pt x="3361513" y="3465560"/>
                  <a:pt x="3361513" y="3465560"/>
                  <a:pt x="3707020" y="3385804"/>
                </a:cubicBezTo>
                <a:cubicBezTo>
                  <a:pt x="3714657" y="3383908"/>
                  <a:pt x="3722292" y="3383666"/>
                  <a:pt x="3729542" y="3384855"/>
                </a:cubicBezTo>
                <a:close/>
                <a:moveTo>
                  <a:pt x="2596041" y="3384850"/>
                </a:moveTo>
                <a:cubicBezTo>
                  <a:pt x="2617785" y="3388411"/>
                  <a:pt x="2636040" y="3404792"/>
                  <a:pt x="2640335" y="3427579"/>
                </a:cubicBezTo>
                <a:cubicBezTo>
                  <a:pt x="2647970" y="3456065"/>
                  <a:pt x="2628881" y="3486450"/>
                  <a:pt x="2598337" y="3494046"/>
                </a:cubicBezTo>
                <a:cubicBezTo>
                  <a:pt x="2598337" y="3494046"/>
                  <a:pt x="2598337" y="3494046"/>
                  <a:pt x="2254725" y="3575706"/>
                </a:cubicBezTo>
                <a:cubicBezTo>
                  <a:pt x="2224180" y="3581403"/>
                  <a:pt x="2193638" y="3564311"/>
                  <a:pt x="2187911" y="3533926"/>
                </a:cubicBezTo>
                <a:cubicBezTo>
                  <a:pt x="2186002" y="3528229"/>
                  <a:pt x="2186002" y="3524431"/>
                  <a:pt x="2186002" y="3520633"/>
                </a:cubicBezTo>
                <a:cubicBezTo>
                  <a:pt x="2186002" y="3495945"/>
                  <a:pt x="2203183" y="3473156"/>
                  <a:pt x="2227999" y="3465560"/>
                </a:cubicBezTo>
                <a:cubicBezTo>
                  <a:pt x="2227999" y="3465560"/>
                  <a:pt x="2227999" y="3465560"/>
                  <a:pt x="2573521" y="3385799"/>
                </a:cubicBezTo>
                <a:cubicBezTo>
                  <a:pt x="2581157" y="3383901"/>
                  <a:pt x="2588792" y="3383664"/>
                  <a:pt x="2596041" y="3384850"/>
                </a:cubicBezTo>
                <a:close/>
                <a:moveTo>
                  <a:pt x="3137315" y="3377575"/>
                </a:moveTo>
                <a:cubicBezTo>
                  <a:pt x="3169679" y="3371862"/>
                  <a:pt x="3200138" y="3392811"/>
                  <a:pt x="3205849" y="3425194"/>
                </a:cubicBezTo>
                <a:cubicBezTo>
                  <a:pt x="3211557" y="3457578"/>
                  <a:pt x="3190620" y="3488058"/>
                  <a:pt x="3158257" y="3493773"/>
                </a:cubicBezTo>
                <a:cubicBezTo>
                  <a:pt x="3158257" y="3493773"/>
                  <a:pt x="3158257" y="3493773"/>
                  <a:pt x="2813679" y="3556638"/>
                </a:cubicBezTo>
                <a:cubicBezTo>
                  <a:pt x="2781315" y="3562353"/>
                  <a:pt x="2750856" y="3541398"/>
                  <a:pt x="2745145" y="3509013"/>
                </a:cubicBezTo>
                <a:cubicBezTo>
                  <a:pt x="2743240" y="3505203"/>
                  <a:pt x="2743240" y="3501393"/>
                  <a:pt x="2743240" y="3497583"/>
                </a:cubicBezTo>
                <a:cubicBezTo>
                  <a:pt x="2743240" y="3470913"/>
                  <a:pt x="2764180" y="3446148"/>
                  <a:pt x="2792738" y="3440433"/>
                </a:cubicBezTo>
                <a:cubicBezTo>
                  <a:pt x="2792738" y="3440433"/>
                  <a:pt x="2792738" y="3440433"/>
                  <a:pt x="3137315" y="3377575"/>
                </a:cubicBezTo>
                <a:close/>
                <a:moveTo>
                  <a:pt x="9858814" y="3131368"/>
                </a:moveTo>
                <a:cubicBezTo>
                  <a:pt x="9863097" y="3131843"/>
                  <a:pt x="9867379" y="3133750"/>
                  <a:pt x="9870234" y="3136605"/>
                </a:cubicBezTo>
                <a:cubicBezTo>
                  <a:pt x="9875944" y="3144217"/>
                  <a:pt x="9875944" y="3153731"/>
                  <a:pt x="9868331" y="3159443"/>
                </a:cubicBezTo>
                <a:cubicBezTo>
                  <a:pt x="9868331" y="3159443"/>
                  <a:pt x="9868331" y="3159443"/>
                  <a:pt x="9539049" y="3458218"/>
                </a:cubicBezTo>
                <a:cubicBezTo>
                  <a:pt x="9531436" y="3463928"/>
                  <a:pt x="9521919" y="3463928"/>
                  <a:pt x="9516209" y="3456315"/>
                </a:cubicBezTo>
                <a:cubicBezTo>
                  <a:pt x="9512402" y="3452509"/>
                  <a:pt x="9512402" y="3448702"/>
                  <a:pt x="9512402" y="3444896"/>
                </a:cubicBezTo>
                <a:cubicBezTo>
                  <a:pt x="9512402" y="3441089"/>
                  <a:pt x="9514305" y="3437283"/>
                  <a:pt x="9516209" y="3433477"/>
                </a:cubicBezTo>
                <a:cubicBezTo>
                  <a:pt x="9516209" y="3433477"/>
                  <a:pt x="9516209" y="3433477"/>
                  <a:pt x="9847394" y="3134702"/>
                </a:cubicBezTo>
                <a:cubicBezTo>
                  <a:pt x="9850249" y="3131843"/>
                  <a:pt x="9854532" y="3130893"/>
                  <a:pt x="9858814" y="3131368"/>
                </a:cubicBezTo>
                <a:close/>
                <a:moveTo>
                  <a:pt x="9282539" y="3124787"/>
                </a:moveTo>
                <a:cubicBezTo>
                  <a:pt x="9287557" y="3125026"/>
                  <a:pt x="9292335" y="3127409"/>
                  <a:pt x="9295203" y="3132178"/>
                </a:cubicBezTo>
                <a:cubicBezTo>
                  <a:pt x="9302849" y="3139803"/>
                  <a:pt x="9302849" y="3153152"/>
                  <a:pt x="9293291" y="3160778"/>
                </a:cubicBezTo>
                <a:cubicBezTo>
                  <a:pt x="9293291" y="3160778"/>
                  <a:pt x="9293291" y="3160778"/>
                  <a:pt x="8960690" y="3437250"/>
                </a:cubicBezTo>
                <a:cubicBezTo>
                  <a:pt x="8953044" y="3444878"/>
                  <a:pt x="8939663" y="3444878"/>
                  <a:pt x="8932017" y="3435343"/>
                </a:cubicBezTo>
                <a:cubicBezTo>
                  <a:pt x="8930106" y="3431530"/>
                  <a:pt x="8928194" y="3427717"/>
                  <a:pt x="8928194" y="3421997"/>
                </a:cubicBezTo>
                <a:cubicBezTo>
                  <a:pt x="8928194" y="3416276"/>
                  <a:pt x="8930106" y="3410556"/>
                  <a:pt x="8935840" y="3406743"/>
                </a:cubicBezTo>
                <a:cubicBezTo>
                  <a:pt x="8935840" y="3406743"/>
                  <a:pt x="8935840" y="3406743"/>
                  <a:pt x="9268442" y="3130267"/>
                </a:cubicBezTo>
                <a:cubicBezTo>
                  <a:pt x="9272265" y="3126457"/>
                  <a:pt x="9277521" y="3124549"/>
                  <a:pt x="9282539" y="3124787"/>
                </a:cubicBezTo>
                <a:close/>
                <a:moveTo>
                  <a:pt x="10443256" y="3124763"/>
                </a:moveTo>
                <a:cubicBezTo>
                  <a:pt x="10448513" y="3125001"/>
                  <a:pt x="10453770" y="3127385"/>
                  <a:pt x="10457593" y="3132152"/>
                </a:cubicBezTo>
                <a:cubicBezTo>
                  <a:pt x="10463327" y="3139780"/>
                  <a:pt x="10463327" y="3153129"/>
                  <a:pt x="10453769" y="3160755"/>
                </a:cubicBezTo>
                <a:cubicBezTo>
                  <a:pt x="10453769" y="3160755"/>
                  <a:pt x="10453769" y="3160755"/>
                  <a:pt x="10121168" y="3437250"/>
                </a:cubicBezTo>
                <a:cubicBezTo>
                  <a:pt x="10113522" y="3444878"/>
                  <a:pt x="10100141" y="3444878"/>
                  <a:pt x="10094407" y="3435343"/>
                </a:cubicBezTo>
                <a:cubicBezTo>
                  <a:pt x="10090584" y="3431530"/>
                  <a:pt x="10088672" y="3427716"/>
                  <a:pt x="10088672" y="3421995"/>
                </a:cubicBezTo>
                <a:cubicBezTo>
                  <a:pt x="10088672" y="3416275"/>
                  <a:pt x="10090584" y="3410554"/>
                  <a:pt x="10096318" y="3406741"/>
                </a:cubicBezTo>
                <a:cubicBezTo>
                  <a:pt x="10096318" y="3406741"/>
                  <a:pt x="10096318" y="3406741"/>
                  <a:pt x="10428920" y="3130246"/>
                </a:cubicBezTo>
                <a:cubicBezTo>
                  <a:pt x="10432743" y="3126432"/>
                  <a:pt x="10438000" y="3124526"/>
                  <a:pt x="10443256" y="3124763"/>
                </a:cubicBezTo>
                <a:close/>
                <a:moveTo>
                  <a:pt x="8711378" y="3118284"/>
                </a:moveTo>
                <a:cubicBezTo>
                  <a:pt x="8717559" y="3118999"/>
                  <a:pt x="8723740" y="3122341"/>
                  <a:pt x="8728495" y="3128067"/>
                </a:cubicBezTo>
                <a:cubicBezTo>
                  <a:pt x="8736103" y="3137612"/>
                  <a:pt x="8734201" y="3152882"/>
                  <a:pt x="8722790" y="3160517"/>
                </a:cubicBezTo>
                <a:cubicBezTo>
                  <a:pt x="8722790" y="3160517"/>
                  <a:pt x="8722790" y="3160517"/>
                  <a:pt x="8391863" y="3418193"/>
                </a:cubicBezTo>
                <a:cubicBezTo>
                  <a:pt x="8380451" y="3425828"/>
                  <a:pt x="8365236" y="3423921"/>
                  <a:pt x="8357629" y="3414376"/>
                </a:cubicBezTo>
                <a:cubicBezTo>
                  <a:pt x="8353825" y="3410558"/>
                  <a:pt x="8351923" y="3404833"/>
                  <a:pt x="8351923" y="3399106"/>
                </a:cubicBezTo>
                <a:cubicBezTo>
                  <a:pt x="8351923" y="3393381"/>
                  <a:pt x="8355727" y="3385745"/>
                  <a:pt x="8361432" y="3380018"/>
                </a:cubicBezTo>
                <a:cubicBezTo>
                  <a:pt x="8361432" y="3380018"/>
                  <a:pt x="8361432" y="3380018"/>
                  <a:pt x="8694262" y="3124249"/>
                </a:cubicBezTo>
                <a:cubicBezTo>
                  <a:pt x="8699016" y="3119478"/>
                  <a:pt x="8705197" y="3117568"/>
                  <a:pt x="8711378" y="3118284"/>
                </a:cubicBezTo>
                <a:close/>
                <a:moveTo>
                  <a:pt x="11020985" y="3118259"/>
                </a:moveTo>
                <a:cubicBezTo>
                  <a:pt x="11026928" y="3118974"/>
                  <a:pt x="11032634" y="3122314"/>
                  <a:pt x="11036438" y="3128041"/>
                </a:cubicBezTo>
                <a:cubicBezTo>
                  <a:pt x="11045947" y="3137586"/>
                  <a:pt x="11044045" y="3152857"/>
                  <a:pt x="11032634" y="3160492"/>
                </a:cubicBezTo>
                <a:cubicBezTo>
                  <a:pt x="11032634" y="3160492"/>
                  <a:pt x="11032634" y="3160492"/>
                  <a:pt x="10699805" y="3418193"/>
                </a:cubicBezTo>
                <a:cubicBezTo>
                  <a:pt x="10690295" y="3425828"/>
                  <a:pt x="10675080" y="3423919"/>
                  <a:pt x="10667473" y="3414376"/>
                </a:cubicBezTo>
                <a:cubicBezTo>
                  <a:pt x="10663669" y="3410558"/>
                  <a:pt x="10661767" y="3404831"/>
                  <a:pt x="10661767" y="3399103"/>
                </a:cubicBezTo>
                <a:cubicBezTo>
                  <a:pt x="10661767" y="3393378"/>
                  <a:pt x="10665571" y="3385741"/>
                  <a:pt x="10671276" y="3380016"/>
                </a:cubicBezTo>
                <a:cubicBezTo>
                  <a:pt x="10671276" y="3380016"/>
                  <a:pt x="10671276" y="3380016"/>
                  <a:pt x="11004106" y="3124224"/>
                </a:cubicBezTo>
                <a:cubicBezTo>
                  <a:pt x="11008861" y="3119452"/>
                  <a:pt x="11015042" y="3117542"/>
                  <a:pt x="11020985" y="3118259"/>
                </a:cubicBezTo>
                <a:close/>
                <a:moveTo>
                  <a:pt x="8147892" y="3113506"/>
                </a:moveTo>
                <a:cubicBezTo>
                  <a:pt x="8154786" y="3114695"/>
                  <a:pt x="8161443" y="3118496"/>
                  <a:pt x="8166198" y="3125150"/>
                </a:cubicBezTo>
                <a:cubicBezTo>
                  <a:pt x="8175708" y="3136556"/>
                  <a:pt x="8171904" y="3153664"/>
                  <a:pt x="8160492" y="3163167"/>
                </a:cubicBezTo>
                <a:cubicBezTo>
                  <a:pt x="8160492" y="3163167"/>
                  <a:pt x="8160492" y="3163167"/>
                  <a:pt x="7825748" y="3398864"/>
                </a:cubicBezTo>
                <a:cubicBezTo>
                  <a:pt x="7814336" y="3408367"/>
                  <a:pt x="7797218" y="3404566"/>
                  <a:pt x="7787709" y="3393162"/>
                </a:cubicBezTo>
                <a:cubicBezTo>
                  <a:pt x="7783905" y="3387458"/>
                  <a:pt x="7782003" y="3381761"/>
                  <a:pt x="7782003" y="3376054"/>
                </a:cubicBezTo>
                <a:cubicBezTo>
                  <a:pt x="7782003" y="3368454"/>
                  <a:pt x="7787709" y="3358953"/>
                  <a:pt x="7795316" y="3353251"/>
                </a:cubicBezTo>
                <a:cubicBezTo>
                  <a:pt x="7795316" y="3353251"/>
                  <a:pt x="7795316" y="3353251"/>
                  <a:pt x="8128159" y="3117545"/>
                </a:cubicBezTo>
                <a:cubicBezTo>
                  <a:pt x="8133865" y="3113743"/>
                  <a:pt x="8140997" y="3112319"/>
                  <a:pt x="8147892" y="3113506"/>
                </a:cubicBezTo>
                <a:close/>
                <a:moveTo>
                  <a:pt x="11592870" y="3113497"/>
                </a:moveTo>
                <a:cubicBezTo>
                  <a:pt x="11600008" y="3114686"/>
                  <a:pt x="11606670" y="3118487"/>
                  <a:pt x="11611429" y="3125143"/>
                </a:cubicBezTo>
                <a:cubicBezTo>
                  <a:pt x="11619043" y="3136547"/>
                  <a:pt x="11617139" y="3153655"/>
                  <a:pt x="11603815" y="3163160"/>
                </a:cubicBezTo>
                <a:cubicBezTo>
                  <a:pt x="11603815" y="3163160"/>
                  <a:pt x="11603815" y="3163160"/>
                  <a:pt x="11270705" y="3398861"/>
                </a:cubicBezTo>
                <a:cubicBezTo>
                  <a:pt x="11257381" y="3408367"/>
                  <a:pt x="11240249" y="3404564"/>
                  <a:pt x="11232635" y="3393157"/>
                </a:cubicBezTo>
                <a:cubicBezTo>
                  <a:pt x="11228828" y="3387458"/>
                  <a:pt x="11226925" y="3381753"/>
                  <a:pt x="11226925" y="3376052"/>
                </a:cubicBezTo>
                <a:cubicBezTo>
                  <a:pt x="11226925" y="3368451"/>
                  <a:pt x="11230732" y="3358948"/>
                  <a:pt x="11238346" y="3353249"/>
                </a:cubicBezTo>
                <a:cubicBezTo>
                  <a:pt x="11238346" y="3353249"/>
                  <a:pt x="11238346" y="3353249"/>
                  <a:pt x="11571456" y="3117537"/>
                </a:cubicBezTo>
                <a:cubicBezTo>
                  <a:pt x="11578118" y="3113734"/>
                  <a:pt x="11585732" y="3112310"/>
                  <a:pt x="11592870" y="3113497"/>
                </a:cubicBezTo>
                <a:close/>
                <a:moveTo>
                  <a:pt x="12139750" y="3109931"/>
                </a:moveTo>
                <a:cubicBezTo>
                  <a:pt x="12139750" y="3109931"/>
                  <a:pt x="12139750" y="3109931"/>
                  <a:pt x="12139750" y="3184058"/>
                </a:cubicBezTo>
                <a:cubicBezTo>
                  <a:pt x="12139750" y="3184058"/>
                  <a:pt x="12139750" y="3184058"/>
                  <a:pt x="11835219" y="3379813"/>
                </a:cubicBezTo>
                <a:cubicBezTo>
                  <a:pt x="11819993" y="3389317"/>
                  <a:pt x="11800960" y="3385515"/>
                  <a:pt x="11791443" y="3370310"/>
                </a:cubicBezTo>
                <a:cubicBezTo>
                  <a:pt x="11787636" y="3364613"/>
                  <a:pt x="11785733" y="3358911"/>
                  <a:pt x="11785733" y="3353211"/>
                </a:cubicBezTo>
                <a:cubicBezTo>
                  <a:pt x="11785733" y="3343708"/>
                  <a:pt x="11791443" y="3334207"/>
                  <a:pt x="11800960" y="3326605"/>
                </a:cubicBezTo>
                <a:lnTo>
                  <a:pt x="12135943" y="3111832"/>
                </a:lnTo>
                <a:cubicBezTo>
                  <a:pt x="12137847" y="3111832"/>
                  <a:pt x="12137847" y="3109931"/>
                  <a:pt x="12139750" y="3109931"/>
                </a:cubicBezTo>
                <a:close/>
                <a:moveTo>
                  <a:pt x="7592396" y="3107000"/>
                </a:moveTo>
                <a:cubicBezTo>
                  <a:pt x="7600248" y="3108665"/>
                  <a:pt x="7607387" y="3113422"/>
                  <a:pt x="7612145" y="3121034"/>
                </a:cubicBezTo>
                <a:cubicBezTo>
                  <a:pt x="7621663" y="3136258"/>
                  <a:pt x="7617856" y="3155285"/>
                  <a:pt x="7602628" y="3164800"/>
                </a:cubicBezTo>
                <a:cubicBezTo>
                  <a:pt x="7602628" y="3164800"/>
                  <a:pt x="7602628" y="3164800"/>
                  <a:pt x="7267608" y="3379811"/>
                </a:cubicBezTo>
                <a:cubicBezTo>
                  <a:pt x="7252380" y="3389319"/>
                  <a:pt x="7233344" y="3385513"/>
                  <a:pt x="7223827" y="3370294"/>
                </a:cubicBezTo>
                <a:cubicBezTo>
                  <a:pt x="7221923" y="3364590"/>
                  <a:pt x="7220020" y="3358885"/>
                  <a:pt x="7220020" y="3353176"/>
                </a:cubicBezTo>
                <a:cubicBezTo>
                  <a:pt x="7220020" y="3343664"/>
                  <a:pt x="7223827" y="3334150"/>
                  <a:pt x="7233344" y="3326538"/>
                </a:cubicBezTo>
                <a:cubicBezTo>
                  <a:pt x="7233344" y="3326538"/>
                  <a:pt x="7233344" y="3326538"/>
                  <a:pt x="7568364" y="3111519"/>
                </a:cubicBezTo>
                <a:cubicBezTo>
                  <a:pt x="7575978" y="3106762"/>
                  <a:pt x="7584544" y="3105336"/>
                  <a:pt x="7592396" y="3107000"/>
                </a:cubicBezTo>
                <a:close/>
                <a:moveTo>
                  <a:pt x="7041870" y="3101853"/>
                </a:moveTo>
                <a:cubicBezTo>
                  <a:pt x="7050667" y="3104238"/>
                  <a:pt x="7058751" y="3109959"/>
                  <a:pt x="7064457" y="3118540"/>
                </a:cubicBezTo>
                <a:cubicBezTo>
                  <a:pt x="7073968" y="3133799"/>
                  <a:pt x="7068261" y="3156686"/>
                  <a:pt x="7051143" y="3166221"/>
                </a:cubicBezTo>
                <a:cubicBezTo>
                  <a:pt x="7051143" y="3166221"/>
                  <a:pt x="7051143" y="3166221"/>
                  <a:pt x="6714471" y="3360742"/>
                </a:cubicBezTo>
                <a:cubicBezTo>
                  <a:pt x="6697352" y="3370275"/>
                  <a:pt x="6676429" y="3364552"/>
                  <a:pt x="6666918" y="3347395"/>
                </a:cubicBezTo>
                <a:cubicBezTo>
                  <a:pt x="6663114" y="3343582"/>
                  <a:pt x="6661212" y="3335952"/>
                  <a:pt x="6661212" y="3330234"/>
                </a:cubicBezTo>
                <a:cubicBezTo>
                  <a:pt x="6661212" y="3318789"/>
                  <a:pt x="6668820" y="3307347"/>
                  <a:pt x="6680233" y="3299719"/>
                </a:cubicBezTo>
                <a:cubicBezTo>
                  <a:pt x="6680233" y="3299719"/>
                  <a:pt x="6680233" y="3299719"/>
                  <a:pt x="7015003" y="3105192"/>
                </a:cubicBezTo>
                <a:cubicBezTo>
                  <a:pt x="7023562" y="3100423"/>
                  <a:pt x="7033073" y="3099471"/>
                  <a:pt x="7041870" y="3101853"/>
                </a:cubicBezTo>
                <a:close/>
                <a:moveTo>
                  <a:pt x="6499097" y="3095115"/>
                </a:moveTo>
                <a:cubicBezTo>
                  <a:pt x="6508370" y="3098221"/>
                  <a:pt x="6516454" y="3104903"/>
                  <a:pt x="6521210" y="3114451"/>
                </a:cubicBezTo>
                <a:cubicBezTo>
                  <a:pt x="6532623" y="3133548"/>
                  <a:pt x="6525014" y="3158370"/>
                  <a:pt x="6505992" y="3167917"/>
                </a:cubicBezTo>
                <a:cubicBezTo>
                  <a:pt x="6505992" y="3167917"/>
                  <a:pt x="6505992" y="3167917"/>
                  <a:pt x="6167407" y="3341686"/>
                </a:cubicBezTo>
                <a:cubicBezTo>
                  <a:pt x="6148385" y="3351232"/>
                  <a:pt x="6125559" y="3345501"/>
                  <a:pt x="6116048" y="3326407"/>
                </a:cubicBezTo>
                <a:cubicBezTo>
                  <a:pt x="6112244" y="3320680"/>
                  <a:pt x="6110342" y="3313042"/>
                  <a:pt x="6110342" y="3307313"/>
                </a:cubicBezTo>
                <a:cubicBezTo>
                  <a:pt x="6110342" y="3293947"/>
                  <a:pt x="6117950" y="3280583"/>
                  <a:pt x="6131266" y="3272944"/>
                </a:cubicBezTo>
                <a:cubicBezTo>
                  <a:pt x="6131266" y="3272944"/>
                  <a:pt x="6131266" y="3272944"/>
                  <a:pt x="6469851" y="3097266"/>
                </a:cubicBezTo>
                <a:cubicBezTo>
                  <a:pt x="6479362" y="3092490"/>
                  <a:pt x="6489824" y="3092013"/>
                  <a:pt x="6499097" y="3095115"/>
                </a:cubicBezTo>
                <a:close/>
                <a:moveTo>
                  <a:pt x="5958954" y="3091506"/>
                </a:moveTo>
                <a:cubicBezTo>
                  <a:pt x="5969462" y="3095305"/>
                  <a:pt x="5978538" y="3102907"/>
                  <a:pt x="5983314" y="3113357"/>
                </a:cubicBezTo>
                <a:cubicBezTo>
                  <a:pt x="5992867" y="3134260"/>
                  <a:pt x="5983314" y="3160862"/>
                  <a:pt x="5962297" y="3170362"/>
                </a:cubicBezTo>
                <a:cubicBezTo>
                  <a:pt x="5962297" y="3170362"/>
                  <a:pt x="5962297" y="3170362"/>
                  <a:pt x="5620300" y="3324270"/>
                </a:cubicBezTo>
                <a:cubicBezTo>
                  <a:pt x="5599284" y="3333770"/>
                  <a:pt x="5574446" y="3324270"/>
                  <a:pt x="5564892" y="3301471"/>
                </a:cubicBezTo>
                <a:cubicBezTo>
                  <a:pt x="5562982" y="3295771"/>
                  <a:pt x="5561071" y="3290071"/>
                  <a:pt x="5561071" y="3284371"/>
                </a:cubicBezTo>
                <a:cubicBezTo>
                  <a:pt x="5561071" y="3269170"/>
                  <a:pt x="5570624" y="3252068"/>
                  <a:pt x="5585909" y="3246366"/>
                </a:cubicBezTo>
                <a:cubicBezTo>
                  <a:pt x="5585909" y="3246366"/>
                  <a:pt x="5585909" y="3246366"/>
                  <a:pt x="5925997" y="3092457"/>
                </a:cubicBezTo>
                <a:cubicBezTo>
                  <a:pt x="5936505" y="3087707"/>
                  <a:pt x="5948446" y="3087707"/>
                  <a:pt x="5958954" y="3091506"/>
                </a:cubicBezTo>
                <a:close/>
                <a:moveTo>
                  <a:pt x="399603" y="3091494"/>
                </a:moveTo>
                <a:cubicBezTo>
                  <a:pt x="410073" y="3095293"/>
                  <a:pt x="419115" y="3102895"/>
                  <a:pt x="423874" y="3113346"/>
                </a:cubicBezTo>
                <a:cubicBezTo>
                  <a:pt x="433392" y="3134248"/>
                  <a:pt x="423874" y="3160850"/>
                  <a:pt x="401031" y="3170351"/>
                </a:cubicBezTo>
                <a:cubicBezTo>
                  <a:pt x="401031" y="3170351"/>
                  <a:pt x="401031" y="3170351"/>
                  <a:pt x="62187" y="3324262"/>
                </a:cubicBezTo>
                <a:cubicBezTo>
                  <a:pt x="41247" y="3333763"/>
                  <a:pt x="16500" y="3324262"/>
                  <a:pt x="6982" y="3301463"/>
                </a:cubicBezTo>
                <a:cubicBezTo>
                  <a:pt x="3175" y="3295761"/>
                  <a:pt x="3175" y="3290060"/>
                  <a:pt x="3175" y="3284360"/>
                </a:cubicBezTo>
                <a:cubicBezTo>
                  <a:pt x="3175" y="3269158"/>
                  <a:pt x="12693" y="3252058"/>
                  <a:pt x="27922" y="3246356"/>
                </a:cubicBezTo>
                <a:cubicBezTo>
                  <a:pt x="27922" y="3246356"/>
                  <a:pt x="27922" y="3246356"/>
                  <a:pt x="366766" y="3092445"/>
                </a:cubicBezTo>
                <a:cubicBezTo>
                  <a:pt x="377236" y="3087693"/>
                  <a:pt x="389133" y="3087693"/>
                  <a:pt x="399603" y="3091494"/>
                </a:cubicBezTo>
                <a:close/>
                <a:moveTo>
                  <a:pt x="5376339" y="3084226"/>
                </a:moveTo>
                <a:cubicBezTo>
                  <a:pt x="5401086" y="3076607"/>
                  <a:pt x="5427737" y="3088035"/>
                  <a:pt x="5437255" y="3110894"/>
                </a:cubicBezTo>
                <a:cubicBezTo>
                  <a:pt x="5446773" y="3135660"/>
                  <a:pt x="5435351" y="3162329"/>
                  <a:pt x="5410604" y="3171854"/>
                </a:cubicBezTo>
                <a:cubicBezTo>
                  <a:pt x="5410604" y="3171854"/>
                  <a:pt x="5410604" y="3171854"/>
                  <a:pt x="5069848" y="3305199"/>
                </a:cubicBezTo>
                <a:cubicBezTo>
                  <a:pt x="5047008" y="3314722"/>
                  <a:pt x="5020360" y="3301389"/>
                  <a:pt x="5010843" y="3278532"/>
                </a:cubicBezTo>
                <a:cubicBezTo>
                  <a:pt x="5008939" y="3272817"/>
                  <a:pt x="5007036" y="3267100"/>
                  <a:pt x="5007036" y="3261388"/>
                </a:cubicBezTo>
                <a:cubicBezTo>
                  <a:pt x="5007036" y="3242335"/>
                  <a:pt x="5018457" y="3225192"/>
                  <a:pt x="5037490" y="3217574"/>
                </a:cubicBezTo>
                <a:cubicBezTo>
                  <a:pt x="5037490" y="3217574"/>
                  <a:pt x="5037490" y="3217574"/>
                  <a:pt x="5376339" y="3084226"/>
                </a:cubicBezTo>
                <a:close/>
                <a:moveTo>
                  <a:pt x="910963" y="3084210"/>
                </a:moveTo>
                <a:cubicBezTo>
                  <a:pt x="933807" y="3076591"/>
                  <a:pt x="960458" y="3088021"/>
                  <a:pt x="969977" y="3110879"/>
                </a:cubicBezTo>
                <a:cubicBezTo>
                  <a:pt x="979495" y="3135646"/>
                  <a:pt x="968073" y="3162315"/>
                  <a:pt x="945229" y="3171840"/>
                </a:cubicBezTo>
                <a:cubicBezTo>
                  <a:pt x="945229" y="3171840"/>
                  <a:pt x="945229" y="3171840"/>
                  <a:pt x="604476" y="3305187"/>
                </a:cubicBezTo>
                <a:cubicBezTo>
                  <a:pt x="579728" y="3314712"/>
                  <a:pt x="553077" y="3301377"/>
                  <a:pt x="543559" y="3278518"/>
                </a:cubicBezTo>
                <a:cubicBezTo>
                  <a:pt x="541655" y="3272803"/>
                  <a:pt x="539752" y="3267088"/>
                  <a:pt x="539752" y="3261374"/>
                </a:cubicBezTo>
                <a:cubicBezTo>
                  <a:pt x="539752" y="3242322"/>
                  <a:pt x="551174" y="3225178"/>
                  <a:pt x="570210" y="3217559"/>
                </a:cubicBezTo>
                <a:cubicBezTo>
                  <a:pt x="570210" y="3217559"/>
                  <a:pt x="570210" y="3217559"/>
                  <a:pt x="910963" y="3084210"/>
                </a:cubicBezTo>
                <a:close/>
                <a:moveTo>
                  <a:pt x="4845141" y="3075495"/>
                </a:moveTo>
                <a:cubicBezTo>
                  <a:pt x="4864342" y="3077015"/>
                  <a:pt x="4881135" y="3090605"/>
                  <a:pt x="4888279" y="3110635"/>
                </a:cubicBezTo>
                <a:cubicBezTo>
                  <a:pt x="4895899" y="3137344"/>
                  <a:pt x="4882563" y="3165956"/>
                  <a:pt x="4855889" y="3173587"/>
                </a:cubicBezTo>
                <a:cubicBezTo>
                  <a:pt x="4855889" y="3173587"/>
                  <a:pt x="4855889" y="3173587"/>
                  <a:pt x="4514891" y="3286137"/>
                </a:cubicBezTo>
                <a:cubicBezTo>
                  <a:pt x="4488225" y="3295674"/>
                  <a:pt x="4459649" y="3280415"/>
                  <a:pt x="4450123" y="3253707"/>
                </a:cubicBezTo>
                <a:cubicBezTo>
                  <a:pt x="4448219" y="3249892"/>
                  <a:pt x="4448219" y="3244167"/>
                  <a:pt x="4448219" y="3238443"/>
                </a:cubicBezTo>
                <a:cubicBezTo>
                  <a:pt x="4448219" y="3217462"/>
                  <a:pt x="4461553" y="3198385"/>
                  <a:pt x="4482509" y="3190757"/>
                </a:cubicBezTo>
                <a:cubicBezTo>
                  <a:pt x="4482509" y="3190757"/>
                  <a:pt x="4482509" y="3190757"/>
                  <a:pt x="4825403" y="3078206"/>
                </a:cubicBezTo>
                <a:cubicBezTo>
                  <a:pt x="4832072" y="3075822"/>
                  <a:pt x="4838741" y="3074988"/>
                  <a:pt x="4845141" y="3075495"/>
                </a:cubicBezTo>
                <a:close/>
                <a:moveTo>
                  <a:pt x="1479596" y="3075477"/>
                </a:moveTo>
                <a:cubicBezTo>
                  <a:pt x="1499228" y="3076996"/>
                  <a:pt x="1516718" y="3090589"/>
                  <a:pt x="1522429" y="3110619"/>
                </a:cubicBezTo>
                <a:cubicBezTo>
                  <a:pt x="1531947" y="3137326"/>
                  <a:pt x="1516718" y="3165940"/>
                  <a:pt x="1491970" y="3173573"/>
                </a:cubicBezTo>
                <a:cubicBezTo>
                  <a:pt x="1491970" y="3173573"/>
                  <a:pt x="1491970" y="3173573"/>
                  <a:pt x="1149308" y="3286122"/>
                </a:cubicBezTo>
                <a:cubicBezTo>
                  <a:pt x="1122656" y="3295661"/>
                  <a:pt x="1094101" y="3280401"/>
                  <a:pt x="1086486" y="3253693"/>
                </a:cubicBezTo>
                <a:cubicBezTo>
                  <a:pt x="1084583" y="3249877"/>
                  <a:pt x="1082679" y="3244153"/>
                  <a:pt x="1082679" y="3238431"/>
                </a:cubicBezTo>
                <a:cubicBezTo>
                  <a:pt x="1082679" y="3217446"/>
                  <a:pt x="1097908" y="3198371"/>
                  <a:pt x="1118849" y="3190741"/>
                </a:cubicBezTo>
                <a:cubicBezTo>
                  <a:pt x="1118849" y="3190741"/>
                  <a:pt x="1118849" y="3190741"/>
                  <a:pt x="1459607" y="3078189"/>
                </a:cubicBezTo>
                <a:cubicBezTo>
                  <a:pt x="1466270" y="3075805"/>
                  <a:pt x="1473052" y="3074970"/>
                  <a:pt x="1479596" y="3075477"/>
                </a:cubicBezTo>
                <a:close/>
                <a:moveTo>
                  <a:pt x="4290284" y="3070235"/>
                </a:moveTo>
                <a:cubicBezTo>
                  <a:pt x="4310719" y="3073178"/>
                  <a:pt x="4328210" y="3088158"/>
                  <a:pt x="4333921" y="3109556"/>
                </a:cubicBezTo>
                <a:cubicBezTo>
                  <a:pt x="4343439" y="3139992"/>
                  <a:pt x="4326305" y="3168522"/>
                  <a:pt x="4295846" y="3176127"/>
                </a:cubicBezTo>
                <a:cubicBezTo>
                  <a:pt x="4295846" y="3176127"/>
                  <a:pt x="4295846" y="3176127"/>
                  <a:pt x="3953199" y="3267431"/>
                </a:cubicBezTo>
                <a:cubicBezTo>
                  <a:pt x="3924644" y="3275041"/>
                  <a:pt x="3894182" y="3257921"/>
                  <a:pt x="3886567" y="3229387"/>
                </a:cubicBezTo>
                <a:cubicBezTo>
                  <a:pt x="3886567" y="3225583"/>
                  <a:pt x="3884663" y="3219877"/>
                  <a:pt x="3884663" y="3216076"/>
                </a:cubicBezTo>
                <a:cubicBezTo>
                  <a:pt x="3884663" y="3191346"/>
                  <a:pt x="3901795" y="3170425"/>
                  <a:pt x="3924644" y="3164719"/>
                </a:cubicBezTo>
                <a:cubicBezTo>
                  <a:pt x="3924644" y="3164719"/>
                  <a:pt x="3924644" y="3164719"/>
                  <a:pt x="4269194" y="3071515"/>
                </a:cubicBezTo>
                <a:cubicBezTo>
                  <a:pt x="4276332" y="3069612"/>
                  <a:pt x="4283471" y="3069256"/>
                  <a:pt x="4290284" y="3070235"/>
                </a:cubicBezTo>
                <a:close/>
                <a:moveTo>
                  <a:pt x="2036269" y="3070217"/>
                </a:moveTo>
                <a:cubicBezTo>
                  <a:pt x="2057259" y="3073159"/>
                  <a:pt x="2075832" y="3088139"/>
                  <a:pt x="2081548" y="3109537"/>
                </a:cubicBezTo>
                <a:cubicBezTo>
                  <a:pt x="2089168" y="3139971"/>
                  <a:pt x="2072022" y="3168504"/>
                  <a:pt x="2043442" y="3176111"/>
                </a:cubicBezTo>
                <a:cubicBezTo>
                  <a:pt x="2043442" y="3176111"/>
                  <a:pt x="2043442" y="3176111"/>
                  <a:pt x="1700538" y="3267414"/>
                </a:cubicBezTo>
                <a:cubicBezTo>
                  <a:pt x="1670058" y="3275023"/>
                  <a:pt x="1641482" y="3257903"/>
                  <a:pt x="1633862" y="3229371"/>
                </a:cubicBezTo>
                <a:cubicBezTo>
                  <a:pt x="1631957" y="3225567"/>
                  <a:pt x="1631957" y="3219860"/>
                  <a:pt x="1631957" y="3216056"/>
                </a:cubicBezTo>
                <a:cubicBezTo>
                  <a:pt x="1631957" y="3191330"/>
                  <a:pt x="1647198" y="3170406"/>
                  <a:pt x="1671963" y="3164700"/>
                </a:cubicBezTo>
                <a:cubicBezTo>
                  <a:pt x="1671963" y="3164700"/>
                  <a:pt x="1671963" y="3164700"/>
                  <a:pt x="2014867" y="3071495"/>
                </a:cubicBezTo>
                <a:cubicBezTo>
                  <a:pt x="2022011" y="3069593"/>
                  <a:pt x="2029274" y="3069235"/>
                  <a:pt x="2036269" y="3070217"/>
                </a:cubicBezTo>
                <a:close/>
                <a:moveTo>
                  <a:pt x="3731231" y="3064531"/>
                </a:moveTo>
                <a:cubicBezTo>
                  <a:pt x="3753034" y="3068647"/>
                  <a:pt x="3771624" y="3086176"/>
                  <a:pt x="3777341" y="3109072"/>
                </a:cubicBezTo>
                <a:cubicBezTo>
                  <a:pt x="3783061" y="3141509"/>
                  <a:pt x="3762093" y="3172037"/>
                  <a:pt x="3731587" y="3177762"/>
                </a:cubicBezTo>
                <a:cubicBezTo>
                  <a:pt x="3731587" y="3177762"/>
                  <a:pt x="3731587" y="3177762"/>
                  <a:pt x="3386556" y="3250263"/>
                </a:cubicBezTo>
                <a:cubicBezTo>
                  <a:pt x="3356055" y="3255990"/>
                  <a:pt x="3325553" y="3234997"/>
                  <a:pt x="3317928" y="3204472"/>
                </a:cubicBezTo>
                <a:cubicBezTo>
                  <a:pt x="3317928" y="3200656"/>
                  <a:pt x="3317928" y="3196839"/>
                  <a:pt x="3317928" y="3193023"/>
                </a:cubicBezTo>
                <a:cubicBezTo>
                  <a:pt x="3317928" y="3166312"/>
                  <a:pt x="3335085" y="3141509"/>
                  <a:pt x="3363681" y="3135786"/>
                </a:cubicBezTo>
                <a:cubicBezTo>
                  <a:pt x="3363681" y="3135786"/>
                  <a:pt x="3363681" y="3135786"/>
                  <a:pt x="3708711" y="3065187"/>
                </a:cubicBezTo>
                <a:cubicBezTo>
                  <a:pt x="3716337" y="3063280"/>
                  <a:pt x="3723961" y="3063162"/>
                  <a:pt x="3731231" y="3064531"/>
                </a:cubicBezTo>
                <a:close/>
                <a:moveTo>
                  <a:pt x="2597729" y="3064510"/>
                </a:moveTo>
                <a:cubicBezTo>
                  <a:pt x="2619533" y="3068625"/>
                  <a:pt x="2638119" y="3086155"/>
                  <a:pt x="2643839" y="3109051"/>
                </a:cubicBezTo>
                <a:cubicBezTo>
                  <a:pt x="2649557" y="3141488"/>
                  <a:pt x="2628588" y="3172016"/>
                  <a:pt x="2598086" y="3177742"/>
                </a:cubicBezTo>
                <a:cubicBezTo>
                  <a:pt x="2598086" y="3177742"/>
                  <a:pt x="2598086" y="3177742"/>
                  <a:pt x="2253042" y="3250246"/>
                </a:cubicBezTo>
                <a:cubicBezTo>
                  <a:pt x="2222541" y="3255971"/>
                  <a:pt x="2192039" y="3234980"/>
                  <a:pt x="2184414" y="3204454"/>
                </a:cubicBezTo>
                <a:cubicBezTo>
                  <a:pt x="2184414" y="3200638"/>
                  <a:pt x="2184414" y="3196822"/>
                  <a:pt x="2184414" y="3193005"/>
                </a:cubicBezTo>
                <a:cubicBezTo>
                  <a:pt x="2184414" y="3166294"/>
                  <a:pt x="2201571" y="3141488"/>
                  <a:pt x="2230166" y="3135765"/>
                </a:cubicBezTo>
                <a:cubicBezTo>
                  <a:pt x="2230166" y="3135765"/>
                  <a:pt x="2230166" y="3135765"/>
                  <a:pt x="2575210" y="3065166"/>
                </a:cubicBezTo>
                <a:cubicBezTo>
                  <a:pt x="2582835" y="3063257"/>
                  <a:pt x="2590461" y="3063137"/>
                  <a:pt x="2597729" y="3064510"/>
                </a:cubicBezTo>
                <a:close/>
                <a:moveTo>
                  <a:pt x="3139000" y="3058190"/>
                </a:moveTo>
                <a:cubicBezTo>
                  <a:pt x="3173222" y="3054380"/>
                  <a:pt x="3203640" y="3077240"/>
                  <a:pt x="3209346" y="3111529"/>
                </a:cubicBezTo>
                <a:cubicBezTo>
                  <a:pt x="3213146" y="3143914"/>
                  <a:pt x="3190333" y="3176299"/>
                  <a:pt x="3156114" y="3180110"/>
                </a:cubicBezTo>
                <a:cubicBezTo>
                  <a:pt x="3156114" y="3180110"/>
                  <a:pt x="3156114" y="3180110"/>
                  <a:pt x="2811998" y="3231537"/>
                </a:cubicBezTo>
                <a:cubicBezTo>
                  <a:pt x="2777775" y="3235349"/>
                  <a:pt x="2747356" y="3212495"/>
                  <a:pt x="2741652" y="3180110"/>
                </a:cubicBezTo>
                <a:cubicBezTo>
                  <a:pt x="2741652" y="3176299"/>
                  <a:pt x="2741652" y="3172487"/>
                  <a:pt x="2741652" y="3170583"/>
                </a:cubicBezTo>
                <a:cubicBezTo>
                  <a:pt x="2741652" y="3140106"/>
                  <a:pt x="2762566" y="3113436"/>
                  <a:pt x="2792987" y="3109626"/>
                </a:cubicBezTo>
                <a:cubicBezTo>
                  <a:pt x="2792987" y="3109626"/>
                  <a:pt x="2792987" y="3109626"/>
                  <a:pt x="3139000" y="3058190"/>
                </a:cubicBezTo>
                <a:close/>
                <a:moveTo>
                  <a:pt x="9858218" y="2803158"/>
                </a:moveTo>
                <a:cubicBezTo>
                  <a:pt x="9861796" y="2803398"/>
                  <a:pt x="9865135" y="2804823"/>
                  <a:pt x="9867044" y="2807683"/>
                </a:cubicBezTo>
                <a:cubicBezTo>
                  <a:pt x="9872769" y="2811493"/>
                  <a:pt x="9872769" y="2821017"/>
                  <a:pt x="9867044" y="2826731"/>
                </a:cubicBezTo>
                <a:cubicBezTo>
                  <a:pt x="9867044" y="2826731"/>
                  <a:pt x="9867044" y="2826731"/>
                  <a:pt x="9536890" y="3139152"/>
                </a:cubicBezTo>
                <a:cubicBezTo>
                  <a:pt x="9533073" y="3144866"/>
                  <a:pt x="9523531" y="3144866"/>
                  <a:pt x="9517806" y="3139152"/>
                </a:cubicBezTo>
                <a:cubicBezTo>
                  <a:pt x="9515897" y="3137247"/>
                  <a:pt x="9513989" y="3133436"/>
                  <a:pt x="9513989" y="3129628"/>
                </a:cubicBezTo>
                <a:cubicBezTo>
                  <a:pt x="9513989" y="3125817"/>
                  <a:pt x="9515897" y="3122007"/>
                  <a:pt x="9519714" y="3120101"/>
                </a:cubicBezTo>
                <a:cubicBezTo>
                  <a:pt x="9519714" y="3120101"/>
                  <a:pt x="9519714" y="3120101"/>
                  <a:pt x="9847960" y="2805777"/>
                </a:cubicBezTo>
                <a:cubicBezTo>
                  <a:pt x="9850823" y="2803873"/>
                  <a:pt x="9854639" y="2802920"/>
                  <a:pt x="9858218" y="2803158"/>
                </a:cubicBezTo>
                <a:close/>
                <a:moveTo>
                  <a:pt x="9280452" y="2798866"/>
                </a:moveTo>
                <a:cubicBezTo>
                  <a:pt x="9284961" y="2799103"/>
                  <a:pt x="9289232" y="2801005"/>
                  <a:pt x="9292080" y="2804804"/>
                </a:cubicBezTo>
                <a:cubicBezTo>
                  <a:pt x="9299674" y="2812401"/>
                  <a:pt x="9297776" y="2823797"/>
                  <a:pt x="9290182" y="2829495"/>
                </a:cubicBezTo>
                <a:cubicBezTo>
                  <a:pt x="9290182" y="2829495"/>
                  <a:pt x="9290182" y="2829495"/>
                  <a:pt x="8961745" y="3118217"/>
                </a:cubicBezTo>
                <a:cubicBezTo>
                  <a:pt x="8954151" y="3125817"/>
                  <a:pt x="8942760" y="3123917"/>
                  <a:pt x="8937064" y="3116319"/>
                </a:cubicBezTo>
                <a:cubicBezTo>
                  <a:pt x="8933267" y="3114420"/>
                  <a:pt x="8931369" y="3110621"/>
                  <a:pt x="8931369" y="3104922"/>
                </a:cubicBezTo>
                <a:cubicBezTo>
                  <a:pt x="8931369" y="3101123"/>
                  <a:pt x="8933267" y="3095423"/>
                  <a:pt x="8937064" y="3091625"/>
                </a:cubicBezTo>
                <a:cubicBezTo>
                  <a:pt x="8937064" y="3091625"/>
                  <a:pt x="8937064" y="3091625"/>
                  <a:pt x="9267400" y="2802904"/>
                </a:cubicBezTo>
                <a:cubicBezTo>
                  <a:pt x="9271197" y="2800052"/>
                  <a:pt x="9275943" y="2798628"/>
                  <a:pt x="9280452" y="2798866"/>
                </a:cubicBezTo>
                <a:close/>
                <a:moveTo>
                  <a:pt x="10442418" y="2798842"/>
                </a:moveTo>
                <a:cubicBezTo>
                  <a:pt x="10446950" y="2799079"/>
                  <a:pt x="10451243" y="2800979"/>
                  <a:pt x="10454106" y="2804777"/>
                </a:cubicBezTo>
                <a:cubicBezTo>
                  <a:pt x="10461739" y="2812377"/>
                  <a:pt x="10459831" y="2823773"/>
                  <a:pt x="10454106" y="2829471"/>
                </a:cubicBezTo>
                <a:cubicBezTo>
                  <a:pt x="10454106" y="2829471"/>
                  <a:pt x="10454106" y="2829471"/>
                  <a:pt x="10122059" y="3118194"/>
                </a:cubicBezTo>
                <a:cubicBezTo>
                  <a:pt x="10114425" y="3125793"/>
                  <a:pt x="10102976" y="3123893"/>
                  <a:pt x="10097251" y="3116295"/>
                </a:cubicBezTo>
                <a:cubicBezTo>
                  <a:pt x="10093434" y="3114396"/>
                  <a:pt x="10093434" y="3110597"/>
                  <a:pt x="10093434" y="3104898"/>
                </a:cubicBezTo>
                <a:cubicBezTo>
                  <a:pt x="10093434" y="3101099"/>
                  <a:pt x="10095342" y="3095400"/>
                  <a:pt x="10099159" y="3091603"/>
                </a:cubicBezTo>
                <a:cubicBezTo>
                  <a:pt x="10099159" y="3091603"/>
                  <a:pt x="10099159" y="3091603"/>
                  <a:pt x="10429298" y="2802878"/>
                </a:cubicBezTo>
                <a:cubicBezTo>
                  <a:pt x="10433114" y="2800029"/>
                  <a:pt x="10437885" y="2798605"/>
                  <a:pt x="10442418" y="2798842"/>
                </a:cubicBezTo>
                <a:close/>
                <a:moveTo>
                  <a:pt x="8710745" y="2792356"/>
                </a:moveTo>
                <a:cubicBezTo>
                  <a:pt x="8716231" y="2793069"/>
                  <a:pt x="8721479" y="2795921"/>
                  <a:pt x="8725295" y="2800675"/>
                </a:cubicBezTo>
                <a:cubicBezTo>
                  <a:pt x="8732928" y="2810181"/>
                  <a:pt x="8732928" y="2823488"/>
                  <a:pt x="8723387" y="2831093"/>
                </a:cubicBezTo>
                <a:cubicBezTo>
                  <a:pt x="8723387" y="2831093"/>
                  <a:pt x="8723387" y="2831093"/>
                  <a:pt x="8389446" y="3099164"/>
                </a:cubicBezTo>
                <a:cubicBezTo>
                  <a:pt x="8379905" y="3106766"/>
                  <a:pt x="8366547" y="3104865"/>
                  <a:pt x="8358914" y="3095358"/>
                </a:cubicBezTo>
                <a:cubicBezTo>
                  <a:pt x="8355098" y="3091559"/>
                  <a:pt x="8355098" y="3085855"/>
                  <a:pt x="8355098" y="3082053"/>
                </a:cubicBezTo>
                <a:cubicBezTo>
                  <a:pt x="8355098" y="3074447"/>
                  <a:pt x="8357006" y="3068744"/>
                  <a:pt x="8362731" y="3064941"/>
                </a:cubicBezTo>
                <a:cubicBezTo>
                  <a:pt x="8362731" y="3064941"/>
                  <a:pt x="8362731" y="3064941"/>
                  <a:pt x="8694763" y="2796872"/>
                </a:cubicBezTo>
                <a:cubicBezTo>
                  <a:pt x="8699534" y="2793069"/>
                  <a:pt x="8705259" y="2791642"/>
                  <a:pt x="8710745" y="2792356"/>
                </a:cubicBezTo>
                <a:close/>
                <a:moveTo>
                  <a:pt x="11020609" y="2792330"/>
                </a:moveTo>
                <a:cubicBezTo>
                  <a:pt x="11026090" y="2793043"/>
                  <a:pt x="11031334" y="2795895"/>
                  <a:pt x="11035147" y="2800648"/>
                </a:cubicBezTo>
                <a:cubicBezTo>
                  <a:pt x="11042773" y="2810154"/>
                  <a:pt x="11040866" y="2823462"/>
                  <a:pt x="11031333" y="2831067"/>
                </a:cubicBezTo>
                <a:cubicBezTo>
                  <a:pt x="11031333" y="2831067"/>
                  <a:pt x="11031333" y="2831067"/>
                  <a:pt x="10699581" y="3099136"/>
                </a:cubicBezTo>
                <a:cubicBezTo>
                  <a:pt x="10690048" y="3106741"/>
                  <a:pt x="10676701" y="3104840"/>
                  <a:pt x="10669075" y="3095334"/>
                </a:cubicBezTo>
                <a:cubicBezTo>
                  <a:pt x="10665262" y="3091531"/>
                  <a:pt x="10663355" y="3085827"/>
                  <a:pt x="10663355" y="3082025"/>
                </a:cubicBezTo>
                <a:cubicBezTo>
                  <a:pt x="10663355" y="3074421"/>
                  <a:pt x="10667168" y="3068717"/>
                  <a:pt x="10672888" y="3064914"/>
                </a:cubicBezTo>
                <a:cubicBezTo>
                  <a:pt x="10672888" y="3064914"/>
                  <a:pt x="10672888" y="3064914"/>
                  <a:pt x="11004641" y="2796846"/>
                </a:cubicBezTo>
                <a:cubicBezTo>
                  <a:pt x="11009408" y="2793043"/>
                  <a:pt x="11015127" y="2791618"/>
                  <a:pt x="11020609" y="2792330"/>
                </a:cubicBezTo>
                <a:close/>
                <a:moveTo>
                  <a:pt x="8147926" y="2787441"/>
                </a:moveTo>
                <a:cubicBezTo>
                  <a:pt x="8154593" y="2788630"/>
                  <a:pt x="8160785" y="2792440"/>
                  <a:pt x="8164595" y="2798157"/>
                </a:cubicBezTo>
                <a:cubicBezTo>
                  <a:pt x="8174120" y="2809588"/>
                  <a:pt x="8170310" y="2824828"/>
                  <a:pt x="8158880" y="2834352"/>
                </a:cubicBezTo>
                <a:cubicBezTo>
                  <a:pt x="8158880" y="2834352"/>
                  <a:pt x="8158880" y="2834352"/>
                  <a:pt x="7825500" y="3078192"/>
                </a:cubicBezTo>
                <a:cubicBezTo>
                  <a:pt x="7814070" y="3087718"/>
                  <a:pt x="7796925" y="3083908"/>
                  <a:pt x="7789305" y="3072478"/>
                </a:cubicBezTo>
                <a:cubicBezTo>
                  <a:pt x="7785495" y="3068667"/>
                  <a:pt x="7783590" y="3062951"/>
                  <a:pt x="7783590" y="3057236"/>
                </a:cubicBezTo>
                <a:cubicBezTo>
                  <a:pt x="7783590" y="3049615"/>
                  <a:pt x="7787400" y="3042001"/>
                  <a:pt x="7795020" y="3036282"/>
                </a:cubicBezTo>
                <a:cubicBezTo>
                  <a:pt x="7795020" y="3036282"/>
                  <a:pt x="7795020" y="3036282"/>
                  <a:pt x="8128399" y="2792440"/>
                </a:cubicBezTo>
                <a:cubicBezTo>
                  <a:pt x="8134114" y="2787678"/>
                  <a:pt x="8141258" y="2786250"/>
                  <a:pt x="8147926" y="2787441"/>
                </a:cubicBezTo>
                <a:close/>
                <a:moveTo>
                  <a:pt x="11592432" y="2787434"/>
                </a:moveTo>
                <a:cubicBezTo>
                  <a:pt x="11598867" y="2788622"/>
                  <a:pt x="11605063" y="2792433"/>
                  <a:pt x="11609830" y="2798149"/>
                </a:cubicBezTo>
                <a:cubicBezTo>
                  <a:pt x="11617456" y="2809579"/>
                  <a:pt x="11615549" y="2824818"/>
                  <a:pt x="11604110" y="2834343"/>
                </a:cubicBezTo>
                <a:cubicBezTo>
                  <a:pt x="11604110" y="2834343"/>
                  <a:pt x="11604110" y="2834343"/>
                  <a:pt x="11270458" y="3078185"/>
                </a:cubicBezTo>
                <a:cubicBezTo>
                  <a:pt x="11259018" y="3087709"/>
                  <a:pt x="11241859" y="3083900"/>
                  <a:pt x="11234233" y="3072469"/>
                </a:cubicBezTo>
                <a:cubicBezTo>
                  <a:pt x="11230420" y="3068661"/>
                  <a:pt x="11228513" y="3062943"/>
                  <a:pt x="11228513" y="3057229"/>
                </a:cubicBezTo>
                <a:cubicBezTo>
                  <a:pt x="11228513" y="3049607"/>
                  <a:pt x="11232326" y="3041990"/>
                  <a:pt x="11238046" y="3036275"/>
                </a:cubicBezTo>
                <a:cubicBezTo>
                  <a:pt x="11238046" y="3036275"/>
                  <a:pt x="11238046" y="3036275"/>
                  <a:pt x="11573605" y="2792433"/>
                </a:cubicBezTo>
                <a:cubicBezTo>
                  <a:pt x="11579325" y="2787671"/>
                  <a:pt x="11585998" y="2786243"/>
                  <a:pt x="11592432" y="2787434"/>
                </a:cubicBezTo>
                <a:close/>
                <a:moveTo>
                  <a:pt x="12139750" y="2786083"/>
                </a:moveTo>
                <a:cubicBezTo>
                  <a:pt x="12139750" y="2786083"/>
                  <a:pt x="12139750" y="2786083"/>
                  <a:pt x="12139750" y="2858148"/>
                </a:cubicBezTo>
                <a:cubicBezTo>
                  <a:pt x="12139750" y="2858148"/>
                  <a:pt x="12139750" y="2858148"/>
                  <a:pt x="11834946" y="3059175"/>
                </a:cubicBezTo>
                <a:cubicBezTo>
                  <a:pt x="11819705" y="3068658"/>
                  <a:pt x="11800655" y="3064864"/>
                  <a:pt x="11793035" y="3049691"/>
                </a:cubicBezTo>
                <a:cubicBezTo>
                  <a:pt x="11789225" y="3044001"/>
                  <a:pt x="11787320" y="3038313"/>
                  <a:pt x="11787320" y="3032623"/>
                </a:cubicBezTo>
                <a:cubicBezTo>
                  <a:pt x="11787320" y="3023143"/>
                  <a:pt x="11791130" y="3013660"/>
                  <a:pt x="11800655" y="3007970"/>
                </a:cubicBezTo>
                <a:lnTo>
                  <a:pt x="12135940" y="2787978"/>
                </a:lnTo>
                <a:cubicBezTo>
                  <a:pt x="12137845" y="2786083"/>
                  <a:pt x="12137845" y="2786083"/>
                  <a:pt x="12139750" y="2786083"/>
                </a:cubicBezTo>
                <a:close/>
                <a:moveTo>
                  <a:pt x="7592452" y="2782900"/>
                </a:moveTo>
                <a:cubicBezTo>
                  <a:pt x="7600072" y="2784326"/>
                  <a:pt x="7606740" y="2788595"/>
                  <a:pt x="7610550" y="2795241"/>
                </a:cubicBezTo>
                <a:cubicBezTo>
                  <a:pt x="7620075" y="2810434"/>
                  <a:pt x="7616265" y="2829420"/>
                  <a:pt x="7602930" y="2837016"/>
                </a:cubicBezTo>
                <a:cubicBezTo>
                  <a:pt x="7602930" y="2837016"/>
                  <a:pt x="7602930" y="2837016"/>
                  <a:pt x="7267645" y="3059173"/>
                </a:cubicBezTo>
                <a:cubicBezTo>
                  <a:pt x="7254310" y="3068667"/>
                  <a:pt x="7235260" y="3064869"/>
                  <a:pt x="7225735" y="3049680"/>
                </a:cubicBezTo>
                <a:cubicBezTo>
                  <a:pt x="7221925" y="3043982"/>
                  <a:pt x="7220020" y="3038288"/>
                  <a:pt x="7220020" y="3032591"/>
                </a:cubicBezTo>
                <a:cubicBezTo>
                  <a:pt x="7220020" y="3023099"/>
                  <a:pt x="7225735" y="3013604"/>
                  <a:pt x="7233355" y="3007907"/>
                </a:cubicBezTo>
                <a:cubicBezTo>
                  <a:pt x="7233355" y="3007907"/>
                  <a:pt x="7233355" y="3007907"/>
                  <a:pt x="7568639" y="2787648"/>
                </a:cubicBezTo>
                <a:cubicBezTo>
                  <a:pt x="7576259" y="2782900"/>
                  <a:pt x="7584832" y="2781476"/>
                  <a:pt x="7592452" y="2782900"/>
                </a:cubicBezTo>
                <a:close/>
                <a:moveTo>
                  <a:pt x="7041900" y="2777758"/>
                </a:moveTo>
                <a:cubicBezTo>
                  <a:pt x="7050473" y="2779901"/>
                  <a:pt x="7058093" y="2785138"/>
                  <a:pt x="7062856" y="2792757"/>
                </a:cubicBezTo>
                <a:cubicBezTo>
                  <a:pt x="7072381" y="2809907"/>
                  <a:pt x="7066666" y="2830858"/>
                  <a:pt x="7051425" y="2840384"/>
                </a:cubicBezTo>
                <a:cubicBezTo>
                  <a:pt x="7051425" y="2840384"/>
                  <a:pt x="7051425" y="2840384"/>
                  <a:pt x="6714236" y="3038503"/>
                </a:cubicBezTo>
                <a:cubicBezTo>
                  <a:pt x="6697090" y="3048026"/>
                  <a:pt x="6676135" y="3044222"/>
                  <a:pt x="6666610" y="3027077"/>
                </a:cubicBezTo>
                <a:cubicBezTo>
                  <a:pt x="6664705" y="3021361"/>
                  <a:pt x="6662800" y="3015647"/>
                  <a:pt x="6662800" y="3009931"/>
                </a:cubicBezTo>
                <a:cubicBezTo>
                  <a:pt x="6662800" y="2998500"/>
                  <a:pt x="6668515" y="2987069"/>
                  <a:pt x="6679945" y="2979450"/>
                </a:cubicBezTo>
                <a:cubicBezTo>
                  <a:pt x="6679945" y="2979450"/>
                  <a:pt x="6679945" y="2979450"/>
                  <a:pt x="7015230" y="2781330"/>
                </a:cubicBezTo>
                <a:cubicBezTo>
                  <a:pt x="7023803" y="2776567"/>
                  <a:pt x="7033328" y="2775616"/>
                  <a:pt x="7041900" y="2777758"/>
                </a:cubicBezTo>
                <a:close/>
                <a:moveTo>
                  <a:pt x="6499388" y="2774400"/>
                </a:moveTo>
                <a:cubicBezTo>
                  <a:pt x="6508668" y="2777482"/>
                  <a:pt x="6516758" y="2784126"/>
                  <a:pt x="6521517" y="2793615"/>
                </a:cubicBezTo>
                <a:cubicBezTo>
                  <a:pt x="6531035" y="2812596"/>
                  <a:pt x="6525324" y="2835373"/>
                  <a:pt x="6506288" y="2844865"/>
                </a:cubicBezTo>
                <a:cubicBezTo>
                  <a:pt x="6506288" y="2844865"/>
                  <a:pt x="6506288" y="2844865"/>
                  <a:pt x="6167449" y="3019490"/>
                </a:cubicBezTo>
                <a:cubicBezTo>
                  <a:pt x="6148414" y="3028982"/>
                  <a:pt x="6125570" y="3021389"/>
                  <a:pt x="6116053" y="3002408"/>
                </a:cubicBezTo>
                <a:cubicBezTo>
                  <a:pt x="6112245" y="2996712"/>
                  <a:pt x="6110342" y="2991020"/>
                  <a:pt x="6110342" y="2985324"/>
                </a:cubicBezTo>
                <a:cubicBezTo>
                  <a:pt x="6110342" y="2972039"/>
                  <a:pt x="6117956" y="2958751"/>
                  <a:pt x="6131281" y="2951160"/>
                </a:cubicBezTo>
                <a:cubicBezTo>
                  <a:pt x="6131281" y="2951160"/>
                  <a:pt x="6131281" y="2951160"/>
                  <a:pt x="6470120" y="2776533"/>
                </a:cubicBezTo>
                <a:cubicBezTo>
                  <a:pt x="6479638" y="2771788"/>
                  <a:pt x="6490107" y="2771312"/>
                  <a:pt x="6499388" y="2774400"/>
                </a:cubicBezTo>
                <a:close/>
                <a:moveTo>
                  <a:pt x="5959672" y="2769256"/>
                </a:moveTo>
                <a:cubicBezTo>
                  <a:pt x="5969941" y="2773062"/>
                  <a:pt x="5978538" y="2780669"/>
                  <a:pt x="5983314" y="2791133"/>
                </a:cubicBezTo>
                <a:cubicBezTo>
                  <a:pt x="5992867" y="2812061"/>
                  <a:pt x="5983314" y="2838698"/>
                  <a:pt x="5962297" y="2848210"/>
                </a:cubicBezTo>
                <a:cubicBezTo>
                  <a:pt x="5962297" y="2848210"/>
                  <a:pt x="5962297" y="2848210"/>
                  <a:pt x="5620300" y="3000418"/>
                </a:cubicBezTo>
                <a:cubicBezTo>
                  <a:pt x="5599284" y="3009931"/>
                  <a:pt x="5574446" y="3000418"/>
                  <a:pt x="5564892" y="2979489"/>
                </a:cubicBezTo>
                <a:cubicBezTo>
                  <a:pt x="5561071" y="2973783"/>
                  <a:pt x="5561071" y="2968075"/>
                  <a:pt x="5561071" y="2960466"/>
                </a:cubicBezTo>
                <a:cubicBezTo>
                  <a:pt x="5561071" y="2945244"/>
                  <a:pt x="5570624" y="2930022"/>
                  <a:pt x="5585909" y="2922412"/>
                </a:cubicBezTo>
                <a:cubicBezTo>
                  <a:pt x="5585909" y="2922412"/>
                  <a:pt x="5585909" y="2922412"/>
                  <a:pt x="5925997" y="2770208"/>
                </a:cubicBezTo>
                <a:cubicBezTo>
                  <a:pt x="5937461" y="2765450"/>
                  <a:pt x="5949401" y="2765450"/>
                  <a:pt x="5959672" y="2769256"/>
                </a:cubicBezTo>
                <a:close/>
                <a:moveTo>
                  <a:pt x="399603" y="2769241"/>
                </a:moveTo>
                <a:cubicBezTo>
                  <a:pt x="410073" y="2773046"/>
                  <a:pt x="419115" y="2780657"/>
                  <a:pt x="423874" y="2791121"/>
                </a:cubicBezTo>
                <a:cubicBezTo>
                  <a:pt x="433392" y="2812049"/>
                  <a:pt x="423874" y="2838685"/>
                  <a:pt x="401030" y="2848199"/>
                </a:cubicBezTo>
                <a:cubicBezTo>
                  <a:pt x="401030" y="2848199"/>
                  <a:pt x="401030" y="2848199"/>
                  <a:pt x="62187" y="3000404"/>
                </a:cubicBezTo>
                <a:cubicBezTo>
                  <a:pt x="41247" y="3009919"/>
                  <a:pt x="16500" y="3000404"/>
                  <a:pt x="6982" y="2979476"/>
                </a:cubicBezTo>
                <a:cubicBezTo>
                  <a:pt x="3175" y="2973768"/>
                  <a:pt x="3175" y="2968061"/>
                  <a:pt x="3175" y="2960451"/>
                </a:cubicBezTo>
                <a:cubicBezTo>
                  <a:pt x="3175" y="2945230"/>
                  <a:pt x="10789" y="2930010"/>
                  <a:pt x="27922" y="2922399"/>
                </a:cubicBezTo>
                <a:cubicBezTo>
                  <a:pt x="27922" y="2922399"/>
                  <a:pt x="27922" y="2922399"/>
                  <a:pt x="366765" y="2770194"/>
                </a:cubicBezTo>
                <a:cubicBezTo>
                  <a:pt x="377235" y="2765436"/>
                  <a:pt x="389133" y="2765436"/>
                  <a:pt x="399603" y="2769241"/>
                </a:cubicBezTo>
                <a:close/>
                <a:moveTo>
                  <a:pt x="5396030" y="2760546"/>
                </a:moveTo>
                <a:cubicBezTo>
                  <a:pt x="5414054" y="2760902"/>
                  <a:pt x="5431544" y="2771987"/>
                  <a:pt x="5437255" y="2790586"/>
                </a:cubicBezTo>
                <a:cubicBezTo>
                  <a:pt x="5446773" y="2815383"/>
                  <a:pt x="5435351" y="2842090"/>
                  <a:pt x="5410604" y="2851628"/>
                </a:cubicBezTo>
                <a:cubicBezTo>
                  <a:pt x="5410604" y="2851628"/>
                  <a:pt x="5410604" y="2851628"/>
                  <a:pt x="5069848" y="2981344"/>
                </a:cubicBezTo>
                <a:cubicBezTo>
                  <a:pt x="5045105" y="2990880"/>
                  <a:pt x="5018457" y="2977527"/>
                  <a:pt x="5008939" y="2954638"/>
                </a:cubicBezTo>
                <a:cubicBezTo>
                  <a:pt x="5007036" y="2948915"/>
                  <a:pt x="5007036" y="2943193"/>
                  <a:pt x="5007036" y="2937469"/>
                </a:cubicBezTo>
                <a:cubicBezTo>
                  <a:pt x="5007036" y="2918395"/>
                  <a:pt x="5018457" y="2899319"/>
                  <a:pt x="5037490" y="2893596"/>
                </a:cubicBezTo>
                <a:cubicBezTo>
                  <a:pt x="5037490" y="2893596"/>
                  <a:pt x="5037490" y="2893596"/>
                  <a:pt x="5378244" y="2763882"/>
                </a:cubicBezTo>
                <a:cubicBezTo>
                  <a:pt x="5383954" y="2761500"/>
                  <a:pt x="5390021" y="2760425"/>
                  <a:pt x="5396030" y="2760546"/>
                </a:cubicBezTo>
                <a:close/>
                <a:moveTo>
                  <a:pt x="930706" y="2760528"/>
                </a:moveTo>
                <a:cubicBezTo>
                  <a:pt x="949141" y="2760885"/>
                  <a:pt x="965965" y="2771973"/>
                  <a:pt x="973124" y="2790570"/>
                </a:cubicBezTo>
                <a:cubicBezTo>
                  <a:pt x="982670" y="2815369"/>
                  <a:pt x="969306" y="2842076"/>
                  <a:pt x="946396" y="2851614"/>
                </a:cubicBezTo>
                <a:cubicBezTo>
                  <a:pt x="946396" y="2851614"/>
                  <a:pt x="946396" y="2851614"/>
                  <a:pt x="604662" y="2981328"/>
                </a:cubicBezTo>
                <a:cubicBezTo>
                  <a:pt x="579843" y="2990867"/>
                  <a:pt x="551206" y="2977513"/>
                  <a:pt x="543570" y="2954621"/>
                </a:cubicBezTo>
                <a:cubicBezTo>
                  <a:pt x="541661" y="2948899"/>
                  <a:pt x="539752" y="2943177"/>
                  <a:pt x="539752" y="2937453"/>
                </a:cubicBezTo>
                <a:cubicBezTo>
                  <a:pt x="539752" y="2918379"/>
                  <a:pt x="551206" y="2899302"/>
                  <a:pt x="570298" y="2893580"/>
                </a:cubicBezTo>
                <a:cubicBezTo>
                  <a:pt x="570298" y="2893580"/>
                  <a:pt x="570298" y="2893580"/>
                  <a:pt x="912032" y="2763867"/>
                </a:cubicBezTo>
                <a:cubicBezTo>
                  <a:pt x="918237" y="2761484"/>
                  <a:pt x="924561" y="2760408"/>
                  <a:pt x="930706" y="2760528"/>
                </a:cubicBezTo>
                <a:close/>
                <a:moveTo>
                  <a:pt x="4845194" y="2755586"/>
                </a:moveTo>
                <a:cubicBezTo>
                  <a:pt x="4864904" y="2757905"/>
                  <a:pt x="4882744" y="2771456"/>
                  <a:pt x="4889877" y="2791428"/>
                </a:cubicBezTo>
                <a:cubicBezTo>
                  <a:pt x="4897488" y="2818061"/>
                  <a:pt x="4882266" y="2846596"/>
                  <a:pt x="4855631" y="2856106"/>
                </a:cubicBezTo>
                <a:cubicBezTo>
                  <a:pt x="4855631" y="2856106"/>
                  <a:pt x="4855631" y="2856106"/>
                  <a:pt x="4513213" y="2962635"/>
                </a:cubicBezTo>
                <a:cubicBezTo>
                  <a:pt x="4486581" y="2970243"/>
                  <a:pt x="4458045" y="2955024"/>
                  <a:pt x="4448533" y="2928394"/>
                </a:cubicBezTo>
                <a:cubicBezTo>
                  <a:pt x="4448533" y="2924590"/>
                  <a:pt x="4446631" y="2918884"/>
                  <a:pt x="4446631" y="2913176"/>
                </a:cubicBezTo>
                <a:cubicBezTo>
                  <a:pt x="4446631" y="2892251"/>
                  <a:pt x="4461851" y="2871325"/>
                  <a:pt x="4482777" y="2863715"/>
                </a:cubicBezTo>
                <a:cubicBezTo>
                  <a:pt x="4482777" y="2863715"/>
                  <a:pt x="4482777" y="2863715"/>
                  <a:pt x="4825187" y="2757192"/>
                </a:cubicBezTo>
                <a:cubicBezTo>
                  <a:pt x="4831847" y="2755287"/>
                  <a:pt x="4838625" y="2754812"/>
                  <a:pt x="4845194" y="2755586"/>
                </a:cubicBezTo>
                <a:close/>
                <a:moveTo>
                  <a:pt x="1482623" y="2755567"/>
                </a:moveTo>
                <a:cubicBezTo>
                  <a:pt x="1502310" y="2757887"/>
                  <a:pt x="1519850" y="2771439"/>
                  <a:pt x="1525577" y="2791412"/>
                </a:cubicBezTo>
                <a:cubicBezTo>
                  <a:pt x="1535122" y="2818044"/>
                  <a:pt x="1519850" y="2846577"/>
                  <a:pt x="1493123" y="2856090"/>
                </a:cubicBezTo>
                <a:cubicBezTo>
                  <a:pt x="1493123" y="2856090"/>
                  <a:pt x="1493123" y="2856090"/>
                  <a:pt x="1149495" y="2962617"/>
                </a:cubicBezTo>
                <a:cubicBezTo>
                  <a:pt x="1122769" y="2970225"/>
                  <a:pt x="1092224" y="2955007"/>
                  <a:pt x="1084588" y="2928375"/>
                </a:cubicBezTo>
                <a:cubicBezTo>
                  <a:pt x="1082679" y="2924571"/>
                  <a:pt x="1082679" y="2918864"/>
                  <a:pt x="1082679" y="2913158"/>
                </a:cubicBezTo>
                <a:cubicBezTo>
                  <a:pt x="1082679" y="2892232"/>
                  <a:pt x="1096042" y="2871308"/>
                  <a:pt x="1118950" y="2863698"/>
                </a:cubicBezTo>
                <a:cubicBezTo>
                  <a:pt x="1118950" y="2863698"/>
                  <a:pt x="1118950" y="2863698"/>
                  <a:pt x="1462578" y="2757173"/>
                </a:cubicBezTo>
                <a:cubicBezTo>
                  <a:pt x="1469260" y="2755270"/>
                  <a:pt x="1476061" y="2754795"/>
                  <a:pt x="1482623" y="2755567"/>
                </a:cubicBezTo>
                <a:close/>
                <a:moveTo>
                  <a:pt x="4291651" y="2750401"/>
                </a:moveTo>
                <a:cubicBezTo>
                  <a:pt x="4313337" y="2754252"/>
                  <a:pt x="4331541" y="2769659"/>
                  <a:pt x="4335825" y="2792587"/>
                </a:cubicBezTo>
                <a:cubicBezTo>
                  <a:pt x="4343439" y="2821252"/>
                  <a:pt x="4326305" y="2851825"/>
                  <a:pt x="4295846" y="2859470"/>
                </a:cubicBezTo>
                <a:cubicBezTo>
                  <a:pt x="4295846" y="2859470"/>
                  <a:pt x="4295846" y="2859470"/>
                  <a:pt x="3953199" y="2943550"/>
                </a:cubicBezTo>
                <a:cubicBezTo>
                  <a:pt x="3922739" y="2951195"/>
                  <a:pt x="3892277" y="2932085"/>
                  <a:pt x="3884663" y="2901512"/>
                </a:cubicBezTo>
                <a:cubicBezTo>
                  <a:pt x="3884663" y="2897690"/>
                  <a:pt x="3884663" y="2893868"/>
                  <a:pt x="3884663" y="2888136"/>
                </a:cubicBezTo>
                <a:cubicBezTo>
                  <a:pt x="3884663" y="2863292"/>
                  <a:pt x="3899894" y="2840361"/>
                  <a:pt x="3926546" y="2834629"/>
                </a:cubicBezTo>
                <a:cubicBezTo>
                  <a:pt x="3926546" y="2834629"/>
                  <a:pt x="3926546" y="2834629"/>
                  <a:pt x="4269194" y="2750551"/>
                </a:cubicBezTo>
                <a:cubicBezTo>
                  <a:pt x="4276808" y="2749117"/>
                  <a:pt x="4284423" y="2749117"/>
                  <a:pt x="4291651" y="2750401"/>
                </a:cubicBezTo>
                <a:close/>
                <a:moveTo>
                  <a:pt x="2037928" y="2750381"/>
                </a:moveTo>
                <a:cubicBezTo>
                  <a:pt x="2058890" y="2754232"/>
                  <a:pt x="2077438" y="2769638"/>
                  <a:pt x="2083145" y="2792570"/>
                </a:cubicBezTo>
                <a:cubicBezTo>
                  <a:pt x="2090754" y="2821233"/>
                  <a:pt x="2071730" y="2851807"/>
                  <a:pt x="2043190" y="2859451"/>
                </a:cubicBezTo>
                <a:cubicBezTo>
                  <a:pt x="2043190" y="2859451"/>
                  <a:pt x="2043190" y="2859451"/>
                  <a:pt x="1698856" y="2943529"/>
                </a:cubicBezTo>
                <a:cubicBezTo>
                  <a:pt x="1668417" y="2951173"/>
                  <a:pt x="1639881" y="2932065"/>
                  <a:pt x="1632272" y="2901491"/>
                </a:cubicBezTo>
                <a:cubicBezTo>
                  <a:pt x="1630369" y="2897669"/>
                  <a:pt x="1630369" y="2893847"/>
                  <a:pt x="1630369" y="2888114"/>
                </a:cubicBezTo>
                <a:cubicBezTo>
                  <a:pt x="1630369" y="2863273"/>
                  <a:pt x="1647491" y="2840342"/>
                  <a:pt x="1672222" y="2834609"/>
                </a:cubicBezTo>
                <a:cubicBezTo>
                  <a:pt x="1672222" y="2834609"/>
                  <a:pt x="1672222" y="2834609"/>
                  <a:pt x="2016556" y="2750531"/>
                </a:cubicBezTo>
                <a:cubicBezTo>
                  <a:pt x="2023690" y="2749098"/>
                  <a:pt x="2030943" y="2749098"/>
                  <a:pt x="2037928" y="2750381"/>
                </a:cubicBezTo>
                <a:close/>
                <a:moveTo>
                  <a:pt x="3710449" y="2745770"/>
                </a:moveTo>
                <a:cubicBezTo>
                  <a:pt x="3742791" y="2740056"/>
                  <a:pt x="3773233" y="2762916"/>
                  <a:pt x="3778940" y="2795297"/>
                </a:cubicBezTo>
                <a:cubicBezTo>
                  <a:pt x="3784650" y="2827683"/>
                  <a:pt x="3763720" y="2858165"/>
                  <a:pt x="3731377" y="2863880"/>
                </a:cubicBezTo>
                <a:cubicBezTo>
                  <a:pt x="3731377" y="2863880"/>
                  <a:pt x="3731377" y="2863880"/>
                  <a:pt x="3385144" y="2924842"/>
                </a:cubicBezTo>
                <a:cubicBezTo>
                  <a:pt x="3352802" y="2930556"/>
                  <a:pt x="3322363" y="2907696"/>
                  <a:pt x="3316656" y="2875310"/>
                </a:cubicBezTo>
                <a:cubicBezTo>
                  <a:pt x="3316656" y="2871500"/>
                  <a:pt x="3314753" y="2869595"/>
                  <a:pt x="3314753" y="2865784"/>
                </a:cubicBezTo>
                <a:cubicBezTo>
                  <a:pt x="3314753" y="2837207"/>
                  <a:pt x="3335681" y="2812444"/>
                  <a:pt x="3364218" y="2806729"/>
                </a:cubicBezTo>
                <a:cubicBezTo>
                  <a:pt x="3364218" y="2806729"/>
                  <a:pt x="3364218" y="2806729"/>
                  <a:pt x="3710449" y="2745770"/>
                </a:cubicBezTo>
                <a:close/>
                <a:moveTo>
                  <a:pt x="2576948" y="2745748"/>
                </a:moveTo>
                <a:cubicBezTo>
                  <a:pt x="2609291" y="2740033"/>
                  <a:pt x="2639729" y="2762892"/>
                  <a:pt x="2645436" y="2795278"/>
                </a:cubicBezTo>
                <a:cubicBezTo>
                  <a:pt x="2651144" y="2827662"/>
                  <a:pt x="2630216" y="2858143"/>
                  <a:pt x="2595972" y="2863857"/>
                </a:cubicBezTo>
                <a:cubicBezTo>
                  <a:pt x="2595972" y="2863857"/>
                  <a:pt x="2595972" y="2863857"/>
                  <a:pt x="2251629" y="2924818"/>
                </a:cubicBezTo>
                <a:cubicBezTo>
                  <a:pt x="2219288" y="2930533"/>
                  <a:pt x="2188849" y="2907673"/>
                  <a:pt x="2183141" y="2875287"/>
                </a:cubicBezTo>
                <a:cubicBezTo>
                  <a:pt x="2183141" y="2871478"/>
                  <a:pt x="2181239" y="2869573"/>
                  <a:pt x="2181239" y="2865763"/>
                </a:cubicBezTo>
                <a:cubicBezTo>
                  <a:pt x="2181239" y="2837188"/>
                  <a:pt x="2202166" y="2812423"/>
                  <a:pt x="2230702" y="2806708"/>
                </a:cubicBezTo>
                <a:cubicBezTo>
                  <a:pt x="2230702" y="2806708"/>
                  <a:pt x="2230702" y="2806708"/>
                  <a:pt x="2576948" y="2745748"/>
                </a:cubicBezTo>
                <a:close/>
                <a:moveTo>
                  <a:pt x="3140489" y="2739132"/>
                </a:moveTo>
                <a:cubicBezTo>
                  <a:pt x="3176660" y="2735294"/>
                  <a:pt x="3207119" y="2760241"/>
                  <a:pt x="3210928" y="2796698"/>
                </a:cubicBezTo>
                <a:cubicBezTo>
                  <a:pt x="3214734" y="2831239"/>
                  <a:pt x="3189988" y="2863862"/>
                  <a:pt x="3153815" y="2867700"/>
                </a:cubicBezTo>
                <a:cubicBezTo>
                  <a:pt x="3153815" y="2867700"/>
                  <a:pt x="3153815" y="2867700"/>
                  <a:pt x="2807330" y="2906081"/>
                </a:cubicBezTo>
                <a:cubicBezTo>
                  <a:pt x="2773062" y="2909920"/>
                  <a:pt x="2740699" y="2883053"/>
                  <a:pt x="2736892" y="2848510"/>
                </a:cubicBezTo>
                <a:cubicBezTo>
                  <a:pt x="2736892" y="2846591"/>
                  <a:pt x="2736892" y="2842753"/>
                  <a:pt x="2736892" y="2840833"/>
                </a:cubicBezTo>
                <a:cubicBezTo>
                  <a:pt x="2736892" y="2808213"/>
                  <a:pt x="2761639" y="2781347"/>
                  <a:pt x="2794004" y="2777510"/>
                </a:cubicBezTo>
                <a:cubicBezTo>
                  <a:pt x="2794004" y="2777510"/>
                  <a:pt x="2794004" y="2777510"/>
                  <a:pt x="3140489" y="2739132"/>
                </a:cubicBezTo>
                <a:close/>
                <a:moveTo>
                  <a:pt x="9848939" y="2478758"/>
                </a:moveTo>
                <a:cubicBezTo>
                  <a:pt x="9852752" y="2474949"/>
                  <a:pt x="9860379" y="2474949"/>
                  <a:pt x="9864193" y="2478758"/>
                </a:cubicBezTo>
                <a:cubicBezTo>
                  <a:pt x="9868006" y="2484475"/>
                  <a:pt x="9868006" y="2490192"/>
                  <a:pt x="9864193" y="2494003"/>
                </a:cubicBezTo>
                <a:cubicBezTo>
                  <a:pt x="9864193" y="2494003"/>
                  <a:pt x="9864193" y="2494003"/>
                  <a:pt x="9536231" y="2823558"/>
                </a:cubicBezTo>
                <a:cubicBezTo>
                  <a:pt x="9532418" y="2827364"/>
                  <a:pt x="9524791" y="2827364"/>
                  <a:pt x="9520977" y="2823558"/>
                </a:cubicBezTo>
                <a:cubicBezTo>
                  <a:pt x="9519071" y="2819745"/>
                  <a:pt x="9517164" y="2817842"/>
                  <a:pt x="9517164" y="2815937"/>
                </a:cubicBezTo>
                <a:cubicBezTo>
                  <a:pt x="9517164" y="2812126"/>
                  <a:pt x="9519071" y="2810223"/>
                  <a:pt x="9520977" y="2808317"/>
                </a:cubicBezTo>
                <a:cubicBezTo>
                  <a:pt x="9520977" y="2808317"/>
                  <a:pt x="9520977" y="2808317"/>
                  <a:pt x="9848939" y="2478758"/>
                </a:cubicBezTo>
                <a:close/>
                <a:moveTo>
                  <a:pt x="9280068" y="2470987"/>
                </a:moveTo>
                <a:cubicBezTo>
                  <a:pt x="9284117" y="2471465"/>
                  <a:pt x="9287927" y="2473375"/>
                  <a:pt x="9290784" y="2476239"/>
                </a:cubicBezTo>
                <a:cubicBezTo>
                  <a:pt x="9296499" y="2481973"/>
                  <a:pt x="9296499" y="2491525"/>
                  <a:pt x="9288879" y="2497260"/>
                </a:cubicBezTo>
                <a:cubicBezTo>
                  <a:pt x="9288879" y="2497260"/>
                  <a:pt x="9288879" y="2497260"/>
                  <a:pt x="8959309" y="2800997"/>
                </a:cubicBezTo>
                <a:cubicBezTo>
                  <a:pt x="8953594" y="2806729"/>
                  <a:pt x="8944069" y="2806729"/>
                  <a:pt x="8938354" y="2800997"/>
                </a:cubicBezTo>
                <a:cubicBezTo>
                  <a:pt x="8934544" y="2797177"/>
                  <a:pt x="8934544" y="2793354"/>
                  <a:pt x="8934544" y="2789535"/>
                </a:cubicBezTo>
                <a:cubicBezTo>
                  <a:pt x="8934544" y="2785714"/>
                  <a:pt x="8936449" y="2781895"/>
                  <a:pt x="8938354" y="2778073"/>
                </a:cubicBezTo>
                <a:cubicBezTo>
                  <a:pt x="8938354" y="2778073"/>
                  <a:pt x="8938354" y="2778073"/>
                  <a:pt x="9267924" y="2474329"/>
                </a:cubicBezTo>
                <a:cubicBezTo>
                  <a:pt x="9271734" y="2471465"/>
                  <a:pt x="9276020" y="2470511"/>
                  <a:pt x="9280068" y="2470987"/>
                </a:cubicBezTo>
                <a:close/>
                <a:moveTo>
                  <a:pt x="10440785" y="2470956"/>
                </a:moveTo>
                <a:cubicBezTo>
                  <a:pt x="10444594" y="2471432"/>
                  <a:pt x="10448404" y="2473343"/>
                  <a:pt x="10451262" y="2476209"/>
                </a:cubicBezTo>
                <a:cubicBezTo>
                  <a:pt x="10456977" y="2481941"/>
                  <a:pt x="10456977" y="2491493"/>
                  <a:pt x="10451262" y="2497223"/>
                </a:cubicBezTo>
                <a:cubicBezTo>
                  <a:pt x="10451262" y="2497223"/>
                  <a:pt x="10451262" y="2497223"/>
                  <a:pt x="10121692" y="2800974"/>
                </a:cubicBezTo>
                <a:cubicBezTo>
                  <a:pt x="10114072" y="2806705"/>
                  <a:pt x="10104547" y="2806705"/>
                  <a:pt x="10098832" y="2800974"/>
                </a:cubicBezTo>
                <a:cubicBezTo>
                  <a:pt x="10096927" y="2797153"/>
                  <a:pt x="10095022" y="2793332"/>
                  <a:pt x="10095022" y="2789511"/>
                </a:cubicBezTo>
                <a:cubicBezTo>
                  <a:pt x="10095022" y="2785690"/>
                  <a:pt x="10096927" y="2781870"/>
                  <a:pt x="10100737" y="2778049"/>
                </a:cubicBezTo>
                <a:cubicBezTo>
                  <a:pt x="10100737" y="2778049"/>
                  <a:pt x="10100737" y="2778049"/>
                  <a:pt x="10430307" y="2474298"/>
                </a:cubicBezTo>
                <a:cubicBezTo>
                  <a:pt x="10433165" y="2471432"/>
                  <a:pt x="10436974" y="2470479"/>
                  <a:pt x="10440785" y="2470956"/>
                </a:cubicBezTo>
                <a:close/>
                <a:moveTo>
                  <a:pt x="8710792" y="2467329"/>
                </a:moveTo>
                <a:cubicBezTo>
                  <a:pt x="8716049" y="2467808"/>
                  <a:pt x="8720827" y="2470190"/>
                  <a:pt x="8723695" y="2474959"/>
                </a:cubicBezTo>
                <a:cubicBezTo>
                  <a:pt x="8731341" y="2482590"/>
                  <a:pt x="8729429" y="2495938"/>
                  <a:pt x="8721783" y="2501658"/>
                </a:cubicBezTo>
                <a:cubicBezTo>
                  <a:pt x="8721783" y="2501658"/>
                  <a:pt x="8721783" y="2501658"/>
                  <a:pt x="8389182" y="2780051"/>
                </a:cubicBezTo>
                <a:cubicBezTo>
                  <a:pt x="8381536" y="2787678"/>
                  <a:pt x="8368155" y="2785771"/>
                  <a:pt x="8360509" y="2778145"/>
                </a:cubicBezTo>
                <a:cubicBezTo>
                  <a:pt x="8358598" y="2774333"/>
                  <a:pt x="8356686" y="2768612"/>
                  <a:pt x="8356686" y="2764800"/>
                </a:cubicBezTo>
                <a:cubicBezTo>
                  <a:pt x="8356686" y="2759078"/>
                  <a:pt x="8358598" y="2753357"/>
                  <a:pt x="8364332" y="2749541"/>
                </a:cubicBezTo>
                <a:cubicBezTo>
                  <a:pt x="8364332" y="2749541"/>
                  <a:pt x="8364332" y="2749541"/>
                  <a:pt x="8695022" y="2471144"/>
                </a:cubicBezTo>
                <a:cubicBezTo>
                  <a:pt x="8699801" y="2468282"/>
                  <a:pt x="8705536" y="2466854"/>
                  <a:pt x="8710792" y="2467329"/>
                </a:cubicBezTo>
                <a:close/>
                <a:moveTo>
                  <a:pt x="11018422" y="2467296"/>
                </a:moveTo>
                <a:cubicBezTo>
                  <a:pt x="11023419" y="2467773"/>
                  <a:pt x="11028178" y="2470157"/>
                  <a:pt x="11031984" y="2474925"/>
                </a:cubicBezTo>
                <a:cubicBezTo>
                  <a:pt x="11039598" y="2482552"/>
                  <a:pt x="11037695" y="2495900"/>
                  <a:pt x="11030081" y="2501621"/>
                </a:cubicBezTo>
                <a:cubicBezTo>
                  <a:pt x="11030081" y="2501621"/>
                  <a:pt x="11030081" y="2501621"/>
                  <a:pt x="10698888" y="2780026"/>
                </a:cubicBezTo>
                <a:cubicBezTo>
                  <a:pt x="10689371" y="2787653"/>
                  <a:pt x="10677950" y="2785745"/>
                  <a:pt x="10670337" y="2778118"/>
                </a:cubicBezTo>
                <a:cubicBezTo>
                  <a:pt x="10666530" y="2774304"/>
                  <a:pt x="10666530" y="2768584"/>
                  <a:pt x="10666530" y="2764770"/>
                </a:cubicBezTo>
                <a:cubicBezTo>
                  <a:pt x="10666530" y="2759049"/>
                  <a:pt x="10668433" y="2753329"/>
                  <a:pt x="10672240" y="2749515"/>
                </a:cubicBezTo>
                <a:cubicBezTo>
                  <a:pt x="10672240" y="2749515"/>
                  <a:pt x="10672240" y="2749515"/>
                  <a:pt x="11003433" y="2471111"/>
                </a:cubicBezTo>
                <a:cubicBezTo>
                  <a:pt x="11008191" y="2468250"/>
                  <a:pt x="11013426" y="2466820"/>
                  <a:pt x="11018422" y="2467296"/>
                </a:cubicBezTo>
                <a:close/>
                <a:moveTo>
                  <a:pt x="8147250" y="2462181"/>
                </a:moveTo>
                <a:cubicBezTo>
                  <a:pt x="8153451" y="2462897"/>
                  <a:pt x="8159176" y="2465768"/>
                  <a:pt x="8162992" y="2470551"/>
                </a:cubicBezTo>
                <a:cubicBezTo>
                  <a:pt x="8172533" y="2482029"/>
                  <a:pt x="8170625" y="2497337"/>
                  <a:pt x="8159176" y="2506900"/>
                </a:cubicBezTo>
                <a:cubicBezTo>
                  <a:pt x="8159176" y="2506900"/>
                  <a:pt x="8159176" y="2506900"/>
                  <a:pt x="7825249" y="2759395"/>
                </a:cubicBezTo>
                <a:cubicBezTo>
                  <a:pt x="7813800" y="2767042"/>
                  <a:pt x="7798535" y="2765130"/>
                  <a:pt x="7790902" y="2755567"/>
                </a:cubicBezTo>
                <a:cubicBezTo>
                  <a:pt x="7787086" y="2749827"/>
                  <a:pt x="7785178" y="2746001"/>
                  <a:pt x="7785178" y="2740262"/>
                </a:cubicBezTo>
                <a:cubicBezTo>
                  <a:pt x="7785178" y="2732609"/>
                  <a:pt x="7788994" y="2724958"/>
                  <a:pt x="7794719" y="2719221"/>
                </a:cubicBezTo>
                <a:cubicBezTo>
                  <a:pt x="7794719" y="2719221"/>
                  <a:pt x="7794719" y="2719221"/>
                  <a:pt x="8128645" y="2466726"/>
                </a:cubicBezTo>
                <a:cubicBezTo>
                  <a:pt x="8134370" y="2462897"/>
                  <a:pt x="8141048" y="2461462"/>
                  <a:pt x="8147250" y="2462181"/>
                </a:cubicBezTo>
                <a:close/>
                <a:moveTo>
                  <a:pt x="11591857" y="2462171"/>
                </a:moveTo>
                <a:cubicBezTo>
                  <a:pt x="11598276" y="2462887"/>
                  <a:pt x="11604457" y="2465756"/>
                  <a:pt x="11608260" y="2470542"/>
                </a:cubicBezTo>
                <a:cubicBezTo>
                  <a:pt x="11615868" y="2482017"/>
                  <a:pt x="11613966" y="2497323"/>
                  <a:pt x="11602555" y="2506889"/>
                </a:cubicBezTo>
                <a:cubicBezTo>
                  <a:pt x="11602555" y="2506889"/>
                  <a:pt x="11602555" y="2506889"/>
                  <a:pt x="11271628" y="2759383"/>
                </a:cubicBezTo>
                <a:cubicBezTo>
                  <a:pt x="11260216" y="2767032"/>
                  <a:pt x="11245001" y="2765122"/>
                  <a:pt x="11235492" y="2755558"/>
                </a:cubicBezTo>
                <a:cubicBezTo>
                  <a:pt x="11233590" y="2749817"/>
                  <a:pt x="11231688" y="2745991"/>
                  <a:pt x="11231688" y="2740254"/>
                </a:cubicBezTo>
                <a:cubicBezTo>
                  <a:pt x="11231688" y="2732602"/>
                  <a:pt x="11235492" y="2724949"/>
                  <a:pt x="11241197" y="2719210"/>
                </a:cubicBezTo>
                <a:cubicBezTo>
                  <a:pt x="11241197" y="2719210"/>
                  <a:pt x="11241197" y="2719210"/>
                  <a:pt x="11574027" y="2466717"/>
                </a:cubicBezTo>
                <a:cubicBezTo>
                  <a:pt x="11578781" y="2462887"/>
                  <a:pt x="11585438" y="2461453"/>
                  <a:pt x="11591857" y="2462171"/>
                </a:cubicBezTo>
                <a:close/>
                <a:moveTo>
                  <a:pt x="7591001" y="2459079"/>
                </a:moveTo>
                <a:cubicBezTo>
                  <a:pt x="7598627" y="2460506"/>
                  <a:pt x="7605777" y="2464798"/>
                  <a:pt x="7610543" y="2471476"/>
                </a:cubicBezTo>
                <a:cubicBezTo>
                  <a:pt x="7620076" y="2484828"/>
                  <a:pt x="7616263" y="2501993"/>
                  <a:pt x="7602917" y="2511529"/>
                </a:cubicBezTo>
                <a:cubicBezTo>
                  <a:pt x="7602917" y="2511529"/>
                  <a:pt x="7602917" y="2511529"/>
                  <a:pt x="7267365" y="2738458"/>
                </a:cubicBezTo>
                <a:cubicBezTo>
                  <a:pt x="7254019" y="2747994"/>
                  <a:pt x="7234954" y="2744181"/>
                  <a:pt x="7227327" y="2730832"/>
                </a:cubicBezTo>
                <a:cubicBezTo>
                  <a:pt x="7223514" y="2727017"/>
                  <a:pt x="7221608" y="2721294"/>
                  <a:pt x="7221608" y="2715570"/>
                </a:cubicBezTo>
                <a:cubicBezTo>
                  <a:pt x="7221608" y="2706035"/>
                  <a:pt x="7225421" y="2696499"/>
                  <a:pt x="7234954" y="2690775"/>
                </a:cubicBezTo>
                <a:cubicBezTo>
                  <a:pt x="7234954" y="2690775"/>
                  <a:pt x="7234954" y="2690775"/>
                  <a:pt x="7568599" y="2463845"/>
                </a:cubicBezTo>
                <a:cubicBezTo>
                  <a:pt x="7575272" y="2459079"/>
                  <a:pt x="7583375" y="2457648"/>
                  <a:pt x="7591001" y="2459079"/>
                </a:cubicBezTo>
                <a:close/>
                <a:moveTo>
                  <a:pt x="12139750" y="2459059"/>
                </a:moveTo>
                <a:cubicBezTo>
                  <a:pt x="12139750" y="2459059"/>
                  <a:pt x="12139750" y="2459059"/>
                  <a:pt x="12139750" y="2529860"/>
                </a:cubicBezTo>
                <a:cubicBezTo>
                  <a:pt x="12139750" y="2529860"/>
                  <a:pt x="12139750" y="2529860"/>
                  <a:pt x="11834670" y="2738414"/>
                </a:cubicBezTo>
                <a:cubicBezTo>
                  <a:pt x="11821323" y="2747982"/>
                  <a:pt x="11802255" y="2744155"/>
                  <a:pt x="11792721" y="2730760"/>
                </a:cubicBezTo>
                <a:cubicBezTo>
                  <a:pt x="11788908" y="2726934"/>
                  <a:pt x="11788908" y="2721194"/>
                  <a:pt x="11788908" y="2715453"/>
                </a:cubicBezTo>
                <a:cubicBezTo>
                  <a:pt x="11788908" y="2705886"/>
                  <a:pt x="11792721" y="2696317"/>
                  <a:pt x="11800349" y="2690576"/>
                </a:cubicBezTo>
                <a:lnTo>
                  <a:pt x="12135937" y="2462887"/>
                </a:lnTo>
                <a:cubicBezTo>
                  <a:pt x="12137843" y="2460973"/>
                  <a:pt x="12137843" y="2460973"/>
                  <a:pt x="12139750" y="2459059"/>
                </a:cubicBezTo>
                <a:close/>
                <a:moveTo>
                  <a:pt x="7041900" y="2453933"/>
                </a:moveTo>
                <a:cubicBezTo>
                  <a:pt x="7050473" y="2456082"/>
                  <a:pt x="7058093" y="2461341"/>
                  <a:pt x="7062856" y="2468988"/>
                </a:cubicBezTo>
                <a:cubicBezTo>
                  <a:pt x="7072381" y="2486193"/>
                  <a:pt x="7066666" y="2507224"/>
                  <a:pt x="7051425" y="2516781"/>
                </a:cubicBezTo>
                <a:cubicBezTo>
                  <a:pt x="7051425" y="2516781"/>
                  <a:pt x="7051425" y="2516781"/>
                  <a:pt x="6714236" y="2719384"/>
                </a:cubicBezTo>
                <a:cubicBezTo>
                  <a:pt x="6698995" y="2728943"/>
                  <a:pt x="6678040" y="2723208"/>
                  <a:pt x="6668515" y="2706003"/>
                </a:cubicBezTo>
                <a:cubicBezTo>
                  <a:pt x="6664705" y="2702180"/>
                  <a:pt x="6662800" y="2694533"/>
                  <a:pt x="6662800" y="2688796"/>
                </a:cubicBezTo>
                <a:cubicBezTo>
                  <a:pt x="6662800" y="2677328"/>
                  <a:pt x="6668515" y="2665857"/>
                  <a:pt x="6679945" y="2660125"/>
                </a:cubicBezTo>
                <a:cubicBezTo>
                  <a:pt x="6679945" y="2660125"/>
                  <a:pt x="6679945" y="2660125"/>
                  <a:pt x="7015230" y="2457516"/>
                </a:cubicBezTo>
                <a:cubicBezTo>
                  <a:pt x="7023803" y="2452738"/>
                  <a:pt x="7033328" y="2451782"/>
                  <a:pt x="7041900" y="2453933"/>
                </a:cubicBezTo>
                <a:close/>
                <a:moveTo>
                  <a:pt x="6499365" y="2450542"/>
                </a:moveTo>
                <a:cubicBezTo>
                  <a:pt x="6508652" y="2453622"/>
                  <a:pt x="6516748" y="2460259"/>
                  <a:pt x="6521511" y="2469741"/>
                </a:cubicBezTo>
                <a:cubicBezTo>
                  <a:pt x="6531036" y="2488701"/>
                  <a:pt x="6523416" y="2511455"/>
                  <a:pt x="6506270" y="2520932"/>
                </a:cubicBezTo>
                <a:cubicBezTo>
                  <a:pt x="6506270" y="2520932"/>
                  <a:pt x="6506270" y="2520932"/>
                  <a:pt x="6167176" y="2697234"/>
                </a:cubicBezTo>
                <a:cubicBezTo>
                  <a:pt x="6148125" y="2706713"/>
                  <a:pt x="6125265" y="2699130"/>
                  <a:pt x="6115740" y="2680171"/>
                </a:cubicBezTo>
                <a:cubicBezTo>
                  <a:pt x="6111930" y="2674481"/>
                  <a:pt x="6111930" y="2668794"/>
                  <a:pt x="6111930" y="2663105"/>
                </a:cubicBezTo>
                <a:cubicBezTo>
                  <a:pt x="6111930" y="2649838"/>
                  <a:pt x="6119550" y="2636568"/>
                  <a:pt x="6130980" y="2628984"/>
                </a:cubicBezTo>
                <a:cubicBezTo>
                  <a:pt x="6130980" y="2628984"/>
                  <a:pt x="6130980" y="2628984"/>
                  <a:pt x="6470075" y="2452675"/>
                </a:cubicBezTo>
                <a:cubicBezTo>
                  <a:pt x="6479600" y="2447935"/>
                  <a:pt x="6490078" y="2447460"/>
                  <a:pt x="6499365" y="2450542"/>
                </a:cubicBezTo>
                <a:close/>
                <a:moveTo>
                  <a:pt x="5959672" y="2446994"/>
                </a:moveTo>
                <a:cubicBezTo>
                  <a:pt x="5969941" y="2450800"/>
                  <a:pt x="5978538" y="2458411"/>
                  <a:pt x="5983314" y="2468881"/>
                </a:cubicBezTo>
                <a:cubicBezTo>
                  <a:pt x="5992867" y="2491713"/>
                  <a:pt x="5983314" y="2516446"/>
                  <a:pt x="5962297" y="2525960"/>
                </a:cubicBezTo>
                <a:cubicBezTo>
                  <a:pt x="5962297" y="2525960"/>
                  <a:pt x="5962297" y="2525960"/>
                  <a:pt x="5620300" y="2676247"/>
                </a:cubicBezTo>
                <a:cubicBezTo>
                  <a:pt x="5599284" y="2687664"/>
                  <a:pt x="5574446" y="2676247"/>
                  <a:pt x="5564892" y="2655321"/>
                </a:cubicBezTo>
                <a:cubicBezTo>
                  <a:pt x="5561071" y="2649614"/>
                  <a:pt x="5561071" y="2643905"/>
                  <a:pt x="5561071" y="2638199"/>
                </a:cubicBezTo>
                <a:cubicBezTo>
                  <a:pt x="5561071" y="2621077"/>
                  <a:pt x="5570624" y="2605858"/>
                  <a:pt x="5585909" y="2598249"/>
                </a:cubicBezTo>
                <a:cubicBezTo>
                  <a:pt x="5585909" y="2598249"/>
                  <a:pt x="5585909" y="2598249"/>
                  <a:pt x="5925997" y="2447945"/>
                </a:cubicBezTo>
                <a:cubicBezTo>
                  <a:pt x="5937461" y="2443189"/>
                  <a:pt x="5949401" y="2443189"/>
                  <a:pt x="5959672" y="2446994"/>
                </a:cubicBezTo>
                <a:close/>
                <a:moveTo>
                  <a:pt x="399503" y="2446979"/>
                </a:moveTo>
                <a:cubicBezTo>
                  <a:pt x="410004" y="2450785"/>
                  <a:pt x="419073" y="2458395"/>
                  <a:pt x="423846" y="2468864"/>
                </a:cubicBezTo>
                <a:cubicBezTo>
                  <a:pt x="433392" y="2491693"/>
                  <a:pt x="423846" y="2516427"/>
                  <a:pt x="400935" y="2525942"/>
                </a:cubicBezTo>
                <a:cubicBezTo>
                  <a:pt x="400935" y="2525942"/>
                  <a:pt x="400935" y="2525942"/>
                  <a:pt x="61095" y="2676238"/>
                </a:cubicBezTo>
                <a:cubicBezTo>
                  <a:pt x="40093" y="2687652"/>
                  <a:pt x="13364" y="2676238"/>
                  <a:pt x="3818" y="2655311"/>
                </a:cubicBezTo>
                <a:cubicBezTo>
                  <a:pt x="1909" y="2649602"/>
                  <a:pt x="0" y="2643892"/>
                  <a:pt x="0" y="2638187"/>
                </a:cubicBezTo>
                <a:cubicBezTo>
                  <a:pt x="0" y="2621063"/>
                  <a:pt x="9546" y="2605844"/>
                  <a:pt x="26729" y="2598233"/>
                </a:cubicBezTo>
                <a:cubicBezTo>
                  <a:pt x="26729" y="2598233"/>
                  <a:pt x="26729" y="2598233"/>
                  <a:pt x="366569" y="2447930"/>
                </a:cubicBezTo>
                <a:cubicBezTo>
                  <a:pt x="377070" y="2443174"/>
                  <a:pt x="389002" y="2443174"/>
                  <a:pt x="399503" y="2446979"/>
                </a:cubicBezTo>
                <a:close/>
                <a:moveTo>
                  <a:pt x="5396620" y="2440131"/>
                </a:moveTo>
                <a:cubicBezTo>
                  <a:pt x="5414976" y="2441021"/>
                  <a:pt x="5431727" y="2453117"/>
                  <a:pt x="5438855" y="2471621"/>
                </a:cubicBezTo>
                <a:cubicBezTo>
                  <a:pt x="5448359" y="2496287"/>
                  <a:pt x="5435053" y="2522847"/>
                  <a:pt x="5410341" y="2532340"/>
                </a:cubicBezTo>
                <a:cubicBezTo>
                  <a:pt x="5410341" y="2532340"/>
                  <a:pt x="5410341" y="2532340"/>
                  <a:pt x="5070072" y="2657538"/>
                </a:cubicBezTo>
                <a:cubicBezTo>
                  <a:pt x="5045363" y="2667023"/>
                  <a:pt x="5018752" y="2653744"/>
                  <a:pt x="5009249" y="2629084"/>
                </a:cubicBezTo>
                <a:cubicBezTo>
                  <a:pt x="5007349" y="2623393"/>
                  <a:pt x="5005447" y="2617701"/>
                  <a:pt x="5005447" y="2613907"/>
                </a:cubicBezTo>
                <a:cubicBezTo>
                  <a:pt x="5005447" y="2593040"/>
                  <a:pt x="5018752" y="2575971"/>
                  <a:pt x="5037761" y="2568382"/>
                </a:cubicBezTo>
                <a:cubicBezTo>
                  <a:pt x="5037761" y="2568382"/>
                  <a:pt x="5037761" y="2568382"/>
                  <a:pt x="5378027" y="2443156"/>
                </a:cubicBezTo>
                <a:cubicBezTo>
                  <a:pt x="5384204" y="2440783"/>
                  <a:pt x="5390501" y="2439835"/>
                  <a:pt x="5396620" y="2440131"/>
                </a:cubicBezTo>
                <a:close/>
                <a:moveTo>
                  <a:pt x="930705" y="2440114"/>
                </a:moveTo>
                <a:cubicBezTo>
                  <a:pt x="949140" y="2441005"/>
                  <a:pt x="965965" y="2453100"/>
                  <a:pt x="973124" y="2471600"/>
                </a:cubicBezTo>
                <a:cubicBezTo>
                  <a:pt x="982669" y="2496265"/>
                  <a:pt x="969306" y="2522827"/>
                  <a:pt x="944487" y="2532315"/>
                </a:cubicBezTo>
                <a:cubicBezTo>
                  <a:pt x="944487" y="2532315"/>
                  <a:pt x="944487" y="2532315"/>
                  <a:pt x="602753" y="2657525"/>
                </a:cubicBezTo>
                <a:cubicBezTo>
                  <a:pt x="577934" y="2667012"/>
                  <a:pt x="551206" y="2653730"/>
                  <a:pt x="541661" y="2629070"/>
                </a:cubicBezTo>
                <a:cubicBezTo>
                  <a:pt x="539751" y="2623378"/>
                  <a:pt x="539751" y="2617686"/>
                  <a:pt x="539751" y="2613892"/>
                </a:cubicBezTo>
                <a:cubicBezTo>
                  <a:pt x="539751" y="2593022"/>
                  <a:pt x="551206" y="2575950"/>
                  <a:pt x="570297" y="2568362"/>
                </a:cubicBezTo>
                <a:cubicBezTo>
                  <a:pt x="570297" y="2568362"/>
                  <a:pt x="570297" y="2568362"/>
                  <a:pt x="912032" y="2443139"/>
                </a:cubicBezTo>
                <a:cubicBezTo>
                  <a:pt x="918236" y="2440766"/>
                  <a:pt x="924560" y="2439818"/>
                  <a:pt x="930705" y="2440114"/>
                </a:cubicBezTo>
                <a:close/>
                <a:moveTo>
                  <a:pt x="4847389" y="2434959"/>
                </a:moveTo>
                <a:cubicBezTo>
                  <a:pt x="4867872" y="2437373"/>
                  <a:pt x="4885400" y="2451323"/>
                  <a:pt x="4891125" y="2472791"/>
                </a:cubicBezTo>
                <a:cubicBezTo>
                  <a:pt x="4900664" y="2499505"/>
                  <a:pt x="4883491" y="2528123"/>
                  <a:pt x="4856779" y="2537664"/>
                </a:cubicBezTo>
                <a:cubicBezTo>
                  <a:pt x="4856779" y="2537664"/>
                  <a:pt x="4856779" y="2537664"/>
                  <a:pt x="4513402" y="2638759"/>
                </a:cubicBezTo>
                <a:cubicBezTo>
                  <a:pt x="4484786" y="2646389"/>
                  <a:pt x="4456170" y="2631129"/>
                  <a:pt x="4448539" y="2602516"/>
                </a:cubicBezTo>
                <a:cubicBezTo>
                  <a:pt x="4446631" y="2596792"/>
                  <a:pt x="4446631" y="2592978"/>
                  <a:pt x="4446631" y="2587256"/>
                </a:cubicBezTo>
                <a:cubicBezTo>
                  <a:pt x="4446631" y="2564370"/>
                  <a:pt x="4459985" y="2545294"/>
                  <a:pt x="4482878" y="2537664"/>
                </a:cubicBezTo>
                <a:cubicBezTo>
                  <a:pt x="4482878" y="2537664"/>
                  <a:pt x="4482878" y="2537664"/>
                  <a:pt x="4826251" y="2436537"/>
                </a:cubicBezTo>
                <a:cubicBezTo>
                  <a:pt x="4833406" y="2434630"/>
                  <a:pt x="4840562" y="2434152"/>
                  <a:pt x="4847389" y="2434959"/>
                </a:cubicBezTo>
                <a:close/>
                <a:moveTo>
                  <a:pt x="1482958" y="2434939"/>
                </a:moveTo>
                <a:cubicBezTo>
                  <a:pt x="1503168" y="2437354"/>
                  <a:pt x="1521768" y="2451305"/>
                  <a:pt x="1527491" y="2472769"/>
                </a:cubicBezTo>
                <a:cubicBezTo>
                  <a:pt x="1535122" y="2499479"/>
                  <a:pt x="1519860" y="2528097"/>
                  <a:pt x="1491245" y="2537636"/>
                </a:cubicBezTo>
                <a:cubicBezTo>
                  <a:pt x="1491245" y="2537636"/>
                  <a:pt x="1491245" y="2537636"/>
                  <a:pt x="1147861" y="2638743"/>
                </a:cubicBezTo>
                <a:cubicBezTo>
                  <a:pt x="1121153" y="2646373"/>
                  <a:pt x="1092538" y="2631113"/>
                  <a:pt x="1082999" y="2602496"/>
                </a:cubicBezTo>
                <a:cubicBezTo>
                  <a:pt x="1081092" y="2596773"/>
                  <a:pt x="1081092" y="2592957"/>
                  <a:pt x="1081092" y="2587234"/>
                </a:cubicBezTo>
                <a:cubicBezTo>
                  <a:pt x="1081092" y="2564343"/>
                  <a:pt x="1096353" y="2545267"/>
                  <a:pt x="1119245" y="2537636"/>
                </a:cubicBezTo>
                <a:cubicBezTo>
                  <a:pt x="1119245" y="2537636"/>
                  <a:pt x="1119245" y="2537636"/>
                  <a:pt x="1462630" y="2436519"/>
                </a:cubicBezTo>
                <a:cubicBezTo>
                  <a:pt x="1469307" y="2434611"/>
                  <a:pt x="1476222" y="2434134"/>
                  <a:pt x="1482958" y="2434939"/>
                </a:cubicBezTo>
                <a:close/>
                <a:moveTo>
                  <a:pt x="4270882" y="2431445"/>
                </a:moveTo>
                <a:cubicBezTo>
                  <a:pt x="4301300" y="2425730"/>
                  <a:pt x="4331719" y="2444781"/>
                  <a:pt x="4339323" y="2475264"/>
                </a:cubicBezTo>
                <a:cubicBezTo>
                  <a:pt x="4345027" y="2505752"/>
                  <a:pt x="4326015" y="2536235"/>
                  <a:pt x="4295596" y="2543855"/>
                </a:cubicBezTo>
                <a:cubicBezTo>
                  <a:pt x="4295596" y="2543855"/>
                  <a:pt x="4295596" y="2543855"/>
                  <a:pt x="3951515" y="2618134"/>
                </a:cubicBezTo>
                <a:cubicBezTo>
                  <a:pt x="3921097" y="2625754"/>
                  <a:pt x="3890680" y="2606707"/>
                  <a:pt x="3883074" y="2574330"/>
                </a:cubicBezTo>
                <a:cubicBezTo>
                  <a:pt x="3883074" y="2570518"/>
                  <a:pt x="3883074" y="2566710"/>
                  <a:pt x="3883074" y="2562902"/>
                </a:cubicBezTo>
                <a:cubicBezTo>
                  <a:pt x="3883074" y="2536235"/>
                  <a:pt x="3900185" y="2513371"/>
                  <a:pt x="3926800" y="2507657"/>
                </a:cubicBezTo>
                <a:cubicBezTo>
                  <a:pt x="3926800" y="2507657"/>
                  <a:pt x="3926800" y="2507657"/>
                  <a:pt x="4270882" y="2431445"/>
                </a:cubicBezTo>
                <a:close/>
                <a:moveTo>
                  <a:pt x="2016607" y="2431425"/>
                </a:moveTo>
                <a:cubicBezTo>
                  <a:pt x="2047026" y="2425710"/>
                  <a:pt x="2077447" y="2444760"/>
                  <a:pt x="2085053" y="2475241"/>
                </a:cubicBezTo>
                <a:cubicBezTo>
                  <a:pt x="2090755" y="2505723"/>
                  <a:pt x="2071744" y="2536204"/>
                  <a:pt x="2041322" y="2543824"/>
                </a:cubicBezTo>
                <a:cubicBezTo>
                  <a:pt x="2041322" y="2543824"/>
                  <a:pt x="2041322" y="2543824"/>
                  <a:pt x="1697222" y="2618115"/>
                </a:cubicBezTo>
                <a:cubicBezTo>
                  <a:pt x="1666804" y="2625735"/>
                  <a:pt x="1636386" y="2606686"/>
                  <a:pt x="1630683" y="2574302"/>
                </a:cubicBezTo>
                <a:cubicBezTo>
                  <a:pt x="1628782" y="2570493"/>
                  <a:pt x="1628782" y="2566683"/>
                  <a:pt x="1628782" y="2562874"/>
                </a:cubicBezTo>
                <a:cubicBezTo>
                  <a:pt x="1628782" y="2536204"/>
                  <a:pt x="1647793" y="2513343"/>
                  <a:pt x="1674409" y="2507628"/>
                </a:cubicBezTo>
                <a:cubicBezTo>
                  <a:pt x="1674409" y="2507628"/>
                  <a:pt x="1674409" y="2507628"/>
                  <a:pt x="2016607" y="2431425"/>
                </a:cubicBezTo>
                <a:close/>
                <a:moveTo>
                  <a:pt x="2799530" y="2428905"/>
                </a:moveTo>
                <a:cubicBezTo>
                  <a:pt x="2799530" y="2428905"/>
                  <a:pt x="2799530" y="2428905"/>
                  <a:pt x="3148602" y="2428905"/>
                </a:cubicBezTo>
                <a:cubicBezTo>
                  <a:pt x="3188659" y="2428905"/>
                  <a:pt x="3221084" y="2459456"/>
                  <a:pt x="3221084" y="2499561"/>
                </a:cubicBezTo>
                <a:cubicBezTo>
                  <a:pt x="3221084" y="2537751"/>
                  <a:pt x="3188659" y="2570203"/>
                  <a:pt x="3148602" y="2570203"/>
                </a:cubicBezTo>
                <a:cubicBezTo>
                  <a:pt x="3148602" y="2570203"/>
                  <a:pt x="3148602" y="2570203"/>
                  <a:pt x="2799530" y="2570203"/>
                </a:cubicBezTo>
                <a:cubicBezTo>
                  <a:pt x="2761381" y="2570203"/>
                  <a:pt x="2728954" y="2537751"/>
                  <a:pt x="2728954" y="2499561"/>
                </a:cubicBezTo>
                <a:cubicBezTo>
                  <a:pt x="2728954" y="2459456"/>
                  <a:pt x="2761381" y="2428905"/>
                  <a:pt x="2799530" y="2428905"/>
                </a:cubicBezTo>
                <a:close/>
                <a:moveTo>
                  <a:pt x="3713473" y="2424778"/>
                </a:moveTo>
                <a:cubicBezTo>
                  <a:pt x="3745884" y="2420965"/>
                  <a:pt x="3778291" y="2443829"/>
                  <a:pt x="3782104" y="2478123"/>
                </a:cubicBezTo>
                <a:cubicBezTo>
                  <a:pt x="3787825" y="2510515"/>
                  <a:pt x="3764947" y="2542901"/>
                  <a:pt x="3730631" y="2546711"/>
                </a:cubicBezTo>
                <a:cubicBezTo>
                  <a:pt x="3730631" y="2546711"/>
                  <a:pt x="3730631" y="2546711"/>
                  <a:pt x="3383700" y="2598132"/>
                </a:cubicBezTo>
                <a:cubicBezTo>
                  <a:pt x="3351291" y="2601943"/>
                  <a:pt x="3318884" y="2579088"/>
                  <a:pt x="3315070" y="2546711"/>
                </a:cubicBezTo>
                <a:cubicBezTo>
                  <a:pt x="3313164" y="2542901"/>
                  <a:pt x="3313164" y="2539091"/>
                  <a:pt x="3313164" y="2537188"/>
                </a:cubicBezTo>
                <a:cubicBezTo>
                  <a:pt x="3313164" y="2506705"/>
                  <a:pt x="3336042" y="2480031"/>
                  <a:pt x="3366541" y="2476218"/>
                </a:cubicBezTo>
                <a:cubicBezTo>
                  <a:pt x="3366541" y="2476218"/>
                  <a:pt x="3366541" y="2476218"/>
                  <a:pt x="3713473" y="2424778"/>
                </a:cubicBezTo>
                <a:close/>
                <a:moveTo>
                  <a:pt x="2578386" y="2424755"/>
                </a:moveTo>
                <a:cubicBezTo>
                  <a:pt x="2610794" y="2420945"/>
                  <a:pt x="2643201" y="2443806"/>
                  <a:pt x="2647013" y="2478098"/>
                </a:cubicBezTo>
                <a:cubicBezTo>
                  <a:pt x="2652731" y="2510483"/>
                  <a:pt x="2629856" y="2542867"/>
                  <a:pt x="2595543" y="2546678"/>
                </a:cubicBezTo>
                <a:cubicBezTo>
                  <a:pt x="2595543" y="2546678"/>
                  <a:pt x="2595543" y="2546678"/>
                  <a:pt x="2248597" y="2598110"/>
                </a:cubicBezTo>
                <a:cubicBezTo>
                  <a:pt x="2216190" y="2601920"/>
                  <a:pt x="2183783" y="2579061"/>
                  <a:pt x="2179970" y="2546678"/>
                </a:cubicBezTo>
                <a:cubicBezTo>
                  <a:pt x="2178063" y="2542867"/>
                  <a:pt x="2178063" y="2539057"/>
                  <a:pt x="2178063" y="2537153"/>
                </a:cubicBezTo>
                <a:cubicBezTo>
                  <a:pt x="2178063" y="2506672"/>
                  <a:pt x="2200939" y="2480001"/>
                  <a:pt x="2231440" y="2476192"/>
                </a:cubicBezTo>
                <a:cubicBezTo>
                  <a:pt x="2231440" y="2476192"/>
                  <a:pt x="2231440" y="2476192"/>
                  <a:pt x="2578386" y="2424755"/>
                </a:cubicBezTo>
                <a:close/>
                <a:moveTo>
                  <a:pt x="9856995" y="2158848"/>
                </a:moveTo>
                <a:cubicBezTo>
                  <a:pt x="9860561" y="2158848"/>
                  <a:pt x="9863889" y="2160276"/>
                  <a:pt x="9865791" y="2163134"/>
                </a:cubicBezTo>
                <a:cubicBezTo>
                  <a:pt x="9869594" y="2165038"/>
                  <a:pt x="9869594" y="2168849"/>
                  <a:pt x="9869594" y="2172659"/>
                </a:cubicBezTo>
                <a:cubicBezTo>
                  <a:pt x="9869594" y="2176469"/>
                  <a:pt x="9869594" y="2180278"/>
                  <a:pt x="9865791" y="2182184"/>
                </a:cubicBezTo>
                <a:cubicBezTo>
                  <a:pt x="9865791" y="2182184"/>
                  <a:pt x="9865791" y="2182184"/>
                  <a:pt x="9536809" y="2494604"/>
                </a:cubicBezTo>
                <a:cubicBezTo>
                  <a:pt x="9533005" y="2500320"/>
                  <a:pt x="9523497" y="2500320"/>
                  <a:pt x="9517792" y="2494604"/>
                </a:cubicBezTo>
                <a:cubicBezTo>
                  <a:pt x="9513989" y="2488889"/>
                  <a:pt x="9513989" y="2481268"/>
                  <a:pt x="9519694" y="2475555"/>
                </a:cubicBezTo>
                <a:cubicBezTo>
                  <a:pt x="9519694" y="2475555"/>
                  <a:pt x="9519694" y="2475555"/>
                  <a:pt x="9846774" y="2163134"/>
                </a:cubicBezTo>
                <a:cubicBezTo>
                  <a:pt x="9849627" y="2160276"/>
                  <a:pt x="9853430" y="2158848"/>
                  <a:pt x="9856995" y="2158848"/>
                </a:cubicBezTo>
                <a:close/>
                <a:moveTo>
                  <a:pt x="9280994" y="2152757"/>
                </a:moveTo>
                <a:cubicBezTo>
                  <a:pt x="9285526" y="2152995"/>
                  <a:pt x="9289819" y="2154905"/>
                  <a:pt x="9292682" y="2158723"/>
                </a:cubicBezTo>
                <a:cubicBezTo>
                  <a:pt x="9296499" y="2162540"/>
                  <a:pt x="9296499" y="2166358"/>
                  <a:pt x="9296499" y="2170175"/>
                </a:cubicBezTo>
                <a:cubicBezTo>
                  <a:pt x="9296499" y="2175900"/>
                  <a:pt x="9294591" y="2181628"/>
                  <a:pt x="9290774" y="2183535"/>
                </a:cubicBezTo>
                <a:cubicBezTo>
                  <a:pt x="9290774" y="2183535"/>
                  <a:pt x="9290774" y="2183535"/>
                  <a:pt x="8960635" y="2475567"/>
                </a:cubicBezTo>
                <a:cubicBezTo>
                  <a:pt x="8953002" y="2481289"/>
                  <a:pt x="8941552" y="2481289"/>
                  <a:pt x="8935827" y="2473653"/>
                </a:cubicBezTo>
                <a:cubicBezTo>
                  <a:pt x="8928194" y="2466019"/>
                  <a:pt x="8930102" y="2454566"/>
                  <a:pt x="8935827" y="2448839"/>
                </a:cubicBezTo>
                <a:cubicBezTo>
                  <a:pt x="8935827" y="2448839"/>
                  <a:pt x="8935827" y="2448839"/>
                  <a:pt x="9267874" y="2156814"/>
                </a:cubicBezTo>
                <a:cubicBezTo>
                  <a:pt x="9271691" y="2153949"/>
                  <a:pt x="9276462" y="2152518"/>
                  <a:pt x="9280994" y="2152757"/>
                </a:cubicBezTo>
                <a:close/>
                <a:moveTo>
                  <a:pt x="10441167" y="2152737"/>
                </a:moveTo>
                <a:cubicBezTo>
                  <a:pt x="10445695" y="2152975"/>
                  <a:pt x="10449985" y="2154884"/>
                  <a:pt x="10452845" y="2158701"/>
                </a:cubicBezTo>
                <a:cubicBezTo>
                  <a:pt x="10456658" y="2162518"/>
                  <a:pt x="10458565" y="2166335"/>
                  <a:pt x="10458565" y="2170154"/>
                </a:cubicBezTo>
                <a:cubicBezTo>
                  <a:pt x="10458565" y="2175879"/>
                  <a:pt x="10456658" y="2181605"/>
                  <a:pt x="10452845" y="2183515"/>
                </a:cubicBezTo>
                <a:cubicBezTo>
                  <a:pt x="10452845" y="2183515"/>
                  <a:pt x="10452845" y="2183515"/>
                  <a:pt x="10121085" y="2475541"/>
                </a:cubicBezTo>
                <a:cubicBezTo>
                  <a:pt x="10113459" y="2481266"/>
                  <a:pt x="10102019" y="2481266"/>
                  <a:pt x="10096299" y="2473632"/>
                </a:cubicBezTo>
                <a:cubicBezTo>
                  <a:pt x="10088672" y="2465997"/>
                  <a:pt x="10090579" y="2454545"/>
                  <a:pt x="10098205" y="2448819"/>
                </a:cubicBezTo>
                <a:cubicBezTo>
                  <a:pt x="10098205" y="2448819"/>
                  <a:pt x="10098205" y="2448819"/>
                  <a:pt x="10428058" y="2156792"/>
                </a:cubicBezTo>
                <a:cubicBezTo>
                  <a:pt x="10431871" y="2153930"/>
                  <a:pt x="10436638" y="2152497"/>
                  <a:pt x="10441167" y="2152737"/>
                </a:cubicBezTo>
                <a:close/>
                <a:moveTo>
                  <a:pt x="8711083" y="2147846"/>
                </a:moveTo>
                <a:cubicBezTo>
                  <a:pt x="8716565" y="2148561"/>
                  <a:pt x="8721808" y="2151431"/>
                  <a:pt x="8725621" y="2156214"/>
                </a:cubicBezTo>
                <a:cubicBezTo>
                  <a:pt x="8729434" y="2160039"/>
                  <a:pt x="8731341" y="2163866"/>
                  <a:pt x="8731341" y="2169603"/>
                </a:cubicBezTo>
                <a:cubicBezTo>
                  <a:pt x="8731341" y="2175340"/>
                  <a:pt x="8727528" y="2181077"/>
                  <a:pt x="8723715" y="2186815"/>
                </a:cubicBezTo>
                <a:cubicBezTo>
                  <a:pt x="8723715" y="2186815"/>
                  <a:pt x="8723715" y="2186815"/>
                  <a:pt x="8390055" y="2454587"/>
                </a:cubicBezTo>
                <a:cubicBezTo>
                  <a:pt x="8380522" y="2462239"/>
                  <a:pt x="8367176" y="2460324"/>
                  <a:pt x="8359549" y="2450760"/>
                </a:cubicBezTo>
                <a:cubicBezTo>
                  <a:pt x="8351923" y="2441196"/>
                  <a:pt x="8353830" y="2427807"/>
                  <a:pt x="8363363" y="2420157"/>
                </a:cubicBezTo>
                <a:cubicBezTo>
                  <a:pt x="8363363" y="2420157"/>
                  <a:pt x="8363363" y="2420157"/>
                  <a:pt x="8695115" y="2152388"/>
                </a:cubicBezTo>
                <a:cubicBezTo>
                  <a:pt x="8699881" y="2148561"/>
                  <a:pt x="8705601" y="2147128"/>
                  <a:pt x="8711083" y="2147846"/>
                </a:cubicBezTo>
                <a:close/>
                <a:moveTo>
                  <a:pt x="11019424" y="2147822"/>
                </a:moveTo>
                <a:cubicBezTo>
                  <a:pt x="11024883" y="2148539"/>
                  <a:pt x="11030104" y="2151408"/>
                  <a:pt x="11033901" y="2156190"/>
                </a:cubicBezTo>
                <a:cubicBezTo>
                  <a:pt x="11037698" y="2160015"/>
                  <a:pt x="11039597" y="2163840"/>
                  <a:pt x="11039597" y="2169578"/>
                </a:cubicBezTo>
                <a:cubicBezTo>
                  <a:pt x="11039597" y="2175316"/>
                  <a:pt x="11035800" y="2181054"/>
                  <a:pt x="11030104" y="2186792"/>
                </a:cubicBezTo>
                <a:cubicBezTo>
                  <a:pt x="11030104" y="2186792"/>
                  <a:pt x="11030104" y="2186792"/>
                  <a:pt x="10699740" y="2454563"/>
                </a:cubicBezTo>
                <a:cubicBezTo>
                  <a:pt x="10690247" y="2462214"/>
                  <a:pt x="10676956" y="2460301"/>
                  <a:pt x="10669362" y="2450738"/>
                </a:cubicBezTo>
                <a:cubicBezTo>
                  <a:pt x="10661767" y="2441175"/>
                  <a:pt x="10663666" y="2427786"/>
                  <a:pt x="10673159" y="2420136"/>
                </a:cubicBezTo>
                <a:cubicBezTo>
                  <a:pt x="10673159" y="2420136"/>
                  <a:pt x="10673159" y="2420136"/>
                  <a:pt x="11003523" y="2152364"/>
                </a:cubicBezTo>
                <a:cubicBezTo>
                  <a:pt x="11008269" y="2148539"/>
                  <a:pt x="11013965" y="2147105"/>
                  <a:pt x="11019424" y="2147822"/>
                </a:cubicBezTo>
                <a:close/>
                <a:moveTo>
                  <a:pt x="8148561" y="2143310"/>
                </a:moveTo>
                <a:cubicBezTo>
                  <a:pt x="8155228" y="2144265"/>
                  <a:pt x="8161420" y="2147601"/>
                  <a:pt x="8165230" y="2153323"/>
                </a:cubicBezTo>
                <a:cubicBezTo>
                  <a:pt x="8169040" y="2157139"/>
                  <a:pt x="8170945" y="2162858"/>
                  <a:pt x="8170945" y="2168580"/>
                </a:cubicBezTo>
                <a:cubicBezTo>
                  <a:pt x="8170945" y="2176207"/>
                  <a:pt x="8167135" y="2185745"/>
                  <a:pt x="8159515" y="2189556"/>
                </a:cubicBezTo>
                <a:cubicBezTo>
                  <a:pt x="8159515" y="2189556"/>
                  <a:pt x="8159515" y="2189556"/>
                  <a:pt x="7826135" y="2433651"/>
                </a:cubicBezTo>
                <a:cubicBezTo>
                  <a:pt x="7814705" y="2443186"/>
                  <a:pt x="7797560" y="2441279"/>
                  <a:pt x="7789940" y="2427930"/>
                </a:cubicBezTo>
                <a:cubicBezTo>
                  <a:pt x="7780415" y="2416487"/>
                  <a:pt x="7784225" y="2401228"/>
                  <a:pt x="7795655" y="2391692"/>
                </a:cubicBezTo>
                <a:cubicBezTo>
                  <a:pt x="7795655" y="2391692"/>
                  <a:pt x="7795655" y="2391692"/>
                  <a:pt x="8129034" y="2147602"/>
                </a:cubicBezTo>
                <a:cubicBezTo>
                  <a:pt x="8134749" y="2143784"/>
                  <a:pt x="8141893" y="2142354"/>
                  <a:pt x="8148561" y="2143310"/>
                </a:cubicBezTo>
                <a:close/>
                <a:moveTo>
                  <a:pt x="11593070" y="2143308"/>
                </a:moveTo>
                <a:cubicBezTo>
                  <a:pt x="11599505" y="2144262"/>
                  <a:pt x="11605702" y="2147600"/>
                  <a:pt x="11610468" y="2153320"/>
                </a:cubicBezTo>
                <a:cubicBezTo>
                  <a:pt x="11614281" y="2157135"/>
                  <a:pt x="11614281" y="2162856"/>
                  <a:pt x="11614281" y="2168577"/>
                </a:cubicBezTo>
                <a:cubicBezTo>
                  <a:pt x="11614281" y="2176205"/>
                  <a:pt x="11610468" y="2185741"/>
                  <a:pt x="11604748" y="2189556"/>
                </a:cubicBezTo>
                <a:cubicBezTo>
                  <a:pt x="11604748" y="2189556"/>
                  <a:pt x="11604748" y="2189556"/>
                  <a:pt x="11271096" y="2433649"/>
                </a:cubicBezTo>
                <a:cubicBezTo>
                  <a:pt x="11259657" y="2443183"/>
                  <a:pt x="11242497" y="2441278"/>
                  <a:pt x="11232964" y="2427928"/>
                </a:cubicBezTo>
                <a:cubicBezTo>
                  <a:pt x="11225338" y="2416484"/>
                  <a:pt x="11227245" y="2401226"/>
                  <a:pt x="11238684" y="2391689"/>
                </a:cubicBezTo>
                <a:cubicBezTo>
                  <a:pt x="11238684" y="2391689"/>
                  <a:pt x="11238684" y="2391689"/>
                  <a:pt x="11574243" y="2147600"/>
                </a:cubicBezTo>
                <a:cubicBezTo>
                  <a:pt x="11579963" y="2143784"/>
                  <a:pt x="11586636" y="2142354"/>
                  <a:pt x="11593070" y="2143308"/>
                </a:cubicBezTo>
                <a:close/>
                <a:moveTo>
                  <a:pt x="12139750" y="2139967"/>
                </a:moveTo>
                <a:cubicBezTo>
                  <a:pt x="12139750" y="2139967"/>
                  <a:pt x="12139750" y="2139967"/>
                  <a:pt x="12139750" y="2212438"/>
                </a:cubicBezTo>
                <a:cubicBezTo>
                  <a:pt x="12139750" y="2212438"/>
                  <a:pt x="12139750" y="2212438"/>
                  <a:pt x="11835489" y="2414592"/>
                </a:cubicBezTo>
                <a:cubicBezTo>
                  <a:pt x="11820276" y="2424130"/>
                  <a:pt x="11801260" y="2420316"/>
                  <a:pt x="11793653" y="2406965"/>
                </a:cubicBezTo>
                <a:cubicBezTo>
                  <a:pt x="11784145" y="2391705"/>
                  <a:pt x="11787948" y="2372634"/>
                  <a:pt x="11801260" y="2363100"/>
                </a:cubicBezTo>
                <a:lnTo>
                  <a:pt x="12135947" y="2141874"/>
                </a:lnTo>
                <a:cubicBezTo>
                  <a:pt x="12137848" y="2141874"/>
                  <a:pt x="12137848" y="2139967"/>
                  <a:pt x="12139750" y="2139967"/>
                </a:cubicBezTo>
                <a:close/>
                <a:moveTo>
                  <a:pt x="7591500" y="2137042"/>
                </a:moveTo>
                <a:cubicBezTo>
                  <a:pt x="7599120" y="2138712"/>
                  <a:pt x="7605788" y="2143488"/>
                  <a:pt x="7609598" y="2151126"/>
                </a:cubicBezTo>
                <a:cubicBezTo>
                  <a:pt x="7613408" y="2154944"/>
                  <a:pt x="7615313" y="2162582"/>
                  <a:pt x="7615313" y="2168310"/>
                </a:cubicBezTo>
                <a:cubicBezTo>
                  <a:pt x="7615313" y="2177854"/>
                  <a:pt x="7611503" y="2187402"/>
                  <a:pt x="7601978" y="2193129"/>
                </a:cubicBezTo>
                <a:cubicBezTo>
                  <a:pt x="7601978" y="2193129"/>
                  <a:pt x="7601978" y="2193129"/>
                  <a:pt x="7266693" y="2414586"/>
                </a:cubicBezTo>
                <a:cubicBezTo>
                  <a:pt x="7253358" y="2424132"/>
                  <a:pt x="7234308" y="2420313"/>
                  <a:pt x="7224783" y="2406948"/>
                </a:cubicBezTo>
                <a:cubicBezTo>
                  <a:pt x="7215258" y="2391672"/>
                  <a:pt x="7219068" y="2372581"/>
                  <a:pt x="7232403" y="2363036"/>
                </a:cubicBezTo>
                <a:cubicBezTo>
                  <a:pt x="7232403" y="2363036"/>
                  <a:pt x="7232403" y="2363036"/>
                  <a:pt x="7567687" y="2141577"/>
                </a:cubicBezTo>
                <a:cubicBezTo>
                  <a:pt x="7575307" y="2136802"/>
                  <a:pt x="7583880" y="2135369"/>
                  <a:pt x="7591500" y="2137042"/>
                </a:cubicBezTo>
                <a:close/>
                <a:moveTo>
                  <a:pt x="7042453" y="2131898"/>
                </a:moveTo>
                <a:cubicBezTo>
                  <a:pt x="7051053" y="2134287"/>
                  <a:pt x="7058696" y="2140032"/>
                  <a:pt x="7063473" y="2148647"/>
                </a:cubicBezTo>
                <a:cubicBezTo>
                  <a:pt x="7067295" y="2154388"/>
                  <a:pt x="7069206" y="2160130"/>
                  <a:pt x="7069206" y="2165871"/>
                </a:cubicBezTo>
                <a:cubicBezTo>
                  <a:pt x="7069206" y="2177352"/>
                  <a:pt x="7061562" y="2188835"/>
                  <a:pt x="7052008" y="2196489"/>
                </a:cubicBezTo>
                <a:cubicBezTo>
                  <a:pt x="7052008" y="2196489"/>
                  <a:pt x="7052008" y="2196489"/>
                  <a:pt x="6713777" y="2395511"/>
                </a:cubicBezTo>
                <a:cubicBezTo>
                  <a:pt x="6696579" y="2405078"/>
                  <a:pt x="6675559" y="2399339"/>
                  <a:pt x="6666004" y="2382111"/>
                </a:cubicBezTo>
                <a:cubicBezTo>
                  <a:pt x="6656450" y="2366802"/>
                  <a:pt x="6662182" y="2345751"/>
                  <a:pt x="6679381" y="2334271"/>
                </a:cubicBezTo>
                <a:cubicBezTo>
                  <a:pt x="6679381" y="2334271"/>
                  <a:pt x="6679381" y="2334271"/>
                  <a:pt x="7015700" y="2135246"/>
                </a:cubicBezTo>
                <a:cubicBezTo>
                  <a:pt x="7024300" y="2130463"/>
                  <a:pt x="7033854" y="2129506"/>
                  <a:pt x="7042453" y="2131898"/>
                </a:cubicBezTo>
                <a:close/>
                <a:moveTo>
                  <a:pt x="6500021" y="2128305"/>
                </a:moveTo>
                <a:cubicBezTo>
                  <a:pt x="6509301" y="2131404"/>
                  <a:pt x="6517391" y="2138081"/>
                  <a:pt x="6522150" y="2147621"/>
                </a:cubicBezTo>
                <a:cubicBezTo>
                  <a:pt x="6525957" y="2153344"/>
                  <a:pt x="6527861" y="2159065"/>
                  <a:pt x="6527861" y="2164788"/>
                </a:cubicBezTo>
                <a:cubicBezTo>
                  <a:pt x="6527861" y="2180046"/>
                  <a:pt x="6520246" y="2193396"/>
                  <a:pt x="6506921" y="2199117"/>
                </a:cubicBezTo>
                <a:cubicBezTo>
                  <a:pt x="6506921" y="2199117"/>
                  <a:pt x="6506921" y="2199117"/>
                  <a:pt x="6168083" y="2374582"/>
                </a:cubicBezTo>
                <a:cubicBezTo>
                  <a:pt x="6149047" y="2386027"/>
                  <a:pt x="6126204" y="2378398"/>
                  <a:pt x="6116686" y="2359325"/>
                </a:cubicBezTo>
                <a:cubicBezTo>
                  <a:pt x="6107168" y="2340253"/>
                  <a:pt x="6114782" y="2317365"/>
                  <a:pt x="6131914" y="2305910"/>
                </a:cubicBezTo>
                <a:cubicBezTo>
                  <a:pt x="6131914" y="2305910"/>
                  <a:pt x="6131914" y="2305910"/>
                  <a:pt x="6470753" y="2130452"/>
                </a:cubicBezTo>
                <a:cubicBezTo>
                  <a:pt x="6480271" y="2125684"/>
                  <a:pt x="6490741" y="2125207"/>
                  <a:pt x="6500021" y="2128305"/>
                </a:cubicBezTo>
                <a:close/>
                <a:moveTo>
                  <a:pt x="5959154" y="2123129"/>
                </a:moveTo>
                <a:cubicBezTo>
                  <a:pt x="5969385" y="2126931"/>
                  <a:pt x="5977952" y="2134540"/>
                  <a:pt x="5982710" y="2145011"/>
                </a:cubicBezTo>
                <a:cubicBezTo>
                  <a:pt x="5984614" y="2150717"/>
                  <a:pt x="5986518" y="2158328"/>
                  <a:pt x="5986518" y="2164036"/>
                </a:cubicBezTo>
                <a:cubicBezTo>
                  <a:pt x="5986518" y="2179257"/>
                  <a:pt x="5977000" y="2196381"/>
                  <a:pt x="5961771" y="2202088"/>
                </a:cubicBezTo>
                <a:cubicBezTo>
                  <a:pt x="5961771" y="2202088"/>
                  <a:pt x="5961771" y="2202088"/>
                  <a:pt x="5621031" y="2354289"/>
                </a:cubicBezTo>
                <a:cubicBezTo>
                  <a:pt x="5600091" y="2363801"/>
                  <a:pt x="5575344" y="2354289"/>
                  <a:pt x="5565827" y="2333361"/>
                </a:cubicBezTo>
                <a:cubicBezTo>
                  <a:pt x="5556309" y="2312431"/>
                  <a:pt x="5565827" y="2285786"/>
                  <a:pt x="5586767" y="2276282"/>
                </a:cubicBezTo>
                <a:cubicBezTo>
                  <a:pt x="5586767" y="2276282"/>
                  <a:pt x="5586767" y="2276282"/>
                  <a:pt x="5925602" y="2124078"/>
                </a:cubicBezTo>
                <a:cubicBezTo>
                  <a:pt x="5937024" y="2119323"/>
                  <a:pt x="5948922" y="2119323"/>
                  <a:pt x="5959154" y="2123129"/>
                </a:cubicBezTo>
                <a:close/>
                <a:moveTo>
                  <a:pt x="398983" y="2123125"/>
                </a:moveTo>
                <a:cubicBezTo>
                  <a:pt x="409445" y="2126931"/>
                  <a:pt x="418480" y="2134539"/>
                  <a:pt x="423236" y="2145008"/>
                </a:cubicBezTo>
                <a:cubicBezTo>
                  <a:pt x="425138" y="2150715"/>
                  <a:pt x="427040" y="2158327"/>
                  <a:pt x="427040" y="2164035"/>
                </a:cubicBezTo>
                <a:cubicBezTo>
                  <a:pt x="427040" y="2179255"/>
                  <a:pt x="417529" y="2196379"/>
                  <a:pt x="402311" y="2202084"/>
                </a:cubicBezTo>
                <a:cubicBezTo>
                  <a:pt x="402311" y="2202084"/>
                  <a:pt x="402311" y="2202084"/>
                  <a:pt x="61813" y="2354287"/>
                </a:cubicBezTo>
                <a:cubicBezTo>
                  <a:pt x="40889" y="2363801"/>
                  <a:pt x="16160" y="2354287"/>
                  <a:pt x="6649" y="2333359"/>
                </a:cubicBezTo>
                <a:cubicBezTo>
                  <a:pt x="-4765" y="2312430"/>
                  <a:pt x="4746" y="2285786"/>
                  <a:pt x="27573" y="2276282"/>
                </a:cubicBezTo>
                <a:cubicBezTo>
                  <a:pt x="27573" y="2276282"/>
                  <a:pt x="27573" y="2276282"/>
                  <a:pt x="366169" y="2124076"/>
                </a:cubicBezTo>
                <a:cubicBezTo>
                  <a:pt x="376632" y="2119322"/>
                  <a:pt x="388520" y="2119322"/>
                  <a:pt x="398983" y="2123125"/>
                </a:cubicBezTo>
                <a:close/>
                <a:moveTo>
                  <a:pt x="5396847" y="2116229"/>
                </a:moveTo>
                <a:cubicBezTo>
                  <a:pt x="5414924" y="2117027"/>
                  <a:pt x="5432463" y="2128747"/>
                  <a:pt x="5438190" y="2145804"/>
                </a:cubicBezTo>
                <a:cubicBezTo>
                  <a:pt x="5442009" y="2151490"/>
                  <a:pt x="5442009" y="2157173"/>
                  <a:pt x="5442009" y="2162858"/>
                </a:cubicBezTo>
                <a:cubicBezTo>
                  <a:pt x="5442009" y="2181807"/>
                  <a:pt x="5430554" y="2198859"/>
                  <a:pt x="5411464" y="2206436"/>
                </a:cubicBezTo>
                <a:cubicBezTo>
                  <a:pt x="5411464" y="2206436"/>
                  <a:pt x="5411464" y="2206436"/>
                  <a:pt x="5069728" y="2335278"/>
                </a:cubicBezTo>
                <a:cubicBezTo>
                  <a:pt x="5044912" y="2344747"/>
                  <a:pt x="5018187" y="2333383"/>
                  <a:pt x="5008642" y="2308745"/>
                </a:cubicBezTo>
                <a:cubicBezTo>
                  <a:pt x="4999097" y="2284110"/>
                  <a:pt x="5012460" y="2257593"/>
                  <a:pt x="5037275" y="2248119"/>
                </a:cubicBezTo>
                <a:cubicBezTo>
                  <a:pt x="5037275" y="2248119"/>
                  <a:pt x="5037275" y="2248119"/>
                  <a:pt x="5379009" y="2119278"/>
                </a:cubicBezTo>
                <a:cubicBezTo>
                  <a:pt x="5384737" y="2116909"/>
                  <a:pt x="5390821" y="2115962"/>
                  <a:pt x="5396847" y="2116229"/>
                </a:cubicBezTo>
                <a:close/>
                <a:moveTo>
                  <a:pt x="930370" y="2116224"/>
                </a:moveTo>
                <a:cubicBezTo>
                  <a:pt x="948819" y="2117027"/>
                  <a:pt x="965655" y="2128747"/>
                  <a:pt x="972820" y="2145802"/>
                </a:cubicBezTo>
                <a:cubicBezTo>
                  <a:pt x="974730" y="2151487"/>
                  <a:pt x="974730" y="2157173"/>
                  <a:pt x="974730" y="2162856"/>
                </a:cubicBezTo>
                <a:cubicBezTo>
                  <a:pt x="974730" y="2181804"/>
                  <a:pt x="963267" y="2198857"/>
                  <a:pt x="944162" y="2206434"/>
                </a:cubicBezTo>
                <a:cubicBezTo>
                  <a:pt x="944162" y="2206434"/>
                  <a:pt x="944162" y="2206434"/>
                  <a:pt x="602179" y="2335276"/>
                </a:cubicBezTo>
                <a:cubicBezTo>
                  <a:pt x="579252" y="2344745"/>
                  <a:pt x="550595" y="2333380"/>
                  <a:pt x="542953" y="2308745"/>
                </a:cubicBezTo>
                <a:cubicBezTo>
                  <a:pt x="533400" y="2284110"/>
                  <a:pt x="544863" y="2257591"/>
                  <a:pt x="569700" y="2248116"/>
                </a:cubicBezTo>
                <a:cubicBezTo>
                  <a:pt x="569700" y="2248116"/>
                  <a:pt x="569700" y="2248116"/>
                  <a:pt x="911683" y="2119276"/>
                </a:cubicBezTo>
                <a:cubicBezTo>
                  <a:pt x="917892" y="2116906"/>
                  <a:pt x="924221" y="2115959"/>
                  <a:pt x="930370" y="2116224"/>
                </a:cubicBezTo>
                <a:close/>
                <a:moveTo>
                  <a:pt x="4845975" y="2110281"/>
                </a:moveTo>
                <a:cubicBezTo>
                  <a:pt x="4865754" y="2111881"/>
                  <a:pt x="4883652" y="2125767"/>
                  <a:pt x="4890814" y="2147142"/>
                </a:cubicBezTo>
                <a:cubicBezTo>
                  <a:pt x="4892723" y="2150943"/>
                  <a:pt x="4892723" y="2156641"/>
                  <a:pt x="4892723" y="2162340"/>
                </a:cubicBezTo>
                <a:cubicBezTo>
                  <a:pt x="4892723" y="2183235"/>
                  <a:pt x="4879357" y="2204129"/>
                  <a:pt x="4856445" y="2209828"/>
                </a:cubicBezTo>
                <a:cubicBezTo>
                  <a:pt x="4856445" y="2209828"/>
                  <a:pt x="4856445" y="2209828"/>
                  <a:pt x="4512821" y="2316199"/>
                </a:cubicBezTo>
                <a:cubicBezTo>
                  <a:pt x="4486097" y="2325699"/>
                  <a:pt x="4457461" y="2310497"/>
                  <a:pt x="4449824" y="2283899"/>
                </a:cubicBezTo>
                <a:cubicBezTo>
                  <a:pt x="4440279" y="2255416"/>
                  <a:pt x="4455552" y="2226923"/>
                  <a:pt x="4482278" y="2219324"/>
                </a:cubicBezTo>
                <a:cubicBezTo>
                  <a:pt x="4482278" y="2219324"/>
                  <a:pt x="4482278" y="2219324"/>
                  <a:pt x="4825898" y="2112951"/>
                </a:cubicBezTo>
                <a:cubicBezTo>
                  <a:pt x="4832581" y="2110576"/>
                  <a:pt x="4839383" y="2109746"/>
                  <a:pt x="4845975" y="2110281"/>
                </a:cubicBezTo>
                <a:close/>
                <a:moveTo>
                  <a:pt x="1482447" y="2110278"/>
                </a:moveTo>
                <a:cubicBezTo>
                  <a:pt x="1502079" y="2111879"/>
                  <a:pt x="1519569" y="2125767"/>
                  <a:pt x="1525280" y="2147139"/>
                </a:cubicBezTo>
                <a:cubicBezTo>
                  <a:pt x="1527184" y="2150938"/>
                  <a:pt x="1527184" y="2156638"/>
                  <a:pt x="1527184" y="2162337"/>
                </a:cubicBezTo>
                <a:cubicBezTo>
                  <a:pt x="1527184" y="2183231"/>
                  <a:pt x="1513858" y="2204128"/>
                  <a:pt x="1492917" y="2209825"/>
                </a:cubicBezTo>
                <a:cubicBezTo>
                  <a:pt x="1492917" y="2209825"/>
                  <a:pt x="1492917" y="2209825"/>
                  <a:pt x="1150255" y="2316198"/>
                </a:cubicBezTo>
                <a:cubicBezTo>
                  <a:pt x="1123603" y="2325698"/>
                  <a:pt x="1093145" y="2310497"/>
                  <a:pt x="1085530" y="2283899"/>
                </a:cubicBezTo>
                <a:cubicBezTo>
                  <a:pt x="1077915" y="2255414"/>
                  <a:pt x="1093145" y="2226922"/>
                  <a:pt x="1119796" y="2219322"/>
                </a:cubicBezTo>
                <a:cubicBezTo>
                  <a:pt x="1119796" y="2219322"/>
                  <a:pt x="1119796" y="2219322"/>
                  <a:pt x="1462458" y="2112949"/>
                </a:cubicBezTo>
                <a:cubicBezTo>
                  <a:pt x="1469121" y="2110574"/>
                  <a:pt x="1475903" y="2109743"/>
                  <a:pt x="1482447" y="2110278"/>
                </a:cubicBezTo>
                <a:close/>
                <a:moveTo>
                  <a:pt x="4292467" y="2106615"/>
                </a:moveTo>
                <a:cubicBezTo>
                  <a:pt x="4314317" y="2109639"/>
                  <a:pt x="4332943" y="2124921"/>
                  <a:pt x="4338673" y="2147679"/>
                </a:cubicBezTo>
                <a:cubicBezTo>
                  <a:pt x="4338673" y="2151471"/>
                  <a:pt x="4338673" y="2157159"/>
                  <a:pt x="4338673" y="2160953"/>
                </a:cubicBezTo>
                <a:cubicBezTo>
                  <a:pt x="4338673" y="2185604"/>
                  <a:pt x="4321480" y="2208355"/>
                  <a:pt x="4296646" y="2214045"/>
                </a:cubicBezTo>
                <a:cubicBezTo>
                  <a:pt x="4296646" y="2214045"/>
                  <a:pt x="4296646" y="2214045"/>
                  <a:pt x="3952805" y="2297470"/>
                </a:cubicBezTo>
                <a:cubicBezTo>
                  <a:pt x="3922240" y="2305056"/>
                  <a:pt x="3891674" y="2286090"/>
                  <a:pt x="3884033" y="2257656"/>
                </a:cubicBezTo>
                <a:cubicBezTo>
                  <a:pt x="3878302" y="2227319"/>
                  <a:pt x="3895495" y="2196980"/>
                  <a:pt x="3926060" y="2191291"/>
                </a:cubicBezTo>
                <a:cubicBezTo>
                  <a:pt x="3926060" y="2191291"/>
                  <a:pt x="3926060" y="2191291"/>
                  <a:pt x="4269902" y="2107861"/>
                </a:cubicBezTo>
                <a:cubicBezTo>
                  <a:pt x="4277543" y="2105963"/>
                  <a:pt x="4285185" y="2105609"/>
                  <a:pt x="4292467" y="2106615"/>
                </a:cubicBezTo>
                <a:close/>
                <a:moveTo>
                  <a:pt x="2038710" y="2106612"/>
                </a:moveTo>
                <a:cubicBezTo>
                  <a:pt x="2059743" y="2109634"/>
                  <a:pt x="2078355" y="2124921"/>
                  <a:pt x="2084082" y="2147677"/>
                </a:cubicBezTo>
                <a:cubicBezTo>
                  <a:pt x="2084082" y="2151470"/>
                  <a:pt x="2085991" y="2157159"/>
                  <a:pt x="2085991" y="2160951"/>
                </a:cubicBezTo>
                <a:cubicBezTo>
                  <a:pt x="2085991" y="2185601"/>
                  <a:pt x="2068810" y="2208353"/>
                  <a:pt x="2043989" y="2214042"/>
                </a:cubicBezTo>
                <a:cubicBezTo>
                  <a:pt x="2043989" y="2214042"/>
                  <a:pt x="2043989" y="2214042"/>
                  <a:pt x="1698467" y="2297470"/>
                </a:cubicBezTo>
                <a:cubicBezTo>
                  <a:pt x="1667924" y="2305056"/>
                  <a:pt x="1639290" y="2286090"/>
                  <a:pt x="1631654" y="2257654"/>
                </a:cubicBezTo>
                <a:cubicBezTo>
                  <a:pt x="1624018" y="2227317"/>
                  <a:pt x="1643107" y="2196977"/>
                  <a:pt x="1671742" y="2191289"/>
                </a:cubicBezTo>
                <a:cubicBezTo>
                  <a:pt x="1671742" y="2191289"/>
                  <a:pt x="1671742" y="2191289"/>
                  <a:pt x="2017264" y="2107857"/>
                </a:cubicBezTo>
                <a:cubicBezTo>
                  <a:pt x="2024422" y="2105960"/>
                  <a:pt x="2031700" y="2105605"/>
                  <a:pt x="2038710" y="2106612"/>
                </a:cubicBezTo>
                <a:close/>
                <a:moveTo>
                  <a:pt x="3734742" y="2101215"/>
                </a:moveTo>
                <a:cubicBezTo>
                  <a:pt x="3757307" y="2105947"/>
                  <a:pt x="3775574" y="2124878"/>
                  <a:pt x="3779871" y="2149168"/>
                </a:cubicBezTo>
                <a:cubicBezTo>
                  <a:pt x="3779871" y="2152977"/>
                  <a:pt x="3779871" y="2156787"/>
                  <a:pt x="3779871" y="2158693"/>
                </a:cubicBezTo>
                <a:cubicBezTo>
                  <a:pt x="3779871" y="2187267"/>
                  <a:pt x="3760769" y="2212031"/>
                  <a:pt x="3732116" y="2217746"/>
                </a:cubicBezTo>
                <a:cubicBezTo>
                  <a:pt x="3732116" y="2217746"/>
                  <a:pt x="3732116" y="2217746"/>
                  <a:pt x="3384469" y="2278704"/>
                </a:cubicBezTo>
                <a:cubicBezTo>
                  <a:pt x="3351994" y="2284415"/>
                  <a:pt x="3321432" y="2263466"/>
                  <a:pt x="3315701" y="2231081"/>
                </a:cubicBezTo>
                <a:cubicBezTo>
                  <a:pt x="3309970" y="2198696"/>
                  <a:pt x="3330982" y="2166313"/>
                  <a:pt x="3363456" y="2160598"/>
                </a:cubicBezTo>
                <a:cubicBezTo>
                  <a:pt x="3363456" y="2160598"/>
                  <a:pt x="3363456" y="2160598"/>
                  <a:pt x="3711103" y="2101543"/>
                </a:cubicBezTo>
                <a:cubicBezTo>
                  <a:pt x="3719222" y="2099638"/>
                  <a:pt x="3727221" y="2099638"/>
                  <a:pt x="3734742" y="2101215"/>
                </a:cubicBezTo>
                <a:close/>
                <a:moveTo>
                  <a:pt x="2601252" y="2101212"/>
                </a:moveTo>
                <a:cubicBezTo>
                  <a:pt x="2623816" y="2105945"/>
                  <a:pt x="2642082" y="2124875"/>
                  <a:pt x="2646380" y="2149163"/>
                </a:cubicBezTo>
                <a:cubicBezTo>
                  <a:pt x="2646380" y="2152974"/>
                  <a:pt x="2646380" y="2156785"/>
                  <a:pt x="2646380" y="2158690"/>
                </a:cubicBezTo>
                <a:cubicBezTo>
                  <a:pt x="2646380" y="2187265"/>
                  <a:pt x="2627278" y="2212029"/>
                  <a:pt x="2596716" y="2217744"/>
                </a:cubicBezTo>
                <a:cubicBezTo>
                  <a:pt x="2596716" y="2217744"/>
                  <a:pt x="2596716" y="2217744"/>
                  <a:pt x="2250972" y="2278703"/>
                </a:cubicBezTo>
                <a:cubicBezTo>
                  <a:pt x="2218499" y="2284415"/>
                  <a:pt x="2187936" y="2263464"/>
                  <a:pt x="2182206" y="2231079"/>
                </a:cubicBezTo>
                <a:cubicBezTo>
                  <a:pt x="2176475" y="2198694"/>
                  <a:pt x="2197487" y="2166309"/>
                  <a:pt x="2229960" y="2160595"/>
                </a:cubicBezTo>
                <a:cubicBezTo>
                  <a:pt x="2229960" y="2160595"/>
                  <a:pt x="2229960" y="2160595"/>
                  <a:pt x="2577613" y="2101540"/>
                </a:cubicBezTo>
                <a:cubicBezTo>
                  <a:pt x="2585732" y="2099635"/>
                  <a:pt x="2593731" y="2099635"/>
                  <a:pt x="2601252" y="2101212"/>
                </a:cubicBezTo>
                <a:close/>
                <a:moveTo>
                  <a:pt x="3141099" y="2094548"/>
                </a:moveTo>
                <a:cubicBezTo>
                  <a:pt x="3177271" y="2090745"/>
                  <a:pt x="3207731" y="2117365"/>
                  <a:pt x="3211538" y="2151594"/>
                </a:cubicBezTo>
                <a:cubicBezTo>
                  <a:pt x="3211538" y="2153495"/>
                  <a:pt x="3211538" y="2157296"/>
                  <a:pt x="3211538" y="2159200"/>
                </a:cubicBezTo>
                <a:cubicBezTo>
                  <a:pt x="3211538" y="2191527"/>
                  <a:pt x="3188693" y="2218146"/>
                  <a:pt x="3156330" y="2221949"/>
                </a:cubicBezTo>
                <a:cubicBezTo>
                  <a:pt x="3156330" y="2221949"/>
                  <a:pt x="3156330" y="2221949"/>
                  <a:pt x="2807941" y="2259980"/>
                </a:cubicBezTo>
                <a:cubicBezTo>
                  <a:pt x="2773673" y="2263780"/>
                  <a:pt x="2741309" y="2239063"/>
                  <a:pt x="2737501" y="2202934"/>
                </a:cubicBezTo>
                <a:cubicBezTo>
                  <a:pt x="2733694" y="2168708"/>
                  <a:pt x="2760347" y="2136380"/>
                  <a:pt x="2794614" y="2132575"/>
                </a:cubicBezTo>
                <a:cubicBezTo>
                  <a:pt x="2794614" y="2132575"/>
                  <a:pt x="2794614" y="2132575"/>
                  <a:pt x="3141099" y="2094548"/>
                </a:cubicBezTo>
                <a:close/>
                <a:moveTo>
                  <a:pt x="9859129" y="1839997"/>
                </a:moveTo>
                <a:cubicBezTo>
                  <a:pt x="9863412" y="1840234"/>
                  <a:pt x="9867694" y="1842138"/>
                  <a:pt x="9870549" y="1845944"/>
                </a:cubicBezTo>
                <a:cubicBezTo>
                  <a:pt x="9872453" y="1847847"/>
                  <a:pt x="9874356" y="1851654"/>
                  <a:pt x="9874356" y="1857363"/>
                </a:cubicBezTo>
                <a:cubicBezTo>
                  <a:pt x="9874356" y="1861170"/>
                  <a:pt x="9872453" y="1864976"/>
                  <a:pt x="9868646" y="1868782"/>
                </a:cubicBezTo>
                <a:cubicBezTo>
                  <a:pt x="9868646" y="1868782"/>
                  <a:pt x="9868646" y="1868782"/>
                  <a:pt x="9539364" y="2165681"/>
                </a:cubicBezTo>
                <a:cubicBezTo>
                  <a:pt x="9531751" y="2173295"/>
                  <a:pt x="9522234" y="2171391"/>
                  <a:pt x="9516524" y="2165681"/>
                </a:cubicBezTo>
                <a:cubicBezTo>
                  <a:pt x="9510814" y="2158069"/>
                  <a:pt x="9510814" y="2148551"/>
                  <a:pt x="9516524" y="2142843"/>
                </a:cubicBezTo>
                <a:cubicBezTo>
                  <a:pt x="9516524" y="2142843"/>
                  <a:pt x="9516524" y="2142843"/>
                  <a:pt x="9847709" y="1844041"/>
                </a:cubicBezTo>
                <a:cubicBezTo>
                  <a:pt x="9850564" y="1841186"/>
                  <a:pt x="9854847" y="1839759"/>
                  <a:pt x="9859129" y="1839997"/>
                </a:cubicBezTo>
                <a:close/>
                <a:moveTo>
                  <a:pt x="9281354" y="1833512"/>
                </a:moveTo>
                <a:cubicBezTo>
                  <a:pt x="9286350" y="1834227"/>
                  <a:pt x="9291109" y="1837084"/>
                  <a:pt x="9293964" y="1841846"/>
                </a:cubicBezTo>
                <a:cubicBezTo>
                  <a:pt x="9297771" y="1843751"/>
                  <a:pt x="9299674" y="1849467"/>
                  <a:pt x="9299674" y="1853277"/>
                </a:cubicBezTo>
                <a:cubicBezTo>
                  <a:pt x="9299674" y="1858992"/>
                  <a:pt x="9297771" y="1864707"/>
                  <a:pt x="9292060" y="1868517"/>
                </a:cubicBezTo>
                <a:cubicBezTo>
                  <a:pt x="9292060" y="1868517"/>
                  <a:pt x="9292060" y="1868517"/>
                  <a:pt x="8960867" y="2146642"/>
                </a:cubicBezTo>
                <a:cubicBezTo>
                  <a:pt x="8953254" y="2154263"/>
                  <a:pt x="8939930" y="2152359"/>
                  <a:pt x="8932316" y="2144739"/>
                </a:cubicBezTo>
                <a:cubicBezTo>
                  <a:pt x="8926606" y="2135209"/>
                  <a:pt x="8926606" y="2123779"/>
                  <a:pt x="8936123" y="2116162"/>
                </a:cubicBezTo>
                <a:cubicBezTo>
                  <a:pt x="8936123" y="2116162"/>
                  <a:pt x="8936123" y="2116162"/>
                  <a:pt x="9267316" y="1838036"/>
                </a:cubicBezTo>
                <a:cubicBezTo>
                  <a:pt x="9271123" y="1834227"/>
                  <a:pt x="9276358" y="1832798"/>
                  <a:pt x="9281354" y="1833512"/>
                </a:cubicBezTo>
                <a:close/>
                <a:moveTo>
                  <a:pt x="10443580" y="1833487"/>
                </a:moveTo>
                <a:cubicBezTo>
                  <a:pt x="10448836" y="1834202"/>
                  <a:pt x="10454093" y="1837059"/>
                  <a:pt x="10457916" y="1841822"/>
                </a:cubicBezTo>
                <a:cubicBezTo>
                  <a:pt x="10459827" y="1843727"/>
                  <a:pt x="10461739" y="1849442"/>
                  <a:pt x="10461739" y="1853252"/>
                </a:cubicBezTo>
                <a:cubicBezTo>
                  <a:pt x="10461739" y="1858967"/>
                  <a:pt x="10459827" y="1864682"/>
                  <a:pt x="10454093" y="1868492"/>
                </a:cubicBezTo>
                <a:cubicBezTo>
                  <a:pt x="10454093" y="1868492"/>
                  <a:pt x="10454093" y="1868492"/>
                  <a:pt x="10121491" y="2146621"/>
                </a:cubicBezTo>
                <a:cubicBezTo>
                  <a:pt x="10113845" y="2154242"/>
                  <a:pt x="10100465" y="2152337"/>
                  <a:pt x="10094730" y="2144715"/>
                </a:cubicBezTo>
                <a:cubicBezTo>
                  <a:pt x="10087084" y="2135191"/>
                  <a:pt x="10087084" y="2123761"/>
                  <a:pt x="10096642" y="2116141"/>
                </a:cubicBezTo>
                <a:cubicBezTo>
                  <a:pt x="10096642" y="2116141"/>
                  <a:pt x="10096642" y="2116141"/>
                  <a:pt x="10429243" y="1838012"/>
                </a:cubicBezTo>
                <a:cubicBezTo>
                  <a:pt x="10433066" y="1834202"/>
                  <a:pt x="10438323" y="1832773"/>
                  <a:pt x="10443580" y="1833487"/>
                </a:cubicBezTo>
                <a:close/>
                <a:moveTo>
                  <a:pt x="8711664" y="1828739"/>
                </a:moveTo>
                <a:cubicBezTo>
                  <a:pt x="8717637" y="1829451"/>
                  <a:pt x="8723372" y="1832300"/>
                  <a:pt x="8727194" y="1837048"/>
                </a:cubicBezTo>
                <a:cubicBezTo>
                  <a:pt x="8731017" y="1842746"/>
                  <a:pt x="8732928" y="1846544"/>
                  <a:pt x="8732928" y="1852242"/>
                </a:cubicBezTo>
                <a:cubicBezTo>
                  <a:pt x="8732928" y="1859838"/>
                  <a:pt x="8729105" y="1867435"/>
                  <a:pt x="8723371" y="1871234"/>
                </a:cubicBezTo>
                <a:cubicBezTo>
                  <a:pt x="8723371" y="1871234"/>
                  <a:pt x="8723371" y="1871234"/>
                  <a:pt x="8390798" y="2127610"/>
                </a:cubicBezTo>
                <a:cubicBezTo>
                  <a:pt x="8379329" y="2135209"/>
                  <a:pt x="8364039" y="2133307"/>
                  <a:pt x="8356393" y="2123813"/>
                </a:cubicBezTo>
                <a:cubicBezTo>
                  <a:pt x="8348748" y="2112426"/>
                  <a:pt x="8350659" y="2097231"/>
                  <a:pt x="8360216" y="2089634"/>
                </a:cubicBezTo>
                <a:cubicBezTo>
                  <a:pt x="8360216" y="2089634"/>
                  <a:pt x="8360216" y="2089634"/>
                  <a:pt x="8694701" y="1833250"/>
                </a:cubicBezTo>
                <a:cubicBezTo>
                  <a:pt x="8699479" y="1829451"/>
                  <a:pt x="8705691" y="1828027"/>
                  <a:pt x="8711664" y="1828739"/>
                </a:cubicBezTo>
                <a:close/>
                <a:moveTo>
                  <a:pt x="11021508" y="1828712"/>
                </a:moveTo>
                <a:cubicBezTo>
                  <a:pt x="11027482" y="1829424"/>
                  <a:pt x="11033216" y="1832273"/>
                  <a:pt x="11037038" y="1837021"/>
                </a:cubicBezTo>
                <a:cubicBezTo>
                  <a:pt x="11040861" y="1842718"/>
                  <a:pt x="11042772" y="1846517"/>
                  <a:pt x="11042772" y="1852214"/>
                </a:cubicBezTo>
                <a:cubicBezTo>
                  <a:pt x="11042772" y="1859811"/>
                  <a:pt x="11038949" y="1867408"/>
                  <a:pt x="11033215" y="1871206"/>
                </a:cubicBezTo>
                <a:cubicBezTo>
                  <a:pt x="11033215" y="1871206"/>
                  <a:pt x="11033215" y="1871206"/>
                  <a:pt x="10698730" y="2127592"/>
                </a:cubicBezTo>
                <a:cubicBezTo>
                  <a:pt x="10689173" y="2135189"/>
                  <a:pt x="10673883" y="2133290"/>
                  <a:pt x="10666237" y="2123794"/>
                </a:cubicBezTo>
                <a:cubicBezTo>
                  <a:pt x="10658592" y="2112399"/>
                  <a:pt x="10660503" y="2097206"/>
                  <a:pt x="10670060" y="2089609"/>
                </a:cubicBezTo>
                <a:cubicBezTo>
                  <a:pt x="10670060" y="2089609"/>
                  <a:pt x="10670060" y="2089609"/>
                  <a:pt x="11004545" y="1833223"/>
                </a:cubicBezTo>
                <a:cubicBezTo>
                  <a:pt x="11009324" y="1829424"/>
                  <a:pt x="11015536" y="1828000"/>
                  <a:pt x="11021508" y="1828712"/>
                </a:cubicBezTo>
                <a:close/>
                <a:moveTo>
                  <a:pt x="8148424" y="1822231"/>
                </a:moveTo>
                <a:cubicBezTo>
                  <a:pt x="8155346" y="1823419"/>
                  <a:pt x="8162030" y="1827221"/>
                  <a:pt x="8166804" y="1832924"/>
                </a:cubicBezTo>
                <a:cubicBezTo>
                  <a:pt x="8170623" y="1838626"/>
                  <a:pt x="8172533" y="1844330"/>
                  <a:pt x="8172533" y="1850033"/>
                </a:cubicBezTo>
                <a:cubicBezTo>
                  <a:pt x="8172533" y="1857637"/>
                  <a:pt x="8168714" y="1867142"/>
                  <a:pt x="8161075" y="1872844"/>
                </a:cubicBezTo>
                <a:cubicBezTo>
                  <a:pt x="8161075" y="1872844"/>
                  <a:pt x="8161075" y="1872844"/>
                  <a:pt x="7824980" y="2108561"/>
                </a:cubicBezTo>
                <a:cubicBezTo>
                  <a:pt x="7813523" y="2116162"/>
                  <a:pt x="7796336" y="2114263"/>
                  <a:pt x="7786788" y="2100956"/>
                </a:cubicBezTo>
                <a:cubicBezTo>
                  <a:pt x="7777240" y="2089551"/>
                  <a:pt x="7781059" y="2072443"/>
                  <a:pt x="7792517" y="2062938"/>
                </a:cubicBezTo>
                <a:cubicBezTo>
                  <a:pt x="7792517" y="2062938"/>
                  <a:pt x="7792517" y="2062938"/>
                  <a:pt x="8128611" y="1827221"/>
                </a:cubicBezTo>
                <a:cubicBezTo>
                  <a:pt x="8134340" y="1822469"/>
                  <a:pt x="8141501" y="1821043"/>
                  <a:pt x="8148424" y="1822231"/>
                </a:cubicBezTo>
                <a:close/>
                <a:moveTo>
                  <a:pt x="11593502" y="1822227"/>
                </a:moveTo>
                <a:cubicBezTo>
                  <a:pt x="11600640" y="1823415"/>
                  <a:pt x="11607302" y="1827217"/>
                  <a:pt x="11612061" y="1832920"/>
                </a:cubicBezTo>
                <a:cubicBezTo>
                  <a:pt x="11613965" y="1838623"/>
                  <a:pt x="11615868" y="1844326"/>
                  <a:pt x="11615868" y="1850029"/>
                </a:cubicBezTo>
                <a:cubicBezTo>
                  <a:pt x="11615868" y="1857632"/>
                  <a:pt x="11612061" y="1867138"/>
                  <a:pt x="11604447" y="1872840"/>
                </a:cubicBezTo>
                <a:cubicBezTo>
                  <a:pt x="11604447" y="1872840"/>
                  <a:pt x="11604447" y="1872840"/>
                  <a:pt x="11271337" y="2108557"/>
                </a:cubicBezTo>
                <a:cubicBezTo>
                  <a:pt x="11258013" y="2116159"/>
                  <a:pt x="11240881" y="2114261"/>
                  <a:pt x="11233267" y="2100952"/>
                </a:cubicBezTo>
                <a:cubicBezTo>
                  <a:pt x="11223750" y="2089547"/>
                  <a:pt x="11225653" y="2072439"/>
                  <a:pt x="11238978" y="2062934"/>
                </a:cubicBezTo>
                <a:cubicBezTo>
                  <a:pt x="11238978" y="2062934"/>
                  <a:pt x="11238978" y="2062934"/>
                  <a:pt x="11572088" y="1827217"/>
                </a:cubicBezTo>
                <a:cubicBezTo>
                  <a:pt x="11578750" y="1822464"/>
                  <a:pt x="11586364" y="1821038"/>
                  <a:pt x="11593502" y="1822227"/>
                </a:cubicBezTo>
                <a:close/>
                <a:moveTo>
                  <a:pt x="12139750" y="1819296"/>
                </a:moveTo>
                <a:cubicBezTo>
                  <a:pt x="12139750" y="1819296"/>
                  <a:pt x="12139750" y="1819296"/>
                  <a:pt x="12139750" y="1893845"/>
                </a:cubicBezTo>
                <a:cubicBezTo>
                  <a:pt x="12139750" y="1893845"/>
                  <a:pt x="12139750" y="1893845"/>
                  <a:pt x="11834405" y="2090726"/>
                </a:cubicBezTo>
                <a:cubicBezTo>
                  <a:pt x="11819138" y="2100283"/>
                  <a:pt x="11800054" y="2094549"/>
                  <a:pt x="11790512" y="2081169"/>
                </a:cubicBezTo>
                <a:cubicBezTo>
                  <a:pt x="11780970" y="2065877"/>
                  <a:pt x="11784787" y="2046762"/>
                  <a:pt x="11800054" y="2037205"/>
                </a:cubicBezTo>
                <a:lnTo>
                  <a:pt x="12135933" y="1821208"/>
                </a:lnTo>
                <a:cubicBezTo>
                  <a:pt x="12137842" y="1819296"/>
                  <a:pt x="12137842" y="1819296"/>
                  <a:pt x="12139750" y="1819296"/>
                </a:cubicBezTo>
                <a:close/>
                <a:moveTo>
                  <a:pt x="7591461" y="1816389"/>
                </a:moveTo>
                <a:cubicBezTo>
                  <a:pt x="7599307" y="1818063"/>
                  <a:pt x="7606440" y="1822846"/>
                  <a:pt x="7611195" y="1830500"/>
                </a:cubicBezTo>
                <a:cubicBezTo>
                  <a:pt x="7614999" y="1836240"/>
                  <a:pt x="7616901" y="1841981"/>
                  <a:pt x="7616901" y="1847721"/>
                </a:cubicBezTo>
                <a:cubicBezTo>
                  <a:pt x="7616901" y="1857288"/>
                  <a:pt x="7611195" y="1866856"/>
                  <a:pt x="7601685" y="1874509"/>
                </a:cubicBezTo>
                <a:cubicBezTo>
                  <a:pt x="7601685" y="1874509"/>
                  <a:pt x="7601685" y="1874509"/>
                  <a:pt x="7266927" y="2090722"/>
                </a:cubicBezTo>
                <a:cubicBezTo>
                  <a:pt x="7251710" y="2100289"/>
                  <a:pt x="7232690" y="2094549"/>
                  <a:pt x="7223180" y="2081155"/>
                </a:cubicBezTo>
                <a:cubicBezTo>
                  <a:pt x="7213670" y="2065848"/>
                  <a:pt x="7219376" y="2046715"/>
                  <a:pt x="7232690" y="2037147"/>
                </a:cubicBezTo>
                <a:cubicBezTo>
                  <a:pt x="7232690" y="2037147"/>
                  <a:pt x="7232690" y="2037147"/>
                  <a:pt x="7567448" y="1820933"/>
                </a:cubicBezTo>
                <a:cubicBezTo>
                  <a:pt x="7575056" y="1816149"/>
                  <a:pt x="7583615" y="1814714"/>
                  <a:pt x="7591461" y="1816389"/>
                </a:cubicBezTo>
                <a:close/>
                <a:moveTo>
                  <a:pt x="7042453" y="1811445"/>
                </a:moveTo>
                <a:cubicBezTo>
                  <a:pt x="7051052" y="1813588"/>
                  <a:pt x="7058696" y="1819303"/>
                  <a:pt x="7063473" y="1827876"/>
                </a:cubicBezTo>
                <a:cubicBezTo>
                  <a:pt x="7067295" y="1833591"/>
                  <a:pt x="7069206" y="1839306"/>
                  <a:pt x="7069206" y="1845021"/>
                </a:cubicBezTo>
                <a:cubicBezTo>
                  <a:pt x="7069206" y="1858356"/>
                  <a:pt x="7063473" y="1869786"/>
                  <a:pt x="7052008" y="1875501"/>
                </a:cubicBezTo>
                <a:cubicBezTo>
                  <a:pt x="7052008" y="1875501"/>
                  <a:pt x="7052008" y="1875501"/>
                  <a:pt x="6713777" y="2071714"/>
                </a:cubicBezTo>
                <a:cubicBezTo>
                  <a:pt x="6696579" y="2081239"/>
                  <a:pt x="6675559" y="2075525"/>
                  <a:pt x="6666004" y="2058379"/>
                </a:cubicBezTo>
                <a:cubicBezTo>
                  <a:pt x="6656450" y="2041235"/>
                  <a:pt x="6662182" y="2020280"/>
                  <a:pt x="6679381" y="2010756"/>
                </a:cubicBezTo>
                <a:cubicBezTo>
                  <a:pt x="6679381" y="2010756"/>
                  <a:pt x="6679381" y="2010756"/>
                  <a:pt x="7015700" y="1816445"/>
                </a:cubicBezTo>
                <a:cubicBezTo>
                  <a:pt x="7024300" y="1810730"/>
                  <a:pt x="7033854" y="1809302"/>
                  <a:pt x="7042453" y="1811445"/>
                </a:cubicBezTo>
                <a:close/>
                <a:moveTo>
                  <a:pt x="6499936" y="1806065"/>
                </a:moveTo>
                <a:cubicBezTo>
                  <a:pt x="6509244" y="1809168"/>
                  <a:pt x="6517359" y="1815852"/>
                  <a:pt x="6522132" y="1825400"/>
                </a:cubicBezTo>
                <a:cubicBezTo>
                  <a:pt x="6525950" y="1831129"/>
                  <a:pt x="6527860" y="1836858"/>
                  <a:pt x="6527860" y="1842587"/>
                </a:cubicBezTo>
                <a:cubicBezTo>
                  <a:pt x="6527860" y="1857864"/>
                  <a:pt x="6520223" y="1871231"/>
                  <a:pt x="6506857" y="1876960"/>
                </a:cubicBezTo>
                <a:cubicBezTo>
                  <a:pt x="6506857" y="1876960"/>
                  <a:pt x="6506857" y="1876960"/>
                  <a:pt x="6166999" y="2052641"/>
                </a:cubicBezTo>
                <a:cubicBezTo>
                  <a:pt x="6147906" y="2062190"/>
                  <a:pt x="6124994" y="2054551"/>
                  <a:pt x="6115448" y="2035456"/>
                </a:cubicBezTo>
                <a:cubicBezTo>
                  <a:pt x="6103992" y="2016360"/>
                  <a:pt x="6111629" y="1993445"/>
                  <a:pt x="6130722" y="1983897"/>
                </a:cubicBezTo>
                <a:cubicBezTo>
                  <a:pt x="6130722" y="1983897"/>
                  <a:pt x="6130722" y="1983897"/>
                  <a:pt x="6470580" y="1808213"/>
                </a:cubicBezTo>
                <a:cubicBezTo>
                  <a:pt x="6480127" y="1803439"/>
                  <a:pt x="6490628" y="1802962"/>
                  <a:pt x="6499936" y="1806065"/>
                </a:cubicBezTo>
                <a:close/>
                <a:moveTo>
                  <a:pt x="5958440" y="1800931"/>
                </a:moveTo>
                <a:cubicBezTo>
                  <a:pt x="5968909" y="1804761"/>
                  <a:pt x="5977952" y="1812420"/>
                  <a:pt x="5982710" y="1822950"/>
                </a:cubicBezTo>
                <a:cubicBezTo>
                  <a:pt x="5984614" y="1828695"/>
                  <a:pt x="5986518" y="1834438"/>
                  <a:pt x="5986518" y="1840183"/>
                </a:cubicBezTo>
                <a:cubicBezTo>
                  <a:pt x="5986518" y="1857416"/>
                  <a:pt x="5977000" y="1872733"/>
                  <a:pt x="5961771" y="1878478"/>
                </a:cubicBezTo>
                <a:cubicBezTo>
                  <a:pt x="5961771" y="1878478"/>
                  <a:pt x="5961771" y="1878478"/>
                  <a:pt x="5622934" y="2033566"/>
                </a:cubicBezTo>
                <a:cubicBezTo>
                  <a:pt x="5600091" y="2043140"/>
                  <a:pt x="5575344" y="2033566"/>
                  <a:pt x="5565827" y="2012506"/>
                </a:cubicBezTo>
                <a:cubicBezTo>
                  <a:pt x="5556309" y="1991444"/>
                  <a:pt x="5565827" y="1964639"/>
                  <a:pt x="5586767" y="1955065"/>
                </a:cubicBezTo>
                <a:cubicBezTo>
                  <a:pt x="5586767" y="1955065"/>
                  <a:pt x="5586767" y="1955065"/>
                  <a:pt x="5925602" y="1801889"/>
                </a:cubicBezTo>
                <a:cubicBezTo>
                  <a:pt x="5936072" y="1797102"/>
                  <a:pt x="5947970" y="1797102"/>
                  <a:pt x="5958440" y="1800931"/>
                </a:cubicBezTo>
                <a:close/>
                <a:moveTo>
                  <a:pt x="398962" y="1800922"/>
                </a:moveTo>
                <a:cubicBezTo>
                  <a:pt x="409432" y="1804752"/>
                  <a:pt x="418474" y="1812411"/>
                  <a:pt x="423233" y="1822941"/>
                </a:cubicBezTo>
                <a:cubicBezTo>
                  <a:pt x="425137" y="1828686"/>
                  <a:pt x="427041" y="1834430"/>
                  <a:pt x="427041" y="1840174"/>
                </a:cubicBezTo>
                <a:cubicBezTo>
                  <a:pt x="427041" y="1857407"/>
                  <a:pt x="417522" y="1872724"/>
                  <a:pt x="400390" y="1878468"/>
                </a:cubicBezTo>
                <a:cubicBezTo>
                  <a:pt x="400390" y="1878468"/>
                  <a:pt x="400390" y="1878468"/>
                  <a:pt x="61546" y="2033558"/>
                </a:cubicBezTo>
                <a:cubicBezTo>
                  <a:pt x="40607" y="2043131"/>
                  <a:pt x="15860" y="2033558"/>
                  <a:pt x="6342" y="2012496"/>
                </a:cubicBezTo>
                <a:cubicBezTo>
                  <a:pt x="-3177" y="1991435"/>
                  <a:pt x="6342" y="1964629"/>
                  <a:pt x="27281" y="1955055"/>
                </a:cubicBezTo>
                <a:cubicBezTo>
                  <a:pt x="27281" y="1955055"/>
                  <a:pt x="27281" y="1955055"/>
                  <a:pt x="366125" y="1801879"/>
                </a:cubicBezTo>
                <a:cubicBezTo>
                  <a:pt x="376595" y="1797093"/>
                  <a:pt x="388492" y="1797093"/>
                  <a:pt x="398962" y="1800922"/>
                </a:cubicBezTo>
                <a:close/>
                <a:moveTo>
                  <a:pt x="5395741" y="1792156"/>
                </a:moveTo>
                <a:cubicBezTo>
                  <a:pt x="5414189" y="1792513"/>
                  <a:pt x="5431025" y="1803586"/>
                  <a:pt x="5438189" y="1822160"/>
                </a:cubicBezTo>
                <a:cubicBezTo>
                  <a:pt x="5440099" y="1827876"/>
                  <a:pt x="5442010" y="1833591"/>
                  <a:pt x="5442010" y="1839306"/>
                </a:cubicBezTo>
                <a:cubicBezTo>
                  <a:pt x="5442010" y="1858356"/>
                  <a:pt x="5430547" y="1875501"/>
                  <a:pt x="5411443" y="1883121"/>
                </a:cubicBezTo>
                <a:cubicBezTo>
                  <a:pt x="5411443" y="1883121"/>
                  <a:pt x="5411443" y="1883121"/>
                  <a:pt x="5069457" y="2014565"/>
                </a:cubicBezTo>
                <a:cubicBezTo>
                  <a:pt x="5046534" y="2024090"/>
                  <a:pt x="5019790" y="2012660"/>
                  <a:pt x="5010238" y="1989801"/>
                </a:cubicBezTo>
                <a:cubicBezTo>
                  <a:pt x="5000687" y="1965036"/>
                  <a:pt x="5012148" y="1938366"/>
                  <a:pt x="5036982" y="1928841"/>
                </a:cubicBezTo>
                <a:cubicBezTo>
                  <a:pt x="5036982" y="1928841"/>
                  <a:pt x="5036982" y="1928841"/>
                  <a:pt x="5377053" y="1795490"/>
                </a:cubicBezTo>
                <a:cubicBezTo>
                  <a:pt x="5383263" y="1793109"/>
                  <a:pt x="5389592" y="1792037"/>
                  <a:pt x="5395741" y="1792156"/>
                </a:cubicBezTo>
                <a:close/>
                <a:moveTo>
                  <a:pt x="929266" y="1792145"/>
                </a:moveTo>
                <a:cubicBezTo>
                  <a:pt x="946908" y="1792502"/>
                  <a:pt x="963745" y="1803575"/>
                  <a:pt x="970909" y="1822149"/>
                </a:cubicBezTo>
                <a:cubicBezTo>
                  <a:pt x="974730" y="1827864"/>
                  <a:pt x="974730" y="1833579"/>
                  <a:pt x="974730" y="1839294"/>
                </a:cubicBezTo>
                <a:cubicBezTo>
                  <a:pt x="974730" y="1858344"/>
                  <a:pt x="963267" y="1875489"/>
                  <a:pt x="946072" y="1883109"/>
                </a:cubicBezTo>
                <a:cubicBezTo>
                  <a:pt x="946072" y="1883109"/>
                  <a:pt x="946072" y="1883109"/>
                  <a:pt x="604089" y="2014554"/>
                </a:cubicBezTo>
                <a:cubicBezTo>
                  <a:pt x="579253" y="2024078"/>
                  <a:pt x="552505" y="2012649"/>
                  <a:pt x="542953" y="1989789"/>
                </a:cubicBezTo>
                <a:cubicBezTo>
                  <a:pt x="533400" y="1965024"/>
                  <a:pt x="544863" y="1938354"/>
                  <a:pt x="569700" y="1928829"/>
                </a:cubicBezTo>
                <a:cubicBezTo>
                  <a:pt x="569700" y="1928829"/>
                  <a:pt x="569700" y="1928829"/>
                  <a:pt x="911683" y="1795478"/>
                </a:cubicBezTo>
                <a:cubicBezTo>
                  <a:pt x="917415" y="1793097"/>
                  <a:pt x="923385" y="1792026"/>
                  <a:pt x="929266" y="1792145"/>
                </a:cubicBezTo>
                <a:close/>
                <a:moveTo>
                  <a:pt x="4845291" y="1786421"/>
                </a:moveTo>
                <a:cubicBezTo>
                  <a:pt x="4864226" y="1787854"/>
                  <a:pt x="4882088" y="1801107"/>
                  <a:pt x="4889232" y="1819733"/>
                </a:cubicBezTo>
                <a:cubicBezTo>
                  <a:pt x="4891138" y="1825464"/>
                  <a:pt x="4891138" y="1831195"/>
                  <a:pt x="4891138" y="1836927"/>
                </a:cubicBezTo>
                <a:cubicBezTo>
                  <a:pt x="4891138" y="1857942"/>
                  <a:pt x="4877800" y="1877046"/>
                  <a:pt x="4856840" y="1884687"/>
                </a:cubicBezTo>
                <a:cubicBezTo>
                  <a:pt x="4856840" y="1884687"/>
                  <a:pt x="4856840" y="1884687"/>
                  <a:pt x="4515847" y="1997399"/>
                </a:cubicBezTo>
                <a:cubicBezTo>
                  <a:pt x="4489179" y="2005041"/>
                  <a:pt x="4460602" y="1991668"/>
                  <a:pt x="4451077" y="1964923"/>
                </a:cubicBezTo>
                <a:cubicBezTo>
                  <a:pt x="4443457" y="1938178"/>
                  <a:pt x="4456792" y="1909522"/>
                  <a:pt x="4483463" y="1901881"/>
                </a:cubicBezTo>
                <a:cubicBezTo>
                  <a:pt x="4483463" y="1901881"/>
                  <a:pt x="4483463" y="1901881"/>
                  <a:pt x="4826356" y="1789167"/>
                </a:cubicBezTo>
                <a:cubicBezTo>
                  <a:pt x="4832548" y="1786779"/>
                  <a:pt x="4838978" y="1785943"/>
                  <a:pt x="4845291" y="1786421"/>
                </a:cubicBezTo>
                <a:close/>
                <a:moveTo>
                  <a:pt x="1480544" y="1786407"/>
                </a:moveTo>
                <a:cubicBezTo>
                  <a:pt x="1500175" y="1787839"/>
                  <a:pt x="1517665" y="1801092"/>
                  <a:pt x="1523376" y="1819719"/>
                </a:cubicBezTo>
                <a:cubicBezTo>
                  <a:pt x="1525280" y="1825450"/>
                  <a:pt x="1527184" y="1831181"/>
                  <a:pt x="1527184" y="1836913"/>
                </a:cubicBezTo>
                <a:cubicBezTo>
                  <a:pt x="1527184" y="1857927"/>
                  <a:pt x="1513858" y="1877031"/>
                  <a:pt x="1492918" y="1884672"/>
                </a:cubicBezTo>
                <a:cubicBezTo>
                  <a:pt x="1492918" y="1884672"/>
                  <a:pt x="1492918" y="1884672"/>
                  <a:pt x="1150255" y="1997385"/>
                </a:cubicBezTo>
                <a:cubicBezTo>
                  <a:pt x="1123604" y="2005025"/>
                  <a:pt x="1095048" y="1991653"/>
                  <a:pt x="1087434" y="1964908"/>
                </a:cubicBezTo>
                <a:cubicBezTo>
                  <a:pt x="1077915" y="1938163"/>
                  <a:pt x="1093145" y="1909507"/>
                  <a:pt x="1119796" y="1901866"/>
                </a:cubicBezTo>
                <a:cubicBezTo>
                  <a:pt x="1119796" y="1901866"/>
                  <a:pt x="1119796" y="1901866"/>
                  <a:pt x="1460555" y="1789153"/>
                </a:cubicBezTo>
                <a:cubicBezTo>
                  <a:pt x="1467218" y="1786765"/>
                  <a:pt x="1474000" y="1785929"/>
                  <a:pt x="1480544" y="1786407"/>
                </a:cubicBezTo>
                <a:close/>
                <a:moveTo>
                  <a:pt x="4289928" y="1779643"/>
                </a:moveTo>
                <a:cubicBezTo>
                  <a:pt x="4310378" y="1782608"/>
                  <a:pt x="4327881" y="1797700"/>
                  <a:pt x="4333596" y="1819260"/>
                </a:cubicBezTo>
                <a:cubicBezTo>
                  <a:pt x="4335502" y="1825009"/>
                  <a:pt x="4335502" y="1828842"/>
                  <a:pt x="4335502" y="1834591"/>
                </a:cubicBezTo>
                <a:cubicBezTo>
                  <a:pt x="4335502" y="1857589"/>
                  <a:pt x="4320262" y="1878670"/>
                  <a:pt x="4295494" y="1886336"/>
                </a:cubicBezTo>
                <a:cubicBezTo>
                  <a:pt x="4295494" y="1886336"/>
                  <a:pt x="4295494" y="1886336"/>
                  <a:pt x="3952611" y="1978325"/>
                </a:cubicBezTo>
                <a:cubicBezTo>
                  <a:pt x="3924035" y="1985990"/>
                  <a:pt x="3893554" y="1968743"/>
                  <a:pt x="3885933" y="1939996"/>
                </a:cubicBezTo>
                <a:cubicBezTo>
                  <a:pt x="3878312" y="1911250"/>
                  <a:pt x="3895458" y="1880586"/>
                  <a:pt x="3924035" y="1872921"/>
                </a:cubicBezTo>
                <a:cubicBezTo>
                  <a:pt x="3924035" y="1872921"/>
                  <a:pt x="3924035" y="1872921"/>
                  <a:pt x="4268823" y="1780930"/>
                </a:cubicBezTo>
                <a:cubicBezTo>
                  <a:pt x="4275968" y="1779014"/>
                  <a:pt x="4283112" y="1778655"/>
                  <a:pt x="4289928" y="1779643"/>
                </a:cubicBezTo>
                <a:close/>
                <a:moveTo>
                  <a:pt x="2035631" y="1779626"/>
                </a:moveTo>
                <a:cubicBezTo>
                  <a:pt x="2056622" y="1782591"/>
                  <a:pt x="2075195" y="1797683"/>
                  <a:pt x="2080910" y="1819243"/>
                </a:cubicBezTo>
                <a:cubicBezTo>
                  <a:pt x="2082815" y="1824992"/>
                  <a:pt x="2082815" y="1828825"/>
                  <a:pt x="2082815" y="1834574"/>
                </a:cubicBezTo>
                <a:cubicBezTo>
                  <a:pt x="2082815" y="1857572"/>
                  <a:pt x="2065669" y="1878653"/>
                  <a:pt x="2042805" y="1886319"/>
                </a:cubicBezTo>
                <a:cubicBezTo>
                  <a:pt x="2042805" y="1886319"/>
                  <a:pt x="2042805" y="1886319"/>
                  <a:pt x="1699901" y="1978307"/>
                </a:cubicBezTo>
                <a:cubicBezTo>
                  <a:pt x="1669421" y="1985973"/>
                  <a:pt x="1640845" y="1968725"/>
                  <a:pt x="1633225" y="1939979"/>
                </a:cubicBezTo>
                <a:cubicBezTo>
                  <a:pt x="1625605" y="1911232"/>
                  <a:pt x="1642750" y="1880569"/>
                  <a:pt x="1671326" y="1872903"/>
                </a:cubicBezTo>
                <a:cubicBezTo>
                  <a:pt x="1671326" y="1872903"/>
                  <a:pt x="1671326" y="1872903"/>
                  <a:pt x="2014230" y="1780914"/>
                </a:cubicBezTo>
                <a:cubicBezTo>
                  <a:pt x="2021374" y="1778997"/>
                  <a:pt x="2028637" y="1778638"/>
                  <a:pt x="2035631" y="1779626"/>
                </a:cubicBezTo>
                <a:close/>
                <a:moveTo>
                  <a:pt x="3732186" y="1775478"/>
                </a:moveTo>
                <a:cubicBezTo>
                  <a:pt x="3753993" y="1779592"/>
                  <a:pt x="3772581" y="1797123"/>
                  <a:pt x="3778298" y="1820020"/>
                </a:cubicBezTo>
                <a:cubicBezTo>
                  <a:pt x="3778298" y="1823835"/>
                  <a:pt x="3778298" y="1827652"/>
                  <a:pt x="3778298" y="1831468"/>
                </a:cubicBezTo>
                <a:cubicBezTo>
                  <a:pt x="3778298" y="1858181"/>
                  <a:pt x="3759233" y="1882986"/>
                  <a:pt x="3732542" y="1888710"/>
                </a:cubicBezTo>
                <a:cubicBezTo>
                  <a:pt x="3732542" y="1888710"/>
                  <a:pt x="3732542" y="1888710"/>
                  <a:pt x="3387515" y="1959308"/>
                </a:cubicBezTo>
                <a:cubicBezTo>
                  <a:pt x="3357010" y="1966941"/>
                  <a:pt x="3326508" y="1945952"/>
                  <a:pt x="3318884" y="1915423"/>
                </a:cubicBezTo>
                <a:cubicBezTo>
                  <a:pt x="3313164" y="1882986"/>
                  <a:pt x="3332227" y="1852457"/>
                  <a:pt x="3364636" y="1846733"/>
                </a:cubicBezTo>
                <a:cubicBezTo>
                  <a:pt x="3364636" y="1846733"/>
                  <a:pt x="3364636" y="1846733"/>
                  <a:pt x="3709666" y="1776134"/>
                </a:cubicBezTo>
                <a:cubicBezTo>
                  <a:pt x="3717293" y="1774226"/>
                  <a:pt x="3724920" y="1774107"/>
                  <a:pt x="3732186" y="1775478"/>
                </a:cubicBezTo>
                <a:close/>
                <a:moveTo>
                  <a:pt x="2597096" y="1775459"/>
                </a:moveTo>
                <a:cubicBezTo>
                  <a:pt x="2618899" y="1779573"/>
                  <a:pt x="2637486" y="1797103"/>
                  <a:pt x="2643205" y="1820000"/>
                </a:cubicBezTo>
                <a:cubicBezTo>
                  <a:pt x="2643205" y="1823816"/>
                  <a:pt x="2643205" y="1827632"/>
                  <a:pt x="2643205" y="1831449"/>
                </a:cubicBezTo>
                <a:cubicBezTo>
                  <a:pt x="2643205" y="1858161"/>
                  <a:pt x="2624142" y="1882966"/>
                  <a:pt x="2597454" y="1888690"/>
                </a:cubicBezTo>
                <a:cubicBezTo>
                  <a:pt x="2597454" y="1888690"/>
                  <a:pt x="2597454" y="1888690"/>
                  <a:pt x="2252409" y="1959288"/>
                </a:cubicBezTo>
                <a:cubicBezTo>
                  <a:pt x="2221908" y="1966921"/>
                  <a:pt x="2191406" y="1945932"/>
                  <a:pt x="2183781" y="1915403"/>
                </a:cubicBezTo>
                <a:cubicBezTo>
                  <a:pt x="2178062" y="1882966"/>
                  <a:pt x="2197125" y="1852437"/>
                  <a:pt x="2229533" y="1846713"/>
                </a:cubicBezTo>
                <a:cubicBezTo>
                  <a:pt x="2229533" y="1846713"/>
                  <a:pt x="2229533" y="1846713"/>
                  <a:pt x="2574577" y="1776115"/>
                </a:cubicBezTo>
                <a:cubicBezTo>
                  <a:pt x="2582203" y="1774206"/>
                  <a:pt x="2589828" y="1774087"/>
                  <a:pt x="2597096" y="1775459"/>
                </a:cubicBezTo>
                <a:close/>
                <a:moveTo>
                  <a:pt x="3139439" y="1767857"/>
                </a:moveTo>
                <a:cubicBezTo>
                  <a:pt x="3173753" y="1762151"/>
                  <a:pt x="3204252" y="1786874"/>
                  <a:pt x="3209972" y="1819203"/>
                </a:cubicBezTo>
                <a:cubicBezTo>
                  <a:pt x="3209972" y="1823006"/>
                  <a:pt x="3209972" y="1826810"/>
                  <a:pt x="3209972" y="1828711"/>
                </a:cubicBezTo>
                <a:cubicBezTo>
                  <a:pt x="3209972" y="1859139"/>
                  <a:pt x="3187098" y="1885763"/>
                  <a:pt x="3156597" y="1889566"/>
                </a:cubicBezTo>
                <a:cubicBezTo>
                  <a:pt x="3156597" y="1889566"/>
                  <a:pt x="3156597" y="1889566"/>
                  <a:pt x="2811555" y="1939010"/>
                </a:cubicBezTo>
                <a:cubicBezTo>
                  <a:pt x="2777241" y="1944716"/>
                  <a:pt x="2746740" y="1921895"/>
                  <a:pt x="2741022" y="1887665"/>
                </a:cubicBezTo>
                <a:cubicBezTo>
                  <a:pt x="2735303" y="1853434"/>
                  <a:pt x="2760084" y="1823006"/>
                  <a:pt x="2792492" y="1819203"/>
                </a:cubicBezTo>
                <a:cubicBezTo>
                  <a:pt x="2792492" y="1819203"/>
                  <a:pt x="2792492" y="1819203"/>
                  <a:pt x="3139439" y="1767857"/>
                </a:cubicBezTo>
                <a:close/>
                <a:moveTo>
                  <a:pt x="9859195" y="1522734"/>
                </a:moveTo>
                <a:cubicBezTo>
                  <a:pt x="9864196" y="1523210"/>
                  <a:pt x="9868958" y="1525589"/>
                  <a:pt x="9871816" y="1530346"/>
                </a:cubicBezTo>
                <a:cubicBezTo>
                  <a:pt x="9875626" y="1532249"/>
                  <a:pt x="9877531" y="1537959"/>
                  <a:pt x="9877531" y="1541765"/>
                </a:cubicBezTo>
                <a:cubicBezTo>
                  <a:pt x="9877531" y="1547475"/>
                  <a:pt x="9875626" y="1553184"/>
                  <a:pt x="9869911" y="1556990"/>
                </a:cubicBezTo>
                <a:cubicBezTo>
                  <a:pt x="9869911" y="1556990"/>
                  <a:pt x="9869911" y="1556990"/>
                  <a:pt x="9538436" y="1838657"/>
                </a:cubicBezTo>
                <a:cubicBezTo>
                  <a:pt x="9530816" y="1846270"/>
                  <a:pt x="9519386" y="1846270"/>
                  <a:pt x="9511766" y="1836754"/>
                </a:cubicBezTo>
                <a:cubicBezTo>
                  <a:pt x="9506051" y="1829141"/>
                  <a:pt x="9506051" y="1817722"/>
                  <a:pt x="9513671" y="1810110"/>
                </a:cubicBezTo>
                <a:cubicBezTo>
                  <a:pt x="9513671" y="1810110"/>
                  <a:pt x="9513671" y="1810110"/>
                  <a:pt x="9845146" y="1526540"/>
                </a:cubicBezTo>
                <a:cubicBezTo>
                  <a:pt x="9848956" y="1523685"/>
                  <a:pt x="9854195" y="1522258"/>
                  <a:pt x="9859195" y="1522734"/>
                </a:cubicBezTo>
                <a:close/>
                <a:moveTo>
                  <a:pt x="9283544" y="1516005"/>
                </a:moveTo>
                <a:cubicBezTo>
                  <a:pt x="9289503" y="1516718"/>
                  <a:pt x="9295223" y="1519573"/>
                  <a:pt x="9299036" y="1524331"/>
                </a:cubicBezTo>
                <a:cubicBezTo>
                  <a:pt x="9300942" y="1528137"/>
                  <a:pt x="9302849" y="1533846"/>
                  <a:pt x="9302849" y="1537653"/>
                </a:cubicBezTo>
                <a:cubicBezTo>
                  <a:pt x="9302849" y="1545265"/>
                  <a:pt x="9300942" y="1550974"/>
                  <a:pt x="9295223" y="1554780"/>
                </a:cubicBezTo>
                <a:cubicBezTo>
                  <a:pt x="9295223" y="1554780"/>
                  <a:pt x="9295223" y="1554780"/>
                  <a:pt x="8961563" y="1821217"/>
                </a:cubicBezTo>
                <a:cubicBezTo>
                  <a:pt x="8952030" y="1828830"/>
                  <a:pt x="8938684" y="1826927"/>
                  <a:pt x="8931057" y="1817411"/>
                </a:cubicBezTo>
                <a:cubicBezTo>
                  <a:pt x="8923431" y="1807895"/>
                  <a:pt x="8925338" y="1792671"/>
                  <a:pt x="8934871" y="1785058"/>
                </a:cubicBezTo>
                <a:cubicBezTo>
                  <a:pt x="8934871" y="1785058"/>
                  <a:pt x="8934871" y="1785058"/>
                  <a:pt x="9266623" y="1520524"/>
                </a:cubicBezTo>
                <a:cubicBezTo>
                  <a:pt x="9271389" y="1516718"/>
                  <a:pt x="9277586" y="1515291"/>
                  <a:pt x="9283544" y="1516005"/>
                </a:cubicBezTo>
                <a:close/>
                <a:moveTo>
                  <a:pt x="10444673" y="1515983"/>
                </a:moveTo>
                <a:cubicBezTo>
                  <a:pt x="10450150" y="1516697"/>
                  <a:pt x="10455389" y="1519551"/>
                  <a:pt x="10459199" y="1524309"/>
                </a:cubicBezTo>
                <a:cubicBezTo>
                  <a:pt x="10463009" y="1528115"/>
                  <a:pt x="10464914" y="1533824"/>
                  <a:pt x="10464914" y="1537630"/>
                </a:cubicBezTo>
                <a:cubicBezTo>
                  <a:pt x="10464914" y="1545243"/>
                  <a:pt x="10461104" y="1550952"/>
                  <a:pt x="10455389" y="1554759"/>
                </a:cubicBezTo>
                <a:cubicBezTo>
                  <a:pt x="10455389" y="1554759"/>
                  <a:pt x="10455389" y="1554759"/>
                  <a:pt x="10123915" y="1821192"/>
                </a:cubicBezTo>
                <a:cubicBezTo>
                  <a:pt x="10114389" y="1828804"/>
                  <a:pt x="10099149" y="1826901"/>
                  <a:pt x="10091529" y="1817385"/>
                </a:cubicBezTo>
                <a:cubicBezTo>
                  <a:pt x="10083909" y="1807870"/>
                  <a:pt x="10085814" y="1792645"/>
                  <a:pt x="10095339" y="1785033"/>
                </a:cubicBezTo>
                <a:cubicBezTo>
                  <a:pt x="10095339" y="1785033"/>
                  <a:pt x="10095339" y="1785033"/>
                  <a:pt x="10428719" y="1520503"/>
                </a:cubicBezTo>
                <a:cubicBezTo>
                  <a:pt x="10433481" y="1516697"/>
                  <a:pt x="10439197" y="1515269"/>
                  <a:pt x="10444673" y="1515983"/>
                </a:cubicBezTo>
                <a:close/>
                <a:moveTo>
                  <a:pt x="8713305" y="1508547"/>
                </a:moveTo>
                <a:cubicBezTo>
                  <a:pt x="8719740" y="1509261"/>
                  <a:pt x="8725937" y="1512595"/>
                  <a:pt x="8730703" y="1518310"/>
                </a:cubicBezTo>
                <a:cubicBezTo>
                  <a:pt x="8732609" y="1524026"/>
                  <a:pt x="8734516" y="1529740"/>
                  <a:pt x="8734516" y="1533551"/>
                </a:cubicBezTo>
                <a:cubicBezTo>
                  <a:pt x="8734516" y="1543076"/>
                  <a:pt x="8730703" y="1550696"/>
                  <a:pt x="8724983" y="1554506"/>
                </a:cubicBezTo>
                <a:cubicBezTo>
                  <a:pt x="8724983" y="1554506"/>
                  <a:pt x="8724983" y="1554506"/>
                  <a:pt x="8391331" y="1802160"/>
                </a:cubicBezTo>
                <a:cubicBezTo>
                  <a:pt x="8379891" y="1809779"/>
                  <a:pt x="8362732" y="1807874"/>
                  <a:pt x="8355106" y="1796444"/>
                </a:cubicBezTo>
                <a:cubicBezTo>
                  <a:pt x="8345573" y="1785014"/>
                  <a:pt x="8349386" y="1769774"/>
                  <a:pt x="8360826" y="1760249"/>
                </a:cubicBezTo>
                <a:cubicBezTo>
                  <a:pt x="8360826" y="1760249"/>
                  <a:pt x="8360826" y="1760249"/>
                  <a:pt x="8694478" y="1514500"/>
                </a:cubicBezTo>
                <a:cubicBezTo>
                  <a:pt x="8700197" y="1509738"/>
                  <a:pt x="8706870" y="1507833"/>
                  <a:pt x="8713305" y="1508547"/>
                </a:cubicBezTo>
                <a:close/>
                <a:moveTo>
                  <a:pt x="11022911" y="1508523"/>
                </a:moveTo>
                <a:cubicBezTo>
                  <a:pt x="11029107" y="1509237"/>
                  <a:pt x="11034827" y="1512571"/>
                  <a:pt x="11038640" y="1518286"/>
                </a:cubicBezTo>
                <a:cubicBezTo>
                  <a:pt x="11042453" y="1524001"/>
                  <a:pt x="11044360" y="1529716"/>
                  <a:pt x="11044360" y="1533526"/>
                </a:cubicBezTo>
                <a:cubicBezTo>
                  <a:pt x="11044360" y="1543051"/>
                  <a:pt x="11040547" y="1550671"/>
                  <a:pt x="11034827" y="1554481"/>
                </a:cubicBezTo>
                <a:cubicBezTo>
                  <a:pt x="11034827" y="1554481"/>
                  <a:pt x="11034827" y="1554481"/>
                  <a:pt x="10701175" y="1802131"/>
                </a:cubicBezTo>
                <a:cubicBezTo>
                  <a:pt x="10689735" y="1809751"/>
                  <a:pt x="10672576" y="1807846"/>
                  <a:pt x="10664950" y="1796416"/>
                </a:cubicBezTo>
                <a:cubicBezTo>
                  <a:pt x="10655417" y="1784986"/>
                  <a:pt x="10659230" y="1769746"/>
                  <a:pt x="10670670" y="1760221"/>
                </a:cubicBezTo>
                <a:cubicBezTo>
                  <a:pt x="10670670" y="1760221"/>
                  <a:pt x="10670670" y="1760221"/>
                  <a:pt x="11004322" y="1514476"/>
                </a:cubicBezTo>
                <a:cubicBezTo>
                  <a:pt x="11010042" y="1509714"/>
                  <a:pt x="11016715" y="1507809"/>
                  <a:pt x="11022911" y="1508523"/>
                </a:cubicBezTo>
                <a:close/>
                <a:moveTo>
                  <a:pt x="8149812" y="1501800"/>
                </a:moveTo>
                <a:cubicBezTo>
                  <a:pt x="8156962" y="1503228"/>
                  <a:pt x="8163635" y="1507515"/>
                  <a:pt x="8168401" y="1514182"/>
                </a:cubicBezTo>
                <a:cubicBezTo>
                  <a:pt x="8172214" y="1519897"/>
                  <a:pt x="8174121" y="1525612"/>
                  <a:pt x="8174121" y="1531327"/>
                </a:cubicBezTo>
                <a:cubicBezTo>
                  <a:pt x="8174121" y="1540853"/>
                  <a:pt x="8168401" y="1548473"/>
                  <a:pt x="8160775" y="1554187"/>
                </a:cubicBezTo>
                <a:cubicBezTo>
                  <a:pt x="8160775" y="1554187"/>
                  <a:pt x="8160775" y="1554187"/>
                  <a:pt x="7825223" y="1782791"/>
                </a:cubicBezTo>
                <a:cubicBezTo>
                  <a:pt x="7811877" y="1792316"/>
                  <a:pt x="7794718" y="1788506"/>
                  <a:pt x="7785185" y="1775171"/>
                </a:cubicBezTo>
                <a:cubicBezTo>
                  <a:pt x="7775653" y="1761836"/>
                  <a:pt x="7779466" y="1744691"/>
                  <a:pt x="7792812" y="1735166"/>
                </a:cubicBezTo>
                <a:cubicBezTo>
                  <a:pt x="7792812" y="1735166"/>
                  <a:pt x="7792812" y="1735166"/>
                  <a:pt x="8128364" y="1506563"/>
                </a:cubicBezTo>
                <a:cubicBezTo>
                  <a:pt x="8135036" y="1501800"/>
                  <a:pt x="8142663" y="1500371"/>
                  <a:pt x="8149812" y="1501800"/>
                </a:cubicBezTo>
                <a:close/>
                <a:moveTo>
                  <a:pt x="11594174" y="1501795"/>
                </a:moveTo>
                <a:cubicBezTo>
                  <a:pt x="11601776" y="1503224"/>
                  <a:pt x="11608903" y="1507510"/>
                  <a:pt x="11613654" y="1514178"/>
                </a:cubicBezTo>
                <a:cubicBezTo>
                  <a:pt x="11615555" y="1519893"/>
                  <a:pt x="11617455" y="1525608"/>
                  <a:pt x="11617455" y="1531323"/>
                </a:cubicBezTo>
                <a:cubicBezTo>
                  <a:pt x="11617455" y="1540848"/>
                  <a:pt x="11613654" y="1548468"/>
                  <a:pt x="11606052" y="1554183"/>
                </a:cubicBezTo>
                <a:cubicBezTo>
                  <a:pt x="11606052" y="1554183"/>
                  <a:pt x="11606052" y="1554183"/>
                  <a:pt x="11271574" y="1782786"/>
                </a:cubicBezTo>
                <a:cubicBezTo>
                  <a:pt x="11258270" y="1792311"/>
                  <a:pt x="11239266" y="1788501"/>
                  <a:pt x="11231664" y="1775166"/>
                </a:cubicBezTo>
                <a:cubicBezTo>
                  <a:pt x="11222162" y="1761831"/>
                  <a:pt x="11225963" y="1744685"/>
                  <a:pt x="11239266" y="1735161"/>
                </a:cubicBezTo>
                <a:cubicBezTo>
                  <a:pt x="11239266" y="1735161"/>
                  <a:pt x="11239266" y="1735161"/>
                  <a:pt x="11571844" y="1506558"/>
                </a:cubicBezTo>
                <a:cubicBezTo>
                  <a:pt x="11578496" y="1501795"/>
                  <a:pt x="11586573" y="1500367"/>
                  <a:pt x="11594174" y="1501795"/>
                </a:cubicBezTo>
                <a:close/>
                <a:moveTo>
                  <a:pt x="12139750" y="1497031"/>
                </a:moveTo>
                <a:cubicBezTo>
                  <a:pt x="12139750" y="1497031"/>
                  <a:pt x="12139750" y="1497031"/>
                  <a:pt x="12139750" y="1573231"/>
                </a:cubicBezTo>
                <a:cubicBezTo>
                  <a:pt x="12139750" y="1573231"/>
                  <a:pt x="12139750" y="1573231"/>
                  <a:pt x="11834677" y="1763733"/>
                </a:cubicBezTo>
                <a:cubicBezTo>
                  <a:pt x="11819424" y="1773258"/>
                  <a:pt x="11798450" y="1769448"/>
                  <a:pt x="11788917" y="1754208"/>
                </a:cubicBezTo>
                <a:cubicBezTo>
                  <a:pt x="11779383" y="1738968"/>
                  <a:pt x="11785103" y="1719918"/>
                  <a:pt x="11800357" y="1710392"/>
                </a:cubicBezTo>
                <a:lnTo>
                  <a:pt x="12135937" y="1498936"/>
                </a:lnTo>
                <a:cubicBezTo>
                  <a:pt x="12137843" y="1498936"/>
                  <a:pt x="12137843" y="1498936"/>
                  <a:pt x="12139750" y="1497031"/>
                </a:cubicBezTo>
                <a:close/>
                <a:moveTo>
                  <a:pt x="7592412" y="1496614"/>
                </a:moveTo>
                <a:cubicBezTo>
                  <a:pt x="7600734" y="1498748"/>
                  <a:pt x="7608342" y="1503963"/>
                  <a:pt x="7613097" y="1511548"/>
                </a:cubicBezTo>
                <a:cubicBezTo>
                  <a:pt x="7616901" y="1517237"/>
                  <a:pt x="7616901" y="1522928"/>
                  <a:pt x="7616901" y="1528616"/>
                </a:cubicBezTo>
                <a:cubicBezTo>
                  <a:pt x="7616901" y="1539996"/>
                  <a:pt x="7611195" y="1549478"/>
                  <a:pt x="7601685" y="1555168"/>
                </a:cubicBezTo>
                <a:cubicBezTo>
                  <a:pt x="7601685" y="1555168"/>
                  <a:pt x="7601685" y="1555168"/>
                  <a:pt x="7266927" y="1763784"/>
                </a:cubicBezTo>
                <a:cubicBezTo>
                  <a:pt x="7251710" y="1773266"/>
                  <a:pt x="7232690" y="1769473"/>
                  <a:pt x="7223180" y="1754301"/>
                </a:cubicBezTo>
                <a:cubicBezTo>
                  <a:pt x="7213670" y="1739129"/>
                  <a:pt x="7217474" y="1720164"/>
                  <a:pt x="7232690" y="1710681"/>
                </a:cubicBezTo>
                <a:cubicBezTo>
                  <a:pt x="7232690" y="1710681"/>
                  <a:pt x="7232690" y="1710681"/>
                  <a:pt x="7567448" y="1500170"/>
                </a:cubicBezTo>
                <a:cubicBezTo>
                  <a:pt x="7575056" y="1495428"/>
                  <a:pt x="7584091" y="1494480"/>
                  <a:pt x="7592412" y="1496614"/>
                </a:cubicBezTo>
                <a:close/>
                <a:moveTo>
                  <a:pt x="7043429" y="1490543"/>
                </a:moveTo>
                <a:cubicBezTo>
                  <a:pt x="7052498" y="1492930"/>
                  <a:pt x="7060613" y="1498657"/>
                  <a:pt x="7065387" y="1507250"/>
                </a:cubicBezTo>
                <a:cubicBezTo>
                  <a:pt x="7069206" y="1512978"/>
                  <a:pt x="7069206" y="1518707"/>
                  <a:pt x="7069206" y="1524435"/>
                </a:cubicBezTo>
                <a:cubicBezTo>
                  <a:pt x="7069206" y="1537802"/>
                  <a:pt x="7063478" y="1549259"/>
                  <a:pt x="7052021" y="1554987"/>
                </a:cubicBezTo>
                <a:cubicBezTo>
                  <a:pt x="7052021" y="1554987"/>
                  <a:pt x="7052021" y="1554987"/>
                  <a:pt x="6714055" y="1747844"/>
                </a:cubicBezTo>
                <a:cubicBezTo>
                  <a:pt x="6696870" y="1757391"/>
                  <a:pt x="6675866" y="1751662"/>
                  <a:pt x="6664410" y="1734477"/>
                </a:cubicBezTo>
                <a:cubicBezTo>
                  <a:pt x="6654863" y="1717292"/>
                  <a:pt x="6660591" y="1694378"/>
                  <a:pt x="6677776" y="1684830"/>
                </a:cubicBezTo>
                <a:cubicBezTo>
                  <a:pt x="6677776" y="1684830"/>
                  <a:pt x="6677776" y="1684830"/>
                  <a:pt x="7015742" y="1493885"/>
                </a:cubicBezTo>
                <a:cubicBezTo>
                  <a:pt x="7024334" y="1489112"/>
                  <a:pt x="7034359" y="1488157"/>
                  <a:pt x="7043429" y="1490543"/>
                </a:cubicBezTo>
                <a:close/>
                <a:moveTo>
                  <a:pt x="6500175" y="1483801"/>
                </a:moveTo>
                <a:cubicBezTo>
                  <a:pt x="6509721" y="1486903"/>
                  <a:pt x="6518313" y="1493586"/>
                  <a:pt x="6524041" y="1503135"/>
                </a:cubicBezTo>
                <a:cubicBezTo>
                  <a:pt x="6525950" y="1508863"/>
                  <a:pt x="6527860" y="1514592"/>
                  <a:pt x="6527860" y="1520321"/>
                </a:cubicBezTo>
                <a:cubicBezTo>
                  <a:pt x="6527860" y="1535598"/>
                  <a:pt x="6520223" y="1548964"/>
                  <a:pt x="6506857" y="1554694"/>
                </a:cubicBezTo>
                <a:cubicBezTo>
                  <a:pt x="6506857" y="1554694"/>
                  <a:pt x="6506857" y="1554694"/>
                  <a:pt x="6166999" y="1728470"/>
                </a:cubicBezTo>
                <a:cubicBezTo>
                  <a:pt x="6147906" y="1739928"/>
                  <a:pt x="6124994" y="1732290"/>
                  <a:pt x="6113538" y="1711284"/>
                </a:cubicBezTo>
                <a:cubicBezTo>
                  <a:pt x="6103992" y="1692188"/>
                  <a:pt x="6111629" y="1669272"/>
                  <a:pt x="6130722" y="1659723"/>
                </a:cubicBezTo>
                <a:cubicBezTo>
                  <a:pt x="6130722" y="1659723"/>
                  <a:pt x="6130722" y="1659723"/>
                  <a:pt x="6470580" y="1485949"/>
                </a:cubicBezTo>
                <a:cubicBezTo>
                  <a:pt x="6480127" y="1481174"/>
                  <a:pt x="6490628" y="1480697"/>
                  <a:pt x="6500175" y="1483801"/>
                </a:cubicBezTo>
                <a:close/>
                <a:moveTo>
                  <a:pt x="5958440" y="1477068"/>
                </a:moveTo>
                <a:cubicBezTo>
                  <a:pt x="5968909" y="1480892"/>
                  <a:pt x="5977952" y="1488540"/>
                  <a:pt x="5982710" y="1499058"/>
                </a:cubicBezTo>
                <a:cubicBezTo>
                  <a:pt x="5984614" y="1504795"/>
                  <a:pt x="5986518" y="1510530"/>
                  <a:pt x="5986518" y="1516267"/>
                </a:cubicBezTo>
                <a:cubicBezTo>
                  <a:pt x="5986518" y="1533477"/>
                  <a:pt x="5977000" y="1548776"/>
                  <a:pt x="5961771" y="1556424"/>
                </a:cubicBezTo>
                <a:cubicBezTo>
                  <a:pt x="5961771" y="1556424"/>
                  <a:pt x="5961771" y="1556424"/>
                  <a:pt x="5622934" y="1711317"/>
                </a:cubicBezTo>
                <a:cubicBezTo>
                  <a:pt x="5600091" y="1720877"/>
                  <a:pt x="5575344" y="1711317"/>
                  <a:pt x="5565827" y="1690282"/>
                </a:cubicBezTo>
                <a:cubicBezTo>
                  <a:pt x="5556309" y="1669247"/>
                  <a:pt x="5565827" y="1644387"/>
                  <a:pt x="5586767" y="1632914"/>
                </a:cubicBezTo>
                <a:cubicBezTo>
                  <a:pt x="5586767" y="1632914"/>
                  <a:pt x="5586767" y="1632914"/>
                  <a:pt x="5925602" y="1478023"/>
                </a:cubicBezTo>
                <a:cubicBezTo>
                  <a:pt x="5936072" y="1473242"/>
                  <a:pt x="5947970" y="1473242"/>
                  <a:pt x="5958440" y="1477068"/>
                </a:cubicBezTo>
                <a:close/>
                <a:moveTo>
                  <a:pt x="398249" y="1477059"/>
                </a:moveTo>
                <a:cubicBezTo>
                  <a:pt x="408480" y="1480882"/>
                  <a:pt x="417523" y="1488532"/>
                  <a:pt x="423234" y="1499048"/>
                </a:cubicBezTo>
                <a:cubicBezTo>
                  <a:pt x="425137" y="1504785"/>
                  <a:pt x="427041" y="1510522"/>
                  <a:pt x="427041" y="1516259"/>
                </a:cubicBezTo>
                <a:cubicBezTo>
                  <a:pt x="427041" y="1533468"/>
                  <a:pt x="417523" y="1548766"/>
                  <a:pt x="402294" y="1556416"/>
                </a:cubicBezTo>
                <a:cubicBezTo>
                  <a:pt x="402294" y="1556416"/>
                  <a:pt x="402294" y="1556416"/>
                  <a:pt x="61547" y="1711307"/>
                </a:cubicBezTo>
                <a:cubicBezTo>
                  <a:pt x="40607" y="1720868"/>
                  <a:pt x="15860" y="1711307"/>
                  <a:pt x="6342" y="1690272"/>
                </a:cubicBezTo>
                <a:cubicBezTo>
                  <a:pt x="-3176" y="1669237"/>
                  <a:pt x="6342" y="1644378"/>
                  <a:pt x="27282" y="1632905"/>
                </a:cubicBezTo>
                <a:cubicBezTo>
                  <a:pt x="27282" y="1632905"/>
                  <a:pt x="27282" y="1632905"/>
                  <a:pt x="366125" y="1478015"/>
                </a:cubicBezTo>
                <a:cubicBezTo>
                  <a:pt x="376595" y="1473234"/>
                  <a:pt x="388017" y="1473234"/>
                  <a:pt x="398249" y="1477059"/>
                </a:cubicBezTo>
                <a:close/>
                <a:moveTo>
                  <a:pt x="5394603" y="1468287"/>
                </a:moveTo>
                <a:cubicBezTo>
                  <a:pt x="5412999" y="1468643"/>
                  <a:pt x="5429787" y="1479687"/>
                  <a:pt x="5436930" y="1498212"/>
                </a:cubicBezTo>
                <a:cubicBezTo>
                  <a:pt x="5438835" y="1503912"/>
                  <a:pt x="5438835" y="1509612"/>
                  <a:pt x="5438835" y="1515311"/>
                </a:cubicBezTo>
                <a:cubicBezTo>
                  <a:pt x="5438835" y="1532412"/>
                  <a:pt x="5429310" y="1549512"/>
                  <a:pt x="5410261" y="1557113"/>
                </a:cubicBezTo>
                <a:cubicBezTo>
                  <a:pt x="5410261" y="1557113"/>
                  <a:pt x="5410261" y="1557113"/>
                  <a:pt x="5069259" y="1693914"/>
                </a:cubicBezTo>
                <a:cubicBezTo>
                  <a:pt x="5046402" y="1703415"/>
                  <a:pt x="5019733" y="1692015"/>
                  <a:pt x="5010210" y="1667314"/>
                </a:cubicBezTo>
                <a:cubicBezTo>
                  <a:pt x="5000687" y="1644513"/>
                  <a:pt x="5012115" y="1617913"/>
                  <a:pt x="5036877" y="1608413"/>
                </a:cubicBezTo>
                <a:cubicBezTo>
                  <a:pt x="5036877" y="1608413"/>
                  <a:pt x="5036877" y="1608413"/>
                  <a:pt x="5375970" y="1471613"/>
                </a:cubicBezTo>
                <a:cubicBezTo>
                  <a:pt x="5382162" y="1469237"/>
                  <a:pt x="5388472" y="1468168"/>
                  <a:pt x="5394603" y="1468287"/>
                </a:cubicBezTo>
                <a:close/>
                <a:moveTo>
                  <a:pt x="929397" y="1468276"/>
                </a:moveTo>
                <a:cubicBezTo>
                  <a:pt x="946989" y="1468632"/>
                  <a:pt x="963777" y="1479676"/>
                  <a:pt x="970920" y="1498200"/>
                </a:cubicBezTo>
                <a:cubicBezTo>
                  <a:pt x="972826" y="1503900"/>
                  <a:pt x="974730" y="1509601"/>
                  <a:pt x="974730" y="1515301"/>
                </a:cubicBezTo>
                <a:cubicBezTo>
                  <a:pt x="974730" y="1532401"/>
                  <a:pt x="963300" y="1549501"/>
                  <a:pt x="946155" y="1557101"/>
                </a:cubicBezTo>
                <a:cubicBezTo>
                  <a:pt x="946155" y="1557101"/>
                  <a:pt x="946155" y="1557101"/>
                  <a:pt x="605156" y="1693902"/>
                </a:cubicBezTo>
                <a:cubicBezTo>
                  <a:pt x="580391" y="1703402"/>
                  <a:pt x="553721" y="1692002"/>
                  <a:pt x="546100" y="1667301"/>
                </a:cubicBezTo>
                <a:cubicBezTo>
                  <a:pt x="536576" y="1644501"/>
                  <a:pt x="548005" y="1617901"/>
                  <a:pt x="570866" y="1608401"/>
                </a:cubicBezTo>
                <a:cubicBezTo>
                  <a:pt x="570866" y="1608401"/>
                  <a:pt x="570866" y="1608401"/>
                  <a:pt x="911865" y="1471601"/>
                </a:cubicBezTo>
                <a:cubicBezTo>
                  <a:pt x="917580" y="1469226"/>
                  <a:pt x="923533" y="1468157"/>
                  <a:pt x="929397" y="1468276"/>
                </a:cubicBezTo>
                <a:close/>
                <a:moveTo>
                  <a:pt x="4844457" y="1461448"/>
                </a:moveTo>
                <a:cubicBezTo>
                  <a:pt x="4864107" y="1463144"/>
                  <a:pt x="4881610" y="1475289"/>
                  <a:pt x="4887326" y="1493862"/>
                </a:cubicBezTo>
                <a:cubicBezTo>
                  <a:pt x="4889232" y="1499576"/>
                  <a:pt x="4891138" y="1505292"/>
                  <a:pt x="4891138" y="1511006"/>
                </a:cubicBezTo>
                <a:cubicBezTo>
                  <a:pt x="4891138" y="1531962"/>
                  <a:pt x="4877800" y="1551012"/>
                  <a:pt x="4856840" y="1556728"/>
                </a:cubicBezTo>
                <a:cubicBezTo>
                  <a:pt x="4856840" y="1556728"/>
                  <a:pt x="4856840" y="1556728"/>
                  <a:pt x="4515847" y="1674839"/>
                </a:cubicBezTo>
                <a:cubicBezTo>
                  <a:pt x="4489179" y="1684364"/>
                  <a:pt x="4462507" y="1671029"/>
                  <a:pt x="4452982" y="1644358"/>
                </a:cubicBezTo>
                <a:cubicBezTo>
                  <a:pt x="4443457" y="1619593"/>
                  <a:pt x="4456792" y="1591017"/>
                  <a:pt x="4483463" y="1583397"/>
                </a:cubicBezTo>
                <a:cubicBezTo>
                  <a:pt x="4483463" y="1583397"/>
                  <a:pt x="4483463" y="1583397"/>
                  <a:pt x="4824450" y="1463382"/>
                </a:cubicBezTo>
                <a:cubicBezTo>
                  <a:pt x="4831119" y="1461477"/>
                  <a:pt x="4837908" y="1460882"/>
                  <a:pt x="4844457" y="1461448"/>
                </a:cubicBezTo>
                <a:close/>
                <a:moveTo>
                  <a:pt x="1479724" y="1461434"/>
                </a:moveTo>
                <a:cubicBezTo>
                  <a:pt x="1498668" y="1463130"/>
                  <a:pt x="1516541" y="1475275"/>
                  <a:pt x="1523689" y="1493848"/>
                </a:cubicBezTo>
                <a:cubicBezTo>
                  <a:pt x="1525596" y="1499564"/>
                  <a:pt x="1525596" y="1505278"/>
                  <a:pt x="1525596" y="1510993"/>
                </a:cubicBezTo>
                <a:cubicBezTo>
                  <a:pt x="1525596" y="1531948"/>
                  <a:pt x="1512251" y="1550999"/>
                  <a:pt x="1493187" y="1556713"/>
                </a:cubicBezTo>
                <a:cubicBezTo>
                  <a:pt x="1493187" y="1556713"/>
                  <a:pt x="1493187" y="1556713"/>
                  <a:pt x="1150039" y="1674825"/>
                </a:cubicBezTo>
                <a:cubicBezTo>
                  <a:pt x="1125256" y="1684349"/>
                  <a:pt x="1096660" y="1671014"/>
                  <a:pt x="1089034" y="1644344"/>
                </a:cubicBezTo>
                <a:cubicBezTo>
                  <a:pt x="1079503" y="1619579"/>
                  <a:pt x="1092847" y="1591004"/>
                  <a:pt x="1117630" y="1583384"/>
                </a:cubicBezTo>
                <a:cubicBezTo>
                  <a:pt x="1117630" y="1583384"/>
                  <a:pt x="1117630" y="1583384"/>
                  <a:pt x="1460779" y="1463368"/>
                </a:cubicBezTo>
                <a:cubicBezTo>
                  <a:pt x="1466975" y="1461464"/>
                  <a:pt x="1473409" y="1460868"/>
                  <a:pt x="1479724" y="1461434"/>
                </a:cubicBezTo>
                <a:close/>
                <a:moveTo>
                  <a:pt x="4287991" y="1454950"/>
                </a:moveTo>
                <a:cubicBezTo>
                  <a:pt x="4308456" y="1457007"/>
                  <a:pt x="4325971" y="1471672"/>
                  <a:pt x="4331690" y="1491704"/>
                </a:cubicBezTo>
                <a:cubicBezTo>
                  <a:pt x="4333596" y="1497427"/>
                  <a:pt x="4335502" y="1501243"/>
                  <a:pt x="4335502" y="1506966"/>
                </a:cubicBezTo>
                <a:cubicBezTo>
                  <a:pt x="4335502" y="1529859"/>
                  <a:pt x="4320252" y="1550846"/>
                  <a:pt x="4297375" y="1558477"/>
                </a:cubicBezTo>
                <a:cubicBezTo>
                  <a:pt x="4297375" y="1558477"/>
                  <a:pt x="4297375" y="1558477"/>
                  <a:pt x="3954252" y="1657683"/>
                </a:cubicBezTo>
                <a:cubicBezTo>
                  <a:pt x="3925655" y="1665315"/>
                  <a:pt x="3897059" y="1650053"/>
                  <a:pt x="3887526" y="1621435"/>
                </a:cubicBezTo>
                <a:cubicBezTo>
                  <a:pt x="3879900" y="1594725"/>
                  <a:pt x="3897059" y="1564200"/>
                  <a:pt x="3923748" y="1556569"/>
                </a:cubicBezTo>
                <a:cubicBezTo>
                  <a:pt x="3923748" y="1556569"/>
                  <a:pt x="3923748" y="1556569"/>
                  <a:pt x="4266871" y="1457365"/>
                </a:cubicBezTo>
                <a:cubicBezTo>
                  <a:pt x="4274021" y="1454981"/>
                  <a:pt x="4281169" y="1454264"/>
                  <a:pt x="4287991" y="1454950"/>
                </a:cubicBezTo>
                <a:close/>
                <a:moveTo>
                  <a:pt x="2034947" y="1454934"/>
                </a:moveTo>
                <a:cubicBezTo>
                  <a:pt x="2055090" y="1456991"/>
                  <a:pt x="2073625" y="1471657"/>
                  <a:pt x="2079328" y="1491688"/>
                </a:cubicBezTo>
                <a:cubicBezTo>
                  <a:pt x="2081229" y="1497412"/>
                  <a:pt x="2081229" y="1501227"/>
                  <a:pt x="2081229" y="1506950"/>
                </a:cubicBezTo>
                <a:cubicBezTo>
                  <a:pt x="2081229" y="1529844"/>
                  <a:pt x="2066020" y="1550830"/>
                  <a:pt x="2043205" y="1558461"/>
                </a:cubicBezTo>
                <a:cubicBezTo>
                  <a:pt x="2043205" y="1558461"/>
                  <a:pt x="2043205" y="1558461"/>
                  <a:pt x="1701020" y="1657667"/>
                </a:cubicBezTo>
                <a:cubicBezTo>
                  <a:pt x="1672505" y="1665298"/>
                  <a:pt x="1643989" y="1650035"/>
                  <a:pt x="1636385" y="1621418"/>
                </a:cubicBezTo>
                <a:cubicBezTo>
                  <a:pt x="1628781" y="1594709"/>
                  <a:pt x="1643989" y="1564184"/>
                  <a:pt x="1672505" y="1556553"/>
                </a:cubicBezTo>
                <a:cubicBezTo>
                  <a:pt x="1672505" y="1556553"/>
                  <a:pt x="1672505" y="1556553"/>
                  <a:pt x="2014689" y="1457348"/>
                </a:cubicBezTo>
                <a:cubicBezTo>
                  <a:pt x="2021343" y="1454963"/>
                  <a:pt x="2028234" y="1454248"/>
                  <a:pt x="2034947" y="1454934"/>
                </a:cubicBezTo>
                <a:close/>
                <a:moveTo>
                  <a:pt x="3729077" y="1449679"/>
                </a:moveTo>
                <a:cubicBezTo>
                  <a:pt x="3750749" y="1453151"/>
                  <a:pt x="3768940" y="1469174"/>
                  <a:pt x="3773220" y="1490538"/>
                </a:cubicBezTo>
                <a:cubicBezTo>
                  <a:pt x="3775123" y="1496235"/>
                  <a:pt x="3775123" y="1500034"/>
                  <a:pt x="3775123" y="1503831"/>
                </a:cubicBezTo>
                <a:cubicBezTo>
                  <a:pt x="3775123" y="1528519"/>
                  <a:pt x="3758001" y="1553208"/>
                  <a:pt x="3733267" y="1558905"/>
                </a:cubicBezTo>
                <a:cubicBezTo>
                  <a:pt x="3733267" y="1558905"/>
                  <a:pt x="3733267" y="1558905"/>
                  <a:pt x="3388946" y="1638666"/>
                </a:cubicBezTo>
                <a:cubicBezTo>
                  <a:pt x="3358507" y="1646263"/>
                  <a:pt x="3328069" y="1627272"/>
                  <a:pt x="3322361" y="1598786"/>
                </a:cubicBezTo>
                <a:cubicBezTo>
                  <a:pt x="3314753" y="1568400"/>
                  <a:pt x="3333777" y="1538015"/>
                  <a:pt x="3362311" y="1530418"/>
                </a:cubicBezTo>
                <a:cubicBezTo>
                  <a:pt x="3362311" y="1530418"/>
                  <a:pt x="3362311" y="1530418"/>
                  <a:pt x="3706634" y="1450658"/>
                </a:cubicBezTo>
                <a:cubicBezTo>
                  <a:pt x="3714241" y="1448760"/>
                  <a:pt x="3721853" y="1448522"/>
                  <a:pt x="3729077" y="1449679"/>
                </a:cubicBezTo>
                <a:close/>
                <a:moveTo>
                  <a:pt x="2595306" y="1449661"/>
                </a:moveTo>
                <a:cubicBezTo>
                  <a:pt x="2616529" y="1453133"/>
                  <a:pt x="2634008" y="1469156"/>
                  <a:pt x="2639715" y="1490520"/>
                </a:cubicBezTo>
                <a:cubicBezTo>
                  <a:pt x="2641617" y="1496217"/>
                  <a:pt x="2641617" y="1500015"/>
                  <a:pt x="2641617" y="1503814"/>
                </a:cubicBezTo>
                <a:cubicBezTo>
                  <a:pt x="2641617" y="1528502"/>
                  <a:pt x="2624496" y="1553189"/>
                  <a:pt x="2597862" y="1558887"/>
                </a:cubicBezTo>
                <a:cubicBezTo>
                  <a:pt x="2597862" y="1558887"/>
                  <a:pt x="2597862" y="1558887"/>
                  <a:pt x="2255431" y="1638648"/>
                </a:cubicBezTo>
                <a:cubicBezTo>
                  <a:pt x="2224993" y="1646244"/>
                  <a:pt x="2194554" y="1627253"/>
                  <a:pt x="2188847" y="1598767"/>
                </a:cubicBezTo>
                <a:cubicBezTo>
                  <a:pt x="2181237" y="1568382"/>
                  <a:pt x="2200262" y="1537997"/>
                  <a:pt x="2228797" y="1530401"/>
                </a:cubicBezTo>
                <a:cubicBezTo>
                  <a:pt x="2228797" y="1530401"/>
                  <a:pt x="2228797" y="1530401"/>
                  <a:pt x="2573131" y="1450640"/>
                </a:cubicBezTo>
                <a:cubicBezTo>
                  <a:pt x="2580741" y="1448741"/>
                  <a:pt x="2588231" y="1448503"/>
                  <a:pt x="2595306" y="1449661"/>
                </a:cubicBezTo>
                <a:close/>
                <a:moveTo>
                  <a:pt x="3137756" y="1442427"/>
                </a:moveTo>
                <a:cubicBezTo>
                  <a:pt x="3170206" y="1436712"/>
                  <a:pt x="3200750" y="1457667"/>
                  <a:pt x="3206475" y="1490052"/>
                </a:cubicBezTo>
                <a:cubicBezTo>
                  <a:pt x="3206475" y="1493862"/>
                  <a:pt x="3208386" y="1497671"/>
                  <a:pt x="3208386" y="1499576"/>
                </a:cubicBezTo>
                <a:cubicBezTo>
                  <a:pt x="3208386" y="1528151"/>
                  <a:pt x="3187388" y="1552917"/>
                  <a:pt x="3158755" y="1558632"/>
                </a:cubicBezTo>
                <a:cubicBezTo>
                  <a:pt x="3158755" y="1558632"/>
                  <a:pt x="3158755" y="1558632"/>
                  <a:pt x="2813246" y="1621498"/>
                </a:cubicBezTo>
                <a:cubicBezTo>
                  <a:pt x="2780795" y="1627213"/>
                  <a:pt x="2750253" y="1606257"/>
                  <a:pt x="2744525" y="1573872"/>
                </a:cubicBezTo>
                <a:cubicBezTo>
                  <a:pt x="2736892" y="1541486"/>
                  <a:pt x="2759797" y="1511006"/>
                  <a:pt x="2792248" y="1505291"/>
                </a:cubicBezTo>
                <a:cubicBezTo>
                  <a:pt x="2792248" y="1505291"/>
                  <a:pt x="2792248" y="1505291"/>
                  <a:pt x="3137756" y="1442427"/>
                </a:cubicBezTo>
                <a:close/>
                <a:moveTo>
                  <a:pt x="9860829" y="1204612"/>
                </a:moveTo>
                <a:cubicBezTo>
                  <a:pt x="9866293" y="1205090"/>
                  <a:pt x="9871519" y="1207481"/>
                  <a:pt x="9875319" y="1211306"/>
                </a:cubicBezTo>
                <a:cubicBezTo>
                  <a:pt x="9879119" y="1217044"/>
                  <a:pt x="9879119" y="1220870"/>
                  <a:pt x="9879119" y="1226607"/>
                </a:cubicBezTo>
                <a:cubicBezTo>
                  <a:pt x="9879119" y="1232345"/>
                  <a:pt x="9877219" y="1238083"/>
                  <a:pt x="9871518" y="1243820"/>
                </a:cubicBezTo>
                <a:cubicBezTo>
                  <a:pt x="9871518" y="1243820"/>
                  <a:pt x="9871518" y="1243820"/>
                  <a:pt x="9540880" y="1511592"/>
                </a:cubicBezTo>
                <a:cubicBezTo>
                  <a:pt x="9531379" y="1519243"/>
                  <a:pt x="9518078" y="1519243"/>
                  <a:pt x="9510477" y="1509680"/>
                </a:cubicBezTo>
                <a:cubicBezTo>
                  <a:pt x="9502876" y="1500116"/>
                  <a:pt x="9504776" y="1486728"/>
                  <a:pt x="9514277" y="1479077"/>
                </a:cubicBezTo>
                <a:cubicBezTo>
                  <a:pt x="9514277" y="1479077"/>
                  <a:pt x="9514277" y="1479077"/>
                  <a:pt x="9844915" y="1209393"/>
                </a:cubicBezTo>
                <a:cubicBezTo>
                  <a:pt x="9849665" y="1205568"/>
                  <a:pt x="9855366" y="1204134"/>
                  <a:pt x="9860829" y="1204612"/>
                </a:cubicBezTo>
                <a:close/>
                <a:moveTo>
                  <a:pt x="9284557" y="1198509"/>
                </a:moveTo>
                <a:cubicBezTo>
                  <a:pt x="9290758" y="1199223"/>
                  <a:pt x="9296482" y="1202078"/>
                  <a:pt x="9300299" y="1206835"/>
                </a:cubicBezTo>
                <a:cubicBezTo>
                  <a:pt x="9304115" y="1212544"/>
                  <a:pt x="9306023" y="1216350"/>
                  <a:pt x="9306023" y="1222058"/>
                </a:cubicBezTo>
                <a:cubicBezTo>
                  <a:pt x="9306023" y="1229668"/>
                  <a:pt x="9302207" y="1237280"/>
                  <a:pt x="9296482" y="1242988"/>
                </a:cubicBezTo>
                <a:cubicBezTo>
                  <a:pt x="9296482" y="1242988"/>
                  <a:pt x="9296482" y="1242988"/>
                  <a:pt x="8962556" y="1494190"/>
                </a:cubicBezTo>
                <a:cubicBezTo>
                  <a:pt x="8951107" y="1501802"/>
                  <a:pt x="8935841" y="1499899"/>
                  <a:pt x="8928209" y="1490384"/>
                </a:cubicBezTo>
                <a:cubicBezTo>
                  <a:pt x="8918668" y="1478966"/>
                  <a:pt x="8920576" y="1463742"/>
                  <a:pt x="8932025" y="1454228"/>
                </a:cubicBezTo>
                <a:cubicBezTo>
                  <a:pt x="8932025" y="1454228"/>
                  <a:pt x="8932025" y="1454228"/>
                  <a:pt x="9265952" y="1203029"/>
                </a:cubicBezTo>
                <a:cubicBezTo>
                  <a:pt x="9271677" y="1199223"/>
                  <a:pt x="9278355" y="1197796"/>
                  <a:pt x="9284557" y="1198509"/>
                </a:cubicBezTo>
                <a:close/>
                <a:moveTo>
                  <a:pt x="10445106" y="1198483"/>
                </a:moveTo>
                <a:cubicBezTo>
                  <a:pt x="10451287" y="1199197"/>
                  <a:pt x="10456992" y="1202051"/>
                  <a:pt x="10460796" y="1206809"/>
                </a:cubicBezTo>
                <a:cubicBezTo>
                  <a:pt x="10464600" y="1212518"/>
                  <a:pt x="10466502" y="1216324"/>
                  <a:pt x="10466502" y="1222033"/>
                </a:cubicBezTo>
                <a:cubicBezTo>
                  <a:pt x="10466502" y="1229645"/>
                  <a:pt x="10462698" y="1237258"/>
                  <a:pt x="10456993" y="1242967"/>
                </a:cubicBezTo>
                <a:cubicBezTo>
                  <a:pt x="10456993" y="1242967"/>
                  <a:pt x="10456993" y="1242967"/>
                  <a:pt x="10124163" y="1494166"/>
                </a:cubicBezTo>
                <a:cubicBezTo>
                  <a:pt x="10112752" y="1501779"/>
                  <a:pt x="10097537" y="1499876"/>
                  <a:pt x="10089930" y="1490360"/>
                </a:cubicBezTo>
                <a:cubicBezTo>
                  <a:pt x="10082322" y="1478942"/>
                  <a:pt x="10084224" y="1463718"/>
                  <a:pt x="10093733" y="1454203"/>
                </a:cubicBezTo>
                <a:cubicBezTo>
                  <a:pt x="10093733" y="1454203"/>
                  <a:pt x="10093733" y="1454203"/>
                  <a:pt x="10426563" y="1203003"/>
                </a:cubicBezTo>
                <a:cubicBezTo>
                  <a:pt x="10432268" y="1199197"/>
                  <a:pt x="10438925" y="1197769"/>
                  <a:pt x="10445106" y="1198483"/>
                </a:cubicBezTo>
                <a:close/>
                <a:moveTo>
                  <a:pt x="8713976" y="1190406"/>
                </a:moveTo>
                <a:cubicBezTo>
                  <a:pt x="8720876" y="1191594"/>
                  <a:pt x="8727539" y="1195396"/>
                  <a:pt x="8732297" y="1201099"/>
                </a:cubicBezTo>
                <a:cubicBezTo>
                  <a:pt x="8736104" y="1206803"/>
                  <a:pt x="8736104" y="1212505"/>
                  <a:pt x="8736104" y="1218208"/>
                </a:cubicBezTo>
                <a:cubicBezTo>
                  <a:pt x="8736104" y="1225809"/>
                  <a:pt x="8732297" y="1235312"/>
                  <a:pt x="8724683" y="1241015"/>
                </a:cubicBezTo>
                <a:cubicBezTo>
                  <a:pt x="8724683" y="1241015"/>
                  <a:pt x="8724683" y="1241015"/>
                  <a:pt x="8391573" y="1476736"/>
                </a:cubicBezTo>
                <a:cubicBezTo>
                  <a:pt x="8378249" y="1484339"/>
                  <a:pt x="8361117" y="1482438"/>
                  <a:pt x="8353503" y="1469132"/>
                </a:cubicBezTo>
                <a:cubicBezTo>
                  <a:pt x="8343986" y="1457727"/>
                  <a:pt x="8347793" y="1440617"/>
                  <a:pt x="8359214" y="1431112"/>
                </a:cubicBezTo>
                <a:cubicBezTo>
                  <a:pt x="8359214" y="1431112"/>
                  <a:pt x="8359214" y="1431112"/>
                  <a:pt x="8694227" y="1195396"/>
                </a:cubicBezTo>
                <a:cubicBezTo>
                  <a:pt x="8699937" y="1190644"/>
                  <a:pt x="8707076" y="1189218"/>
                  <a:pt x="8713976" y="1190406"/>
                </a:cubicBezTo>
                <a:close/>
                <a:moveTo>
                  <a:pt x="11023582" y="1190378"/>
                </a:moveTo>
                <a:cubicBezTo>
                  <a:pt x="11030720" y="1191566"/>
                  <a:pt x="11037382" y="1195368"/>
                  <a:pt x="11042141" y="1201071"/>
                </a:cubicBezTo>
                <a:cubicBezTo>
                  <a:pt x="11044045" y="1206774"/>
                  <a:pt x="11045948" y="1212477"/>
                  <a:pt x="11045948" y="1218180"/>
                </a:cubicBezTo>
                <a:cubicBezTo>
                  <a:pt x="11045948" y="1225783"/>
                  <a:pt x="11042141" y="1235288"/>
                  <a:pt x="11034527" y="1240991"/>
                </a:cubicBezTo>
                <a:cubicBezTo>
                  <a:pt x="11034527" y="1240991"/>
                  <a:pt x="11034527" y="1240991"/>
                  <a:pt x="10701417" y="1476710"/>
                </a:cubicBezTo>
                <a:cubicBezTo>
                  <a:pt x="10688093" y="1484313"/>
                  <a:pt x="10670961" y="1482412"/>
                  <a:pt x="10663347" y="1469106"/>
                </a:cubicBezTo>
                <a:cubicBezTo>
                  <a:pt x="10653830" y="1457700"/>
                  <a:pt x="10655733" y="1440591"/>
                  <a:pt x="10669058" y="1431087"/>
                </a:cubicBezTo>
                <a:cubicBezTo>
                  <a:pt x="10669058" y="1431087"/>
                  <a:pt x="10669058" y="1431087"/>
                  <a:pt x="11002168" y="1195368"/>
                </a:cubicBezTo>
                <a:cubicBezTo>
                  <a:pt x="11008830" y="1190616"/>
                  <a:pt x="11016444" y="1189190"/>
                  <a:pt x="11023582" y="1190378"/>
                </a:cubicBezTo>
                <a:close/>
                <a:moveTo>
                  <a:pt x="8150486" y="1182942"/>
                </a:moveTo>
                <a:cubicBezTo>
                  <a:pt x="8158100" y="1184606"/>
                  <a:pt x="8165239" y="1189358"/>
                  <a:pt x="8169997" y="1196960"/>
                </a:cubicBezTo>
                <a:cubicBezTo>
                  <a:pt x="8173804" y="1200763"/>
                  <a:pt x="8175708" y="1206467"/>
                  <a:pt x="8175708" y="1212168"/>
                </a:cubicBezTo>
                <a:cubicBezTo>
                  <a:pt x="8175708" y="1223571"/>
                  <a:pt x="8169997" y="1233074"/>
                  <a:pt x="8160480" y="1238776"/>
                </a:cubicBezTo>
                <a:cubicBezTo>
                  <a:pt x="8160480" y="1238776"/>
                  <a:pt x="8160480" y="1238776"/>
                  <a:pt x="7825460" y="1457373"/>
                </a:cubicBezTo>
                <a:cubicBezTo>
                  <a:pt x="7812135" y="1466876"/>
                  <a:pt x="7793100" y="1463074"/>
                  <a:pt x="7783582" y="1449769"/>
                </a:cubicBezTo>
                <a:cubicBezTo>
                  <a:pt x="7774065" y="1434562"/>
                  <a:pt x="7777872" y="1415556"/>
                  <a:pt x="7793100" y="1407952"/>
                </a:cubicBezTo>
                <a:cubicBezTo>
                  <a:pt x="7793100" y="1407952"/>
                  <a:pt x="7793100" y="1407952"/>
                  <a:pt x="8128120" y="1187458"/>
                </a:cubicBezTo>
                <a:cubicBezTo>
                  <a:pt x="8134782" y="1182705"/>
                  <a:pt x="8142872" y="1181279"/>
                  <a:pt x="8150486" y="1182942"/>
                </a:cubicBezTo>
                <a:close/>
                <a:moveTo>
                  <a:pt x="11595229" y="1182937"/>
                </a:moveTo>
                <a:cubicBezTo>
                  <a:pt x="11602849" y="1184600"/>
                  <a:pt x="11609517" y="1189352"/>
                  <a:pt x="11613327" y="1196955"/>
                </a:cubicBezTo>
                <a:cubicBezTo>
                  <a:pt x="11617137" y="1200757"/>
                  <a:pt x="11619042" y="1206459"/>
                  <a:pt x="11619042" y="1212161"/>
                </a:cubicBezTo>
                <a:cubicBezTo>
                  <a:pt x="11619042" y="1223565"/>
                  <a:pt x="11615232" y="1233069"/>
                  <a:pt x="11605707" y="1238770"/>
                </a:cubicBezTo>
                <a:cubicBezTo>
                  <a:pt x="11605707" y="1238770"/>
                  <a:pt x="11605707" y="1238770"/>
                  <a:pt x="11270423" y="1457367"/>
                </a:cubicBezTo>
                <a:cubicBezTo>
                  <a:pt x="11257087" y="1466870"/>
                  <a:pt x="11238037" y="1463069"/>
                  <a:pt x="11228512" y="1449763"/>
                </a:cubicBezTo>
                <a:cubicBezTo>
                  <a:pt x="11218987" y="1434556"/>
                  <a:pt x="11222797" y="1415549"/>
                  <a:pt x="11236132" y="1407946"/>
                </a:cubicBezTo>
                <a:cubicBezTo>
                  <a:pt x="11236132" y="1407946"/>
                  <a:pt x="11236132" y="1407946"/>
                  <a:pt x="11571416" y="1187451"/>
                </a:cubicBezTo>
                <a:cubicBezTo>
                  <a:pt x="11579036" y="1182699"/>
                  <a:pt x="11587609" y="1181273"/>
                  <a:pt x="11595229" y="1182937"/>
                </a:cubicBezTo>
                <a:close/>
                <a:moveTo>
                  <a:pt x="12139750" y="1177944"/>
                </a:moveTo>
                <a:cubicBezTo>
                  <a:pt x="12139750" y="1177944"/>
                  <a:pt x="12139750" y="1177944"/>
                  <a:pt x="12139750" y="1255774"/>
                </a:cubicBezTo>
                <a:cubicBezTo>
                  <a:pt x="12139750" y="1255774"/>
                  <a:pt x="12139750" y="1255774"/>
                  <a:pt x="11834677" y="1439913"/>
                </a:cubicBezTo>
                <a:cubicBezTo>
                  <a:pt x="11817517" y="1449407"/>
                  <a:pt x="11798450" y="1445609"/>
                  <a:pt x="11788917" y="1428524"/>
                </a:cubicBezTo>
                <a:cubicBezTo>
                  <a:pt x="11779383" y="1413338"/>
                  <a:pt x="11783196" y="1392456"/>
                  <a:pt x="11798450" y="1382965"/>
                </a:cubicBezTo>
                <a:lnTo>
                  <a:pt x="12135937" y="1179842"/>
                </a:lnTo>
                <a:cubicBezTo>
                  <a:pt x="12137843" y="1179842"/>
                  <a:pt x="12137843" y="1177944"/>
                  <a:pt x="12139750" y="1177944"/>
                </a:cubicBezTo>
                <a:close/>
                <a:moveTo>
                  <a:pt x="7594338" y="1175955"/>
                </a:moveTo>
                <a:cubicBezTo>
                  <a:pt x="7602441" y="1178093"/>
                  <a:pt x="7609590" y="1183320"/>
                  <a:pt x="7614356" y="1190924"/>
                </a:cubicBezTo>
                <a:cubicBezTo>
                  <a:pt x="7618169" y="1196625"/>
                  <a:pt x="7620076" y="1202328"/>
                  <a:pt x="7620076" y="1208030"/>
                </a:cubicBezTo>
                <a:cubicBezTo>
                  <a:pt x="7620076" y="1219433"/>
                  <a:pt x="7614356" y="1230835"/>
                  <a:pt x="7604824" y="1236536"/>
                </a:cubicBezTo>
                <a:cubicBezTo>
                  <a:pt x="7604824" y="1236536"/>
                  <a:pt x="7604824" y="1236536"/>
                  <a:pt x="7267372" y="1439910"/>
                </a:cubicBezTo>
                <a:cubicBezTo>
                  <a:pt x="7252119" y="1449414"/>
                  <a:pt x="7231148" y="1445612"/>
                  <a:pt x="7221615" y="1428505"/>
                </a:cubicBezTo>
                <a:cubicBezTo>
                  <a:pt x="7212083" y="1413303"/>
                  <a:pt x="7217802" y="1392394"/>
                  <a:pt x="7233054" y="1382889"/>
                </a:cubicBezTo>
                <a:cubicBezTo>
                  <a:pt x="7233054" y="1382889"/>
                  <a:pt x="7233054" y="1382889"/>
                  <a:pt x="7568600" y="1179519"/>
                </a:cubicBezTo>
                <a:cubicBezTo>
                  <a:pt x="7577179" y="1174767"/>
                  <a:pt x="7586235" y="1173817"/>
                  <a:pt x="7594338" y="1175955"/>
                </a:cubicBezTo>
                <a:close/>
                <a:moveTo>
                  <a:pt x="7043844" y="1168289"/>
                </a:moveTo>
                <a:cubicBezTo>
                  <a:pt x="7052668" y="1170680"/>
                  <a:pt x="7060300" y="1176415"/>
                  <a:pt x="7065070" y="1185018"/>
                </a:cubicBezTo>
                <a:cubicBezTo>
                  <a:pt x="7068886" y="1190754"/>
                  <a:pt x="7070794" y="1196488"/>
                  <a:pt x="7070794" y="1204137"/>
                </a:cubicBezTo>
                <a:cubicBezTo>
                  <a:pt x="7070794" y="1215606"/>
                  <a:pt x="7063162" y="1228986"/>
                  <a:pt x="7051714" y="1234720"/>
                </a:cubicBezTo>
                <a:cubicBezTo>
                  <a:pt x="7051714" y="1234720"/>
                  <a:pt x="7051714" y="1234720"/>
                  <a:pt x="6714009" y="1423981"/>
                </a:cubicBezTo>
                <a:cubicBezTo>
                  <a:pt x="6696837" y="1433539"/>
                  <a:pt x="6673942" y="1427803"/>
                  <a:pt x="6664402" y="1410601"/>
                </a:cubicBezTo>
                <a:cubicBezTo>
                  <a:pt x="6654863" y="1391481"/>
                  <a:pt x="6660587" y="1370454"/>
                  <a:pt x="6677758" y="1360894"/>
                </a:cubicBezTo>
                <a:cubicBezTo>
                  <a:pt x="6677758" y="1360894"/>
                  <a:pt x="6677758" y="1360894"/>
                  <a:pt x="7015463" y="1171635"/>
                </a:cubicBezTo>
                <a:cubicBezTo>
                  <a:pt x="7025003" y="1166856"/>
                  <a:pt x="7035020" y="1165900"/>
                  <a:pt x="7043844" y="1168289"/>
                </a:cubicBezTo>
                <a:close/>
                <a:moveTo>
                  <a:pt x="6500891" y="1161548"/>
                </a:moveTo>
                <a:cubicBezTo>
                  <a:pt x="6510676" y="1164656"/>
                  <a:pt x="6519268" y="1171347"/>
                  <a:pt x="6524041" y="1180908"/>
                </a:cubicBezTo>
                <a:cubicBezTo>
                  <a:pt x="6525950" y="1186644"/>
                  <a:pt x="6527860" y="1192379"/>
                  <a:pt x="6527860" y="1198115"/>
                </a:cubicBezTo>
                <a:cubicBezTo>
                  <a:pt x="6527860" y="1213412"/>
                  <a:pt x="6520223" y="1226794"/>
                  <a:pt x="6506857" y="1234440"/>
                </a:cubicBezTo>
                <a:cubicBezTo>
                  <a:pt x="6506857" y="1234440"/>
                  <a:pt x="6506857" y="1234440"/>
                  <a:pt x="6166999" y="1406519"/>
                </a:cubicBezTo>
                <a:cubicBezTo>
                  <a:pt x="6147906" y="1416079"/>
                  <a:pt x="6123085" y="1408432"/>
                  <a:pt x="6113538" y="1389310"/>
                </a:cubicBezTo>
                <a:cubicBezTo>
                  <a:pt x="6103992" y="1370191"/>
                  <a:pt x="6111629" y="1345334"/>
                  <a:pt x="6130722" y="1335774"/>
                </a:cubicBezTo>
                <a:cubicBezTo>
                  <a:pt x="6130722" y="1335774"/>
                  <a:pt x="6130722" y="1335774"/>
                  <a:pt x="6470580" y="1163700"/>
                </a:cubicBezTo>
                <a:cubicBezTo>
                  <a:pt x="6480127" y="1158919"/>
                  <a:pt x="6491105" y="1158442"/>
                  <a:pt x="6500891" y="1161548"/>
                </a:cubicBezTo>
                <a:close/>
                <a:moveTo>
                  <a:pt x="5957727" y="1155628"/>
                </a:moveTo>
                <a:cubicBezTo>
                  <a:pt x="5967957" y="1159191"/>
                  <a:pt x="5977000" y="1166792"/>
                  <a:pt x="5982710" y="1178193"/>
                </a:cubicBezTo>
                <a:cubicBezTo>
                  <a:pt x="5984614" y="1183894"/>
                  <a:pt x="5986518" y="1189596"/>
                  <a:pt x="5986518" y="1195296"/>
                </a:cubicBezTo>
                <a:cubicBezTo>
                  <a:pt x="5986518" y="1210498"/>
                  <a:pt x="5977000" y="1225697"/>
                  <a:pt x="5961771" y="1233296"/>
                </a:cubicBezTo>
                <a:cubicBezTo>
                  <a:pt x="5961771" y="1233296"/>
                  <a:pt x="5961771" y="1233296"/>
                  <a:pt x="5622934" y="1389114"/>
                </a:cubicBezTo>
                <a:cubicBezTo>
                  <a:pt x="5600091" y="1398614"/>
                  <a:pt x="5575344" y="1389114"/>
                  <a:pt x="5565827" y="1368212"/>
                </a:cubicBezTo>
                <a:cubicBezTo>
                  <a:pt x="5556309" y="1347309"/>
                  <a:pt x="5565827" y="1322605"/>
                  <a:pt x="5586767" y="1313104"/>
                </a:cubicBezTo>
                <a:cubicBezTo>
                  <a:pt x="5586767" y="1313104"/>
                  <a:pt x="5586767" y="1313104"/>
                  <a:pt x="5925602" y="1157291"/>
                </a:cubicBezTo>
                <a:cubicBezTo>
                  <a:pt x="5936072" y="1152540"/>
                  <a:pt x="5947494" y="1152065"/>
                  <a:pt x="5957727" y="1155628"/>
                </a:cubicBezTo>
                <a:close/>
                <a:moveTo>
                  <a:pt x="398307" y="1155617"/>
                </a:moveTo>
                <a:cubicBezTo>
                  <a:pt x="408309" y="1159180"/>
                  <a:pt x="416881" y="1166781"/>
                  <a:pt x="421644" y="1178183"/>
                </a:cubicBezTo>
                <a:cubicBezTo>
                  <a:pt x="425454" y="1183883"/>
                  <a:pt x="425454" y="1189583"/>
                  <a:pt x="425454" y="1195284"/>
                </a:cubicBezTo>
                <a:cubicBezTo>
                  <a:pt x="425454" y="1210486"/>
                  <a:pt x="417834" y="1225685"/>
                  <a:pt x="402594" y="1233286"/>
                </a:cubicBezTo>
                <a:cubicBezTo>
                  <a:pt x="402594" y="1233286"/>
                  <a:pt x="402594" y="1233286"/>
                  <a:pt x="61595" y="1389103"/>
                </a:cubicBezTo>
                <a:cubicBezTo>
                  <a:pt x="40639" y="1398604"/>
                  <a:pt x="15874" y="1389103"/>
                  <a:pt x="6349" y="1368201"/>
                </a:cubicBezTo>
                <a:cubicBezTo>
                  <a:pt x="-3176" y="1347297"/>
                  <a:pt x="6349" y="1322596"/>
                  <a:pt x="27304" y="1313094"/>
                </a:cubicBezTo>
                <a:cubicBezTo>
                  <a:pt x="27304" y="1313094"/>
                  <a:pt x="27304" y="1313094"/>
                  <a:pt x="366398" y="1157280"/>
                </a:cubicBezTo>
                <a:cubicBezTo>
                  <a:pt x="376876" y="1152529"/>
                  <a:pt x="388306" y="1152054"/>
                  <a:pt x="398307" y="1155617"/>
                </a:cubicBezTo>
                <a:close/>
                <a:moveTo>
                  <a:pt x="5393468" y="1144402"/>
                </a:moveTo>
                <a:cubicBezTo>
                  <a:pt x="5411072" y="1144669"/>
                  <a:pt x="5427873" y="1155342"/>
                  <a:pt x="5435021" y="1172421"/>
                </a:cubicBezTo>
                <a:cubicBezTo>
                  <a:pt x="5436928" y="1178114"/>
                  <a:pt x="5438834" y="1183808"/>
                  <a:pt x="5438834" y="1189500"/>
                </a:cubicBezTo>
                <a:cubicBezTo>
                  <a:pt x="5438834" y="1208476"/>
                  <a:pt x="5427396" y="1225552"/>
                  <a:pt x="5410239" y="1231244"/>
                </a:cubicBezTo>
                <a:cubicBezTo>
                  <a:pt x="5410239" y="1231244"/>
                  <a:pt x="5410239" y="1231244"/>
                  <a:pt x="5070896" y="1371665"/>
                </a:cubicBezTo>
                <a:cubicBezTo>
                  <a:pt x="5046116" y="1381152"/>
                  <a:pt x="5021336" y="1369767"/>
                  <a:pt x="5011805" y="1346995"/>
                </a:cubicBezTo>
                <a:cubicBezTo>
                  <a:pt x="5002274" y="1324224"/>
                  <a:pt x="5011805" y="1297657"/>
                  <a:pt x="5036586" y="1288169"/>
                </a:cubicBezTo>
                <a:cubicBezTo>
                  <a:pt x="5036586" y="1288169"/>
                  <a:pt x="5036586" y="1288169"/>
                  <a:pt x="5375924" y="1147752"/>
                </a:cubicBezTo>
                <a:cubicBezTo>
                  <a:pt x="5381644" y="1145381"/>
                  <a:pt x="5387601" y="1144313"/>
                  <a:pt x="5393468" y="1144402"/>
                </a:cubicBezTo>
                <a:close/>
                <a:moveTo>
                  <a:pt x="929385" y="1144389"/>
                </a:moveTo>
                <a:cubicBezTo>
                  <a:pt x="946453" y="1144656"/>
                  <a:pt x="962181" y="1155330"/>
                  <a:pt x="969330" y="1172407"/>
                </a:cubicBezTo>
                <a:cubicBezTo>
                  <a:pt x="973143" y="1178101"/>
                  <a:pt x="973143" y="1183794"/>
                  <a:pt x="973143" y="1189486"/>
                </a:cubicBezTo>
                <a:cubicBezTo>
                  <a:pt x="973143" y="1208461"/>
                  <a:pt x="963611" y="1225538"/>
                  <a:pt x="946453" y="1231231"/>
                </a:cubicBezTo>
                <a:cubicBezTo>
                  <a:pt x="946453" y="1231231"/>
                  <a:pt x="946453" y="1231231"/>
                  <a:pt x="605206" y="1371652"/>
                </a:cubicBezTo>
                <a:cubicBezTo>
                  <a:pt x="582329" y="1381140"/>
                  <a:pt x="555640" y="1369755"/>
                  <a:pt x="546108" y="1346983"/>
                </a:cubicBezTo>
                <a:cubicBezTo>
                  <a:pt x="536576" y="1324212"/>
                  <a:pt x="548014" y="1297646"/>
                  <a:pt x="570891" y="1288158"/>
                </a:cubicBezTo>
                <a:cubicBezTo>
                  <a:pt x="570891" y="1288158"/>
                  <a:pt x="570891" y="1288158"/>
                  <a:pt x="912138" y="1147739"/>
                </a:cubicBezTo>
                <a:cubicBezTo>
                  <a:pt x="917857" y="1145367"/>
                  <a:pt x="923695" y="1144300"/>
                  <a:pt x="929385" y="1144389"/>
                </a:cubicBezTo>
                <a:close/>
                <a:moveTo>
                  <a:pt x="4842182" y="1136797"/>
                </a:moveTo>
                <a:cubicBezTo>
                  <a:pt x="4860988" y="1137688"/>
                  <a:pt x="4878456" y="1149800"/>
                  <a:pt x="4884158" y="1168322"/>
                </a:cubicBezTo>
                <a:cubicBezTo>
                  <a:pt x="4886062" y="1174022"/>
                  <a:pt x="4887962" y="1179722"/>
                  <a:pt x="4887962" y="1185422"/>
                </a:cubicBezTo>
                <a:cubicBezTo>
                  <a:pt x="4887962" y="1204420"/>
                  <a:pt x="4876556" y="1223416"/>
                  <a:pt x="4855639" y="1231014"/>
                </a:cubicBezTo>
                <a:cubicBezTo>
                  <a:pt x="4855639" y="1231014"/>
                  <a:pt x="4855639" y="1231014"/>
                  <a:pt x="4515380" y="1354501"/>
                </a:cubicBezTo>
                <a:cubicBezTo>
                  <a:pt x="4490666" y="1362102"/>
                  <a:pt x="4462152" y="1350702"/>
                  <a:pt x="4454549" y="1326004"/>
                </a:cubicBezTo>
                <a:cubicBezTo>
                  <a:pt x="4445043" y="1301305"/>
                  <a:pt x="4458350" y="1272808"/>
                  <a:pt x="4483062" y="1263308"/>
                </a:cubicBezTo>
                <a:cubicBezTo>
                  <a:pt x="4483062" y="1263308"/>
                  <a:pt x="4483062" y="1263308"/>
                  <a:pt x="4823320" y="1139825"/>
                </a:cubicBezTo>
                <a:cubicBezTo>
                  <a:pt x="4829497" y="1137451"/>
                  <a:pt x="4835916" y="1136501"/>
                  <a:pt x="4842182" y="1136797"/>
                </a:cubicBezTo>
                <a:close/>
                <a:moveTo>
                  <a:pt x="1478252" y="1136782"/>
                </a:moveTo>
                <a:cubicBezTo>
                  <a:pt x="1496621" y="1137673"/>
                  <a:pt x="1513385" y="1149784"/>
                  <a:pt x="1520519" y="1168307"/>
                </a:cubicBezTo>
                <a:cubicBezTo>
                  <a:pt x="1522421" y="1174007"/>
                  <a:pt x="1522421" y="1179706"/>
                  <a:pt x="1522421" y="1185406"/>
                </a:cubicBezTo>
                <a:cubicBezTo>
                  <a:pt x="1522421" y="1204404"/>
                  <a:pt x="1511007" y="1223401"/>
                  <a:pt x="1491984" y="1231000"/>
                </a:cubicBezTo>
                <a:cubicBezTo>
                  <a:pt x="1491984" y="1231000"/>
                  <a:pt x="1491984" y="1231000"/>
                  <a:pt x="1151475" y="1354486"/>
                </a:cubicBezTo>
                <a:cubicBezTo>
                  <a:pt x="1124843" y="1362086"/>
                  <a:pt x="1098211" y="1350686"/>
                  <a:pt x="1088700" y="1325989"/>
                </a:cubicBezTo>
                <a:cubicBezTo>
                  <a:pt x="1081091" y="1301291"/>
                  <a:pt x="1092505" y="1272795"/>
                  <a:pt x="1117234" y="1263296"/>
                </a:cubicBezTo>
                <a:cubicBezTo>
                  <a:pt x="1117234" y="1263296"/>
                  <a:pt x="1117234" y="1263296"/>
                  <a:pt x="1459646" y="1139810"/>
                </a:cubicBezTo>
                <a:cubicBezTo>
                  <a:pt x="1465828" y="1137436"/>
                  <a:pt x="1472129" y="1136485"/>
                  <a:pt x="1478252" y="1136782"/>
                </a:cubicBezTo>
                <a:close/>
                <a:moveTo>
                  <a:pt x="4287305" y="1129713"/>
                </a:moveTo>
                <a:cubicBezTo>
                  <a:pt x="4306924" y="1131585"/>
                  <a:pt x="4324403" y="1144425"/>
                  <a:pt x="4330109" y="1165826"/>
                </a:cubicBezTo>
                <a:cubicBezTo>
                  <a:pt x="4332013" y="1169631"/>
                  <a:pt x="4333914" y="1175338"/>
                  <a:pt x="4333914" y="1181045"/>
                </a:cubicBezTo>
                <a:cubicBezTo>
                  <a:pt x="4333914" y="1201970"/>
                  <a:pt x="4318695" y="1222894"/>
                  <a:pt x="4297769" y="1228599"/>
                </a:cubicBezTo>
                <a:cubicBezTo>
                  <a:pt x="4297769" y="1228599"/>
                  <a:pt x="4297769" y="1228599"/>
                  <a:pt x="3955368" y="1337029"/>
                </a:cubicBezTo>
                <a:cubicBezTo>
                  <a:pt x="3928734" y="1344638"/>
                  <a:pt x="3900197" y="1329419"/>
                  <a:pt x="3890686" y="1302787"/>
                </a:cubicBezTo>
                <a:cubicBezTo>
                  <a:pt x="3883076" y="1276155"/>
                  <a:pt x="3898294" y="1247620"/>
                  <a:pt x="3924929" y="1240012"/>
                </a:cubicBezTo>
                <a:cubicBezTo>
                  <a:pt x="3924929" y="1240012"/>
                  <a:pt x="3924929" y="1240012"/>
                  <a:pt x="4267332" y="1131585"/>
                </a:cubicBezTo>
                <a:cubicBezTo>
                  <a:pt x="4273989" y="1129683"/>
                  <a:pt x="4280766" y="1129089"/>
                  <a:pt x="4287305" y="1129713"/>
                </a:cubicBezTo>
                <a:close/>
                <a:moveTo>
                  <a:pt x="2033027" y="1129695"/>
                </a:moveTo>
                <a:cubicBezTo>
                  <a:pt x="2052752" y="1131568"/>
                  <a:pt x="2070599" y="1144408"/>
                  <a:pt x="2077737" y="1165808"/>
                </a:cubicBezTo>
                <a:cubicBezTo>
                  <a:pt x="2079642" y="1169613"/>
                  <a:pt x="2079642" y="1175320"/>
                  <a:pt x="2079642" y="1181027"/>
                </a:cubicBezTo>
                <a:cubicBezTo>
                  <a:pt x="2079642" y="1201952"/>
                  <a:pt x="2066316" y="1222876"/>
                  <a:pt x="2043467" y="1228582"/>
                </a:cubicBezTo>
                <a:cubicBezTo>
                  <a:pt x="2043467" y="1228582"/>
                  <a:pt x="2043467" y="1228582"/>
                  <a:pt x="1702708" y="1337012"/>
                </a:cubicBezTo>
                <a:cubicBezTo>
                  <a:pt x="1674153" y="1344621"/>
                  <a:pt x="1645598" y="1329403"/>
                  <a:pt x="1637983" y="1302771"/>
                </a:cubicBezTo>
                <a:cubicBezTo>
                  <a:pt x="1630368" y="1276139"/>
                  <a:pt x="1643694" y="1247605"/>
                  <a:pt x="1670346" y="1239996"/>
                </a:cubicBezTo>
                <a:cubicBezTo>
                  <a:pt x="1670346" y="1239996"/>
                  <a:pt x="1670346" y="1239996"/>
                  <a:pt x="2013008" y="1131568"/>
                </a:cubicBezTo>
                <a:cubicBezTo>
                  <a:pt x="2019671" y="1129665"/>
                  <a:pt x="2026453" y="1129071"/>
                  <a:pt x="2033027" y="1129695"/>
                </a:cubicBezTo>
                <a:close/>
                <a:moveTo>
                  <a:pt x="3726351" y="1122417"/>
                </a:moveTo>
                <a:cubicBezTo>
                  <a:pt x="3747340" y="1125382"/>
                  <a:pt x="3765914" y="1140474"/>
                  <a:pt x="3771628" y="1162034"/>
                </a:cubicBezTo>
                <a:cubicBezTo>
                  <a:pt x="3773536" y="1165867"/>
                  <a:pt x="3773536" y="1171616"/>
                  <a:pt x="3773536" y="1175449"/>
                </a:cubicBezTo>
                <a:cubicBezTo>
                  <a:pt x="3773536" y="1200364"/>
                  <a:pt x="3758294" y="1221442"/>
                  <a:pt x="3733526" y="1229108"/>
                </a:cubicBezTo>
                <a:cubicBezTo>
                  <a:pt x="3733526" y="1229108"/>
                  <a:pt x="3733526" y="1229108"/>
                  <a:pt x="3390639" y="1321097"/>
                </a:cubicBezTo>
                <a:cubicBezTo>
                  <a:pt x="3362059" y="1328763"/>
                  <a:pt x="3331579" y="1311513"/>
                  <a:pt x="3323960" y="1282766"/>
                </a:cubicBezTo>
                <a:cubicBezTo>
                  <a:pt x="3316340" y="1254020"/>
                  <a:pt x="3333484" y="1223360"/>
                  <a:pt x="3362059" y="1215695"/>
                </a:cubicBezTo>
                <a:cubicBezTo>
                  <a:pt x="3362059" y="1215695"/>
                  <a:pt x="3362059" y="1215695"/>
                  <a:pt x="3704953" y="1123705"/>
                </a:cubicBezTo>
                <a:cubicBezTo>
                  <a:pt x="3712096" y="1121789"/>
                  <a:pt x="3719357" y="1121429"/>
                  <a:pt x="3726351" y="1122417"/>
                </a:cubicBezTo>
                <a:close/>
                <a:moveTo>
                  <a:pt x="2592851" y="1122397"/>
                </a:moveTo>
                <a:cubicBezTo>
                  <a:pt x="2613837" y="1125361"/>
                  <a:pt x="2632411" y="1140454"/>
                  <a:pt x="2638126" y="1162013"/>
                </a:cubicBezTo>
                <a:cubicBezTo>
                  <a:pt x="2640031" y="1165846"/>
                  <a:pt x="2640031" y="1171596"/>
                  <a:pt x="2640031" y="1175429"/>
                </a:cubicBezTo>
                <a:cubicBezTo>
                  <a:pt x="2640031" y="1200343"/>
                  <a:pt x="2622886" y="1221423"/>
                  <a:pt x="2600026" y="1229089"/>
                </a:cubicBezTo>
                <a:cubicBezTo>
                  <a:pt x="2600026" y="1229089"/>
                  <a:pt x="2600026" y="1229089"/>
                  <a:pt x="2257122" y="1321078"/>
                </a:cubicBezTo>
                <a:cubicBezTo>
                  <a:pt x="2226641" y="1328744"/>
                  <a:pt x="2198065" y="1311496"/>
                  <a:pt x="2190445" y="1282749"/>
                </a:cubicBezTo>
                <a:cubicBezTo>
                  <a:pt x="2182825" y="1254002"/>
                  <a:pt x="2199971" y="1223340"/>
                  <a:pt x="2228546" y="1215674"/>
                </a:cubicBezTo>
                <a:cubicBezTo>
                  <a:pt x="2228546" y="1215674"/>
                  <a:pt x="2228546" y="1215674"/>
                  <a:pt x="2571449" y="1123685"/>
                </a:cubicBezTo>
                <a:cubicBezTo>
                  <a:pt x="2578593" y="1121768"/>
                  <a:pt x="2585856" y="1121409"/>
                  <a:pt x="2592851" y="1122397"/>
                </a:cubicBezTo>
                <a:close/>
                <a:moveTo>
                  <a:pt x="3157611" y="1116357"/>
                </a:moveTo>
                <a:cubicBezTo>
                  <a:pt x="3179268" y="1119929"/>
                  <a:pt x="3197445" y="1136359"/>
                  <a:pt x="3201720" y="1159220"/>
                </a:cubicBezTo>
                <a:cubicBezTo>
                  <a:pt x="3203622" y="1163029"/>
                  <a:pt x="3203622" y="1168744"/>
                  <a:pt x="3203622" y="1172555"/>
                </a:cubicBezTo>
                <a:cubicBezTo>
                  <a:pt x="3203622" y="1197321"/>
                  <a:pt x="3186514" y="1222083"/>
                  <a:pt x="3159900" y="1227799"/>
                </a:cubicBezTo>
                <a:cubicBezTo>
                  <a:pt x="3159900" y="1227799"/>
                  <a:pt x="3159900" y="1227799"/>
                  <a:pt x="2815798" y="1303997"/>
                </a:cubicBezTo>
                <a:cubicBezTo>
                  <a:pt x="2785377" y="1309712"/>
                  <a:pt x="2754961" y="1290662"/>
                  <a:pt x="2747356" y="1260182"/>
                </a:cubicBezTo>
                <a:cubicBezTo>
                  <a:pt x="2741652" y="1229703"/>
                  <a:pt x="2760665" y="1199225"/>
                  <a:pt x="2791085" y="1191605"/>
                </a:cubicBezTo>
                <a:cubicBezTo>
                  <a:pt x="2791085" y="1191605"/>
                  <a:pt x="2791085" y="1191605"/>
                  <a:pt x="3135178" y="1117309"/>
                </a:cubicBezTo>
                <a:cubicBezTo>
                  <a:pt x="3142788" y="1115404"/>
                  <a:pt x="3150392" y="1115166"/>
                  <a:pt x="3157611" y="1116357"/>
                </a:cubicBezTo>
                <a:close/>
                <a:moveTo>
                  <a:pt x="9862398" y="887331"/>
                </a:moveTo>
                <a:cubicBezTo>
                  <a:pt x="9868604" y="888044"/>
                  <a:pt x="9874333" y="890896"/>
                  <a:pt x="9878153" y="895649"/>
                </a:cubicBezTo>
                <a:cubicBezTo>
                  <a:pt x="9881972" y="901352"/>
                  <a:pt x="9883882" y="905154"/>
                  <a:pt x="9883882" y="910857"/>
                </a:cubicBezTo>
                <a:cubicBezTo>
                  <a:pt x="9883882" y="918462"/>
                  <a:pt x="9880063" y="926066"/>
                  <a:pt x="9874333" y="929868"/>
                </a:cubicBezTo>
                <a:cubicBezTo>
                  <a:pt x="9874333" y="929868"/>
                  <a:pt x="9874333" y="929868"/>
                  <a:pt x="9540128" y="1184614"/>
                </a:cubicBezTo>
                <a:cubicBezTo>
                  <a:pt x="9530580" y="1192218"/>
                  <a:pt x="9515302" y="1190317"/>
                  <a:pt x="9505753" y="1178911"/>
                </a:cubicBezTo>
                <a:cubicBezTo>
                  <a:pt x="9498114" y="1167504"/>
                  <a:pt x="9500024" y="1152295"/>
                  <a:pt x="9511482" y="1144691"/>
                </a:cubicBezTo>
                <a:cubicBezTo>
                  <a:pt x="9511482" y="1144691"/>
                  <a:pt x="9511482" y="1144691"/>
                  <a:pt x="9843777" y="891846"/>
                </a:cubicBezTo>
                <a:cubicBezTo>
                  <a:pt x="9849507" y="888044"/>
                  <a:pt x="9856191" y="886618"/>
                  <a:pt x="9862398" y="887331"/>
                </a:cubicBezTo>
                <a:close/>
                <a:moveTo>
                  <a:pt x="9285227" y="879270"/>
                </a:moveTo>
                <a:cubicBezTo>
                  <a:pt x="9291895" y="880464"/>
                  <a:pt x="9298086" y="884282"/>
                  <a:pt x="9301896" y="890009"/>
                </a:cubicBezTo>
                <a:cubicBezTo>
                  <a:pt x="9305706" y="893827"/>
                  <a:pt x="9307611" y="899554"/>
                  <a:pt x="9307611" y="905281"/>
                </a:cubicBezTo>
                <a:cubicBezTo>
                  <a:pt x="9307611" y="914826"/>
                  <a:pt x="9303801" y="922462"/>
                  <a:pt x="9296181" y="928189"/>
                </a:cubicBezTo>
                <a:cubicBezTo>
                  <a:pt x="9296181" y="928189"/>
                  <a:pt x="9296181" y="928189"/>
                  <a:pt x="8962802" y="1168731"/>
                </a:cubicBezTo>
                <a:cubicBezTo>
                  <a:pt x="8951371" y="1176367"/>
                  <a:pt x="8934226" y="1174459"/>
                  <a:pt x="8924701" y="1161095"/>
                </a:cubicBezTo>
                <a:cubicBezTo>
                  <a:pt x="8917081" y="1149641"/>
                  <a:pt x="8918986" y="1132459"/>
                  <a:pt x="8930416" y="1124823"/>
                </a:cubicBezTo>
                <a:cubicBezTo>
                  <a:pt x="8930416" y="1124823"/>
                  <a:pt x="8930416" y="1124823"/>
                  <a:pt x="9265700" y="884282"/>
                </a:cubicBezTo>
                <a:cubicBezTo>
                  <a:pt x="9271415" y="879509"/>
                  <a:pt x="9278559" y="878077"/>
                  <a:pt x="9285227" y="879270"/>
                </a:cubicBezTo>
                <a:close/>
                <a:moveTo>
                  <a:pt x="10445943" y="879249"/>
                </a:moveTo>
                <a:cubicBezTo>
                  <a:pt x="10452849" y="880442"/>
                  <a:pt x="10459517" y="884260"/>
                  <a:pt x="10464279" y="889987"/>
                </a:cubicBezTo>
                <a:cubicBezTo>
                  <a:pt x="10468089" y="893805"/>
                  <a:pt x="10468089" y="899532"/>
                  <a:pt x="10468089" y="905259"/>
                </a:cubicBezTo>
                <a:cubicBezTo>
                  <a:pt x="10468089" y="914805"/>
                  <a:pt x="10464279" y="922441"/>
                  <a:pt x="10458564" y="928168"/>
                </a:cubicBezTo>
                <a:cubicBezTo>
                  <a:pt x="10458564" y="928168"/>
                  <a:pt x="10458564" y="928168"/>
                  <a:pt x="10123280" y="1168705"/>
                </a:cubicBezTo>
                <a:cubicBezTo>
                  <a:pt x="10111849" y="1176341"/>
                  <a:pt x="10094704" y="1174432"/>
                  <a:pt x="10087084" y="1161069"/>
                </a:cubicBezTo>
                <a:cubicBezTo>
                  <a:pt x="10077559" y="1149615"/>
                  <a:pt x="10079464" y="1132433"/>
                  <a:pt x="10092799" y="1124797"/>
                </a:cubicBezTo>
                <a:cubicBezTo>
                  <a:pt x="10092799" y="1124797"/>
                  <a:pt x="10092799" y="1124797"/>
                  <a:pt x="10426178" y="884260"/>
                </a:cubicBezTo>
                <a:cubicBezTo>
                  <a:pt x="10431894" y="879488"/>
                  <a:pt x="10439038" y="878056"/>
                  <a:pt x="10445943" y="879249"/>
                </a:cubicBezTo>
                <a:close/>
                <a:moveTo>
                  <a:pt x="8716319" y="870617"/>
                </a:moveTo>
                <a:cubicBezTo>
                  <a:pt x="8723707" y="872049"/>
                  <a:pt x="8730380" y="876344"/>
                  <a:pt x="8735146" y="883981"/>
                </a:cubicBezTo>
                <a:cubicBezTo>
                  <a:pt x="8738959" y="887799"/>
                  <a:pt x="8740866" y="893527"/>
                  <a:pt x="8740866" y="899254"/>
                </a:cubicBezTo>
                <a:cubicBezTo>
                  <a:pt x="8740866" y="908800"/>
                  <a:pt x="8735146" y="918345"/>
                  <a:pt x="8727520" y="924073"/>
                </a:cubicBezTo>
                <a:cubicBezTo>
                  <a:pt x="8727520" y="924073"/>
                  <a:pt x="8727520" y="924073"/>
                  <a:pt x="8391968" y="1151267"/>
                </a:cubicBezTo>
                <a:cubicBezTo>
                  <a:pt x="8378622" y="1158904"/>
                  <a:pt x="8359557" y="1156995"/>
                  <a:pt x="8351931" y="1141721"/>
                </a:cubicBezTo>
                <a:cubicBezTo>
                  <a:pt x="8342398" y="1128357"/>
                  <a:pt x="8346211" y="1111175"/>
                  <a:pt x="8359557" y="1101629"/>
                </a:cubicBezTo>
                <a:cubicBezTo>
                  <a:pt x="8359557" y="1101629"/>
                  <a:pt x="8359557" y="1101629"/>
                  <a:pt x="8693202" y="874435"/>
                </a:cubicBezTo>
                <a:cubicBezTo>
                  <a:pt x="8700828" y="870617"/>
                  <a:pt x="8708931" y="869185"/>
                  <a:pt x="8716319" y="870617"/>
                </a:cubicBezTo>
                <a:close/>
                <a:moveTo>
                  <a:pt x="11024254" y="870594"/>
                </a:moveTo>
                <a:cubicBezTo>
                  <a:pt x="11031856" y="872025"/>
                  <a:pt x="11038983" y="876321"/>
                  <a:pt x="11043734" y="883958"/>
                </a:cubicBezTo>
                <a:cubicBezTo>
                  <a:pt x="11047535" y="887776"/>
                  <a:pt x="11047535" y="893503"/>
                  <a:pt x="11047535" y="899231"/>
                </a:cubicBezTo>
                <a:cubicBezTo>
                  <a:pt x="11047535" y="908777"/>
                  <a:pt x="11043734" y="918322"/>
                  <a:pt x="11036132" y="924050"/>
                </a:cubicBezTo>
                <a:cubicBezTo>
                  <a:pt x="11036132" y="924050"/>
                  <a:pt x="11036132" y="924050"/>
                  <a:pt x="10701654" y="1151239"/>
                </a:cubicBezTo>
                <a:cubicBezTo>
                  <a:pt x="10688350" y="1158875"/>
                  <a:pt x="10669346" y="1156966"/>
                  <a:pt x="10659844" y="1141693"/>
                </a:cubicBezTo>
                <a:cubicBezTo>
                  <a:pt x="10652242" y="1128329"/>
                  <a:pt x="10654142" y="1111146"/>
                  <a:pt x="10669346" y="1101601"/>
                </a:cubicBezTo>
                <a:cubicBezTo>
                  <a:pt x="10669346" y="1101601"/>
                  <a:pt x="10669346" y="1101601"/>
                  <a:pt x="11001924" y="874412"/>
                </a:cubicBezTo>
                <a:cubicBezTo>
                  <a:pt x="11008575" y="870594"/>
                  <a:pt x="11016652" y="869162"/>
                  <a:pt x="11024254" y="870594"/>
                </a:cubicBezTo>
                <a:close/>
                <a:moveTo>
                  <a:pt x="8152171" y="862274"/>
                </a:moveTo>
                <a:cubicBezTo>
                  <a:pt x="8160017" y="863941"/>
                  <a:pt x="8167150" y="868703"/>
                  <a:pt x="8171905" y="876324"/>
                </a:cubicBezTo>
                <a:cubicBezTo>
                  <a:pt x="8175709" y="882038"/>
                  <a:pt x="8175709" y="887753"/>
                  <a:pt x="8175709" y="893468"/>
                </a:cubicBezTo>
                <a:cubicBezTo>
                  <a:pt x="8175709" y="904898"/>
                  <a:pt x="8171905" y="914423"/>
                  <a:pt x="8162395" y="920138"/>
                </a:cubicBezTo>
                <a:cubicBezTo>
                  <a:pt x="8162395" y="920138"/>
                  <a:pt x="8162395" y="920138"/>
                  <a:pt x="7825735" y="1133503"/>
                </a:cubicBezTo>
                <a:cubicBezTo>
                  <a:pt x="7812420" y="1143028"/>
                  <a:pt x="7791498" y="1137314"/>
                  <a:pt x="7781988" y="1123978"/>
                </a:cubicBezTo>
                <a:cubicBezTo>
                  <a:pt x="7772478" y="1108738"/>
                  <a:pt x="7778184" y="1087784"/>
                  <a:pt x="7791498" y="1078258"/>
                </a:cubicBezTo>
                <a:cubicBezTo>
                  <a:pt x="7791498" y="1078258"/>
                  <a:pt x="7791498" y="1078258"/>
                  <a:pt x="8128158" y="866799"/>
                </a:cubicBezTo>
                <a:cubicBezTo>
                  <a:pt x="8135766" y="862036"/>
                  <a:pt x="8144325" y="860607"/>
                  <a:pt x="8152171" y="862274"/>
                </a:cubicBezTo>
                <a:close/>
                <a:moveTo>
                  <a:pt x="11596678" y="862268"/>
                </a:moveTo>
                <a:cubicBezTo>
                  <a:pt x="11604555" y="863935"/>
                  <a:pt x="11611715" y="868698"/>
                  <a:pt x="11616489" y="876317"/>
                </a:cubicBezTo>
                <a:cubicBezTo>
                  <a:pt x="11620308" y="882033"/>
                  <a:pt x="11622218" y="887747"/>
                  <a:pt x="11622218" y="893462"/>
                </a:cubicBezTo>
                <a:cubicBezTo>
                  <a:pt x="11622218" y="904892"/>
                  <a:pt x="11616489" y="914417"/>
                  <a:pt x="11606942" y="920132"/>
                </a:cubicBezTo>
                <a:cubicBezTo>
                  <a:pt x="11606942" y="920132"/>
                  <a:pt x="11606942" y="920132"/>
                  <a:pt x="11270867" y="1133497"/>
                </a:cubicBezTo>
                <a:cubicBezTo>
                  <a:pt x="11255590" y="1143022"/>
                  <a:pt x="11236495" y="1137306"/>
                  <a:pt x="11226948" y="1123971"/>
                </a:cubicBezTo>
                <a:cubicBezTo>
                  <a:pt x="11217400" y="1108732"/>
                  <a:pt x="11221219" y="1087776"/>
                  <a:pt x="11236495" y="1078251"/>
                </a:cubicBezTo>
                <a:cubicBezTo>
                  <a:pt x="11236495" y="1078251"/>
                  <a:pt x="11236495" y="1078251"/>
                  <a:pt x="11572571" y="866793"/>
                </a:cubicBezTo>
                <a:cubicBezTo>
                  <a:pt x="11580209" y="862030"/>
                  <a:pt x="11588802" y="860601"/>
                  <a:pt x="11596678" y="862268"/>
                </a:cubicBezTo>
                <a:close/>
                <a:moveTo>
                  <a:pt x="12139750" y="857266"/>
                </a:moveTo>
                <a:cubicBezTo>
                  <a:pt x="12139750" y="857266"/>
                  <a:pt x="12139750" y="857266"/>
                  <a:pt x="12139750" y="935278"/>
                </a:cubicBezTo>
                <a:cubicBezTo>
                  <a:pt x="12139750" y="935278"/>
                  <a:pt x="12139750" y="935278"/>
                  <a:pt x="11834946" y="1116043"/>
                </a:cubicBezTo>
                <a:cubicBezTo>
                  <a:pt x="11817801" y="1125556"/>
                  <a:pt x="11796845" y="1119848"/>
                  <a:pt x="11787320" y="1104626"/>
                </a:cubicBezTo>
                <a:cubicBezTo>
                  <a:pt x="11777795" y="1087502"/>
                  <a:pt x="11783510" y="1066571"/>
                  <a:pt x="11798750" y="1057058"/>
                </a:cubicBezTo>
                <a:lnTo>
                  <a:pt x="12135940" y="859168"/>
                </a:lnTo>
                <a:cubicBezTo>
                  <a:pt x="12137845" y="857266"/>
                  <a:pt x="12137845" y="857266"/>
                  <a:pt x="12139750" y="857266"/>
                </a:cubicBezTo>
                <a:close/>
                <a:moveTo>
                  <a:pt x="7595013" y="854170"/>
                </a:moveTo>
                <a:cubicBezTo>
                  <a:pt x="7603579" y="856311"/>
                  <a:pt x="7611193" y="862020"/>
                  <a:pt x="7615952" y="870582"/>
                </a:cubicBezTo>
                <a:cubicBezTo>
                  <a:pt x="7619759" y="876291"/>
                  <a:pt x="7621663" y="881999"/>
                  <a:pt x="7621663" y="887708"/>
                </a:cubicBezTo>
                <a:cubicBezTo>
                  <a:pt x="7621663" y="899125"/>
                  <a:pt x="7614049" y="910542"/>
                  <a:pt x="7604531" y="918153"/>
                </a:cubicBezTo>
                <a:cubicBezTo>
                  <a:pt x="7604531" y="918153"/>
                  <a:pt x="7604531" y="918153"/>
                  <a:pt x="7267601" y="1116053"/>
                </a:cubicBezTo>
                <a:cubicBezTo>
                  <a:pt x="7250469" y="1125566"/>
                  <a:pt x="7229530" y="1119858"/>
                  <a:pt x="7220013" y="1104635"/>
                </a:cubicBezTo>
                <a:cubicBezTo>
                  <a:pt x="7210495" y="1087509"/>
                  <a:pt x="7216205" y="1066577"/>
                  <a:pt x="7233337" y="1057064"/>
                </a:cubicBezTo>
                <a:cubicBezTo>
                  <a:pt x="7233337" y="1057064"/>
                  <a:pt x="7233337" y="1057064"/>
                  <a:pt x="7568363" y="859165"/>
                </a:cubicBezTo>
                <a:cubicBezTo>
                  <a:pt x="7576929" y="853457"/>
                  <a:pt x="7586447" y="852030"/>
                  <a:pt x="7595013" y="854170"/>
                </a:cubicBezTo>
                <a:close/>
                <a:moveTo>
                  <a:pt x="7044817" y="846270"/>
                </a:moveTo>
                <a:cubicBezTo>
                  <a:pt x="7054111" y="848902"/>
                  <a:pt x="7062213" y="855122"/>
                  <a:pt x="7066980" y="864693"/>
                </a:cubicBezTo>
                <a:cubicBezTo>
                  <a:pt x="7068886" y="870434"/>
                  <a:pt x="7070793" y="876176"/>
                  <a:pt x="7070793" y="881918"/>
                </a:cubicBezTo>
                <a:cubicBezTo>
                  <a:pt x="7070793" y="895316"/>
                  <a:pt x="7063167" y="908714"/>
                  <a:pt x="7051728" y="914456"/>
                </a:cubicBezTo>
                <a:cubicBezTo>
                  <a:pt x="7051728" y="914456"/>
                  <a:pt x="7051728" y="914456"/>
                  <a:pt x="6714282" y="1100119"/>
                </a:cubicBezTo>
                <a:cubicBezTo>
                  <a:pt x="6697124" y="1109690"/>
                  <a:pt x="6674246" y="1103949"/>
                  <a:pt x="6664714" y="1084808"/>
                </a:cubicBezTo>
                <a:cubicBezTo>
                  <a:pt x="6653275" y="1067582"/>
                  <a:pt x="6660901" y="1044608"/>
                  <a:pt x="6678059" y="1035038"/>
                </a:cubicBezTo>
                <a:cubicBezTo>
                  <a:pt x="6678059" y="1035038"/>
                  <a:pt x="6678059" y="1035038"/>
                  <a:pt x="7015505" y="849380"/>
                </a:cubicBezTo>
                <a:cubicBezTo>
                  <a:pt x="7025037" y="844595"/>
                  <a:pt x="7035523" y="843638"/>
                  <a:pt x="7044817" y="846270"/>
                </a:cubicBezTo>
                <a:close/>
                <a:moveTo>
                  <a:pt x="6485646" y="836909"/>
                </a:moveTo>
                <a:cubicBezTo>
                  <a:pt x="6501129" y="835656"/>
                  <a:pt x="6516881" y="844607"/>
                  <a:pt x="6524041" y="858929"/>
                </a:cubicBezTo>
                <a:cubicBezTo>
                  <a:pt x="6525950" y="864658"/>
                  <a:pt x="6527860" y="870387"/>
                  <a:pt x="6527860" y="876115"/>
                </a:cubicBezTo>
                <a:cubicBezTo>
                  <a:pt x="6527860" y="891392"/>
                  <a:pt x="6520223" y="904759"/>
                  <a:pt x="6506857" y="912398"/>
                </a:cubicBezTo>
                <a:cubicBezTo>
                  <a:pt x="6506857" y="912398"/>
                  <a:pt x="6506857" y="912398"/>
                  <a:pt x="6166999" y="1082357"/>
                </a:cubicBezTo>
                <a:cubicBezTo>
                  <a:pt x="6147906" y="1093815"/>
                  <a:pt x="6123085" y="1084266"/>
                  <a:pt x="6113538" y="1065171"/>
                </a:cubicBezTo>
                <a:cubicBezTo>
                  <a:pt x="6103992" y="1046070"/>
                  <a:pt x="6111629" y="1023154"/>
                  <a:pt x="6130722" y="1011697"/>
                </a:cubicBezTo>
                <a:cubicBezTo>
                  <a:pt x="6130722" y="1011697"/>
                  <a:pt x="6130722" y="1011697"/>
                  <a:pt x="6470580" y="841743"/>
                </a:cubicBezTo>
                <a:cubicBezTo>
                  <a:pt x="6475354" y="838878"/>
                  <a:pt x="6480485" y="837327"/>
                  <a:pt x="6485646" y="836909"/>
                </a:cubicBezTo>
                <a:close/>
                <a:moveTo>
                  <a:pt x="5957785" y="832476"/>
                </a:moveTo>
                <a:cubicBezTo>
                  <a:pt x="5967786" y="836271"/>
                  <a:pt x="5976358" y="843863"/>
                  <a:pt x="5981120" y="854301"/>
                </a:cubicBezTo>
                <a:cubicBezTo>
                  <a:pt x="5984930" y="859994"/>
                  <a:pt x="5984930" y="865688"/>
                  <a:pt x="5984930" y="871381"/>
                </a:cubicBezTo>
                <a:cubicBezTo>
                  <a:pt x="5984930" y="886564"/>
                  <a:pt x="5977310" y="901746"/>
                  <a:pt x="5962070" y="909338"/>
                </a:cubicBezTo>
                <a:cubicBezTo>
                  <a:pt x="5962070" y="909338"/>
                  <a:pt x="5962070" y="909338"/>
                  <a:pt x="5622984" y="1066863"/>
                </a:cubicBezTo>
                <a:cubicBezTo>
                  <a:pt x="5602029" y="1076353"/>
                  <a:pt x="5575360" y="1066863"/>
                  <a:pt x="5565833" y="1045982"/>
                </a:cubicBezTo>
                <a:cubicBezTo>
                  <a:pt x="5556309" y="1025106"/>
                  <a:pt x="5565833" y="1000434"/>
                  <a:pt x="5586789" y="990945"/>
                </a:cubicBezTo>
                <a:cubicBezTo>
                  <a:pt x="5586789" y="990945"/>
                  <a:pt x="5586789" y="990945"/>
                  <a:pt x="5925877" y="833424"/>
                </a:cubicBezTo>
                <a:cubicBezTo>
                  <a:pt x="5936354" y="828680"/>
                  <a:pt x="5947784" y="828680"/>
                  <a:pt x="5957785" y="832476"/>
                </a:cubicBezTo>
                <a:close/>
                <a:moveTo>
                  <a:pt x="398307" y="832466"/>
                </a:moveTo>
                <a:cubicBezTo>
                  <a:pt x="408309" y="836261"/>
                  <a:pt x="416882" y="843853"/>
                  <a:pt x="421644" y="854291"/>
                </a:cubicBezTo>
                <a:cubicBezTo>
                  <a:pt x="425454" y="859984"/>
                  <a:pt x="425454" y="865678"/>
                  <a:pt x="425454" y="871371"/>
                </a:cubicBezTo>
                <a:cubicBezTo>
                  <a:pt x="425454" y="886554"/>
                  <a:pt x="417834" y="901737"/>
                  <a:pt x="400689" y="909328"/>
                </a:cubicBezTo>
                <a:cubicBezTo>
                  <a:pt x="400689" y="909328"/>
                  <a:pt x="400689" y="909328"/>
                  <a:pt x="61595" y="1066852"/>
                </a:cubicBezTo>
                <a:cubicBezTo>
                  <a:pt x="40639" y="1076341"/>
                  <a:pt x="15874" y="1066852"/>
                  <a:pt x="6349" y="1045972"/>
                </a:cubicBezTo>
                <a:cubicBezTo>
                  <a:pt x="-3176" y="1025096"/>
                  <a:pt x="6349" y="1000424"/>
                  <a:pt x="27304" y="990935"/>
                </a:cubicBezTo>
                <a:cubicBezTo>
                  <a:pt x="27304" y="990935"/>
                  <a:pt x="27304" y="990935"/>
                  <a:pt x="366398" y="833414"/>
                </a:cubicBezTo>
                <a:cubicBezTo>
                  <a:pt x="376876" y="828670"/>
                  <a:pt x="388306" y="828670"/>
                  <a:pt x="398307" y="832466"/>
                </a:cubicBezTo>
                <a:close/>
                <a:moveTo>
                  <a:pt x="5410477" y="824774"/>
                </a:moveTo>
                <a:cubicBezTo>
                  <a:pt x="5421202" y="828807"/>
                  <a:pt x="5430255" y="836871"/>
                  <a:pt x="5435021" y="848257"/>
                </a:cubicBezTo>
                <a:cubicBezTo>
                  <a:pt x="5436928" y="853949"/>
                  <a:pt x="5438834" y="859642"/>
                  <a:pt x="5438834" y="865335"/>
                </a:cubicBezTo>
                <a:cubicBezTo>
                  <a:pt x="5438834" y="882413"/>
                  <a:pt x="5427396" y="899491"/>
                  <a:pt x="5410239" y="907081"/>
                </a:cubicBezTo>
                <a:cubicBezTo>
                  <a:pt x="5410239" y="907081"/>
                  <a:pt x="5410239" y="907081"/>
                  <a:pt x="5070896" y="1049397"/>
                </a:cubicBezTo>
                <a:cubicBezTo>
                  <a:pt x="5048022" y="1058891"/>
                  <a:pt x="5021336" y="1047500"/>
                  <a:pt x="5011805" y="1024730"/>
                </a:cubicBezTo>
                <a:cubicBezTo>
                  <a:pt x="5002274" y="1003856"/>
                  <a:pt x="5013711" y="977291"/>
                  <a:pt x="5034678" y="967803"/>
                </a:cubicBezTo>
                <a:cubicBezTo>
                  <a:pt x="5034678" y="967803"/>
                  <a:pt x="5034678" y="967803"/>
                  <a:pt x="5375924" y="825486"/>
                </a:cubicBezTo>
                <a:cubicBezTo>
                  <a:pt x="5387362" y="820742"/>
                  <a:pt x="5399754" y="820742"/>
                  <a:pt x="5410477" y="824774"/>
                </a:cubicBezTo>
                <a:close/>
                <a:moveTo>
                  <a:pt x="944785" y="824762"/>
                </a:moveTo>
                <a:cubicBezTo>
                  <a:pt x="955509" y="828795"/>
                  <a:pt x="964564" y="836859"/>
                  <a:pt x="969330" y="848245"/>
                </a:cubicBezTo>
                <a:cubicBezTo>
                  <a:pt x="971236" y="853937"/>
                  <a:pt x="973143" y="859630"/>
                  <a:pt x="973143" y="865323"/>
                </a:cubicBezTo>
                <a:cubicBezTo>
                  <a:pt x="973143" y="882401"/>
                  <a:pt x="963611" y="899479"/>
                  <a:pt x="946453" y="907069"/>
                </a:cubicBezTo>
                <a:cubicBezTo>
                  <a:pt x="946453" y="907069"/>
                  <a:pt x="946453" y="907069"/>
                  <a:pt x="605206" y="1049386"/>
                </a:cubicBezTo>
                <a:cubicBezTo>
                  <a:pt x="582329" y="1058877"/>
                  <a:pt x="555640" y="1047489"/>
                  <a:pt x="546108" y="1024718"/>
                </a:cubicBezTo>
                <a:cubicBezTo>
                  <a:pt x="536576" y="1003845"/>
                  <a:pt x="548014" y="977279"/>
                  <a:pt x="570891" y="967791"/>
                </a:cubicBezTo>
                <a:cubicBezTo>
                  <a:pt x="570891" y="967791"/>
                  <a:pt x="570891" y="967791"/>
                  <a:pt x="910231" y="825474"/>
                </a:cubicBezTo>
                <a:cubicBezTo>
                  <a:pt x="921670" y="820730"/>
                  <a:pt x="934061" y="820730"/>
                  <a:pt x="944785" y="824762"/>
                </a:cubicBezTo>
                <a:close/>
                <a:moveTo>
                  <a:pt x="4842165" y="812941"/>
                </a:moveTo>
                <a:cubicBezTo>
                  <a:pt x="4860552" y="813746"/>
                  <a:pt x="4877331" y="825549"/>
                  <a:pt x="4884469" y="842717"/>
                </a:cubicBezTo>
                <a:cubicBezTo>
                  <a:pt x="4886373" y="848440"/>
                  <a:pt x="4886373" y="854162"/>
                  <a:pt x="4886373" y="859885"/>
                </a:cubicBezTo>
                <a:cubicBezTo>
                  <a:pt x="4886373" y="878960"/>
                  <a:pt x="4874949" y="898036"/>
                  <a:pt x="4855912" y="903759"/>
                </a:cubicBezTo>
                <a:cubicBezTo>
                  <a:pt x="4855912" y="903759"/>
                  <a:pt x="4855912" y="903759"/>
                  <a:pt x="4515162" y="1033473"/>
                </a:cubicBezTo>
                <a:cubicBezTo>
                  <a:pt x="4492321" y="1043010"/>
                  <a:pt x="4463764" y="1031565"/>
                  <a:pt x="4454246" y="1006767"/>
                </a:cubicBezTo>
                <a:cubicBezTo>
                  <a:pt x="4446631" y="981968"/>
                  <a:pt x="4458054" y="955263"/>
                  <a:pt x="4482802" y="945725"/>
                </a:cubicBezTo>
                <a:cubicBezTo>
                  <a:pt x="4482802" y="945725"/>
                  <a:pt x="4482802" y="945725"/>
                  <a:pt x="4823545" y="816011"/>
                </a:cubicBezTo>
                <a:cubicBezTo>
                  <a:pt x="4829733" y="813626"/>
                  <a:pt x="4836038" y="812673"/>
                  <a:pt x="4842165" y="812941"/>
                </a:cubicBezTo>
                <a:close/>
                <a:moveTo>
                  <a:pt x="1476350" y="812927"/>
                </a:moveTo>
                <a:cubicBezTo>
                  <a:pt x="1494719" y="813732"/>
                  <a:pt x="1511483" y="825535"/>
                  <a:pt x="1518617" y="842703"/>
                </a:cubicBezTo>
                <a:cubicBezTo>
                  <a:pt x="1520519" y="848426"/>
                  <a:pt x="1522421" y="854148"/>
                  <a:pt x="1522421" y="859871"/>
                </a:cubicBezTo>
                <a:cubicBezTo>
                  <a:pt x="1522421" y="878946"/>
                  <a:pt x="1511008" y="898022"/>
                  <a:pt x="1491985" y="903745"/>
                </a:cubicBezTo>
                <a:cubicBezTo>
                  <a:pt x="1491985" y="903745"/>
                  <a:pt x="1491985" y="903745"/>
                  <a:pt x="1151475" y="1033459"/>
                </a:cubicBezTo>
                <a:cubicBezTo>
                  <a:pt x="1126746" y="1042997"/>
                  <a:pt x="1100114" y="1031552"/>
                  <a:pt x="1090602" y="1006753"/>
                </a:cubicBezTo>
                <a:cubicBezTo>
                  <a:pt x="1081091" y="981955"/>
                  <a:pt x="1094407" y="955249"/>
                  <a:pt x="1117234" y="945711"/>
                </a:cubicBezTo>
                <a:cubicBezTo>
                  <a:pt x="1117234" y="945711"/>
                  <a:pt x="1117234" y="945711"/>
                  <a:pt x="1457744" y="815997"/>
                </a:cubicBezTo>
                <a:cubicBezTo>
                  <a:pt x="1463926" y="813613"/>
                  <a:pt x="1470227" y="812659"/>
                  <a:pt x="1476350" y="812927"/>
                </a:cubicBezTo>
                <a:close/>
                <a:moveTo>
                  <a:pt x="4285653" y="804258"/>
                </a:moveTo>
                <a:cubicBezTo>
                  <a:pt x="4305298" y="806047"/>
                  <a:pt x="4322801" y="818566"/>
                  <a:pt x="4328517" y="838596"/>
                </a:cubicBezTo>
                <a:cubicBezTo>
                  <a:pt x="4330421" y="844319"/>
                  <a:pt x="4332326" y="848134"/>
                  <a:pt x="4332326" y="853857"/>
                </a:cubicBezTo>
                <a:cubicBezTo>
                  <a:pt x="4332326" y="874842"/>
                  <a:pt x="4318991" y="893918"/>
                  <a:pt x="4298036" y="901549"/>
                </a:cubicBezTo>
                <a:cubicBezTo>
                  <a:pt x="4298036" y="901549"/>
                  <a:pt x="4298036" y="901549"/>
                  <a:pt x="3957054" y="1017917"/>
                </a:cubicBezTo>
                <a:cubicBezTo>
                  <a:pt x="3930384" y="1025548"/>
                  <a:pt x="3901807" y="1012194"/>
                  <a:pt x="3894188" y="985486"/>
                </a:cubicBezTo>
                <a:cubicBezTo>
                  <a:pt x="3884663" y="960687"/>
                  <a:pt x="3897997" y="932072"/>
                  <a:pt x="3924670" y="922533"/>
                </a:cubicBezTo>
                <a:cubicBezTo>
                  <a:pt x="3924670" y="922533"/>
                  <a:pt x="3924670" y="922533"/>
                  <a:pt x="4265648" y="806166"/>
                </a:cubicBezTo>
                <a:cubicBezTo>
                  <a:pt x="4272317" y="804258"/>
                  <a:pt x="4279103" y="803662"/>
                  <a:pt x="4285653" y="804258"/>
                </a:cubicBezTo>
                <a:close/>
                <a:moveTo>
                  <a:pt x="2032209" y="804242"/>
                </a:moveTo>
                <a:cubicBezTo>
                  <a:pt x="2051145" y="806031"/>
                  <a:pt x="2069004" y="818550"/>
                  <a:pt x="2076149" y="838580"/>
                </a:cubicBezTo>
                <a:cubicBezTo>
                  <a:pt x="2078054" y="844303"/>
                  <a:pt x="2078054" y="848119"/>
                  <a:pt x="2078054" y="853842"/>
                </a:cubicBezTo>
                <a:cubicBezTo>
                  <a:pt x="2078054" y="874826"/>
                  <a:pt x="2064718" y="893903"/>
                  <a:pt x="2043758" y="901533"/>
                </a:cubicBezTo>
                <a:cubicBezTo>
                  <a:pt x="2043758" y="901533"/>
                  <a:pt x="2043758" y="901533"/>
                  <a:pt x="1702759" y="1017901"/>
                </a:cubicBezTo>
                <a:cubicBezTo>
                  <a:pt x="1676089" y="1025532"/>
                  <a:pt x="1649419" y="1012178"/>
                  <a:pt x="1639894" y="985471"/>
                </a:cubicBezTo>
                <a:cubicBezTo>
                  <a:pt x="1630368" y="960671"/>
                  <a:pt x="1645609" y="932056"/>
                  <a:pt x="1670374" y="922518"/>
                </a:cubicBezTo>
                <a:cubicBezTo>
                  <a:pt x="1670374" y="922518"/>
                  <a:pt x="1670374" y="922518"/>
                  <a:pt x="2013278" y="806150"/>
                </a:cubicBezTo>
                <a:cubicBezTo>
                  <a:pt x="2019470" y="804242"/>
                  <a:pt x="2025899" y="803646"/>
                  <a:pt x="2032209" y="804242"/>
                </a:cubicBezTo>
                <a:close/>
                <a:moveTo>
                  <a:pt x="3725237" y="796620"/>
                </a:moveTo>
                <a:cubicBezTo>
                  <a:pt x="3745001" y="798945"/>
                  <a:pt x="3762885" y="812538"/>
                  <a:pt x="3770041" y="832569"/>
                </a:cubicBezTo>
                <a:cubicBezTo>
                  <a:pt x="3770041" y="838293"/>
                  <a:pt x="3771946" y="844016"/>
                  <a:pt x="3771946" y="847831"/>
                </a:cubicBezTo>
                <a:cubicBezTo>
                  <a:pt x="3771946" y="870725"/>
                  <a:pt x="3756685" y="891710"/>
                  <a:pt x="3733792" y="897434"/>
                </a:cubicBezTo>
                <a:cubicBezTo>
                  <a:pt x="3733792" y="897434"/>
                  <a:pt x="3733792" y="897434"/>
                  <a:pt x="3390422" y="1000454"/>
                </a:cubicBezTo>
                <a:cubicBezTo>
                  <a:pt x="3363712" y="1008085"/>
                  <a:pt x="3335096" y="992823"/>
                  <a:pt x="3325558" y="964206"/>
                </a:cubicBezTo>
                <a:cubicBezTo>
                  <a:pt x="3317928" y="937497"/>
                  <a:pt x="3333191" y="908881"/>
                  <a:pt x="3361805" y="899342"/>
                </a:cubicBezTo>
                <a:cubicBezTo>
                  <a:pt x="3361805" y="899342"/>
                  <a:pt x="3361805" y="899342"/>
                  <a:pt x="3705176" y="798229"/>
                </a:cubicBezTo>
                <a:cubicBezTo>
                  <a:pt x="3711853" y="796321"/>
                  <a:pt x="3718649" y="795845"/>
                  <a:pt x="3725237" y="796620"/>
                </a:cubicBezTo>
                <a:close/>
                <a:moveTo>
                  <a:pt x="2591734" y="796602"/>
                </a:moveTo>
                <a:cubicBezTo>
                  <a:pt x="2611497" y="798927"/>
                  <a:pt x="2629381" y="812520"/>
                  <a:pt x="2636535" y="832551"/>
                </a:cubicBezTo>
                <a:cubicBezTo>
                  <a:pt x="2636535" y="838275"/>
                  <a:pt x="2638443" y="843998"/>
                  <a:pt x="2638443" y="847814"/>
                </a:cubicBezTo>
                <a:cubicBezTo>
                  <a:pt x="2638443" y="870707"/>
                  <a:pt x="2623182" y="891693"/>
                  <a:pt x="2600289" y="897416"/>
                </a:cubicBezTo>
                <a:cubicBezTo>
                  <a:pt x="2600289" y="897416"/>
                  <a:pt x="2600289" y="897416"/>
                  <a:pt x="2256905" y="1000437"/>
                </a:cubicBezTo>
                <a:cubicBezTo>
                  <a:pt x="2230198" y="1008068"/>
                  <a:pt x="2201582" y="992806"/>
                  <a:pt x="2192043" y="964189"/>
                </a:cubicBezTo>
                <a:cubicBezTo>
                  <a:pt x="2184413" y="937480"/>
                  <a:pt x="2199674" y="908863"/>
                  <a:pt x="2228290" y="899324"/>
                </a:cubicBezTo>
                <a:cubicBezTo>
                  <a:pt x="2228290" y="899324"/>
                  <a:pt x="2228290" y="899324"/>
                  <a:pt x="2571674" y="798211"/>
                </a:cubicBezTo>
                <a:cubicBezTo>
                  <a:pt x="2578350" y="796304"/>
                  <a:pt x="2585148" y="795827"/>
                  <a:pt x="2591734" y="796602"/>
                </a:cubicBezTo>
                <a:close/>
                <a:moveTo>
                  <a:pt x="3154889" y="787711"/>
                </a:moveTo>
                <a:cubicBezTo>
                  <a:pt x="3175859" y="791193"/>
                  <a:pt x="3194422" y="807266"/>
                  <a:pt x="3200131" y="828698"/>
                </a:cubicBezTo>
                <a:cubicBezTo>
                  <a:pt x="3200131" y="832508"/>
                  <a:pt x="3202035" y="838223"/>
                  <a:pt x="3202035" y="842033"/>
                </a:cubicBezTo>
                <a:cubicBezTo>
                  <a:pt x="3202035" y="866798"/>
                  <a:pt x="3184905" y="887752"/>
                  <a:pt x="3160154" y="895372"/>
                </a:cubicBezTo>
                <a:cubicBezTo>
                  <a:pt x="3160154" y="895372"/>
                  <a:pt x="3160154" y="895372"/>
                  <a:pt x="2817485" y="983002"/>
                </a:cubicBezTo>
                <a:cubicBezTo>
                  <a:pt x="2787027" y="990622"/>
                  <a:pt x="2758472" y="973477"/>
                  <a:pt x="2750856" y="944903"/>
                </a:cubicBezTo>
                <a:cubicBezTo>
                  <a:pt x="2743240" y="914422"/>
                  <a:pt x="2760373" y="885848"/>
                  <a:pt x="2788928" y="878228"/>
                </a:cubicBezTo>
                <a:cubicBezTo>
                  <a:pt x="2788928" y="878228"/>
                  <a:pt x="2788928" y="878228"/>
                  <a:pt x="3133501" y="788693"/>
                </a:cubicBezTo>
                <a:cubicBezTo>
                  <a:pt x="3140642" y="786788"/>
                  <a:pt x="3147899" y="786550"/>
                  <a:pt x="3154889" y="787711"/>
                </a:cubicBezTo>
                <a:close/>
                <a:moveTo>
                  <a:pt x="9863739" y="570068"/>
                </a:moveTo>
                <a:cubicBezTo>
                  <a:pt x="9870401" y="571019"/>
                  <a:pt x="9876588" y="574345"/>
                  <a:pt x="9881347" y="580048"/>
                </a:cubicBezTo>
                <a:cubicBezTo>
                  <a:pt x="9885153" y="585751"/>
                  <a:pt x="9887057" y="591454"/>
                  <a:pt x="9887057" y="597157"/>
                </a:cubicBezTo>
                <a:cubicBezTo>
                  <a:pt x="9887057" y="604761"/>
                  <a:pt x="9883250" y="614265"/>
                  <a:pt x="9875636" y="618067"/>
                </a:cubicBezTo>
                <a:cubicBezTo>
                  <a:pt x="9875636" y="618067"/>
                  <a:pt x="9875636" y="618067"/>
                  <a:pt x="9540623" y="857587"/>
                </a:cubicBezTo>
                <a:cubicBezTo>
                  <a:pt x="9529202" y="865191"/>
                  <a:pt x="9512070" y="863290"/>
                  <a:pt x="9504456" y="849984"/>
                </a:cubicBezTo>
                <a:cubicBezTo>
                  <a:pt x="9494939" y="838578"/>
                  <a:pt x="9496842" y="821469"/>
                  <a:pt x="9510167" y="811965"/>
                </a:cubicBezTo>
                <a:cubicBezTo>
                  <a:pt x="9510167" y="811965"/>
                  <a:pt x="9510167" y="811965"/>
                  <a:pt x="9843277" y="574345"/>
                </a:cubicBezTo>
                <a:cubicBezTo>
                  <a:pt x="9849939" y="570543"/>
                  <a:pt x="9857077" y="569118"/>
                  <a:pt x="9863739" y="570068"/>
                </a:cubicBezTo>
                <a:close/>
                <a:moveTo>
                  <a:pt x="9288066" y="561743"/>
                </a:moveTo>
                <a:cubicBezTo>
                  <a:pt x="9295215" y="563402"/>
                  <a:pt x="9301888" y="567670"/>
                  <a:pt x="9306654" y="574308"/>
                </a:cubicBezTo>
                <a:cubicBezTo>
                  <a:pt x="9310467" y="578102"/>
                  <a:pt x="9312374" y="583792"/>
                  <a:pt x="9312374" y="589483"/>
                </a:cubicBezTo>
                <a:cubicBezTo>
                  <a:pt x="9312374" y="598966"/>
                  <a:pt x="9306654" y="608450"/>
                  <a:pt x="9299028" y="614140"/>
                </a:cubicBezTo>
                <a:cubicBezTo>
                  <a:pt x="9299028" y="614140"/>
                  <a:pt x="9299028" y="614140"/>
                  <a:pt x="8963476" y="839853"/>
                </a:cubicBezTo>
                <a:cubicBezTo>
                  <a:pt x="8950130" y="849337"/>
                  <a:pt x="8932971" y="845543"/>
                  <a:pt x="8923439" y="832266"/>
                </a:cubicBezTo>
                <a:cubicBezTo>
                  <a:pt x="8913906" y="818989"/>
                  <a:pt x="8917719" y="800021"/>
                  <a:pt x="8931065" y="792434"/>
                </a:cubicBezTo>
                <a:cubicBezTo>
                  <a:pt x="8931065" y="792434"/>
                  <a:pt x="8931065" y="792434"/>
                  <a:pt x="9266617" y="564825"/>
                </a:cubicBezTo>
                <a:cubicBezTo>
                  <a:pt x="9273290" y="561032"/>
                  <a:pt x="9280916" y="560083"/>
                  <a:pt x="9288066" y="561743"/>
                </a:cubicBezTo>
                <a:close/>
                <a:moveTo>
                  <a:pt x="10448544" y="561719"/>
                </a:moveTo>
                <a:cubicBezTo>
                  <a:pt x="10455693" y="563379"/>
                  <a:pt x="10462366" y="567647"/>
                  <a:pt x="10467132" y="574285"/>
                </a:cubicBezTo>
                <a:cubicBezTo>
                  <a:pt x="10470945" y="578079"/>
                  <a:pt x="10472852" y="583769"/>
                  <a:pt x="10472852" y="589459"/>
                </a:cubicBezTo>
                <a:cubicBezTo>
                  <a:pt x="10472852" y="598943"/>
                  <a:pt x="10467132" y="608427"/>
                  <a:pt x="10459506" y="614117"/>
                </a:cubicBezTo>
                <a:cubicBezTo>
                  <a:pt x="10459506" y="614117"/>
                  <a:pt x="10459506" y="614117"/>
                  <a:pt x="10123954" y="839831"/>
                </a:cubicBezTo>
                <a:cubicBezTo>
                  <a:pt x="10110608" y="849314"/>
                  <a:pt x="10093449" y="845521"/>
                  <a:pt x="10083917" y="832244"/>
                </a:cubicBezTo>
                <a:cubicBezTo>
                  <a:pt x="10074384" y="818966"/>
                  <a:pt x="10078197" y="799999"/>
                  <a:pt x="10091543" y="792412"/>
                </a:cubicBezTo>
                <a:cubicBezTo>
                  <a:pt x="10091543" y="792412"/>
                  <a:pt x="10091543" y="792412"/>
                  <a:pt x="10427095" y="564801"/>
                </a:cubicBezTo>
                <a:cubicBezTo>
                  <a:pt x="10433768" y="561008"/>
                  <a:pt x="10441394" y="560060"/>
                  <a:pt x="10448544" y="561719"/>
                </a:cubicBezTo>
                <a:close/>
                <a:moveTo>
                  <a:pt x="8716914" y="552708"/>
                </a:moveTo>
                <a:cubicBezTo>
                  <a:pt x="8724791" y="554373"/>
                  <a:pt x="8731951" y="559130"/>
                  <a:pt x="8736725" y="566742"/>
                </a:cubicBezTo>
                <a:cubicBezTo>
                  <a:pt x="8740544" y="570547"/>
                  <a:pt x="8742454" y="576256"/>
                  <a:pt x="8742454" y="583868"/>
                </a:cubicBezTo>
                <a:cubicBezTo>
                  <a:pt x="8742454" y="593382"/>
                  <a:pt x="8736725" y="602897"/>
                  <a:pt x="8727178" y="608605"/>
                </a:cubicBezTo>
                <a:cubicBezTo>
                  <a:pt x="8727178" y="608605"/>
                  <a:pt x="8727178" y="608605"/>
                  <a:pt x="8391103" y="825535"/>
                </a:cubicBezTo>
                <a:cubicBezTo>
                  <a:pt x="8377736" y="835050"/>
                  <a:pt x="8356731" y="829341"/>
                  <a:pt x="8347184" y="816021"/>
                </a:cubicBezTo>
                <a:cubicBezTo>
                  <a:pt x="8337636" y="800798"/>
                  <a:pt x="8343365" y="781769"/>
                  <a:pt x="8356731" y="772254"/>
                </a:cubicBezTo>
                <a:cubicBezTo>
                  <a:pt x="8356731" y="772254"/>
                  <a:pt x="8356731" y="772254"/>
                  <a:pt x="8692807" y="557227"/>
                </a:cubicBezTo>
                <a:cubicBezTo>
                  <a:pt x="8700445" y="552470"/>
                  <a:pt x="8709038" y="551043"/>
                  <a:pt x="8716914" y="552708"/>
                </a:cubicBezTo>
                <a:close/>
                <a:moveTo>
                  <a:pt x="11026758" y="552682"/>
                </a:moveTo>
                <a:cubicBezTo>
                  <a:pt x="11034635" y="554347"/>
                  <a:pt x="11041796" y="559105"/>
                  <a:pt x="11046569" y="566716"/>
                </a:cubicBezTo>
                <a:cubicBezTo>
                  <a:pt x="11050388" y="570522"/>
                  <a:pt x="11052298" y="576231"/>
                  <a:pt x="11052298" y="583843"/>
                </a:cubicBezTo>
                <a:cubicBezTo>
                  <a:pt x="11052298" y="593357"/>
                  <a:pt x="11046569" y="602871"/>
                  <a:pt x="11037022" y="608580"/>
                </a:cubicBezTo>
                <a:cubicBezTo>
                  <a:pt x="11037022" y="608580"/>
                  <a:pt x="11037022" y="608580"/>
                  <a:pt x="10700947" y="825511"/>
                </a:cubicBezTo>
                <a:cubicBezTo>
                  <a:pt x="10685670" y="835025"/>
                  <a:pt x="10666575" y="829317"/>
                  <a:pt x="10657028" y="815996"/>
                </a:cubicBezTo>
                <a:cubicBezTo>
                  <a:pt x="10647480" y="800773"/>
                  <a:pt x="10651299" y="781744"/>
                  <a:pt x="10666575" y="772230"/>
                </a:cubicBezTo>
                <a:cubicBezTo>
                  <a:pt x="10666575" y="772230"/>
                  <a:pt x="10666575" y="772230"/>
                  <a:pt x="11002651" y="557202"/>
                </a:cubicBezTo>
                <a:cubicBezTo>
                  <a:pt x="11010289" y="552445"/>
                  <a:pt x="11018882" y="551017"/>
                  <a:pt x="11026758" y="552682"/>
                </a:cubicBezTo>
                <a:close/>
                <a:moveTo>
                  <a:pt x="8152845" y="544127"/>
                </a:moveTo>
                <a:cubicBezTo>
                  <a:pt x="8161154" y="546266"/>
                  <a:pt x="8168750" y="551493"/>
                  <a:pt x="8173498" y="559095"/>
                </a:cubicBezTo>
                <a:cubicBezTo>
                  <a:pt x="8177296" y="564797"/>
                  <a:pt x="8177296" y="570499"/>
                  <a:pt x="8177296" y="576201"/>
                </a:cubicBezTo>
                <a:cubicBezTo>
                  <a:pt x="8177296" y="587605"/>
                  <a:pt x="8171598" y="599009"/>
                  <a:pt x="8162103" y="604711"/>
                </a:cubicBezTo>
                <a:cubicBezTo>
                  <a:pt x="8162103" y="604711"/>
                  <a:pt x="8162103" y="604711"/>
                  <a:pt x="7825963" y="808083"/>
                </a:cubicBezTo>
                <a:cubicBezTo>
                  <a:pt x="7810771" y="817587"/>
                  <a:pt x="7789881" y="813785"/>
                  <a:pt x="7780385" y="796679"/>
                </a:cubicBezTo>
                <a:cubicBezTo>
                  <a:pt x="7770890" y="781474"/>
                  <a:pt x="7776587" y="760567"/>
                  <a:pt x="7791780" y="751063"/>
                </a:cubicBezTo>
                <a:cubicBezTo>
                  <a:pt x="7791780" y="751063"/>
                  <a:pt x="7791780" y="751063"/>
                  <a:pt x="8127919" y="547691"/>
                </a:cubicBezTo>
                <a:cubicBezTo>
                  <a:pt x="8135516" y="542939"/>
                  <a:pt x="8144537" y="541989"/>
                  <a:pt x="8152845" y="544127"/>
                </a:cubicBezTo>
                <a:close/>
                <a:moveTo>
                  <a:pt x="11598067" y="544120"/>
                </a:moveTo>
                <a:cubicBezTo>
                  <a:pt x="11606170" y="546258"/>
                  <a:pt x="11613319" y="551485"/>
                  <a:pt x="11618085" y="559088"/>
                </a:cubicBezTo>
                <a:cubicBezTo>
                  <a:pt x="11621899" y="564790"/>
                  <a:pt x="11623805" y="570492"/>
                  <a:pt x="11623805" y="576194"/>
                </a:cubicBezTo>
                <a:cubicBezTo>
                  <a:pt x="11623805" y="587598"/>
                  <a:pt x="11618085" y="599002"/>
                  <a:pt x="11606646" y="604704"/>
                </a:cubicBezTo>
                <a:cubicBezTo>
                  <a:pt x="11606646" y="604704"/>
                  <a:pt x="11606646" y="604704"/>
                  <a:pt x="11271101" y="808077"/>
                </a:cubicBezTo>
                <a:cubicBezTo>
                  <a:pt x="11255849" y="817580"/>
                  <a:pt x="11234877" y="813778"/>
                  <a:pt x="11225345" y="796673"/>
                </a:cubicBezTo>
                <a:cubicBezTo>
                  <a:pt x="11215812" y="781467"/>
                  <a:pt x="11219625" y="760560"/>
                  <a:pt x="11236784" y="751056"/>
                </a:cubicBezTo>
                <a:cubicBezTo>
                  <a:pt x="11236784" y="751056"/>
                  <a:pt x="11236784" y="751056"/>
                  <a:pt x="11572329" y="547684"/>
                </a:cubicBezTo>
                <a:cubicBezTo>
                  <a:pt x="11580908" y="542932"/>
                  <a:pt x="11589964" y="541982"/>
                  <a:pt x="11598067" y="544120"/>
                </a:cubicBezTo>
                <a:close/>
                <a:moveTo>
                  <a:pt x="12139750" y="535003"/>
                </a:moveTo>
                <a:cubicBezTo>
                  <a:pt x="12139750" y="535003"/>
                  <a:pt x="12139750" y="535003"/>
                  <a:pt x="12139750" y="616918"/>
                </a:cubicBezTo>
                <a:cubicBezTo>
                  <a:pt x="12139750" y="616918"/>
                  <a:pt x="12139750" y="616918"/>
                  <a:pt x="11835212" y="792178"/>
                </a:cubicBezTo>
                <a:cubicBezTo>
                  <a:pt x="11818082" y="801703"/>
                  <a:pt x="11795242" y="795988"/>
                  <a:pt x="11785725" y="778843"/>
                </a:cubicBezTo>
                <a:cubicBezTo>
                  <a:pt x="11776208" y="761698"/>
                  <a:pt x="11781918" y="738838"/>
                  <a:pt x="11799048" y="729313"/>
                </a:cubicBezTo>
                <a:lnTo>
                  <a:pt x="12135943" y="536908"/>
                </a:lnTo>
                <a:cubicBezTo>
                  <a:pt x="12137847" y="536908"/>
                  <a:pt x="12137847" y="535003"/>
                  <a:pt x="12139750" y="535003"/>
                </a:cubicBezTo>
                <a:close/>
                <a:moveTo>
                  <a:pt x="7595886" y="534825"/>
                </a:moveTo>
                <a:cubicBezTo>
                  <a:pt x="7604955" y="537196"/>
                  <a:pt x="7613070" y="542884"/>
                  <a:pt x="7617844" y="551417"/>
                </a:cubicBezTo>
                <a:cubicBezTo>
                  <a:pt x="7621663" y="557105"/>
                  <a:pt x="7621663" y="562794"/>
                  <a:pt x="7621663" y="568482"/>
                </a:cubicBezTo>
                <a:cubicBezTo>
                  <a:pt x="7621663" y="581756"/>
                  <a:pt x="7615935" y="593133"/>
                  <a:pt x="7604478" y="600717"/>
                </a:cubicBezTo>
                <a:cubicBezTo>
                  <a:pt x="7604478" y="600717"/>
                  <a:pt x="7604478" y="600717"/>
                  <a:pt x="7266512" y="792231"/>
                </a:cubicBezTo>
                <a:cubicBezTo>
                  <a:pt x="7249327" y="801712"/>
                  <a:pt x="7228323" y="796023"/>
                  <a:pt x="7218776" y="778957"/>
                </a:cubicBezTo>
                <a:cubicBezTo>
                  <a:pt x="7207320" y="761892"/>
                  <a:pt x="7214957" y="739138"/>
                  <a:pt x="7230233" y="729657"/>
                </a:cubicBezTo>
                <a:cubicBezTo>
                  <a:pt x="7230233" y="729657"/>
                  <a:pt x="7230233" y="729657"/>
                  <a:pt x="7568199" y="538144"/>
                </a:cubicBezTo>
                <a:cubicBezTo>
                  <a:pt x="7576791" y="533403"/>
                  <a:pt x="7586816" y="532455"/>
                  <a:pt x="7595886" y="534825"/>
                </a:cubicBezTo>
                <a:close/>
                <a:moveTo>
                  <a:pt x="7044520" y="526281"/>
                </a:moveTo>
                <a:cubicBezTo>
                  <a:pt x="7053807" y="529139"/>
                  <a:pt x="7061903" y="535330"/>
                  <a:pt x="7066666" y="543903"/>
                </a:cubicBezTo>
                <a:cubicBezTo>
                  <a:pt x="7070476" y="549618"/>
                  <a:pt x="7072381" y="557237"/>
                  <a:pt x="7072381" y="562953"/>
                </a:cubicBezTo>
                <a:cubicBezTo>
                  <a:pt x="7072381" y="576287"/>
                  <a:pt x="7064761" y="589623"/>
                  <a:pt x="7051425" y="595337"/>
                </a:cubicBezTo>
                <a:cubicBezTo>
                  <a:pt x="7051425" y="595337"/>
                  <a:pt x="7051425" y="595337"/>
                  <a:pt x="6714236" y="776312"/>
                </a:cubicBezTo>
                <a:cubicBezTo>
                  <a:pt x="6695185" y="785837"/>
                  <a:pt x="6672325" y="780122"/>
                  <a:pt x="6662800" y="761072"/>
                </a:cubicBezTo>
                <a:cubicBezTo>
                  <a:pt x="6653275" y="743927"/>
                  <a:pt x="6660895" y="721067"/>
                  <a:pt x="6678040" y="709637"/>
                </a:cubicBezTo>
                <a:cubicBezTo>
                  <a:pt x="6678040" y="709637"/>
                  <a:pt x="6678040" y="709637"/>
                  <a:pt x="7015230" y="528663"/>
                </a:cubicBezTo>
                <a:cubicBezTo>
                  <a:pt x="7024755" y="523900"/>
                  <a:pt x="7035233" y="523424"/>
                  <a:pt x="7044520" y="526281"/>
                </a:cubicBezTo>
                <a:close/>
                <a:moveTo>
                  <a:pt x="6500891" y="517214"/>
                </a:moveTo>
                <a:cubicBezTo>
                  <a:pt x="6510676" y="520539"/>
                  <a:pt x="6519268" y="527666"/>
                  <a:pt x="6524041" y="538118"/>
                </a:cubicBezTo>
                <a:cubicBezTo>
                  <a:pt x="6525950" y="543819"/>
                  <a:pt x="6527860" y="549520"/>
                  <a:pt x="6527860" y="555221"/>
                </a:cubicBezTo>
                <a:cubicBezTo>
                  <a:pt x="6527860" y="570424"/>
                  <a:pt x="6520223" y="583727"/>
                  <a:pt x="6506857" y="591328"/>
                </a:cubicBezTo>
                <a:cubicBezTo>
                  <a:pt x="6506857" y="591328"/>
                  <a:pt x="6506857" y="591328"/>
                  <a:pt x="6166999" y="760460"/>
                </a:cubicBezTo>
                <a:cubicBezTo>
                  <a:pt x="6147906" y="769962"/>
                  <a:pt x="6123085" y="762360"/>
                  <a:pt x="6113538" y="743357"/>
                </a:cubicBezTo>
                <a:cubicBezTo>
                  <a:pt x="6103992" y="722453"/>
                  <a:pt x="6111629" y="699649"/>
                  <a:pt x="6130722" y="690147"/>
                </a:cubicBezTo>
                <a:cubicBezTo>
                  <a:pt x="6130722" y="690147"/>
                  <a:pt x="6130722" y="690147"/>
                  <a:pt x="6470580" y="519114"/>
                </a:cubicBezTo>
                <a:cubicBezTo>
                  <a:pt x="6480127" y="514363"/>
                  <a:pt x="6491105" y="513888"/>
                  <a:pt x="6500891" y="517214"/>
                </a:cubicBezTo>
                <a:close/>
                <a:moveTo>
                  <a:pt x="5942009" y="506693"/>
                </a:moveTo>
                <a:cubicBezTo>
                  <a:pt x="5958261" y="505537"/>
                  <a:pt x="5973977" y="514778"/>
                  <a:pt x="5981120" y="530416"/>
                </a:cubicBezTo>
                <a:cubicBezTo>
                  <a:pt x="5984930" y="536102"/>
                  <a:pt x="5984930" y="541789"/>
                  <a:pt x="5984930" y="547475"/>
                </a:cubicBezTo>
                <a:cubicBezTo>
                  <a:pt x="5984930" y="564535"/>
                  <a:pt x="5977310" y="579699"/>
                  <a:pt x="5962070" y="585386"/>
                </a:cubicBezTo>
                <a:cubicBezTo>
                  <a:pt x="5962070" y="585386"/>
                  <a:pt x="5962070" y="585386"/>
                  <a:pt x="5622984" y="744609"/>
                </a:cubicBezTo>
                <a:cubicBezTo>
                  <a:pt x="5602029" y="754087"/>
                  <a:pt x="5577264" y="744609"/>
                  <a:pt x="5565833" y="723759"/>
                </a:cubicBezTo>
                <a:cubicBezTo>
                  <a:pt x="5556309" y="702908"/>
                  <a:pt x="5565833" y="678266"/>
                  <a:pt x="5586789" y="668789"/>
                </a:cubicBezTo>
                <a:cubicBezTo>
                  <a:pt x="5586789" y="668789"/>
                  <a:pt x="5586789" y="668789"/>
                  <a:pt x="5925877" y="511460"/>
                </a:cubicBezTo>
                <a:cubicBezTo>
                  <a:pt x="5931114" y="508617"/>
                  <a:pt x="5936591" y="507077"/>
                  <a:pt x="5942009" y="506693"/>
                </a:cubicBezTo>
                <a:close/>
                <a:moveTo>
                  <a:pt x="382532" y="506681"/>
                </a:moveTo>
                <a:cubicBezTo>
                  <a:pt x="398784" y="505526"/>
                  <a:pt x="414500" y="514766"/>
                  <a:pt x="421644" y="530405"/>
                </a:cubicBezTo>
                <a:cubicBezTo>
                  <a:pt x="423549" y="536091"/>
                  <a:pt x="425454" y="541778"/>
                  <a:pt x="425454" y="547464"/>
                </a:cubicBezTo>
                <a:cubicBezTo>
                  <a:pt x="425454" y="564524"/>
                  <a:pt x="415929" y="579688"/>
                  <a:pt x="400689" y="585374"/>
                </a:cubicBezTo>
                <a:cubicBezTo>
                  <a:pt x="400689" y="585374"/>
                  <a:pt x="400689" y="585374"/>
                  <a:pt x="61595" y="744598"/>
                </a:cubicBezTo>
                <a:cubicBezTo>
                  <a:pt x="40640" y="754076"/>
                  <a:pt x="15874" y="744598"/>
                  <a:pt x="6349" y="723747"/>
                </a:cubicBezTo>
                <a:cubicBezTo>
                  <a:pt x="-3176" y="702897"/>
                  <a:pt x="6349" y="678255"/>
                  <a:pt x="27305" y="668777"/>
                </a:cubicBezTo>
                <a:cubicBezTo>
                  <a:pt x="27305" y="668777"/>
                  <a:pt x="27305" y="668777"/>
                  <a:pt x="366399" y="511449"/>
                </a:cubicBezTo>
                <a:cubicBezTo>
                  <a:pt x="371637" y="508606"/>
                  <a:pt x="377114" y="507066"/>
                  <a:pt x="382532" y="506681"/>
                </a:cubicBezTo>
                <a:close/>
                <a:moveTo>
                  <a:pt x="5409823" y="500973"/>
                </a:moveTo>
                <a:cubicBezTo>
                  <a:pt x="5420078" y="505026"/>
                  <a:pt x="5428662" y="513132"/>
                  <a:pt x="5433432" y="524577"/>
                </a:cubicBezTo>
                <a:cubicBezTo>
                  <a:pt x="5437247" y="530300"/>
                  <a:pt x="5437247" y="536022"/>
                  <a:pt x="5437247" y="541744"/>
                </a:cubicBezTo>
                <a:cubicBezTo>
                  <a:pt x="5437247" y="558911"/>
                  <a:pt x="5427709" y="574171"/>
                  <a:pt x="5410538" y="581801"/>
                </a:cubicBezTo>
                <a:cubicBezTo>
                  <a:pt x="5410538" y="581801"/>
                  <a:pt x="5410538" y="581801"/>
                  <a:pt x="5070946" y="728676"/>
                </a:cubicBezTo>
                <a:cubicBezTo>
                  <a:pt x="5048055" y="738212"/>
                  <a:pt x="5023257" y="728676"/>
                  <a:pt x="5011810" y="705786"/>
                </a:cubicBezTo>
                <a:cubicBezTo>
                  <a:pt x="5002274" y="682896"/>
                  <a:pt x="5013719" y="658100"/>
                  <a:pt x="5034702" y="648562"/>
                </a:cubicBezTo>
                <a:cubicBezTo>
                  <a:pt x="5034702" y="648562"/>
                  <a:pt x="5034702" y="648562"/>
                  <a:pt x="5376199" y="501688"/>
                </a:cubicBezTo>
                <a:cubicBezTo>
                  <a:pt x="5387645" y="496919"/>
                  <a:pt x="5399569" y="496919"/>
                  <a:pt x="5409823" y="500973"/>
                </a:cubicBezTo>
                <a:close/>
                <a:moveTo>
                  <a:pt x="943575" y="500959"/>
                </a:moveTo>
                <a:cubicBezTo>
                  <a:pt x="954275" y="505012"/>
                  <a:pt x="963310" y="513119"/>
                  <a:pt x="968066" y="524564"/>
                </a:cubicBezTo>
                <a:cubicBezTo>
                  <a:pt x="969968" y="530286"/>
                  <a:pt x="969968" y="536009"/>
                  <a:pt x="969968" y="541731"/>
                </a:cubicBezTo>
                <a:cubicBezTo>
                  <a:pt x="969968" y="558898"/>
                  <a:pt x="960457" y="574158"/>
                  <a:pt x="945239" y="581788"/>
                </a:cubicBezTo>
                <a:cubicBezTo>
                  <a:pt x="945239" y="581788"/>
                  <a:pt x="945239" y="581788"/>
                  <a:pt x="604741" y="728662"/>
                </a:cubicBezTo>
                <a:cubicBezTo>
                  <a:pt x="581914" y="738200"/>
                  <a:pt x="557185" y="728662"/>
                  <a:pt x="547674" y="705773"/>
                </a:cubicBezTo>
                <a:cubicBezTo>
                  <a:pt x="538163" y="682883"/>
                  <a:pt x="547674" y="658086"/>
                  <a:pt x="570501" y="648549"/>
                </a:cubicBezTo>
                <a:cubicBezTo>
                  <a:pt x="570501" y="648549"/>
                  <a:pt x="570501" y="648549"/>
                  <a:pt x="909097" y="501674"/>
                </a:cubicBezTo>
                <a:cubicBezTo>
                  <a:pt x="920510" y="496906"/>
                  <a:pt x="932875" y="496906"/>
                  <a:pt x="943575" y="500959"/>
                </a:cubicBezTo>
                <a:close/>
                <a:moveTo>
                  <a:pt x="4841065" y="488779"/>
                </a:moveTo>
                <a:cubicBezTo>
                  <a:pt x="4858649" y="489046"/>
                  <a:pt x="4875427" y="499748"/>
                  <a:pt x="4882566" y="516870"/>
                </a:cubicBezTo>
                <a:cubicBezTo>
                  <a:pt x="4884469" y="522577"/>
                  <a:pt x="4886373" y="528285"/>
                  <a:pt x="4886373" y="533993"/>
                </a:cubicBezTo>
                <a:cubicBezTo>
                  <a:pt x="4886373" y="553017"/>
                  <a:pt x="4874949" y="570139"/>
                  <a:pt x="4855912" y="577749"/>
                </a:cubicBezTo>
                <a:cubicBezTo>
                  <a:pt x="4855912" y="577749"/>
                  <a:pt x="4855912" y="577749"/>
                  <a:pt x="4517068" y="712825"/>
                </a:cubicBezTo>
                <a:cubicBezTo>
                  <a:pt x="4492321" y="722338"/>
                  <a:pt x="4465668" y="710923"/>
                  <a:pt x="4456150" y="686191"/>
                </a:cubicBezTo>
                <a:cubicBezTo>
                  <a:pt x="4446631" y="663361"/>
                  <a:pt x="4458054" y="636726"/>
                  <a:pt x="4482802" y="627214"/>
                </a:cubicBezTo>
                <a:cubicBezTo>
                  <a:pt x="4482802" y="627214"/>
                  <a:pt x="4482802" y="627214"/>
                  <a:pt x="4823545" y="492138"/>
                </a:cubicBezTo>
                <a:cubicBezTo>
                  <a:pt x="4829255" y="489760"/>
                  <a:pt x="4835204" y="488690"/>
                  <a:pt x="4841065" y="488779"/>
                </a:cubicBezTo>
                <a:close/>
                <a:moveTo>
                  <a:pt x="1475768" y="488763"/>
                </a:moveTo>
                <a:cubicBezTo>
                  <a:pt x="1493806" y="489031"/>
                  <a:pt x="1511308" y="499732"/>
                  <a:pt x="1517023" y="516854"/>
                </a:cubicBezTo>
                <a:cubicBezTo>
                  <a:pt x="1520833" y="522562"/>
                  <a:pt x="1520833" y="528269"/>
                  <a:pt x="1520833" y="533977"/>
                </a:cubicBezTo>
                <a:cubicBezTo>
                  <a:pt x="1520833" y="553002"/>
                  <a:pt x="1509403" y="570124"/>
                  <a:pt x="1492258" y="577734"/>
                </a:cubicBezTo>
                <a:cubicBezTo>
                  <a:pt x="1492258" y="577734"/>
                  <a:pt x="1492258" y="577734"/>
                  <a:pt x="1151259" y="712810"/>
                </a:cubicBezTo>
                <a:cubicBezTo>
                  <a:pt x="1128399" y="722323"/>
                  <a:pt x="1101728" y="710908"/>
                  <a:pt x="1092203" y="686175"/>
                </a:cubicBezTo>
                <a:cubicBezTo>
                  <a:pt x="1082678" y="663346"/>
                  <a:pt x="1094108" y="636711"/>
                  <a:pt x="1116969" y="627198"/>
                </a:cubicBezTo>
                <a:cubicBezTo>
                  <a:pt x="1116969" y="627198"/>
                  <a:pt x="1116969" y="627198"/>
                  <a:pt x="1457968" y="492122"/>
                </a:cubicBezTo>
                <a:cubicBezTo>
                  <a:pt x="1463683" y="489744"/>
                  <a:pt x="1469755" y="488674"/>
                  <a:pt x="1475768" y="488763"/>
                </a:cubicBezTo>
                <a:close/>
                <a:moveTo>
                  <a:pt x="4284536" y="479572"/>
                </a:moveTo>
                <a:cubicBezTo>
                  <a:pt x="4302958" y="480462"/>
                  <a:pt x="4319771" y="492573"/>
                  <a:pt x="4326924" y="511096"/>
                </a:cubicBezTo>
                <a:cubicBezTo>
                  <a:pt x="4328831" y="516795"/>
                  <a:pt x="4330739" y="522495"/>
                  <a:pt x="4330739" y="528194"/>
                </a:cubicBezTo>
                <a:cubicBezTo>
                  <a:pt x="4330739" y="547192"/>
                  <a:pt x="4317385" y="566190"/>
                  <a:pt x="4298308" y="571889"/>
                </a:cubicBezTo>
                <a:cubicBezTo>
                  <a:pt x="4298308" y="571889"/>
                  <a:pt x="4298308" y="571889"/>
                  <a:pt x="3956841" y="695376"/>
                </a:cubicBezTo>
                <a:cubicBezTo>
                  <a:pt x="3932037" y="704875"/>
                  <a:pt x="3903422" y="691576"/>
                  <a:pt x="3895790" y="666879"/>
                </a:cubicBezTo>
                <a:cubicBezTo>
                  <a:pt x="3886251" y="642182"/>
                  <a:pt x="3899607" y="615584"/>
                  <a:pt x="3924406" y="606085"/>
                </a:cubicBezTo>
                <a:cubicBezTo>
                  <a:pt x="3924406" y="606085"/>
                  <a:pt x="3924406" y="606085"/>
                  <a:pt x="4265875" y="482599"/>
                </a:cubicBezTo>
                <a:cubicBezTo>
                  <a:pt x="4272075" y="480225"/>
                  <a:pt x="4278394" y="479275"/>
                  <a:pt x="4284536" y="479572"/>
                </a:cubicBezTo>
                <a:close/>
                <a:moveTo>
                  <a:pt x="2030557" y="479554"/>
                </a:moveTo>
                <a:cubicBezTo>
                  <a:pt x="2049519" y="480444"/>
                  <a:pt x="2067404" y="492555"/>
                  <a:pt x="2074559" y="511078"/>
                </a:cubicBezTo>
                <a:cubicBezTo>
                  <a:pt x="2076466" y="516778"/>
                  <a:pt x="2076466" y="522477"/>
                  <a:pt x="2076466" y="528177"/>
                </a:cubicBezTo>
                <a:cubicBezTo>
                  <a:pt x="2076466" y="547175"/>
                  <a:pt x="2065020" y="566172"/>
                  <a:pt x="2045939" y="571872"/>
                </a:cubicBezTo>
                <a:cubicBezTo>
                  <a:pt x="2045939" y="571872"/>
                  <a:pt x="2045939" y="571872"/>
                  <a:pt x="1702543" y="695358"/>
                </a:cubicBezTo>
                <a:cubicBezTo>
                  <a:pt x="1677743" y="704857"/>
                  <a:pt x="1651034" y="691559"/>
                  <a:pt x="1641495" y="666862"/>
                </a:cubicBezTo>
                <a:cubicBezTo>
                  <a:pt x="1631957" y="642164"/>
                  <a:pt x="1645311" y="615567"/>
                  <a:pt x="1670112" y="606068"/>
                </a:cubicBezTo>
                <a:cubicBezTo>
                  <a:pt x="1670112" y="606068"/>
                  <a:pt x="1670112" y="606068"/>
                  <a:pt x="2011599" y="482582"/>
                </a:cubicBezTo>
                <a:cubicBezTo>
                  <a:pt x="2017799" y="480207"/>
                  <a:pt x="2024238" y="479257"/>
                  <a:pt x="2030557" y="479554"/>
                </a:cubicBezTo>
                <a:close/>
                <a:moveTo>
                  <a:pt x="3723550" y="470402"/>
                </a:moveTo>
                <a:cubicBezTo>
                  <a:pt x="3743254" y="471922"/>
                  <a:pt x="3760807" y="485514"/>
                  <a:pt x="3766538" y="505544"/>
                </a:cubicBezTo>
                <a:cubicBezTo>
                  <a:pt x="3768450" y="511267"/>
                  <a:pt x="3770359" y="515082"/>
                  <a:pt x="3770359" y="520805"/>
                </a:cubicBezTo>
                <a:cubicBezTo>
                  <a:pt x="3770359" y="541790"/>
                  <a:pt x="3756987" y="560866"/>
                  <a:pt x="3734059" y="568497"/>
                </a:cubicBezTo>
                <a:cubicBezTo>
                  <a:pt x="3734059" y="568497"/>
                  <a:pt x="3734059" y="568497"/>
                  <a:pt x="3392114" y="681049"/>
                </a:cubicBezTo>
                <a:cubicBezTo>
                  <a:pt x="3365365" y="690588"/>
                  <a:pt x="3336709" y="675326"/>
                  <a:pt x="3329067" y="648619"/>
                </a:cubicBezTo>
                <a:cubicBezTo>
                  <a:pt x="3319514" y="621912"/>
                  <a:pt x="3334799" y="595204"/>
                  <a:pt x="3359634" y="585666"/>
                </a:cubicBezTo>
                <a:cubicBezTo>
                  <a:pt x="3359634" y="585666"/>
                  <a:pt x="3359634" y="585666"/>
                  <a:pt x="3703492" y="473114"/>
                </a:cubicBezTo>
                <a:cubicBezTo>
                  <a:pt x="3710179" y="470729"/>
                  <a:pt x="3716986" y="469895"/>
                  <a:pt x="3723550" y="470402"/>
                </a:cubicBezTo>
                <a:close/>
                <a:moveTo>
                  <a:pt x="2590051" y="470381"/>
                </a:moveTo>
                <a:cubicBezTo>
                  <a:pt x="2609752" y="471901"/>
                  <a:pt x="2627305" y="485494"/>
                  <a:pt x="2633035" y="505524"/>
                </a:cubicBezTo>
                <a:cubicBezTo>
                  <a:pt x="2634945" y="511247"/>
                  <a:pt x="2636856" y="515063"/>
                  <a:pt x="2636856" y="520785"/>
                </a:cubicBezTo>
                <a:cubicBezTo>
                  <a:pt x="2636856" y="541770"/>
                  <a:pt x="2623483" y="560847"/>
                  <a:pt x="2600558" y="568477"/>
                </a:cubicBezTo>
                <a:cubicBezTo>
                  <a:pt x="2600558" y="568477"/>
                  <a:pt x="2600558" y="568477"/>
                  <a:pt x="2258596" y="681030"/>
                </a:cubicBezTo>
                <a:cubicBezTo>
                  <a:pt x="2231850" y="690568"/>
                  <a:pt x="2203194" y="675307"/>
                  <a:pt x="2195553" y="648599"/>
                </a:cubicBezTo>
                <a:cubicBezTo>
                  <a:pt x="2186001" y="621892"/>
                  <a:pt x="2201284" y="595185"/>
                  <a:pt x="2226119" y="585646"/>
                </a:cubicBezTo>
                <a:cubicBezTo>
                  <a:pt x="2226119" y="585646"/>
                  <a:pt x="2226119" y="585646"/>
                  <a:pt x="2569992" y="473094"/>
                </a:cubicBezTo>
                <a:cubicBezTo>
                  <a:pt x="2576678" y="470709"/>
                  <a:pt x="2583485" y="469875"/>
                  <a:pt x="2590051" y="470381"/>
                </a:cubicBezTo>
                <a:close/>
                <a:moveTo>
                  <a:pt x="3153226" y="461689"/>
                </a:moveTo>
                <a:cubicBezTo>
                  <a:pt x="3173702" y="464103"/>
                  <a:pt x="3191229" y="478054"/>
                  <a:pt x="3196952" y="499516"/>
                </a:cubicBezTo>
                <a:cubicBezTo>
                  <a:pt x="3198860" y="503332"/>
                  <a:pt x="3198860" y="509055"/>
                  <a:pt x="3198860" y="512871"/>
                </a:cubicBezTo>
                <a:cubicBezTo>
                  <a:pt x="3198860" y="535764"/>
                  <a:pt x="3185507" y="556750"/>
                  <a:pt x="3162613" y="564381"/>
                </a:cubicBezTo>
                <a:cubicBezTo>
                  <a:pt x="3162613" y="564381"/>
                  <a:pt x="3162613" y="564381"/>
                  <a:pt x="2819230" y="665493"/>
                </a:cubicBezTo>
                <a:cubicBezTo>
                  <a:pt x="2790615" y="673125"/>
                  <a:pt x="2761999" y="657862"/>
                  <a:pt x="2754365" y="629246"/>
                </a:cubicBezTo>
                <a:cubicBezTo>
                  <a:pt x="2744827" y="602536"/>
                  <a:pt x="2761999" y="572012"/>
                  <a:pt x="2788707" y="564381"/>
                </a:cubicBezTo>
                <a:cubicBezTo>
                  <a:pt x="2788707" y="564381"/>
                  <a:pt x="2788707" y="564381"/>
                  <a:pt x="3132091" y="463269"/>
                </a:cubicBezTo>
                <a:cubicBezTo>
                  <a:pt x="3139247" y="461361"/>
                  <a:pt x="3146399" y="460884"/>
                  <a:pt x="3153226" y="461689"/>
                </a:cubicBezTo>
                <a:close/>
                <a:moveTo>
                  <a:pt x="9865382" y="251073"/>
                </a:moveTo>
                <a:cubicBezTo>
                  <a:pt x="9872978" y="252741"/>
                  <a:pt x="9880099" y="257509"/>
                  <a:pt x="9884846" y="265137"/>
                </a:cubicBezTo>
                <a:cubicBezTo>
                  <a:pt x="9888644" y="268951"/>
                  <a:pt x="9888644" y="274673"/>
                  <a:pt x="9888644" y="280394"/>
                </a:cubicBezTo>
                <a:cubicBezTo>
                  <a:pt x="9888644" y="289929"/>
                  <a:pt x="9884846" y="299465"/>
                  <a:pt x="9875351" y="305186"/>
                </a:cubicBezTo>
                <a:cubicBezTo>
                  <a:pt x="9875351" y="305186"/>
                  <a:pt x="9875351" y="305186"/>
                  <a:pt x="9543036" y="530219"/>
                </a:cubicBezTo>
                <a:cubicBezTo>
                  <a:pt x="9527844" y="539755"/>
                  <a:pt x="9510753" y="535941"/>
                  <a:pt x="9501259" y="520684"/>
                </a:cubicBezTo>
                <a:cubicBezTo>
                  <a:pt x="9491764" y="507335"/>
                  <a:pt x="9495562" y="490171"/>
                  <a:pt x="9508855" y="480636"/>
                </a:cubicBezTo>
                <a:cubicBezTo>
                  <a:pt x="9508855" y="480636"/>
                  <a:pt x="9508855" y="480636"/>
                  <a:pt x="9843069" y="255602"/>
                </a:cubicBezTo>
                <a:cubicBezTo>
                  <a:pt x="9849716" y="250834"/>
                  <a:pt x="9857786" y="249404"/>
                  <a:pt x="9865382" y="251073"/>
                </a:cubicBezTo>
                <a:close/>
                <a:moveTo>
                  <a:pt x="9288660" y="242274"/>
                </a:moveTo>
                <a:cubicBezTo>
                  <a:pt x="9296298" y="244177"/>
                  <a:pt x="9303459" y="248934"/>
                  <a:pt x="9308232" y="255594"/>
                </a:cubicBezTo>
                <a:cubicBezTo>
                  <a:pt x="9312051" y="261303"/>
                  <a:pt x="9313961" y="267012"/>
                  <a:pt x="9313961" y="272720"/>
                </a:cubicBezTo>
                <a:cubicBezTo>
                  <a:pt x="9313961" y="284138"/>
                  <a:pt x="9308232" y="293652"/>
                  <a:pt x="9298685" y="299361"/>
                </a:cubicBezTo>
                <a:cubicBezTo>
                  <a:pt x="9298685" y="299361"/>
                  <a:pt x="9298685" y="299361"/>
                  <a:pt x="8962610" y="514388"/>
                </a:cubicBezTo>
                <a:cubicBezTo>
                  <a:pt x="8949243" y="523902"/>
                  <a:pt x="8928238" y="518193"/>
                  <a:pt x="8918691" y="504873"/>
                </a:cubicBezTo>
                <a:cubicBezTo>
                  <a:pt x="8909143" y="489650"/>
                  <a:pt x="8914872" y="470622"/>
                  <a:pt x="8928238" y="461107"/>
                </a:cubicBezTo>
                <a:lnTo>
                  <a:pt x="9266223" y="246080"/>
                </a:lnTo>
                <a:cubicBezTo>
                  <a:pt x="9272907" y="241322"/>
                  <a:pt x="9281022" y="240371"/>
                  <a:pt x="9288660" y="242274"/>
                </a:cubicBezTo>
                <a:close/>
                <a:moveTo>
                  <a:pt x="10450170" y="242248"/>
                </a:moveTo>
                <a:cubicBezTo>
                  <a:pt x="10458260" y="244151"/>
                  <a:pt x="10465874" y="248908"/>
                  <a:pt x="10470633" y="255569"/>
                </a:cubicBezTo>
                <a:cubicBezTo>
                  <a:pt x="10472536" y="261277"/>
                  <a:pt x="10474440" y="266986"/>
                  <a:pt x="10474440" y="272695"/>
                </a:cubicBezTo>
                <a:cubicBezTo>
                  <a:pt x="10474440" y="284112"/>
                  <a:pt x="10470633" y="293627"/>
                  <a:pt x="10461115" y="299335"/>
                </a:cubicBezTo>
                <a:cubicBezTo>
                  <a:pt x="10461115" y="299335"/>
                  <a:pt x="10461115" y="299335"/>
                  <a:pt x="10124192" y="514363"/>
                </a:cubicBezTo>
                <a:cubicBezTo>
                  <a:pt x="10110867" y="523878"/>
                  <a:pt x="10091832" y="518169"/>
                  <a:pt x="10082315" y="504848"/>
                </a:cubicBezTo>
                <a:cubicBezTo>
                  <a:pt x="10072797" y="489625"/>
                  <a:pt x="10076604" y="470596"/>
                  <a:pt x="10091832" y="461082"/>
                </a:cubicBezTo>
                <a:lnTo>
                  <a:pt x="10426852" y="246054"/>
                </a:lnTo>
                <a:cubicBezTo>
                  <a:pt x="10433514" y="241297"/>
                  <a:pt x="10442080" y="240345"/>
                  <a:pt x="10450170" y="242248"/>
                </a:cubicBezTo>
                <a:close/>
                <a:moveTo>
                  <a:pt x="8718303" y="233007"/>
                </a:moveTo>
                <a:cubicBezTo>
                  <a:pt x="8726406" y="235155"/>
                  <a:pt x="8733555" y="240405"/>
                  <a:pt x="8738321" y="248042"/>
                </a:cubicBezTo>
                <a:cubicBezTo>
                  <a:pt x="8742135" y="253770"/>
                  <a:pt x="8744041" y="259498"/>
                  <a:pt x="8744041" y="265226"/>
                </a:cubicBezTo>
                <a:cubicBezTo>
                  <a:pt x="8744041" y="276682"/>
                  <a:pt x="8738321" y="288137"/>
                  <a:pt x="8728789" y="293865"/>
                </a:cubicBezTo>
                <a:cubicBezTo>
                  <a:pt x="8728789" y="293865"/>
                  <a:pt x="8728789" y="293865"/>
                  <a:pt x="8391337" y="500068"/>
                </a:cubicBezTo>
                <a:cubicBezTo>
                  <a:pt x="8376085" y="509614"/>
                  <a:pt x="8355113" y="503887"/>
                  <a:pt x="8345581" y="488612"/>
                </a:cubicBezTo>
                <a:cubicBezTo>
                  <a:pt x="8336048" y="473338"/>
                  <a:pt x="8341768" y="452336"/>
                  <a:pt x="8357020" y="442790"/>
                </a:cubicBezTo>
                <a:cubicBezTo>
                  <a:pt x="8357020" y="442790"/>
                  <a:pt x="8357020" y="442790"/>
                  <a:pt x="8692565" y="236587"/>
                </a:cubicBezTo>
                <a:cubicBezTo>
                  <a:pt x="8701144" y="231813"/>
                  <a:pt x="8710200" y="230859"/>
                  <a:pt x="8718303" y="233007"/>
                </a:cubicBezTo>
                <a:close/>
                <a:moveTo>
                  <a:pt x="11027432" y="232979"/>
                </a:moveTo>
                <a:cubicBezTo>
                  <a:pt x="11035773" y="235127"/>
                  <a:pt x="11043399" y="240377"/>
                  <a:pt x="11048165" y="248015"/>
                </a:cubicBezTo>
                <a:cubicBezTo>
                  <a:pt x="11051979" y="253743"/>
                  <a:pt x="11053885" y="259470"/>
                  <a:pt x="11053885" y="265198"/>
                </a:cubicBezTo>
                <a:cubicBezTo>
                  <a:pt x="11053885" y="276654"/>
                  <a:pt x="11048165" y="288110"/>
                  <a:pt x="11036726" y="293838"/>
                </a:cubicBezTo>
                <a:cubicBezTo>
                  <a:pt x="11036726" y="293838"/>
                  <a:pt x="11036726" y="293838"/>
                  <a:pt x="10701181" y="500041"/>
                </a:cubicBezTo>
                <a:cubicBezTo>
                  <a:pt x="10685929" y="509587"/>
                  <a:pt x="10664957" y="503860"/>
                  <a:pt x="10655425" y="488585"/>
                </a:cubicBezTo>
                <a:cubicBezTo>
                  <a:pt x="10645892" y="473311"/>
                  <a:pt x="10651612" y="452309"/>
                  <a:pt x="10666864" y="442762"/>
                </a:cubicBezTo>
                <a:cubicBezTo>
                  <a:pt x="10666864" y="442762"/>
                  <a:pt x="10666864" y="442762"/>
                  <a:pt x="11002409" y="236559"/>
                </a:cubicBezTo>
                <a:cubicBezTo>
                  <a:pt x="11010035" y="231786"/>
                  <a:pt x="11019091" y="230831"/>
                  <a:pt x="11027432" y="232979"/>
                </a:cubicBezTo>
                <a:close/>
                <a:moveTo>
                  <a:pt x="8154912" y="223468"/>
                </a:moveTo>
                <a:cubicBezTo>
                  <a:pt x="8163750" y="225611"/>
                  <a:pt x="8171871" y="230850"/>
                  <a:pt x="8176649" y="238470"/>
                </a:cubicBezTo>
                <a:cubicBezTo>
                  <a:pt x="8178560" y="244185"/>
                  <a:pt x="8180471" y="251805"/>
                  <a:pt x="8180471" y="257520"/>
                </a:cubicBezTo>
                <a:cubicBezTo>
                  <a:pt x="8180471" y="268950"/>
                  <a:pt x="8174738" y="280380"/>
                  <a:pt x="8163273" y="288000"/>
                </a:cubicBezTo>
                <a:cubicBezTo>
                  <a:pt x="8163273" y="288000"/>
                  <a:pt x="8163273" y="288000"/>
                  <a:pt x="7825042" y="484214"/>
                </a:cubicBezTo>
                <a:cubicBezTo>
                  <a:pt x="7809755" y="493739"/>
                  <a:pt x="7786824" y="488024"/>
                  <a:pt x="7777269" y="470879"/>
                </a:cubicBezTo>
                <a:cubicBezTo>
                  <a:pt x="7767715" y="453735"/>
                  <a:pt x="7773447" y="432780"/>
                  <a:pt x="7790646" y="423255"/>
                </a:cubicBezTo>
                <a:cubicBezTo>
                  <a:pt x="7790646" y="423255"/>
                  <a:pt x="7790646" y="423255"/>
                  <a:pt x="8128876" y="227040"/>
                </a:cubicBezTo>
                <a:cubicBezTo>
                  <a:pt x="8136520" y="222278"/>
                  <a:pt x="8146074" y="221325"/>
                  <a:pt x="8154912" y="223468"/>
                </a:cubicBezTo>
                <a:close/>
                <a:moveTo>
                  <a:pt x="11598743" y="223460"/>
                </a:moveTo>
                <a:cubicBezTo>
                  <a:pt x="11607309" y="225603"/>
                  <a:pt x="11614923" y="230841"/>
                  <a:pt x="11619682" y="238461"/>
                </a:cubicBezTo>
                <a:cubicBezTo>
                  <a:pt x="11623489" y="244176"/>
                  <a:pt x="11625393" y="251796"/>
                  <a:pt x="11625393" y="257511"/>
                </a:cubicBezTo>
                <a:cubicBezTo>
                  <a:pt x="11625393" y="268941"/>
                  <a:pt x="11619682" y="280371"/>
                  <a:pt x="11608261" y="287991"/>
                </a:cubicBezTo>
                <a:cubicBezTo>
                  <a:pt x="11608261" y="287991"/>
                  <a:pt x="11608261" y="287991"/>
                  <a:pt x="11271332" y="484206"/>
                </a:cubicBezTo>
                <a:cubicBezTo>
                  <a:pt x="11254200" y="493731"/>
                  <a:pt x="11233261" y="488016"/>
                  <a:pt x="11223743" y="470871"/>
                </a:cubicBezTo>
                <a:cubicBezTo>
                  <a:pt x="11214225" y="453726"/>
                  <a:pt x="11219936" y="432771"/>
                  <a:pt x="11237068" y="423246"/>
                </a:cubicBezTo>
                <a:cubicBezTo>
                  <a:pt x="11237068" y="423246"/>
                  <a:pt x="11237068" y="423246"/>
                  <a:pt x="11572093" y="227031"/>
                </a:cubicBezTo>
                <a:cubicBezTo>
                  <a:pt x="11580659" y="222269"/>
                  <a:pt x="11590177" y="221316"/>
                  <a:pt x="11598743" y="223460"/>
                </a:cubicBezTo>
                <a:close/>
                <a:moveTo>
                  <a:pt x="12139750" y="215916"/>
                </a:moveTo>
                <a:cubicBezTo>
                  <a:pt x="12139750" y="215916"/>
                  <a:pt x="12139750" y="215916"/>
                  <a:pt x="12139750" y="297535"/>
                </a:cubicBezTo>
                <a:cubicBezTo>
                  <a:pt x="12139750" y="297535"/>
                  <a:pt x="12139750" y="297535"/>
                  <a:pt x="11835475" y="466465"/>
                </a:cubicBezTo>
                <a:cubicBezTo>
                  <a:pt x="11816458" y="477854"/>
                  <a:pt x="11795539" y="470261"/>
                  <a:pt x="11784129" y="453179"/>
                </a:cubicBezTo>
                <a:cubicBezTo>
                  <a:pt x="11774620" y="436096"/>
                  <a:pt x="11782227" y="413319"/>
                  <a:pt x="11799342" y="403828"/>
                </a:cubicBezTo>
                <a:cubicBezTo>
                  <a:pt x="11799342" y="403828"/>
                  <a:pt x="11799342" y="403828"/>
                  <a:pt x="12135947" y="217814"/>
                </a:cubicBezTo>
                <a:cubicBezTo>
                  <a:pt x="12137848" y="215916"/>
                  <a:pt x="12137848" y="215916"/>
                  <a:pt x="12139750" y="215916"/>
                </a:cubicBezTo>
                <a:close/>
                <a:moveTo>
                  <a:pt x="7596540" y="214167"/>
                </a:moveTo>
                <a:cubicBezTo>
                  <a:pt x="7605602" y="216542"/>
                  <a:pt x="7613711" y="222244"/>
                  <a:pt x="7619435" y="230796"/>
                </a:cubicBezTo>
                <a:cubicBezTo>
                  <a:pt x="7621343" y="236498"/>
                  <a:pt x="7623251" y="242199"/>
                  <a:pt x="7623251" y="247901"/>
                </a:cubicBezTo>
                <a:cubicBezTo>
                  <a:pt x="7623251" y="261205"/>
                  <a:pt x="7615619" y="274508"/>
                  <a:pt x="7604171" y="280210"/>
                </a:cubicBezTo>
                <a:cubicBezTo>
                  <a:pt x="7604171" y="280210"/>
                  <a:pt x="7604171" y="280210"/>
                  <a:pt x="7266466" y="466461"/>
                </a:cubicBezTo>
                <a:cubicBezTo>
                  <a:pt x="7249294" y="477864"/>
                  <a:pt x="7226399" y="470262"/>
                  <a:pt x="7216859" y="453158"/>
                </a:cubicBezTo>
                <a:cubicBezTo>
                  <a:pt x="7207320" y="436053"/>
                  <a:pt x="7213044" y="413247"/>
                  <a:pt x="7230215" y="403744"/>
                </a:cubicBezTo>
                <a:cubicBezTo>
                  <a:pt x="7230215" y="403744"/>
                  <a:pt x="7230215" y="403744"/>
                  <a:pt x="7567920" y="217493"/>
                </a:cubicBezTo>
                <a:cubicBezTo>
                  <a:pt x="7577460" y="212741"/>
                  <a:pt x="7587477" y="211791"/>
                  <a:pt x="7596540" y="214167"/>
                </a:cubicBezTo>
                <a:close/>
                <a:moveTo>
                  <a:pt x="7044758" y="204259"/>
                </a:moveTo>
                <a:cubicBezTo>
                  <a:pt x="7054283" y="207354"/>
                  <a:pt x="7062856" y="214022"/>
                  <a:pt x="7068571" y="223547"/>
                </a:cubicBezTo>
                <a:cubicBezTo>
                  <a:pt x="7070476" y="229262"/>
                  <a:pt x="7072381" y="234977"/>
                  <a:pt x="7072381" y="240692"/>
                </a:cubicBezTo>
                <a:cubicBezTo>
                  <a:pt x="7072381" y="254027"/>
                  <a:pt x="7064761" y="267362"/>
                  <a:pt x="7051425" y="274982"/>
                </a:cubicBezTo>
                <a:cubicBezTo>
                  <a:pt x="7051425" y="274982"/>
                  <a:pt x="7051425" y="274982"/>
                  <a:pt x="6714236" y="452146"/>
                </a:cubicBezTo>
                <a:cubicBezTo>
                  <a:pt x="6695185" y="463576"/>
                  <a:pt x="6672325" y="455956"/>
                  <a:pt x="6662800" y="436906"/>
                </a:cubicBezTo>
                <a:cubicBezTo>
                  <a:pt x="6653275" y="417857"/>
                  <a:pt x="6658990" y="394997"/>
                  <a:pt x="6678040" y="385472"/>
                </a:cubicBezTo>
                <a:cubicBezTo>
                  <a:pt x="6678040" y="385472"/>
                  <a:pt x="6678040" y="385472"/>
                  <a:pt x="7015230" y="206402"/>
                </a:cubicBezTo>
                <a:cubicBezTo>
                  <a:pt x="7024755" y="201639"/>
                  <a:pt x="7035233" y="201163"/>
                  <a:pt x="7044758" y="204259"/>
                </a:cubicBezTo>
                <a:close/>
                <a:moveTo>
                  <a:pt x="6500891" y="194963"/>
                </a:moveTo>
                <a:cubicBezTo>
                  <a:pt x="6510676" y="198292"/>
                  <a:pt x="6519268" y="205427"/>
                  <a:pt x="6524041" y="215892"/>
                </a:cubicBezTo>
                <a:cubicBezTo>
                  <a:pt x="6527860" y="221600"/>
                  <a:pt x="6527860" y="227308"/>
                  <a:pt x="6527860" y="233016"/>
                </a:cubicBezTo>
                <a:cubicBezTo>
                  <a:pt x="6527860" y="248237"/>
                  <a:pt x="6520223" y="261556"/>
                  <a:pt x="6506857" y="269166"/>
                </a:cubicBezTo>
                <a:cubicBezTo>
                  <a:pt x="6506857" y="269166"/>
                  <a:pt x="6506857" y="269166"/>
                  <a:pt x="6166999" y="436601"/>
                </a:cubicBezTo>
                <a:cubicBezTo>
                  <a:pt x="6147906" y="446114"/>
                  <a:pt x="6123085" y="438504"/>
                  <a:pt x="6113538" y="419477"/>
                </a:cubicBezTo>
                <a:cubicBezTo>
                  <a:pt x="6103992" y="400450"/>
                  <a:pt x="6111629" y="375716"/>
                  <a:pt x="6130722" y="366202"/>
                </a:cubicBezTo>
                <a:cubicBezTo>
                  <a:pt x="6130722" y="366202"/>
                  <a:pt x="6130722" y="366202"/>
                  <a:pt x="6470580" y="196865"/>
                </a:cubicBezTo>
                <a:cubicBezTo>
                  <a:pt x="6480127" y="192109"/>
                  <a:pt x="6491105" y="191633"/>
                  <a:pt x="6500891" y="194963"/>
                </a:cubicBezTo>
                <a:close/>
                <a:moveTo>
                  <a:pt x="5957785" y="186367"/>
                </a:moveTo>
                <a:cubicBezTo>
                  <a:pt x="5967786" y="190163"/>
                  <a:pt x="5976358" y="197754"/>
                  <a:pt x="5981120" y="208192"/>
                </a:cubicBezTo>
                <a:cubicBezTo>
                  <a:pt x="5984930" y="213886"/>
                  <a:pt x="5984930" y="219579"/>
                  <a:pt x="5984930" y="225273"/>
                </a:cubicBezTo>
                <a:cubicBezTo>
                  <a:pt x="5984930" y="240455"/>
                  <a:pt x="5977310" y="255638"/>
                  <a:pt x="5962070" y="263230"/>
                </a:cubicBezTo>
                <a:cubicBezTo>
                  <a:pt x="5962070" y="263230"/>
                  <a:pt x="5962070" y="263230"/>
                  <a:pt x="5622984" y="420750"/>
                </a:cubicBezTo>
                <a:cubicBezTo>
                  <a:pt x="5602029" y="430239"/>
                  <a:pt x="5577264" y="422648"/>
                  <a:pt x="5567739" y="401772"/>
                </a:cubicBezTo>
                <a:cubicBezTo>
                  <a:pt x="5556309" y="380896"/>
                  <a:pt x="5565833" y="356224"/>
                  <a:pt x="5586789" y="346734"/>
                </a:cubicBezTo>
                <a:cubicBezTo>
                  <a:pt x="5586789" y="346734"/>
                  <a:pt x="5586789" y="346734"/>
                  <a:pt x="5925877" y="187316"/>
                </a:cubicBezTo>
                <a:cubicBezTo>
                  <a:pt x="5936354" y="182571"/>
                  <a:pt x="5947784" y="182571"/>
                  <a:pt x="5957785" y="186367"/>
                </a:cubicBezTo>
                <a:close/>
                <a:moveTo>
                  <a:pt x="398308" y="186354"/>
                </a:moveTo>
                <a:cubicBezTo>
                  <a:pt x="408309" y="190150"/>
                  <a:pt x="416882" y="197741"/>
                  <a:pt x="421644" y="208179"/>
                </a:cubicBezTo>
                <a:cubicBezTo>
                  <a:pt x="423549" y="213873"/>
                  <a:pt x="425454" y="219566"/>
                  <a:pt x="425454" y="225260"/>
                </a:cubicBezTo>
                <a:cubicBezTo>
                  <a:pt x="425454" y="240442"/>
                  <a:pt x="415929" y="255625"/>
                  <a:pt x="400689" y="263217"/>
                </a:cubicBezTo>
                <a:cubicBezTo>
                  <a:pt x="400689" y="263217"/>
                  <a:pt x="400689" y="263217"/>
                  <a:pt x="61595" y="420738"/>
                </a:cubicBezTo>
                <a:cubicBezTo>
                  <a:pt x="42545" y="430227"/>
                  <a:pt x="17780" y="422635"/>
                  <a:pt x="6349" y="401759"/>
                </a:cubicBezTo>
                <a:cubicBezTo>
                  <a:pt x="-3176" y="380883"/>
                  <a:pt x="6349" y="356211"/>
                  <a:pt x="27305" y="346722"/>
                </a:cubicBezTo>
                <a:cubicBezTo>
                  <a:pt x="27305" y="346722"/>
                  <a:pt x="27305" y="346722"/>
                  <a:pt x="366399" y="187303"/>
                </a:cubicBezTo>
                <a:cubicBezTo>
                  <a:pt x="376876" y="182559"/>
                  <a:pt x="388307" y="182559"/>
                  <a:pt x="398308" y="186354"/>
                </a:cubicBezTo>
                <a:close/>
                <a:moveTo>
                  <a:pt x="5409190" y="176874"/>
                </a:moveTo>
                <a:cubicBezTo>
                  <a:pt x="5419652" y="180684"/>
                  <a:pt x="5428687" y="188304"/>
                  <a:pt x="5433442" y="198782"/>
                </a:cubicBezTo>
                <a:cubicBezTo>
                  <a:pt x="5435345" y="204497"/>
                  <a:pt x="5437247" y="212117"/>
                  <a:pt x="5437247" y="217832"/>
                </a:cubicBezTo>
                <a:cubicBezTo>
                  <a:pt x="5437247" y="233072"/>
                  <a:pt x="5427736" y="250217"/>
                  <a:pt x="5410617" y="255932"/>
                </a:cubicBezTo>
                <a:cubicBezTo>
                  <a:pt x="5410617" y="255932"/>
                  <a:pt x="5410617" y="255932"/>
                  <a:pt x="5072019" y="406426"/>
                </a:cubicBezTo>
                <a:cubicBezTo>
                  <a:pt x="5049194" y="415951"/>
                  <a:pt x="5024468" y="406426"/>
                  <a:pt x="5014958" y="385471"/>
                </a:cubicBezTo>
                <a:cubicBezTo>
                  <a:pt x="5005447" y="362611"/>
                  <a:pt x="5014958" y="337846"/>
                  <a:pt x="5035880" y="328321"/>
                </a:cubicBezTo>
                <a:cubicBezTo>
                  <a:pt x="5035880" y="328321"/>
                  <a:pt x="5035880" y="328321"/>
                  <a:pt x="5376377" y="177827"/>
                </a:cubicBezTo>
                <a:cubicBezTo>
                  <a:pt x="5386840" y="173064"/>
                  <a:pt x="5398728" y="173064"/>
                  <a:pt x="5409190" y="176874"/>
                </a:cubicBezTo>
                <a:close/>
                <a:moveTo>
                  <a:pt x="942624" y="176859"/>
                </a:moveTo>
                <a:cubicBezTo>
                  <a:pt x="952848" y="180669"/>
                  <a:pt x="961408" y="188289"/>
                  <a:pt x="966164" y="198766"/>
                </a:cubicBezTo>
                <a:cubicBezTo>
                  <a:pt x="968066" y="204481"/>
                  <a:pt x="969968" y="212101"/>
                  <a:pt x="969968" y="217816"/>
                </a:cubicBezTo>
                <a:cubicBezTo>
                  <a:pt x="969968" y="233056"/>
                  <a:pt x="960457" y="250201"/>
                  <a:pt x="945239" y="255916"/>
                </a:cubicBezTo>
                <a:cubicBezTo>
                  <a:pt x="945239" y="255916"/>
                  <a:pt x="945239" y="255916"/>
                  <a:pt x="604741" y="406411"/>
                </a:cubicBezTo>
                <a:cubicBezTo>
                  <a:pt x="583816" y="415936"/>
                  <a:pt x="557185" y="406411"/>
                  <a:pt x="547674" y="385456"/>
                </a:cubicBezTo>
                <a:cubicBezTo>
                  <a:pt x="538163" y="362596"/>
                  <a:pt x="547674" y="337831"/>
                  <a:pt x="570501" y="328306"/>
                </a:cubicBezTo>
                <a:cubicBezTo>
                  <a:pt x="570501" y="328306"/>
                  <a:pt x="570501" y="328306"/>
                  <a:pt x="909097" y="177812"/>
                </a:cubicBezTo>
                <a:cubicBezTo>
                  <a:pt x="920510" y="173049"/>
                  <a:pt x="932399" y="173049"/>
                  <a:pt x="942624" y="176859"/>
                </a:cubicBezTo>
                <a:close/>
                <a:moveTo>
                  <a:pt x="4856423" y="167564"/>
                </a:moveTo>
                <a:cubicBezTo>
                  <a:pt x="4867146" y="171602"/>
                  <a:pt x="4876205" y="179677"/>
                  <a:pt x="4880971" y="191077"/>
                </a:cubicBezTo>
                <a:cubicBezTo>
                  <a:pt x="4882880" y="196777"/>
                  <a:pt x="4884786" y="202476"/>
                  <a:pt x="4884786" y="208176"/>
                </a:cubicBezTo>
                <a:cubicBezTo>
                  <a:pt x="4884786" y="227176"/>
                  <a:pt x="4875252" y="242376"/>
                  <a:pt x="4856184" y="249976"/>
                </a:cubicBezTo>
                <a:cubicBezTo>
                  <a:pt x="4856184" y="249976"/>
                  <a:pt x="4856184" y="249976"/>
                  <a:pt x="4516851" y="390576"/>
                </a:cubicBezTo>
                <a:cubicBezTo>
                  <a:pt x="4493973" y="400076"/>
                  <a:pt x="4467282" y="390576"/>
                  <a:pt x="4457750" y="367776"/>
                </a:cubicBezTo>
                <a:cubicBezTo>
                  <a:pt x="4448219" y="343076"/>
                  <a:pt x="4459658" y="318376"/>
                  <a:pt x="4482534" y="308876"/>
                </a:cubicBezTo>
                <a:cubicBezTo>
                  <a:pt x="4482534" y="308876"/>
                  <a:pt x="4482534" y="308876"/>
                  <a:pt x="4821864" y="168277"/>
                </a:cubicBezTo>
                <a:cubicBezTo>
                  <a:pt x="4833303" y="163527"/>
                  <a:pt x="4845697" y="163527"/>
                  <a:pt x="4856423" y="167564"/>
                </a:cubicBezTo>
                <a:close/>
                <a:moveTo>
                  <a:pt x="1492476" y="167547"/>
                </a:moveTo>
                <a:cubicBezTo>
                  <a:pt x="1503199" y="171584"/>
                  <a:pt x="1512255" y="179659"/>
                  <a:pt x="1517021" y="191059"/>
                </a:cubicBezTo>
                <a:cubicBezTo>
                  <a:pt x="1518927" y="196759"/>
                  <a:pt x="1520833" y="202459"/>
                  <a:pt x="1520833" y="208159"/>
                </a:cubicBezTo>
                <a:cubicBezTo>
                  <a:pt x="1520833" y="227159"/>
                  <a:pt x="1509395" y="242359"/>
                  <a:pt x="1492237" y="249959"/>
                </a:cubicBezTo>
                <a:cubicBezTo>
                  <a:pt x="1492237" y="249959"/>
                  <a:pt x="1492237" y="249959"/>
                  <a:pt x="1150990" y="390559"/>
                </a:cubicBezTo>
                <a:cubicBezTo>
                  <a:pt x="1128114" y="400059"/>
                  <a:pt x="1103330" y="390559"/>
                  <a:pt x="1093798" y="367759"/>
                </a:cubicBezTo>
                <a:cubicBezTo>
                  <a:pt x="1084266" y="343059"/>
                  <a:pt x="1093798" y="318359"/>
                  <a:pt x="1116675" y="308859"/>
                </a:cubicBezTo>
                <a:cubicBezTo>
                  <a:pt x="1116675" y="308859"/>
                  <a:pt x="1116675" y="308859"/>
                  <a:pt x="1457922" y="168259"/>
                </a:cubicBezTo>
                <a:cubicBezTo>
                  <a:pt x="1469360" y="163509"/>
                  <a:pt x="1481752" y="163509"/>
                  <a:pt x="1492476" y="167547"/>
                </a:cubicBezTo>
                <a:close/>
                <a:moveTo>
                  <a:pt x="4266102" y="156882"/>
                </a:moveTo>
                <a:cubicBezTo>
                  <a:pt x="4289029" y="149252"/>
                  <a:pt x="4315778" y="160697"/>
                  <a:pt x="4325330" y="183588"/>
                </a:cubicBezTo>
                <a:cubicBezTo>
                  <a:pt x="4327241" y="189310"/>
                  <a:pt x="4329151" y="195033"/>
                  <a:pt x="4329151" y="200756"/>
                </a:cubicBezTo>
                <a:cubicBezTo>
                  <a:pt x="4329151" y="219831"/>
                  <a:pt x="4317688" y="236999"/>
                  <a:pt x="4298581" y="244630"/>
                </a:cubicBezTo>
                <a:cubicBezTo>
                  <a:pt x="4298581" y="244630"/>
                  <a:pt x="4298581" y="244630"/>
                  <a:pt x="3956620" y="376251"/>
                </a:cubicBezTo>
                <a:cubicBezTo>
                  <a:pt x="3933691" y="385789"/>
                  <a:pt x="3906942" y="374344"/>
                  <a:pt x="3897391" y="349546"/>
                </a:cubicBezTo>
                <a:cubicBezTo>
                  <a:pt x="3887839" y="326655"/>
                  <a:pt x="3899302" y="299949"/>
                  <a:pt x="3924139" y="290411"/>
                </a:cubicBezTo>
                <a:cubicBezTo>
                  <a:pt x="3924139" y="290411"/>
                  <a:pt x="3924139" y="290411"/>
                  <a:pt x="4266102" y="156882"/>
                </a:cubicBezTo>
                <a:close/>
                <a:moveTo>
                  <a:pt x="2010467" y="156862"/>
                </a:moveTo>
                <a:cubicBezTo>
                  <a:pt x="2035214" y="149232"/>
                  <a:pt x="2061870" y="160677"/>
                  <a:pt x="2071389" y="183568"/>
                </a:cubicBezTo>
                <a:cubicBezTo>
                  <a:pt x="2073291" y="189291"/>
                  <a:pt x="2073291" y="195013"/>
                  <a:pt x="2073291" y="200736"/>
                </a:cubicBezTo>
                <a:cubicBezTo>
                  <a:pt x="2073291" y="219812"/>
                  <a:pt x="2061870" y="236980"/>
                  <a:pt x="2044733" y="244610"/>
                </a:cubicBezTo>
                <a:cubicBezTo>
                  <a:pt x="2044733" y="244610"/>
                  <a:pt x="2044733" y="244610"/>
                  <a:pt x="1703979" y="376232"/>
                </a:cubicBezTo>
                <a:cubicBezTo>
                  <a:pt x="1679231" y="385770"/>
                  <a:pt x="1652580" y="374325"/>
                  <a:pt x="1643062" y="349526"/>
                </a:cubicBezTo>
                <a:cubicBezTo>
                  <a:pt x="1633544" y="326635"/>
                  <a:pt x="1644966" y="299930"/>
                  <a:pt x="1669713" y="290392"/>
                </a:cubicBezTo>
                <a:cubicBezTo>
                  <a:pt x="1669713" y="290392"/>
                  <a:pt x="1669713" y="290392"/>
                  <a:pt x="2010467" y="156862"/>
                </a:cubicBezTo>
                <a:close/>
                <a:moveTo>
                  <a:pt x="3720655" y="144611"/>
                </a:moveTo>
                <a:cubicBezTo>
                  <a:pt x="3739815" y="145502"/>
                  <a:pt x="3756568" y="157613"/>
                  <a:pt x="3763695" y="176135"/>
                </a:cubicBezTo>
                <a:cubicBezTo>
                  <a:pt x="3765597" y="181835"/>
                  <a:pt x="3765597" y="187534"/>
                  <a:pt x="3765597" y="193233"/>
                </a:cubicBezTo>
                <a:cubicBezTo>
                  <a:pt x="3765597" y="212231"/>
                  <a:pt x="3754192" y="231229"/>
                  <a:pt x="3735180" y="238828"/>
                </a:cubicBezTo>
                <a:cubicBezTo>
                  <a:pt x="3735180" y="238828"/>
                  <a:pt x="3735180" y="238828"/>
                  <a:pt x="3393026" y="360415"/>
                </a:cubicBezTo>
                <a:cubicBezTo>
                  <a:pt x="3368312" y="369914"/>
                  <a:pt x="3341698" y="356616"/>
                  <a:pt x="3332194" y="331918"/>
                </a:cubicBezTo>
                <a:cubicBezTo>
                  <a:pt x="3322690" y="307221"/>
                  <a:pt x="3335995" y="278724"/>
                  <a:pt x="3360709" y="271125"/>
                </a:cubicBezTo>
                <a:cubicBezTo>
                  <a:pt x="3360709" y="271125"/>
                  <a:pt x="3360709" y="271125"/>
                  <a:pt x="3700965" y="147639"/>
                </a:cubicBezTo>
                <a:cubicBezTo>
                  <a:pt x="3707619" y="145264"/>
                  <a:pt x="3714270" y="144314"/>
                  <a:pt x="3720655" y="144611"/>
                </a:cubicBezTo>
                <a:close/>
                <a:moveTo>
                  <a:pt x="2586993" y="144589"/>
                </a:moveTo>
                <a:cubicBezTo>
                  <a:pt x="2606219" y="145480"/>
                  <a:pt x="2623032" y="157591"/>
                  <a:pt x="2630185" y="176114"/>
                </a:cubicBezTo>
                <a:cubicBezTo>
                  <a:pt x="2632093" y="181813"/>
                  <a:pt x="2632093" y="187512"/>
                  <a:pt x="2632093" y="193212"/>
                </a:cubicBezTo>
                <a:cubicBezTo>
                  <a:pt x="2632093" y="212210"/>
                  <a:pt x="2620647" y="231208"/>
                  <a:pt x="2601569" y="238807"/>
                </a:cubicBezTo>
                <a:cubicBezTo>
                  <a:pt x="2601569" y="238807"/>
                  <a:pt x="2601569" y="238807"/>
                  <a:pt x="2258175" y="360394"/>
                </a:cubicBezTo>
                <a:cubicBezTo>
                  <a:pt x="2233374" y="369893"/>
                  <a:pt x="2206666" y="356594"/>
                  <a:pt x="2197127" y="331897"/>
                </a:cubicBezTo>
                <a:cubicBezTo>
                  <a:pt x="2187588" y="307199"/>
                  <a:pt x="2200943" y="278702"/>
                  <a:pt x="2225743" y="271103"/>
                </a:cubicBezTo>
                <a:cubicBezTo>
                  <a:pt x="2225743" y="271103"/>
                  <a:pt x="2225743" y="271103"/>
                  <a:pt x="2567230" y="147617"/>
                </a:cubicBezTo>
                <a:cubicBezTo>
                  <a:pt x="2573907" y="145242"/>
                  <a:pt x="2580585" y="144292"/>
                  <a:pt x="2586993" y="144589"/>
                </a:cubicBezTo>
                <a:close/>
                <a:moveTo>
                  <a:pt x="3149046" y="135364"/>
                </a:moveTo>
                <a:cubicBezTo>
                  <a:pt x="3168678" y="136784"/>
                  <a:pt x="3186168" y="149926"/>
                  <a:pt x="3191880" y="168396"/>
                </a:cubicBezTo>
                <a:cubicBezTo>
                  <a:pt x="3193780" y="174078"/>
                  <a:pt x="3195686" y="179761"/>
                  <a:pt x="3195686" y="185444"/>
                </a:cubicBezTo>
                <a:cubicBezTo>
                  <a:pt x="3195686" y="206282"/>
                  <a:pt x="3182361" y="225225"/>
                  <a:pt x="3161419" y="232802"/>
                </a:cubicBezTo>
                <a:cubicBezTo>
                  <a:pt x="3161419" y="232802"/>
                  <a:pt x="3161419" y="232802"/>
                  <a:pt x="2818756" y="344567"/>
                </a:cubicBezTo>
                <a:cubicBezTo>
                  <a:pt x="2794009" y="354039"/>
                  <a:pt x="2765453" y="338884"/>
                  <a:pt x="2755934" y="314258"/>
                </a:cubicBezTo>
                <a:cubicBezTo>
                  <a:pt x="2746414" y="287738"/>
                  <a:pt x="2761646" y="259323"/>
                  <a:pt x="2788294" y="249851"/>
                </a:cubicBezTo>
                <a:cubicBezTo>
                  <a:pt x="2788294" y="249851"/>
                  <a:pt x="2788294" y="249851"/>
                  <a:pt x="3129057" y="138087"/>
                </a:cubicBezTo>
                <a:cubicBezTo>
                  <a:pt x="3135720" y="135719"/>
                  <a:pt x="3142502" y="134890"/>
                  <a:pt x="3149046" y="135364"/>
                </a:cubicBezTo>
                <a:close/>
                <a:moveTo>
                  <a:pt x="9144187" y="30"/>
                </a:moveTo>
                <a:cubicBezTo>
                  <a:pt x="9144187" y="30"/>
                  <a:pt x="9144187" y="30"/>
                  <a:pt x="9275861" y="30"/>
                </a:cubicBezTo>
                <a:cubicBezTo>
                  <a:pt x="9275861" y="30"/>
                  <a:pt x="9275861" y="30"/>
                  <a:pt x="8962897" y="187323"/>
                </a:cubicBezTo>
                <a:cubicBezTo>
                  <a:pt x="8947631" y="196878"/>
                  <a:pt x="8926639" y="193056"/>
                  <a:pt x="8917098" y="175856"/>
                </a:cubicBezTo>
                <a:cubicBezTo>
                  <a:pt x="8907556" y="160567"/>
                  <a:pt x="8913281" y="139544"/>
                  <a:pt x="8928547" y="129989"/>
                </a:cubicBezTo>
                <a:cubicBezTo>
                  <a:pt x="8928547" y="129989"/>
                  <a:pt x="8928547" y="129989"/>
                  <a:pt x="9144187" y="30"/>
                </a:cubicBezTo>
                <a:close/>
                <a:moveTo>
                  <a:pt x="8549535" y="29"/>
                </a:moveTo>
                <a:cubicBezTo>
                  <a:pt x="8549535" y="29"/>
                  <a:pt x="8549535" y="29"/>
                  <a:pt x="8688477" y="29"/>
                </a:cubicBezTo>
                <a:cubicBezTo>
                  <a:pt x="8688477" y="29"/>
                  <a:pt x="8688477" y="29"/>
                  <a:pt x="8391560" y="173083"/>
                </a:cubicBezTo>
                <a:cubicBezTo>
                  <a:pt x="8374430" y="182592"/>
                  <a:pt x="8353493" y="176886"/>
                  <a:pt x="8343977" y="159771"/>
                </a:cubicBezTo>
                <a:cubicBezTo>
                  <a:pt x="8334460" y="142656"/>
                  <a:pt x="8340170" y="121738"/>
                  <a:pt x="8357300" y="112230"/>
                </a:cubicBezTo>
                <a:cubicBezTo>
                  <a:pt x="8357300" y="112230"/>
                  <a:pt x="8357300" y="112230"/>
                  <a:pt x="8549535" y="29"/>
                </a:cubicBezTo>
                <a:close/>
                <a:moveTo>
                  <a:pt x="7958714" y="29"/>
                </a:moveTo>
                <a:cubicBezTo>
                  <a:pt x="7958714" y="29"/>
                  <a:pt x="7958714" y="29"/>
                  <a:pt x="8107445" y="29"/>
                </a:cubicBezTo>
                <a:cubicBezTo>
                  <a:pt x="8107445" y="29"/>
                  <a:pt x="8107445" y="29"/>
                  <a:pt x="7825239" y="158743"/>
                </a:cubicBezTo>
                <a:cubicBezTo>
                  <a:pt x="7808077" y="168304"/>
                  <a:pt x="7785196" y="162567"/>
                  <a:pt x="7775662" y="145357"/>
                </a:cubicBezTo>
                <a:cubicBezTo>
                  <a:pt x="7766128" y="126235"/>
                  <a:pt x="7773755" y="105201"/>
                  <a:pt x="7790916" y="95640"/>
                </a:cubicBezTo>
                <a:cubicBezTo>
                  <a:pt x="7790916" y="95640"/>
                  <a:pt x="7790916" y="95640"/>
                  <a:pt x="7958714" y="29"/>
                </a:cubicBezTo>
                <a:close/>
                <a:moveTo>
                  <a:pt x="7373861" y="29"/>
                </a:moveTo>
                <a:cubicBezTo>
                  <a:pt x="7373861" y="29"/>
                  <a:pt x="7373861" y="29"/>
                  <a:pt x="7534349" y="29"/>
                </a:cubicBezTo>
                <a:cubicBezTo>
                  <a:pt x="7534349" y="29"/>
                  <a:pt x="7534349" y="29"/>
                  <a:pt x="7266870" y="142904"/>
                </a:cubicBezTo>
                <a:cubicBezTo>
                  <a:pt x="7247764" y="152429"/>
                  <a:pt x="7224837" y="146714"/>
                  <a:pt x="7215285" y="127664"/>
                </a:cubicBezTo>
                <a:cubicBezTo>
                  <a:pt x="7205732" y="110519"/>
                  <a:pt x="7213374" y="87659"/>
                  <a:pt x="7230569" y="76229"/>
                </a:cubicBezTo>
                <a:cubicBezTo>
                  <a:pt x="7230569" y="76229"/>
                  <a:pt x="7230569" y="76229"/>
                  <a:pt x="7373861" y="29"/>
                </a:cubicBezTo>
                <a:close/>
                <a:moveTo>
                  <a:pt x="6792947" y="29"/>
                </a:moveTo>
                <a:cubicBezTo>
                  <a:pt x="6792947" y="29"/>
                  <a:pt x="6792947" y="29"/>
                  <a:pt x="6962841" y="29"/>
                </a:cubicBezTo>
                <a:cubicBezTo>
                  <a:pt x="6962841" y="29"/>
                  <a:pt x="6962841" y="29"/>
                  <a:pt x="6714681" y="130160"/>
                </a:cubicBezTo>
                <a:cubicBezTo>
                  <a:pt x="6695592" y="139729"/>
                  <a:pt x="6670776" y="132074"/>
                  <a:pt x="6661231" y="112937"/>
                </a:cubicBezTo>
                <a:cubicBezTo>
                  <a:pt x="6651687" y="93800"/>
                  <a:pt x="6659322" y="68922"/>
                  <a:pt x="6678412" y="59354"/>
                </a:cubicBezTo>
                <a:cubicBezTo>
                  <a:pt x="6678412" y="59354"/>
                  <a:pt x="6678412" y="59354"/>
                  <a:pt x="6792947" y="29"/>
                </a:cubicBezTo>
                <a:close/>
                <a:moveTo>
                  <a:pt x="6214724" y="29"/>
                </a:moveTo>
                <a:cubicBezTo>
                  <a:pt x="6214724" y="29"/>
                  <a:pt x="6214724" y="29"/>
                  <a:pt x="6396096" y="29"/>
                </a:cubicBezTo>
                <a:cubicBezTo>
                  <a:pt x="6396096" y="29"/>
                  <a:pt x="6396096" y="29"/>
                  <a:pt x="6166995" y="114329"/>
                </a:cubicBezTo>
                <a:cubicBezTo>
                  <a:pt x="6147903" y="123854"/>
                  <a:pt x="6123084" y="116234"/>
                  <a:pt x="6113538" y="95279"/>
                </a:cubicBezTo>
                <a:cubicBezTo>
                  <a:pt x="6103992" y="76229"/>
                  <a:pt x="6111628" y="51464"/>
                  <a:pt x="6130720" y="41939"/>
                </a:cubicBezTo>
                <a:cubicBezTo>
                  <a:pt x="6130720" y="41939"/>
                  <a:pt x="6130720" y="41939"/>
                  <a:pt x="6214724" y="29"/>
                </a:cubicBezTo>
                <a:close/>
                <a:moveTo>
                  <a:pt x="5637626" y="29"/>
                </a:moveTo>
                <a:cubicBezTo>
                  <a:pt x="5637626" y="29"/>
                  <a:pt x="5637626" y="29"/>
                  <a:pt x="5829356" y="29"/>
                </a:cubicBezTo>
                <a:cubicBezTo>
                  <a:pt x="5829356" y="29"/>
                  <a:pt x="5829356" y="29"/>
                  <a:pt x="5622440" y="99958"/>
                </a:cubicBezTo>
                <a:cubicBezTo>
                  <a:pt x="5601558" y="109567"/>
                  <a:pt x="5576879" y="101880"/>
                  <a:pt x="5567388" y="80741"/>
                </a:cubicBezTo>
                <a:cubicBezTo>
                  <a:pt x="5557896" y="59602"/>
                  <a:pt x="5565490" y="34620"/>
                  <a:pt x="5586371" y="25011"/>
                </a:cubicBezTo>
                <a:cubicBezTo>
                  <a:pt x="5586371" y="25011"/>
                  <a:pt x="5586371" y="25011"/>
                  <a:pt x="5637626" y="29"/>
                </a:cubicBezTo>
                <a:close/>
                <a:moveTo>
                  <a:pt x="5050991" y="29"/>
                </a:moveTo>
                <a:cubicBezTo>
                  <a:pt x="5050991" y="29"/>
                  <a:pt x="5050991" y="29"/>
                  <a:pt x="5257856" y="29"/>
                </a:cubicBezTo>
                <a:cubicBezTo>
                  <a:pt x="5257856" y="29"/>
                  <a:pt x="5257856" y="29"/>
                  <a:pt x="5071865" y="83849"/>
                </a:cubicBezTo>
                <a:cubicBezTo>
                  <a:pt x="5050991" y="95279"/>
                  <a:pt x="5024423" y="85754"/>
                  <a:pt x="5014936" y="62894"/>
                </a:cubicBezTo>
                <a:cubicBezTo>
                  <a:pt x="5005447" y="41939"/>
                  <a:pt x="5014936" y="17174"/>
                  <a:pt x="5037707" y="7649"/>
                </a:cubicBezTo>
                <a:cubicBezTo>
                  <a:pt x="5037707" y="7649"/>
                  <a:pt x="5037707" y="7649"/>
                  <a:pt x="5050991" y="29"/>
                </a:cubicBezTo>
                <a:close/>
                <a:moveTo>
                  <a:pt x="4468137" y="29"/>
                </a:moveTo>
                <a:cubicBezTo>
                  <a:pt x="4468137" y="29"/>
                  <a:pt x="4468137" y="29"/>
                  <a:pt x="4678410" y="29"/>
                </a:cubicBezTo>
                <a:cubicBezTo>
                  <a:pt x="4678410" y="29"/>
                  <a:pt x="4678410" y="29"/>
                  <a:pt x="4517388" y="71353"/>
                </a:cubicBezTo>
                <a:cubicBezTo>
                  <a:pt x="4494658" y="80992"/>
                  <a:pt x="4470031" y="69426"/>
                  <a:pt x="4460559" y="48221"/>
                </a:cubicBezTo>
                <a:cubicBezTo>
                  <a:pt x="4452982" y="30872"/>
                  <a:pt x="4456770" y="13523"/>
                  <a:pt x="4468137" y="29"/>
                </a:cubicBezTo>
                <a:close/>
                <a:moveTo>
                  <a:pt x="3898004" y="29"/>
                </a:moveTo>
                <a:cubicBezTo>
                  <a:pt x="3898004" y="29"/>
                  <a:pt x="3898004" y="29"/>
                  <a:pt x="4092633" y="29"/>
                </a:cubicBezTo>
                <a:cubicBezTo>
                  <a:pt x="4092633" y="29"/>
                  <a:pt x="4092633" y="29"/>
                  <a:pt x="3959064" y="55545"/>
                </a:cubicBezTo>
                <a:cubicBezTo>
                  <a:pt x="3936168" y="65117"/>
                  <a:pt x="3909453" y="53630"/>
                  <a:pt x="3899911" y="30658"/>
                </a:cubicBezTo>
                <a:cubicBezTo>
                  <a:pt x="3896097" y="21087"/>
                  <a:pt x="3894188" y="9600"/>
                  <a:pt x="3898004" y="29"/>
                </a:cubicBezTo>
                <a:close/>
                <a:moveTo>
                  <a:pt x="3332214" y="29"/>
                </a:moveTo>
                <a:cubicBezTo>
                  <a:pt x="3332214" y="29"/>
                  <a:pt x="3332214" y="29"/>
                  <a:pt x="3497315" y="29"/>
                </a:cubicBezTo>
                <a:cubicBezTo>
                  <a:pt x="3497315" y="29"/>
                  <a:pt x="3497315" y="29"/>
                  <a:pt x="3394843" y="41670"/>
                </a:cubicBezTo>
                <a:cubicBezTo>
                  <a:pt x="3370170" y="49241"/>
                  <a:pt x="3343603" y="37885"/>
                  <a:pt x="3334112" y="15171"/>
                </a:cubicBezTo>
                <a:cubicBezTo>
                  <a:pt x="3332214" y="9493"/>
                  <a:pt x="3332214" y="5707"/>
                  <a:pt x="3332214" y="29"/>
                </a:cubicBezTo>
                <a:close/>
                <a:moveTo>
                  <a:pt x="2760704" y="28"/>
                </a:moveTo>
                <a:cubicBezTo>
                  <a:pt x="2760704" y="28"/>
                  <a:pt x="2760704" y="28"/>
                  <a:pt x="2890879" y="28"/>
                </a:cubicBezTo>
                <a:cubicBezTo>
                  <a:pt x="2890879" y="28"/>
                  <a:pt x="2890879" y="28"/>
                  <a:pt x="2821076" y="27192"/>
                </a:cubicBezTo>
                <a:cubicBezTo>
                  <a:pt x="2796550" y="34954"/>
                  <a:pt x="2772022" y="23312"/>
                  <a:pt x="2760704" y="28"/>
                </a:cubicBezTo>
                <a:close/>
                <a:moveTo>
                  <a:pt x="11404328" y="19"/>
                </a:moveTo>
                <a:cubicBezTo>
                  <a:pt x="11404328" y="19"/>
                  <a:pt x="11404328" y="19"/>
                  <a:pt x="11552367" y="19"/>
                </a:cubicBezTo>
                <a:cubicBezTo>
                  <a:pt x="11552367" y="19"/>
                  <a:pt x="11552367" y="19"/>
                  <a:pt x="11271473" y="158733"/>
                </a:cubicBezTo>
                <a:cubicBezTo>
                  <a:pt x="11254392" y="168294"/>
                  <a:pt x="11231616" y="162557"/>
                  <a:pt x="11222127" y="145347"/>
                </a:cubicBezTo>
                <a:cubicBezTo>
                  <a:pt x="11212637" y="126225"/>
                  <a:pt x="11218331" y="105191"/>
                  <a:pt x="11235412" y="95630"/>
                </a:cubicBezTo>
                <a:cubicBezTo>
                  <a:pt x="11235412" y="95630"/>
                  <a:pt x="11235412" y="95630"/>
                  <a:pt x="11404328" y="19"/>
                </a:cubicBezTo>
                <a:close/>
                <a:moveTo>
                  <a:pt x="11942099" y="17"/>
                </a:moveTo>
                <a:cubicBezTo>
                  <a:pt x="11942099" y="17"/>
                  <a:pt x="11942099" y="17"/>
                  <a:pt x="12100062" y="17"/>
                </a:cubicBezTo>
                <a:cubicBezTo>
                  <a:pt x="12100062" y="17"/>
                  <a:pt x="12100062" y="17"/>
                  <a:pt x="11835521" y="142892"/>
                </a:cubicBezTo>
                <a:cubicBezTo>
                  <a:pt x="11816490" y="152417"/>
                  <a:pt x="11793652" y="146702"/>
                  <a:pt x="11784136" y="127652"/>
                </a:cubicBezTo>
                <a:cubicBezTo>
                  <a:pt x="11774620" y="110507"/>
                  <a:pt x="11780330" y="87647"/>
                  <a:pt x="11799361" y="76217"/>
                </a:cubicBezTo>
                <a:cubicBezTo>
                  <a:pt x="11799361" y="76217"/>
                  <a:pt x="11799361" y="76217"/>
                  <a:pt x="11942099" y="17"/>
                </a:cubicBezTo>
                <a:close/>
                <a:moveTo>
                  <a:pt x="76928" y="14"/>
                </a:moveTo>
                <a:cubicBezTo>
                  <a:pt x="76928" y="14"/>
                  <a:pt x="76928" y="14"/>
                  <a:pt x="271465" y="14"/>
                </a:cubicBezTo>
                <a:cubicBezTo>
                  <a:pt x="271465" y="14"/>
                  <a:pt x="271465" y="14"/>
                  <a:pt x="63577" y="99944"/>
                </a:cubicBezTo>
                <a:cubicBezTo>
                  <a:pt x="42598" y="109552"/>
                  <a:pt x="17804" y="101866"/>
                  <a:pt x="8268" y="80727"/>
                </a:cubicBezTo>
                <a:cubicBezTo>
                  <a:pt x="-3175" y="59588"/>
                  <a:pt x="6361" y="34605"/>
                  <a:pt x="27340" y="24997"/>
                </a:cubicBezTo>
                <a:cubicBezTo>
                  <a:pt x="27340" y="24997"/>
                  <a:pt x="27340" y="24997"/>
                  <a:pt x="76928" y="14"/>
                </a:cubicBezTo>
                <a:close/>
                <a:moveTo>
                  <a:pt x="583733" y="12"/>
                </a:moveTo>
                <a:cubicBezTo>
                  <a:pt x="583733" y="12"/>
                  <a:pt x="583733" y="12"/>
                  <a:pt x="792167" y="12"/>
                </a:cubicBezTo>
                <a:cubicBezTo>
                  <a:pt x="792167" y="12"/>
                  <a:pt x="792167" y="12"/>
                  <a:pt x="604767" y="83832"/>
                </a:cubicBezTo>
                <a:cubicBezTo>
                  <a:pt x="583733" y="95262"/>
                  <a:pt x="558874" y="85737"/>
                  <a:pt x="549312" y="62877"/>
                </a:cubicBezTo>
                <a:cubicBezTo>
                  <a:pt x="539751" y="41922"/>
                  <a:pt x="549312" y="17157"/>
                  <a:pt x="570347" y="7632"/>
                </a:cubicBezTo>
                <a:cubicBezTo>
                  <a:pt x="570347" y="7632"/>
                  <a:pt x="570347" y="7632"/>
                  <a:pt x="583733" y="12"/>
                </a:cubicBezTo>
                <a:close/>
                <a:moveTo>
                  <a:pt x="1102307" y="10"/>
                </a:moveTo>
                <a:cubicBezTo>
                  <a:pt x="1102307" y="10"/>
                  <a:pt x="1102307" y="10"/>
                  <a:pt x="1312869" y="10"/>
                </a:cubicBezTo>
                <a:cubicBezTo>
                  <a:pt x="1312869" y="10"/>
                  <a:pt x="1312869" y="10"/>
                  <a:pt x="1153525" y="71334"/>
                </a:cubicBezTo>
                <a:cubicBezTo>
                  <a:pt x="1130761" y="80973"/>
                  <a:pt x="1104204" y="69406"/>
                  <a:pt x="1094719" y="48202"/>
                </a:cubicBezTo>
                <a:cubicBezTo>
                  <a:pt x="1089028" y="30853"/>
                  <a:pt x="1090925" y="13503"/>
                  <a:pt x="1102307" y="10"/>
                </a:cubicBezTo>
                <a:close/>
                <a:moveTo>
                  <a:pt x="1643393" y="7"/>
                </a:moveTo>
                <a:cubicBezTo>
                  <a:pt x="1643393" y="7"/>
                  <a:pt x="1643393" y="7"/>
                  <a:pt x="1838335" y="7"/>
                </a:cubicBezTo>
                <a:cubicBezTo>
                  <a:pt x="1838335" y="7"/>
                  <a:pt x="1838335" y="7"/>
                  <a:pt x="1704551" y="55524"/>
                </a:cubicBezTo>
                <a:cubicBezTo>
                  <a:pt x="1681617" y="65095"/>
                  <a:pt x="1654860" y="53609"/>
                  <a:pt x="1645304" y="30637"/>
                </a:cubicBezTo>
                <a:cubicBezTo>
                  <a:pt x="1641482" y="21065"/>
                  <a:pt x="1641482" y="9579"/>
                  <a:pt x="1643393" y="7"/>
                </a:cubicBezTo>
                <a:close/>
                <a:moveTo>
                  <a:pt x="2197113" y="5"/>
                </a:moveTo>
                <a:cubicBezTo>
                  <a:pt x="2197113" y="5"/>
                  <a:pt x="2197113" y="5"/>
                  <a:pt x="2363803" y="5"/>
                </a:cubicBezTo>
                <a:cubicBezTo>
                  <a:pt x="2363803" y="5"/>
                  <a:pt x="2363803" y="5"/>
                  <a:pt x="2260340" y="41647"/>
                </a:cubicBezTo>
                <a:cubicBezTo>
                  <a:pt x="2235433" y="49218"/>
                  <a:pt x="2208609" y="37861"/>
                  <a:pt x="2199030" y="15147"/>
                </a:cubicBezTo>
                <a:cubicBezTo>
                  <a:pt x="2197113" y="9469"/>
                  <a:pt x="2197113" y="5683"/>
                  <a:pt x="2197113" y="5"/>
                </a:cubicBezTo>
                <a:close/>
                <a:moveTo>
                  <a:pt x="9742489" y="4"/>
                </a:moveTo>
                <a:cubicBezTo>
                  <a:pt x="9742489" y="4"/>
                  <a:pt x="9742489" y="4"/>
                  <a:pt x="9866419" y="4"/>
                </a:cubicBezTo>
                <a:cubicBezTo>
                  <a:pt x="9866419" y="4"/>
                  <a:pt x="9866419" y="4"/>
                  <a:pt x="9542293" y="201631"/>
                </a:cubicBezTo>
                <a:cubicBezTo>
                  <a:pt x="9527040" y="211142"/>
                  <a:pt x="9506067" y="207338"/>
                  <a:pt x="9496534" y="192120"/>
                </a:cubicBezTo>
                <a:cubicBezTo>
                  <a:pt x="9487001" y="176903"/>
                  <a:pt x="9492721" y="155980"/>
                  <a:pt x="9507974" y="146469"/>
                </a:cubicBezTo>
                <a:cubicBezTo>
                  <a:pt x="9507974" y="146469"/>
                  <a:pt x="9507974" y="146469"/>
                  <a:pt x="9742489" y="4"/>
                </a:cubicBezTo>
                <a:close/>
                <a:moveTo>
                  <a:pt x="10304665" y="2"/>
                </a:moveTo>
                <a:cubicBezTo>
                  <a:pt x="10304665" y="2"/>
                  <a:pt x="10304665" y="2"/>
                  <a:pt x="10436339" y="2"/>
                </a:cubicBezTo>
                <a:cubicBezTo>
                  <a:pt x="10436339" y="2"/>
                  <a:pt x="10436339" y="2"/>
                  <a:pt x="10125283" y="187296"/>
                </a:cubicBezTo>
                <a:cubicBezTo>
                  <a:pt x="10108109" y="196852"/>
                  <a:pt x="10087117" y="193029"/>
                  <a:pt x="10077576" y="175829"/>
                </a:cubicBezTo>
                <a:cubicBezTo>
                  <a:pt x="10068034" y="160540"/>
                  <a:pt x="10073759" y="139517"/>
                  <a:pt x="10089025" y="129961"/>
                </a:cubicBezTo>
                <a:cubicBezTo>
                  <a:pt x="10089025" y="129961"/>
                  <a:pt x="10089025" y="129961"/>
                  <a:pt x="10304665" y="2"/>
                </a:cubicBezTo>
                <a:close/>
                <a:moveTo>
                  <a:pt x="10857477" y="0"/>
                </a:moveTo>
                <a:cubicBezTo>
                  <a:pt x="10857477" y="0"/>
                  <a:pt x="10857477" y="0"/>
                  <a:pt x="10998322" y="0"/>
                </a:cubicBezTo>
                <a:cubicBezTo>
                  <a:pt x="10998322" y="0"/>
                  <a:pt x="10998322" y="0"/>
                  <a:pt x="10701405" y="173054"/>
                </a:cubicBezTo>
                <a:cubicBezTo>
                  <a:pt x="10684275" y="182563"/>
                  <a:pt x="10663338" y="176857"/>
                  <a:pt x="10653822" y="159742"/>
                </a:cubicBezTo>
                <a:cubicBezTo>
                  <a:pt x="10644305" y="142627"/>
                  <a:pt x="10650015" y="121708"/>
                  <a:pt x="10665241" y="112200"/>
                </a:cubicBezTo>
                <a:cubicBezTo>
                  <a:pt x="10665241" y="112200"/>
                  <a:pt x="10665241" y="112200"/>
                  <a:pt x="10857477" y="0"/>
                </a:cubicBezTo>
                <a:close/>
              </a:path>
            </a:pathLst>
          </a:custGeom>
          <a:solidFill>
            <a:srgbClr val="000000">
              <a:alpha val="20000"/>
            </a:srgbClr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6" name="Title 1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48643" y="1437139"/>
            <a:ext cx="9960236" cy="3026868"/>
          </a:xfrm>
          <a:prstGeom prst="rect">
            <a:avLst/>
          </a:prstGeom>
        </p:spPr>
        <p:txBody>
          <a:bodyPr lIns="0" tIns="45710" rIns="91420" bIns="45710" anchor="b" anchorCtr="0"/>
          <a:lstStyle>
            <a:lvl1pPr marL="0" algn="l" defTabSz="1218642" rtl="0" eaLnBrk="1" latinLnBrk="0" hangingPunct="1">
              <a:lnSpc>
                <a:spcPts val="7000"/>
              </a:lnSpc>
              <a:spcBef>
                <a:spcPct val="0"/>
              </a:spcBef>
              <a:buNone/>
              <a:defRPr lang="en-US" sz="7998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Here</a:t>
            </a:r>
            <a:br>
              <a:rPr lang="en-US"/>
            </a:br>
            <a:r>
              <a:rPr lang="en-US"/>
              <a:t>Three Lines</a:t>
            </a:r>
          </a:p>
        </p:txBody>
      </p:sp>
      <p:sp>
        <p:nvSpPr>
          <p:cNvPr id="55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48643" y="5202932"/>
            <a:ext cx="9949796" cy="4572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2186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6" b="0" kern="1200" cap="none" spc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2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peaker Name  | 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171479" y="2445935"/>
            <a:ext cx="3026145" cy="1008563"/>
          </a:xfrm>
          <a:prstGeom prst="rect">
            <a:avLst/>
          </a:prstGeom>
        </p:spPr>
      </p:pic>
      <p:pic>
        <p:nvPicPr>
          <p:cNvPr id="1026" name="Picture 2" descr="C:\Users\mherboth\Dropbox (WW Brand Design)\WW Brand Design Team Folder\Product\Think\2017_08_LEN_ThinkPad 25 Raleigh Onsite Event_Think_Product\01_Project\Reference Files\Logo\Thinkpad 25_REVERSE_BLKBG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8647" y="494899"/>
            <a:ext cx="2725769" cy="625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85315928"/>
      </p:ext>
    </p:extLst>
  </p:cSld>
  <p:clrMapOvr>
    <a:masterClrMapping/>
  </p:clrMapOvr>
  <p:transition spd="med"/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_Global-1">
    <p:bg>
      <p:bgPr>
        <a:solidFill>
          <a:schemeClr val="bg2">
            <a:lumMod val="50000"/>
            <a:lumOff val="5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893"/>
            <a:ext cx="12190410" cy="6857107"/>
          </a:xfrm>
          <a:prstGeom prst="rect">
            <a:avLst/>
          </a:prstGeom>
        </p:spPr>
      </p:pic>
      <p:sp>
        <p:nvSpPr>
          <p:cNvPr id="51" name="Footer Placeholder 50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8608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6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548646" y="1849075"/>
            <a:ext cx="9957815" cy="194767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l" defTabSz="1218642" rtl="0" eaLnBrk="1" latinLnBrk="0" hangingPunct="1">
              <a:lnSpc>
                <a:spcPts val="5000"/>
              </a:lnSpc>
              <a:spcBef>
                <a:spcPct val="0"/>
              </a:spcBef>
              <a:buNone/>
              <a:defRPr lang="en-US" sz="5999" b="1" kern="1200" cap="none" spc="-151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Section Header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 bwMode="white">
          <a:xfrm>
            <a:off x="548646" y="3999755"/>
            <a:ext cx="9957815" cy="737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9"/>
              </a:lnSpc>
              <a:spcBef>
                <a:spcPts val="0"/>
              </a:spcBef>
              <a:buNone/>
              <a:defRPr sz="2399" spc="0" baseline="0">
                <a:solidFill>
                  <a:schemeClr val="bg1"/>
                </a:solidFill>
              </a:defRPr>
            </a:lvl1pPr>
            <a:lvl2pPr marL="4570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4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3pPr>
            <a:lvl4pPr marL="13712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4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goes her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5305" y="5505444"/>
            <a:ext cx="1330103" cy="443301"/>
          </a:xfrm>
          <a:prstGeom prst="rect">
            <a:avLst/>
          </a:prstGeom>
        </p:spPr>
      </p:pic>
      <p:sp>
        <p:nvSpPr>
          <p:cNvPr id="15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62842"/>
      </p:ext>
    </p:extLst>
  </p:cSld>
  <p:clrMapOvr>
    <a:masterClrMapping/>
  </p:clrMapOvr>
  <p:transition spd="med"/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 cap="none"/>
            </a:lvl1pPr>
          </a:lstStyle>
          <a:p>
            <a:endParaRPr lang="en-US">
              <a:cs typeface="Arial" pitchFamily="34" charset="0"/>
            </a:endParaRPr>
          </a:p>
        </p:txBody>
      </p:sp>
      <p:sp>
        <p:nvSpPr>
          <p:cNvPr id="2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9724590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1748699" y="6395722"/>
            <a:ext cx="443301" cy="322249"/>
          </a:xfrm>
          <a:prstGeom prst="rect">
            <a:avLst/>
          </a:prstGeom>
          <a:noFill/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989757"/>
      </p:ext>
    </p:extLst>
  </p:cSld>
  <p:clrMapOvr>
    <a:masterClrMapping/>
  </p:clrMapOvr>
  <p:transition spd="med"/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1" y="274320"/>
            <a:ext cx="9647471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11073384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4176532"/>
      </p:ext>
    </p:extLst>
  </p:cSld>
  <p:clrMapOvr>
    <a:masterClrMapping/>
  </p:clrMapOvr>
  <p:transition spd="med"/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Content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591057"/>
            <a:ext cx="11073384" cy="4798203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0">
              <a:buNone/>
              <a:defRPr sz="2666" b="1"/>
            </a:lvl2pPr>
            <a:lvl3pPr marL="1218642" indent="0">
              <a:buNone/>
              <a:defRPr sz="2399" b="1"/>
            </a:lvl3pPr>
            <a:lvl4pPr marL="1827963" indent="0">
              <a:buNone/>
              <a:defRPr sz="2133" b="1"/>
            </a:lvl4pPr>
            <a:lvl5pPr marL="2437284" indent="0">
              <a:buNone/>
              <a:defRPr sz="2133" b="1"/>
            </a:lvl5pPr>
            <a:lvl6pPr marL="3046601" indent="0">
              <a:buNone/>
              <a:defRPr sz="2133" b="1"/>
            </a:lvl6pPr>
            <a:lvl7pPr marL="3655926" indent="0">
              <a:buNone/>
              <a:defRPr sz="2133" b="1"/>
            </a:lvl7pPr>
            <a:lvl8pPr marL="4265243" indent="0">
              <a:buNone/>
              <a:defRPr sz="2133" b="1"/>
            </a:lvl8pPr>
            <a:lvl9pPr marL="4874564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3" y="274320"/>
            <a:ext cx="969153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647564803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90885" y="525415"/>
            <a:ext cx="10969943" cy="862109"/>
          </a:xfrm>
        </p:spPr>
        <p:txBody>
          <a:bodyPr anchor="t" anchorCtr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878189" y="1944200"/>
            <a:ext cx="10758879" cy="1655233"/>
          </a:xfrm>
          <a:prstGeom prst="rect">
            <a:avLst/>
          </a:prstGeom>
        </p:spPr>
        <p:txBody>
          <a:bodyPr vert="horz" lIns="0"/>
          <a:lstStyle>
            <a:lvl1pPr marL="259010" indent="-380895">
              <a:defRPr lang="en-US" sz="2399" kern="1200" dirty="0" smtClean="0">
                <a:solidFill>
                  <a:schemeClr val="bg1"/>
                </a:solidFill>
                <a:latin typeface="Corbel"/>
                <a:ea typeface="+mn-ea"/>
                <a:cs typeface="Corbel"/>
              </a:defRPr>
            </a:lvl1pPr>
            <a:lvl2pPr>
              <a:defRPr lang="en-US" sz="2133" kern="1200" dirty="0">
                <a:solidFill>
                  <a:schemeClr val="bg1"/>
                </a:solidFill>
                <a:latin typeface="Corbel"/>
                <a:ea typeface="+mn-ea"/>
                <a:cs typeface="Corbel"/>
              </a:defRPr>
            </a:lvl2pPr>
          </a:lstStyle>
          <a:p>
            <a:pPr marL="219396" lvl="0" indent="-341281" algn="l" defTabSz="609433" rtl="0" eaLnBrk="1" latinLnBrk="0" hangingPunct="1">
              <a:spcBef>
                <a:spcPct val="20000"/>
              </a:spcBef>
              <a:buClr>
                <a:schemeClr val="accent2"/>
              </a:buClr>
              <a:buSzPct val="150000"/>
              <a:buFont typeface="Arial"/>
              <a:buChar char="•"/>
            </a:pPr>
            <a:r>
              <a:rPr lang="en-US"/>
              <a:t>Click to edit Master text styles</a:t>
            </a:r>
          </a:p>
          <a:p>
            <a:pPr marL="865394" lvl="1" indent="-380895" algn="l" defTabSz="609433" rtl="0" eaLnBrk="1" latinLnBrk="0" hangingPunct="1">
              <a:spcBef>
                <a:spcPts val="1312"/>
              </a:spcBef>
              <a:buFont typeface="Arial"/>
              <a:buChar char="–"/>
            </a:pPr>
            <a:r>
              <a:rPr lang="en-US"/>
              <a:t>Secon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878190" y="1291559"/>
            <a:ext cx="4778189" cy="728133"/>
          </a:xfrm>
          <a:prstGeom prst="rect">
            <a:avLst/>
          </a:prstGeom>
        </p:spPr>
        <p:txBody>
          <a:bodyPr vert="horz" lIns="0" tIns="73152" rIns="0" bIns="0"/>
          <a:lstStyle>
            <a:lvl1pPr marL="0" indent="0">
              <a:buNone/>
              <a:defRPr sz="2133" spc="2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 </a:t>
            </a:r>
          </a:p>
        </p:txBody>
      </p:sp>
    </p:spTree>
    <p:extLst>
      <p:ext uri="{BB962C8B-B14F-4D97-AF65-F5344CB8AC3E}">
        <p14:creationId xmlns:p14="http://schemas.microsoft.com/office/powerpoint/2010/main" val="4066851509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- No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25"/>
          <p:cNvSpPr>
            <a:spLocks noGrp="1"/>
          </p:cNvSpPr>
          <p:nvPr>
            <p:ph type="ftr" sz="quarter" idx="13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6" y="274320"/>
            <a:ext cx="9553827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4" y="1179576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43066" y="1188765"/>
            <a:ext cx="537895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688185"/>
      </p:ext>
    </p:extLst>
  </p:cSld>
  <p:clrMapOvr>
    <a:masterClrMapping/>
  </p:clrMapOvr>
  <p:transition spd="med"/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Imag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6036718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79576"/>
            <a:ext cx="6036718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835286" y="0"/>
            <a:ext cx="5353539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33812328"/>
      </p:ext>
    </p:extLst>
  </p:cSld>
  <p:clrMapOvr>
    <a:masterClrMapping/>
  </p:clrMapOvr>
  <p:transition spd="med"/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Stateme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2" y="0"/>
            <a:ext cx="4061793" cy="6858000"/>
          </a:xfrm>
          <a:prstGeom prst="rect">
            <a:avLst/>
          </a:prstGeom>
          <a:solidFill>
            <a:srgbClr val="6EBE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49951" y="-3177"/>
            <a:ext cx="4011840" cy="6858285"/>
          </a:xfrm>
          <a:custGeom>
            <a:avLst/>
            <a:gdLst>
              <a:gd name="connsiteX0" fmla="*/ 4011840 w 4011840"/>
              <a:gd name="connsiteY0" fmla="*/ 6728839 h 6858285"/>
              <a:gd name="connsiteX1" fmla="*/ 4011840 w 4011840"/>
              <a:gd name="connsiteY1" fmla="*/ 6814737 h 6858285"/>
              <a:gd name="connsiteX2" fmla="*/ 3960866 w 4011840"/>
              <a:gd name="connsiteY2" fmla="*/ 6841809 h 6858285"/>
              <a:gd name="connsiteX3" fmla="*/ 3909430 w 4011840"/>
              <a:gd name="connsiteY3" fmla="*/ 6826569 h 6858285"/>
              <a:gd name="connsiteX4" fmla="*/ 3903712 w 4011840"/>
              <a:gd name="connsiteY4" fmla="*/ 6809424 h 6858285"/>
              <a:gd name="connsiteX5" fmla="*/ 3924672 w 4011840"/>
              <a:gd name="connsiteY5" fmla="*/ 6775134 h 6858285"/>
              <a:gd name="connsiteX6" fmla="*/ 4006988 w 4011840"/>
              <a:gd name="connsiteY6" fmla="*/ 6731416 h 6858285"/>
              <a:gd name="connsiteX7" fmla="*/ 396081 w 4011840"/>
              <a:gd name="connsiteY7" fmla="*/ 6635423 h 6858285"/>
              <a:gd name="connsiteX8" fmla="*/ 419128 w 4011840"/>
              <a:gd name="connsiteY8" fmla="*/ 6656349 h 6858285"/>
              <a:gd name="connsiteX9" fmla="*/ 400120 w 4011840"/>
              <a:gd name="connsiteY9" fmla="*/ 6709616 h 6858285"/>
              <a:gd name="connsiteX10" fmla="*/ 97901 w 4011840"/>
              <a:gd name="connsiteY10" fmla="*/ 6858002 h 6858285"/>
              <a:gd name="connsiteX11" fmla="*/ 10466 w 4011840"/>
              <a:gd name="connsiteY11" fmla="*/ 6858002 h 6858285"/>
              <a:gd name="connsiteX12" fmla="*/ 8566 w 4011840"/>
              <a:gd name="connsiteY12" fmla="*/ 6858002 h 6858285"/>
              <a:gd name="connsiteX13" fmla="*/ 4764 w 4011840"/>
              <a:gd name="connsiteY13" fmla="*/ 6838978 h 6858285"/>
              <a:gd name="connsiteX14" fmla="*/ 27573 w 4011840"/>
              <a:gd name="connsiteY14" fmla="*/ 6802833 h 6858285"/>
              <a:gd name="connsiteX15" fmla="*/ 365906 w 4011840"/>
              <a:gd name="connsiteY15" fmla="*/ 6637326 h 6858285"/>
              <a:gd name="connsiteX16" fmla="*/ 396081 w 4011840"/>
              <a:gd name="connsiteY16" fmla="*/ 6635423 h 6858285"/>
              <a:gd name="connsiteX17" fmla="*/ 939733 w 4011840"/>
              <a:gd name="connsiteY17" fmla="*/ 6619807 h 6858285"/>
              <a:gd name="connsiteX18" fmla="*/ 963599 w 4011840"/>
              <a:gd name="connsiteY18" fmla="*/ 6640551 h 6858285"/>
              <a:gd name="connsiteX19" fmla="*/ 944506 w 4011840"/>
              <a:gd name="connsiteY19" fmla="*/ 6693960 h 6858285"/>
              <a:gd name="connsiteX20" fmla="*/ 618014 w 4011840"/>
              <a:gd name="connsiteY20" fmla="*/ 6858002 h 6858285"/>
              <a:gd name="connsiteX21" fmla="*/ 562644 w 4011840"/>
              <a:gd name="connsiteY21" fmla="*/ 6858002 h 6858285"/>
              <a:gd name="connsiteX22" fmla="*/ 553097 w 4011840"/>
              <a:gd name="connsiteY22" fmla="*/ 6846557 h 6858285"/>
              <a:gd name="connsiteX23" fmla="*/ 549279 w 4011840"/>
              <a:gd name="connsiteY23" fmla="*/ 6829390 h 6858285"/>
              <a:gd name="connsiteX24" fmla="*/ 570281 w 4011840"/>
              <a:gd name="connsiteY24" fmla="*/ 6793148 h 6858285"/>
              <a:gd name="connsiteX25" fmla="*/ 910138 w 4011840"/>
              <a:gd name="connsiteY25" fmla="*/ 6623384 h 6858285"/>
              <a:gd name="connsiteX26" fmla="*/ 939733 w 4011840"/>
              <a:gd name="connsiteY26" fmla="*/ 6619807 h 6858285"/>
              <a:gd name="connsiteX27" fmla="*/ 1485698 w 4011840"/>
              <a:gd name="connsiteY27" fmla="*/ 6606629 h 6858285"/>
              <a:gd name="connsiteX28" fmla="*/ 1507827 w 4011840"/>
              <a:gd name="connsiteY28" fmla="*/ 6625941 h 6858285"/>
              <a:gd name="connsiteX29" fmla="*/ 1492599 w 4011840"/>
              <a:gd name="connsiteY29" fmla="*/ 6677438 h 6858285"/>
              <a:gd name="connsiteX30" fmla="*/ 1153761 w 4011840"/>
              <a:gd name="connsiteY30" fmla="*/ 6852909 h 6858285"/>
              <a:gd name="connsiteX31" fmla="*/ 1102364 w 4011840"/>
              <a:gd name="connsiteY31" fmla="*/ 6837650 h 6858285"/>
              <a:gd name="connsiteX32" fmla="*/ 1098557 w 4011840"/>
              <a:gd name="connsiteY32" fmla="*/ 6818577 h 6858285"/>
              <a:gd name="connsiteX33" fmla="*/ 1119496 w 4011840"/>
              <a:gd name="connsiteY33" fmla="*/ 6784246 h 6858285"/>
              <a:gd name="connsiteX34" fmla="*/ 1456431 w 4011840"/>
              <a:gd name="connsiteY34" fmla="*/ 6608775 h 6858285"/>
              <a:gd name="connsiteX35" fmla="*/ 1485698 w 4011840"/>
              <a:gd name="connsiteY35" fmla="*/ 6606629 h 6858285"/>
              <a:gd name="connsiteX36" fmla="*/ 2037015 w 4011840"/>
              <a:gd name="connsiteY36" fmla="*/ 6592968 h 6858285"/>
              <a:gd name="connsiteX37" fmla="*/ 2060595 w 4011840"/>
              <a:gd name="connsiteY37" fmla="*/ 6611304 h 6858285"/>
              <a:gd name="connsiteX38" fmla="*/ 2043444 w 4011840"/>
              <a:gd name="connsiteY38" fmla="*/ 6662739 h 6858285"/>
              <a:gd name="connsiteX39" fmla="*/ 1706255 w 4011840"/>
              <a:gd name="connsiteY39" fmla="*/ 6841809 h 6858285"/>
              <a:gd name="connsiteX40" fmla="*/ 1654819 w 4011840"/>
              <a:gd name="connsiteY40" fmla="*/ 6826569 h 6858285"/>
              <a:gd name="connsiteX41" fmla="*/ 1651009 w 4011840"/>
              <a:gd name="connsiteY41" fmla="*/ 6809424 h 6858285"/>
              <a:gd name="connsiteX42" fmla="*/ 1670059 w 4011840"/>
              <a:gd name="connsiteY42" fmla="*/ 6775134 h 6858285"/>
              <a:gd name="connsiteX43" fmla="*/ 2009154 w 4011840"/>
              <a:gd name="connsiteY43" fmla="*/ 6596064 h 6858285"/>
              <a:gd name="connsiteX44" fmla="*/ 2037015 w 4011840"/>
              <a:gd name="connsiteY44" fmla="*/ 6592968 h 6858285"/>
              <a:gd name="connsiteX45" fmla="*/ 3727788 w 4011840"/>
              <a:gd name="connsiteY45" fmla="*/ 6578028 h 6858285"/>
              <a:gd name="connsiteX46" fmla="*/ 3749716 w 4011840"/>
              <a:gd name="connsiteY46" fmla="*/ 6595371 h 6858285"/>
              <a:gd name="connsiteX47" fmla="*/ 3734462 w 4011840"/>
              <a:gd name="connsiteY47" fmla="*/ 6646685 h 6858285"/>
              <a:gd name="connsiteX48" fmla="*/ 3397032 w 4011840"/>
              <a:gd name="connsiteY48" fmla="*/ 6831037 h 6858285"/>
              <a:gd name="connsiteX49" fmla="*/ 3347462 w 4011840"/>
              <a:gd name="connsiteY49" fmla="*/ 6815832 h 6858285"/>
              <a:gd name="connsiteX50" fmla="*/ 3341741 w 4011840"/>
              <a:gd name="connsiteY50" fmla="*/ 6798728 h 6858285"/>
              <a:gd name="connsiteX51" fmla="*/ 3362712 w 4011840"/>
              <a:gd name="connsiteY51" fmla="*/ 6764518 h 6858285"/>
              <a:gd name="connsiteX52" fmla="*/ 3700144 w 4011840"/>
              <a:gd name="connsiteY52" fmla="*/ 6582067 h 6858285"/>
              <a:gd name="connsiteX53" fmla="*/ 3727788 w 4011840"/>
              <a:gd name="connsiteY53" fmla="*/ 6578028 h 6858285"/>
              <a:gd name="connsiteX54" fmla="*/ 2592701 w 4011840"/>
              <a:gd name="connsiteY54" fmla="*/ 6578028 h 6858285"/>
              <a:gd name="connsiteX55" fmla="*/ 2614625 w 4011840"/>
              <a:gd name="connsiteY55" fmla="*/ 6595371 h 6858285"/>
              <a:gd name="connsiteX56" fmla="*/ 2599374 w 4011840"/>
              <a:gd name="connsiteY56" fmla="*/ 6646685 h 6858285"/>
              <a:gd name="connsiteX57" fmla="*/ 2261929 w 4011840"/>
              <a:gd name="connsiteY57" fmla="*/ 6831037 h 6858285"/>
              <a:gd name="connsiteX58" fmla="*/ 2212361 w 4011840"/>
              <a:gd name="connsiteY58" fmla="*/ 6815832 h 6858285"/>
              <a:gd name="connsiteX59" fmla="*/ 2206641 w 4011840"/>
              <a:gd name="connsiteY59" fmla="*/ 6798728 h 6858285"/>
              <a:gd name="connsiteX60" fmla="*/ 2225706 w 4011840"/>
              <a:gd name="connsiteY60" fmla="*/ 6764518 h 6858285"/>
              <a:gd name="connsiteX61" fmla="*/ 2565057 w 4011840"/>
              <a:gd name="connsiteY61" fmla="*/ 6582067 h 6858285"/>
              <a:gd name="connsiteX62" fmla="*/ 2592701 w 4011840"/>
              <a:gd name="connsiteY62" fmla="*/ 6578028 h 6858285"/>
              <a:gd name="connsiteX63" fmla="*/ 3153211 w 4011840"/>
              <a:gd name="connsiteY63" fmla="*/ 6564133 h 6858285"/>
              <a:gd name="connsiteX64" fmla="*/ 3175070 w 4011840"/>
              <a:gd name="connsiteY64" fmla="*/ 6580744 h 6858285"/>
              <a:gd name="connsiteX65" fmla="*/ 3161766 w 4011840"/>
              <a:gd name="connsiteY65" fmla="*/ 6630101 h 6858285"/>
              <a:gd name="connsiteX66" fmla="*/ 2825350 w 4011840"/>
              <a:gd name="connsiteY66" fmla="*/ 6819936 h 6858285"/>
              <a:gd name="connsiteX67" fmla="*/ 2775931 w 4011840"/>
              <a:gd name="connsiteY67" fmla="*/ 6804749 h 6858285"/>
              <a:gd name="connsiteX68" fmla="*/ 2770229 w 4011840"/>
              <a:gd name="connsiteY68" fmla="*/ 6787664 h 6858285"/>
              <a:gd name="connsiteX69" fmla="*/ 2789236 w 4011840"/>
              <a:gd name="connsiteY69" fmla="*/ 6757290 h 6858285"/>
              <a:gd name="connsiteX70" fmla="*/ 3125653 w 4011840"/>
              <a:gd name="connsiteY70" fmla="*/ 6567455 h 6858285"/>
              <a:gd name="connsiteX71" fmla="*/ 3153211 w 4011840"/>
              <a:gd name="connsiteY71" fmla="*/ 6564133 h 6858285"/>
              <a:gd name="connsiteX72" fmla="*/ 4011840 w 4011840"/>
              <a:gd name="connsiteY72" fmla="*/ 6402257 h 6858285"/>
              <a:gd name="connsiteX73" fmla="*/ 4011840 w 4011840"/>
              <a:gd name="connsiteY73" fmla="*/ 6490934 h 6858285"/>
              <a:gd name="connsiteX74" fmla="*/ 3961098 w 4011840"/>
              <a:gd name="connsiteY74" fmla="*/ 6516712 h 6858285"/>
              <a:gd name="connsiteX75" fmla="*/ 3907832 w 4011840"/>
              <a:gd name="connsiteY75" fmla="*/ 6499609 h 6858285"/>
              <a:gd name="connsiteX76" fmla="*/ 3902128 w 4011840"/>
              <a:gd name="connsiteY76" fmla="*/ 6482505 h 6858285"/>
              <a:gd name="connsiteX77" fmla="*/ 3924952 w 4011840"/>
              <a:gd name="connsiteY77" fmla="*/ 6446398 h 6858285"/>
              <a:gd name="connsiteX78" fmla="*/ 4007146 w 4011840"/>
              <a:gd name="connsiteY78" fmla="*/ 6404642 h 6858285"/>
              <a:gd name="connsiteX79" fmla="*/ 396081 w 4011840"/>
              <a:gd name="connsiteY79" fmla="*/ 6313171 h 6858285"/>
              <a:gd name="connsiteX80" fmla="*/ 419127 w 4011840"/>
              <a:gd name="connsiteY80" fmla="*/ 6334126 h 6858285"/>
              <a:gd name="connsiteX81" fmla="*/ 400120 w 4011840"/>
              <a:gd name="connsiteY81" fmla="*/ 6387466 h 6858285"/>
              <a:gd name="connsiteX82" fmla="*/ 63687 w 4011840"/>
              <a:gd name="connsiteY82" fmla="*/ 6553201 h 6858285"/>
              <a:gd name="connsiteX83" fmla="*/ 8565 w 4011840"/>
              <a:gd name="connsiteY83" fmla="*/ 6534151 h 6858285"/>
              <a:gd name="connsiteX84" fmla="*/ 4764 w 4011840"/>
              <a:gd name="connsiteY84" fmla="*/ 6517006 h 6858285"/>
              <a:gd name="connsiteX85" fmla="*/ 27573 w 4011840"/>
              <a:gd name="connsiteY85" fmla="*/ 6478906 h 6858285"/>
              <a:gd name="connsiteX86" fmla="*/ 365906 w 4011840"/>
              <a:gd name="connsiteY86" fmla="*/ 6315076 h 6858285"/>
              <a:gd name="connsiteX87" fmla="*/ 396081 w 4011840"/>
              <a:gd name="connsiteY87" fmla="*/ 6313171 h 6858285"/>
              <a:gd name="connsiteX88" fmla="*/ 940474 w 4011840"/>
              <a:gd name="connsiteY88" fmla="*/ 6300224 h 6858285"/>
              <a:gd name="connsiteX89" fmla="*/ 963607 w 4011840"/>
              <a:gd name="connsiteY89" fmla="*/ 6319488 h 6858285"/>
              <a:gd name="connsiteX90" fmla="*/ 944529 w 4011840"/>
              <a:gd name="connsiteY90" fmla="*/ 6372763 h 6858285"/>
              <a:gd name="connsiteX91" fmla="*/ 606835 w 4011840"/>
              <a:gd name="connsiteY91" fmla="*/ 6540198 h 6858285"/>
              <a:gd name="connsiteX92" fmla="*/ 551507 w 4011840"/>
              <a:gd name="connsiteY92" fmla="*/ 6523074 h 6858285"/>
              <a:gd name="connsiteX93" fmla="*/ 547691 w 4011840"/>
              <a:gd name="connsiteY93" fmla="*/ 6505950 h 6858285"/>
              <a:gd name="connsiteX94" fmla="*/ 570586 w 4011840"/>
              <a:gd name="connsiteY94" fmla="*/ 6469799 h 6858285"/>
              <a:gd name="connsiteX95" fmla="*/ 910187 w 4011840"/>
              <a:gd name="connsiteY95" fmla="*/ 6302364 h 6858285"/>
              <a:gd name="connsiteX96" fmla="*/ 940474 w 4011840"/>
              <a:gd name="connsiteY96" fmla="*/ 6300224 h 6858285"/>
              <a:gd name="connsiteX97" fmla="*/ 1486674 w 4011840"/>
              <a:gd name="connsiteY97" fmla="*/ 6285982 h 6858285"/>
              <a:gd name="connsiteX98" fmla="*/ 1509738 w 4011840"/>
              <a:gd name="connsiteY98" fmla="*/ 6305364 h 6858285"/>
              <a:gd name="connsiteX99" fmla="*/ 1492618 w 4011840"/>
              <a:gd name="connsiteY99" fmla="*/ 6358966 h 6858285"/>
              <a:gd name="connsiteX100" fmla="*/ 1154033 w 4011840"/>
              <a:gd name="connsiteY100" fmla="*/ 6529342 h 6858285"/>
              <a:gd name="connsiteX101" fmla="*/ 1100773 w 4011840"/>
              <a:gd name="connsiteY101" fmla="*/ 6512113 h 6858285"/>
              <a:gd name="connsiteX102" fmla="*/ 1096968 w 4011840"/>
              <a:gd name="connsiteY102" fmla="*/ 6494884 h 6858285"/>
              <a:gd name="connsiteX103" fmla="*/ 1117892 w 4011840"/>
              <a:gd name="connsiteY103" fmla="*/ 6458512 h 6858285"/>
              <a:gd name="connsiteX104" fmla="*/ 1456477 w 4011840"/>
              <a:gd name="connsiteY104" fmla="*/ 6288135 h 6858285"/>
              <a:gd name="connsiteX105" fmla="*/ 1486674 w 4011840"/>
              <a:gd name="connsiteY105" fmla="*/ 6285982 h 6858285"/>
              <a:gd name="connsiteX106" fmla="*/ 2038415 w 4011840"/>
              <a:gd name="connsiteY106" fmla="*/ 6273228 h 6858285"/>
              <a:gd name="connsiteX107" fmla="*/ 2062198 w 4011840"/>
              <a:gd name="connsiteY107" fmla="*/ 6292469 h 6858285"/>
              <a:gd name="connsiteX108" fmla="*/ 2045072 w 4011840"/>
              <a:gd name="connsiteY108" fmla="*/ 6345679 h 6858285"/>
              <a:gd name="connsiteX109" fmla="*/ 1706487 w 4011840"/>
              <a:gd name="connsiteY109" fmla="*/ 6516712 h 6858285"/>
              <a:gd name="connsiteX110" fmla="*/ 1653226 w 4011840"/>
              <a:gd name="connsiteY110" fmla="*/ 6499609 h 6858285"/>
              <a:gd name="connsiteX111" fmla="*/ 1649422 w 4011840"/>
              <a:gd name="connsiteY111" fmla="*/ 6482505 h 6858285"/>
              <a:gd name="connsiteX112" fmla="*/ 1670346 w 4011840"/>
              <a:gd name="connsiteY112" fmla="*/ 6446398 h 6858285"/>
              <a:gd name="connsiteX113" fmla="*/ 2008931 w 4011840"/>
              <a:gd name="connsiteY113" fmla="*/ 6275366 h 6858285"/>
              <a:gd name="connsiteX114" fmla="*/ 2038415 w 4011840"/>
              <a:gd name="connsiteY114" fmla="*/ 6273228 h 6858285"/>
              <a:gd name="connsiteX115" fmla="*/ 3729186 w 4011840"/>
              <a:gd name="connsiteY115" fmla="*/ 6260519 h 6858285"/>
              <a:gd name="connsiteX116" fmla="*/ 3751316 w 4011840"/>
              <a:gd name="connsiteY116" fmla="*/ 6279737 h 6858285"/>
              <a:gd name="connsiteX117" fmla="*/ 3736088 w 4011840"/>
              <a:gd name="connsiteY117" fmla="*/ 6330986 h 6858285"/>
              <a:gd name="connsiteX118" fmla="*/ 3397264 w 4011840"/>
              <a:gd name="connsiteY118" fmla="*/ 6505611 h 6858285"/>
              <a:gd name="connsiteX119" fmla="*/ 3345866 w 4011840"/>
              <a:gd name="connsiteY119" fmla="*/ 6488528 h 6858285"/>
              <a:gd name="connsiteX120" fmla="*/ 3340155 w 4011840"/>
              <a:gd name="connsiteY120" fmla="*/ 6469547 h 6858285"/>
              <a:gd name="connsiteX121" fmla="*/ 3361094 w 4011840"/>
              <a:gd name="connsiteY121" fmla="*/ 6435381 h 6858285"/>
              <a:gd name="connsiteX122" fmla="*/ 3699920 w 4011840"/>
              <a:gd name="connsiteY122" fmla="*/ 6262654 h 6858285"/>
              <a:gd name="connsiteX123" fmla="*/ 3729186 w 4011840"/>
              <a:gd name="connsiteY123" fmla="*/ 6260519 h 6858285"/>
              <a:gd name="connsiteX124" fmla="*/ 2595567 w 4011840"/>
              <a:gd name="connsiteY124" fmla="*/ 6260519 h 6858285"/>
              <a:gd name="connsiteX125" fmla="*/ 2617780 w 4011840"/>
              <a:gd name="connsiteY125" fmla="*/ 6279737 h 6858285"/>
              <a:gd name="connsiteX126" fmla="*/ 2600583 w 4011840"/>
              <a:gd name="connsiteY126" fmla="*/ 6330986 h 6858285"/>
              <a:gd name="connsiteX127" fmla="*/ 2262377 w 4011840"/>
              <a:gd name="connsiteY127" fmla="*/ 6505611 h 6858285"/>
              <a:gd name="connsiteX128" fmla="*/ 2210786 w 4011840"/>
              <a:gd name="connsiteY128" fmla="*/ 6488528 h 6858285"/>
              <a:gd name="connsiteX129" fmla="*/ 2205054 w 4011840"/>
              <a:gd name="connsiteY129" fmla="*/ 6469547 h 6858285"/>
              <a:gd name="connsiteX130" fmla="*/ 2226073 w 4011840"/>
              <a:gd name="connsiteY130" fmla="*/ 6435381 h 6858285"/>
              <a:gd name="connsiteX131" fmla="*/ 2566189 w 4011840"/>
              <a:gd name="connsiteY131" fmla="*/ 6262654 h 6858285"/>
              <a:gd name="connsiteX132" fmla="*/ 2595567 w 4011840"/>
              <a:gd name="connsiteY132" fmla="*/ 6260519 h 6858285"/>
              <a:gd name="connsiteX133" fmla="*/ 3155659 w 4011840"/>
              <a:gd name="connsiteY133" fmla="*/ 6245321 h 6858285"/>
              <a:gd name="connsiteX134" fmla="*/ 3177874 w 4011840"/>
              <a:gd name="connsiteY134" fmla="*/ 6263701 h 6858285"/>
              <a:gd name="connsiteX135" fmla="*/ 3162585 w 4011840"/>
              <a:gd name="connsiteY135" fmla="*/ 6317169 h 6858285"/>
              <a:gd name="connsiteX136" fmla="*/ 2822468 w 4011840"/>
              <a:gd name="connsiteY136" fmla="*/ 6492853 h 6858285"/>
              <a:gd name="connsiteX137" fmla="*/ 2770875 w 4011840"/>
              <a:gd name="connsiteY137" fmla="*/ 6477576 h 6858285"/>
              <a:gd name="connsiteX138" fmla="*/ 2767055 w 4011840"/>
              <a:gd name="connsiteY138" fmla="*/ 6458480 h 6858285"/>
              <a:gd name="connsiteX139" fmla="*/ 2788072 w 4011840"/>
              <a:gd name="connsiteY139" fmla="*/ 6426017 h 6858285"/>
              <a:gd name="connsiteX140" fmla="*/ 3126282 w 4011840"/>
              <a:gd name="connsiteY140" fmla="*/ 6248424 h 6858285"/>
              <a:gd name="connsiteX141" fmla="*/ 3155659 w 4011840"/>
              <a:gd name="connsiteY141" fmla="*/ 6245321 h 6858285"/>
              <a:gd name="connsiteX142" fmla="*/ 4011840 w 4011840"/>
              <a:gd name="connsiteY142" fmla="*/ 6076623 h 6858285"/>
              <a:gd name="connsiteX143" fmla="*/ 4011840 w 4011840"/>
              <a:gd name="connsiteY143" fmla="*/ 6165693 h 6858285"/>
              <a:gd name="connsiteX144" fmla="*/ 3959152 w 4011840"/>
              <a:gd name="connsiteY144" fmla="*/ 6191239 h 6858285"/>
              <a:gd name="connsiteX145" fmla="*/ 3905930 w 4011840"/>
              <a:gd name="connsiteY145" fmla="*/ 6172165 h 6858285"/>
              <a:gd name="connsiteX146" fmla="*/ 3902128 w 4011840"/>
              <a:gd name="connsiteY146" fmla="*/ 6154999 h 6858285"/>
              <a:gd name="connsiteX147" fmla="*/ 3924936 w 4011840"/>
              <a:gd name="connsiteY147" fmla="*/ 6118759 h 6858285"/>
              <a:gd name="connsiteX148" fmla="*/ 4007532 w 4011840"/>
              <a:gd name="connsiteY148" fmla="*/ 6078712 h 6858285"/>
              <a:gd name="connsiteX149" fmla="*/ 380904 w 4011840"/>
              <a:gd name="connsiteY149" fmla="*/ 5988309 h 6858285"/>
              <a:gd name="connsiteX150" fmla="*/ 419127 w 4011840"/>
              <a:gd name="connsiteY150" fmla="*/ 6010276 h 6858285"/>
              <a:gd name="connsiteX151" fmla="*/ 400120 w 4011840"/>
              <a:gd name="connsiteY151" fmla="*/ 6065521 h 6858285"/>
              <a:gd name="connsiteX152" fmla="*/ 63687 w 4011840"/>
              <a:gd name="connsiteY152" fmla="*/ 6229351 h 6858285"/>
              <a:gd name="connsiteX153" fmla="*/ 8565 w 4011840"/>
              <a:gd name="connsiteY153" fmla="*/ 6210301 h 6858285"/>
              <a:gd name="connsiteX154" fmla="*/ 4764 w 4011840"/>
              <a:gd name="connsiteY154" fmla="*/ 6193156 h 6858285"/>
              <a:gd name="connsiteX155" fmla="*/ 27573 w 4011840"/>
              <a:gd name="connsiteY155" fmla="*/ 6156961 h 6858285"/>
              <a:gd name="connsiteX156" fmla="*/ 365906 w 4011840"/>
              <a:gd name="connsiteY156" fmla="*/ 5993131 h 6858285"/>
              <a:gd name="connsiteX157" fmla="*/ 380904 w 4011840"/>
              <a:gd name="connsiteY157" fmla="*/ 5988309 h 6858285"/>
              <a:gd name="connsiteX158" fmla="*/ 940179 w 4011840"/>
              <a:gd name="connsiteY158" fmla="*/ 5978208 h 6858285"/>
              <a:gd name="connsiteX159" fmla="*/ 963295 w 4011840"/>
              <a:gd name="connsiteY159" fmla="*/ 5999163 h 6858285"/>
              <a:gd name="connsiteX160" fmla="*/ 944230 w 4011840"/>
              <a:gd name="connsiteY160" fmla="*/ 6052503 h 6858285"/>
              <a:gd name="connsiteX161" fmla="*/ 606791 w 4011840"/>
              <a:gd name="connsiteY161" fmla="*/ 6218238 h 6858285"/>
              <a:gd name="connsiteX162" fmla="*/ 551504 w 4011840"/>
              <a:gd name="connsiteY162" fmla="*/ 6199188 h 6858285"/>
              <a:gd name="connsiteX163" fmla="*/ 547691 w 4011840"/>
              <a:gd name="connsiteY163" fmla="*/ 6180138 h 6858285"/>
              <a:gd name="connsiteX164" fmla="*/ 570568 w 4011840"/>
              <a:gd name="connsiteY164" fmla="*/ 6143943 h 6858285"/>
              <a:gd name="connsiteX165" fmla="*/ 909915 w 4011840"/>
              <a:gd name="connsiteY165" fmla="*/ 5980113 h 6858285"/>
              <a:gd name="connsiteX166" fmla="*/ 940179 w 4011840"/>
              <a:gd name="connsiteY166" fmla="*/ 5978208 h 6858285"/>
              <a:gd name="connsiteX167" fmla="*/ 1487950 w 4011840"/>
              <a:gd name="connsiteY167" fmla="*/ 5966222 h 6858285"/>
              <a:gd name="connsiteX168" fmla="*/ 1511303 w 4011840"/>
              <a:gd name="connsiteY168" fmla="*/ 5986463 h 6858285"/>
              <a:gd name="connsiteX169" fmla="*/ 1492239 w 4011840"/>
              <a:gd name="connsiteY169" fmla="*/ 6041708 h 6858285"/>
              <a:gd name="connsiteX170" fmla="*/ 1152893 w 4011840"/>
              <a:gd name="connsiteY170" fmla="*/ 6205538 h 6858285"/>
              <a:gd name="connsiteX171" fmla="*/ 1097606 w 4011840"/>
              <a:gd name="connsiteY171" fmla="*/ 6186488 h 6858285"/>
              <a:gd name="connsiteX172" fmla="*/ 1093793 w 4011840"/>
              <a:gd name="connsiteY172" fmla="*/ 6169343 h 6858285"/>
              <a:gd name="connsiteX173" fmla="*/ 1116671 w 4011840"/>
              <a:gd name="connsiteY173" fmla="*/ 6131243 h 6858285"/>
              <a:gd name="connsiteX174" fmla="*/ 1456017 w 4011840"/>
              <a:gd name="connsiteY174" fmla="*/ 5967413 h 6858285"/>
              <a:gd name="connsiteX175" fmla="*/ 1487950 w 4011840"/>
              <a:gd name="connsiteY175" fmla="*/ 5966222 h 6858285"/>
              <a:gd name="connsiteX176" fmla="*/ 2039813 w 4011840"/>
              <a:gd name="connsiteY176" fmla="*/ 5952817 h 6858285"/>
              <a:gd name="connsiteX177" fmla="*/ 2063798 w 4011840"/>
              <a:gd name="connsiteY177" fmla="*/ 5973798 h 6858285"/>
              <a:gd name="connsiteX178" fmla="*/ 2044799 w 4011840"/>
              <a:gd name="connsiteY178" fmla="*/ 6027205 h 6858285"/>
              <a:gd name="connsiteX179" fmla="*/ 1706714 w 4011840"/>
              <a:gd name="connsiteY179" fmla="*/ 6191239 h 6858285"/>
              <a:gd name="connsiteX180" fmla="*/ 1651633 w 4011840"/>
              <a:gd name="connsiteY180" fmla="*/ 6172165 h 6858285"/>
              <a:gd name="connsiteX181" fmla="*/ 1647834 w 4011840"/>
              <a:gd name="connsiteY181" fmla="*/ 6154999 h 6858285"/>
              <a:gd name="connsiteX182" fmla="*/ 1670626 w 4011840"/>
              <a:gd name="connsiteY182" fmla="*/ 6118759 h 6858285"/>
              <a:gd name="connsiteX183" fmla="*/ 2008712 w 4011840"/>
              <a:gd name="connsiteY183" fmla="*/ 5954725 h 6858285"/>
              <a:gd name="connsiteX184" fmla="*/ 2039813 w 4011840"/>
              <a:gd name="connsiteY184" fmla="*/ 5952817 h 6858285"/>
              <a:gd name="connsiteX185" fmla="*/ 3730408 w 4011840"/>
              <a:gd name="connsiteY185" fmla="*/ 5940108 h 6858285"/>
              <a:gd name="connsiteX186" fmla="*/ 3754476 w 4011840"/>
              <a:gd name="connsiteY186" fmla="*/ 5961063 h 6858285"/>
              <a:gd name="connsiteX187" fmla="*/ 3735412 w 4011840"/>
              <a:gd name="connsiteY187" fmla="*/ 6016308 h 6858285"/>
              <a:gd name="connsiteX188" fmla="*/ 3396080 w 4011840"/>
              <a:gd name="connsiteY188" fmla="*/ 6180138 h 6858285"/>
              <a:gd name="connsiteX189" fmla="*/ 3340791 w 4011840"/>
              <a:gd name="connsiteY189" fmla="*/ 6161088 h 6858285"/>
              <a:gd name="connsiteX190" fmla="*/ 3336980 w 4011840"/>
              <a:gd name="connsiteY190" fmla="*/ 6142038 h 6858285"/>
              <a:gd name="connsiteX191" fmla="*/ 3359854 w 4011840"/>
              <a:gd name="connsiteY191" fmla="*/ 6105843 h 6858285"/>
              <a:gd name="connsiteX192" fmla="*/ 3699190 w 4011840"/>
              <a:gd name="connsiteY192" fmla="*/ 5942013 h 6858285"/>
              <a:gd name="connsiteX193" fmla="*/ 3730408 w 4011840"/>
              <a:gd name="connsiteY193" fmla="*/ 5940108 h 6858285"/>
              <a:gd name="connsiteX194" fmla="*/ 2596907 w 4011840"/>
              <a:gd name="connsiteY194" fmla="*/ 5940108 h 6858285"/>
              <a:gd name="connsiteX195" fmla="*/ 2620976 w 4011840"/>
              <a:gd name="connsiteY195" fmla="*/ 5961063 h 6858285"/>
              <a:gd name="connsiteX196" fmla="*/ 2601911 w 4011840"/>
              <a:gd name="connsiteY196" fmla="*/ 6016308 h 6858285"/>
              <a:gd name="connsiteX197" fmla="*/ 2262565 w 4011840"/>
              <a:gd name="connsiteY197" fmla="*/ 6180138 h 6858285"/>
              <a:gd name="connsiteX198" fmla="*/ 2207278 w 4011840"/>
              <a:gd name="connsiteY198" fmla="*/ 6161088 h 6858285"/>
              <a:gd name="connsiteX199" fmla="*/ 2203466 w 4011840"/>
              <a:gd name="connsiteY199" fmla="*/ 6142038 h 6858285"/>
              <a:gd name="connsiteX200" fmla="*/ 2226343 w 4011840"/>
              <a:gd name="connsiteY200" fmla="*/ 6105843 h 6858285"/>
              <a:gd name="connsiteX201" fmla="*/ 2565688 w 4011840"/>
              <a:gd name="connsiteY201" fmla="*/ 5942013 h 6858285"/>
              <a:gd name="connsiteX202" fmla="*/ 2596907 w 4011840"/>
              <a:gd name="connsiteY202" fmla="*/ 5940108 h 6858285"/>
              <a:gd name="connsiteX203" fmla="*/ 3158038 w 4011840"/>
              <a:gd name="connsiteY203" fmla="*/ 5928122 h 6858285"/>
              <a:gd name="connsiteX204" fmla="*/ 3181392 w 4011840"/>
              <a:gd name="connsiteY204" fmla="*/ 5948363 h 6858285"/>
              <a:gd name="connsiteX205" fmla="*/ 3162325 w 4011840"/>
              <a:gd name="connsiteY205" fmla="*/ 6003608 h 6858285"/>
              <a:gd name="connsiteX206" fmla="*/ 2822979 w 4011840"/>
              <a:gd name="connsiteY206" fmla="*/ 6167438 h 6858285"/>
              <a:gd name="connsiteX207" fmla="*/ 2769598 w 4011840"/>
              <a:gd name="connsiteY207" fmla="*/ 6148388 h 6858285"/>
              <a:gd name="connsiteX208" fmla="*/ 2763878 w 4011840"/>
              <a:gd name="connsiteY208" fmla="*/ 6131243 h 6858285"/>
              <a:gd name="connsiteX209" fmla="*/ 2788667 w 4011840"/>
              <a:gd name="connsiteY209" fmla="*/ 6093143 h 6858285"/>
              <a:gd name="connsiteX210" fmla="*/ 3126105 w 4011840"/>
              <a:gd name="connsiteY210" fmla="*/ 5929313 h 6858285"/>
              <a:gd name="connsiteX211" fmla="*/ 3158038 w 4011840"/>
              <a:gd name="connsiteY211" fmla="*/ 5928122 h 6858285"/>
              <a:gd name="connsiteX212" fmla="*/ 4011840 w 4011840"/>
              <a:gd name="connsiteY212" fmla="*/ 5749863 h 6858285"/>
              <a:gd name="connsiteX213" fmla="*/ 4011840 w 4011840"/>
              <a:gd name="connsiteY213" fmla="*/ 5842922 h 6858285"/>
              <a:gd name="connsiteX214" fmla="*/ 3958228 w 4011840"/>
              <a:gd name="connsiteY214" fmla="*/ 5867437 h 6858285"/>
              <a:gd name="connsiteX215" fmla="*/ 3902776 w 4011840"/>
              <a:gd name="connsiteY215" fmla="*/ 5846560 h 6858285"/>
              <a:gd name="connsiteX216" fmla="*/ 3898954 w 4011840"/>
              <a:gd name="connsiteY216" fmla="*/ 5829480 h 6858285"/>
              <a:gd name="connsiteX217" fmla="*/ 3923810 w 4011840"/>
              <a:gd name="connsiteY217" fmla="*/ 5789625 h 6858285"/>
              <a:gd name="connsiteX218" fmla="*/ 4006898 w 4011840"/>
              <a:gd name="connsiteY218" fmla="*/ 5752095 h 6858285"/>
              <a:gd name="connsiteX219" fmla="*/ 397251 w 4011840"/>
              <a:gd name="connsiteY219" fmla="*/ 5667772 h 6858285"/>
              <a:gd name="connsiteX220" fmla="*/ 420367 w 4011840"/>
              <a:gd name="connsiteY220" fmla="*/ 5688013 h 6858285"/>
              <a:gd name="connsiteX221" fmla="*/ 401303 w 4011840"/>
              <a:gd name="connsiteY221" fmla="*/ 5743258 h 6858285"/>
              <a:gd name="connsiteX222" fmla="*/ 63863 w 4011840"/>
              <a:gd name="connsiteY222" fmla="*/ 5907088 h 6858285"/>
              <a:gd name="connsiteX223" fmla="*/ 8576 w 4011840"/>
              <a:gd name="connsiteY223" fmla="*/ 5888038 h 6858285"/>
              <a:gd name="connsiteX224" fmla="*/ 4764 w 4011840"/>
              <a:gd name="connsiteY224" fmla="*/ 5868988 h 6858285"/>
              <a:gd name="connsiteX225" fmla="*/ 27641 w 4011840"/>
              <a:gd name="connsiteY225" fmla="*/ 5832793 h 6858285"/>
              <a:gd name="connsiteX226" fmla="*/ 366987 w 4011840"/>
              <a:gd name="connsiteY226" fmla="*/ 5668963 h 6858285"/>
              <a:gd name="connsiteX227" fmla="*/ 397251 w 4011840"/>
              <a:gd name="connsiteY227" fmla="*/ 5667772 h 6858285"/>
              <a:gd name="connsiteX228" fmla="*/ 941847 w 4011840"/>
              <a:gd name="connsiteY228" fmla="*/ 5656671 h 6858285"/>
              <a:gd name="connsiteX229" fmla="*/ 965201 w 4011840"/>
              <a:gd name="connsiteY229" fmla="*/ 5676936 h 6858285"/>
              <a:gd name="connsiteX230" fmla="*/ 946137 w 4011840"/>
              <a:gd name="connsiteY230" fmla="*/ 5732250 h 6858285"/>
              <a:gd name="connsiteX231" fmla="*/ 606791 w 4011840"/>
              <a:gd name="connsiteY231" fmla="*/ 5894377 h 6858285"/>
              <a:gd name="connsiteX232" fmla="*/ 551504 w 4011840"/>
              <a:gd name="connsiteY232" fmla="*/ 5873396 h 6858285"/>
              <a:gd name="connsiteX233" fmla="*/ 547691 w 4011840"/>
              <a:gd name="connsiteY233" fmla="*/ 5856229 h 6858285"/>
              <a:gd name="connsiteX234" fmla="*/ 570568 w 4011840"/>
              <a:gd name="connsiteY234" fmla="*/ 5818082 h 6858285"/>
              <a:gd name="connsiteX235" fmla="*/ 909914 w 4011840"/>
              <a:gd name="connsiteY235" fmla="*/ 5657863 h 6858285"/>
              <a:gd name="connsiteX236" fmla="*/ 941847 w 4011840"/>
              <a:gd name="connsiteY236" fmla="*/ 5656671 h 6858285"/>
              <a:gd name="connsiteX237" fmla="*/ 1487895 w 4011840"/>
              <a:gd name="connsiteY237" fmla="*/ 5644852 h 6858285"/>
              <a:gd name="connsiteX238" fmla="*/ 1512898 w 4011840"/>
              <a:gd name="connsiteY238" fmla="*/ 5665859 h 6858285"/>
              <a:gd name="connsiteX239" fmla="*/ 1491943 w 4011840"/>
              <a:gd name="connsiteY239" fmla="*/ 5723153 h 6858285"/>
              <a:gd name="connsiteX240" fmla="*/ 1152849 w 4011840"/>
              <a:gd name="connsiteY240" fmla="*/ 5881664 h 6858285"/>
              <a:gd name="connsiteX241" fmla="*/ 1097603 w 4011840"/>
              <a:gd name="connsiteY241" fmla="*/ 5860656 h 6858285"/>
              <a:gd name="connsiteX242" fmla="*/ 1093793 w 4011840"/>
              <a:gd name="connsiteY242" fmla="*/ 5843468 h 6858285"/>
              <a:gd name="connsiteX243" fmla="*/ 1116653 w 4011840"/>
              <a:gd name="connsiteY243" fmla="*/ 5805273 h 6858285"/>
              <a:gd name="connsiteX244" fmla="*/ 1455747 w 4011840"/>
              <a:gd name="connsiteY244" fmla="*/ 5646762 h 6858285"/>
              <a:gd name="connsiteX245" fmla="*/ 1487895 w 4011840"/>
              <a:gd name="connsiteY245" fmla="*/ 5644852 h 6858285"/>
              <a:gd name="connsiteX246" fmla="*/ 2025802 w 4011840"/>
              <a:gd name="connsiteY246" fmla="*/ 5631125 h 6858285"/>
              <a:gd name="connsiteX247" fmla="*/ 2066916 w 4011840"/>
              <a:gd name="connsiteY247" fmla="*/ 5654878 h 6858285"/>
              <a:gd name="connsiteX248" fmla="*/ 2045894 w 4011840"/>
              <a:gd name="connsiteY248" fmla="*/ 5711813 h 6858285"/>
              <a:gd name="connsiteX249" fmla="*/ 1705799 w 4011840"/>
              <a:gd name="connsiteY249" fmla="*/ 5867437 h 6858285"/>
              <a:gd name="connsiteX250" fmla="*/ 1648480 w 4011840"/>
              <a:gd name="connsiteY250" fmla="*/ 5846560 h 6858285"/>
              <a:gd name="connsiteX251" fmla="*/ 1644659 w 4011840"/>
              <a:gd name="connsiteY251" fmla="*/ 5829480 h 6858285"/>
              <a:gd name="connsiteX252" fmla="*/ 1669497 w 4011840"/>
              <a:gd name="connsiteY252" fmla="*/ 5789625 h 6858285"/>
              <a:gd name="connsiteX253" fmla="*/ 2009592 w 4011840"/>
              <a:gd name="connsiteY253" fmla="*/ 5635900 h 6858285"/>
              <a:gd name="connsiteX254" fmla="*/ 2025802 w 4011840"/>
              <a:gd name="connsiteY254" fmla="*/ 5631125 h 6858285"/>
              <a:gd name="connsiteX255" fmla="*/ 3732520 w 4011840"/>
              <a:gd name="connsiteY255" fmla="*/ 5620418 h 6858285"/>
              <a:gd name="connsiteX256" fmla="*/ 3756078 w 4011840"/>
              <a:gd name="connsiteY256" fmla="*/ 5642408 h 6858285"/>
              <a:gd name="connsiteX257" fmla="*/ 3735138 w 4011840"/>
              <a:gd name="connsiteY257" fmla="*/ 5699775 h 6858285"/>
              <a:gd name="connsiteX258" fmla="*/ 3396308 w 4011840"/>
              <a:gd name="connsiteY258" fmla="*/ 5854665 h 6858285"/>
              <a:gd name="connsiteX259" fmla="*/ 3339199 w 4011840"/>
              <a:gd name="connsiteY259" fmla="*/ 5833630 h 6858285"/>
              <a:gd name="connsiteX260" fmla="*/ 3335390 w 4011840"/>
              <a:gd name="connsiteY260" fmla="*/ 5814508 h 6858285"/>
              <a:gd name="connsiteX261" fmla="*/ 3360135 w 4011840"/>
              <a:gd name="connsiteY261" fmla="*/ 5776264 h 6858285"/>
              <a:gd name="connsiteX262" fmla="*/ 3698968 w 4011840"/>
              <a:gd name="connsiteY262" fmla="*/ 5621374 h 6858285"/>
              <a:gd name="connsiteX263" fmla="*/ 3732520 w 4011840"/>
              <a:gd name="connsiteY263" fmla="*/ 5620418 h 6858285"/>
              <a:gd name="connsiteX264" fmla="*/ 2598306 w 4011840"/>
              <a:gd name="connsiteY264" fmla="*/ 5620418 h 6858285"/>
              <a:gd name="connsiteX265" fmla="*/ 2622577 w 4011840"/>
              <a:gd name="connsiteY265" fmla="*/ 5642408 h 6858285"/>
              <a:gd name="connsiteX266" fmla="*/ 2601638 w 4011840"/>
              <a:gd name="connsiteY266" fmla="*/ 5699775 h 6858285"/>
              <a:gd name="connsiteX267" fmla="*/ 2262794 w 4011840"/>
              <a:gd name="connsiteY267" fmla="*/ 5854665 h 6858285"/>
              <a:gd name="connsiteX268" fmla="*/ 2205686 w 4011840"/>
              <a:gd name="connsiteY268" fmla="*/ 5833630 h 6858285"/>
              <a:gd name="connsiteX269" fmla="*/ 2201879 w 4011840"/>
              <a:gd name="connsiteY269" fmla="*/ 5814508 h 6858285"/>
              <a:gd name="connsiteX270" fmla="*/ 2226626 w 4011840"/>
              <a:gd name="connsiteY270" fmla="*/ 5776264 h 6858285"/>
              <a:gd name="connsiteX271" fmla="*/ 2565468 w 4011840"/>
              <a:gd name="connsiteY271" fmla="*/ 5621374 h 6858285"/>
              <a:gd name="connsiteX272" fmla="*/ 2598306 w 4011840"/>
              <a:gd name="connsiteY272" fmla="*/ 5620418 h 6858285"/>
              <a:gd name="connsiteX273" fmla="*/ 3160334 w 4011840"/>
              <a:gd name="connsiteY273" fmla="*/ 5609262 h 6858285"/>
              <a:gd name="connsiteX274" fmla="*/ 3184589 w 4011840"/>
              <a:gd name="connsiteY274" fmla="*/ 5631142 h 6858285"/>
              <a:gd name="connsiteX275" fmla="*/ 3161758 w 4011840"/>
              <a:gd name="connsiteY275" fmla="*/ 5688219 h 6858285"/>
              <a:gd name="connsiteX276" fmla="*/ 2823162 w 4011840"/>
              <a:gd name="connsiteY276" fmla="*/ 5840426 h 6858285"/>
              <a:gd name="connsiteX277" fmla="*/ 2766094 w 4011840"/>
              <a:gd name="connsiteY277" fmla="*/ 5817595 h 6858285"/>
              <a:gd name="connsiteX278" fmla="*/ 2762292 w 4011840"/>
              <a:gd name="connsiteY278" fmla="*/ 5800472 h 6858285"/>
              <a:gd name="connsiteX279" fmla="*/ 2787018 w 4011840"/>
              <a:gd name="connsiteY279" fmla="*/ 5760517 h 6858285"/>
              <a:gd name="connsiteX280" fmla="*/ 3127521 w 4011840"/>
              <a:gd name="connsiteY280" fmla="*/ 5610214 h 6858285"/>
              <a:gd name="connsiteX281" fmla="*/ 3160334 w 4011840"/>
              <a:gd name="connsiteY281" fmla="*/ 5609262 h 6858285"/>
              <a:gd name="connsiteX282" fmla="*/ 4011840 w 4011840"/>
              <a:gd name="connsiteY282" fmla="*/ 5423585 h 6858285"/>
              <a:gd name="connsiteX283" fmla="*/ 4011840 w 4011840"/>
              <a:gd name="connsiteY283" fmla="*/ 5518922 h 6858285"/>
              <a:gd name="connsiteX284" fmla="*/ 3958460 w 4011840"/>
              <a:gd name="connsiteY284" fmla="*/ 5541963 h 6858285"/>
              <a:gd name="connsiteX285" fmla="*/ 3901184 w 4011840"/>
              <a:gd name="connsiteY285" fmla="*/ 5519103 h 6858285"/>
              <a:gd name="connsiteX286" fmla="*/ 3897364 w 4011840"/>
              <a:gd name="connsiteY286" fmla="*/ 5501958 h 6858285"/>
              <a:gd name="connsiteX287" fmla="*/ 3924092 w 4011840"/>
              <a:gd name="connsiteY287" fmla="*/ 5461953 h 6858285"/>
              <a:gd name="connsiteX288" fmla="*/ 4007056 w 4011840"/>
              <a:gd name="connsiteY288" fmla="*/ 5425676 h 6858285"/>
              <a:gd name="connsiteX289" fmla="*/ 398204 w 4011840"/>
              <a:gd name="connsiteY289" fmla="*/ 5347056 h 6858285"/>
              <a:gd name="connsiteX290" fmla="*/ 422273 w 4011840"/>
              <a:gd name="connsiteY290" fmla="*/ 5367196 h 6858285"/>
              <a:gd name="connsiteX291" fmla="*/ 401302 w 4011840"/>
              <a:gd name="connsiteY291" fmla="*/ 5422166 h 6858285"/>
              <a:gd name="connsiteX292" fmla="*/ 63863 w 4011840"/>
              <a:gd name="connsiteY292" fmla="*/ 5583285 h 6858285"/>
              <a:gd name="connsiteX293" fmla="*/ 8576 w 4011840"/>
              <a:gd name="connsiteY293" fmla="*/ 5564330 h 6858285"/>
              <a:gd name="connsiteX294" fmla="*/ 4763 w 4011840"/>
              <a:gd name="connsiteY294" fmla="*/ 5547270 h 6858285"/>
              <a:gd name="connsiteX295" fmla="*/ 27641 w 4011840"/>
              <a:gd name="connsiteY295" fmla="*/ 5509360 h 6858285"/>
              <a:gd name="connsiteX296" fmla="*/ 366986 w 4011840"/>
              <a:gd name="connsiteY296" fmla="*/ 5348240 h 6858285"/>
              <a:gd name="connsiteX297" fmla="*/ 398204 w 4011840"/>
              <a:gd name="connsiteY297" fmla="*/ 5347056 h 6858285"/>
              <a:gd name="connsiteX298" fmla="*/ 941871 w 4011840"/>
              <a:gd name="connsiteY298" fmla="*/ 5334657 h 6858285"/>
              <a:gd name="connsiteX299" fmla="*/ 965208 w 4011840"/>
              <a:gd name="connsiteY299" fmla="*/ 5356619 h 6858285"/>
              <a:gd name="connsiteX300" fmla="*/ 946158 w 4011840"/>
              <a:gd name="connsiteY300" fmla="*/ 5412003 h 6858285"/>
              <a:gd name="connsiteX301" fmla="*/ 605159 w 4011840"/>
              <a:gd name="connsiteY301" fmla="*/ 5570514 h 6858285"/>
              <a:gd name="connsiteX302" fmla="*/ 549913 w 4011840"/>
              <a:gd name="connsiteY302" fmla="*/ 5549506 h 6858285"/>
              <a:gd name="connsiteX303" fmla="*/ 546103 w 4011840"/>
              <a:gd name="connsiteY303" fmla="*/ 5532318 h 6858285"/>
              <a:gd name="connsiteX304" fmla="*/ 570868 w 4011840"/>
              <a:gd name="connsiteY304" fmla="*/ 5494123 h 6858285"/>
              <a:gd name="connsiteX305" fmla="*/ 909962 w 4011840"/>
              <a:gd name="connsiteY305" fmla="*/ 5335612 h 6858285"/>
              <a:gd name="connsiteX306" fmla="*/ 941871 w 4011840"/>
              <a:gd name="connsiteY306" fmla="*/ 5334657 h 6858285"/>
              <a:gd name="connsiteX307" fmla="*/ 1489585 w 4011840"/>
              <a:gd name="connsiteY307" fmla="*/ 5323794 h 6858285"/>
              <a:gd name="connsiteX308" fmla="*/ 1512904 w 4011840"/>
              <a:gd name="connsiteY308" fmla="*/ 5347457 h 6858285"/>
              <a:gd name="connsiteX309" fmla="*/ 1491964 w 4011840"/>
              <a:gd name="connsiteY309" fmla="*/ 5402912 h 6858285"/>
              <a:gd name="connsiteX310" fmla="*/ 1153121 w 4011840"/>
              <a:gd name="connsiteY310" fmla="*/ 5555889 h 6858285"/>
              <a:gd name="connsiteX311" fmla="*/ 1096012 w 4011840"/>
              <a:gd name="connsiteY311" fmla="*/ 5534855 h 6858285"/>
              <a:gd name="connsiteX312" fmla="*/ 1092205 w 4011840"/>
              <a:gd name="connsiteY312" fmla="*/ 5517645 h 6858285"/>
              <a:gd name="connsiteX313" fmla="*/ 1116952 w 4011840"/>
              <a:gd name="connsiteY313" fmla="*/ 5477488 h 6858285"/>
              <a:gd name="connsiteX314" fmla="*/ 1457699 w 4011840"/>
              <a:gd name="connsiteY314" fmla="*/ 5324511 h 6858285"/>
              <a:gd name="connsiteX315" fmla="*/ 1489585 w 4011840"/>
              <a:gd name="connsiteY315" fmla="*/ 5323794 h 6858285"/>
              <a:gd name="connsiteX316" fmla="*/ 2026929 w 4011840"/>
              <a:gd name="connsiteY316" fmla="*/ 5309969 h 6858285"/>
              <a:gd name="connsiteX317" fmla="*/ 2068518 w 4011840"/>
              <a:gd name="connsiteY317" fmla="*/ 5336223 h 6858285"/>
              <a:gd name="connsiteX318" fmla="*/ 2045619 w 4011840"/>
              <a:gd name="connsiteY318" fmla="*/ 5395278 h 6858285"/>
              <a:gd name="connsiteX319" fmla="*/ 1704121 w 4011840"/>
              <a:gd name="connsiteY319" fmla="*/ 5541963 h 6858285"/>
              <a:gd name="connsiteX320" fmla="*/ 1646887 w 4011840"/>
              <a:gd name="connsiteY320" fmla="*/ 5519103 h 6858285"/>
              <a:gd name="connsiteX321" fmla="*/ 1643071 w 4011840"/>
              <a:gd name="connsiteY321" fmla="*/ 5501958 h 6858285"/>
              <a:gd name="connsiteX322" fmla="*/ 1669781 w 4011840"/>
              <a:gd name="connsiteY322" fmla="*/ 5461953 h 6858285"/>
              <a:gd name="connsiteX323" fmla="*/ 2009371 w 4011840"/>
              <a:gd name="connsiteY323" fmla="*/ 5313363 h 6858285"/>
              <a:gd name="connsiteX324" fmla="*/ 2026929 w 4011840"/>
              <a:gd name="connsiteY324" fmla="*/ 5309969 h 6858285"/>
              <a:gd name="connsiteX325" fmla="*/ 3719258 w 4011840"/>
              <a:gd name="connsiteY325" fmla="*/ 5298894 h 6858285"/>
              <a:gd name="connsiteX326" fmla="*/ 3759236 w 4011840"/>
              <a:gd name="connsiteY326" fmla="*/ 5327059 h 6858285"/>
              <a:gd name="connsiteX327" fmla="*/ 3736336 w 4011840"/>
              <a:gd name="connsiteY327" fmla="*/ 5386191 h 6858285"/>
              <a:gd name="connsiteX328" fmla="*/ 3394855 w 4011840"/>
              <a:gd name="connsiteY328" fmla="*/ 5529250 h 6858285"/>
              <a:gd name="connsiteX329" fmla="*/ 3337618 w 4011840"/>
              <a:gd name="connsiteY329" fmla="*/ 5504453 h 6858285"/>
              <a:gd name="connsiteX330" fmla="*/ 3333804 w 4011840"/>
              <a:gd name="connsiteY330" fmla="*/ 5487286 h 6858285"/>
              <a:gd name="connsiteX331" fmla="*/ 3360513 w 4011840"/>
              <a:gd name="connsiteY331" fmla="*/ 5447229 h 6858285"/>
              <a:gd name="connsiteX332" fmla="*/ 3701998 w 4011840"/>
              <a:gd name="connsiteY332" fmla="*/ 5302262 h 6858285"/>
              <a:gd name="connsiteX333" fmla="*/ 3719258 w 4011840"/>
              <a:gd name="connsiteY333" fmla="*/ 5298894 h 6858285"/>
              <a:gd name="connsiteX334" fmla="*/ 2583547 w 4011840"/>
              <a:gd name="connsiteY334" fmla="*/ 5298894 h 6858285"/>
              <a:gd name="connsiteX335" fmla="*/ 2624178 w 4011840"/>
              <a:gd name="connsiteY335" fmla="*/ 5327059 h 6858285"/>
              <a:gd name="connsiteX336" fmla="*/ 2601368 w 4011840"/>
              <a:gd name="connsiteY336" fmla="*/ 5386191 h 6858285"/>
              <a:gd name="connsiteX337" fmla="*/ 2261117 w 4011840"/>
              <a:gd name="connsiteY337" fmla="*/ 5529250 h 6858285"/>
              <a:gd name="connsiteX338" fmla="*/ 2204092 w 4011840"/>
              <a:gd name="connsiteY338" fmla="*/ 5504453 h 6858285"/>
              <a:gd name="connsiteX339" fmla="*/ 2200290 w 4011840"/>
              <a:gd name="connsiteY339" fmla="*/ 5487286 h 6858285"/>
              <a:gd name="connsiteX340" fmla="*/ 2226902 w 4011840"/>
              <a:gd name="connsiteY340" fmla="*/ 5447229 h 6858285"/>
              <a:gd name="connsiteX341" fmla="*/ 2567153 w 4011840"/>
              <a:gd name="connsiteY341" fmla="*/ 5302262 h 6858285"/>
              <a:gd name="connsiteX342" fmla="*/ 2583547 w 4011840"/>
              <a:gd name="connsiteY342" fmla="*/ 5298894 h 6858285"/>
              <a:gd name="connsiteX343" fmla="*/ 3161733 w 4011840"/>
              <a:gd name="connsiteY343" fmla="*/ 5292225 h 6858285"/>
              <a:gd name="connsiteX344" fmla="*/ 3186188 w 4011840"/>
              <a:gd name="connsiteY344" fmla="*/ 5317400 h 6858285"/>
              <a:gd name="connsiteX345" fmla="*/ 3161495 w 4011840"/>
              <a:gd name="connsiteY345" fmla="*/ 5376300 h 6858285"/>
              <a:gd name="connsiteX346" fmla="*/ 2821486 w 4011840"/>
              <a:gd name="connsiteY346" fmla="*/ 5515000 h 6858285"/>
              <a:gd name="connsiteX347" fmla="*/ 2762604 w 4011840"/>
              <a:gd name="connsiteY347" fmla="*/ 5488400 h 6858285"/>
              <a:gd name="connsiteX348" fmla="*/ 2760705 w 4011840"/>
              <a:gd name="connsiteY348" fmla="*/ 5471300 h 6858285"/>
              <a:gd name="connsiteX349" fmla="*/ 2787298 w 4011840"/>
              <a:gd name="connsiteY349" fmla="*/ 5429500 h 6858285"/>
              <a:gd name="connsiteX350" fmla="*/ 3127305 w 4011840"/>
              <a:gd name="connsiteY350" fmla="*/ 5292700 h 6858285"/>
              <a:gd name="connsiteX351" fmla="*/ 3161733 w 4011840"/>
              <a:gd name="connsiteY351" fmla="*/ 5292225 h 6858285"/>
              <a:gd name="connsiteX352" fmla="*/ 4011840 w 4011840"/>
              <a:gd name="connsiteY352" fmla="*/ 5097617 h 6858285"/>
              <a:gd name="connsiteX353" fmla="*/ 4011840 w 4011840"/>
              <a:gd name="connsiteY353" fmla="*/ 5195949 h 6858285"/>
              <a:gd name="connsiteX354" fmla="*/ 3958692 w 4011840"/>
              <a:gd name="connsiteY354" fmla="*/ 5218087 h 6858285"/>
              <a:gd name="connsiteX355" fmla="*/ 3899590 w 4011840"/>
              <a:gd name="connsiteY355" fmla="*/ 5193257 h 6858285"/>
              <a:gd name="connsiteX356" fmla="*/ 3895780 w 4011840"/>
              <a:gd name="connsiteY356" fmla="*/ 5176068 h 6858285"/>
              <a:gd name="connsiteX357" fmla="*/ 3924374 w 4011840"/>
              <a:gd name="connsiteY357" fmla="*/ 5134049 h 6858285"/>
              <a:gd name="connsiteX358" fmla="*/ 4007216 w 4011840"/>
              <a:gd name="connsiteY358" fmla="*/ 5099543 h 6858285"/>
              <a:gd name="connsiteX359" fmla="*/ 398945 w 4011840"/>
              <a:gd name="connsiteY359" fmla="*/ 5024845 h 6858285"/>
              <a:gd name="connsiteX360" fmla="*/ 422281 w 4011840"/>
              <a:gd name="connsiteY360" fmla="*/ 5045110 h 6858285"/>
              <a:gd name="connsiteX361" fmla="*/ 401326 w 4011840"/>
              <a:gd name="connsiteY361" fmla="*/ 5100424 h 6858285"/>
              <a:gd name="connsiteX362" fmla="*/ 62232 w 4011840"/>
              <a:gd name="connsiteY362" fmla="*/ 5262551 h 6858285"/>
              <a:gd name="connsiteX363" fmla="*/ 8891 w 4011840"/>
              <a:gd name="connsiteY363" fmla="*/ 5241570 h 6858285"/>
              <a:gd name="connsiteX364" fmla="*/ 3176 w 4011840"/>
              <a:gd name="connsiteY364" fmla="*/ 5224403 h 6858285"/>
              <a:gd name="connsiteX365" fmla="*/ 27941 w 4011840"/>
              <a:gd name="connsiteY365" fmla="*/ 5186256 h 6858285"/>
              <a:gd name="connsiteX366" fmla="*/ 367036 w 4011840"/>
              <a:gd name="connsiteY366" fmla="*/ 5026037 h 6858285"/>
              <a:gd name="connsiteX367" fmla="*/ 398945 w 4011840"/>
              <a:gd name="connsiteY367" fmla="*/ 5024845 h 6858285"/>
              <a:gd name="connsiteX368" fmla="*/ 942531 w 4011840"/>
              <a:gd name="connsiteY368" fmla="*/ 5014175 h 6858285"/>
              <a:gd name="connsiteX369" fmla="*/ 966802 w 4011840"/>
              <a:gd name="connsiteY369" fmla="*/ 5037690 h 6858285"/>
              <a:gd name="connsiteX370" fmla="*/ 945862 w 4011840"/>
              <a:gd name="connsiteY370" fmla="*/ 5092795 h 6858285"/>
              <a:gd name="connsiteX371" fmla="*/ 605115 w 4011840"/>
              <a:gd name="connsiteY371" fmla="*/ 5246711 h 6858285"/>
              <a:gd name="connsiteX372" fmla="*/ 549910 w 4011840"/>
              <a:gd name="connsiteY372" fmla="*/ 5225809 h 6858285"/>
              <a:gd name="connsiteX373" fmla="*/ 546103 w 4011840"/>
              <a:gd name="connsiteY373" fmla="*/ 5208707 h 6858285"/>
              <a:gd name="connsiteX374" fmla="*/ 570850 w 4011840"/>
              <a:gd name="connsiteY374" fmla="*/ 5168803 h 6858285"/>
              <a:gd name="connsiteX375" fmla="*/ 909693 w 4011840"/>
              <a:gd name="connsiteY375" fmla="*/ 5014888 h 6858285"/>
              <a:gd name="connsiteX376" fmla="*/ 942531 w 4011840"/>
              <a:gd name="connsiteY376" fmla="*/ 5014175 h 6858285"/>
              <a:gd name="connsiteX377" fmla="*/ 1491734 w 4011840"/>
              <a:gd name="connsiteY377" fmla="*/ 5004627 h 6858285"/>
              <a:gd name="connsiteX378" fmla="*/ 1516059 w 4011840"/>
              <a:gd name="connsiteY378" fmla="*/ 5028079 h 6858285"/>
              <a:gd name="connsiteX379" fmla="*/ 1493165 w 4011840"/>
              <a:gd name="connsiteY379" fmla="*/ 5084934 h 6858285"/>
              <a:gd name="connsiteX380" fmla="*/ 1153575 w 4011840"/>
              <a:gd name="connsiteY380" fmla="*/ 5230861 h 6858285"/>
              <a:gd name="connsiteX381" fmla="*/ 1094433 w 4011840"/>
              <a:gd name="connsiteY381" fmla="*/ 5208119 h 6858285"/>
              <a:gd name="connsiteX382" fmla="*/ 1090618 w 4011840"/>
              <a:gd name="connsiteY382" fmla="*/ 5191063 h 6858285"/>
              <a:gd name="connsiteX383" fmla="*/ 1117327 w 4011840"/>
              <a:gd name="connsiteY383" fmla="*/ 5151264 h 6858285"/>
              <a:gd name="connsiteX384" fmla="*/ 1458825 w 4011840"/>
              <a:gd name="connsiteY384" fmla="*/ 5005338 h 6858285"/>
              <a:gd name="connsiteX385" fmla="*/ 1491734 w 4011840"/>
              <a:gd name="connsiteY385" fmla="*/ 5004627 h 6858285"/>
              <a:gd name="connsiteX386" fmla="*/ 2028590 w 4011840"/>
              <a:gd name="connsiteY386" fmla="*/ 4989339 h 6858285"/>
              <a:gd name="connsiteX387" fmla="*/ 2070119 w 4011840"/>
              <a:gd name="connsiteY387" fmla="*/ 5017541 h 6858285"/>
              <a:gd name="connsiteX388" fmla="*/ 2045349 w 4011840"/>
              <a:gd name="connsiteY388" fmla="*/ 5076750 h 6858285"/>
              <a:gd name="connsiteX389" fmla="*/ 1704349 w 4011840"/>
              <a:gd name="connsiteY389" fmla="*/ 5218087 h 6858285"/>
              <a:gd name="connsiteX390" fmla="*/ 1645293 w 4011840"/>
              <a:gd name="connsiteY390" fmla="*/ 5193257 h 6858285"/>
              <a:gd name="connsiteX391" fmla="*/ 1641483 w 4011840"/>
              <a:gd name="connsiteY391" fmla="*/ 5176068 h 6858285"/>
              <a:gd name="connsiteX392" fmla="*/ 1670059 w 4011840"/>
              <a:gd name="connsiteY392" fmla="*/ 5134049 h 6858285"/>
              <a:gd name="connsiteX393" fmla="*/ 2011058 w 4011840"/>
              <a:gd name="connsiteY393" fmla="*/ 4992712 h 6858285"/>
              <a:gd name="connsiteX394" fmla="*/ 2028590 w 4011840"/>
              <a:gd name="connsiteY394" fmla="*/ 4989339 h 6858285"/>
              <a:gd name="connsiteX395" fmla="*/ 3720408 w 4011840"/>
              <a:gd name="connsiteY395" fmla="*/ 4979828 h 6858285"/>
              <a:gd name="connsiteX396" fmla="*/ 3762740 w 4011840"/>
              <a:gd name="connsiteY396" fmla="*/ 5009832 h 6858285"/>
              <a:gd name="connsiteX397" fmla="*/ 3736068 w 4011840"/>
              <a:gd name="connsiteY397" fmla="*/ 5068887 h 6858285"/>
              <a:gd name="connsiteX398" fmla="*/ 3395084 w 4011840"/>
              <a:gd name="connsiteY398" fmla="*/ 5202237 h 6858285"/>
              <a:gd name="connsiteX399" fmla="*/ 3334121 w 4011840"/>
              <a:gd name="connsiteY399" fmla="*/ 5175567 h 6858285"/>
              <a:gd name="connsiteX400" fmla="*/ 3332215 w 4011840"/>
              <a:gd name="connsiteY400" fmla="*/ 5158422 h 6858285"/>
              <a:gd name="connsiteX401" fmla="*/ 3360792 w 4011840"/>
              <a:gd name="connsiteY401" fmla="*/ 5116512 h 6858285"/>
              <a:gd name="connsiteX402" fmla="*/ 3701776 w 4011840"/>
              <a:gd name="connsiteY402" fmla="*/ 4983162 h 6858285"/>
              <a:gd name="connsiteX403" fmla="*/ 3720408 w 4011840"/>
              <a:gd name="connsiteY403" fmla="*/ 4979828 h 6858285"/>
              <a:gd name="connsiteX404" fmla="*/ 2585923 w 4011840"/>
              <a:gd name="connsiteY404" fmla="*/ 4979828 h 6858285"/>
              <a:gd name="connsiteX405" fmla="*/ 2629210 w 4011840"/>
              <a:gd name="connsiteY405" fmla="*/ 5009832 h 6858285"/>
              <a:gd name="connsiteX406" fmla="*/ 2602444 w 4011840"/>
              <a:gd name="connsiteY406" fmla="*/ 5068887 h 6858285"/>
              <a:gd name="connsiteX407" fmla="*/ 2260209 w 4011840"/>
              <a:gd name="connsiteY407" fmla="*/ 5202237 h 6858285"/>
              <a:gd name="connsiteX408" fmla="*/ 2199027 w 4011840"/>
              <a:gd name="connsiteY408" fmla="*/ 5175567 h 6858285"/>
              <a:gd name="connsiteX409" fmla="*/ 2197115 w 4011840"/>
              <a:gd name="connsiteY409" fmla="*/ 5158422 h 6858285"/>
              <a:gd name="connsiteX410" fmla="*/ 2225794 w 4011840"/>
              <a:gd name="connsiteY410" fmla="*/ 5116512 h 6858285"/>
              <a:gd name="connsiteX411" fmla="*/ 2568028 w 4011840"/>
              <a:gd name="connsiteY411" fmla="*/ 4983162 h 6858285"/>
              <a:gd name="connsiteX412" fmla="*/ 2585923 w 4011840"/>
              <a:gd name="connsiteY412" fmla="*/ 4979828 h 6858285"/>
              <a:gd name="connsiteX413" fmla="*/ 3148522 w 4011840"/>
              <a:gd name="connsiteY413" fmla="*/ 4969031 h 6858285"/>
              <a:gd name="connsiteX414" fmla="*/ 3190913 w 4011840"/>
              <a:gd name="connsiteY414" fmla="*/ 5000728 h 6858285"/>
              <a:gd name="connsiteX415" fmla="*/ 3162293 w 4011840"/>
              <a:gd name="connsiteY415" fmla="*/ 5061853 h 6858285"/>
              <a:gd name="connsiteX416" fmla="*/ 2820804 w 4011840"/>
              <a:gd name="connsiteY416" fmla="*/ 5187924 h 6858285"/>
              <a:gd name="connsiteX417" fmla="*/ 2759756 w 4011840"/>
              <a:gd name="connsiteY417" fmla="*/ 5161182 h 6858285"/>
              <a:gd name="connsiteX418" fmla="*/ 2755940 w 4011840"/>
              <a:gd name="connsiteY418" fmla="*/ 5143990 h 6858285"/>
              <a:gd name="connsiteX419" fmla="*/ 2788374 w 4011840"/>
              <a:gd name="connsiteY419" fmla="*/ 5098146 h 6858285"/>
              <a:gd name="connsiteX420" fmla="*/ 3129862 w 4011840"/>
              <a:gd name="connsiteY420" fmla="*/ 4972076 h 6858285"/>
              <a:gd name="connsiteX421" fmla="*/ 3148522 w 4011840"/>
              <a:gd name="connsiteY421" fmla="*/ 4969031 h 6858285"/>
              <a:gd name="connsiteX422" fmla="*/ 4011840 w 4011840"/>
              <a:gd name="connsiteY422" fmla="*/ 4771408 h 6858285"/>
              <a:gd name="connsiteX423" fmla="*/ 4011840 w 4011840"/>
              <a:gd name="connsiteY423" fmla="*/ 4871523 h 6858285"/>
              <a:gd name="connsiteX424" fmla="*/ 3957012 w 4011840"/>
              <a:gd name="connsiteY424" fmla="*/ 4892674 h 6858285"/>
              <a:gd name="connsiteX425" fmla="*/ 3897996 w 4011840"/>
              <a:gd name="connsiteY425" fmla="*/ 4866004 h 6858285"/>
              <a:gd name="connsiteX426" fmla="*/ 3894188 w 4011840"/>
              <a:gd name="connsiteY426" fmla="*/ 4848859 h 6858285"/>
              <a:gd name="connsiteX427" fmla="*/ 3924648 w 4011840"/>
              <a:gd name="connsiteY427" fmla="*/ 4805044 h 6858285"/>
              <a:gd name="connsiteX428" fmla="*/ 4007834 w 4011840"/>
              <a:gd name="connsiteY428" fmla="*/ 4772953 h 6858285"/>
              <a:gd name="connsiteX429" fmla="*/ 398944 w 4011840"/>
              <a:gd name="connsiteY429" fmla="*/ 4701876 h 6858285"/>
              <a:gd name="connsiteX430" fmla="*/ 422281 w 4011840"/>
              <a:gd name="connsiteY430" fmla="*/ 4722883 h 6858285"/>
              <a:gd name="connsiteX431" fmla="*/ 401326 w 4011840"/>
              <a:gd name="connsiteY431" fmla="*/ 4778267 h 6858285"/>
              <a:gd name="connsiteX432" fmla="*/ 62232 w 4011840"/>
              <a:gd name="connsiteY432" fmla="*/ 4938688 h 6858285"/>
              <a:gd name="connsiteX433" fmla="*/ 6986 w 4011840"/>
              <a:gd name="connsiteY433" fmla="*/ 4919590 h 6858285"/>
              <a:gd name="connsiteX434" fmla="*/ 3176 w 4011840"/>
              <a:gd name="connsiteY434" fmla="*/ 4900492 h 6858285"/>
              <a:gd name="connsiteX435" fmla="*/ 27941 w 4011840"/>
              <a:gd name="connsiteY435" fmla="*/ 4864207 h 6858285"/>
              <a:gd name="connsiteX436" fmla="*/ 367035 w 4011840"/>
              <a:gd name="connsiteY436" fmla="*/ 4703786 h 6858285"/>
              <a:gd name="connsiteX437" fmla="*/ 398944 w 4011840"/>
              <a:gd name="connsiteY437" fmla="*/ 4701876 h 6858285"/>
              <a:gd name="connsiteX438" fmla="*/ 943147 w 4011840"/>
              <a:gd name="connsiteY438" fmla="*/ 4693284 h 6858285"/>
              <a:gd name="connsiteX439" fmla="*/ 966774 w 4011840"/>
              <a:gd name="connsiteY439" fmla="*/ 4715192 h 6858285"/>
              <a:gd name="connsiteX440" fmla="*/ 945772 w 4011840"/>
              <a:gd name="connsiteY440" fmla="*/ 4772342 h 6858285"/>
              <a:gd name="connsiteX441" fmla="*/ 604023 w 4011840"/>
              <a:gd name="connsiteY441" fmla="*/ 4922837 h 6858285"/>
              <a:gd name="connsiteX442" fmla="*/ 546746 w 4011840"/>
              <a:gd name="connsiteY442" fmla="*/ 4901882 h 6858285"/>
              <a:gd name="connsiteX443" fmla="*/ 542928 w 4011840"/>
              <a:gd name="connsiteY443" fmla="*/ 4882832 h 6858285"/>
              <a:gd name="connsiteX444" fmla="*/ 569657 w 4011840"/>
              <a:gd name="connsiteY444" fmla="*/ 4842827 h 6858285"/>
              <a:gd name="connsiteX445" fmla="*/ 909497 w 4011840"/>
              <a:gd name="connsiteY445" fmla="*/ 4694237 h 6858285"/>
              <a:gd name="connsiteX446" fmla="*/ 943147 w 4011840"/>
              <a:gd name="connsiteY446" fmla="*/ 4693284 h 6858285"/>
              <a:gd name="connsiteX447" fmla="*/ 1476099 w 4011840"/>
              <a:gd name="connsiteY447" fmla="*/ 4679736 h 6858285"/>
              <a:gd name="connsiteX448" fmla="*/ 1517653 w 4011840"/>
              <a:gd name="connsiteY448" fmla="*/ 4707755 h 6858285"/>
              <a:gd name="connsiteX449" fmla="*/ 1492870 w 4011840"/>
              <a:gd name="connsiteY449" fmla="*/ 4766579 h 6858285"/>
              <a:gd name="connsiteX450" fmla="*/ 1151623 w 4011840"/>
              <a:gd name="connsiteY450" fmla="*/ 4906999 h 6858285"/>
              <a:gd name="connsiteX451" fmla="*/ 1094430 w 4011840"/>
              <a:gd name="connsiteY451" fmla="*/ 4882331 h 6858285"/>
              <a:gd name="connsiteX452" fmla="*/ 1090618 w 4011840"/>
              <a:gd name="connsiteY452" fmla="*/ 4865253 h 6858285"/>
              <a:gd name="connsiteX453" fmla="*/ 1117307 w 4011840"/>
              <a:gd name="connsiteY453" fmla="*/ 4823506 h 6858285"/>
              <a:gd name="connsiteX454" fmla="*/ 1458554 w 4011840"/>
              <a:gd name="connsiteY454" fmla="*/ 4683087 h 6858285"/>
              <a:gd name="connsiteX455" fmla="*/ 1476099 w 4011840"/>
              <a:gd name="connsiteY455" fmla="*/ 4679736 h 6858285"/>
              <a:gd name="connsiteX456" fmla="*/ 2029448 w 4011840"/>
              <a:gd name="connsiteY456" fmla="*/ 4670533 h 6858285"/>
              <a:gd name="connsiteX457" fmla="*/ 2071719 w 4011840"/>
              <a:gd name="connsiteY457" fmla="*/ 4700269 h 6858285"/>
              <a:gd name="connsiteX458" fmla="*/ 2045082 w 4011840"/>
              <a:gd name="connsiteY458" fmla="*/ 4761229 h 6858285"/>
              <a:gd name="connsiteX459" fmla="*/ 1704573 w 4011840"/>
              <a:gd name="connsiteY459" fmla="*/ 4892674 h 6858285"/>
              <a:gd name="connsiteX460" fmla="*/ 1643700 w 4011840"/>
              <a:gd name="connsiteY460" fmla="*/ 4866004 h 6858285"/>
              <a:gd name="connsiteX461" fmla="*/ 1639895 w 4011840"/>
              <a:gd name="connsiteY461" fmla="*/ 4848859 h 6858285"/>
              <a:gd name="connsiteX462" fmla="*/ 1670332 w 4011840"/>
              <a:gd name="connsiteY462" fmla="*/ 4805044 h 6858285"/>
              <a:gd name="connsiteX463" fmla="*/ 2010841 w 4011840"/>
              <a:gd name="connsiteY463" fmla="*/ 4673599 h 6858285"/>
              <a:gd name="connsiteX464" fmla="*/ 2029448 w 4011840"/>
              <a:gd name="connsiteY464" fmla="*/ 4670533 h 6858285"/>
              <a:gd name="connsiteX465" fmla="*/ 3720840 w 4011840"/>
              <a:gd name="connsiteY465" fmla="*/ 4661020 h 6858285"/>
              <a:gd name="connsiteX466" fmla="*/ 3764004 w 4011840"/>
              <a:gd name="connsiteY466" fmla="*/ 4692545 h 6858285"/>
              <a:gd name="connsiteX467" fmla="*/ 3735408 w 4011840"/>
              <a:gd name="connsiteY467" fmla="*/ 4755238 h 6858285"/>
              <a:gd name="connsiteX468" fmla="*/ 3392273 w 4011840"/>
              <a:gd name="connsiteY468" fmla="*/ 4876825 h 6858285"/>
              <a:gd name="connsiteX469" fmla="*/ 3331265 w 4011840"/>
              <a:gd name="connsiteY469" fmla="*/ 4848328 h 6858285"/>
              <a:gd name="connsiteX470" fmla="*/ 3327453 w 4011840"/>
              <a:gd name="connsiteY470" fmla="*/ 4831230 h 6858285"/>
              <a:gd name="connsiteX471" fmla="*/ 3359861 w 4011840"/>
              <a:gd name="connsiteY471" fmla="*/ 4785635 h 6858285"/>
              <a:gd name="connsiteX472" fmla="*/ 3701092 w 4011840"/>
              <a:gd name="connsiteY472" fmla="*/ 4664048 h 6858285"/>
              <a:gd name="connsiteX473" fmla="*/ 3720840 w 4011840"/>
              <a:gd name="connsiteY473" fmla="*/ 4661020 h 6858285"/>
              <a:gd name="connsiteX474" fmla="*/ 2587339 w 4011840"/>
              <a:gd name="connsiteY474" fmla="*/ 4661020 h 6858285"/>
              <a:gd name="connsiteX475" fmla="*/ 2630501 w 4011840"/>
              <a:gd name="connsiteY475" fmla="*/ 4692545 h 6858285"/>
              <a:gd name="connsiteX476" fmla="*/ 2601905 w 4011840"/>
              <a:gd name="connsiteY476" fmla="*/ 4755238 h 6858285"/>
              <a:gd name="connsiteX477" fmla="*/ 2258757 w 4011840"/>
              <a:gd name="connsiteY477" fmla="*/ 4876825 h 6858285"/>
              <a:gd name="connsiteX478" fmla="*/ 2197753 w 4011840"/>
              <a:gd name="connsiteY478" fmla="*/ 4848328 h 6858285"/>
              <a:gd name="connsiteX479" fmla="*/ 2193940 w 4011840"/>
              <a:gd name="connsiteY479" fmla="*/ 4831230 h 6858285"/>
              <a:gd name="connsiteX480" fmla="*/ 2226348 w 4011840"/>
              <a:gd name="connsiteY480" fmla="*/ 4785635 h 6858285"/>
              <a:gd name="connsiteX481" fmla="*/ 2567590 w 4011840"/>
              <a:gd name="connsiteY481" fmla="*/ 4664048 h 6858285"/>
              <a:gd name="connsiteX482" fmla="*/ 2587339 w 4011840"/>
              <a:gd name="connsiteY482" fmla="*/ 4661020 h 6858285"/>
              <a:gd name="connsiteX483" fmla="*/ 3149675 w 4011840"/>
              <a:gd name="connsiteY483" fmla="*/ 4651820 h 6858285"/>
              <a:gd name="connsiteX484" fmla="*/ 3194414 w 4011840"/>
              <a:gd name="connsiteY484" fmla="*/ 4685085 h 6858285"/>
              <a:gd name="connsiteX485" fmla="*/ 3162027 w 4011840"/>
              <a:gd name="connsiteY485" fmla="*/ 4748038 h 6858285"/>
              <a:gd name="connsiteX486" fmla="*/ 2819126 w 4011840"/>
              <a:gd name="connsiteY486" fmla="*/ 4862498 h 6858285"/>
              <a:gd name="connsiteX487" fmla="*/ 2756258 w 4011840"/>
              <a:gd name="connsiteY487" fmla="*/ 4830068 h 6858285"/>
              <a:gd name="connsiteX488" fmla="*/ 2754353 w 4011840"/>
              <a:gd name="connsiteY488" fmla="*/ 4814807 h 6858285"/>
              <a:gd name="connsiteX489" fmla="*/ 2788646 w 4011840"/>
              <a:gd name="connsiteY489" fmla="*/ 4767115 h 6858285"/>
              <a:gd name="connsiteX490" fmla="*/ 3129644 w 4011840"/>
              <a:gd name="connsiteY490" fmla="*/ 4654562 h 6858285"/>
              <a:gd name="connsiteX491" fmla="*/ 3149675 w 4011840"/>
              <a:gd name="connsiteY491" fmla="*/ 4651820 h 6858285"/>
              <a:gd name="connsiteX492" fmla="*/ 4011840 w 4011840"/>
              <a:gd name="connsiteY492" fmla="*/ 4445533 h 6858285"/>
              <a:gd name="connsiteX493" fmla="*/ 4011840 w 4011840"/>
              <a:gd name="connsiteY493" fmla="*/ 4548851 h 6858285"/>
              <a:gd name="connsiteX494" fmla="*/ 3957236 w 4011840"/>
              <a:gd name="connsiteY494" fmla="*/ 4569111 h 6858285"/>
              <a:gd name="connsiteX495" fmla="*/ 3896404 w 4011840"/>
              <a:gd name="connsiteY495" fmla="*/ 4538506 h 6858285"/>
              <a:gd name="connsiteX496" fmla="*/ 3892602 w 4011840"/>
              <a:gd name="connsiteY496" fmla="*/ 4523203 h 6858285"/>
              <a:gd name="connsiteX497" fmla="*/ 3924918 w 4011840"/>
              <a:gd name="connsiteY497" fmla="*/ 4477296 h 6858285"/>
              <a:gd name="connsiteX498" fmla="*/ 4007986 w 4011840"/>
              <a:gd name="connsiteY498" fmla="*/ 4446942 h 6858285"/>
              <a:gd name="connsiteX499" fmla="*/ 398944 w 4011840"/>
              <a:gd name="connsiteY499" fmla="*/ 4379613 h 6858285"/>
              <a:gd name="connsiteX500" fmla="*/ 422281 w 4011840"/>
              <a:gd name="connsiteY500" fmla="*/ 4400620 h 6858285"/>
              <a:gd name="connsiteX501" fmla="*/ 401326 w 4011840"/>
              <a:gd name="connsiteY501" fmla="*/ 4456004 h 6858285"/>
              <a:gd name="connsiteX502" fmla="*/ 62232 w 4011840"/>
              <a:gd name="connsiteY502" fmla="*/ 4616425 h 6858285"/>
              <a:gd name="connsiteX503" fmla="*/ 6986 w 4011840"/>
              <a:gd name="connsiteY503" fmla="*/ 4595417 h 6858285"/>
              <a:gd name="connsiteX504" fmla="*/ 3176 w 4011840"/>
              <a:gd name="connsiteY504" fmla="*/ 4578229 h 6858285"/>
              <a:gd name="connsiteX505" fmla="*/ 27941 w 4011840"/>
              <a:gd name="connsiteY505" fmla="*/ 4540034 h 6858285"/>
              <a:gd name="connsiteX506" fmla="*/ 367035 w 4011840"/>
              <a:gd name="connsiteY506" fmla="*/ 4381523 h 6858285"/>
              <a:gd name="connsiteX507" fmla="*/ 398944 w 4011840"/>
              <a:gd name="connsiteY507" fmla="*/ 4379613 h 6858285"/>
              <a:gd name="connsiteX508" fmla="*/ 943805 w 4011840"/>
              <a:gd name="connsiteY508" fmla="*/ 4371271 h 6858285"/>
              <a:gd name="connsiteX509" fmla="*/ 968368 w 4011840"/>
              <a:gd name="connsiteY509" fmla="*/ 4394876 h 6858285"/>
              <a:gd name="connsiteX510" fmla="*/ 945475 w 4011840"/>
              <a:gd name="connsiteY510" fmla="*/ 4452100 h 6858285"/>
              <a:gd name="connsiteX511" fmla="*/ 603977 w 4011840"/>
              <a:gd name="connsiteY511" fmla="*/ 4598974 h 6858285"/>
              <a:gd name="connsiteX512" fmla="*/ 546743 w 4011840"/>
              <a:gd name="connsiteY512" fmla="*/ 4576085 h 6858285"/>
              <a:gd name="connsiteX513" fmla="*/ 542927 w 4011840"/>
              <a:gd name="connsiteY513" fmla="*/ 4558918 h 6858285"/>
              <a:gd name="connsiteX514" fmla="*/ 569637 w 4011840"/>
              <a:gd name="connsiteY514" fmla="*/ 4518861 h 6858285"/>
              <a:gd name="connsiteX515" fmla="*/ 909226 w 4011840"/>
              <a:gd name="connsiteY515" fmla="*/ 4371986 h 6858285"/>
              <a:gd name="connsiteX516" fmla="*/ 943805 w 4011840"/>
              <a:gd name="connsiteY516" fmla="*/ 4371271 h 6858285"/>
              <a:gd name="connsiteX517" fmla="*/ 1477208 w 4011840"/>
              <a:gd name="connsiteY517" fmla="*/ 4359077 h 6858285"/>
              <a:gd name="connsiteX518" fmla="*/ 1517660 w 4011840"/>
              <a:gd name="connsiteY518" fmla="*/ 4387168 h 6858285"/>
              <a:gd name="connsiteX519" fmla="*/ 1492894 w 4011840"/>
              <a:gd name="connsiteY519" fmla="*/ 4448048 h 6858285"/>
              <a:gd name="connsiteX520" fmla="*/ 1151895 w 4011840"/>
              <a:gd name="connsiteY520" fmla="*/ 4583124 h 6858285"/>
              <a:gd name="connsiteX521" fmla="*/ 1092840 w 4011840"/>
              <a:gd name="connsiteY521" fmla="*/ 4556490 h 6858285"/>
              <a:gd name="connsiteX522" fmla="*/ 1089029 w 4011840"/>
              <a:gd name="connsiteY522" fmla="*/ 4539367 h 6858285"/>
              <a:gd name="connsiteX523" fmla="*/ 1117605 w 4011840"/>
              <a:gd name="connsiteY523" fmla="*/ 4497513 h 6858285"/>
              <a:gd name="connsiteX524" fmla="*/ 1458604 w 4011840"/>
              <a:gd name="connsiteY524" fmla="*/ 4362436 h 6858285"/>
              <a:gd name="connsiteX525" fmla="*/ 1477208 w 4011840"/>
              <a:gd name="connsiteY525" fmla="*/ 4359077 h 6858285"/>
              <a:gd name="connsiteX526" fmla="*/ 2029782 w 4011840"/>
              <a:gd name="connsiteY526" fmla="*/ 4349914 h 6858285"/>
              <a:gd name="connsiteX527" fmla="*/ 2073629 w 4011840"/>
              <a:gd name="connsiteY527" fmla="*/ 4381655 h 6858285"/>
              <a:gd name="connsiteX528" fmla="*/ 2045109 w 4011840"/>
              <a:gd name="connsiteY528" fmla="*/ 4442865 h 6858285"/>
              <a:gd name="connsiteX529" fmla="*/ 1702940 w 4011840"/>
              <a:gd name="connsiteY529" fmla="*/ 4569111 h 6858285"/>
              <a:gd name="connsiteX530" fmla="*/ 1642110 w 4011840"/>
              <a:gd name="connsiteY530" fmla="*/ 4538506 h 6858285"/>
              <a:gd name="connsiteX531" fmla="*/ 1638308 w 4011840"/>
              <a:gd name="connsiteY531" fmla="*/ 4523203 h 6858285"/>
              <a:gd name="connsiteX532" fmla="*/ 1670624 w 4011840"/>
              <a:gd name="connsiteY532" fmla="*/ 4477296 h 6858285"/>
              <a:gd name="connsiteX533" fmla="*/ 2010892 w 4011840"/>
              <a:gd name="connsiteY533" fmla="*/ 4352963 h 6858285"/>
              <a:gd name="connsiteX534" fmla="*/ 2029782 w 4011840"/>
              <a:gd name="connsiteY534" fmla="*/ 4349914 h 6858285"/>
              <a:gd name="connsiteX535" fmla="*/ 3722768 w 4011840"/>
              <a:gd name="connsiteY535" fmla="*/ 4341193 h 6858285"/>
              <a:gd name="connsiteX536" fmla="*/ 3765602 w 4011840"/>
              <a:gd name="connsiteY536" fmla="*/ 4375580 h 6858285"/>
              <a:gd name="connsiteX537" fmla="*/ 3733240 w 4011840"/>
              <a:gd name="connsiteY537" fmla="*/ 4438622 h 6858285"/>
              <a:gd name="connsiteX538" fmla="*/ 3392498 w 4011840"/>
              <a:gd name="connsiteY538" fmla="*/ 4551335 h 6858285"/>
              <a:gd name="connsiteX539" fmla="*/ 3329674 w 4011840"/>
              <a:gd name="connsiteY539" fmla="*/ 4518858 h 6858285"/>
              <a:gd name="connsiteX540" fmla="*/ 3325864 w 4011840"/>
              <a:gd name="connsiteY540" fmla="*/ 4503575 h 6858285"/>
              <a:gd name="connsiteX541" fmla="*/ 3360130 w 4011840"/>
              <a:gd name="connsiteY541" fmla="*/ 4455816 h 6858285"/>
              <a:gd name="connsiteX542" fmla="*/ 3702782 w 4011840"/>
              <a:gd name="connsiteY542" fmla="*/ 4343103 h 6858285"/>
              <a:gd name="connsiteX543" fmla="*/ 3722768 w 4011840"/>
              <a:gd name="connsiteY543" fmla="*/ 4341193 h 6858285"/>
              <a:gd name="connsiteX544" fmla="*/ 2589270 w 4011840"/>
              <a:gd name="connsiteY544" fmla="*/ 4341193 h 6858285"/>
              <a:gd name="connsiteX545" fmla="*/ 2632103 w 4011840"/>
              <a:gd name="connsiteY545" fmla="*/ 4375580 h 6858285"/>
              <a:gd name="connsiteX546" fmla="*/ 2599739 w 4011840"/>
              <a:gd name="connsiteY546" fmla="*/ 4438622 h 6858285"/>
              <a:gd name="connsiteX547" fmla="*/ 2258981 w 4011840"/>
              <a:gd name="connsiteY547" fmla="*/ 4551335 h 6858285"/>
              <a:gd name="connsiteX548" fmla="*/ 2196160 w 4011840"/>
              <a:gd name="connsiteY548" fmla="*/ 4518858 h 6858285"/>
              <a:gd name="connsiteX549" fmla="*/ 2192353 w 4011840"/>
              <a:gd name="connsiteY549" fmla="*/ 4503575 h 6858285"/>
              <a:gd name="connsiteX550" fmla="*/ 2226618 w 4011840"/>
              <a:gd name="connsiteY550" fmla="*/ 4455816 h 6858285"/>
              <a:gd name="connsiteX551" fmla="*/ 2569281 w 4011840"/>
              <a:gd name="connsiteY551" fmla="*/ 4343103 h 6858285"/>
              <a:gd name="connsiteX552" fmla="*/ 2589270 w 4011840"/>
              <a:gd name="connsiteY552" fmla="*/ 4341193 h 6858285"/>
              <a:gd name="connsiteX553" fmla="*/ 3152169 w 4011840"/>
              <a:gd name="connsiteY553" fmla="*/ 4331988 h 6858285"/>
              <a:gd name="connsiteX554" fmla="*/ 3195709 w 4011840"/>
              <a:gd name="connsiteY554" fmla="*/ 4369816 h 6858285"/>
              <a:gd name="connsiteX555" fmla="*/ 3161515 w 4011840"/>
              <a:gd name="connsiteY555" fmla="*/ 4434681 h 6858285"/>
              <a:gd name="connsiteX556" fmla="*/ 2819566 w 4011840"/>
              <a:gd name="connsiteY556" fmla="*/ 4535794 h 6858285"/>
              <a:gd name="connsiteX557" fmla="*/ 2753078 w 4011840"/>
              <a:gd name="connsiteY557" fmla="*/ 4499546 h 6858285"/>
              <a:gd name="connsiteX558" fmla="*/ 2751179 w 4011840"/>
              <a:gd name="connsiteY558" fmla="*/ 4486191 h 6858285"/>
              <a:gd name="connsiteX559" fmla="*/ 2789170 w 4011840"/>
              <a:gd name="connsiteY559" fmla="*/ 4434681 h 6858285"/>
              <a:gd name="connsiteX560" fmla="*/ 3131122 w 4011840"/>
              <a:gd name="connsiteY560" fmla="*/ 4333568 h 6858285"/>
              <a:gd name="connsiteX561" fmla="*/ 3152169 w 4011840"/>
              <a:gd name="connsiteY561" fmla="*/ 4331988 h 6858285"/>
              <a:gd name="connsiteX562" fmla="*/ 4011840 w 4011840"/>
              <a:gd name="connsiteY562" fmla="*/ 4120157 h 6858285"/>
              <a:gd name="connsiteX563" fmla="*/ 4011840 w 4011840"/>
              <a:gd name="connsiteY563" fmla="*/ 4224539 h 6858285"/>
              <a:gd name="connsiteX564" fmla="*/ 3956340 w 4011840"/>
              <a:gd name="connsiteY564" fmla="*/ 4243386 h 6858285"/>
              <a:gd name="connsiteX565" fmla="*/ 3893252 w 4011840"/>
              <a:gd name="connsiteY565" fmla="*/ 4212906 h 6858285"/>
              <a:gd name="connsiteX566" fmla="*/ 3889424 w 4011840"/>
              <a:gd name="connsiteY566" fmla="*/ 4195761 h 6858285"/>
              <a:gd name="connsiteX567" fmla="*/ 3923840 w 4011840"/>
              <a:gd name="connsiteY567" fmla="*/ 4150041 h 6858285"/>
              <a:gd name="connsiteX568" fmla="*/ 4007382 w 4011840"/>
              <a:gd name="connsiteY568" fmla="*/ 4121671 h 6858285"/>
              <a:gd name="connsiteX569" fmla="*/ 383168 w 4011840"/>
              <a:gd name="connsiteY569" fmla="*/ 4054778 h 6858285"/>
              <a:gd name="connsiteX570" fmla="*/ 422281 w 4011840"/>
              <a:gd name="connsiteY570" fmla="*/ 4078680 h 6858285"/>
              <a:gd name="connsiteX571" fmla="*/ 401325 w 4011840"/>
              <a:gd name="connsiteY571" fmla="*/ 4135973 h 6858285"/>
              <a:gd name="connsiteX572" fmla="*/ 62231 w 4011840"/>
              <a:gd name="connsiteY572" fmla="*/ 4292575 h 6858285"/>
              <a:gd name="connsiteX573" fmla="*/ 6986 w 4011840"/>
              <a:gd name="connsiteY573" fmla="*/ 4271567 h 6858285"/>
              <a:gd name="connsiteX574" fmla="*/ 3176 w 4011840"/>
              <a:gd name="connsiteY574" fmla="*/ 4254379 h 6858285"/>
              <a:gd name="connsiteX575" fmla="*/ 27941 w 4011840"/>
              <a:gd name="connsiteY575" fmla="*/ 4216184 h 6858285"/>
              <a:gd name="connsiteX576" fmla="*/ 367035 w 4011840"/>
              <a:gd name="connsiteY576" fmla="*/ 4059583 h 6858285"/>
              <a:gd name="connsiteX577" fmla="*/ 383168 w 4011840"/>
              <a:gd name="connsiteY577" fmla="*/ 4054778 h 6858285"/>
              <a:gd name="connsiteX578" fmla="*/ 926784 w 4011840"/>
              <a:gd name="connsiteY578" fmla="*/ 4046333 h 6858285"/>
              <a:gd name="connsiteX579" fmla="*/ 968368 w 4011840"/>
              <a:gd name="connsiteY579" fmla="*/ 4072655 h 6858285"/>
              <a:gd name="connsiteX580" fmla="*/ 945475 w 4011840"/>
              <a:gd name="connsiteY580" fmla="*/ 4131864 h 6858285"/>
              <a:gd name="connsiteX581" fmla="*/ 603977 w 4011840"/>
              <a:gd name="connsiteY581" fmla="*/ 4275111 h 6858285"/>
              <a:gd name="connsiteX582" fmla="*/ 544835 w 4011840"/>
              <a:gd name="connsiteY582" fmla="*/ 4252191 h 6858285"/>
              <a:gd name="connsiteX583" fmla="*/ 542927 w 4011840"/>
              <a:gd name="connsiteY583" fmla="*/ 4235002 h 6858285"/>
              <a:gd name="connsiteX584" fmla="*/ 569637 w 4011840"/>
              <a:gd name="connsiteY584" fmla="*/ 4192983 h 6858285"/>
              <a:gd name="connsiteX585" fmla="*/ 909226 w 4011840"/>
              <a:gd name="connsiteY585" fmla="*/ 4049736 h 6858285"/>
              <a:gd name="connsiteX586" fmla="*/ 926784 w 4011840"/>
              <a:gd name="connsiteY586" fmla="*/ 4046333 h 6858285"/>
              <a:gd name="connsiteX587" fmla="*/ 1458388 w 4011840"/>
              <a:gd name="connsiteY587" fmla="*/ 4041415 h 6858285"/>
              <a:gd name="connsiteX588" fmla="*/ 1519261 w 4011840"/>
              <a:gd name="connsiteY588" fmla="*/ 4069836 h 6858285"/>
              <a:gd name="connsiteX589" fmla="*/ 1492629 w 4011840"/>
              <a:gd name="connsiteY589" fmla="*/ 4130469 h 6858285"/>
              <a:gd name="connsiteX590" fmla="*/ 1152120 w 4011840"/>
              <a:gd name="connsiteY590" fmla="*/ 4259312 h 6858285"/>
              <a:gd name="connsiteX591" fmla="*/ 1091247 w 4011840"/>
              <a:gd name="connsiteY591" fmla="*/ 4230891 h 6858285"/>
              <a:gd name="connsiteX592" fmla="*/ 1087442 w 4011840"/>
              <a:gd name="connsiteY592" fmla="*/ 4215733 h 6858285"/>
              <a:gd name="connsiteX593" fmla="*/ 1117879 w 4011840"/>
              <a:gd name="connsiteY593" fmla="*/ 4170258 h 6858285"/>
              <a:gd name="connsiteX594" fmla="*/ 1458388 w 4011840"/>
              <a:gd name="connsiteY594" fmla="*/ 4041415 h 6858285"/>
              <a:gd name="connsiteX595" fmla="*/ 2031406 w 4011840"/>
              <a:gd name="connsiteY595" fmla="*/ 4031097 h 6858285"/>
              <a:gd name="connsiteX596" fmla="*/ 2075219 w 4011840"/>
              <a:gd name="connsiteY596" fmla="*/ 4064316 h 6858285"/>
              <a:gd name="connsiteX597" fmla="*/ 2042922 w 4011840"/>
              <a:gd name="connsiteY597" fmla="*/ 4127181 h 6858285"/>
              <a:gd name="connsiteX598" fmla="*/ 1702894 w 4011840"/>
              <a:gd name="connsiteY598" fmla="*/ 4243386 h 6858285"/>
              <a:gd name="connsiteX599" fmla="*/ 1640208 w 4011840"/>
              <a:gd name="connsiteY599" fmla="*/ 4212906 h 6858285"/>
              <a:gd name="connsiteX600" fmla="*/ 1638308 w 4011840"/>
              <a:gd name="connsiteY600" fmla="*/ 4195761 h 6858285"/>
              <a:gd name="connsiteX601" fmla="*/ 1670601 w 4011840"/>
              <a:gd name="connsiteY601" fmla="*/ 4150041 h 6858285"/>
              <a:gd name="connsiteX602" fmla="*/ 2012528 w 4011840"/>
              <a:gd name="connsiteY602" fmla="*/ 4033836 h 6858285"/>
              <a:gd name="connsiteX603" fmla="*/ 2031406 w 4011840"/>
              <a:gd name="connsiteY603" fmla="*/ 4031097 h 6858285"/>
              <a:gd name="connsiteX604" fmla="*/ 3725864 w 4011840"/>
              <a:gd name="connsiteY604" fmla="*/ 4022416 h 6858285"/>
              <a:gd name="connsiteX605" fmla="*/ 3770668 w 4011840"/>
              <a:gd name="connsiteY605" fmla="*/ 4060189 h 6858285"/>
              <a:gd name="connsiteX606" fmla="*/ 3734420 w 4011840"/>
              <a:gd name="connsiteY606" fmla="*/ 4124959 h 6858285"/>
              <a:gd name="connsiteX607" fmla="*/ 3391048 w 4011840"/>
              <a:gd name="connsiteY607" fmla="*/ 4225924 h 6858285"/>
              <a:gd name="connsiteX608" fmla="*/ 3326184 w 4011840"/>
              <a:gd name="connsiteY608" fmla="*/ 4191634 h 6858285"/>
              <a:gd name="connsiteX609" fmla="*/ 3324277 w 4011840"/>
              <a:gd name="connsiteY609" fmla="*/ 4176394 h 6858285"/>
              <a:gd name="connsiteX610" fmla="*/ 3362432 w 4011840"/>
              <a:gd name="connsiteY610" fmla="*/ 4126864 h 6858285"/>
              <a:gd name="connsiteX611" fmla="*/ 3705804 w 4011840"/>
              <a:gd name="connsiteY611" fmla="*/ 4023994 h 6858285"/>
              <a:gd name="connsiteX612" fmla="*/ 3725864 w 4011840"/>
              <a:gd name="connsiteY612" fmla="*/ 4022416 h 6858285"/>
              <a:gd name="connsiteX613" fmla="*/ 2590959 w 4011840"/>
              <a:gd name="connsiteY613" fmla="*/ 4022416 h 6858285"/>
              <a:gd name="connsiteX614" fmla="*/ 2635603 w 4011840"/>
              <a:gd name="connsiteY614" fmla="*/ 4060189 h 6858285"/>
              <a:gd name="connsiteX615" fmla="*/ 2599484 w 4011840"/>
              <a:gd name="connsiteY615" fmla="*/ 4124959 h 6858285"/>
              <a:gd name="connsiteX616" fmla="*/ 2257300 w 4011840"/>
              <a:gd name="connsiteY616" fmla="*/ 4225924 h 6858285"/>
              <a:gd name="connsiteX617" fmla="*/ 2192666 w 4011840"/>
              <a:gd name="connsiteY617" fmla="*/ 4191634 h 6858285"/>
              <a:gd name="connsiteX618" fmla="*/ 2190765 w 4011840"/>
              <a:gd name="connsiteY618" fmla="*/ 4176394 h 6858285"/>
              <a:gd name="connsiteX619" fmla="*/ 2228785 w 4011840"/>
              <a:gd name="connsiteY619" fmla="*/ 4126864 h 6858285"/>
              <a:gd name="connsiteX620" fmla="*/ 2570968 w 4011840"/>
              <a:gd name="connsiteY620" fmla="*/ 4023994 h 6858285"/>
              <a:gd name="connsiteX621" fmla="*/ 2590959 w 4011840"/>
              <a:gd name="connsiteY621" fmla="*/ 4022416 h 6858285"/>
              <a:gd name="connsiteX622" fmla="*/ 3155344 w 4011840"/>
              <a:gd name="connsiteY622" fmla="*/ 4014776 h 6858285"/>
              <a:gd name="connsiteX623" fmla="*/ 3200742 w 4011840"/>
              <a:gd name="connsiteY623" fmla="*/ 4054156 h 6858285"/>
              <a:gd name="connsiteX624" fmla="*/ 3160626 w 4011840"/>
              <a:gd name="connsiteY624" fmla="*/ 4120831 h 6858285"/>
              <a:gd name="connsiteX625" fmla="*/ 2816772 w 4011840"/>
              <a:gd name="connsiteY625" fmla="*/ 4210366 h 6858285"/>
              <a:gd name="connsiteX626" fmla="*/ 2749914 w 4011840"/>
              <a:gd name="connsiteY626" fmla="*/ 4170361 h 6858285"/>
              <a:gd name="connsiteX627" fmla="*/ 2748002 w 4011840"/>
              <a:gd name="connsiteY627" fmla="*/ 4157026 h 6858285"/>
              <a:gd name="connsiteX628" fmla="*/ 2788116 w 4011840"/>
              <a:gd name="connsiteY628" fmla="*/ 4103686 h 6858285"/>
              <a:gd name="connsiteX629" fmla="*/ 3133885 w 4011840"/>
              <a:gd name="connsiteY629" fmla="*/ 4016056 h 6858285"/>
              <a:gd name="connsiteX630" fmla="*/ 3155344 w 4011840"/>
              <a:gd name="connsiteY630" fmla="*/ 4014776 h 6858285"/>
              <a:gd name="connsiteX631" fmla="*/ 4011840 w 4011840"/>
              <a:gd name="connsiteY631" fmla="*/ 3792351 h 6858285"/>
              <a:gd name="connsiteX632" fmla="*/ 4011840 w 4011840"/>
              <a:gd name="connsiteY632" fmla="*/ 3898685 h 6858285"/>
              <a:gd name="connsiteX633" fmla="*/ 3954656 w 4011840"/>
              <a:gd name="connsiteY633" fmla="*/ 3916388 h 6858285"/>
              <a:gd name="connsiteX634" fmla="*/ 3891656 w 4011840"/>
              <a:gd name="connsiteY634" fmla="*/ 3884095 h 6858285"/>
              <a:gd name="connsiteX635" fmla="*/ 3887840 w 4011840"/>
              <a:gd name="connsiteY635" fmla="*/ 3868899 h 6858285"/>
              <a:gd name="connsiteX636" fmla="*/ 3924112 w 4011840"/>
              <a:gd name="connsiteY636" fmla="*/ 3819510 h 6858285"/>
              <a:gd name="connsiteX637" fmla="*/ 4008000 w 4011840"/>
              <a:gd name="connsiteY637" fmla="*/ 3793539 h 6858285"/>
              <a:gd name="connsiteX638" fmla="*/ 398944 w 4011840"/>
              <a:gd name="connsiteY638" fmla="*/ 3734455 h 6858285"/>
              <a:gd name="connsiteX639" fmla="*/ 422280 w 4011840"/>
              <a:gd name="connsiteY639" fmla="*/ 3756417 h 6858285"/>
              <a:gd name="connsiteX640" fmla="*/ 401325 w 4011840"/>
              <a:gd name="connsiteY640" fmla="*/ 3813710 h 6858285"/>
              <a:gd name="connsiteX641" fmla="*/ 62231 w 4011840"/>
              <a:gd name="connsiteY641" fmla="*/ 3970312 h 6858285"/>
              <a:gd name="connsiteX642" fmla="*/ 6985 w 4011840"/>
              <a:gd name="connsiteY642" fmla="*/ 3949304 h 6858285"/>
              <a:gd name="connsiteX643" fmla="*/ 3175 w 4011840"/>
              <a:gd name="connsiteY643" fmla="*/ 3930207 h 6858285"/>
              <a:gd name="connsiteX644" fmla="*/ 27941 w 4011840"/>
              <a:gd name="connsiteY644" fmla="*/ 3892011 h 6858285"/>
              <a:gd name="connsiteX645" fmla="*/ 367035 w 4011840"/>
              <a:gd name="connsiteY645" fmla="*/ 3735410 h 6858285"/>
              <a:gd name="connsiteX646" fmla="*/ 398944 w 4011840"/>
              <a:gd name="connsiteY646" fmla="*/ 3734455 h 6858285"/>
              <a:gd name="connsiteX647" fmla="*/ 927625 w 4011840"/>
              <a:gd name="connsiteY647" fmla="*/ 3725656 h 6858285"/>
              <a:gd name="connsiteX648" fmla="*/ 968374 w 4011840"/>
              <a:gd name="connsiteY648" fmla="*/ 3753711 h 6858285"/>
              <a:gd name="connsiteX649" fmla="*/ 945497 w 4011840"/>
              <a:gd name="connsiteY649" fmla="*/ 3812611 h 6858285"/>
              <a:gd name="connsiteX650" fmla="*/ 604250 w 4011840"/>
              <a:gd name="connsiteY650" fmla="*/ 3951311 h 6858285"/>
              <a:gd name="connsiteX651" fmla="*/ 545152 w 4011840"/>
              <a:gd name="connsiteY651" fmla="*/ 3928511 h 6858285"/>
              <a:gd name="connsiteX652" fmla="*/ 541339 w 4011840"/>
              <a:gd name="connsiteY652" fmla="*/ 3911411 h 6858285"/>
              <a:gd name="connsiteX653" fmla="*/ 569935 w 4011840"/>
              <a:gd name="connsiteY653" fmla="*/ 3869611 h 6858285"/>
              <a:gd name="connsiteX654" fmla="*/ 909276 w 4011840"/>
              <a:gd name="connsiteY654" fmla="*/ 3729011 h 6858285"/>
              <a:gd name="connsiteX655" fmla="*/ 927625 w 4011840"/>
              <a:gd name="connsiteY655" fmla="*/ 3725656 h 6858285"/>
              <a:gd name="connsiteX656" fmla="*/ 1478619 w 4011840"/>
              <a:gd name="connsiteY656" fmla="*/ 3718044 h 6858285"/>
              <a:gd name="connsiteX657" fmla="*/ 1520856 w 4011840"/>
              <a:gd name="connsiteY657" fmla="*/ 3749569 h 6858285"/>
              <a:gd name="connsiteX658" fmla="*/ 1492342 w 4011840"/>
              <a:gd name="connsiteY658" fmla="*/ 3810362 h 6858285"/>
              <a:gd name="connsiteX659" fmla="*/ 1152074 w 4011840"/>
              <a:gd name="connsiteY659" fmla="*/ 3933849 h 6858285"/>
              <a:gd name="connsiteX660" fmla="*/ 1089343 w 4011840"/>
              <a:gd name="connsiteY660" fmla="*/ 3905352 h 6858285"/>
              <a:gd name="connsiteX661" fmla="*/ 1087442 w 4011840"/>
              <a:gd name="connsiteY661" fmla="*/ 3890154 h 6858285"/>
              <a:gd name="connsiteX662" fmla="*/ 1117857 w 4011840"/>
              <a:gd name="connsiteY662" fmla="*/ 3844559 h 6858285"/>
              <a:gd name="connsiteX663" fmla="*/ 1460026 w 4011840"/>
              <a:gd name="connsiteY663" fmla="*/ 3721072 h 6858285"/>
              <a:gd name="connsiteX664" fmla="*/ 1478619 w 4011840"/>
              <a:gd name="connsiteY664" fmla="*/ 3718044 h 6858285"/>
              <a:gd name="connsiteX665" fmla="*/ 2033482 w 4011840"/>
              <a:gd name="connsiteY665" fmla="*/ 3710433 h 6858285"/>
              <a:gd name="connsiteX666" fmla="*/ 2078351 w 4011840"/>
              <a:gd name="connsiteY666" fmla="*/ 3745426 h 6858285"/>
              <a:gd name="connsiteX667" fmla="*/ 2043960 w 4011840"/>
              <a:gd name="connsiteY667" fmla="*/ 3810012 h 6858285"/>
              <a:gd name="connsiteX668" fmla="*/ 1701997 w 4011840"/>
              <a:gd name="connsiteY668" fmla="*/ 3916388 h 6858285"/>
              <a:gd name="connsiteX669" fmla="*/ 1637043 w 4011840"/>
              <a:gd name="connsiteY669" fmla="*/ 3884095 h 6858285"/>
              <a:gd name="connsiteX670" fmla="*/ 1635133 w 4011840"/>
              <a:gd name="connsiteY670" fmla="*/ 3868899 h 6858285"/>
              <a:gd name="connsiteX671" fmla="*/ 1669520 w 4011840"/>
              <a:gd name="connsiteY671" fmla="*/ 3819510 h 6858285"/>
              <a:gd name="connsiteX672" fmla="*/ 2013393 w 4011840"/>
              <a:gd name="connsiteY672" fmla="*/ 3713134 h 6858285"/>
              <a:gd name="connsiteX673" fmla="*/ 2033482 w 4011840"/>
              <a:gd name="connsiteY673" fmla="*/ 3710433 h 6858285"/>
              <a:gd name="connsiteX674" fmla="*/ 3726988 w 4011840"/>
              <a:gd name="connsiteY674" fmla="*/ 3702861 h 6858285"/>
              <a:gd name="connsiteX675" fmla="*/ 3772266 w 4011840"/>
              <a:gd name="connsiteY675" fmla="*/ 3743251 h 6858285"/>
              <a:gd name="connsiteX676" fmla="*/ 3734164 w 4011840"/>
              <a:gd name="connsiteY676" fmla="*/ 3807924 h 6858285"/>
              <a:gd name="connsiteX677" fmla="*/ 3391274 w 4011840"/>
              <a:gd name="connsiteY677" fmla="*/ 3899227 h 6858285"/>
              <a:gd name="connsiteX678" fmla="*/ 3324595 w 4011840"/>
              <a:gd name="connsiteY678" fmla="*/ 3861184 h 6858285"/>
              <a:gd name="connsiteX679" fmla="*/ 3322691 w 4011840"/>
              <a:gd name="connsiteY679" fmla="*/ 3847869 h 6858285"/>
              <a:gd name="connsiteX680" fmla="*/ 3362695 w 4011840"/>
              <a:gd name="connsiteY680" fmla="*/ 3796512 h 6858285"/>
              <a:gd name="connsiteX681" fmla="*/ 3705588 w 4011840"/>
              <a:gd name="connsiteY681" fmla="*/ 3705209 h 6858285"/>
              <a:gd name="connsiteX682" fmla="*/ 3726988 w 4011840"/>
              <a:gd name="connsiteY682" fmla="*/ 3702861 h 6858285"/>
              <a:gd name="connsiteX683" fmla="*/ 2593304 w 4011840"/>
              <a:gd name="connsiteY683" fmla="*/ 3702861 h 6858285"/>
              <a:gd name="connsiteX684" fmla="*/ 2638736 w 4011840"/>
              <a:gd name="connsiteY684" fmla="*/ 3743251 h 6858285"/>
              <a:gd name="connsiteX685" fmla="*/ 2600503 w 4011840"/>
              <a:gd name="connsiteY685" fmla="*/ 3807924 h 6858285"/>
              <a:gd name="connsiteX686" fmla="*/ 2256408 w 4011840"/>
              <a:gd name="connsiteY686" fmla="*/ 3899227 h 6858285"/>
              <a:gd name="connsiteX687" fmla="*/ 2189501 w 4011840"/>
              <a:gd name="connsiteY687" fmla="*/ 3861184 h 6858285"/>
              <a:gd name="connsiteX688" fmla="*/ 2187590 w 4011840"/>
              <a:gd name="connsiteY688" fmla="*/ 3847869 h 6858285"/>
              <a:gd name="connsiteX689" fmla="*/ 2227734 w 4011840"/>
              <a:gd name="connsiteY689" fmla="*/ 3796512 h 6858285"/>
              <a:gd name="connsiteX690" fmla="*/ 2571828 w 4011840"/>
              <a:gd name="connsiteY690" fmla="*/ 3705209 h 6858285"/>
              <a:gd name="connsiteX691" fmla="*/ 2593304 w 4011840"/>
              <a:gd name="connsiteY691" fmla="*/ 3702861 h 6858285"/>
              <a:gd name="connsiteX692" fmla="*/ 3135575 w 4011840"/>
              <a:gd name="connsiteY692" fmla="*/ 3696651 h 6858285"/>
              <a:gd name="connsiteX693" fmla="*/ 3202342 w 4011840"/>
              <a:gd name="connsiteY693" fmla="*/ 3740466 h 6858285"/>
              <a:gd name="connsiteX694" fmla="*/ 3160373 w 4011840"/>
              <a:gd name="connsiteY694" fmla="*/ 3809046 h 6858285"/>
              <a:gd name="connsiteX695" fmla="*/ 2815092 w 4011840"/>
              <a:gd name="connsiteY695" fmla="*/ 3883341 h 6858285"/>
              <a:gd name="connsiteX696" fmla="*/ 2746418 w 4011840"/>
              <a:gd name="connsiteY696" fmla="*/ 3841431 h 6858285"/>
              <a:gd name="connsiteX697" fmla="*/ 2746418 w 4011840"/>
              <a:gd name="connsiteY697" fmla="*/ 3828096 h 6858285"/>
              <a:gd name="connsiteX698" fmla="*/ 2790295 w 4011840"/>
              <a:gd name="connsiteY698" fmla="*/ 3772851 h 6858285"/>
              <a:gd name="connsiteX699" fmla="*/ 3135575 w 4011840"/>
              <a:gd name="connsiteY699" fmla="*/ 3696651 h 6858285"/>
              <a:gd name="connsiteX700" fmla="*/ 4011840 w 4011840"/>
              <a:gd name="connsiteY700" fmla="*/ 3466417 h 6858285"/>
              <a:gd name="connsiteX701" fmla="*/ 4011840 w 4011840"/>
              <a:gd name="connsiteY701" fmla="*/ 3576032 h 6858285"/>
              <a:gd name="connsiteX702" fmla="*/ 3954880 w 4011840"/>
              <a:gd name="connsiteY702" fmla="*/ 3592817 h 6858285"/>
              <a:gd name="connsiteX703" fmla="*/ 3888158 w 4011840"/>
              <a:gd name="connsiteY703" fmla="*/ 3556569 h 6858285"/>
              <a:gd name="connsiteX704" fmla="*/ 3886250 w 4011840"/>
              <a:gd name="connsiteY704" fmla="*/ 3541306 h 6858285"/>
              <a:gd name="connsiteX705" fmla="*/ 3924376 w 4011840"/>
              <a:gd name="connsiteY705" fmla="*/ 3491704 h 6858285"/>
              <a:gd name="connsiteX706" fmla="*/ 4008146 w 4011840"/>
              <a:gd name="connsiteY706" fmla="*/ 3467485 h 6858285"/>
              <a:gd name="connsiteX707" fmla="*/ 398651 w 4011840"/>
              <a:gd name="connsiteY707" fmla="*/ 3413736 h 6858285"/>
              <a:gd name="connsiteX708" fmla="*/ 421971 w 4011840"/>
              <a:gd name="connsiteY708" fmla="*/ 3435588 h 6858285"/>
              <a:gd name="connsiteX709" fmla="*/ 401031 w 4011840"/>
              <a:gd name="connsiteY709" fmla="*/ 3492594 h 6858285"/>
              <a:gd name="connsiteX710" fmla="*/ 62187 w 4011840"/>
              <a:gd name="connsiteY710" fmla="*/ 3646509 h 6858285"/>
              <a:gd name="connsiteX711" fmla="*/ 6983 w 4011840"/>
              <a:gd name="connsiteY711" fmla="*/ 3625607 h 6858285"/>
              <a:gd name="connsiteX712" fmla="*/ 3175 w 4011840"/>
              <a:gd name="connsiteY712" fmla="*/ 3608505 h 6858285"/>
              <a:gd name="connsiteX713" fmla="*/ 27922 w 4011840"/>
              <a:gd name="connsiteY713" fmla="*/ 3568601 h 6858285"/>
              <a:gd name="connsiteX714" fmla="*/ 366766 w 4011840"/>
              <a:gd name="connsiteY714" fmla="*/ 3414687 h 6858285"/>
              <a:gd name="connsiteX715" fmla="*/ 398651 w 4011840"/>
              <a:gd name="connsiteY715" fmla="*/ 3413736 h 6858285"/>
              <a:gd name="connsiteX716" fmla="*/ 928445 w 4011840"/>
              <a:gd name="connsiteY716" fmla="*/ 3403423 h 6858285"/>
              <a:gd name="connsiteX717" fmla="*/ 969969 w 4011840"/>
              <a:gd name="connsiteY717" fmla="*/ 3433348 h 6858285"/>
              <a:gd name="connsiteX718" fmla="*/ 945204 w 4011840"/>
              <a:gd name="connsiteY718" fmla="*/ 3492248 h 6858285"/>
              <a:gd name="connsiteX719" fmla="*/ 604205 w 4011840"/>
              <a:gd name="connsiteY719" fmla="*/ 3629048 h 6858285"/>
              <a:gd name="connsiteX720" fmla="*/ 543244 w 4011840"/>
              <a:gd name="connsiteY720" fmla="*/ 3602448 h 6858285"/>
              <a:gd name="connsiteX721" fmla="*/ 541339 w 4011840"/>
              <a:gd name="connsiteY721" fmla="*/ 3585348 h 6858285"/>
              <a:gd name="connsiteX722" fmla="*/ 569914 w 4011840"/>
              <a:gd name="connsiteY722" fmla="*/ 3543548 h 6858285"/>
              <a:gd name="connsiteX723" fmla="*/ 910913 w 4011840"/>
              <a:gd name="connsiteY723" fmla="*/ 3406748 h 6858285"/>
              <a:gd name="connsiteX724" fmla="*/ 928445 w 4011840"/>
              <a:gd name="connsiteY724" fmla="*/ 3403423 h 6858285"/>
              <a:gd name="connsiteX725" fmla="*/ 1478769 w 4011840"/>
              <a:gd name="connsiteY725" fmla="*/ 3396584 h 6858285"/>
              <a:gd name="connsiteX726" fmla="*/ 1522735 w 4011840"/>
              <a:gd name="connsiteY726" fmla="*/ 3428999 h 6858285"/>
              <a:gd name="connsiteX727" fmla="*/ 1492233 w 4011840"/>
              <a:gd name="connsiteY727" fmla="*/ 3491863 h 6858285"/>
              <a:gd name="connsiteX728" fmla="*/ 1149084 w 4011840"/>
              <a:gd name="connsiteY728" fmla="*/ 3609973 h 6858285"/>
              <a:gd name="connsiteX729" fmla="*/ 1088080 w 4011840"/>
              <a:gd name="connsiteY729" fmla="*/ 3579493 h 6858285"/>
              <a:gd name="connsiteX730" fmla="*/ 1084267 w 4011840"/>
              <a:gd name="connsiteY730" fmla="*/ 3564253 h 6858285"/>
              <a:gd name="connsiteX731" fmla="*/ 1116676 w 4011840"/>
              <a:gd name="connsiteY731" fmla="*/ 3518533 h 6858285"/>
              <a:gd name="connsiteX732" fmla="*/ 1459824 w 4011840"/>
              <a:gd name="connsiteY732" fmla="*/ 3398519 h 6858285"/>
              <a:gd name="connsiteX733" fmla="*/ 1478769 w 4011840"/>
              <a:gd name="connsiteY733" fmla="*/ 3396584 h 6858285"/>
              <a:gd name="connsiteX734" fmla="*/ 2035412 w 4011840"/>
              <a:gd name="connsiteY734" fmla="*/ 3390086 h 6858285"/>
              <a:gd name="connsiteX735" fmla="*/ 2079949 w 4011840"/>
              <a:gd name="connsiteY735" fmla="*/ 3426840 h 6858285"/>
              <a:gd name="connsiteX736" fmla="*/ 2043698 w 4011840"/>
              <a:gd name="connsiteY736" fmla="*/ 3491704 h 6858285"/>
              <a:gd name="connsiteX737" fmla="*/ 1700314 w 4011840"/>
              <a:gd name="connsiteY737" fmla="*/ 3592817 h 6858285"/>
              <a:gd name="connsiteX738" fmla="*/ 1635452 w 4011840"/>
              <a:gd name="connsiteY738" fmla="*/ 3556569 h 6858285"/>
              <a:gd name="connsiteX739" fmla="*/ 1633545 w 4011840"/>
              <a:gd name="connsiteY739" fmla="*/ 3541306 h 6858285"/>
              <a:gd name="connsiteX740" fmla="*/ 1671698 w 4011840"/>
              <a:gd name="connsiteY740" fmla="*/ 3491704 h 6858285"/>
              <a:gd name="connsiteX741" fmla="*/ 2015083 w 4011840"/>
              <a:gd name="connsiteY741" fmla="*/ 3392501 h 6858285"/>
              <a:gd name="connsiteX742" fmla="*/ 2035412 w 4011840"/>
              <a:gd name="connsiteY742" fmla="*/ 3390086 h 6858285"/>
              <a:gd name="connsiteX743" fmla="*/ 3729540 w 4011840"/>
              <a:gd name="connsiteY743" fmla="*/ 3384850 h 6858285"/>
              <a:gd name="connsiteX744" fmla="*/ 3773836 w 4011840"/>
              <a:gd name="connsiteY744" fmla="*/ 3427575 h 6858285"/>
              <a:gd name="connsiteX745" fmla="*/ 3733748 w 4011840"/>
              <a:gd name="connsiteY745" fmla="*/ 3494041 h 6858285"/>
              <a:gd name="connsiteX746" fmla="*/ 3388242 w 4011840"/>
              <a:gd name="connsiteY746" fmla="*/ 3575701 h 6858285"/>
              <a:gd name="connsiteX747" fmla="*/ 3321424 w 4011840"/>
              <a:gd name="connsiteY747" fmla="*/ 3533921 h 6858285"/>
              <a:gd name="connsiteX748" fmla="*/ 3319515 w 4011840"/>
              <a:gd name="connsiteY748" fmla="*/ 3520628 h 6858285"/>
              <a:gd name="connsiteX749" fmla="*/ 3361512 w 4011840"/>
              <a:gd name="connsiteY749" fmla="*/ 3465555 h 6858285"/>
              <a:gd name="connsiteX750" fmla="*/ 3707020 w 4011840"/>
              <a:gd name="connsiteY750" fmla="*/ 3385799 h 6858285"/>
              <a:gd name="connsiteX751" fmla="*/ 3729540 w 4011840"/>
              <a:gd name="connsiteY751" fmla="*/ 3384850 h 6858285"/>
              <a:gd name="connsiteX752" fmla="*/ 2596040 w 4011840"/>
              <a:gd name="connsiteY752" fmla="*/ 3384845 h 6858285"/>
              <a:gd name="connsiteX753" fmla="*/ 2640334 w 4011840"/>
              <a:gd name="connsiteY753" fmla="*/ 3427574 h 6858285"/>
              <a:gd name="connsiteX754" fmla="*/ 2598338 w 4011840"/>
              <a:gd name="connsiteY754" fmla="*/ 3494041 h 6858285"/>
              <a:gd name="connsiteX755" fmla="*/ 2254725 w 4011840"/>
              <a:gd name="connsiteY755" fmla="*/ 3575701 h 6858285"/>
              <a:gd name="connsiteX756" fmla="*/ 2187911 w 4011840"/>
              <a:gd name="connsiteY756" fmla="*/ 3533921 h 6858285"/>
              <a:gd name="connsiteX757" fmla="*/ 2186002 w 4011840"/>
              <a:gd name="connsiteY757" fmla="*/ 3520628 h 6858285"/>
              <a:gd name="connsiteX758" fmla="*/ 2227999 w 4011840"/>
              <a:gd name="connsiteY758" fmla="*/ 3465555 h 6858285"/>
              <a:gd name="connsiteX759" fmla="*/ 2573520 w 4011840"/>
              <a:gd name="connsiteY759" fmla="*/ 3385794 h 6858285"/>
              <a:gd name="connsiteX760" fmla="*/ 2596040 w 4011840"/>
              <a:gd name="connsiteY760" fmla="*/ 3384845 h 6858285"/>
              <a:gd name="connsiteX761" fmla="*/ 3137316 w 4011840"/>
              <a:gd name="connsiteY761" fmla="*/ 3377570 h 6858285"/>
              <a:gd name="connsiteX762" fmla="*/ 3205849 w 4011840"/>
              <a:gd name="connsiteY762" fmla="*/ 3425189 h 6858285"/>
              <a:gd name="connsiteX763" fmla="*/ 3158257 w 4011840"/>
              <a:gd name="connsiteY763" fmla="*/ 3493768 h 6858285"/>
              <a:gd name="connsiteX764" fmla="*/ 2813680 w 4011840"/>
              <a:gd name="connsiteY764" fmla="*/ 3556633 h 6858285"/>
              <a:gd name="connsiteX765" fmla="*/ 2745145 w 4011840"/>
              <a:gd name="connsiteY765" fmla="*/ 3509008 h 6858285"/>
              <a:gd name="connsiteX766" fmla="*/ 2743240 w 4011840"/>
              <a:gd name="connsiteY766" fmla="*/ 3497578 h 6858285"/>
              <a:gd name="connsiteX767" fmla="*/ 2792741 w 4011840"/>
              <a:gd name="connsiteY767" fmla="*/ 3440428 h 6858285"/>
              <a:gd name="connsiteX768" fmla="*/ 3137316 w 4011840"/>
              <a:gd name="connsiteY768" fmla="*/ 3377570 h 6858285"/>
              <a:gd name="connsiteX769" fmla="*/ 4011840 w 4011840"/>
              <a:gd name="connsiteY769" fmla="*/ 3141126 h 6858285"/>
              <a:gd name="connsiteX770" fmla="*/ 4011840 w 4011840"/>
              <a:gd name="connsiteY770" fmla="*/ 3251800 h 6858285"/>
              <a:gd name="connsiteX771" fmla="*/ 3953196 w 4011840"/>
              <a:gd name="connsiteY771" fmla="*/ 3267426 h 6858285"/>
              <a:gd name="connsiteX772" fmla="*/ 3886568 w 4011840"/>
              <a:gd name="connsiteY772" fmla="*/ 3229382 h 6858285"/>
              <a:gd name="connsiteX773" fmla="*/ 3884664 w 4011840"/>
              <a:gd name="connsiteY773" fmla="*/ 3216071 h 6858285"/>
              <a:gd name="connsiteX774" fmla="*/ 3924642 w 4011840"/>
              <a:gd name="connsiteY774" fmla="*/ 3164714 h 6858285"/>
              <a:gd name="connsiteX775" fmla="*/ 4008762 w 4011840"/>
              <a:gd name="connsiteY775" fmla="*/ 3141959 h 6858285"/>
              <a:gd name="connsiteX776" fmla="*/ 399603 w 4011840"/>
              <a:gd name="connsiteY776" fmla="*/ 3091489 h 6858285"/>
              <a:gd name="connsiteX777" fmla="*/ 423874 w 4011840"/>
              <a:gd name="connsiteY777" fmla="*/ 3113341 h 6858285"/>
              <a:gd name="connsiteX778" fmla="*/ 401031 w 4011840"/>
              <a:gd name="connsiteY778" fmla="*/ 3170346 h 6858285"/>
              <a:gd name="connsiteX779" fmla="*/ 62187 w 4011840"/>
              <a:gd name="connsiteY779" fmla="*/ 3324257 h 6858285"/>
              <a:gd name="connsiteX780" fmla="*/ 6982 w 4011840"/>
              <a:gd name="connsiteY780" fmla="*/ 3301458 h 6858285"/>
              <a:gd name="connsiteX781" fmla="*/ 3175 w 4011840"/>
              <a:gd name="connsiteY781" fmla="*/ 3284355 h 6858285"/>
              <a:gd name="connsiteX782" fmla="*/ 27922 w 4011840"/>
              <a:gd name="connsiteY782" fmla="*/ 3246351 h 6858285"/>
              <a:gd name="connsiteX783" fmla="*/ 366766 w 4011840"/>
              <a:gd name="connsiteY783" fmla="*/ 3092440 h 6858285"/>
              <a:gd name="connsiteX784" fmla="*/ 399603 w 4011840"/>
              <a:gd name="connsiteY784" fmla="*/ 3091489 h 6858285"/>
              <a:gd name="connsiteX785" fmla="*/ 910964 w 4011840"/>
              <a:gd name="connsiteY785" fmla="*/ 3084205 h 6858285"/>
              <a:gd name="connsiteX786" fmla="*/ 969977 w 4011840"/>
              <a:gd name="connsiteY786" fmla="*/ 3110874 h 6858285"/>
              <a:gd name="connsiteX787" fmla="*/ 945229 w 4011840"/>
              <a:gd name="connsiteY787" fmla="*/ 3171835 h 6858285"/>
              <a:gd name="connsiteX788" fmla="*/ 604476 w 4011840"/>
              <a:gd name="connsiteY788" fmla="*/ 3305182 h 6858285"/>
              <a:gd name="connsiteX789" fmla="*/ 543559 w 4011840"/>
              <a:gd name="connsiteY789" fmla="*/ 3278513 h 6858285"/>
              <a:gd name="connsiteX790" fmla="*/ 539752 w 4011840"/>
              <a:gd name="connsiteY790" fmla="*/ 3261369 h 6858285"/>
              <a:gd name="connsiteX791" fmla="*/ 570210 w 4011840"/>
              <a:gd name="connsiteY791" fmla="*/ 3217554 h 6858285"/>
              <a:gd name="connsiteX792" fmla="*/ 910964 w 4011840"/>
              <a:gd name="connsiteY792" fmla="*/ 3084205 h 6858285"/>
              <a:gd name="connsiteX793" fmla="*/ 1479596 w 4011840"/>
              <a:gd name="connsiteY793" fmla="*/ 3075472 h 6858285"/>
              <a:gd name="connsiteX794" fmla="*/ 1522429 w 4011840"/>
              <a:gd name="connsiteY794" fmla="*/ 3110614 h 6858285"/>
              <a:gd name="connsiteX795" fmla="*/ 1491970 w 4011840"/>
              <a:gd name="connsiteY795" fmla="*/ 3173568 h 6858285"/>
              <a:gd name="connsiteX796" fmla="*/ 1149308 w 4011840"/>
              <a:gd name="connsiteY796" fmla="*/ 3286117 h 6858285"/>
              <a:gd name="connsiteX797" fmla="*/ 1086486 w 4011840"/>
              <a:gd name="connsiteY797" fmla="*/ 3253688 h 6858285"/>
              <a:gd name="connsiteX798" fmla="*/ 1082679 w 4011840"/>
              <a:gd name="connsiteY798" fmla="*/ 3238426 h 6858285"/>
              <a:gd name="connsiteX799" fmla="*/ 1118849 w 4011840"/>
              <a:gd name="connsiteY799" fmla="*/ 3190736 h 6858285"/>
              <a:gd name="connsiteX800" fmla="*/ 1459607 w 4011840"/>
              <a:gd name="connsiteY800" fmla="*/ 3078184 h 6858285"/>
              <a:gd name="connsiteX801" fmla="*/ 1479596 w 4011840"/>
              <a:gd name="connsiteY801" fmla="*/ 3075472 h 6858285"/>
              <a:gd name="connsiteX802" fmla="*/ 2036269 w 4011840"/>
              <a:gd name="connsiteY802" fmla="*/ 3070212 h 6858285"/>
              <a:gd name="connsiteX803" fmla="*/ 2081548 w 4011840"/>
              <a:gd name="connsiteY803" fmla="*/ 3109532 h 6858285"/>
              <a:gd name="connsiteX804" fmla="*/ 2043443 w 4011840"/>
              <a:gd name="connsiteY804" fmla="*/ 3176106 h 6858285"/>
              <a:gd name="connsiteX805" fmla="*/ 1700538 w 4011840"/>
              <a:gd name="connsiteY805" fmla="*/ 3267409 h 6858285"/>
              <a:gd name="connsiteX806" fmla="*/ 1633862 w 4011840"/>
              <a:gd name="connsiteY806" fmla="*/ 3229366 h 6858285"/>
              <a:gd name="connsiteX807" fmla="*/ 1631957 w 4011840"/>
              <a:gd name="connsiteY807" fmla="*/ 3216051 h 6858285"/>
              <a:gd name="connsiteX808" fmla="*/ 1671963 w 4011840"/>
              <a:gd name="connsiteY808" fmla="*/ 3164695 h 6858285"/>
              <a:gd name="connsiteX809" fmla="*/ 2014867 w 4011840"/>
              <a:gd name="connsiteY809" fmla="*/ 3071490 h 6858285"/>
              <a:gd name="connsiteX810" fmla="*/ 2036269 w 4011840"/>
              <a:gd name="connsiteY810" fmla="*/ 3070212 h 6858285"/>
              <a:gd name="connsiteX811" fmla="*/ 3731232 w 4011840"/>
              <a:gd name="connsiteY811" fmla="*/ 3064526 h 6858285"/>
              <a:gd name="connsiteX812" fmla="*/ 3777344 w 4011840"/>
              <a:gd name="connsiteY812" fmla="*/ 3109067 h 6858285"/>
              <a:gd name="connsiteX813" fmla="*/ 3731588 w 4011840"/>
              <a:gd name="connsiteY813" fmla="*/ 3177757 h 6858285"/>
              <a:gd name="connsiteX814" fmla="*/ 3386557 w 4011840"/>
              <a:gd name="connsiteY814" fmla="*/ 3250258 h 6858285"/>
              <a:gd name="connsiteX815" fmla="*/ 3317928 w 4011840"/>
              <a:gd name="connsiteY815" fmla="*/ 3204467 h 6858285"/>
              <a:gd name="connsiteX816" fmla="*/ 3317928 w 4011840"/>
              <a:gd name="connsiteY816" fmla="*/ 3193018 h 6858285"/>
              <a:gd name="connsiteX817" fmla="*/ 3363681 w 4011840"/>
              <a:gd name="connsiteY817" fmla="*/ 3135781 h 6858285"/>
              <a:gd name="connsiteX818" fmla="*/ 3708712 w 4011840"/>
              <a:gd name="connsiteY818" fmla="*/ 3065182 h 6858285"/>
              <a:gd name="connsiteX819" fmla="*/ 3731232 w 4011840"/>
              <a:gd name="connsiteY819" fmla="*/ 3064526 h 6858285"/>
              <a:gd name="connsiteX820" fmla="*/ 2597728 w 4011840"/>
              <a:gd name="connsiteY820" fmla="*/ 3064505 h 6858285"/>
              <a:gd name="connsiteX821" fmla="*/ 2643838 w 4011840"/>
              <a:gd name="connsiteY821" fmla="*/ 3109046 h 6858285"/>
              <a:gd name="connsiteX822" fmla="*/ 2598086 w 4011840"/>
              <a:gd name="connsiteY822" fmla="*/ 3177737 h 6858285"/>
              <a:gd name="connsiteX823" fmla="*/ 2253042 w 4011840"/>
              <a:gd name="connsiteY823" fmla="*/ 3250241 h 6858285"/>
              <a:gd name="connsiteX824" fmla="*/ 2184414 w 4011840"/>
              <a:gd name="connsiteY824" fmla="*/ 3204449 h 6858285"/>
              <a:gd name="connsiteX825" fmla="*/ 2184414 w 4011840"/>
              <a:gd name="connsiteY825" fmla="*/ 3193000 h 6858285"/>
              <a:gd name="connsiteX826" fmla="*/ 2230166 w 4011840"/>
              <a:gd name="connsiteY826" fmla="*/ 3135760 h 6858285"/>
              <a:gd name="connsiteX827" fmla="*/ 2575210 w 4011840"/>
              <a:gd name="connsiteY827" fmla="*/ 3065161 h 6858285"/>
              <a:gd name="connsiteX828" fmla="*/ 2597728 w 4011840"/>
              <a:gd name="connsiteY828" fmla="*/ 3064505 h 6858285"/>
              <a:gd name="connsiteX829" fmla="*/ 3139002 w 4011840"/>
              <a:gd name="connsiteY829" fmla="*/ 3058185 h 6858285"/>
              <a:gd name="connsiteX830" fmla="*/ 3209344 w 4011840"/>
              <a:gd name="connsiteY830" fmla="*/ 3111524 h 6858285"/>
              <a:gd name="connsiteX831" fmla="*/ 3156112 w 4011840"/>
              <a:gd name="connsiteY831" fmla="*/ 3180105 h 6858285"/>
              <a:gd name="connsiteX832" fmla="*/ 2811996 w 4011840"/>
              <a:gd name="connsiteY832" fmla="*/ 3231532 h 6858285"/>
              <a:gd name="connsiteX833" fmla="*/ 2741653 w 4011840"/>
              <a:gd name="connsiteY833" fmla="*/ 3180105 h 6858285"/>
              <a:gd name="connsiteX834" fmla="*/ 2741653 w 4011840"/>
              <a:gd name="connsiteY834" fmla="*/ 3170578 h 6858285"/>
              <a:gd name="connsiteX835" fmla="*/ 2792985 w 4011840"/>
              <a:gd name="connsiteY835" fmla="*/ 3109621 h 6858285"/>
              <a:gd name="connsiteX836" fmla="*/ 3139002 w 4011840"/>
              <a:gd name="connsiteY836" fmla="*/ 3058185 h 6858285"/>
              <a:gd name="connsiteX837" fmla="*/ 4011840 w 4011840"/>
              <a:gd name="connsiteY837" fmla="*/ 2813695 h 6858285"/>
              <a:gd name="connsiteX838" fmla="*/ 4011840 w 4011840"/>
              <a:gd name="connsiteY838" fmla="*/ 2929155 h 6858285"/>
              <a:gd name="connsiteX839" fmla="*/ 3953196 w 4011840"/>
              <a:gd name="connsiteY839" fmla="*/ 2943545 h 6858285"/>
              <a:gd name="connsiteX840" fmla="*/ 3884664 w 4011840"/>
              <a:gd name="connsiteY840" fmla="*/ 2901507 h 6858285"/>
              <a:gd name="connsiteX841" fmla="*/ 3884664 w 4011840"/>
              <a:gd name="connsiteY841" fmla="*/ 2888131 h 6858285"/>
              <a:gd name="connsiteX842" fmla="*/ 3926546 w 4011840"/>
              <a:gd name="connsiteY842" fmla="*/ 2834624 h 6858285"/>
              <a:gd name="connsiteX843" fmla="*/ 4010200 w 4011840"/>
              <a:gd name="connsiteY843" fmla="*/ 2814097 h 6858285"/>
              <a:gd name="connsiteX844" fmla="*/ 399603 w 4011840"/>
              <a:gd name="connsiteY844" fmla="*/ 2769236 h 6858285"/>
              <a:gd name="connsiteX845" fmla="*/ 423874 w 4011840"/>
              <a:gd name="connsiteY845" fmla="*/ 2791116 h 6858285"/>
              <a:gd name="connsiteX846" fmla="*/ 401030 w 4011840"/>
              <a:gd name="connsiteY846" fmla="*/ 2848194 h 6858285"/>
              <a:gd name="connsiteX847" fmla="*/ 62187 w 4011840"/>
              <a:gd name="connsiteY847" fmla="*/ 3000399 h 6858285"/>
              <a:gd name="connsiteX848" fmla="*/ 6982 w 4011840"/>
              <a:gd name="connsiteY848" fmla="*/ 2979471 h 6858285"/>
              <a:gd name="connsiteX849" fmla="*/ 3175 w 4011840"/>
              <a:gd name="connsiteY849" fmla="*/ 2960446 h 6858285"/>
              <a:gd name="connsiteX850" fmla="*/ 27922 w 4011840"/>
              <a:gd name="connsiteY850" fmla="*/ 2922394 h 6858285"/>
              <a:gd name="connsiteX851" fmla="*/ 366765 w 4011840"/>
              <a:gd name="connsiteY851" fmla="*/ 2770189 h 6858285"/>
              <a:gd name="connsiteX852" fmla="*/ 399603 w 4011840"/>
              <a:gd name="connsiteY852" fmla="*/ 2769236 h 6858285"/>
              <a:gd name="connsiteX853" fmla="*/ 930705 w 4011840"/>
              <a:gd name="connsiteY853" fmla="*/ 2760523 h 6858285"/>
              <a:gd name="connsiteX854" fmla="*/ 973124 w 4011840"/>
              <a:gd name="connsiteY854" fmla="*/ 2790565 h 6858285"/>
              <a:gd name="connsiteX855" fmla="*/ 946396 w 4011840"/>
              <a:gd name="connsiteY855" fmla="*/ 2851609 h 6858285"/>
              <a:gd name="connsiteX856" fmla="*/ 604662 w 4011840"/>
              <a:gd name="connsiteY856" fmla="*/ 2981323 h 6858285"/>
              <a:gd name="connsiteX857" fmla="*/ 543570 w 4011840"/>
              <a:gd name="connsiteY857" fmla="*/ 2954616 h 6858285"/>
              <a:gd name="connsiteX858" fmla="*/ 539752 w 4011840"/>
              <a:gd name="connsiteY858" fmla="*/ 2937448 h 6858285"/>
              <a:gd name="connsiteX859" fmla="*/ 570298 w 4011840"/>
              <a:gd name="connsiteY859" fmla="*/ 2893575 h 6858285"/>
              <a:gd name="connsiteX860" fmla="*/ 912032 w 4011840"/>
              <a:gd name="connsiteY860" fmla="*/ 2763862 h 6858285"/>
              <a:gd name="connsiteX861" fmla="*/ 930705 w 4011840"/>
              <a:gd name="connsiteY861" fmla="*/ 2760523 h 6858285"/>
              <a:gd name="connsiteX862" fmla="*/ 1482623 w 4011840"/>
              <a:gd name="connsiteY862" fmla="*/ 2755562 h 6858285"/>
              <a:gd name="connsiteX863" fmla="*/ 1525577 w 4011840"/>
              <a:gd name="connsiteY863" fmla="*/ 2791407 h 6858285"/>
              <a:gd name="connsiteX864" fmla="*/ 1493123 w 4011840"/>
              <a:gd name="connsiteY864" fmla="*/ 2856085 h 6858285"/>
              <a:gd name="connsiteX865" fmla="*/ 1149495 w 4011840"/>
              <a:gd name="connsiteY865" fmla="*/ 2962612 h 6858285"/>
              <a:gd name="connsiteX866" fmla="*/ 1084588 w 4011840"/>
              <a:gd name="connsiteY866" fmla="*/ 2928370 h 6858285"/>
              <a:gd name="connsiteX867" fmla="*/ 1082679 w 4011840"/>
              <a:gd name="connsiteY867" fmla="*/ 2913153 h 6858285"/>
              <a:gd name="connsiteX868" fmla="*/ 1118950 w 4011840"/>
              <a:gd name="connsiteY868" fmla="*/ 2863693 h 6858285"/>
              <a:gd name="connsiteX869" fmla="*/ 1462578 w 4011840"/>
              <a:gd name="connsiteY869" fmla="*/ 2757168 h 6858285"/>
              <a:gd name="connsiteX870" fmla="*/ 1482623 w 4011840"/>
              <a:gd name="connsiteY870" fmla="*/ 2755562 h 6858285"/>
              <a:gd name="connsiteX871" fmla="*/ 2037929 w 4011840"/>
              <a:gd name="connsiteY871" fmla="*/ 2750376 h 6858285"/>
              <a:gd name="connsiteX872" fmla="*/ 2083145 w 4011840"/>
              <a:gd name="connsiteY872" fmla="*/ 2792565 h 6858285"/>
              <a:gd name="connsiteX873" fmla="*/ 2043190 w 4011840"/>
              <a:gd name="connsiteY873" fmla="*/ 2859446 h 6858285"/>
              <a:gd name="connsiteX874" fmla="*/ 1698856 w 4011840"/>
              <a:gd name="connsiteY874" fmla="*/ 2943524 h 6858285"/>
              <a:gd name="connsiteX875" fmla="*/ 1632272 w 4011840"/>
              <a:gd name="connsiteY875" fmla="*/ 2901486 h 6858285"/>
              <a:gd name="connsiteX876" fmla="*/ 1630369 w 4011840"/>
              <a:gd name="connsiteY876" fmla="*/ 2888109 h 6858285"/>
              <a:gd name="connsiteX877" fmla="*/ 1672222 w 4011840"/>
              <a:gd name="connsiteY877" fmla="*/ 2834604 h 6858285"/>
              <a:gd name="connsiteX878" fmla="*/ 2016556 w 4011840"/>
              <a:gd name="connsiteY878" fmla="*/ 2750526 h 6858285"/>
              <a:gd name="connsiteX879" fmla="*/ 2037929 w 4011840"/>
              <a:gd name="connsiteY879" fmla="*/ 2750376 h 6858285"/>
              <a:gd name="connsiteX880" fmla="*/ 3710448 w 4011840"/>
              <a:gd name="connsiteY880" fmla="*/ 2745765 h 6858285"/>
              <a:gd name="connsiteX881" fmla="*/ 3778944 w 4011840"/>
              <a:gd name="connsiteY881" fmla="*/ 2795292 h 6858285"/>
              <a:gd name="connsiteX882" fmla="*/ 3731376 w 4011840"/>
              <a:gd name="connsiteY882" fmla="*/ 2863875 h 6858285"/>
              <a:gd name="connsiteX883" fmla="*/ 3385145 w 4011840"/>
              <a:gd name="connsiteY883" fmla="*/ 2924837 h 6858285"/>
              <a:gd name="connsiteX884" fmla="*/ 3316655 w 4011840"/>
              <a:gd name="connsiteY884" fmla="*/ 2875305 h 6858285"/>
              <a:gd name="connsiteX885" fmla="*/ 3314753 w 4011840"/>
              <a:gd name="connsiteY885" fmla="*/ 2865779 h 6858285"/>
              <a:gd name="connsiteX886" fmla="*/ 3364218 w 4011840"/>
              <a:gd name="connsiteY886" fmla="*/ 2806724 h 6858285"/>
              <a:gd name="connsiteX887" fmla="*/ 3710448 w 4011840"/>
              <a:gd name="connsiteY887" fmla="*/ 2745765 h 6858285"/>
              <a:gd name="connsiteX888" fmla="*/ 2576948 w 4011840"/>
              <a:gd name="connsiteY888" fmla="*/ 2745743 h 6858285"/>
              <a:gd name="connsiteX889" fmla="*/ 2645436 w 4011840"/>
              <a:gd name="connsiteY889" fmla="*/ 2795273 h 6858285"/>
              <a:gd name="connsiteX890" fmla="*/ 2595973 w 4011840"/>
              <a:gd name="connsiteY890" fmla="*/ 2863852 h 6858285"/>
              <a:gd name="connsiteX891" fmla="*/ 2251629 w 4011840"/>
              <a:gd name="connsiteY891" fmla="*/ 2924813 h 6858285"/>
              <a:gd name="connsiteX892" fmla="*/ 2183141 w 4011840"/>
              <a:gd name="connsiteY892" fmla="*/ 2875282 h 6858285"/>
              <a:gd name="connsiteX893" fmla="*/ 2181238 w 4011840"/>
              <a:gd name="connsiteY893" fmla="*/ 2865758 h 6858285"/>
              <a:gd name="connsiteX894" fmla="*/ 2230702 w 4011840"/>
              <a:gd name="connsiteY894" fmla="*/ 2806703 h 6858285"/>
              <a:gd name="connsiteX895" fmla="*/ 2576948 w 4011840"/>
              <a:gd name="connsiteY895" fmla="*/ 2745743 h 6858285"/>
              <a:gd name="connsiteX896" fmla="*/ 3140488 w 4011840"/>
              <a:gd name="connsiteY896" fmla="*/ 2739127 h 6858285"/>
              <a:gd name="connsiteX897" fmla="*/ 3210926 w 4011840"/>
              <a:gd name="connsiteY897" fmla="*/ 2796693 h 6858285"/>
              <a:gd name="connsiteX898" fmla="*/ 3153818 w 4011840"/>
              <a:gd name="connsiteY898" fmla="*/ 2867695 h 6858285"/>
              <a:gd name="connsiteX899" fmla="*/ 2807329 w 4011840"/>
              <a:gd name="connsiteY899" fmla="*/ 2906076 h 6858285"/>
              <a:gd name="connsiteX900" fmla="*/ 2736893 w 4011840"/>
              <a:gd name="connsiteY900" fmla="*/ 2848505 h 6858285"/>
              <a:gd name="connsiteX901" fmla="*/ 2736893 w 4011840"/>
              <a:gd name="connsiteY901" fmla="*/ 2840828 h 6858285"/>
              <a:gd name="connsiteX902" fmla="*/ 2794003 w 4011840"/>
              <a:gd name="connsiteY902" fmla="*/ 2777505 h 6858285"/>
              <a:gd name="connsiteX903" fmla="*/ 3140488 w 4011840"/>
              <a:gd name="connsiteY903" fmla="*/ 2739127 h 6858285"/>
              <a:gd name="connsiteX904" fmla="*/ 4011840 w 4011840"/>
              <a:gd name="connsiteY904" fmla="*/ 2488817 h 6858285"/>
              <a:gd name="connsiteX905" fmla="*/ 4011840 w 4011840"/>
              <a:gd name="connsiteY905" fmla="*/ 2605107 h 6858285"/>
              <a:gd name="connsiteX906" fmla="*/ 3951516 w 4011840"/>
              <a:gd name="connsiteY906" fmla="*/ 2618129 h 6858285"/>
              <a:gd name="connsiteX907" fmla="*/ 3883076 w 4011840"/>
              <a:gd name="connsiteY907" fmla="*/ 2574325 h 6858285"/>
              <a:gd name="connsiteX908" fmla="*/ 3883076 w 4011840"/>
              <a:gd name="connsiteY908" fmla="*/ 2562897 h 6858285"/>
              <a:gd name="connsiteX909" fmla="*/ 3926804 w 4011840"/>
              <a:gd name="connsiteY909" fmla="*/ 2507652 h 6858285"/>
              <a:gd name="connsiteX910" fmla="*/ 4010808 w 4011840"/>
              <a:gd name="connsiteY910" fmla="*/ 2489046 h 6858285"/>
              <a:gd name="connsiteX911" fmla="*/ 399503 w 4011840"/>
              <a:gd name="connsiteY911" fmla="*/ 2446974 h 6858285"/>
              <a:gd name="connsiteX912" fmla="*/ 423846 w 4011840"/>
              <a:gd name="connsiteY912" fmla="*/ 2468859 h 6858285"/>
              <a:gd name="connsiteX913" fmla="*/ 400935 w 4011840"/>
              <a:gd name="connsiteY913" fmla="*/ 2525937 h 6858285"/>
              <a:gd name="connsiteX914" fmla="*/ 61095 w 4011840"/>
              <a:gd name="connsiteY914" fmla="*/ 2676233 h 6858285"/>
              <a:gd name="connsiteX915" fmla="*/ 3818 w 4011840"/>
              <a:gd name="connsiteY915" fmla="*/ 2655306 h 6858285"/>
              <a:gd name="connsiteX916" fmla="*/ 0 w 4011840"/>
              <a:gd name="connsiteY916" fmla="*/ 2638182 h 6858285"/>
              <a:gd name="connsiteX917" fmla="*/ 26729 w 4011840"/>
              <a:gd name="connsiteY917" fmla="*/ 2598228 h 6858285"/>
              <a:gd name="connsiteX918" fmla="*/ 366569 w 4011840"/>
              <a:gd name="connsiteY918" fmla="*/ 2447925 h 6858285"/>
              <a:gd name="connsiteX919" fmla="*/ 399503 w 4011840"/>
              <a:gd name="connsiteY919" fmla="*/ 2446974 h 6858285"/>
              <a:gd name="connsiteX920" fmla="*/ 930705 w 4011840"/>
              <a:gd name="connsiteY920" fmla="*/ 2440109 h 6858285"/>
              <a:gd name="connsiteX921" fmla="*/ 973124 w 4011840"/>
              <a:gd name="connsiteY921" fmla="*/ 2471595 h 6858285"/>
              <a:gd name="connsiteX922" fmla="*/ 944487 w 4011840"/>
              <a:gd name="connsiteY922" fmla="*/ 2532310 h 6858285"/>
              <a:gd name="connsiteX923" fmla="*/ 602753 w 4011840"/>
              <a:gd name="connsiteY923" fmla="*/ 2657520 h 6858285"/>
              <a:gd name="connsiteX924" fmla="*/ 541661 w 4011840"/>
              <a:gd name="connsiteY924" fmla="*/ 2629065 h 6858285"/>
              <a:gd name="connsiteX925" fmla="*/ 539751 w 4011840"/>
              <a:gd name="connsiteY925" fmla="*/ 2613887 h 6858285"/>
              <a:gd name="connsiteX926" fmla="*/ 570297 w 4011840"/>
              <a:gd name="connsiteY926" fmla="*/ 2568357 h 6858285"/>
              <a:gd name="connsiteX927" fmla="*/ 912032 w 4011840"/>
              <a:gd name="connsiteY927" fmla="*/ 2443134 h 6858285"/>
              <a:gd name="connsiteX928" fmla="*/ 930705 w 4011840"/>
              <a:gd name="connsiteY928" fmla="*/ 2440109 h 6858285"/>
              <a:gd name="connsiteX929" fmla="*/ 1482958 w 4011840"/>
              <a:gd name="connsiteY929" fmla="*/ 2434934 h 6858285"/>
              <a:gd name="connsiteX930" fmla="*/ 1527491 w 4011840"/>
              <a:gd name="connsiteY930" fmla="*/ 2472764 h 6858285"/>
              <a:gd name="connsiteX931" fmla="*/ 1491245 w 4011840"/>
              <a:gd name="connsiteY931" fmla="*/ 2537631 h 6858285"/>
              <a:gd name="connsiteX932" fmla="*/ 1147861 w 4011840"/>
              <a:gd name="connsiteY932" fmla="*/ 2638738 h 6858285"/>
              <a:gd name="connsiteX933" fmla="*/ 1082999 w 4011840"/>
              <a:gd name="connsiteY933" fmla="*/ 2602491 h 6858285"/>
              <a:gd name="connsiteX934" fmla="*/ 1081092 w 4011840"/>
              <a:gd name="connsiteY934" fmla="*/ 2587229 h 6858285"/>
              <a:gd name="connsiteX935" fmla="*/ 1119245 w 4011840"/>
              <a:gd name="connsiteY935" fmla="*/ 2537631 h 6858285"/>
              <a:gd name="connsiteX936" fmla="*/ 1462630 w 4011840"/>
              <a:gd name="connsiteY936" fmla="*/ 2436514 h 6858285"/>
              <a:gd name="connsiteX937" fmla="*/ 1482958 w 4011840"/>
              <a:gd name="connsiteY937" fmla="*/ 2434934 h 6858285"/>
              <a:gd name="connsiteX938" fmla="*/ 2016607 w 4011840"/>
              <a:gd name="connsiteY938" fmla="*/ 2431420 h 6858285"/>
              <a:gd name="connsiteX939" fmla="*/ 2085053 w 4011840"/>
              <a:gd name="connsiteY939" fmla="*/ 2475236 h 6858285"/>
              <a:gd name="connsiteX940" fmla="*/ 2041322 w 4011840"/>
              <a:gd name="connsiteY940" fmla="*/ 2543819 h 6858285"/>
              <a:gd name="connsiteX941" fmla="*/ 1697222 w 4011840"/>
              <a:gd name="connsiteY941" fmla="*/ 2618110 h 6858285"/>
              <a:gd name="connsiteX942" fmla="*/ 1630683 w 4011840"/>
              <a:gd name="connsiteY942" fmla="*/ 2574297 h 6858285"/>
              <a:gd name="connsiteX943" fmla="*/ 1628782 w 4011840"/>
              <a:gd name="connsiteY943" fmla="*/ 2562869 h 6858285"/>
              <a:gd name="connsiteX944" fmla="*/ 1674409 w 4011840"/>
              <a:gd name="connsiteY944" fmla="*/ 2507623 h 6858285"/>
              <a:gd name="connsiteX945" fmla="*/ 2016607 w 4011840"/>
              <a:gd name="connsiteY945" fmla="*/ 2431420 h 6858285"/>
              <a:gd name="connsiteX946" fmla="*/ 2799530 w 4011840"/>
              <a:gd name="connsiteY946" fmla="*/ 2428900 h 6858285"/>
              <a:gd name="connsiteX947" fmla="*/ 3148601 w 4011840"/>
              <a:gd name="connsiteY947" fmla="*/ 2428900 h 6858285"/>
              <a:gd name="connsiteX948" fmla="*/ 3221085 w 4011840"/>
              <a:gd name="connsiteY948" fmla="*/ 2499556 h 6858285"/>
              <a:gd name="connsiteX949" fmla="*/ 3148601 w 4011840"/>
              <a:gd name="connsiteY949" fmla="*/ 2570198 h 6858285"/>
              <a:gd name="connsiteX950" fmla="*/ 2799530 w 4011840"/>
              <a:gd name="connsiteY950" fmla="*/ 2570198 h 6858285"/>
              <a:gd name="connsiteX951" fmla="*/ 2728953 w 4011840"/>
              <a:gd name="connsiteY951" fmla="*/ 2499556 h 6858285"/>
              <a:gd name="connsiteX952" fmla="*/ 2799530 w 4011840"/>
              <a:gd name="connsiteY952" fmla="*/ 2428900 h 6858285"/>
              <a:gd name="connsiteX953" fmla="*/ 3713474 w 4011840"/>
              <a:gd name="connsiteY953" fmla="*/ 2424773 h 6858285"/>
              <a:gd name="connsiteX954" fmla="*/ 3782104 w 4011840"/>
              <a:gd name="connsiteY954" fmla="*/ 2478118 h 6858285"/>
              <a:gd name="connsiteX955" fmla="*/ 3730632 w 4011840"/>
              <a:gd name="connsiteY955" fmla="*/ 2546706 h 6858285"/>
              <a:gd name="connsiteX956" fmla="*/ 3383699 w 4011840"/>
              <a:gd name="connsiteY956" fmla="*/ 2598127 h 6858285"/>
              <a:gd name="connsiteX957" fmla="*/ 3315071 w 4011840"/>
              <a:gd name="connsiteY957" fmla="*/ 2546706 h 6858285"/>
              <a:gd name="connsiteX958" fmla="*/ 3313164 w 4011840"/>
              <a:gd name="connsiteY958" fmla="*/ 2537183 h 6858285"/>
              <a:gd name="connsiteX959" fmla="*/ 3366541 w 4011840"/>
              <a:gd name="connsiteY959" fmla="*/ 2476213 h 6858285"/>
              <a:gd name="connsiteX960" fmla="*/ 3713474 w 4011840"/>
              <a:gd name="connsiteY960" fmla="*/ 2424773 h 6858285"/>
              <a:gd name="connsiteX961" fmla="*/ 2578386 w 4011840"/>
              <a:gd name="connsiteY961" fmla="*/ 2424750 h 6858285"/>
              <a:gd name="connsiteX962" fmla="*/ 2647013 w 4011840"/>
              <a:gd name="connsiteY962" fmla="*/ 2478093 h 6858285"/>
              <a:gd name="connsiteX963" fmla="*/ 2595543 w 4011840"/>
              <a:gd name="connsiteY963" fmla="*/ 2546673 h 6858285"/>
              <a:gd name="connsiteX964" fmla="*/ 2248597 w 4011840"/>
              <a:gd name="connsiteY964" fmla="*/ 2598105 h 6858285"/>
              <a:gd name="connsiteX965" fmla="*/ 2179970 w 4011840"/>
              <a:gd name="connsiteY965" fmla="*/ 2546673 h 6858285"/>
              <a:gd name="connsiteX966" fmla="*/ 2178064 w 4011840"/>
              <a:gd name="connsiteY966" fmla="*/ 2537148 h 6858285"/>
              <a:gd name="connsiteX967" fmla="*/ 2231440 w 4011840"/>
              <a:gd name="connsiteY967" fmla="*/ 2476187 h 6858285"/>
              <a:gd name="connsiteX968" fmla="*/ 2578386 w 4011840"/>
              <a:gd name="connsiteY968" fmla="*/ 2424750 h 6858285"/>
              <a:gd name="connsiteX969" fmla="*/ 4011840 w 4011840"/>
              <a:gd name="connsiteY969" fmla="*/ 2170473 h 6858285"/>
              <a:gd name="connsiteX970" fmla="*/ 4011840 w 4011840"/>
              <a:gd name="connsiteY970" fmla="*/ 2283142 h 6858285"/>
              <a:gd name="connsiteX971" fmla="*/ 3952804 w 4011840"/>
              <a:gd name="connsiteY971" fmla="*/ 2297465 h 6858285"/>
              <a:gd name="connsiteX972" fmla="*/ 3884032 w 4011840"/>
              <a:gd name="connsiteY972" fmla="*/ 2257651 h 6858285"/>
              <a:gd name="connsiteX973" fmla="*/ 3926060 w 4011840"/>
              <a:gd name="connsiteY973" fmla="*/ 2191286 h 6858285"/>
              <a:gd name="connsiteX974" fmla="*/ 4010006 w 4011840"/>
              <a:gd name="connsiteY974" fmla="*/ 2170918 h 6858285"/>
              <a:gd name="connsiteX975" fmla="*/ 398983 w 4011840"/>
              <a:gd name="connsiteY975" fmla="*/ 2123120 h 6858285"/>
              <a:gd name="connsiteX976" fmla="*/ 423236 w 4011840"/>
              <a:gd name="connsiteY976" fmla="*/ 2145003 h 6858285"/>
              <a:gd name="connsiteX977" fmla="*/ 427040 w 4011840"/>
              <a:gd name="connsiteY977" fmla="*/ 2164030 h 6858285"/>
              <a:gd name="connsiteX978" fmla="*/ 402312 w 4011840"/>
              <a:gd name="connsiteY978" fmla="*/ 2202079 h 6858285"/>
              <a:gd name="connsiteX979" fmla="*/ 61813 w 4011840"/>
              <a:gd name="connsiteY979" fmla="*/ 2354282 h 6858285"/>
              <a:gd name="connsiteX980" fmla="*/ 6649 w 4011840"/>
              <a:gd name="connsiteY980" fmla="*/ 2333354 h 6858285"/>
              <a:gd name="connsiteX981" fmla="*/ 27573 w 4011840"/>
              <a:gd name="connsiteY981" fmla="*/ 2276277 h 6858285"/>
              <a:gd name="connsiteX982" fmla="*/ 366169 w 4011840"/>
              <a:gd name="connsiteY982" fmla="*/ 2124071 h 6858285"/>
              <a:gd name="connsiteX983" fmla="*/ 398983 w 4011840"/>
              <a:gd name="connsiteY983" fmla="*/ 2123120 h 6858285"/>
              <a:gd name="connsiteX984" fmla="*/ 930370 w 4011840"/>
              <a:gd name="connsiteY984" fmla="*/ 2116219 h 6858285"/>
              <a:gd name="connsiteX985" fmla="*/ 972820 w 4011840"/>
              <a:gd name="connsiteY985" fmla="*/ 2145797 h 6858285"/>
              <a:gd name="connsiteX986" fmla="*/ 974730 w 4011840"/>
              <a:gd name="connsiteY986" fmla="*/ 2162851 h 6858285"/>
              <a:gd name="connsiteX987" fmla="*/ 944162 w 4011840"/>
              <a:gd name="connsiteY987" fmla="*/ 2206429 h 6858285"/>
              <a:gd name="connsiteX988" fmla="*/ 602179 w 4011840"/>
              <a:gd name="connsiteY988" fmla="*/ 2335271 h 6858285"/>
              <a:gd name="connsiteX989" fmla="*/ 542953 w 4011840"/>
              <a:gd name="connsiteY989" fmla="*/ 2308740 h 6858285"/>
              <a:gd name="connsiteX990" fmla="*/ 569700 w 4011840"/>
              <a:gd name="connsiteY990" fmla="*/ 2248111 h 6858285"/>
              <a:gd name="connsiteX991" fmla="*/ 911683 w 4011840"/>
              <a:gd name="connsiteY991" fmla="*/ 2119271 h 6858285"/>
              <a:gd name="connsiteX992" fmla="*/ 930370 w 4011840"/>
              <a:gd name="connsiteY992" fmla="*/ 2116219 h 6858285"/>
              <a:gd name="connsiteX993" fmla="*/ 1482447 w 4011840"/>
              <a:gd name="connsiteY993" fmla="*/ 2110273 h 6858285"/>
              <a:gd name="connsiteX994" fmla="*/ 1525280 w 4011840"/>
              <a:gd name="connsiteY994" fmla="*/ 2147134 h 6858285"/>
              <a:gd name="connsiteX995" fmla="*/ 1527184 w 4011840"/>
              <a:gd name="connsiteY995" fmla="*/ 2162332 h 6858285"/>
              <a:gd name="connsiteX996" fmla="*/ 1492917 w 4011840"/>
              <a:gd name="connsiteY996" fmla="*/ 2209820 h 6858285"/>
              <a:gd name="connsiteX997" fmla="*/ 1150255 w 4011840"/>
              <a:gd name="connsiteY997" fmla="*/ 2316193 h 6858285"/>
              <a:gd name="connsiteX998" fmla="*/ 1085530 w 4011840"/>
              <a:gd name="connsiteY998" fmla="*/ 2283894 h 6858285"/>
              <a:gd name="connsiteX999" fmla="*/ 1119796 w 4011840"/>
              <a:gd name="connsiteY999" fmla="*/ 2219317 h 6858285"/>
              <a:gd name="connsiteX1000" fmla="*/ 1462458 w 4011840"/>
              <a:gd name="connsiteY1000" fmla="*/ 2112944 h 6858285"/>
              <a:gd name="connsiteX1001" fmla="*/ 1482447 w 4011840"/>
              <a:gd name="connsiteY1001" fmla="*/ 2110273 h 6858285"/>
              <a:gd name="connsiteX1002" fmla="*/ 2038710 w 4011840"/>
              <a:gd name="connsiteY1002" fmla="*/ 2106607 h 6858285"/>
              <a:gd name="connsiteX1003" fmla="*/ 2084082 w 4011840"/>
              <a:gd name="connsiteY1003" fmla="*/ 2147672 h 6858285"/>
              <a:gd name="connsiteX1004" fmla="*/ 2085991 w 4011840"/>
              <a:gd name="connsiteY1004" fmla="*/ 2160946 h 6858285"/>
              <a:gd name="connsiteX1005" fmla="*/ 2043989 w 4011840"/>
              <a:gd name="connsiteY1005" fmla="*/ 2214037 h 6858285"/>
              <a:gd name="connsiteX1006" fmla="*/ 1698467 w 4011840"/>
              <a:gd name="connsiteY1006" fmla="*/ 2297465 h 6858285"/>
              <a:gd name="connsiteX1007" fmla="*/ 1631654 w 4011840"/>
              <a:gd name="connsiteY1007" fmla="*/ 2257649 h 6858285"/>
              <a:gd name="connsiteX1008" fmla="*/ 1671742 w 4011840"/>
              <a:gd name="connsiteY1008" fmla="*/ 2191284 h 6858285"/>
              <a:gd name="connsiteX1009" fmla="*/ 2017264 w 4011840"/>
              <a:gd name="connsiteY1009" fmla="*/ 2107852 h 6858285"/>
              <a:gd name="connsiteX1010" fmla="*/ 2038710 w 4011840"/>
              <a:gd name="connsiteY1010" fmla="*/ 2106607 h 6858285"/>
              <a:gd name="connsiteX1011" fmla="*/ 3734742 w 4011840"/>
              <a:gd name="connsiteY1011" fmla="*/ 2101210 h 6858285"/>
              <a:gd name="connsiteX1012" fmla="*/ 3779872 w 4011840"/>
              <a:gd name="connsiteY1012" fmla="*/ 2149163 h 6858285"/>
              <a:gd name="connsiteX1013" fmla="*/ 3779872 w 4011840"/>
              <a:gd name="connsiteY1013" fmla="*/ 2158688 h 6858285"/>
              <a:gd name="connsiteX1014" fmla="*/ 3732116 w 4011840"/>
              <a:gd name="connsiteY1014" fmla="*/ 2217741 h 6858285"/>
              <a:gd name="connsiteX1015" fmla="*/ 3384469 w 4011840"/>
              <a:gd name="connsiteY1015" fmla="*/ 2278699 h 6858285"/>
              <a:gd name="connsiteX1016" fmla="*/ 3315701 w 4011840"/>
              <a:gd name="connsiteY1016" fmla="*/ 2231076 h 6858285"/>
              <a:gd name="connsiteX1017" fmla="*/ 3363456 w 4011840"/>
              <a:gd name="connsiteY1017" fmla="*/ 2160593 h 6858285"/>
              <a:gd name="connsiteX1018" fmla="*/ 3711104 w 4011840"/>
              <a:gd name="connsiteY1018" fmla="*/ 2101538 h 6858285"/>
              <a:gd name="connsiteX1019" fmla="*/ 3734742 w 4011840"/>
              <a:gd name="connsiteY1019" fmla="*/ 2101210 h 6858285"/>
              <a:gd name="connsiteX1020" fmla="*/ 2601252 w 4011840"/>
              <a:gd name="connsiteY1020" fmla="*/ 2101207 h 6858285"/>
              <a:gd name="connsiteX1021" fmla="*/ 2646380 w 4011840"/>
              <a:gd name="connsiteY1021" fmla="*/ 2149158 h 6858285"/>
              <a:gd name="connsiteX1022" fmla="*/ 2646380 w 4011840"/>
              <a:gd name="connsiteY1022" fmla="*/ 2158685 h 6858285"/>
              <a:gd name="connsiteX1023" fmla="*/ 2596715 w 4011840"/>
              <a:gd name="connsiteY1023" fmla="*/ 2217739 h 6858285"/>
              <a:gd name="connsiteX1024" fmla="*/ 2250972 w 4011840"/>
              <a:gd name="connsiteY1024" fmla="*/ 2278698 h 6858285"/>
              <a:gd name="connsiteX1025" fmla="*/ 2182205 w 4011840"/>
              <a:gd name="connsiteY1025" fmla="*/ 2231074 h 6858285"/>
              <a:gd name="connsiteX1026" fmla="*/ 2229960 w 4011840"/>
              <a:gd name="connsiteY1026" fmla="*/ 2160590 h 6858285"/>
              <a:gd name="connsiteX1027" fmla="*/ 2577613 w 4011840"/>
              <a:gd name="connsiteY1027" fmla="*/ 2101535 h 6858285"/>
              <a:gd name="connsiteX1028" fmla="*/ 2601252 w 4011840"/>
              <a:gd name="connsiteY1028" fmla="*/ 2101207 h 6858285"/>
              <a:gd name="connsiteX1029" fmla="*/ 3141099 w 4011840"/>
              <a:gd name="connsiteY1029" fmla="*/ 2094543 h 6858285"/>
              <a:gd name="connsiteX1030" fmla="*/ 3211539 w 4011840"/>
              <a:gd name="connsiteY1030" fmla="*/ 2151589 h 6858285"/>
              <a:gd name="connsiteX1031" fmla="*/ 3211539 w 4011840"/>
              <a:gd name="connsiteY1031" fmla="*/ 2159195 h 6858285"/>
              <a:gd name="connsiteX1032" fmla="*/ 3156330 w 4011840"/>
              <a:gd name="connsiteY1032" fmla="*/ 2221944 h 6858285"/>
              <a:gd name="connsiteX1033" fmla="*/ 2807941 w 4011840"/>
              <a:gd name="connsiteY1033" fmla="*/ 2259975 h 6858285"/>
              <a:gd name="connsiteX1034" fmla="*/ 2737501 w 4011840"/>
              <a:gd name="connsiteY1034" fmla="*/ 2202929 h 6858285"/>
              <a:gd name="connsiteX1035" fmla="*/ 2794615 w 4011840"/>
              <a:gd name="connsiteY1035" fmla="*/ 2132570 h 6858285"/>
              <a:gd name="connsiteX1036" fmla="*/ 3141099 w 4011840"/>
              <a:gd name="connsiteY1036" fmla="*/ 2094543 h 6858285"/>
              <a:gd name="connsiteX1037" fmla="*/ 4011840 w 4011840"/>
              <a:gd name="connsiteY1037" fmla="*/ 1849489 h 6858285"/>
              <a:gd name="connsiteX1038" fmla="*/ 4011840 w 4011840"/>
              <a:gd name="connsiteY1038" fmla="*/ 1962430 h 6858285"/>
              <a:gd name="connsiteX1039" fmla="*/ 3952612 w 4011840"/>
              <a:gd name="connsiteY1039" fmla="*/ 1978320 h 6858285"/>
              <a:gd name="connsiteX1040" fmla="*/ 3885932 w 4011840"/>
              <a:gd name="connsiteY1040" fmla="*/ 1939991 h 6858285"/>
              <a:gd name="connsiteX1041" fmla="*/ 3924032 w 4011840"/>
              <a:gd name="connsiteY1041" fmla="*/ 1872916 h 6858285"/>
              <a:gd name="connsiteX1042" fmla="*/ 4008210 w 4011840"/>
              <a:gd name="connsiteY1042" fmla="*/ 1850457 h 6858285"/>
              <a:gd name="connsiteX1043" fmla="*/ 398962 w 4011840"/>
              <a:gd name="connsiteY1043" fmla="*/ 1800917 h 6858285"/>
              <a:gd name="connsiteX1044" fmla="*/ 423233 w 4011840"/>
              <a:gd name="connsiteY1044" fmla="*/ 1822936 h 6858285"/>
              <a:gd name="connsiteX1045" fmla="*/ 427041 w 4011840"/>
              <a:gd name="connsiteY1045" fmla="*/ 1840169 h 6858285"/>
              <a:gd name="connsiteX1046" fmla="*/ 400390 w 4011840"/>
              <a:gd name="connsiteY1046" fmla="*/ 1878463 h 6858285"/>
              <a:gd name="connsiteX1047" fmla="*/ 61546 w 4011840"/>
              <a:gd name="connsiteY1047" fmla="*/ 2033553 h 6858285"/>
              <a:gd name="connsiteX1048" fmla="*/ 6342 w 4011840"/>
              <a:gd name="connsiteY1048" fmla="*/ 2012491 h 6858285"/>
              <a:gd name="connsiteX1049" fmla="*/ 27281 w 4011840"/>
              <a:gd name="connsiteY1049" fmla="*/ 1955050 h 6858285"/>
              <a:gd name="connsiteX1050" fmla="*/ 366125 w 4011840"/>
              <a:gd name="connsiteY1050" fmla="*/ 1801874 h 6858285"/>
              <a:gd name="connsiteX1051" fmla="*/ 398962 w 4011840"/>
              <a:gd name="connsiteY1051" fmla="*/ 1800917 h 6858285"/>
              <a:gd name="connsiteX1052" fmla="*/ 929266 w 4011840"/>
              <a:gd name="connsiteY1052" fmla="*/ 1792140 h 6858285"/>
              <a:gd name="connsiteX1053" fmla="*/ 970909 w 4011840"/>
              <a:gd name="connsiteY1053" fmla="*/ 1822144 h 6858285"/>
              <a:gd name="connsiteX1054" fmla="*/ 974730 w 4011840"/>
              <a:gd name="connsiteY1054" fmla="*/ 1839289 h 6858285"/>
              <a:gd name="connsiteX1055" fmla="*/ 946072 w 4011840"/>
              <a:gd name="connsiteY1055" fmla="*/ 1883104 h 6858285"/>
              <a:gd name="connsiteX1056" fmla="*/ 604089 w 4011840"/>
              <a:gd name="connsiteY1056" fmla="*/ 2014549 h 6858285"/>
              <a:gd name="connsiteX1057" fmla="*/ 542953 w 4011840"/>
              <a:gd name="connsiteY1057" fmla="*/ 1989784 h 6858285"/>
              <a:gd name="connsiteX1058" fmla="*/ 569700 w 4011840"/>
              <a:gd name="connsiteY1058" fmla="*/ 1928824 h 6858285"/>
              <a:gd name="connsiteX1059" fmla="*/ 911683 w 4011840"/>
              <a:gd name="connsiteY1059" fmla="*/ 1795473 h 6858285"/>
              <a:gd name="connsiteX1060" fmla="*/ 929266 w 4011840"/>
              <a:gd name="connsiteY1060" fmla="*/ 1792140 h 6858285"/>
              <a:gd name="connsiteX1061" fmla="*/ 1480544 w 4011840"/>
              <a:gd name="connsiteY1061" fmla="*/ 1786402 h 6858285"/>
              <a:gd name="connsiteX1062" fmla="*/ 1523376 w 4011840"/>
              <a:gd name="connsiteY1062" fmla="*/ 1819714 h 6858285"/>
              <a:gd name="connsiteX1063" fmla="*/ 1527184 w 4011840"/>
              <a:gd name="connsiteY1063" fmla="*/ 1836908 h 6858285"/>
              <a:gd name="connsiteX1064" fmla="*/ 1492918 w 4011840"/>
              <a:gd name="connsiteY1064" fmla="*/ 1884667 h 6858285"/>
              <a:gd name="connsiteX1065" fmla="*/ 1150255 w 4011840"/>
              <a:gd name="connsiteY1065" fmla="*/ 1997380 h 6858285"/>
              <a:gd name="connsiteX1066" fmla="*/ 1087434 w 4011840"/>
              <a:gd name="connsiteY1066" fmla="*/ 1964903 h 6858285"/>
              <a:gd name="connsiteX1067" fmla="*/ 1119796 w 4011840"/>
              <a:gd name="connsiteY1067" fmla="*/ 1901861 h 6858285"/>
              <a:gd name="connsiteX1068" fmla="*/ 1460555 w 4011840"/>
              <a:gd name="connsiteY1068" fmla="*/ 1789148 h 6858285"/>
              <a:gd name="connsiteX1069" fmla="*/ 1480544 w 4011840"/>
              <a:gd name="connsiteY1069" fmla="*/ 1786402 h 6858285"/>
              <a:gd name="connsiteX1070" fmla="*/ 2035632 w 4011840"/>
              <a:gd name="connsiteY1070" fmla="*/ 1779621 h 6858285"/>
              <a:gd name="connsiteX1071" fmla="*/ 2080910 w 4011840"/>
              <a:gd name="connsiteY1071" fmla="*/ 1819238 h 6858285"/>
              <a:gd name="connsiteX1072" fmla="*/ 2082815 w 4011840"/>
              <a:gd name="connsiteY1072" fmla="*/ 1834569 h 6858285"/>
              <a:gd name="connsiteX1073" fmla="*/ 2042805 w 4011840"/>
              <a:gd name="connsiteY1073" fmla="*/ 1886314 h 6858285"/>
              <a:gd name="connsiteX1074" fmla="*/ 1699901 w 4011840"/>
              <a:gd name="connsiteY1074" fmla="*/ 1978302 h 6858285"/>
              <a:gd name="connsiteX1075" fmla="*/ 1633225 w 4011840"/>
              <a:gd name="connsiteY1075" fmla="*/ 1939974 h 6858285"/>
              <a:gd name="connsiteX1076" fmla="*/ 1671326 w 4011840"/>
              <a:gd name="connsiteY1076" fmla="*/ 1872898 h 6858285"/>
              <a:gd name="connsiteX1077" fmla="*/ 2014230 w 4011840"/>
              <a:gd name="connsiteY1077" fmla="*/ 1780909 h 6858285"/>
              <a:gd name="connsiteX1078" fmla="*/ 2035632 w 4011840"/>
              <a:gd name="connsiteY1078" fmla="*/ 1779621 h 6858285"/>
              <a:gd name="connsiteX1079" fmla="*/ 3732186 w 4011840"/>
              <a:gd name="connsiteY1079" fmla="*/ 1775473 h 6858285"/>
              <a:gd name="connsiteX1080" fmla="*/ 3778300 w 4011840"/>
              <a:gd name="connsiteY1080" fmla="*/ 1820015 h 6858285"/>
              <a:gd name="connsiteX1081" fmla="*/ 3778300 w 4011840"/>
              <a:gd name="connsiteY1081" fmla="*/ 1831463 h 6858285"/>
              <a:gd name="connsiteX1082" fmla="*/ 3732544 w 4011840"/>
              <a:gd name="connsiteY1082" fmla="*/ 1888705 h 6858285"/>
              <a:gd name="connsiteX1083" fmla="*/ 3387514 w 4011840"/>
              <a:gd name="connsiteY1083" fmla="*/ 1959303 h 6858285"/>
              <a:gd name="connsiteX1084" fmla="*/ 3318883 w 4011840"/>
              <a:gd name="connsiteY1084" fmla="*/ 1915418 h 6858285"/>
              <a:gd name="connsiteX1085" fmla="*/ 3364636 w 4011840"/>
              <a:gd name="connsiteY1085" fmla="*/ 1846728 h 6858285"/>
              <a:gd name="connsiteX1086" fmla="*/ 3709668 w 4011840"/>
              <a:gd name="connsiteY1086" fmla="*/ 1776129 h 6858285"/>
              <a:gd name="connsiteX1087" fmla="*/ 3732186 w 4011840"/>
              <a:gd name="connsiteY1087" fmla="*/ 1775473 h 6858285"/>
              <a:gd name="connsiteX1088" fmla="*/ 2597096 w 4011840"/>
              <a:gd name="connsiteY1088" fmla="*/ 1775454 h 6858285"/>
              <a:gd name="connsiteX1089" fmla="*/ 2643205 w 4011840"/>
              <a:gd name="connsiteY1089" fmla="*/ 1819995 h 6858285"/>
              <a:gd name="connsiteX1090" fmla="*/ 2643205 w 4011840"/>
              <a:gd name="connsiteY1090" fmla="*/ 1831444 h 6858285"/>
              <a:gd name="connsiteX1091" fmla="*/ 2597453 w 4011840"/>
              <a:gd name="connsiteY1091" fmla="*/ 1888685 h 6858285"/>
              <a:gd name="connsiteX1092" fmla="*/ 2252409 w 4011840"/>
              <a:gd name="connsiteY1092" fmla="*/ 1959283 h 6858285"/>
              <a:gd name="connsiteX1093" fmla="*/ 2183781 w 4011840"/>
              <a:gd name="connsiteY1093" fmla="*/ 1915398 h 6858285"/>
              <a:gd name="connsiteX1094" fmla="*/ 2229533 w 4011840"/>
              <a:gd name="connsiteY1094" fmla="*/ 1846708 h 6858285"/>
              <a:gd name="connsiteX1095" fmla="*/ 2574577 w 4011840"/>
              <a:gd name="connsiteY1095" fmla="*/ 1776110 h 6858285"/>
              <a:gd name="connsiteX1096" fmla="*/ 2597096 w 4011840"/>
              <a:gd name="connsiteY1096" fmla="*/ 1775454 h 6858285"/>
              <a:gd name="connsiteX1097" fmla="*/ 3139439 w 4011840"/>
              <a:gd name="connsiteY1097" fmla="*/ 1767852 h 6858285"/>
              <a:gd name="connsiteX1098" fmla="*/ 3209972 w 4011840"/>
              <a:gd name="connsiteY1098" fmla="*/ 1819198 h 6858285"/>
              <a:gd name="connsiteX1099" fmla="*/ 3209972 w 4011840"/>
              <a:gd name="connsiteY1099" fmla="*/ 1828706 h 6858285"/>
              <a:gd name="connsiteX1100" fmla="*/ 3156596 w 4011840"/>
              <a:gd name="connsiteY1100" fmla="*/ 1889561 h 6858285"/>
              <a:gd name="connsiteX1101" fmla="*/ 2811555 w 4011840"/>
              <a:gd name="connsiteY1101" fmla="*/ 1939005 h 6858285"/>
              <a:gd name="connsiteX1102" fmla="*/ 2741022 w 4011840"/>
              <a:gd name="connsiteY1102" fmla="*/ 1887660 h 6858285"/>
              <a:gd name="connsiteX1103" fmla="*/ 2792492 w 4011840"/>
              <a:gd name="connsiteY1103" fmla="*/ 1819198 h 6858285"/>
              <a:gd name="connsiteX1104" fmla="*/ 3139439 w 4011840"/>
              <a:gd name="connsiteY1104" fmla="*/ 1767852 h 6858285"/>
              <a:gd name="connsiteX1105" fmla="*/ 4011840 w 4011840"/>
              <a:gd name="connsiteY1105" fmla="*/ 1531095 h 6858285"/>
              <a:gd name="connsiteX1106" fmla="*/ 4011840 w 4011840"/>
              <a:gd name="connsiteY1106" fmla="*/ 1641028 h 6858285"/>
              <a:gd name="connsiteX1107" fmla="*/ 3954252 w 4011840"/>
              <a:gd name="connsiteY1107" fmla="*/ 1657678 h 6858285"/>
              <a:gd name="connsiteX1108" fmla="*/ 3887528 w 4011840"/>
              <a:gd name="connsiteY1108" fmla="*/ 1621430 h 6858285"/>
              <a:gd name="connsiteX1109" fmla="*/ 3923748 w 4011840"/>
              <a:gd name="connsiteY1109" fmla="*/ 1556564 h 6858285"/>
              <a:gd name="connsiteX1110" fmla="*/ 4007518 w 4011840"/>
              <a:gd name="connsiteY1110" fmla="*/ 1532344 h 6858285"/>
              <a:gd name="connsiteX1111" fmla="*/ 398249 w 4011840"/>
              <a:gd name="connsiteY1111" fmla="*/ 1477054 h 6858285"/>
              <a:gd name="connsiteX1112" fmla="*/ 423234 w 4011840"/>
              <a:gd name="connsiteY1112" fmla="*/ 1499043 h 6858285"/>
              <a:gd name="connsiteX1113" fmla="*/ 427041 w 4011840"/>
              <a:gd name="connsiteY1113" fmla="*/ 1516254 h 6858285"/>
              <a:gd name="connsiteX1114" fmla="*/ 402294 w 4011840"/>
              <a:gd name="connsiteY1114" fmla="*/ 1556411 h 6858285"/>
              <a:gd name="connsiteX1115" fmla="*/ 61547 w 4011840"/>
              <a:gd name="connsiteY1115" fmla="*/ 1711302 h 6858285"/>
              <a:gd name="connsiteX1116" fmla="*/ 6342 w 4011840"/>
              <a:gd name="connsiteY1116" fmla="*/ 1690267 h 6858285"/>
              <a:gd name="connsiteX1117" fmla="*/ 27282 w 4011840"/>
              <a:gd name="connsiteY1117" fmla="*/ 1632900 h 6858285"/>
              <a:gd name="connsiteX1118" fmla="*/ 366125 w 4011840"/>
              <a:gd name="connsiteY1118" fmla="*/ 1478010 h 6858285"/>
              <a:gd name="connsiteX1119" fmla="*/ 398249 w 4011840"/>
              <a:gd name="connsiteY1119" fmla="*/ 1477054 h 6858285"/>
              <a:gd name="connsiteX1120" fmla="*/ 929397 w 4011840"/>
              <a:gd name="connsiteY1120" fmla="*/ 1468271 h 6858285"/>
              <a:gd name="connsiteX1121" fmla="*/ 970920 w 4011840"/>
              <a:gd name="connsiteY1121" fmla="*/ 1498195 h 6858285"/>
              <a:gd name="connsiteX1122" fmla="*/ 974730 w 4011840"/>
              <a:gd name="connsiteY1122" fmla="*/ 1515296 h 6858285"/>
              <a:gd name="connsiteX1123" fmla="*/ 946155 w 4011840"/>
              <a:gd name="connsiteY1123" fmla="*/ 1557096 h 6858285"/>
              <a:gd name="connsiteX1124" fmla="*/ 605156 w 4011840"/>
              <a:gd name="connsiteY1124" fmla="*/ 1693897 h 6858285"/>
              <a:gd name="connsiteX1125" fmla="*/ 546100 w 4011840"/>
              <a:gd name="connsiteY1125" fmla="*/ 1667296 h 6858285"/>
              <a:gd name="connsiteX1126" fmla="*/ 570866 w 4011840"/>
              <a:gd name="connsiteY1126" fmla="*/ 1608396 h 6858285"/>
              <a:gd name="connsiteX1127" fmla="*/ 911865 w 4011840"/>
              <a:gd name="connsiteY1127" fmla="*/ 1471596 h 6858285"/>
              <a:gd name="connsiteX1128" fmla="*/ 929397 w 4011840"/>
              <a:gd name="connsiteY1128" fmla="*/ 1468271 h 6858285"/>
              <a:gd name="connsiteX1129" fmla="*/ 1479724 w 4011840"/>
              <a:gd name="connsiteY1129" fmla="*/ 1461429 h 6858285"/>
              <a:gd name="connsiteX1130" fmla="*/ 1523689 w 4011840"/>
              <a:gd name="connsiteY1130" fmla="*/ 1493843 h 6858285"/>
              <a:gd name="connsiteX1131" fmla="*/ 1525596 w 4011840"/>
              <a:gd name="connsiteY1131" fmla="*/ 1510988 h 6858285"/>
              <a:gd name="connsiteX1132" fmla="*/ 1493187 w 4011840"/>
              <a:gd name="connsiteY1132" fmla="*/ 1556708 h 6858285"/>
              <a:gd name="connsiteX1133" fmla="*/ 1150039 w 4011840"/>
              <a:gd name="connsiteY1133" fmla="*/ 1674820 h 6858285"/>
              <a:gd name="connsiteX1134" fmla="*/ 1089034 w 4011840"/>
              <a:gd name="connsiteY1134" fmla="*/ 1644339 h 6858285"/>
              <a:gd name="connsiteX1135" fmla="*/ 1117630 w 4011840"/>
              <a:gd name="connsiteY1135" fmla="*/ 1583379 h 6858285"/>
              <a:gd name="connsiteX1136" fmla="*/ 1460779 w 4011840"/>
              <a:gd name="connsiteY1136" fmla="*/ 1463363 h 6858285"/>
              <a:gd name="connsiteX1137" fmla="*/ 1479724 w 4011840"/>
              <a:gd name="connsiteY1137" fmla="*/ 1461429 h 6858285"/>
              <a:gd name="connsiteX1138" fmla="*/ 2034947 w 4011840"/>
              <a:gd name="connsiteY1138" fmla="*/ 1454929 h 6858285"/>
              <a:gd name="connsiteX1139" fmla="*/ 2079328 w 4011840"/>
              <a:gd name="connsiteY1139" fmla="*/ 1491683 h 6858285"/>
              <a:gd name="connsiteX1140" fmla="*/ 2081229 w 4011840"/>
              <a:gd name="connsiteY1140" fmla="*/ 1506945 h 6858285"/>
              <a:gd name="connsiteX1141" fmla="*/ 2043204 w 4011840"/>
              <a:gd name="connsiteY1141" fmla="*/ 1558456 h 6858285"/>
              <a:gd name="connsiteX1142" fmla="*/ 1701020 w 4011840"/>
              <a:gd name="connsiteY1142" fmla="*/ 1657662 h 6858285"/>
              <a:gd name="connsiteX1143" fmla="*/ 1636385 w 4011840"/>
              <a:gd name="connsiteY1143" fmla="*/ 1621413 h 6858285"/>
              <a:gd name="connsiteX1144" fmla="*/ 1672505 w 4011840"/>
              <a:gd name="connsiteY1144" fmla="*/ 1556548 h 6858285"/>
              <a:gd name="connsiteX1145" fmla="*/ 2014689 w 4011840"/>
              <a:gd name="connsiteY1145" fmla="*/ 1457343 h 6858285"/>
              <a:gd name="connsiteX1146" fmla="*/ 2034947 w 4011840"/>
              <a:gd name="connsiteY1146" fmla="*/ 1454929 h 6858285"/>
              <a:gd name="connsiteX1147" fmla="*/ 3729076 w 4011840"/>
              <a:gd name="connsiteY1147" fmla="*/ 1449674 h 6858285"/>
              <a:gd name="connsiteX1148" fmla="*/ 3773220 w 4011840"/>
              <a:gd name="connsiteY1148" fmla="*/ 1490533 h 6858285"/>
              <a:gd name="connsiteX1149" fmla="*/ 3775124 w 4011840"/>
              <a:gd name="connsiteY1149" fmla="*/ 1503826 h 6858285"/>
              <a:gd name="connsiteX1150" fmla="*/ 3733268 w 4011840"/>
              <a:gd name="connsiteY1150" fmla="*/ 1558900 h 6858285"/>
              <a:gd name="connsiteX1151" fmla="*/ 3388949 w 4011840"/>
              <a:gd name="connsiteY1151" fmla="*/ 1638661 h 6858285"/>
              <a:gd name="connsiteX1152" fmla="*/ 3322361 w 4011840"/>
              <a:gd name="connsiteY1152" fmla="*/ 1598781 h 6858285"/>
              <a:gd name="connsiteX1153" fmla="*/ 3362311 w 4011840"/>
              <a:gd name="connsiteY1153" fmla="*/ 1530413 h 6858285"/>
              <a:gd name="connsiteX1154" fmla="*/ 3706634 w 4011840"/>
              <a:gd name="connsiteY1154" fmla="*/ 1450653 h 6858285"/>
              <a:gd name="connsiteX1155" fmla="*/ 3729076 w 4011840"/>
              <a:gd name="connsiteY1155" fmla="*/ 1449674 h 6858285"/>
              <a:gd name="connsiteX1156" fmla="*/ 2595306 w 4011840"/>
              <a:gd name="connsiteY1156" fmla="*/ 1449656 h 6858285"/>
              <a:gd name="connsiteX1157" fmla="*/ 2639715 w 4011840"/>
              <a:gd name="connsiteY1157" fmla="*/ 1490515 h 6858285"/>
              <a:gd name="connsiteX1158" fmla="*/ 2641617 w 4011840"/>
              <a:gd name="connsiteY1158" fmla="*/ 1503809 h 6858285"/>
              <a:gd name="connsiteX1159" fmla="*/ 2597862 w 4011840"/>
              <a:gd name="connsiteY1159" fmla="*/ 1558882 h 6858285"/>
              <a:gd name="connsiteX1160" fmla="*/ 2255431 w 4011840"/>
              <a:gd name="connsiteY1160" fmla="*/ 1638643 h 6858285"/>
              <a:gd name="connsiteX1161" fmla="*/ 2188847 w 4011840"/>
              <a:gd name="connsiteY1161" fmla="*/ 1598762 h 6858285"/>
              <a:gd name="connsiteX1162" fmla="*/ 2228797 w 4011840"/>
              <a:gd name="connsiteY1162" fmla="*/ 1530396 h 6858285"/>
              <a:gd name="connsiteX1163" fmla="*/ 2573131 w 4011840"/>
              <a:gd name="connsiteY1163" fmla="*/ 1450635 h 6858285"/>
              <a:gd name="connsiteX1164" fmla="*/ 2595306 w 4011840"/>
              <a:gd name="connsiteY1164" fmla="*/ 1449656 h 6858285"/>
              <a:gd name="connsiteX1165" fmla="*/ 3137758 w 4011840"/>
              <a:gd name="connsiteY1165" fmla="*/ 1442422 h 6858285"/>
              <a:gd name="connsiteX1166" fmla="*/ 3206474 w 4011840"/>
              <a:gd name="connsiteY1166" fmla="*/ 1490047 h 6858285"/>
              <a:gd name="connsiteX1167" fmla="*/ 3208386 w 4011840"/>
              <a:gd name="connsiteY1167" fmla="*/ 1499571 h 6858285"/>
              <a:gd name="connsiteX1168" fmla="*/ 3158756 w 4011840"/>
              <a:gd name="connsiteY1168" fmla="*/ 1558627 h 6858285"/>
              <a:gd name="connsiteX1169" fmla="*/ 2813246 w 4011840"/>
              <a:gd name="connsiteY1169" fmla="*/ 1621493 h 6858285"/>
              <a:gd name="connsiteX1170" fmla="*/ 2744526 w 4011840"/>
              <a:gd name="connsiteY1170" fmla="*/ 1573867 h 6858285"/>
              <a:gd name="connsiteX1171" fmla="*/ 2792249 w 4011840"/>
              <a:gd name="connsiteY1171" fmla="*/ 1505286 h 6858285"/>
              <a:gd name="connsiteX1172" fmla="*/ 3137758 w 4011840"/>
              <a:gd name="connsiteY1172" fmla="*/ 1442422 h 6858285"/>
              <a:gd name="connsiteX1173" fmla="*/ 4011840 w 4011840"/>
              <a:gd name="connsiteY1173" fmla="*/ 1212485 h 6858285"/>
              <a:gd name="connsiteX1174" fmla="*/ 4011840 w 4011840"/>
              <a:gd name="connsiteY1174" fmla="*/ 1319140 h 6858285"/>
              <a:gd name="connsiteX1175" fmla="*/ 3955366 w 4011840"/>
              <a:gd name="connsiteY1175" fmla="*/ 1337024 h 6858285"/>
              <a:gd name="connsiteX1176" fmla="*/ 3890684 w 4011840"/>
              <a:gd name="connsiteY1176" fmla="*/ 1302782 h 6858285"/>
              <a:gd name="connsiteX1177" fmla="*/ 3924928 w 4011840"/>
              <a:gd name="connsiteY1177" fmla="*/ 1240007 h 6858285"/>
              <a:gd name="connsiteX1178" fmla="*/ 4008522 w 4011840"/>
              <a:gd name="connsiteY1178" fmla="*/ 1213536 h 6858285"/>
              <a:gd name="connsiteX1179" fmla="*/ 398307 w 4011840"/>
              <a:gd name="connsiteY1179" fmla="*/ 1155612 h 6858285"/>
              <a:gd name="connsiteX1180" fmla="*/ 421644 w 4011840"/>
              <a:gd name="connsiteY1180" fmla="*/ 1178178 h 6858285"/>
              <a:gd name="connsiteX1181" fmla="*/ 425454 w 4011840"/>
              <a:gd name="connsiteY1181" fmla="*/ 1195279 h 6858285"/>
              <a:gd name="connsiteX1182" fmla="*/ 402594 w 4011840"/>
              <a:gd name="connsiteY1182" fmla="*/ 1233281 h 6858285"/>
              <a:gd name="connsiteX1183" fmla="*/ 61595 w 4011840"/>
              <a:gd name="connsiteY1183" fmla="*/ 1389098 h 6858285"/>
              <a:gd name="connsiteX1184" fmla="*/ 6349 w 4011840"/>
              <a:gd name="connsiteY1184" fmla="*/ 1368196 h 6858285"/>
              <a:gd name="connsiteX1185" fmla="*/ 27304 w 4011840"/>
              <a:gd name="connsiteY1185" fmla="*/ 1313089 h 6858285"/>
              <a:gd name="connsiteX1186" fmla="*/ 366398 w 4011840"/>
              <a:gd name="connsiteY1186" fmla="*/ 1157275 h 6858285"/>
              <a:gd name="connsiteX1187" fmla="*/ 398307 w 4011840"/>
              <a:gd name="connsiteY1187" fmla="*/ 1155612 h 6858285"/>
              <a:gd name="connsiteX1188" fmla="*/ 929385 w 4011840"/>
              <a:gd name="connsiteY1188" fmla="*/ 1144384 h 6858285"/>
              <a:gd name="connsiteX1189" fmla="*/ 969330 w 4011840"/>
              <a:gd name="connsiteY1189" fmla="*/ 1172402 h 6858285"/>
              <a:gd name="connsiteX1190" fmla="*/ 973143 w 4011840"/>
              <a:gd name="connsiteY1190" fmla="*/ 1189481 h 6858285"/>
              <a:gd name="connsiteX1191" fmla="*/ 946453 w 4011840"/>
              <a:gd name="connsiteY1191" fmla="*/ 1231226 h 6858285"/>
              <a:gd name="connsiteX1192" fmla="*/ 605206 w 4011840"/>
              <a:gd name="connsiteY1192" fmla="*/ 1371647 h 6858285"/>
              <a:gd name="connsiteX1193" fmla="*/ 546107 w 4011840"/>
              <a:gd name="connsiteY1193" fmla="*/ 1346978 h 6858285"/>
              <a:gd name="connsiteX1194" fmla="*/ 570891 w 4011840"/>
              <a:gd name="connsiteY1194" fmla="*/ 1288153 h 6858285"/>
              <a:gd name="connsiteX1195" fmla="*/ 912138 w 4011840"/>
              <a:gd name="connsiteY1195" fmla="*/ 1147734 h 6858285"/>
              <a:gd name="connsiteX1196" fmla="*/ 929385 w 4011840"/>
              <a:gd name="connsiteY1196" fmla="*/ 1144384 h 6858285"/>
              <a:gd name="connsiteX1197" fmla="*/ 1478252 w 4011840"/>
              <a:gd name="connsiteY1197" fmla="*/ 1136777 h 6858285"/>
              <a:gd name="connsiteX1198" fmla="*/ 1520519 w 4011840"/>
              <a:gd name="connsiteY1198" fmla="*/ 1168302 h 6858285"/>
              <a:gd name="connsiteX1199" fmla="*/ 1522421 w 4011840"/>
              <a:gd name="connsiteY1199" fmla="*/ 1185401 h 6858285"/>
              <a:gd name="connsiteX1200" fmla="*/ 1491984 w 4011840"/>
              <a:gd name="connsiteY1200" fmla="*/ 1230995 h 6858285"/>
              <a:gd name="connsiteX1201" fmla="*/ 1151475 w 4011840"/>
              <a:gd name="connsiteY1201" fmla="*/ 1354481 h 6858285"/>
              <a:gd name="connsiteX1202" fmla="*/ 1088700 w 4011840"/>
              <a:gd name="connsiteY1202" fmla="*/ 1325984 h 6858285"/>
              <a:gd name="connsiteX1203" fmla="*/ 1117234 w 4011840"/>
              <a:gd name="connsiteY1203" fmla="*/ 1263291 h 6858285"/>
              <a:gd name="connsiteX1204" fmla="*/ 1459646 w 4011840"/>
              <a:gd name="connsiteY1204" fmla="*/ 1139805 h 6858285"/>
              <a:gd name="connsiteX1205" fmla="*/ 1478252 w 4011840"/>
              <a:gd name="connsiteY1205" fmla="*/ 1136777 h 6858285"/>
              <a:gd name="connsiteX1206" fmla="*/ 2033027 w 4011840"/>
              <a:gd name="connsiteY1206" fmla="*/ 1129690 h 6858285"/>
              <a:gd name="connsiteX1207" fmla="*/ 2077738 w 4011840"/>
              <a:gd name="connsiteY1207" fmla="*/ 1165803 h 6858285"/>
              <a:gd name="connsiteX1208" fmla="*/ 2079641 w 4011840"/>
              <a:gd name="connsiteY1208" fmla="*/ 1181022 h 6858285"/>
              <a:gd name="connsiteX1209" fmla="*/ 2043467 w 4011840"/>
              <a:gd name="connsiteY1209" fmla="*/ 1228577 h 6858285"/>
              <a:gd name="connsiteX1210" fmla="*/ 1702708 w 4011840"/>
              <a:gd name="connsiteY1210" fmla="*/ 1337007 h 6858285"/>
              <a:gd name="connsiteX1211" fmla="*/ 1637983 w 4011840"/>
              <a:gd name="connsiteY1211" fmla="*/ 1302766 h 6858285"/>
              <a:gd name="connsiteX1212" fmla="*/ 1670346 w 4011840"/>
              <a:gd name="connsiteY1212" fmla="*/ 1239991 h 6858285"/>
              <a:gd name="connsiteX1213" fmla="*/ 2013008 w 4011840"/>
              <a:gd name="connsiteY1213" fmla="*/ 1131563 h 6858285"/>
              <a:gd name="connsiteX1214" fmla="*/ 2033027 w 4011840"/>
              <a:gd name="connsiteY1214" fmla="*/ 1129690 h 6858285"/>
              <a:gd name="connsiteX1215" fmla="*/ 3726352 w 4011840"/>
              <a:gd name="connsiteY1215" fmla="*/ 1122412 h 6858285"/>
              <a:gd name="connsiteX1216" fmla="*/ 3771630 w 4011840"/>
              <a:gd name="connsiteY1216" fmla="*/ 1162029 h 6858285"/>
              <a:gd name="connsiteX1217" fmla="*/ 3773534 w 4011840"/>
              <a:gd name="connsiteY1217" fmla="*/ 1175444 h 6858285"/>
              <a:gd name="connsiteX1218" fmla="*/ 3733528 w 4011840"/>
              <a:gd name="connsiteY1218" fmla="*/ 1229103 h 6858285"/>
              <a:gd name="connsiteX1219" fmla="*/ 3390637 w 4011840"/>
              <a:gd name="connsiteY1219" fmla="*/ 1321092 h 6858285"/>
              <a:gd name="connsiteX1220" fmla="*/ 3323960 w 4011840"/>
              <a:gd name="connsiteY1220" fmla="*/ 1282761 h 6858285"/>
              <a:gd name="connsiteX1221" fmla="*/ 3362061 w 4011840"/>
              <a:gd name="connsiteY1221" fmla="*/ 1215690 h 6858285"/>
              <a:gd name="connsiteX1222" fmla="*/ 3704952 w 4011840"/>
              <a:gd name="connsiteY1222" fmla="*/ 1123700 h 6858285"/>
              <a:gd name="connsiteX1223" fmla="*/ 3726352 w 4011840"/>
              <a:gd name="connsiteY1223" fmla="*/ 1122412 h 6858285"/>
              <a:gd name="connsiteX1224" fmla="*/ 2592851 w 4011840"/>
              <a:gd name="connsiteY1224" fmla="*/ 1122392 h 6858285"/>
              <a:gd name="connsiteX1225" fmla="*/ 2638126 w 4011840"/>
              <a:gd name="connsiteY1225" fmla="*/ 1162008 h 6858285"/>
              <a:gd name="connsiteX1226" fmla="*/ 2640030 w 4011840"/>
              <a:gd name="connsiteY1226" fmla="*/ 1175424 h 6858285"/>
              <a:gd name="connsiteX1227" fmla="*/ 2600026 w 4011840"/>
              <a:gd name="connsiteY1227" fmla="*/ 1229084 h 6858285"/>
              <a:gd name="connsiteX1228" fmla="*/ 2257121 w 4011840"/>
              <a:gd name="connsiteY1228" fmla="*/ 1321073 h 6858285"/>
              <a:gd name="connsiteX1229" fmla="*/ 2190445 w 4011840"/>
              <a:gd name="connsiteY1229" fmla="*/ 1282744 h 6858285"/>
              <a:gd name="connsiteX1230" fmla="*/ 2228546 w 4011840"/>
              <a:gd name="connsiteY1230" fmla="*/ 1215669 h 6858285"/>
              <a:gd name="connsiteX1231" fmla="*/ 2571449 w 4011840"/>
              <a:gd name="connsiteY1231" fmla="*/ 1123680 h 6858285"/>
              <a:gd name="connsiteX1232" fmla="*/ 2592851 w 4011840"/>
              <a:gd name="connsiteY1232" fmla="*/ 1122392 h 6858285"/>
              <a:gd name="connsiteX1233" fmla="*/ 3157611 w 4011840"/>
              <a:gd name="connsiteY1233" fmla="*/ 1116352 h 6858285"/>
              <a:gd name="connsiteX1234" fmla="*/ 3201722 w 4011840"/>
              <a:gd name="connsiteY1234" fmla="*/ 1159215 h 6858285"/>
              <a:gd name="connsiteX1235" fmla="*/ 3203624 w 4011840"/>
              <a:gd name="connsiteY1235" fmla="*/ 1172550 h 6858285"/>
              <a:gd name="connsiteX1236" fmla="*/ 3159900 w 4011840"/>
              <a:gd name="connsiteY1236" fmla="*/ 1227794 h 6858285"/>
              <a:gd name="connsiteX1237" fmla="*/ 2815797 w 4011840"/>
              <a:gd name="connsiteY1237" fmla="*/ 1303992 h 6858285"/>
              <a:gd name="connsiteX1238" fmla="*/ 2747356 w 4011840"/>
              <a:gd name="connsiteY1238" fmla="*/ 1260177 h 6858285"/>
              <a:gd name="connsiteX1239" fmla="*/ 2791085 w 4011840"/>
              <a:gd name="connsiteY1239" fmla="*/ 1191600 h 6858285"/>
              <a:gd name="connsiteX1240" fmla="*/ 3135184 w 4011840"/>
              <a:gd name="connsiteY1240" fmla="*/ 1117304 h 6858285"/>
              <a:gd name="connsiteX1241" fmla="*/ 3157611 w 4011840"/>
              <a:gd name="connsiteY1241" fmla="*/ 1116352 h 6858285"/>
              <a:gd name="connsiteX1242" fmla="*/ 4011840 w 4011840"/>
              <a:gd name="connsiteY1242" fmla="*/ 892779 h 6858285"/>
              <a:gd name="connsiteX1243" fmla="*/ 4011840 w 4011840"/>
              <a:gd name="connsiteY1243" fmla="*/ 999216 h 6858285"/>
              <a:gd name="connsiteX1244" fmla="*/ 3957056 w 4011840"/>
              <a:gd name="connsiteY1244" fmla="*/ 1017912 h 6858285"/>
              <a:gd name="connsiteX1245" fmla="*/ 3894188 w 4011840"/>
              <a:gd name="connsiteY1245" fmla="*/ 985481 h 6858285"/>
              <a:gd name="connsiteX1246" fmla="*/ 3924668 w 4011840"/>
              <a:gd name="connsiteY1246" fmla="*/ 922528 h 6858285"/>
              <a:gd name="connsiteX1247" fmla="*/ 4007916 w 4011840"/>
              <a:gd name="connsiteY1247" fmla="*/ 894118 h 6858285"/>
              <a:gd name="connsiteX1248" fmla="*/ 398307 w 4011840"/>
              <a:gd name="connsiteY1248" fmla="*/ 832461 h 6858285"/>
              <a:gd name="connsiteX1249" fmla="*/ 421644 w 4011840"/>
              <a:gd name="connsiteY1249" fmla="*/ 854286 h 6858285"/>
              <a:gd name="connsiteX1250" fmla="*/ 425454 w 4011840"/>
              <a:gd name="connsiteY1250" fmla="*/ 871366 h 6858285"/>
              <a:gd name="connsiteX1251" fmla="*/ 400689 w 4011840"/>
              <a:gd name="connsiteY1251" fmla="*/ 909323 h 6858285"/>
              <a:gd name="connsiteX1252" fmla="*/ 61595 w 4011840"/>
              <a:gd name="connsiteY1252" fmla="*/ 1066847 h 6858285"/>
              <a:gd name="connsiteX1253" fmla="*/ 6349 w 4011840"/>
              <a:gd name="connsiteY1253" fmla="*/ 1045967 h 6858285"/>
              <a:gd name="connsiteX1254" fmla="*/ 27304 w 4011840"/>
              <a:gd name="connsiteY1254" fmla="*/ 990930 h 6858285"/>
              <a:gd name="connsiteX1255" fmla="*/ 366398 w 4011840"/>
              <a:gd name="connsiteY1255" fmla="*/ 833409 h 6858285"/>
              <a:gd name="connsiteX1256" fmla="*/ 398307 w 4011840"/>
              <a:gd name="connsiteY1256" fmla="*/ 832461 h 6858285"/>
              <a:gd name="connsiteX1257" fmla="*/ 944785 w 4011840"/>
              <a:gd name="connsiteY1257" fmla="*/ 824757 h 6858285"/>
              <a:gd name="connsiteX1258" fmla="*/ 969330 w 4011840"/>
              <a:gd name="connsiteY1258" fmla="*/ 848240 h 6858285"/>
              <a:gd name="connsiteX1259" fmla="*/ 973143 w 4011840"/>
              <a:gd name="connsiteY1259" fmla="*/ 865318 h 6858285"/>
              <a:gd name="connsiteX1260" fmla="*/ 946453 w 4011840"/>
              <a:gd name="connsiteY1260" fmla="*/ 907064 h 6858285"/>
              <a:gd name="connsiteX1261" fmla="*/ 605206 w 4011840"/>
              <a:gd name="connsiteY1261" fmla="*/ 1049381 h 6858285"/>
              <a:gd name="connsiteX1262" fmla="*/ 546108 w 4011840"/>
              <a:gd name="connsiteY1262" fmla="*/ 1024713 h 6858285"/>
              <a:gd name="connsiteX1263" fmla="*/ 570891 w 4011840"/>
              <a:gd name="connsiteY1263" fmla="*/ 967786 h 6858285"/>
              <a:gd name="connsiteX1264" fmla="*/ 910231 w 4011840"/>
              <a:gd name="connsiteY1264" fmla="*/ 825469 h 6858285"/>
              <a:gd name="connsiteX1265" fmla="*/ 944785 w 4011840"/>
              <a:gd name="connsiteY1265" fmla="*/ 824757 h 6858285"/>
              <a:gd name="connsiteX1266" fmla="*/ 1476350 w 4011840"/>
              <a:gd name="connsiteY1266" fmla="*/ 812922 h 6858285"/>
              <a:gd name="connsiteX1267" fmla="*/ 1518617 w 4011840"/>
              <a:gd name="connsiteY1267" fmla="*/ 842698 h 6858285"/>
              <a:gd name="connsiteX1268" fmla="*/ 1522421 w 4011840"/>
              <a:gd name="connsiteY1268" fmla="*/ 859866 h 6858285"/>
              <a:gd name="connsiteX1269" fmla="*/ 1491985 w 4011840"/>
              <a:gd name="connsiteY1269" fmla="*/ 903740 h 6858285"/>
              <a:gd name="connsiteX1270" fmla="*/ 1151476 w 4011840"/>
              <a:gd name="connsiteY1270" fmla="*/ 1033454 h 6858285"/>
              <a:gd name="connsiteX1271" fmla="*/ 1090602 w 4011840"/>
              <a:gd name="connsiteY1271" fmla="*/ 1006748 h 6858285"/>
              <a:gd name="connsiteX1272" fmla="*/ 1117234 w 4011840"/>
              <a:gd name="connsiteY1272" fmla="*/ 945706 h 6858285"/>
              <a:gd name="connsiteX1273" fmla="*/ 1457743 w 4011840"/>
              <a:gd name="connsiteY1273" fmla="*/ 815992 h 6858285"/>
              <a:gd name="connsiteX1274" fmla="*/ 1476350 w 4011840"/>
              <a:gd name="connsiteY1274" fmla="*/ 812922 h 6858285"/>
              <a:gd name="connsiteX1275" fmla="*/ 2032209 w 4011840"/>
              <a:gd name="connsiteY1275" fmla="*/ 804237 h 6858285"/>
              <a:gd name="connsiteX1276" fmla="*/ 2076148 w 4011840"/>
              <a:gd name="connsiteY1276" fmla="*/ 838575 h 6858285"/>
              <a:gd name="connsiteX1277" fmla="*/ 2078054 w 4011840"/>
              <a:gd name="connsiteY1277" fmla="*/ 853837 h 6858285"/>
              <a:gd name="connsiteX1278" fmla="*/ 2043759 w 4011840"/>
              <a:gd name="connsiteY1278" fmla="*/ 901528 h 6858285"/>
              <a:gd name="connsiteX1279" fmla="*/ 1702759 w 4011840"/>
              <a:gd name="connsiteY1279" fmla="*/ 1017896 h 6858285"/>
              <a:gd name="connsiteX1280" fmla="*/ 1639894 w 4011840"/>
              <a:gd name="connsiteY1280" fmla="*/ 985466 h 6858285"/>
              <a:gd name="connsiteX1281" fmla="*/ 1670374 w 4011840"/>
              <a:gd name="connsiteY1281" fmla="*/ 922513 h 6858285"/>
              <a:gd name="connsiteX1282" fmla="*/ 2013278 w 4011840"/>
              <a:gd name="connsiteY1282" fmla="*/ 806145 h 6858285"/>
              <a:gd name="connsiteX1283" fmla="*/ 2032209 w 4011840"/>
              <a:gd name="connsiteY1283" fmla="*/ 804237 h 6858285"/>
              <a:gd name="connsiteX1284" fmla="*/ 3725236 w 4011840"/>
              <a:gd name="connsiteY1284" fmla="*/ 796615 h 6858285"/>
              <a:gd name="connsiteX1285" fmla="*/ 3770040 w 4011840"/>
              <a:gd name="connsiteY1285" fmla="*/ 832564 h 6858285"/>
              <a:gd name="connsiteX1286" fmla="*/ 3771948 w 4011840"/>
              <a:gd name="connsiteY1286" fmla="*/ 847826 h 6858285"/>
              <a:gd name="connsiteX1287" fmla="*/ 3733792 w 4011840"/>
              <a:gd name="connsiteY1287" fmla="*/ 897429 h 6858285"/>
              <a:gd name="connsiteX1288" fmla="*/ 3390423 w 4011840"/>
              <a:gd name="connsiteY1288" fmla="*/ 1000449 h 6858285"/>
              <a:gd name="connsiteX1289" fmla="*/ 3325558 w 4011840"/>
              <a:gd name="connsiteY1289" fmla="*/ 964201 h 6858285"/>
              <a:gd name="connsiteX1290" fmla="*/ 3361806 w 4011840"/>
              <a:gd name="connsiteY1290" fmla="*/ 899337 h 6858285"/>
              <a:gd name="connsiteX1291" fmla="*/ 3705176 w 4011840"/>
              <a:gd name="connsiteY1291" fmla="*/ 798224 h 6858285"/>
              <a:gd name="connsiteX1292" fmla="*/ 3725236 w 4011840"/>
              <a:gd name="connsiteY1292" fmla="*/ 796615 h 6858285"/>
              <a:gd name="connsiteX1293" fmla="*/ 2591734 w 4011840"/>
              <a:gd name="connsiteY1293" fmla="*/ 796597 h 6858285"/>
              <a:gd name="connsiteX1294" fmla="*/ 2636535 w 4011840"/>
              <a:gd name="connsiteY1294" fmla="*/ 832546 h 6858285"/>
              <a:gd name="connsiteX1295" fmla="*/ 2638443 w 4011840"/>
              <a:gd name="connsiteY1295" fmla="*/ 847809 h 6858285"/>
              <a:gd name="connsiteX1296" fmla="*/ 2600289 w 4011840"/>
              <a:gd name="connsiteY1296" fmla="*/ 897411 h 6858285"/>
              <a:gd name="connsiteX1297" fmla="*/ 2256905 w 4011840"/>
              <a:gd name="connsiteY1297" fmla="*/ 1000432 h 6858285"/>
              <a:gd name="connsiteX1298" fmla="*/ 2192044 w 4011840"/>
              <a:gd name="connsiteY1298" fmla="*/ 964184 h 6858285"/>
              <a:gd name="connsiteX1299" fmla="*/ 2228290 w 4011840"/>
              <a:gd name="connsiteY1299" fmla="*/ 899319 h 6858285"/>
              <a:gd name="connsiteX1300" fmla="*/ 2571674 w 4011840"/>
              <a:gd name="connsiteY1300" fmla="*/ 798206 h 6858285"/>
              <a:gd name="connsiteX1301" fmla="*/ 2591734 w 4011840"/>
              <a:gd name="connsiteY1301" fmla="*/ 796597 h 6858285"/>
              <a:gd name="connsiteX1302" fmla="*/ 3154890 w 4011840"/>
              <a:gd name="connsiteY1302" fmla="*/ 787706 h 6858285"/>
              <a:gd name="connsiteX1303" fmla="*/ 3200131 w 4011840"/>
              <a:gd name="connsiteY1303" fmla="*/ 828693 h 6858285"/>
              <a:gd name="connsiteX1304" fmla="*/ 3202035 w 4011840"/>
              <a:gd name="connsiteY1304" fmla="*/ 842028 h 6858285"/>
              <a:gd name="connsiteX1305" fmla="*/ 3160155 w 4011840"/>
              <a:gd name="connsiteY1305" fmla="*/ 895367 h 6858285"/>
              <a:gd name="connsiteX1306" fmla="*/ 2817485 w 4011840"/>
              <a:gd name="connsiteY1306" fmla="*/ 982997 h 6858285"/>
              <a:gd name="connsiteX1307" fmla="*/ 2750856 w 4011840"/>
              <a:gd name="connsiteY1307" fmla="*/ 944898 h 6858285"/>
              <a:gd name="connsiteX1308" fmla="*/ 2788932 w 4011840"/>
              <a:gd name="connsiteY1308" fmla="*/ 878223 h 6858285"/>
              <a:gd name="connsiteX1309" fmla="*/ 3133502 w 4011840"/>
              <a:gd name="connsiteY1309" fmla="*/ 788688 h 6858285"/>
              <a:gd name="connsiteX1310" fmla="*/ 3154890 w 4011840"/>
              <a:gd name="connsiteY1310" fmla="*/ 787706 h 6858285"/>
              <a:gd name="connsiteX1311" fmla="*/ 4011840 w 4011840"/>
              <a:gd name="connsiteY1311" fmla="*/ 574461 h 6858285"/>
              <a:gd name="connsiteX1312" fmla="*/ 4011840 w 4011840"/>
              <a:gd name="connsiteY1312" fmla="*/ 675481 h 6858285"/>
              <a:gd name="connsiteX1313" fmla="*/ 3956840 w 4011840"/>
              <a:gd name="connsiteY1313" fmla="*/ 695371 h 6858285"/>
              <a:gd name="connsiteX1314" fmla="*/ 3895788 w 4011840"/>
              <a:gd name="connsiteY1314" fmla="*/ 666874 h 6858285"/>
              <a:gd name="connsiteX1315" fmla="*/ 3924406 w 4011840"/>
              <a:gd name="connsiteY1315" fmla="*/ 606080 h 6858285"/>
              <a:gd name="connsiteX1316" fmla="*/ 4007772 w 4011840"/>
              <a:gd name="connsiteY1316" fmla="*/ 575932 h 6858285"/>
              <a:gd name="connsiteX1317" fmla="*/ 382532 w 4011840"/>
              <a:gd name="connsiteY1317" fmla="*/ 506676 h 6858285"/>
              <a:gd name="connsiteX1318" fmla="*/ 421644 w 4011840"/>
              <a:gd name="connsiteY1318" fmla="*/ 530400 h 6858285"/>
              <a:gd name="connsiteX1319" fmla="*/ 425454 w 4011840"/>
              <a:gd name="connsiteY1319" fmla="*/ 547459 h 6858285"/>
              <a:gd name="connsiteX1320" fmla="*/ 400689 w 4011840"/>
              <a:gd name="connsiteY1320" fmla="*/ 585369 h 6858285"/>
              <a:gd name="connsiteX1321" fmla="*/ 61595 w 4011840"/>
              <a:gd name="connsiteY1321" fmla="*/ 744593 h 6858285"/>
              <a:gd name="connsiteX1322" fmla="*/ 6349 w 4011840"/>
              <a:gd name="connsiteY1322" fmla="*/ 723742 h 6858285"/>
              <a:gd name="connsiteX1323" fmla="*/ 27304 w 4011840"/>
              <a:gd name="connsiteY1323" fmla="*/ 668772 h 6858285"/>
              <a:gd name="connsiteX1324" fmla="*/ 366399 w 4011840"/>
              <a:gd name="connsiteY1324" fmla="*/ 511444 h 6858285"/>
              <a:gd name="connsiteX1325" fmla="*/ 382532 w 4011840"/>
              <a:gd name="connsiteY1325" fmla="*/ 506676 h 6858285"/>
              <a:gd name="connsiteX1326" fmla="*/ 943575 w 4011840"/>
              <a:gd name="connsiteY1326" fmla="*/ 500954 h 6858285"/>
              <a:gd name="connsiteX1327" fmla="*/ 968066 w 4011840"/>
              <a:gd name="connsiteY1327" fmla="*/ 524559 h 6858285"/>
              <a:gd name="connsiteX1328" fmla="*/ 969968 w 4011840"/>
              <a:gd name="connsiteY1328" fmla="*/ 541726 h 6858285"/>
              <a:gd name="connsiteX1329" fmla="*/ 945239 w 4011840"/>
              <a:gd name="connsiteY1329" fmla="*/ 581783 h 6858285"/>
              <a:gd name="connsiteX1330" fmla="*/ 604741 w 4011840"/>
              <a:gd name="connsiteY1330" fmla="*/ 728657 h 6858285"/>
              <a:gd name="connsiteX1331" fmla="*/ 547674 w 4011840"/>
              <a:gd name="connsiteY1331" fmla="*/ 705768 h 6858285"/>
              <a:gd name="connsiteX1332" fmla="*/ 570501 w 4011840"/>
              <a:gd name="connsiteY1332" fmla="*/ 648544 h 6858285"/>
              <a:gd name="connsiteX1333" fmla="*/ 909097 w 4011840"/>
              <a:gd name="connsiteY1333" fmla="*/ 501669 h 6858285"/>
              <a:gd name="connsiteX1334" fmla="*/ 943575 w 4011840"/>
              <a:gd name="connsiteY1334" fmla="*/ 500954 h 6858285"/>
              <a:gd name="connsiteX1335" fmla="*/ 1475768 w 4011840"/>
              <a:gd name="connsiteY1335" fmla="*/ 488758 h 6858285"/>
              <a:gd name="connsiteX1336" fmla="*/ 1517023 w 4011840"/>
              <a:gd name="connsiteY1336" fmla="*/ 516849 h 6858285"/>
              <a:gd name="connsiteX1337" fmla="*/ 1520833 w 4011840"/>
              <a:gd name="connsiteY1337" fmla="*/ 533972 h 6858285"/>
              <a:gd name="connsiteX1338" fmla="*/ 1492258 w 4011840"/>
              <a:gd name="connsiteY1338" fmla="*/ 577729 h 6858285"/>
              <a:gd name="connsiteX1339" fmla="*/ 1151259 w 4011840"/>
              <a:gd name="connsiteY1339" fmla="*/ 712805 h 6858285"/>
              <a:gd name="connsiteX1340" fmla="*/ 1092203 w 4011840"/>
              <a:gd name="connsiteY1340" fmla="*/ 686170 h 6858285"/>
              <a:gd name="connsiteX1341" fmla="*/ 1116969 w 4011840"/>
              <a:gd name="connsiteY1341" fmla="*/ 627193 h 6858285"/>
              <a:gd name="connsiteX1342" fmla="*/ 1457968 w 4011840"/>
              <a:gd name="connsiteY1342" fmla="*/ 492117 h 6858285"/>
              <a:gd name="connsiteX1343" fmla="*/ 1475768 w 4011840"/>
              <a:gd name="connsiteY1343" fmla="*/ 488758 h 6858285"/>
              <a:gd name="connsiteX1344" fmla="*/ 2030557 w 4011840"/>
              <a:gd name="connsiteY1344" fmla="*/ 479549 h 6858285"/>
              <a:gd name="connsiteX1345" fmla="*/ 2074559 w 4011840"/>
              <a:gd name="connsiteY1345" fmla="*/ 511073 h 6858285"/>
              <a:gd name="connsiteX1346" fmla="*/ 2076467 w 4011840"/>
              <a:gd name="connsiteY1346" fmla="*/ 528172 h 6858285"/>
              <a:gd name="connsiteX1347" fmla="*/ 2045938 w 4011840"/>
              <a:gd name="connsiteY1347" fmla="*/ 571867 h 6858285"/>
              <a:gd name="connsiteX1348" fmla="*/ 1702543 w 4011840"/>
              <a:gd name="connsiteY1348" fmla="*/ 695353 h 6858285"/>
              <a:gd name="connsiteX1349" fmla="*/ 1641495 w 4011840"/>
              <a:gd name="connsiteY1349" fmla="*/ 666857 h 6858285"/>
              <a:gd name="connsiteX1350" fmla="*/ 1670112 w 4011840"/>
              <a:gd name="connsiteY1350" fmla="*/ 606063 h 6858285"/>
              <a:gd name="connsiteX1351" fmla="*/ 2011599 w 4011840"/>
              <a:gd name="connsiteY1351" fmla="*/ 482577 h 6858285"/>
              <a:gd name="connsiteX1352" fmla="*/ 2030557 w 4011840"/>
              <a:gd name="connsiteY1352" fmla="*/ 479549 h 6858285"/>
              <a:gd name="connsiteX1353" fmla="*/ 3723552 w 4011840"/>
              <a:gd name="connsiteY1353" fmla="*/ 470397 h 6858285"/>
              <a:gd name="connsiteX1354" fmla="*/ 3766538 w 4011840"/>
              <a:gd name="connsiteY1354" fmla="*/ 505539 h 6858285"/>
              <a:gd name="connsiteX1355" fmla="*/ 3770360 w 4011840"/>
              <a:gd name="connsiteY1355" fmla="*/ 520800 h 6858285"/>
              <a:gd name="connsiteX1356" fmla="*/ 3734060 w 4011840"/>
              <a:gd name="connsiteY1356" fmla="*/ 568492 h 6858285"/>
              <a:gd name="connsiteX1357" fmla="*/ 3392112 w 4011840"/>
              <a:gd name="connsiteY1357" fmla="*/ 681044 h 6858285"/>
              <a:gd name="connsiteX1358" fmla="*/ 3329066 w 4011840"/>
              <a:gd name="connsiteY1358" fmla="*/ 648614 h 6858285"/>
              <a:gd name="connsiteX1359" fmla="*/ 3359633 w 4011840"/>
              <a:gd name="connsiteY1359" fmla="*/ 585661 h 6858285"/>
              <a:gd name="connsiteX1360" fmla="*/ 3703492 w 4011840"/>
              <a:gd name="connsiteY1360" fmla="*/ 473109 h 6858285"/>
              <a:gd name="connsiteX1361" fmla="*/ 3723552 w 4011840"/>
              <a:gd name="connsiteY1361" fmla="*/ 470397 h 6858285"/>
              <a:gd name="connsiteX1362" fmla="*/ 2590051 w 4011840"/>
              <a:gd name="connsiteY1362" fmla="*/ 470376 h 6858285"/>
              <a:gd name="connsiteX1363" fmla="*/ 2633035 w 4011840"/>
              <a:gd name="connsiteY1363" fmla="*/ 505519 h 6858285"/>
              <a:gd name="connsiteX1364" fmla="*/ 2636856 w 4011840"/>
              <a:gd name="connsiteY1364" fmla="*/ 520780 h 6858285"/>
              <a:gd name="connsiteX1365" fmla="*/ 2600558 w 4011840"/>
              <a:gd name="connsiteY1365" fmla="*/ 568472 h 6858285"/>
              <a:gd name="connsiteX1366" fmla="*/ 2258596 w 4011840"/>
              <a:gd name="connsiteY1366" fmla="*/ 681025 h 6858285"/>
              <a:gd name="connsiteX1367" fmla="*/ 2195553 w 4011840"/>
              <a:gd name="connsiteY1367" fmla="*/ 648594 h 6858285"/>
              <a:gd name="connsiteX1368" fmla="*/ 2226119 w 4011840"/>
              <a:gd name="connsiteY1368" fmla="*/ 585641 h 6858285"/>
              <a:gd name="connsiteX1369" fmla="*/ 2569992 w 4011840"/>
              <a:gd name="connsiteY1369" fmla="*/ 473089 h 6858285"/>
              <a:gd name="connsiteX1370" fmla="*/ 2590051 w 4011840"/>
              <a:gd name="connsiteY1370" fmla="*/ 470376 h 6858285"/>
              <a:gd name="connsiteX1371" fmla="*/ 3153226 w 4011840"/>
              <a:gd name="connsiteY1371" fmla="*/ 461684 h 6858285"/>
              <a:gd name="connsiteX1372" fmla="*/ 3196954 w 4011840"/>
              <a:gd name="connsiteY1372" fmla="*/ 499511 h 6858285"/>
              <a:gd name="connsiteX1373" fmla="*/ 3198860 w 4011840"/>
              <a:gd name="connsiteY1373" fmla="*/ 512866 h 6858285"/>
              <a:gd name="connsiteX1374" fmla="*/ 3162616 w 4011840"/>
              <a:gd name="connsiteY1374" fmla="*/ 564376 h 6858285"/>
              <a:gd name="connsiteX1375" fmla="*/ 2819228 w 4011840"/>
              <a:gd name="connsiteY1375" fmla="*/ 665488 h 6858285"/>
              <a:gd name="connsiteX1376" fmla="*/ 2754367 w 4011840"/>
              <a:gd name="connsiteY1376" fmla="*/ 629241 h 6858285"/>
              <a:gd name="connsiteX1377" fmla="*/ 2788705 w 4011840"/>
              <a:gd name="connsiteY1377" fmla="*/ 564376 h 6858285"/>
              <a:gd name="connsiteX1378" fmla="*/ 3132091 w 4011840"/>
              <a:gd name="connsiteY1378" fmla="*/ 463264 h 6858285"/>
              <a:gd name="connsiteX1379" fmla="*/ 3153226 w 4011840"/>
              <a:gd name="connsiteY1379" fmla="*/ 461684 h 6858285"/>
              <a:gd name="connsiteX1380" fmla="*/ 4011840 w 4011840"/>
              <a:gd name="connsiteY1380" fmla="*/ 256161 h 6858285"/>
              <a:gd name="connsiteX1381" fmla="*/ 4011840 w 4011840"/>
              <a:gd name="connsiteY1381" fmla="*/ 354991 h 6858285"/>
              <a:gd name="connsiteX1382" fmla="*/ 3956616 w 4011840"/>
              <a:gd name="connsiteY1382" fmla="*/ 376246 h 6858285"/>
              <a:gd name="connsiteX1383" fmla="*/ 3897392 w 4011840"/>
              <a:gd name="connsiteY1383" fmla="*/ 349541 h 6858285"/>
              <a:gd name="connsiteX1384" fmla="*/ 3924140 w 4011840"/>
              <a:gd name="connsiteY1384" fmla="*/ 290406 h 6858285"/>
              <a:gd name="connsiteX1385" fmla="*/ 4007626 w 4011840"/>
              <a:gd name="connsiteY1385" fmla="*/ 257806 h 6858285"/>
              <a:gd name="connsiteX1386" fmla="*/ 398308 w 4011840"/>
              <a:gd name="connsiteY1386" fmla="*/ 186349 h 6858285"/>
              <a:gd name="connsiteX1387" fmla="*/ 421644 w 4011840"/>
              <a:gd name="connsiteY1387" fmla="*/ 208174 h 6858285"/>
              <a:gd name="connsiteX1388" fmla="*/ 425454 w 4011840"/>
              <a:gd name="connsiteY1388" fmla="*/ 225255 h 6858285"/>
              <a:gd name="connsiteX1389" fmla="*/ 400689 w 4011840"/>
              <a:gd name="connsiteY1389" fmla="*/ 263212 h 6858285"/>
              <a:gd name="connsiteX1390" fmla="*/ 61595 w 4011840"/>
              <a:gd name="connsiteY1390" fmla="*/ 420733 h 6858285"/>
              <a:gd name="connsiteX1391" fmla="*/ 6349 w 4011840"/>
              <a:gd name="connsiteY1391" fmla="*/ 401754 h 6858285"/>
              <a:gd name="connsiteX1392" fmla="*/ 27305 w 4011840"/>
              <a:gd name="connsiteY1392" fmla="*/ 346717 h 6858285"/>
              <a:gd name="connsiteX1393" fmla="*/ 366399 w 4011840"/>
              <a:gd name="connsiteY1393" fmla="*/ 187298 h 6858285"/>
              <a:gd name="connsiteX1394" fmla="*/ 398308 w 4011840"/>
              <a:gd name="connsiteY1394" fmla="*/ 186349 h 6858285"/>
              <a:gd name="connsiteX1395" fmla="*/ 942624 w 4011840"/>
              <a:gd name="connsiteY1395" fmla="*/ 176854 h 6858285"/>
              <a:gd name="connsiteX1396" fmla="*/ 966164 w 4011840"/>
              <a:gd name="connsiteY1396" fmla="*/ 198761 h 6858285"/>
              <a:gd name="connsiteX1397" fmla="*/ 969968 w 4011840"/>
              <a:gd name="connsiteY1397" fmla="*/ 217811 h 6858285"/>
              <a:gd name="connsiteX1398" fmla="*/ 945239 w 4011840"/>
              <a:gd name="connsiteY1398" fmla="*/ 255911 h 6858285"/>
              <a:gd name="connsiteX1399" fmla="*/ 604741 w 4011840"/>
              <a:gd name="connsiteY1399" fmla="*/ 406406 h 6858285"/>
              <a:gd name="connsiteX1400" fmla="*/ 547674 w 4011840"/>
              <a:gd name="connsiteY1400" fmla="*/ 385451 h 6858285"/>
              <a:gd name="connsiteX1401" fmla="*/ 570501 w 4011840"/>
              <a:gd name="connsiteY1401" fmla="*/ 328301 h 6858285"/>
              <a:gd name="connsiteX1402" fmla="*/ 909097 w 4011840"/>
              <a:gd name="connsiteY1402" fmla="*/ 177807 h 6858285"/>
              <a:gd name="connsiteX1403" fmla="*/ 942624 w 4011840"/>
              <a:gd name="connsiteY1403" fmla="*/ 176854 h 6858285"/>
              <a:gd name="connsiteX1404" fmla="*/ 1492476 w 4011840"/>
              <a:gd name="connsiteY1404" fmla="*/ 167542 h 6858285"/>
              <a:gd name="connsiteX1405" fmla="*/ 1517021 w 4011840"/>
              <a:gd name="connsiteY1405" fmla="*/ 191054 h 6858285"/>
              <a:gd name="connsiteX1406" fmla="*/ 1520833 w 4011840"/>
              <a:gd name="connsiteY1406" fmla="*/ 208154 h 6858285"/>
              <a:gd name="connsiteX1407" fmla="*/ 1492238 w 4011840"/>
              <a:gd name="connsiteY1407" fmla="*/ 249954 h 6858285"/>
              <a:gd name="connsiteX1408" fmla="*/ 1150990 w 4011840"/>
              <a:gd name="connsiteY1408" fmla="*/ 390554 h 6858285"/>
              <a:gd name="connsiteX1409" fmla="*/ 1093798 w 4011840"/>
              <a:gd name="connsiteY1409" fmla="*/ 367754 h 6858285"/>
              <a:gd name="connsiteX1410" fmla="*/ 1116675 w 4011840"/>
              <a:gd name="connsiteY1410" fmla="*/ 308854 h 6858285"/>
              <a:gd name="connsiteX1411" fmla="*/ 1457922 w 4011840"/>
              <a:gd name="connsiteY1411" fmla="*/ 168254 h 6858285"/>
              <a:gd name="connsiteX1412" fmla="*/ 1492476 w 4011840"/>
              <a:gd name="connsiteY1412" fmla="*/ 167542 h 6858285"/>
              <a:gd name="connsiteX1413" fmla="*/ 2010467 w 4011840"/>
              <a:gd name="connsiteY1413" fmla="*/ 156857 h 6858285"/>
              <a:gd name="connsiteX1414" fmla="*/ 2071388 w 4011840"/>
              <a:gd name="connsiteY1414" fmla="*/ 183563 h 6858285"/>
              <a:gd name="connsiteX1415" fmla="*/ 2073292 w 4011840"/>
              <a:gd name="connsiteY1415" fmla="*/ 200731 h 6858285"/>
              <a:gd name="connsiteX1416" fmla="*/ 2044733 w 4011840"/>
              <a:gd name="connsiteY1416" fmla="*/ 244605 h 6858285"/>
              <a:gd name="connsiteX1417" fmla="*/ 1703979 w 4011840"/>
              <a:gd name="connsiteY1417" fmla="*/ 376227 h 6858285"/>
              <a:gd name="connsiteX1418" fmla="*/ 1643062 w 4011840"/>
              <a:gd name="connsiteY1418" fmla="*/ 349521 h 6858285"/>
              <a:gd name="connsiteX1419" fmla="*/ 1669713 w 4011840"/>
              <a:gd name="connsiteY1419" fmla="*/ 290387 h 6858285"/>
              <a:gd name="connsiteX1420" fmla="*/ 2010467 w 4011840"/>
              <a:gd name="connsiteY1420" fmla="*/ 156857 h 6858285"/>
              <a:gd name="connsiteX1421" fmla="*/ 3720656 w 4011840"/>
              <a:gd name="connsiteY1421" fmla="*/ 144606 h 6858285"/>
              <a:gd name="connsiteX1422" fmla="*/ 3763698 w 4011840"/>
              <a:gd name="connsiteY1422" fmla="*/ 176130 h 6858285"/>
              <a:gd name="connsiteX1423" fmla="*/ 3765600 w 4011840"/>
              <a:gd name="connsiteY1423" fmla="*/ 193228 h 6858285"/>
              <a:gd name="connsiteX1424" fmla="*/ 3735180 w 4011840"/>
              <a:gd name="connsiteY1424" fmla="*/ 238823 h 6858285"/>
              <a:gd name="connsiteX1425" fmla="*/ 3393028 w 4011840"/>
              <a:gd name="connsiteY1425" fmla="*/ 360410 h 6858285"/>
              <a:gd name="connsiteX1426" fmla="*/ 3332195 w 4011840"/>
              <a:gd name="connsiteY1426" fmla="*/ 331913 h 6858285"/>
              <a:gd name="connsiteX1427" fmla="*/ 3360708 w 4011840"/>
              <a:gd name="connsiteY1427" fmla="*/ 271120 h 6858285"/>
              <a:gd name="connsiteX1428" fmla="*/ 3700964 w 4011840"/>
              <a:gd name="connsiteY1428" fmla="*/ 147634 h 6858285"/>
              <a:gd name="connsiteX1429" fmla="*/ 3720656 w 4011840"/>
              <a:gd name="connsiteY1429" fmla="*/ 144606 h 6858285"/>
              <a:gd name="connsiteX1430" fmla="*/ 2586993 w 4011840"/>
              <a:gd name="connsiteY1430" fmla="*/ 144584 h 6858285"/>
              <a:gd name="connsiteX1431" fmla="*/ 2630185 w 4011840"/>
              <a:gd name="connsiteY1431" fmla="*/ 176109 h 6858285"/>
              <a:gd name="connsiteX1432" fmla="*/ 2632093 w 4011840"/>
              <a:gd name="connsiteY1432" fmla="*/ 193207 h 6858285"/>
              <a:gd name="connsiteX1433" fmla="*/ 2601569 w 4011840"/>
              <a:gd name="connsiteY1433" fmla="*/ 238802 h 6858285"/>
              <a:gd name="connsiteX1434" fmla="*/ 2258175 w 4011840"/>
              <a:gd name="connsiteY1434" fmla="*/ 360389 h 6858285"/>
              <a:gd name="connsiteX1435" fmla="*/ 2197127 w 4011840"/>
              <a:gd name="connsiteY1435" fmla="*/ 331892 h 6858285"/>
              <a:gd name="connsiteX1436" fmla="*/ 2225743 w 4011840"/>
              <a:gd name="connsiteY1436" fmla="*/ 271098 h 6858285"/>
              <a:gd name="connsiteX1437" fmla="*/ 2567230 w 4011840"/>
              <a:gd name="connsiteY1437" fmla="*/ 147612 h 6858285"/>
              <a:gd name="connsiteX1438" fmla="*/ 2586993 w 4011840"/>
              <a:gd name="connsiteY1438" fmla="*/ 144584 h 6858285"/>
              <a:gd name="connsiteX1439" fmla="*/ 3149047 w 4011840"/>
              <a:gd name="connsiteY1439" fmla="*/ 135359 h 6858285"/>
              <a:gd name="connsiteX1440" fmla="*/ 3191878 w 4011840"/>
              <a:gd name="connsiteY1440" fmla="*/ 168391 h 6858285"/>
              <a:gd name="connsiteX1441" fmla="*/ 3195685 w 4011840"/>
              <a:gd name="connsiteY1441" fmla="*/ 185439 h 6858285"/>
              <a:gd name="connsiteX1442" fmla="*/ 3161420 w 4011840"/>
              <a:gd name="connsiteY1442" fmla="*/ 232797 h 6858285"/>
              <a:gd name="connsiteX1443" fmla="*/ 2818756 w 4011840"/>
              <a:gd name="connsiteY1443" fmla="*/ 344562 h 6858285"/>
              <a:gd name="connsiteX1444" fmla="*/ 2755934 w 4011840"/>
              <a:gd name="connsiteY1444" fmla="*/ 314253 h 6858285"/>
              <a:gd name="connsiteX1445" fmla="*/ 2788299 w 4011840"/>
              <a:gd name="connsiteY1445" fmla="*/ 249846 h 6858285"/>
              <a:gd name="connsiteX1446" fmla="*/ 3129056 w 4011840"/>
              <a:gd name="connsiteY1446" fmla="*/ 138082 h 6858285"/>
              <a:gd name="connsiteX1447" fmla="*/ 3149047 w 4011840"/>
              <a:gd name="connsiteY1447" fmla="*/ 135359 h 6858285"/>
              <a:gd name="connsiteX1448" fmla="*/ 3898002 w 4011840"/>
              <a:gd name="connsiteY1448" fmla="*/ 24 h 6858285"/>
              <a:gd name="connsiteX1449" fmla="*/ 3980112 w 4011840"/>
              <a:gd name="connsiteY1449" fmla="*/ 24 h 6858285"/>
              <a:gd name="connsiteX1450" fmla="*/ 4011840 w 4011840"/>
              <a:gd name="connsiteY1450" fmla="*/ 24 h 6858285"/>
              <a:gd name="connsiteX1451" fmla="*/ 4011840 w 4011840"/>
              <a:gd name="connsiteY1451" fmla="*/ 33605 h 6858285"/>
              <a:gd name="connsiteX1452" fmla="*/ 3959064 w 4011840"/>
              <a:gd name="connsiteY1452" fmla="*/ 55540 h 6858285"/>
              <a:gd name="connsiteX1453" fmla="*/ 3899912 w 4011840"/>
              <a:gd name="connsiteY1453" fmla="*/ 30653 h 6858285"/>
              <a:gd name="connsiteX1454" fmla="*/ 3898002 w 4011840"/>
              <a:gd name="connsiteY1454" fmla="*/ 24 h 6858285"/>
              <a:gd name="connsiteX1455" fmla="*/ 3332212 w 4011840"/>
              <a:gd name="connsiteY1455" fmla="*/ 24 h 6858285"/>
              <a:gd name="connsiteX1456" fmla="*/ 3497315 w 4011840"/>
              <a:gd name="connsiteY1456" fmla="*/ 24 h 6858285"/>
              <a:gd name="connsiteX1457" fmla="*/ 3394843 w 4011840"/>
              <a:gd name="connsiteY1457" fmla="*/ 41665 h 6858285"/>
              <a:gd name="connsiteX1458" fmla="*/ 3334111 w 4011840"/>
              <a:gd name="connsiteY1458" fmla="*/ 15166 h 6858285"/>
              <a:gd name="connsiteX1459" fmla="*/ 3332212 w 4011840"/>
              <a:gd name="connsiteY1459" fmla="*/ 24 h 6858285"/>
              <a:gd name="connsiteX1460" fmla="*/ 2760703 w 4011840"/>
              <a:gd name="connsiteY1460" fmla="*/ 23 h 6858285"/>
              <a:gd name="connsiteX1461" fmla="*/ 2890880 w 4011840"/>
              <a:gd name="connsiteY1461" fmla="*/ 23 h 6858285"/>
              <a:gd name="connsiteX1462" fmla="*/ 2821076 w 4011840"/>
              <a:gd name="connsiteY1462" fmla="*/ 27187 h 6858285"/>
              <a:gd name="connsiteX1463" fmla="*/ 2760703 w 4011840"/>
              <a:gd name="connsiteY1463" fmla="*/ 23 h 6858285"/>
              <a:gd name="connsiteX1464" fmla="*/ 76928 w 4011840"/>
              <a:gd name="connsiteY1464" fmla="*/ 9 h 6858285"/>
              <a:gd name="connsiteX1465" fmla="*/ 271465 w 4011840"/>
              <a:gd name="connsiteY1465" fmla="*/ 9 h 6858285"/>
              <a:gd name="connsiteX1466" fmla="*/ 63577 w 4011840"/>
              <a:gd name="connsiteY1466" fmla="*/ 99939 h 6858285"/>
              <a:gd name="connsiteX1467" fmla="*/ 8268 w 4011840"/>
              <a:gd name="connsiteY1467" fmla="*/ 80722 h 6858285"/>
              <a:gd name="connsiteX1468" fmla="*/ 27340 w 4011840"/>
              <a:gd name="connsiteY1468" fmla="*/ 24992 h 6858285"/>
              <a:gd name="connsiteX1469" fmla="*/ 76928 w 4011840"/>
              <a:gd name="connsiteY1469" fmla="*/ 9 h 6858285"/>
              <a:gd name="connsiteX1470" fmla="*/ 583733 w 4011840"/>
              <a:gd name="connsiteY1470" fmla="*/ 7 h 6858285"/>
              <a:gd name="connsiteX1471" fmla="*/ 792167 w 4011840"/>
              <a:gd name="connsiteY1471" fmla="*/ 7 h 6858285"/>
              <a:gd name="connsiteX1472" fmla="*/ 604767 w 4011840"/>
              <a:gd name="connsiteY1472" fmla="*/ 83827 h 6858285"/>
              <a:gd name="connsiteX1473" fmla="*/ 549312 w 4011840"/>
              <a:gd name="connsiteY1473" fmla="*/ 62872 h 6858285"/>
              <a:gd name="connsiteX1474" fmla="*/ 570347 w 4011840"/>
              <a:gd name="connsiteY1474" fmla="*/ 7627 h 6858285"/>
              <a:gd name="connsiteX1475" fmla="*/ 583733 w 4011840"/>
              <a:gd name="connsiteY1475" fmla="*/ 7 h 6858285"/>
              <a:gd name="connsiteX1476" fmla="*/ 1102307 w 4011840"/>
              <a:gd name="connsiteY1476" fmla="*/ 5 h 6858285"/>
              <a:gd name="connsiteX1477" fmla="*/ 1312869 w 4011840"/>
              <a:gd name="connsiteY1477" fmla="*/ 5 h 6858285"/>
              <a:gd name="connsiteX1478" fmla="*/ 1153525 w 4011840"/>
              <a:gd name="connsiteY1478" fmla="*/ 71329 h 6858285"/>
              <a:gd name="connsiteX1479" fmla="*/ 1094719 w 4011840"/>
              <a:gd name="connsiteY1479" fmla="*/ 48197 h 6858285"/>
              <a:gd name="connsiteX1480" fmla="*/ 1102307 w 4011840"/>
              <a:gd name="connsiteY1480" fmla="*/ 5 h 6858285"/>
              <a:gd name="connsiteX1481" fmla="*/ 1643393 w 4011840"/>
              <a:gd name="connsiteY1481" fmla="*/ 2 h 6858285"/>
              <a:gd name="connsiteX1482" fmla="*/ 1838335 w 4011840"/>
              <a:gd name="connsiteY1482" fmla="*/ 2 h 6858285"/>
              <a:gd name="connsiteX1483" fmla="*/ 1704551 w 4011840"/>
              <a:gd name="connsiteY1483" fmla="*/ 55519 h 6858285"/>
              <a:gd name="connsiteX1484" fmla="*/ 1645304 w 4011840"/>
              <a:gd name="connsiteY1484" fmla="*/ 30632 h 6858285"/>
              <a:gd name="connsiteX1485" fmla="*/ 1643393 w 4011840"/>
              <a:gd name="connsiteY1485" fmla="*/ 2 h 6858285"/>
              <a:gd name="connsiteX1486" fmla="*/ 2197113 w 4011840"/>
              <a:gd name="connsiteY1486" fmla="*/ 0 h 6858285"/>
              <a:gd name="connsiteX1487" fmla="*/ 2363803 w 4011840"/>
              <a:gd name="connsiteY1487" fmla="*/ 0 h 6858285"/>
              <a:gd name="connsiteX1488" fmla="*/ 2260341 w 4011840"/>
              <a:gd name="connsiteY1488" fmla="*/ 41642 h 6858285"/>
              <a:gd name="connsiteX1489" fmla="*/ 2199030 w 4011840"/>
              <a:gd name="connsiteY1489" fmla="*/ 15142 h 6858285"/>
              <a:gd name="connsiteX1490" fmla="*/ 2197113 w 4011840"/>
              <a:gd name="connsiteY1490" fmla="*/ 0 h 6858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</a:cxnLst>
            <a:rect l="l" t="t" r="r" b="b"/>
            <a:pathLst>
              <a:path w="4011840" h="6858285">
                <a:moveTo>
                  <a:pt x="4011840" y="6728839"/>
                </a:moveTo>
                <a:lnTo>
                  <a:pt x="4011840" y="6814737"/>
                </a:lnTo>
                <a:lnTo>
                  <a:pt x="3960866" y="6841809"/>
                </a:lnTo>
                <a:cubicBezTo>
                  <a:pt x="3941816" y="6853239"/>
                  <a:pt x="3918956" y="6845619"/>
                  <a:pt x="3909430" y="6826569"/>
                </a:cubicBezTo>
                <a:cubicBezTo>
                  <a:pt x="3905620" y="6820854"/>
                  <a:pt x="3903712" y="6815139"/>
                  <a:pt x="3903712" y="6809424"/>
                </a:cubicBezTo>
                <a:cubicBezTo>
                  <a:pt x="3903712" y="6796089"/>
                  <a:pt x="3911334" y="6782754"/>
                  <a:pt x="3924672" y="6775134"/>
                </a:cubicBezTo>
                <a:cubicBezTo>
                  <a:pt x="3924672" y="6775134"/>
                  <a:pt x="3924672" y="6775134"/>
                  <a:pt x="4006988" y="6731416"/>
                </a:cubicBezTo>
                <a:close/>
                <a:moveTo>
                  <a:pt x="396081" y="6635423"/>
                </a:moveTo>
                <a:cubicBezTo>
                  <a:pt x="405822" y="6638752"/>
                  <a:pt x="414376" y="6645886"/>
                  <a:pt x="419128" y="6656349"/>
                </a:cubicBezTo>
                <a:cubicBezTo>
                  <a:pt x="428631" y="6675373"/>
                  <a:pt x="421028" y="6700104"/>
                  <a:pt x="400120" y="6709616"/>
                </a:cubicBezTo>
                <a:cubicBezTo>
                  <a:pt x="400120" y="6709616"/>
                  <a:pt x="400120" y="6709616"/>
                  <a:pt x="97901" y="6858002"/>
                </a:cubicBezTo>
                <a:cubicBezTo>
                  <a:pt x="97901" y="6858002"/>
                  <a:pt x="97901" y="6858002"/>
                  <a:pt x="10466" y="6858002"/>
                </a:cubicBezTo>
                <a:cubicBezTo>
                  <a:pt x="10466" y="6858002"/>
                  <a:pt x="8566" y="6858002"/>
                  <a:pt x="8566" y="6858002"/>
                </a:cubicBezTo>
                <a:cubicBezTo>
                  <a:pt x="6665" y="6852295"/>
                  <a:pt x="4764" y="6844686"/>
                  <a:pt x="4764" y="6838978"/>
                </a:cubicBezTo>
                <a:cubicBezTo>
                  <a:pt x="4764" y="6823759"/>
                  <a:pt x="12367" y="6810443"/>
                  <a:pt x="27573" y="6802833"/>
                </a:cubicBezTo>
                <a:cubicBezTo>
                  <a:pt x="27573" y="6802833"/>
                  <a:pt x="27573" y="6802833"/>
                  <a:pt x="365906" y="6637326"/>
                </a:cubicBezTo>
                <a:cubicBezTo>
                  <a:pt x="375410" y="6632570"/>
                  <a:pt x="386339" y="6632094"/>
                  <a:pt x="396081" y="6635423"/>
                </a:cubicBezTo>
                <a:close/>
                <a:moveTo>
                  <a:pt x="939733" y="6619807"/>
                </a:moveTo>
                <a:cubicBezTo>
                  <a:pt x="949279" y="6622907"/>
                  <a:pt x="957871" y="6630060"/>
                  <a:pt x="963599" y="6640551"/>
                </a:cubicBezTo>
                <a:cubicBezTo>
                  <a:pt x="973146" y="6659625"/>
                  <a:pt x="965509" y="6682515"/>
                  <a:pt x="944506" y="6693960"/>
                </a:cubicBezTo>
                <a:cubicBezTo>
                  <a:pt x="944506" y="6693960"/>
                  <a:pt x="944506" y="6693960"/>
                  <a:pt x="618014" y="6858002"/>
                </a:cubicBezTo>
                <a:cubicBezTo>
                  <a:pt x="618014" y="6858002"/>
                  <a:pt x="618014" y="6858002"/>
                  <a:pt x="562644" y="6858002"/>
                </a:cubicBezTo>
                <a:cubicBezTo>
                  <a:pt x="558825" y="6856095"/>
                  <a:pt x="555007" y="6852280"/>
                  <a:pt x="553097" y="6846557"/>
                </a:cubicBezTo>
                <a:cubicBezTo>
                  <a:pt x="549279" y="6840835"/>
                  <a:pt x="549279" y="6835113"/>
                  <a:pt x="549279" y="6829390"/>
                </a:cubicBezTo>
                <a:cubicBezTo>
                  <a:pt x="549279" y="6814131"/>
                  <a:pt x="556916" y="6800778"/>
                  <a:pt x="570281" y="6793148"/>
                </a:cubicBezTo>
                <a:cubicBezTo>
                  <a:pt x="570281" y="6793148"/>
                  <a:pt x="570281" y="6793148"/>
                  <a:pt x="910138" y="6623384"/>
                </a:cubicBezTo>
                <a:cubicBezTo>
                  <a:pt x="919685" y="6617661"/>
                  <a:pt x="930186" y="6616707"/>
                  <a:pt x="939733" y="6619807"/>
                </a:cubicBezTo>
                <a:close/>
                <a:moveTo>
                  <a:pt x="1485698" y="6606629"/>
                </a:moveTo>
                <a:cubicBezTo>
                  <a:pt x="1494978" y="6609729"/>
                  <a:pt x="1503069" y="6616404"/>
                  <a:pt x="1507827" y="6625941"/>
                </a:cubicBezTo>
                <a:cubicBezTo>
                  <a:pt x="1519249" y="6645014"/>
                  <a:pt x="1511635" y="6667901"/>
                  <a:pt x="1492599" y="6677438"/>
                </a:cubicBezTo>
                <a:cubicBezTo>
                  <a:pt x="1492599" y="6677438"/>
                  <a:pt x="1492599" y="6677438"/>
                  <a:pt x="1153761" y="6852909"/>
                </a:cubicBezTo>
                <a:cubicBezTo>
                  <a:pt x="1134725" y="6864352"/>
                  <a:pt x="1111882" y="6856723"/>
                  <a:pt x="1102364" y="6837650"/>
                </a:cubicBezTo>
                <a:cubicBezTo>
                  <a:pt x="1098557" y="6831928"/>
                  <a:pt x="1098557" y="6824299"/>
                  <a:pt x="1098557" y="6818577"/>
                </a:cubicBezTo>
                <a:cubicBezTo>
                  <a:pt x="1098557" y="6805226"/>
                  <a:pt x="1106171" y="6791875"/>
                  <a:pt x="1119496" y="6784246"/>
                </a:cubicBezTo>
                <a:cubicBezTo>
                  <a:pt x="1119496" y="6784246"/>
                  <a:pt x="1119496" y="6784246"/>
                  <a:pt x="1456431" y="6608775"/>
                </a:cubicBezTo>
                <a:cubicBezTo>
                  <a:pt x="1465948" y="6604007"/>
                  <a:pt x="1476418" y="6603530"/>
                  <a:pt x="1485698" y="6606629"/>
                </a:cubicBezTo>
                <a:close/>
                <a:moveTo>
                  <a:pt x="2037015" y="6592968"/>
                </a:moveTo>
                <a:cubicBezTo>
                  <a:pt x="2046302" y="6595587"/>
                  <a:pt x="2054881" y="6601779"/>
                  <a:pt x="2060595" y="6611304"/>
                </a:cubicBezTo>
                <a:cubicBezTo>
                  <a:pt x="2070120" y="6630354"/>
                  <a:pt x="2062500" y="6653214"/>
                  <a:pt x="2043444" y="6662739"/>
                </a:cubicBezTo>
                <a:cubicBezTo>
                  <a:pt x="2043444" y="6662739"/>
                  <a:pt x="2043444" y="6662739"/>
                  <a:pt x="1706255" y="6841809"/>
                </a:cubicBezTo>
                <a:cubicBezTo>
                  <a:pt x="1687205" y="6853239"/>
                  <a:pt x="1664344" y="6845619"/>
                  <a:pt x="1654819" y="6826569"/>
                </a:cubicBezTo>
                <a:cubicBezTo>
                  <a:pt x="1652914" y="6820854"/>
                  <a:pt x="1651009" y="6815139"/>
                  <a:pt x="1651009" y="6809424"/>
                </a:cubicBezTo>
                <a:cubicBezTo>
                  <a:pt x="1651009" y="6796089"/>
                  <a:pt x="1658629" y="6782754"/>
                  <a:pt x="1670059" y="6775134"/>
                </a:cubicBezTo>
                <a:cubicBezTo>
                  <a:pt x="1670059" y="6775134"/>
                  <a:pt x="1670059" y="6775134"/>
                  <a:pt x="2009154" y="6596064"/>
                </a:cubicBezTo>
                <a:cubicBezTo>
                  <a:pt x="2017726" y="6591301"/>
                  <a:pt x="2027728" y="6590349"/>
                  <a:pt x="2037015" y="6592968"/>
                </a:cubicBezTo>
                <a:close/>
                <a:moveTo>
                  <a:pt x="3727788" y="6578028"/>
                </a:moveTo>
                <a:cubicBezTo>
                  <a:pt x="3736844" y="6580642"/>
                  <a:pt x="3744948" y="6586818"/>
                  <a:pt x="3749716" y="6595371"/>
                </a:cubicBezTo>
                <a:cubicBezTo>
                  <a:pt x="3759248" y="6614376"/>
                  <a:pt x="3753528" y="6635282"/>
                  <a:pt x="3734462" y="6646685"/>
                </a:cubicBezTo>
                <a:cubicBezTo>
                  <a:pt x="3734462" y="6646685"/>
                  <a:pt x="3734462" y="6646685"/>
                  <a:pt x="3397032" y="6831037"/>
                </a:cubicBezTo>
                <a:cubicBezTo>
                  <a:pt x="3379870" y="6840539"/>
                  <a:pt x="3356992" y="6832937"/>
                  <a:pt x="3347462" y="6815832"/>
                </a:cubicBezTo>
                <a:cubicBezTo>
                  <a:pt x="3343646" y="6810131"/>
                  <a:pt x="3341741" y="6804429"/>
                  <a:pt x="3341741" y="6798728"/>
                </a:cubicBezTo>
                <a:cubicBezTo>
                  <a:pt x="3341741" y="6785424"/>
                  <a:pt x="3349366" y="6772120"/>
                  <a:pt x="3362712" y="6764518"/>
                </a:cubicBezTo>
                <a:cubicBezTo>
                  <a:pt x="3362712" y="6764518"/>
                  <a:pt x="3362712" y="6764518"/>
                  <a:pt x="3700144" y="6582067"/>
                </a:cubicBezTo>
                <a:cubicBezTo>
                  <a:pt x="3708724" y="6576365"/>
                  <a:pt x="3718732" y="6575415"/>
                  <a:pt x="3727788" y="6578028"/>
                </a:cubicBezTo>
                <a:close/>
                <a:moveTo>
                  <a:pt x="2592701" y="6578028"/>
                </a:moveTo>
                <a:cubicBezTo>
                  <a:pt x="2601757" y="6580641"/>
                  <a:pt x="2609859" y="6586818"/>
                  <a:pt x="2614625" y="6595371"/>
                </a:cubicBezTo>
                <a:cubicBezTo>
                  <a:pt x="2624159" y="6614376"/>
                  <a:pt x="2618439" y="6635282"/>
                  <a:pt x="2599374" y="6646685"/>
                </a:cubicBezTo>
                <a:cubicBezTo>
                  <a:pt x="2599374" y="6646685"/>
                  <a:pt x="2599374" y="6646685"/>
                  <a:pt x="2261929" y="6831037"/>
                </a:cubicBezTo>
                <a:cubicBezTo>
                  <a:pt x="2244770" y="6840539"/>
                  <a:pt x="2221893" y="6832937"/>
                  <a:pt x="2212361" y="6815832"/>
                </a:cubicBezTo>
                <a:cubicBezTo>
                  <a:pt x="2208547" y="6810131"/>
                  <a:pt x="2206641" y="6804429"/>
                  <a:pt x="2206641" y="6798728"/>
                </a:cubicBezTo>
                <a:cubicBezTo>
                  <a:pt x="2206641" y="6785424"/>
                  <a:pt x="2214267" y="6772120"/>
                  <a:pt x="2225706" y="6764518"/>
                </a:cubicBezTo>
                <a:cubicBezTo>
                  <a:pt x="2225706" y="6764518"/>
                  <a:pt x="2225706" y="6764518"/>
                  <a:pt x="2565057" y="6582067"/>
                </a:cubicBezTo>
                <a:cubicBezTo>
                  <a:pt x="2573636" y="6576365"/>
                  <a:pt x="2583648" y="6575415"/>
                  <a:pt x="2592701" y="6578028"/>
                </a:cubicBezTo>
                <a:close/>
                <a:moveTo>
                  <a:pt x="3153211" y="6564133"/>
                </a:moveTo>
                <a:cubicBezTo>
                  <a:pt x="3162241" y="6566506"/>
                  <a:pt x="3170320" y="6572201"/>
                  <a:pt x="3175070" y="6580744"/>
                </a:cubicBezTo>
                <a:cubicBezTo>
                  <a:pt x="3184574" y="6599727"/>
                  <a:pt x="3178873" y="6620609"/>
                  <a:pt x="3161766" y="6630101"/>
                </a:cubicBezTo>
                <a:cubicBezTo>
                  <a:pt x="3161766" y="6630101"/>
                  <a:pt x="3161766" y="6630101"/>
                  <a:pt x="2825350" y="6819936"/>
                </a:cubicBezTo>
                <a:cubicBezTo>
                  <a:pt x="2808242" y="6829427"/>
                  <a:pt x="2785433" y="6823732"/>
                  <a:pt x="2775931" y="6804749"/>
                </a:cubicBezTo>
                <a:cubicBezTo>
                  <a:pt x="2772130" y="6799054"/>
                  <a:pt x="2770229" y="6793359"/>
                  <a:pt x="2770229" y="6787664"/>
                </a:cubicBezTo>
                <a:cubicBezTo>
                  <a:pt x="2770229" y="6774375"/>
                  <a:pt x="2777831" y="6762985"/>
                  <a:pt x="2789236" y="6757290"/>
                </a:cubicBezTo>
                <a:cubicBezTo>
                  <a:pt x="2789236" y="6757290"/>
                  <a:pt x="2789236" y="6757290"/>
                  <a:pt x="3125653" y="6567455"/>
                </a:cubicBezTo>
                <a:cubicBezTo>
                  <a:pt x="3134208" y="6562710"/>
                  <a:pt x="3144185" y="6561760"/>
                  <a:pt x="3153211" y="6564133"/>
                </a:cubicBezTo>
                <a:close/>
                <a:moveTo>
                  <a:pt x="4011840" y="6402257"/>
                </a:moveTo>
                <a:lnTo>
                  <a:pt x="4011840" y="6490934"/>
                </a:lnTo>
                <a:lnTo>
                  <a:pt x="3961098" y="6516712"/>
                </a:lnTo>
                <a:cubicBezTo>
                  <a:pt x="3940172" y="6526214"/>
                  <a:pt x="3917344" y="6518612"/>
                  <a:pt x="3907832" y="6499609"/>
                </a:cubicBezTo>
                <a:cubicBezTo>
                  <a:pt x="3904028" y="6493908"/>
                  <a:pt x="3902128" y="6488206"/>
                  <a:pt x="3902128" y="6482505"/>
                </a:cubicBezTo>
                <a:cubicBezTo>
                  <a:pt x="3902128" y="6467302"/>
                  <a:pt x="3911636" y="6454000"/>
                  <a:pt x="3924952" y="6446398"/>
                </a:cubicBezTo>
                <a:cubicBezTo>
                  <a:pt x="3924952" y="6446398"/>
                  <a:pt x="3924952" y="6446398"/>
                  <a:pt x="4007146" y="6404642"/>
                </a:cubicBezTo>
                <a:close/>
                <a:moveTo>
                  <a:pt x="396081" y="6313171"/>
                </a:moveTo>
                <a:cubicBezTo>
                  <a:pt x="405822" y="6316504"/>
                  <a:pt x="414375" y="6323648"/>
                  <a:pt x="419127" y="6334126"/>
                </a:cubicBezTo>
                <a:cubicBezTo>
                  <a:pt x="428631" y="6353176"/>
                  <a:pt x="421028" y="6377941"/>
                  <a:pt x="400120" y="6387466"/>
                </a:cubicBezTo>
                <a:cubicBezTo>
                  <a:pt x="400120" y="6387466"/>
                  <a:pt x="400120" y="6387466"/>
                  <a:pt x="63687" y="6553201"/>
                </a:cubicBezTo>
                <a:cubicBezTo>
                  <a:pt x="42779" y="6562726"/>
                  <a:pt x="18069" y="6553201"/>
                  <a:pt x="8565" y="6534151"/>
                </a:cubicBezTo>
                <a:cubicBezTo>
                  <a:pt x="6665" y="6528436"/>
                  <a:pt x="4764" y="6522721"/>
                  <a:pt x="4764" y="6517006"/>
                </a:cubicBezTo>
                <a:cubicBezTo>
                  <a:pt x="4764" y="6501766"/>
                  <a:pt x="12367" y="6486526"/>
                  <a:pt x="27573" y="6478906"/>
                </a:cubicBezTo>
                <a:cubicBezTo>
                  <a:pt x="27573" y="6478906"/>
                  <a:pt x="27573" y="6478906"/>
                  <a:pt x="365906" y="6315076"/>
                </a:cubicBezTo>
                <a:cubicBezTo>
                  <a:pt x="375410" y="6310313"/>
                  <a:pt x="386339" y="6309837"/>
                  <a:pt x="396081" y="6313171"/>
                </a:cubicBezTo>
                <a:close/>
                <a:moveTo>
                  <a:pt x="940474" y="6300224"/>
                </a:moveTo>
                <a:cubicBezTo>
                  <a:pt x="950252" y="6303315"/>
                  <a:pt x="958837" y="6309975"/>
                  <a:pt x="963607" y="6319488"/>
                </a:cubicBezTo>
                <a:cubicBezTo>
                  <a:pt x="973146" y="6340417"/>
                  <a:pt x="965515" y="6363250"/>
                  <a:pt x="944529" y="6372763"/>
                </a:cubicBezTo>
                <a:cubicBezTo>
                  <a:pt x="944529" y="6372763"/>
                  <a:pt x="944529" y="6372763"/>
                  <a:pt x="606835" y="6540198"/>
                </a:cubicBezTo>
                <a:cubicBezTo>
                  <a:pt x="585849" y="6551614"/>
                  <a:pt x="562954" y="6542100"/>
                  <a:pt x="551507" y="6523074"/>
                </a:cubicBezTo>
                <a:cubicBezTo>
                  <a:pt x="549599" y="6517366"/>
                  <a:pt x="547691" y="6511658"/>
                  <a:pt x="547691" y="6505950"/>
                </a:cubicBezTo>
                <a:cubicBezTo>
                  <a:pt x="547691" y="6490728"/>
                  <a:pt x="557231" y="6475507"/>
                  <a:pt x="570586" y="6469799"/>
                </a:cubicBezTo>
                <a:cubicBezTo>
                  <a:pt x="570586" y="6469799"/>
                  <a:pt x="570586" y="6469799"/>
                  <a:pt x="910187" y="6302364"/>
                </a:cubicBezTo>
                <a:cubicBezTo>
                  <a:pt x="919726" y="6297608"/>
                  <a:pt x="930696" y="6297132"/>
                  <a:pt x="940474" y="6300224"/>
                </a:cubicBezTo>
                <a:close/>
                <a:moveTo>
                  <a:pt x="1486674" y="6285982"/>
                </a:moveTo>
                <a:cubicBezTo>
                  <a:pt x="1496423" y="6289093"/>
                  <a:pt x="1504982" y="6295793"/>
                  <a:pt x="1509738" y="6305364"/>
                </a:cubicBezTo>
                <a:cubicBezTo>
                  <a:pt x="1519249" y="6324508"/>
                  <a:pt x="1511640" y="6349394"/>
                  <a:pt x="1492618" y="6358966"/>
                </a:cubicBezTo>
                <a:cubicBezTo>
                  <a:pt x="1492618" y="6358966"/>
                  <a:pt x="1492618" y="6358966"/>
                  <a:pt x="1154033" y="6529342"/>
                </a:cubicBezTo>
                <a:cubicBezTo>
                  <a:pt x="1135012" y="6538914"/>
                  <a:pt x="1110284" y="6531256"/>
                  <a:pt x="1100773" y="6512113"/>
                </a:cubicBezTo>
                <a:cubicBezTo>
                  <a:pt x="1098871" y="6506370"/>
                  <a:pt x="1096968" y="6500627"/>
                  <a:pt x="1096968" y="6494884"/>
                </a:cubicBezTo>
                <a:cubicBezTo>
                  <a:pt x="1096968" y="6479569"/>
                  <a:pt x="1104577" y="6466169"/>
                  <a:pt x="1117892" y="6458512"/>
                </a:cubicBezTo>
                <a:cubicBezTo>
                  <a:pt x="1117892" y="6458512"/>
                  <a:pt x="1117892" y="6458512"/>
                  <a:pt x="1456477" y="6288135"/>
                </a:cubicBezTo>
                <a:cubicBezTo>
                  <a:pt x="1465988" y="6283350"/>
                  <a:pt x="1476926" y="6282871"/>
                  <a:pt x="1486674" y="6285982"/>
                </a:cubicBezTo>
                <a:close/>
                <a:moveTo>
                  <a:pt x="2038415" y="6273228"/>
                </a:moveTo>
                <a:cubicBezTo>
                  <a:pt x="2047931" y="6276316"/>
                  <a:pt x="2056491" y="6282967"/>
                  <a:pt x="2062198" y="6292469"/>
                </a:cubicBezTo>
                <a:cubicBezTo>
                  <a:pt x="2071708" y="6311473"/>
                  <a:pt x="2064099" y="6334277"/>
                  <a:pt x="2045072" y="6345679"/>
                </a:cubicBezTo>
                <a:cubicBezTo>
                  <a:pt x="2045072" y="6345679"/>
                  <a:pt x="2045072" y="6345679"/>
                  <a:pt x="1706487" y="6516712"/>
                </a:cubicBezTo>
                <a:cubicBezTo>
                  <a:pt x="1687465" y="6526214"/>
                  <a:pt x="1662737" y="6518612"/>
                  <a:pt x="1653226" y="6499609"/>
                </a:cubicBezTo>
                <a:cubicBezTo>
                  <a:pt x="1651324" y="6493908"/>
                  <a:pt x="1649422" y="6488206"/>
                  <a:pt x="1649422" y="6482505"/>
                </a:cubicBezTo>
                <a:cubicBezTo>
                  <a:pt x="1649422" y="6467302"/>
                  <a:pt x="1657031" y="6454000"/>
                  <a:pt x="1670346" y="6446398"/>
                </a:cubicBezTo>
                <a:cubicBezTo>
                  <a:pt x="1670346" y="6446398"/>
                  <a:pt x="1670346" y="6446398"/>
                  <a:pt x="2008931" y="6275366"/>
                </a:cubicBezTo>
                <a:cubicBezTo>
                  <a:pt x="2018442" y="6270615"/>
                  <a:pt x="2028904" y="6270140"/>
                  <a:pt x="2038415" y="6273228"/>
                </a:cubicBezTo>
                <a:close/>
                <a:moveTo>
                  <a:pt x="3729186" y="6260519"/>
                </a:moveTo>
                <a:cubicBezTo>
                  <a:pt x="3738468" y="6263603"/>
                  <a:pt x="3746556" y="6270247"/>
                  <a:pt x="3751316" y="6279737"/>
                </a:cubicBezTo>
                <a:cubicBezTo>
                  <a:pt x="3760836" y="6298718"/>
                  <a:pt x="3755126" y="6321495"/>
                  <a:pt x="3736088" y="6330986"/>
                </a:cubicBezTo>
                <a:cubicBezTo>
                  <a:pt x="3736088" y="6330986"/>
                  <a:pt x="3736088" y="6330986"/>
                  <a:pt x="3397264" y="6505611"/>
                </a:cubicBezTo>
                <a:cubicBezTo>
                  <a:pt x="3378225" y="6515102"/>
                  <a:pt x="3355383" y="6507509"/>
                  <a:pt x="3345866" y="6488528"/>
                </a:cubicBezTo>
                <a:cubicBezTo>
                  <a:pt x="3342057" y="6482834"/>
                  <a:pt x="3340155" y="6477140"/>
                  <a:pt x="3340155" y="6469547"/>
                </a:cubicBezTo>
                <a:cubicBezTo>
                  <a:pt x="3340155" y="6456261"/>
                  <a:pt x="3347765" y="6442974"/>
                  <a:pt x="3361094" y="6435381"/>
                </a:cubicBezTo>
                <a:cubicBezTo>
                  <a:pt x="3361094" y="6435381"/>
                  <a:pt x="3361094" y="6435381"/>
                  <a:pt x="3699920" y="6262654"/>
                </a:cubicBezTo>
                <a:cubicBezTo>
                  <a:pt x="3709436" y="6257909"/>
                  <a:pt x="3719904" y="6257435"/>
                  <a:pt x="3729186" y="6260519"/>
                </a:cubicBezTo>
                <a:close/>
                <a:moveTo>
                  <a:pt x="2595567" y="6260519"/>
                </a:moveTo>
                <a:cubicBezTo>
                  <a:pt x="2604884" y="6263603"/>
                  <a:pt x="2613003" y="6270247"/>
                  <a:pt x="2617780" y="6279737"/>
                </a:cubicBezTo>
                <a:cubicBezTo>
                  <a:pt x="2627334" y="6298718"/>
                  <a:pt x="2621601" y="6321495"/>
                  <a:pt x="2600583" y="6330986"/>
                </a:cubicBezTo>
                <a:cubicBezTo>
                  <a:pt x="2600583" y="6330986"/>
                  <a:pt x="2600583" y="6330986"/>
                  <a:pt x="2262377" y="6505611"/>
                </a:cubicBezTo>
                <a:cubicBezTo>
                  <a:pt x="2243270" y="6515102"/>
                  <a:pt x="2220340" y="6507509"/>
                  <a:pt x="2210786" y="6488528"/>
                </a:cubicBezTo>
                <a:cubicBezTo>
                  <a:pt x="2206965" y="6482834"/>
                  <a:pt x="2205054" y="6477140"/>
                  <a:pt x="2205054" y="6469547"/>
                </a:cubicBezTo>
                <a:cubicBezTo>
                  <a:pt x="2205054" y="6456261"/>
                  <a:pt x="2212697" y="6442974"/>
                  <a:pt x="2226073" y="6435381"/>
                </a:cubicBezTo>
                <a:cubicBezTo>
                  <a:pt x="2226073" y="6435381"/>
                  <a:pt x="2226073" y="6435381"/>
                  <a:pt x="2566189" y="6262654"/>
                </a:cubicBezTo>
                <a:cubicBezTo>
                  <a:pt x="2575743" y="6257909"/>
                  <a:pt x="2586252" y="6257435"/>
                  <a:pt x="2595567" y="6260519"/>
                </a:cubicBezTo>
                <a:close/>
                <a:moveTo>
                  <a:pt x="3155659" y="6245321"/>
                </a:moveTo>
                <a:cubicBezTo>
                  <a:pt x="3164974" y="6247947"/>
                  <a:pt x="3173095" y="6254153"/>
                  <a:pt x="3177874" y="6263701"/>
                </a:cubicBezTo>
                <a:cubicBezTo>
                  <a:pt x="3189337" y="6282797"/>
                  <a:pt x="3181694" y="6305712"/>
                  <a:pt x="3162585" y="6317169"/>
                </a:cubicBezTo>
                <a:cubicBezTo>
                  <a:pt x="3162585" y="6317169"/>
                  <a:pt x="3162585" y="6317169"/>
                  <a:pt x="2822468" y="6492853"/>
                </a:cubicBezTo>
                <a:cubicBezTo>
                  <a:pt x="2805269" y="6502401"/>
                  <a:pt x="2780431" y="6496672"/>
                  <a:pt x="2770875" y="6477576"/>
                </a:cubicBezTo>
                <a:cubicBezTo>
                  <a:pt x="2768965" y="6471847"/>
                  <a:pt x="2767055" y="6466118"/>
                  <a:pt x="2767055" y="6458480"/>
                </a:cubicBezTo>
                <a:cubicBezTo>
                  <a:pt x="2767055" y="6445113"/>
                  <a:pt x="2774698" y="6431746"/>
                  <a:pt x="2788072" y="6426017"/>
                </a:cubicBezTo>
                <a:cubicBezTo>
                  <a:pt x="2788072" y="6426017"/>
                  <a:pt x="2788072" y="6426017"/>
                  <a:pt x="3126282" y="6248424"/>
                </a:cubicBezTo>
                <a:cubicBezTo>
                  <a:pt x="3135836" y="6243650"/>
                  <a:pt x="3146345" y="6242695"/>
                  <a:pt x="3155659" y="6245321"/>
                </a:cubicBezTo>
                <a:close/>
                <a:moveTo>
                  <a:pt x="4011840" y="6076623"/>
                </a:moveTo>
                <a:lnTo>
                  <a:pt x="4011840" y="6165693"/>
                </a:lnTo>
                <a:lnTo>
                  <a:pt x="3959152" y="6191239"/>
                </a:lnTo>
                <a:cubicBezTo>
                  <a:pt x="3940144" y="6200776"/>
                  <a:pt x="3915434" y="6193146"/>
                  <a:pt x="3905930" y="6172165"/>
                </a:cubicBezTo>
                <a:cubicBezTo>
                  <a:pt x="3902128" y="6166443"/>
                  <a:pt x="3902128" y="6160721"/>
                  <a:pt x="3902128" y="6154999"/>
                </a:cubicBezTo>
                <a:cubicBezTo>
                  <a:pt x="3902128" y="6139740"/>
                  <a:pt x="3909730" y="6124481"/>
                  <a:pt x="3924936" y="6118759"/>
                </a:cubicBezTo>
                <a:cubicBezTo>
                  <a:pt x="3924936" y="6118759"/>
                  <a:pt x="3924936" y="6118759"/>
                  <a:pt x="4007532" y="6078712"/>
                </a:cubicBezTo>
                <a:close/>
                <a:moveTo>
                  <a:pt x="380904" y="5988309"/>
                </a:moveTo>
                <a:cubicBezTo>
                  <a:pt x="396318" y="5987059"/>
                  <a:pt x="411999" y="5995988"/>
                  <a:pt x="419127" y="6010276"/>
                </a:cubicBezTo>
                <a:cubicBezTo>
                  <a:pt x="428631" y="6031231"/>
                  <a:pt x="421028" y="6055996"/>
                  <a:pt x="400120" y="6065521"/>
                </a:cubicBezTo>
                <a:cubicBezTo>
                  <a:pt x="400120" y="6065521"/>
                  <a:pt x="400120" y="6065521"/>
                  <a:pt x="63687" y="6229351"/>
                </a:cubicBezTo>
                <a:cubicBezTo>
                  <a:pt x="42779" y="6238876"/>
                  <a:pt x="18069" y="6231256"/>
                  <a:pt x="8565" y="6210301"/>
                </a:cubicBezTo>
                <a:cubicBezTo>
                  <a:pt x="6664" y="6204586"/>
                  <a:pt x="4764" y="6198871"/>
                  <a:pt x="4764" y="6193156"/>
                </a:cubicBezTo>
                <a:cubicBezTo>
                  <a:pt x="4764" y="6177916"/>
                  <a:pt x="12367" y="6162676"/>
                  <a:pt x="27573" y="6156961"/>
                </a:cubicBezTo>
                <a:cubicBezTo>
                  <a:pt x="27573" y="6156961"/>
                  <a:pt x="27573" y="6156961"/>
                  <a:pt x="365906" y="5993131"/>
                </a:cubicBezTo>
                <a:cubicBezTo>
                  <a:pt x="370658" y="5990273"/>
                  <a:pt x="375766" y="5988725"/>
                  <a:pt x="380904" y="5988309"/>
                </a:cubicBezTo>
                <a:close/>
                <a:moveTo>
                  <a:pt x="940179" y="5978208"/>
                </a:moveTo>
                <a:cubicBezTo>
                  <a:pt x="949950" y="5981541"/>
                  <a:pt x="958529" y="5988685"/>
                  <a:pt x="963295" y="5999163"/>
                </a:cubicBezTo>
                <a:cubicBezTo>
                  <a:pt x="974733" y="6018213"/>
                  <a:pt x="965201" y="6042978"/>
                  <a:pt x="944230" y="6052503"/>
                </a:cubicBezTo>
                <a:cubicBezTo>
                  <a:pt x="944230" y="6052503"/>
                  <a:pt x="944230" y="6052503"/>
                  <a:pt x="606791" y="6218238"/>
                </a:cubicBezTo>
                <a:cubicBezTo>
                  <a:pt x="585820" y="6227763"/>
                  <a:pt x="561036" y="6218238"/>
                  <a:pt x="551504" y="6199188"/>
                </a:cubicBezTo>
                <a:cubicBezTo>
                  <a:pt x="549598" y="6193473"/>
                  <a:pt x="547691" y="6185853"/>
                  <a:pt x="547691" y="6180138"/>
                </a:cubicBezTo>
                <a:cubicBezTo>
                  <a:pt x="547691" y="6164898"/>
                  <a:pt x="555317" y="6151563"/>
                  <a:pt x="570568" y="6143943"/>
                </a:cubicBezTo>
                <a:cubicBezTo>
                  <a:pt x="570568" y="6143943"/>
                  <a:pt x="570568" y="6143943"/>
                  <a:pt x="909915" y="5980113"/>
                </a:cubicBezTo>
                <a:cubicBezTo>
                  <a:pt x="919447" y="5975350"/>
                  <a:pt x="930409" y="5974874"/>
                  <a:pt x="940179" y="5978208"/>
                </a:cubicBezTo>
                <a:close/>
                <a:moveTo>
                  <a:pt x="1487950" y="5966222"/>
                </a:moveTo>
                <a:cubicBezTo>
                  <a:pt x="1497958" y="5969794"/>
                  <a:pt x="1506537" y="5976938"/>
                  <a:pt x="1511303" y="5986463"/>
                </a:cubicBezTo>
                <a:cubicBezTo>
                  <a:pt x="1520836" y="6007418"/>
                  <a:pt x="1513210" y="6032183"/>
                  <a:pt x="1492239" y="6041708"/>
                </a:cubicBezTo>
                <a:cubicBezTo>
                  <a:pt x="1492239" y="6041708"/>
                  <a:pt x="1492239" y="6041708"/>
                  <a:pt x="1152893" y="6205538"/>
                </a:cubicBezTo>
                <a:cubicBezTo>
                  <a:pt x="1131922" y="6215063"/>
                  <a:pt x="1109045" y="6207443"/>
                  <a:pt x="1097606" y="6186488"/>
                </a:cubicBezTo>
                <a:cubicBezTo>
                  <a:pt x="1095700" y="6180773"/>
                  <a:pt x="1093793" y="6175058"/>
                  <a:pt x="1093793" y="6169343"/>
                </a:cubicBezTo>
                <a:cubicBezTo>
                  <a:pt x="1093793" y="6154103"/>
                  <a:pt x="1103326" y="6138863"/>
                  <a:pt x="1116671" y="6131243"/>
                </a:cubicBezTo>
                <a:cubicBezTo>
                  <a:pt x="1116671" y="6131243"/>
                  <a:pt x="1116671" y="6131243"/>
                  <a:pt x="1456017" y="5967413"/>
                </a:cubicBezTo>
                <a:cubicBezTo>
                  <a:pt x="1466502" y="5962650"/>
                  <a:pt x="1477941" y="5962650"/>
                  <a:pt x="1487950" y="5966222"/>
                </a:cubicBezTo>
                <a:close/>
                <a:moveTo>
                  <a:pt x="2039813" y="5952817"/>
                </a:moveTo>
                <a:cubicBezTo>
                  <a:pt x="2049553" y="5956155"/>
                  <a:pt x="2058100" y="5963308"/>
                  <a:pt x="2063798" y="5973798"/>
                </a:cubicBezTo>
                <a:cubicBezTo>
                  <a:pt x="2073295" y="5992872"/>
                  <a:pt x="2063798" y="6017668"/>
                  <a:pt x="2044799" y="6027205"/>
                </a:cubicBezTo>
                <a:cubicBezTo>
                  <a:pt x="2044799" y="6027205"/>
                  <a:pt x="2044799" y="6027205"/>
                  <a:pt x="1706714" y="6191239"/>
                </a:cubicBezTo>
                <a:cubicBezTo>
                  <a:pt x="1685821" y="6200776"/>
                  <a:pt x="1661129" y="6193146"/>
                  <a:pt x="1651633" y="6172165"/>
                </a:cubicBezTo>
                <a:cubicBezTo>
                  <a:pt x="1649733" y="6166443"/>
                  <a:pt x="1647834" y="6160721"/>
                  <a:pt x="1647834" y="6154999"/>
                </a:cubicBezTo>
                <a:cubicBezTo>
                  <a:pt x="1647834" y="6139740"/>
                  <a:pt x="1655431" y="6124481"/>
                  <a:pt x="1670626" y="6118759"/>
                </a:cubicBezTo>
                <a:cubicBezTo>
                  <a:pt x="1670626" y="6118759"/>
                  <a:pt x="1670626" y="6118759"/>
                  <a:pt x="2008712" y="5954725"/>
                </a:cubicBezTo>
                <a:cubicBezTo>
                  <a:pt x="2019158" y="5949956"/>
                  <a:pt x="2030079" y="5949479"/>
                  <a:pt x="2039813" y="5952817"/>
                </a:cubicBezTo>
                <a:close/>
                <a:moveTo>
                  <a:pt x="3730408" y="5940108"/>
                </a:moveTo>
                <a:cubicBezTo>
                  <a:pt x="3740180" y="5943442"/>
                  <a:pt x="3748756" y="5950585"/>
                  <a:pt x="3754476" y="5961063"/>
                </a:cubicBezTo>
                <a:cubicBezTo>
                  <a:pt x="3764010" y="5982018"/>
                  <a:pt x="3754476" y="6004878"/>
                  <a:pt x="3735412" y="6016308"/>
                </a:cubicBezTo>
                <a:cubicBezTo>
                  <a:pt x="3735412" y="6016308"/>
                  <a:pt x="3735412" y="6016308"/>
                  <a:pt x="3396080" y="6180138"/>
                </a:cubicBezTo>
                <a:cubicBezTo>
                  <a:pt x="3375107" y="6189663"/>
                  <a:pt x="3350323" y="6180138"/>
                  <a:pt x="3340791" y="6161088"/>
                </a:cubicBezTo>
                <a:cubicBezTo>
                  <a:pt x="3338885" y="6155373"/>
                  <a:pt x="3336980" y="6149658"/>
                  <a:pt x="3336980" y="6142038"/>
                </a:cubicBezTo>
                <a:cubicBezTo>
                  <a:pt x="3336980" y="6126798"/>
                  <a:pt x="3346510" y="6113463"/>
                  <a:pt x="3359854" y="6105843"/>
                </a:cubicBezTo>
                <a:cubicBezTo>
                  <a:pt x="3359854" y="6105843"/>
                  <a:pt x="3359854" y="6105843"/>
                  <a:pt x="3699190" y="5942013"/>
                </a:cubicBezTo>
                <a:cubicBezTo>
                  <a:pt x="3709676" y="5937250"/>
                  <a:pt x="3720634" y="5936774"/>
                  <a:pt x="3730408" y="5940108"/>
                </a:cubicBezTo>
                <a:close/>
                <a:moveTo>
                  <a:pt x="2596907" y="5940108"/>
                </a:moveTo>
                <a:cubicBezTo>
                  <a:pt x="2606677" y="5943442"/>
                  <a:pt x="2615256" y="5950585"/>
                  <a:pt x="2620976" y="5961063"/>
                </a:cubicBezTo>
                <a:cubicBezTo>
                  <a:pt x="2630508" y="5982018"/>
                  <a:pt x="2620976" y="6004878"/>
                  <a:pt x="2601911" y="6016308"/>
                </a:cubicBezTo>
                <a:cubicBezTo>
                  <a:pt x="2601911" y="6016308"/>
                  <a:pt x="2601911" y="6016308"/>
                  <a:pt x="2262565" y="6180138"/>
                </a:cubicBezTo>
                <a:cubicBezTo>
                  <a:pt x="2241595" y="6189663"/>
                  <a:pt x="2216811" y="6180138"/>
                  <a:pt x="2207278" y="6161088"/>
                </a:cubicBezTo>
                <a:cubicBezTo>
                  <a:pt x="2205372" y="6155373"/>
                  <a:pt x="2203466" y="6149658"/>
                  <a:pt x="2203466" y="6142038"/>
                </a:cubicBezTo>
                <a:cubicBezTo>
                  <a:pt x="2203466" y="6126798"/>
                  <a:pt x="2211091" y="6113463"/>
                  <a:pt x="2226343" y="6105843"/>
                </a:cubicBezTo>
                <a:cubicBezTo>
                  <a:pt x="2226343" y="6105843"/>
                  <a:pt x="2226343" y="6105843"/>
                  <a:pt x="2565688" y="5942013"/>
                </a:cubicBezTo>
                <a:cubicBezTo>
                  <a:pt x="2576174" y="5937250"/>
                  <a:pt x="2587136" y="5936774"/>
                  <a:pt x="2596907" y="5940108"/>
                </a:cubicBezTo>
                <a:close/>
                <a:moveTo>
                  <a:pt x="3158038" y="5928122"/>
                </a:moveTo>
                <a:cubicBezTo>
                  <a:pt x="3168046" y="5931694"/>
                  <a:pt x="3176626" y="5938838"/>
                  <a:pt x="3181392" y="5948363"/>
                </a:cubicBezTo>
                <a:cubicBezTo>
                  <a:pt x="3190924" y="5969318"/>
                  <a:pt x="3183299" y="5994083"/>
                  <a:pt x="3162325" y="6003608"/>
                </a:cubicBezTo>
                <a:cubicBezTo>
                  <a:pt x="3162325" y="6003608"/>
                  <a:pt x="3162325" y="6003608"/>
                  <a:pt x="2822979" y="6167438"/>
                </a:cubicBezTo>
                <a:cubicBezTo>
                  <a:pt x="2803913" y="6176963"/>
                  <a:pt x="2779131" y="6169343"/>
                  <a:pt x="2769598" y="6148388"/>
                </a:cubicBezTo>
                <a:cubicBezTo>
                  <a:pt x="2765784" y="6142673"/>
                  <a:pt x="2763878" y="6136958"/>
                  <a:pt x="2763878" y="6131243"/>
                </a:cubicBezTo>
                <a:cubicBezTo>
                  <a:pt x="2763878" y="6116003"/>
                  <a:pt x="2773410" y="6100763"/>
                  <a:pt x="2788667" y="6093143"/>
                </a:cubicBezTo>
                <a:cubicBezTo>
                  <a:pt x="2788667" y="6093143"/>
                  <a:pt x="2788667" y="6093143"/>
                  <a:pt x="3126105" y="5929313"/>
                </a:cubicBezTo>
                <a:cubicBezTo>
                  <a:pt x="3136591" y="5924550"/>
                  <a:pt x="3148030" y="5924550"/>
                  <a:pt x="3158038" y="5928122"/>
                </a:cubicBezTo>
                <a:close/>
                <a:moveTo>
                  <a:pt x="4011840" y="5749863"/>
                </a:moveTo>
                <a:lnTo>
                  <a:pt x="4011840" y="5842922"/>
                </a:lnTo>
                <a:lnTo>
                  <a:pt x="3958228" y="5867437"/>
                </a:lnTo>
                <a:cubicBezTo>
                  <a:pt x="3937196" y="5876926"/>
                  <a:pt x="3912336" y="5867437"/>
                  <a:pt x="3902776" y="5846560"/>
                </a:cubicBezTo>
                <a:cubicBezTo>
                  <a:pt x="3898954" y="5840867"/>
                  <a:pt x="3898954" y="5835173"/>
                  <a:pt x="3898954" y="5829480"/>
                </a:cubicBezTo>
                <a:cubicBezTo>
                  <a:pt x="3898954" y="5812399"/>
                  <a:pt x="3906600" y="5797216"/>
                  <a:pt x="3923810" y="5789625"/>
                </a:cubicBezTo>
                <a:cubicBezTo>
                  <a:pt x="3923810" y="5789625"/>
                  <a:pt x="3923810" y="5789625"/>
                  <a:pt x="4006898" y="5752095"/>
                </a:cubicBezTo>
                <a:close/>
                <a:moveTo>
                  <a:pt x="397251" y="5667772"/>
                </a:moveTo>
                <a:cubicBezTo>
                  <a:pt x="407022" y="5671344"/>
                  <a:pt x="415601" y="5678488"/>
                  <a:pt x="420367" y="5688013"/>
                </a:cubicBezTo>
                <a:cubicBezTo>
                  <a:pt x="431806" y="5708968"/>
                  <a:pt x="422273" y="5733733"/>
                  <a:pt x="401303" y="5743258"/>
                </a:cubicBezTo>
                <a:cubicBezTo>
                  <a:pt x="401303" y="5743258"/>
                  <a:pt x="401303" y="5743258"/>
                  <a:pt x="63863" y="5907088"/>
                </a:cubicBezTo>
                <a:cubicBezTo>
                  <a:pt x="42892" y="5916613"/>
                  <a:pt x="18109" y="5907088"/>
                  <a:pt x="8576" y="5888038"/>
                </a:cubicBezTo>
                <a:cubicBezTo>
                  <a:pt x="4764" y="5882323"/>
                  <a:pt x="4764" y="5874703"/>
                  <a:pt x="4764" y="5868988"/>
                </a:cubicBezTo>
                <a:cubicBezTo>
                  <a:pt x="4764" y="5853748"/>
                  <a:pt x="12389" y="5840413"/>
                  <a:pt x="27641" y="5832793"/>
                </a:cubicBezTo>
                <a:cubicBezTo>
                  <a:pt x="27641" y="5832793"/>
                  <a:pt x="27641" y="5832793"/>
                  <a:pt x="366987" y="5668963"/>
                </a:cubicBezTo>
                <a:cubicBezTo>
                  <a:pt x="376519" y="5664200"/>
                  <a:pt x="387481" y="5664200"/>
                  <a:pt x="397251" y="5667772"/>
                </a:cubicBezTo>
                <a:close/>
                <a:moveTo>
                  <a:pt x="941847" y="5656671"/>
                </a:moveTo>
                <a:cubicBezTo>
                  <a:pt x="951856" y="5660247"/>
                  <a:pt x="960435" y="5667400"/>
                  <a:pt x="965201" y="5676936"/>
                </a:cubicBezTo>
                <a:cubicBezTo>
                  <a:pt x="974733" y="5697917"/>
                  <a:pt x="965201" y="5722713"/>
                  <a:pt x="946137" y="5732250"/>
                </a:cubicBezTo>
                <a:cubicBezTo>
                  <a:pt x="946137" y="5732250"/>
                  <a:pt x="946137" y="5732250"/>
                  <a:pt x="606791" y="5894377"/>
                </a:cubicBezTo>
                <a:cubicBezTo>
                  <a:pt x="585820" y="5903914"/>
                  <a:pt x="561036" y="5894377"/>
                  <a:pt x="551504" y="5873396"/>
                </a:cubicBezTo>
                <a:cubicBezTo>
                  <a:pt x="547691" y="5867674"/>
                  <a:pt x="547691" y="5861952"/>
                  <a:pt x="547691" y="5856229"/>
                </a:cubicBezTo>
                <a:cubicBezTo>
                  <a:pt x="547691" y="5840970"/>
                  <a:pt x="555317" y="5825711"/>
                  <a:pt x="570568" y="5818082"/>
                </a:cubicBezTo>
                <a:cubicBezTo>
                  <a:pt x="570568" y="5818082"/>
                  <a:pt x="570568" y="5818082"/>
                  <a:pt x="909914" y="5657863"/>
                </a:cubicBezTo>
                <a:cubicBezTo>
                  <a:pt x="920400" y="5653094"/>
                  <a:pt x="931838" y="5653094"/>
                  <a:pt x="941847" y="5656671"/>
                </a:cubicBezTo>
                <a:close/>
                <a:moveTo>
                  <a:pt x="1487895" y="5644852"/>
                </a:moveTo>
                <a:cubicBezTo>
                  <a:pt x="1498134" y="5648194"/>
                  <a:pt x="1507183" y="5655356"/>
                  <a:pt x="1512898" y="5665859"/>
                </a:cubicBezTo>
                <a:cubicBezTo>
                  <a:pt x="1522423" y="5686867"/>
                  <a:pt x="1512898" y="5711694"/>
                  <a:pt x="1491943" y="5723153"/>
                </a:cubicBezTo>
                <a:cubicBezTo>
                  <a:pt x="1491943" y="5723153"/>
                  <a:pt x="1491943" y="5723153"/>
                  <a:pt x="1152849" y="5881664"/>
                </a:cubicBezTo>
                <a:cubicBezTo>
                  <a:pt x="1131894" y="5891213"/>
                  <a:pt x="1107128" y="5881664"/>
                  <a:pt x="1097603" y="5860656"/>
                </a:cubicBezTo>
                <a:cubicBezTo>
                  <a:pt x="1093793" y="5854927"/>
                  <a:pt x="1093793" y="5849198"/>
                  <a:pt x="1093793" y="5843468"/>
                </a:cubicBezTo>
                <a:cubicBezTo>
                  <a:pt x="1093793" y="5828190"/>
                  <a:pt x="1101413" y="5812912"/>
                  <a:pt x="1116653" y="5805273"/>
                </a:cubicBezTo>
                <a:cubicBezTo>
                  <a:pt x="1116653" y="5805273"/>
                  <a:pt x="1116653" y="5805273"/>
                  <a:pt x="1455747" y="5646762"/>
                </a:cubicBezTo>
                <a:cubicBezTo>
                  <a:pt x="1466225" y="5641987"/>
                  <a:pt x="1477655" y="5641510"/>
                  <a:pt x="1487895" y="5644852"/>
                </a:cubicBezTo>
                <a:close/>
                <a:moveTo>
                  <a:pt x="2025802" y="5631125"/>
                </a:moveTo>
                <a:cubicBezTo>
                  <a:pt x="2042192" y="5629969"/>
                  <a:pt x="2058318" y="5639221"/>
                  <a:pt x="2066916" y="5654878"/>
                </a:cubicBezTo>
                <a:cubicBezTo>
                  <a:pt x="2076469" y="5677652"/>
                  <a:pt x="2066916" y="5702324"/>
                  <a:pt x="2045894" y="5711813"/>
                </a:cubicBezTo>
                <a:cubicBezTo>
                  <a:pt x="2045894" y="5711813"/>
                  <a:pt x="2045894" y="5711813"/>
                  <a:pt x="1705799" y="5867437"/>
                </a:cubicBezTo>
                <a:cubicBezTo>
                  <a:pt x="1682871" y="5876926"/>
                  <a:pt x="1658033" y="5867437"/>
                  <a:pt x="1648480" y="5846560"/>
                </a:cubicBezTo>
                <a:cubicBezTo>
                  <a:pt x="1646569" y="5840867"/>
                  <a:pt x="1644659" y="5835173"/>
                  <a:pt x="1644659" y="5829480"/>
                </a:cubicBezTo>
                <a:cubicBezTo>
                  <a:pt x="1644659" y="5812399"/>
                  <a:pt x="1654212" y="5797216"/>
                  <a:pt x="1669497" y="5789625"/>
                </a:cubicBezTo>
                <a:cubicBezTo>
                  <a:pt x="1669497" y="5789625"/>
                  <a:pt x="1669497" y="5789625"/>
                  <a:pt x="2009592" y="5635900"/>
                </a:cubicBezTo>
                <a:cubicBezTo>
                  <a:pt x="2014846" y="5633053"/>
                  <a:pt x="2020339" y="5631511"/>
                  <a:pt x="2025802" y="5631125"/>
                </a:cubicBezTo>
                <a:close/>
                <a:moveTo>
                  <a:pt x="3732520" y="5620418"/>
                </a:moveTo>
                <a:cubicBezTo>
                  <a:pt x="3742752" y="5624242"/>
                  <a:pt x="3751320" y="5631891"/>
                  <a:pt x="3756078" y="5642408"/>
                </a:cubicBezTo>
                <a:cubicBezTo>
                  <a:pt x="3765600" y="5665355"/>
                  <a:pt x="3756078" y="5690214"/>
                  <a:pt x="3735138" y="5699775"/>
                </a:cubicBezTo>
                <a:cubicBezTo>
                  <a:pt x="3735138" y="5699775"/>
                  <a:pt x="3735138" y="5699775"/>
                  <a:pt x="3396308" y="5854665"/>
                </a:cubicBezTo>
                <a:cubicBezTo>
                  <a:pt x="3373464" y="5864226"/>
                  <a:pt x="3348715" y="5854665"/>
                  <a:pt x="3339199" y="5833630"/>
                </a:cubicBezTo>
                <a:cubicBezTo>
                  <a:pt x="3337292" y="5827894"/>
                  <a:pt x="3335390" y="5820245"/>
                  <a:pt x="3335390" y="5814508"/>
                </a:cubicBezTo>
                <a:cubicBezTo>
                  <a:pt x="3335390" y="5799210"/>
                  <a:pt x="3344907" y="5783913"/>
                  <a:pt x="3360135" y="5776264"/>
                </a:cubicBezTo>
                <a:cubicBezTo>
                  <a:pt x="3360135" y="5776264"/>
                  <a:pt x="3360135" y="5776264"/>
                  <a:pt x="3698968" y="5621374"/>
                </a:cubicBezTo>
                <a:cubicBezTo>
                  <a:pt x="3710392" y="5616593"/>
                  <a:pt x="3722288" y="5616593"/>
                  <a:pt x="3732520" y="5620418"/>
                </a:cubicBezTo>
                <a:close/>
                <a:moveTo>
                  <a:pt x="2598306" y="5620418"/>
                </a:moveTo>
                <a:cubicBezTo>
                  <a:pt x="2608777" y="5624242"/>
                  <a:pt x="2617819" y="5631891"/>
                  <a:pt x="2622577" y="5642408"/>
                </a:cubicBezTo>
                <a:cubicBezTo>
                  <a:pt x="2632096" y="5665355"/>
                  <a:pt x="2622577" y="5690214"/>
                  <a:pt x="2601638" y="5699775"/>
                </a:cubicBezTo>
                <a:cubicBezTo>
                  <a:pt x="2601638" y="5699775"/>
                  <a:pt x="2601638" y="5699775"/>
                  <a:pt x="2262794" y="5854665"/>
                </a:cubicBezTo>
                <a:cubicBezTo>
                  <a:pt x="2239951" y="5864226"/>
                  <a:pt x="2215204" y="5854665"/>
                  <a:pt x="2205686" y="5833630"/>
                </a:cubicBezTo>
                <a:cubicBezTo>
                  <a:pt x="2203782" y="5827894"/>
                  <a:pt x="2201879" y="5820245"/>
                  <a:pt x="2201879" y="5814508"/>
                </a:cubicBezTo>
                <a:cubicBezTo>
                  <a:pt x="2201879" y="5799210"/>
                  <a:pt x="2211397" y="5783913"/>
                  <a:pt x="2226626" y="5776264"/>
                </a:cubicBezTo>
                <a:cubicBezTo>
                  <a:pt x="2226626" y="5776264"/>
                  <a:pt x="2226626" y="5776264"/>
                  <a:pt x="2565468" y="5621374"/>
                </a:cubicBezTo>
                <a:cubicBezTo>
                  <a:pt x="2575938" y="5616593"/>
                  <a:pt x="2587837" y="5616593"/>
                  <a:pt x="2598306" y="5620418"/>
                </a:cubicBezTo>
                <a:close/>
                <a:moveTo>
                  <a:pt x="3160334" y="5609262"/>
                </a:moveTo>
                <a:cubicBezTo>
                  <a:pt x="3170798" y="5613068"/>
                  <a:pt x="3179834" y="5620678"/>
                  <a:pt x="3184589" y="5631142"/>
                </a:cubicBezTo>
                <a:cubicBezTo>
                  <a:pt x="3194099" y="5653973"/>
                  <a:pt x="3184589" y="5678707"/>
                  <a:pt x="3161758" y="5688219"/>
                </a:cubicBezTo>
                <a:cubicBezTo>
                  <a:pt x="3161758" y="5688219"/>
                  <a:pt x="3161758" y="5688219"/>
                  <a:pt x="2823162" y="5840426"/>
                </a:cubicBezTo>
                <a:cubicBezTo>
                  <a:pt x="2800335" y="5849939"/>
                  <a:pt x="2775607" y="5840426"/>
                  <a:pt x="2766094" y="5817595"/>
                </a:cubicBezTo>
                <a:cubicBezTo>
                  <a:pt x="2764193" y="5811887"/>
                  <a:pt x="2762292" y="5806179"/>
                  <a:pt x="2762292" y="5800472"/>
                </a:cubicBezTo>
                <a:cubicBezTo>
                  <a:pt x="2762292" y="5783348"/>
                  <a:pt x="2771803" y="5768128"/>
                  <a:pt x="2787018" y="5760517"/>
                </a:cubicBezTo>
                <a:cubicBezTo>
                  <a:pt x="2787018" y="5760517"/>
                  <a:pt x="2787018" y="5760517"/>
                  <a:pt x="3127521" y="5610214"/>
                </a:cubicBezTo>
                <a:cubicBezTo>
                  <a:pt x="3137983" y="5605457"/>
                  <a:pt x="3149871" y="5605457"/>
                  <a:pt x="3160334" y="5609262"/>
                </a:cubicBezTo>
                <a:close/>
                <a:moveTo>
                  <a:pt x="4011840" y="5423585"/>
                </a:moveTo>
                <a:lnTo>
                  <a:pt x="4011840" y="5518922"/>
                </a:lnTo>
                <a:lnTo>
                  <a:pt x="3958460" y="5541963"/>
                </a:lnTo>
                <a:cubicBezTo>
                  <a:pt x="3935548" y="5551488"/>
                  <a:pt x="3910732" y="5541963"/>
                  <a:pt x="3901184" y="5519103"/>
                </a:cubicBezTo>
                <a:cubicBezTo>
                  <a:pt x="3897364" y="5513388"/>
                  <a:pt x="3897364" y="5507673"/>
                  <a:pt x="3897364" y="5501958"/>
                </a:cubicBezTo>
                <a:cubicBezTo>
                  <a:pt x="3897364" y="5484813"/>
                  <a:pt x="3906912" y="5469573"/>
                  <a:pt x="3924092" y="5461953"/>
                </a:cubicBezTo>
                <a:cubicBezTo>
                  <a:pt x="3924092" y="5461953"/>
                  <a:pt x="3924092" y="5461953"/>
                  <a:pt x="4007056" y="5425676"/>
                </a:cubicBezTo>
                <a:close/>
                <a:moveTo>
                  <a:pt x="398204" y="5347056"/>
                </a:moveTo>
                <a:cubicBezTo>
                  <a:pt x="407975" y="5350610"/>
                  <a:pt x="416554" y="5357718"/>
                  <a:pt x="422273" y="5367196"/>
                </a:cubicBezTo>
                <a:cubicBezTo>
                  <a:pt x="431805" y="5388046"/>
                  <a:pt x="422273" y="5412688"/>
                  <a:pt x="401302" y="5422166"/>
                </a:cubicBezTo>
                <a:cubicBezTo>
                  <a:pt x="401302" y="5422166"/>
                  <a:pt x="401302" y="5422166"/>
                  <a:pt x="63863" y="5583285"/>
                </a:cubicBezTo>
                <a:cubicBezTo>
                  <a:pt x="42892" y="5592763"/>
                  <a:pt x="18108" y="5585181"/>
                  <a:pt x="8576" y="5564330"/>
                </a:cubicBezTo>
                <a:cubicBezTo>
                  <a:pt x="4763" y="5558643"/>
                  <a:pt x="4763" y="5552957"/>
                  <a:pt x="4763" y="5547270"/>
                </a:cubicBezTo>
                <a:cubicBezTo>
                  <a:pt x="4763" y="5532106"/>
                  <a:pt x="12389" y="5516942"/>
                  <a:pt x="27641" y="5509360"/>
                </a:cubicBezTo>
                <a:cubicBezTo>
                  <a:pt x="27641" y="5509360"/>
                  <a:pt x="27641" y="5509360"/>
                  <a:pt x="366986" y="5348240"/>
                </a:cubicBezTo>
                <a:cubicBezTo>
                  <a:pt x="377472" y="5343502"/>
                  <a:pt x="388434" y="5343502"/>
                  <a:pt x="398204" y="5347056"/>
                </a:cubicBezTo>
                <a:close/>
                <a:moveTo>
                  <a:pt x="941871" y="5334657"/>
                </a:moveTo>
                <a:cubicBezTo>
                  <a:pt x="951873" y="5338476"/>
                  <a:pt x="960445" y="5346116"/>
                  <a:pt x="965208" y="5356619"/>
                </a:cubicBezTo>
                <a:cubicBezTo>
                  <a:pt x="974733" y="5377627"/>
                  <a:pt x="967113" y="5402454"/>
                  <a:pt x="946158" y="5412003"/>
                </a:cubicBezTo>
                <a:cubicBezTo>
                  <a:pt x="946158" y="5412003"/>
                  <a:pt x="946158" y="5412003"/>
                  <a:pt x="605159" y="5570514"/>
                </a:cubicBezTo>
                <a:cubicBezTo>
                  <a:pt x="584203" y="5580063"/>
                  <a:pt x="559438" y="5570514"/>
                  <a:pt x="549913" y="5549506"/>
                </a:cubicBezTo>
                <a:cubicBezTo>
                  <a:pt x="548008" y="5543777"/>
                  <a:pt x="546103" y="5538048"/>
                  <a:pt x="546103" y="5532318"/>
                </a:cubicBezTo>
                <a:cubicBezTo>
                  <a:pt x="546103" y="5515130"/>
                  <a:pt x="555628" y="5499852"/>
                  <a:pt x="570868" y="5494123"/>
                </a:cubicBezTo>
                <a:cubicBezTo>
                  <a:pt x="570868" y="5494123"/>
                  <a:pt x="570868" y="5494123"/>
                  <a:pt x="909962" y="5335612"/>
                </a:cubicBezTo>
                <a:cubicBezTo>
                  <a:pt x="920440" y="5330837"/>
                  <a:pt x="931870" y="5330837"/>
                  <a:pt x="941871" y="5334657"/>
                </a:cubicBezTo>
                <a:close/>
                <a:moveTo>
                  <a:pt x="1489585" y="5323794"/>
                </a:moveTo>
                <a:cubicBezTo>
                  <a:pt x="1499579" y="5327857"/>
                  <a:pt x="1508145" y="5335984"/>
                  <a:pt x="1512904" y="5347457"/>
                </a:cubicBezTo>
                <a:cubicBezTo>
                  <a:pt x="1522422" y="5368492"/>
                  <a:pt x="1512904" y="5393351"/>
                  <a:pt x="1491964" y="5402912"/>
                </a:cubicBezTo>
                <a:cubicBezTo>
                  <a:pt x="1491964" y="5402912"/>
                  <a:pt x="1491964" y="5402912"/>
                  <a:pt x="1153121" y="5555889"/>
                </a:cubicBezTo>
                <a:cubicBezTo>
                  <a:pt x="1130277" y="5567363"/>
                  <a:pt x="1105530" y="5557802"/>
                  <a:pt x="1096012" y="5534855"/>
                </a:cubicBezTo>
                <a:cubicBezTo>
                  <a:pt x="1094109" y="5529118"/>
                  <a:pt x="1092205" y="5523382"/>
                  <a:pt x="1092205" y="5517645"/>
                </a:cubicBezTo>
                <a:cubicBezTo>
                  <a:pt x="1092205" y="5500435"/>
                  <a:pt x="1101723" y="5485137"/>
                  <a:pt x="1116952" y="5477488"/>
                </a:cubicBezTo>
                <a:cubicBezTo>
                  <a:pt x="1116952" y="5477488"/>
                  <a:pt x="1116952" y="5477488"/>
                  <a:pt x="1457699" y="5324511"/>
                </a:cubicBezTo>
                <a:cubicBezTo>
                  <a:pt x="1468169" y="5319730"/>
                  <a:pt x="1479591" y="5319730"/>
                  <a:pt x="1489585" y="5323794"/>
                </a:cubicBezTo>
                <a:close/>
                <a:moveTo>
                  <a:pt x="2026929" y="5309969"/>
                </a:moveTo>
                <a:cubicBezTo>
                  <a:pt x="2044546" y="5310148"/>
                  <a:pt x="2061364" y="5320506"/>
                  <a:pt x="2068518" y="5336223"/>
                </a:cubicBezTo>
                <a:cubicBezTo>
                  <a:pt x="2078057" y="5359083"/>
                  <a:pt x="2066610" y="5383848"/>
                  <a:pt x="2045619" y="5395278"/>
                </a:cubicBezTo>
                <a:cubicBezTo>
                  <a:pt x="2045619" y="5395278"/>
                  <a:pt x="2045619" y="5395278"/>
                  <a:pt x="1704121" y="5541963"/>
                </a:cubicBezTo>
                <a:cubicBezTo>
                  <a:pt x="1683136" y="5551488"/>
                  <a:pt x="1656426" y="5541963"/>
                  <a:pt x="1646887" y="5519103"/>
                </a:cubicBezTo>
                <a:cubicBezTo>
                  <a:pt x="1644979" y="5513388"/>
                  <a:pt x="1643071" y="5507673"/>
                  <a:pt x="1643071" y="5501958"/>
                </a:cubicBezTo>
                <a:cubicBezTo>
                  <a:pt x="1643071" y="5484813"/>
                  <a:pt x="1652611" y="5469573"/>
                  <a:pt x="1669781" y="5461953"/>
                </a:cubicBezTo>
                <a:cubicBezTo>
                  <a:pt x="1669781" y="5461953"/>
                  <a:pt x="1669781" y="5461953"/>
                  <a:pt x="2009371" y="5313363"/>
                </a:cubicBezTo>
                <a:cubicBezTo>
                  <a:pt x="2015094" y="5310981"/>
                  <a:pt x="2021056" y="5309910"/>
                  <a:pt x="2026929" y="5309969"/>
                </a:cubicBezTo>
                <a:close/>
                <a:moveTo>
                  <a:pt x="3719258" y="5298894"/>
                </a:moveTo>
                <a:cubicBezTo>
                  <a:pt x="3736336" y="5299163"/>
                  <a:pt x="3752080" y="5309892"/>
                  <a:pt x="3759236" y="5327059"/>
                </a:cubicBezTo>
                <a:cubicBezTo>
                  <a:pt x="3768772" y="5349949"/>
                  <a:pt x="3759236" y="5376653"/>
                  <a:pt x="3736336" y="5386191"/>
                </a:cubicBezTo>
                <a:cubicBezTo>
                  <a:pt x="3736336" y="5386191"/>
                  <a:pt x="3736336" y="5386191"/>
                  <a:pt x="3394855" y="5529250"/>
                </a:cubicBezTo>
                <a:cubicBezTo>
                  <a:pt x="3371961" y="5538788"/>
                  <a:pt x="3347159" y="5527343"/>
                  <a:pt x="3337618" y="5504453"/>
                </a:cubicBezTo>
                <a:cubicBezTo>
                  <a:pt x="3333804" y="5498731"/>
                  <a:pt x="3333804" y="5493009"/>
                  <a:pt x="3333804" y="5487286"/>
                </a:cubicBezTo>
                <a:cubicBezTo>
                  <a:pt x="3333804" y="5470119"/>
                  <a:pt x="3343341" y="5454859"/>
                  <a:pt x="3360513" y="5447229"/>
                </a:cubicBezTo>
                <a:cubicBezTo>
                  <a:pt x="3360513" y="5447229"/>
                  <a:pt x="3360513" y="5447229"/>
                  <a:pt x="3701998" y="5302262"/>
                </a:cubicBezTo>
                <a:cubicBezTo>
                  <a:pt x="3707720" y="5299878"/>
                  <a:pt x="3713564" y="5298805"/>
                  <a:pt x="3719258" y="5298894"/>
                </a:cubicBezTo>
                <a:close/>
                <a:moveTo>
                  <a:pt x="2583547" y="5298894"/>
                </a:moveTo>
                <a:cubicBezTo>
                  <a:pt x="2600298" y="5299163"/>
                  <a:pt x="2617050" y="5309892"/>
                  <a:pt x="2624178" y="5327059"/>
                </a:cubicBezTo>
                <a:cubicBezTo>
                  <a:pt x="2633683" y="5349949"/>
                  <a:pt x="2624178" y="5376653"/>
                  <a:pt x="2601368" y="5386191"/>
                </a:cubicBezTo>
                <a:cubicBezTo>
                  <a:pt x="2601368" y="5386191"/>
                  <a:pt x="2601368" y="5386191"/>
                  <a:pt x="2261117" y="5529250"/>
                </a:cubicBezTo>
                <a:cubicBezTo>
                  <a:pt x="2238307" y="5538788"/>
                  <a:pt x="2213596" y="5527343"/>
                  <a:pt x="2204092" y="5504453"/>
                </a:cubicBezTo>
                <a:cubicBezTo>
                  <a:pt x="2200290" y="5498731"/>
                  <a:pt x="2200290" y="5493009"/>
                  <a:pt x="2200290" y="5487286"/>
                </a:cubicBezTo>
                <a:cubicBezTo>
                  <a:pt x="2200290" y="5470119"/>
                  <a:pt x="2209795" y="5454859"/>
                  <a:pt x="2226902" y="5447229"/>
                </a:cubicBezTo>
                <a:cubicBezTo>
                  <a:pt x="2226902" y="5447229"/>
                  <a:pt x="2226902" y="5447229"/>
                  <a:pt x="2567153" y="5302262"/>
                </a:cubicBezTo>
                <a:cubicBezTo>
                  <a:pt x="2572380" y="5299878"/>
                  <a:pt x="2577964" y="5298805"/>
                  <a:pt x="2583547" y="5298894"/>
                </a:cubicBezTo>
                <a:close/>
                <a:moveTo>
                  <a:pt x="3161733" y="5292225"/>
                </a:moveTo>
                <a:cubicBezTo>
                  <a:pt x="3172419" y="5296500"/>
                  <a:pt x="3181443" y="5305050"/>
                  <a:pt x="3186188" y="5317400"/>
                </a:cubicBezTo>
                <a:cubicBezTo>
                  <a:pt x="3195686" y="5340200"/>
                  <a:pt x="3184290" y="5366800"/>
                  <a:pt x="3161495" y="5376300"/>
                </a:cubicBezTo>
                <a:cubicBezTo>
                  <a:pt x="3161495" y="5376300"/>
                  <a:pt x="3161495" y="5376300"/>
                  <a:pt x="2821486" y="5515000"/>
                </a:cubicBezTo>
                <a:cubicBezTo>
                  <a:pt x="2798692" y="5524500"/>
                  <a:pt x="2772100" y="5513100"/>
                  <a:pt x="2762604" y="5488400"/>
                </a:cubicBezTo>
                <a:cubicBezTo>
                  <a:pt x="2760705" y="5484600"/>
                  <a:pt x="2760705" y="5477000"/>
                  <a:pt x="2760705" y="5471300"/>
                </a:cubicBezTo>
                <a:cubicBezTo>
                  <a:pt x="2760705" y="5454200"/>
                  <a:pt x="2770200" y="5437100"/>
                  <a:pt x="2787298" y="5429500"/>
                </a:cubicBezTo>
                <a:cubicBezTo>
                  <a:pt x="2787298" y="5429500"/>
                  <a:pt x="2787298" y="5429500"/>
                  <a:pt x="3127305" y="5292700"/>
                </a:cubicBezTo>
                <a:cubicBezTo>
                  <a:pt x="3138701" y="5287950"/>
                  <a:pt x="3151049" y="5287950"/>
                  <a:pt x="3161733" y="5292225"/>
                </a:cubicBezTo>
                <a:close/>
                <a:moveTo>
                  <a:pt x="4011840" y="5097617"/>
                </a:moveTo>
                <a:lnTo>
                  <a:pt x="4011840" y="5195949"/>
                </a:lnTo>
                <a:lnTo>
                  <a:pt x="3958692" y="5218087"/>
                </a:lnTo>
                <a:cubicBezTo>
                  <a:pt x="3933908" y="5227637"/>
                  <a:pt x="3909124" y="5216177"/>
                  <a:pt x="3899590" y="5193257"/>
                </a:cubicBezTo>
                <a:cubicBezTo>
                  <a:pt x="3895780" y="5187528"/>
                  <a:pt x="3895780" y="5181798"/>
                  <a:pt x="3895780" y="5176068"/>
                </a:cubicBezTo>
                <a:cubicBezTo>
                  <a:pt x="3895780" y="5156968"/>
                  <a:pt x="3905308" y="5141689"/>
                  <a:pt x="3924374" y="5134049"/>
                </a:cubicBezTo>
                <a:cubicBezTo>
                  <a:pt x="3924374" y="5134049"/>
                  <a:pt x="3924374" y="5134049"/>
                  <a:pt x="4007216" y="5099543"/>
                </a:cubicBezTo>
                <a:close/>
                <a:moveTo>
                  <a:pt x="398945" y="5024845"/>
                </a:moveTo>
                <a:cubicBezTo>
                  <a:pt x="408946" y="5028421"/>
                  <a:pt x="417519" y="5035573"/>
                  <a:pt x="422281" y="5045110"/>
                </a:cubicBezTo>
                <a:cubicBezTo>
                  <a:pt x="431806" y="5066091"/>
                  <a:pt x="422281" y="5090887"/>
                  <a:pt x="401326" y="5100424"/>
                </a:cubicBezTo>
                <a:cubicBezTo>
                  <a:pt x="401326" y="5100424"/>
                  <a:pt x="401326" y="5100424"/>
                  <a:pt x="62232" y="5262551"/>
                </a:cubicBezTo>
                <a:cubicBezTo>
                  <a:pt x="43182" y="5272088"/>
                  <a:pt x="18416" y="5262551"/>
                  <a:pt x="8891" y="5241570"/>
                </a:cubicBezTo>
                <a:cubicBezTo>
                  <a:pt x="5081" y="5235848"/>
                  <a:pt x="3176" y="5230126"/>
                  <a:pt x="3176" y="5224403"/>
                </a:cubicBezTo>
                <a:cubicBezTo>
                  <a:pt x="3176" y="5209144"/>
                  <a:pt x="12701" y="5193885"/>
                  <a:pt x="27941" y="5186256"/>
                </a:cubicBezTo>
                <a:cubicBezTo>
                  <a:pt x="27941" y="5186256"/>
                  <a:pt x="27941" y="5186256"/>
                  <a:pt x="367036" y="5026037"/>
                </a:cubicBezTo>
                <a:cubicBezTo>
                  <a:pt x="377513" y="5021268"/>
                  <a:pt x="388943" y="5021268"/>
                  <a:pt x="398945" y="5024845"/>
                </a:cubicBezTo>
                <a:close/>
                <a:moveTo>
                  <a:pt x="942531" y="5014175"/>
                </a:moveTo>
                <a:cubicBezTo>
                  <a:pt x="953001" y="5018213"/>
                  <a:pt x="962043" y="5026289"/>
                  <a:pt x="966802" y="5037690"/>
                </a:cubicBezTo>
                <a:cubicBezTo>
                  <a:pt x="976320" y="5058592"/>
                  <a:pt x="966802" y="5083295"/>
                  <a:pt x="945862" y="5092795"/>
                </a:cubicBezTo>
                <a:cubicBezTo>
                  <a:pt x="945862" y="5092795"/>
                  <a:pt x="945862" y="5092795"/>
                  <a:pt x="605115" y="5246711"/>
                </a:cubicBezTo>
                <a:cubicBezTo>
                  <a:pt x="584175" y="5256212"/>
                  <a:pt x="559428" y="5246711"/>
                  <a:pt x="549910" y="5225809"/>
                </a:cubicBezTo>
                <a:cubicBezTo>
                  <a:pt x="546103" y="5220108"/>
                  <a:pt x="546103" y="5214408"/>
                  <a:pt x="546103" y="5208707"/>
                </a:cubicBezTo>
                <a:cubicBezTo>
                  <a:pt x="546103" y="5191605"/>
                  <a:pt x="555621" y="5176404"/>
                  <a:pt x="570850" y="5168803"/>
                </a:cubicBezTo>
                <a:cubicBezTo>
                  <a:pt x="570850" y="5168803"/>
                  <a:pt x="570850" y="5168803"/>
                  <a:pt x="909693" y="5014888"/>
                </a:cubicBezTo>
                <a:cubicBezTo>
                  <a:pt x="920163" y="5010137"/>
                  <a:pt x="932061" y="5010137"/>
                  <a:pt x="942531" y="5014175"/>
                </a:cubicBezTo>
                <a:close/>
                <a:moveTo>
                  <a:pt x="1491734" y="5004627"/>
                </a:moveTo>
                <a:cubicBezTo>
                  <a:pt x="1502228" y="5008654"/>
                  <a:pt x="1511290" y="5016708"/>
                  <a:pt x="1516059" y="5028079"/>
                </a:cubicBezTo>
                <a:cubicBezTo>
                  <a:pt x="1525598" y="5050821"/>
                  <a:pt x="1516059" y="5075458"/>
                  <a:pt x="1493165" y="5084934"/>
                </a:cubicBezTo>
                <a:cubicBezTo>
                  <a:pt x="1493165" y="5084934"/>
                  <a:pt x="1493165" y="5084934"/>
                  <a:pt x="1153575" y="5230861"/>
                </a:cubicBezTo>
                <a:cubicBezTo>
                  <a:pt x="1130682" y="5240337"/>
                  <a:pt x="1103972" y="5230861"/>
                  <a:pt x="1094433" y="5208119"/>
                </a:cubicBezTo>
                <a:cubicBezTo>
                  <a:pt x="1092526" y="5202434"/>
                  <a:pt x="1090618" y="5196748"/>
                  <a:pt x="1090618" y="5191063"/>
                </a:cubicBezTo>
                <a:cubicBezTo>
                  <a:pt x="1090618" y="5174006"/>
                  <a:pt x="1102065" y="5158845"/>
                  <a:pt x="1117327" y="5151264"/>
                </a:cubicBezTo>
                <a:cubicBezTo>
                  <a:pt x="1117327" y="5151264"/>
                  <a:pt x="1117327" y="5151264"/>
                  <a:pt x="1458825" y="5005338"/>
                </a:cubicBezTo>
                <a:cubicBezTo>
                  <a:pt x="1469318" y="5000600"/>
                  <a:pt x="1481242" y="5000600"/>
                  <a:pt x="1491734" y="5004627"/>
                </a:cubicBezTo>
                <a:close/>
                <a:moveTo>
                  <a:pt x="2028590" y="4989339"/>
                </a:moveTo>
                <a:cubicBezTo>
                  <a:pt x="2046182" y="4989608"/>
                  <a:pt x="2062975" y="5000352"/>
                  <a:pt x="2070119" y="5017541"/>
                </a:cubicBezTo>
                <a:cubicBezTo>
                  <a:pt x="2079644" y="5040461"/>
                  <a:pt x="2068214" y="5067200"/>
                  <a:pt x="2045349" y="5076750"/>
                </a:cubicBezTo>
                <a:cubicBezTo>
                  <a:pt x="2045349" y="5076750"/>
                  <a:pt x="2045349" y="5076750"/>
                  <a:pt x="1704349" y="5218087"/>
                </a:cubicBezTo>
                <a:cubicBezTo>
                  <a:pt x="1681489" y="5227637"/>
                  <a:pt x="1654818" y="5216177"/>
                  <a:pt x="1645293" y="5193257"/>
                </a:cubicBezTo>
                <a:cubicBezTo>
                  <a:pt x="1643388" y="5187528"/>
                  <a:pt x="1641483" y="5181798"/>
                  <a:pt x="1641483" y="5176068"/>
                </a:cubicBezTo>
                <a:cubicBezTo>
                  <a:pt x="1641483" y="5156968"/>
                  <a:pt x="1652914" y="5141689"/>
                  <a:pt x="1670059" y="5134049"/>
                </a:cubicBezTo>
                <a:cubicBezTo>
                  <a:pt x="1670059" y="5134049"/>
                  <a:pt x="1670059" y="5134049"/>
                  <a:pt x="2011058" y="4992712"/>
                </a:cubicBezTo>
                <a:cubicBezTo>
                  <a:pt x="2016773" y="4990324"/>
                  <a:pt x="2022726" y="4989250"/>
                  <a:pt x="2028590" y="4989339"/>
                </a:cubicBezTo>
                <a:close/>
                <a:moveTo>
                  <a:pt x="3720408" y="4979828"/>
                </a:moveTo>
                <a:cubicBezTo>
                  <a:pt x="3738808" y="4980185"/>
                  <a:pt x="3755596" y="4991258"/>
                  <a:pt x="3762740" y="5009832"/>
                </a:cubicBezTo>
                <a:cubicBezTo>
                  <a:pt x="3770360" y="5032692"/>
                  <a:pt x="3758930" y="5059362"/>
                  <a:pt x="3736068" y="5068887"/>
                </a:cubicBezTo>
                <a:cubicBezTo>
                  <a:pt x="3736068" y="5068887"/>
                  <a:pt x="3736068" y="5068887"/>
                  <a:pt x="3395084" y="5202237"/>
                </a:cubicBezTo>
                <a:cubicBezTo>
                  <a:pt x="3370317" y="5211762"/>
                  <a:pt x="3343646" y="5200332"/>
                  <a:pt x="3334121" y="5175567"/>
                </a:cubicBezTo>
                <a:cubicBezTo>
                  <a:pt x="3332215" y="5169852"/>
                  <a:pt x="3332215" y="5164137"/>
                  <a:pt x="3332215" y="5158422"/>
                </a:cubicBezTo>
                <a:cubicBezTo>
                  <a:pt x="3332215" y="5141277"/>
                  <a:pt x="3343646" y="5122227"/>
                  <a:pt x="3360792" y="5116512"/>
                </a:cubicBezTo>
                <a:cubicBezTo>
                  <a:pt x="3360792" y="5116512"/>
                  <a:pt x="3360792" y="5116512"/>
                  <a:pt x="3701776" y="4983162"/>
                </a:cubicBezTo>
                <a:cubicBezTo>
                  <a:pt x="3707968" y="4980781"/>
                  <a:pt x="3714280" y="4979709"/>
                  <a:pt x="3720408" y="4979828"/>
                </a:cubicBezTo>
                <a:close/>
                <a:moveTo>
                  <a:pt x="2585923" y="4979828"/>
                </a:moveTo>
                <a:cubicBezTo>
                  <a:pt x="2604117" y="4980185"/>
                  <a:pt x="2622040" y="4991258"/>
                  <a:pt x="2629210" y="5009832"/>
                </a:cubicBezTo>
                <a:cubicBezTo>
                  <a:pt x="2636858" y="5032692"/>
                  <a:pt x="2625387" y="5059362"/>
                  <a:pt x="2602444" y="5068887"/>
                </a:cubicBezTo>
                <a:cubicBezTo>
                  <a:pt x="2602444" y="5068887"/>
                  <a:pt x="2602444" y="5068887"/>
                  <a:pt x="2260209" y="5202237"/>
                </a:cubicBezTo>
                <a:cubicBezTo>
                  <a:pt x="2235354" y="5211762"/>
                  <a:pt x="2208587" y="5200332"/>
                  <a:pt x="2199027" y="5175567"/>
                </a:cubicBezTo>
                <a:cubicBezTo>
                  <a:pt x="2197115" y="5169852"/>
                  <a:pt x="2197115" y="5164137"/>
                  <a:pt x="2197115" y="5158422"/>
                </a:cubicBezTo>
                <a:cubicBezTo>
                  <a:pt x="2197115" y="5141277"/>
                  <a:pt x="2206675" y="5122227"/>
                  <a:pt x="2225794" y="5116512"/>
                </a:cubicBezTo>
                <a:cubicBezTo>
                  <a:pt x="2225794" y="5116512"/>
                  <a:pt x="2225794" y="5116512"/>
                  <a:pt x="2568028" y="4983162"/>
                </a:cubicBezTo>
                <a:cubicBezTo>
                  <a:pt x="2573764" y="4980780"/>
                  <a:pt x="2579859" y="4979709"/>
                  <a:pt x="2585923" y="4979828"/>
                </a:cubicBezTo>
                <a:close/>
                <a:moveTo>
                  <a:pt x="3148522" y="4969031"/>
                </a:moveTo>
                <a:cubicBezTo>
                  <a:pt x="3166945" y="4969927"/>
                  <a:pt x="3183758" y="4982104"/>
                  <a:pt x="3190913" y="5000728"/>
                </a:cubicBezTo>
                <a:cubicBezTo>
                  <a:pt x="3200448" y="5025560"/>
                  <a:pt x="3187095" y="5052302"/>
                  <a:pt x="3162293" y="5061853"/>
                </a:cubicBezTo>
                <a:cubicBezTo>
                  <a:pt x="3162293" y="5061853"/>
                  <a:pt x="3162293" y="5061853"/>
                  <a:pt x="2820804" y="5187924"/>
                </a:cubicBezTo>
                <a:cubicBezTo>
                  <a:pt x="2796003" y="5197475"/>
                  <a:pt x="2769296" y="5184104"/>
                  <a:pt x="2759756" y="5161182"/>
                </a:cubicBezTo>
                <a:cubicBezTo>
                  <a:pt x="2757847" y="5155451"/>
                  <a:pt x="2755940" y="5149721"/>
                  <a:pt x="2755940" y="5143990"/>
                </a:cubicBezTo>
                <a:cubicBezTo>
                  <a:pt x="2755940" y="5124889"/>
                  <a:pt x="2767388" y="5105787"/>
                  <a:pt x="2788374" y="5098146"/>
                </a:cubicBezTo>
                <a:cubicBezTo>
                  <a:pt x="2788374" y="5098146"/>
                  <a:pt x="2788374" y="5098146"/>
                  <a:pt x="3129862" y="4972076"/>
                </a:cubicBezTo>
                <a:cubicBezTo>
                  <a:pt x="3136060" y="4969688"/>
                  <a:pt x="3142382" y="4968733"/>
                  <a:pt x="3148522" y="4969031"/>
                </a:cubicBezTo>
                <a:close/>
                <a:moveTo>
                  <a:pt x="4011840" y="4771408"/>
                </a:moveTo>
                <a:lnTo>
                  <a:pt x="4011840" y="4871523"/>
                </a:lnTo>
                <a:lnTo>
                  <a:pt x="3957012" y="4892674"/>
                </a:lnTo>
                <a:cubicBezTo>
                  <a:pt x="3934168" y="4902199"/>
                  <a:pt x="3907512" y="4890769"/>
                  <a:pt x="3897996" y="4866004"/>
                </a:cubicBezTo>
                <a:cubicBezTo>
                  <a:pt x="3896096" y="4860289"/>
                  <a:pt x="3894188" y="4854574"/>
                  <a:pt x="3894188" y="4848859"/>
                </a:cubicBezTo>
                <a:cubicBezTo>
                  <a:pt x="3894188" y="4829809"/>
                  <a:pt x="3905612" y="4812664"/>
                  <a:pt x="3924648" y="4805044"/>
                </a:cubicBezTo>
                <a:cubicBezTo>
                  <a:pt x="3924648" y="4805044"/>
                  <a:pt x="3924648" y="4805044"/>
                  <a:pt x="4007834" y="4772953"/>
                </a:cubicBezTo>
                <a:close/>
                <a:moveTo>
                  <a:pt x="398944" y="4701876"/>
                </a:moveTo>
                <a:cubicBezTo>
                  <a:pt x="408946" y="4705218"/>
                  <a:pt x="417518" y="4712380"/>
                  <a:pt x="422281" y="4722883"/>
                </a:cubicBezTo>
                <a:cubicBezTo>
                  <a:pt x="431806" y="4743891"/>
                  <a:pt x="422281" y="4768718"/>
                  <a:pt x="401326" y="4778267"/>
                </a:cubicBezTo>
                <a:cubicBezTo>
                  <a:pt x="401326" y="4778267"/>
                  <a:pt x="401326" y="4778267"/>
                  <a:pt x="62232" y="4938688"/>
                </a:cubicBezTo>
                <a:cubicBezTo>
                  <a:pt x="43181" y="4948237"/>
                  <a:pt x="16511" y="4940598"/>
                  <a:pt x="6986" y="4919590"/>
                </a:cubicBezTo>
                <a:cubicBezTo>
                  <a:pt x="5081" y="4913861"/>
                  <a:pt x="3176" y="4906222"/>
                  <a:pt x="3176" y="4900492"/>
                </a:cubicBezTo>
                <a:cubicBezTo>
                  <a:pt x="3176" y="4885214"/>
                  <a:pt x="12701" y="4869936"/>
                  <a:pt x="27941" y="4864207"/>
                </a:cubicBezTo>
                <a:cubicBezTo>
                  <a:pt x="27941" y="4864207"/>
                  <a:pt x="27941" y="4864207"/>
                  <a:pt x="367035" y="4703786"/>
                </a:cubicBezTo>
                <a:cubicBezTo>
                  <a:pt x="377513" y="4699011"/>
                  <a:pt x="388943" y="4698534"/>
                  <a:pt x="398944" y="4701876"/>
                </a:cubicBezTo>
                <a:close/>
                <a:moveTo>
                  <a:pt x="943147" y="4693284"/>
                </a:moveTo>
                <a:cubicBezTo>
                  <a:pt x="953409" y="4697094"/>
                  <a:pt x="962000" y="4704714"/>
                  <a:pt x="966774" y="4715192"/>
                </a:cubicBezTo>
                <a:cubicBezTo>
                  <a:pt x="976320" y="4738052"/>
                  <a:pt x="966774" y="4762817"/>
                  <a:pt x="945772" y="4772342"/>
                </a:cubicBezTo>
                <a:cubicBezTo>
                  <a:pt x="945772" y="4772342"/>
                  <a:pt x="945772" y="4772342"/>
                  <a:pt x="604023" y="4922837"/>
                </a:cubicBezTo>
                <a:cubicBezTo>
                  <a:pt x="583021" y="4932362"/>
                  <a:pt x="556292" y="4922837"/>
                  <a:pt x="546746" y="4901882"/>
                </a:cubicBezTo>
                <a:cubicBezTo>
                  <a:pt x="544837" y="4894262"/>
                  <a:pt x="542928" y="4888547"/>
                  <a:pt x="542928" y="4882832"/>
                </a:cubicBezTo>
                <a:cubicBezTo>
                  <a:pt x="542928" y="4867592"/>
                  <a:pt x="552474" y="4850447"/>
                  <a:pt x="569657" y="4842827"/>
                </a:cubicBezTo>
                <a:cubicBezTo>
                  <a:pt x="569657" y="4842827"/>
                  <a:pt x="569657" y="4842827"/>
                  <a:pt x="909497" y="4694237"/>
                </a:cubicBezTo>
                <a:cubicBezTo>
                  <a:pt x="920952" y="4689474"/>
                  <a:pt x="932885" y="4689474"/>
                  <a:pt x="943147" y="4693284"/>
                </a:cubicBezTo>
                <a:close/>
                <a:moveTo>
                  <a:pt x="1476099" y="4679736"/>
                </a:moveTo>
                <a:cubicBezTo>
                  <a:pt x="1493704" y="4680003"/>
                  <a:pt x="1510504" y="4690677"/>
                  <a:pt x="1517653" y="4707755"/>
                </a:cubicBezTo>
                <a:cubicBezTo>
                  <a:pt x="1527185" y="4730526"/>
                  <a:pt x="1515746" y="4757092"/>
                  <a:pt x="1492870" y="4766579"/>
                </a:cubicBezTo>
                <a:cubicBezTo>
                  <a:pt x="1492870" y="4766579"/>
                  <a:pt x="1492870" y="4766579"/>
                  <a:pt x="1151623" y="4906999"/>
                </a:cubicBezTo>
                <a:cubicBezTo>
                  <a:pt x="1128746" y="4916487"/>
                  <a:pt x="1102056" y="4905101"/>
                  <a:pt x="1094430" y="4882331"/>
                </a:cubicBezTo>
                <a:cubicBezTo>
                  <a:pt x="1090618" y="4876638"/>
                  <a:pt x="1090618" y="4870945"/>
                  <a:pt x="1090618" y="4865253"/>
                </a:cubicBezTo>
                <a:cubicBezTo>
                  <a:pt x="1090618" y="4848175"/>
                  <a:pt x="1100150" y="4831096"/>
                  <a:pt x="1117307" y="4823506"/>
                </a:cubicBezTo>
                <a:cubicBezTo>
                  <a:pt x="1117307" y="4823506"/>
                  <a:pt x="1117307" y="4823506"/>
                  <a:pt x="1458554" y="4683087"/>
                </a:cubicBezTo>
                <a:cubicBezTo>
                  <a:pt x="1464273" y="4680715"/>
                  <a:pt x="1470231" y="4679647"/>
                  <a:pt x="1476099" y="4679736"/>
                </a:cubicBezTo>
                <a:close/>
                <a:moveTo>
                  <a:pt x="2029448" y="4670533"/>
                </a:moveTo>
                <a:cubicBezTo>
                  <a:pt x="2047822" y="4671337"/>
                  <a:pt x="2064586" y="4683124"/>
                  <a:pt x="2071719" y="4700269"/>
                </a:cubicBezTo>
                <a:cubicBezTo>
                  <a:pt x="2081231" y="4725034"/>
                  <a:pt x="2067915" y="4751704"/>
                  <a:pt x="2045082" y="4761229"/>
                </a:cubicBezTo>
                <a:cubicBezTo>
                  <a:pt x="2045082" y="4761229"/>
                  <a:pt x="2045082" y="4761229"/>
                  <a:pt x="1704573" y="4892674"/>
                </a:cubicBezTo>
                <a:cubicBezTo>
                  <a:pt x="1679843" y="4902199"/>
                  <a:pt x="1653211" y="4890769"/>
                  <a:pt x="1643700" y="4866004"/>
                </a:cubicBezTo>
                <a:cubicBezTo>
                  <a:pt x="1641797" y="4860289"/>
                  <a:pt x="1639895" y="4854574"/>
                  <a:pt x="1639895" y="4848859"/>
                </a:cubicBezTo>
                <a:cubicBezTo>
                  <a:pt x="1639895" y="4829809"/>
                  <a:pt x="1651309" y="4812664"/>
                  <a:pt x="1670332" y="4805044"/>
                </a:cubicBezTo>
                <a:cubicBezTo>
                  <a:pt x="1670332" y="4805044"/>
                  <a:pt x="1670332" y="4805044"/>
                  <a:pt x="2010841" y="4673599"/>
                </a:cubicBezTo>
                <a:cubicBezTo>
                  <a:pt x="2017024" y="4671218"/>
                  <a:pt x="2023325" y="4670265"/>
                  <a:pt x="2029448" y="4670533"/>
                </a:cubicBezTo>
                <a:close/>
                <a:moveTo>
                  <a:pt x="3720840" y="4661020"/>
                </a:moveTo>
                <a:cubicBezTo>
                  <a:pt x="3740052" y="4661910"/>
                  <a:pt x="3756856" y="4674022"/>
                  <a:pt x="3764004" y="4692545"/>
                </a:cubicBezTo>
                <a:cubicBezTo>
                  <a:pt x="3773538" y="4717242"/>
                  <a:pt x="3760192" y="4745739"/>
                  <a:pt x="3735408" y="4755238"/>
                </a:cubicBezTo>
                <a:cubicBezTo>
                  <a:pt x="3735408" y="4755238"/>
                  <a:pt x="3735408" y="4755238"/>
                  <a:pt x="3392273" y="4876825"/>
                </a:cubicBezTo>
                <a:cubicBezTo>
                  <a:pt x="3367488" y="4886324"/>
                  <a:pt x="3340798" y="4873025"/>
                  <a:pt x="3331265" y="4848328"/>
                </a:cubicBezTo>
                <a:cubicBezTo>
                  <a:pt x="3329361" y="4842628"/>
                  <a:pt x="3327453" y="4836929"/>
                  <a:pt x="3327453" y="4831230"/>
                </a:cubicBezTo>
                <a:cubicBezTo>
                  <a:pt x="3327453" y="4812232"/>
                  <a:pt x="3340798" y="4793234"/>
                  <a:pt x="3359861" y="4785635"/>
                </a:cubicBezTo>
                <a:cubicBezTo>
                  <a:pt x="3359861" y="4785635"/>
                  <a:pt x="3359861" y="4785635"/>
                  <a:pt x="3701092" y="4664048"/>
                </a:cubicBezTo>
                <a:cubicBezTo>
                  <a:pt x="3707764" y="4661673"/>
                  <a:pt x="3714436" y="4660723"/>
                  <a:pt x="3720840" y="4661020"/>
                </a:cubicBezTo>
                <a:close/>
                <a:moveTo>
                  <a:pt x="2587339" y="4661020"/>
                </a:moveTo>
                <a:cubicBezTo>
                  <a:pt x="2606552" y="4661910"/>
                  <a:pt x="2623352" y="4674022"/>
                  <a:pt x="2630501" y="4692545"/>
                </a:cubicBezTo>
                <a:cubicBezTo>
                  <a:pt x="2640033" y="4717242"/>
                  <a:pt x="2626688" y="4745739"/>
                  <a:pt x="2601905" y="4755238"/>
                </a:cubicBezTo>
                <a:cubicBezTo>
                  <a:pt x="2601905" y="4755238"/>
                  <a:pt x="2601905" y="4755238"/>
                  <a:pt x="2258757" y="4876825"/>
                </a:cubicBezTo>
                <a:cubicBezTo>
                  <a:pt x="2233974" y="4886324"/>
                  <a:pt x="2207285" y="4873025"/>
                  <a:pt x="2197753" y="4848328"/>
                </a:cubicBezTo>
                <a:cubicBezTo>
                  <a:pt x="2195847" y="4842628"/>
                  <a:pt x="2193940" y="4836929"/>
                  <a:pt x="2193940" y="4831230"/>
                </a:cubicBezTo>
                <a:cubicBezTo>
                  <a:pt x="2193940" y="4812232"/>
                  <a:pt x="2207285" y="4793234"/>
                  <a:pt x="2226348" y="4785635"/>
                </a:cubicBezTo>
                <a:cubicBezTo>
                  <a:pt x="2226348" y="4785635"/>
                  <a:pt x="2226348" y="4785635"/>
                  <a:pt x="2567590" y="4664048"/>
                </a:cubicBezTo>
                <a:cubicBezTo>
                  <a:pt x="2574263" y="4661673"/>
                  <a:pt x="2580935" y="4660723"/>
                  <a:pt x="2587339" y="4661020"/>
                </a:cubicBezTo>
                <a:close/>
                <a:moveTo>
                  <a:pt x="3149675" y="4651820"/>
                </a:moveTo>
                <a:cubicBezTo>
                  <a:pt x="3169412" y="4653251"/>
                  <a:pt x="3187273" y="4666485"/>
                  <a:pt x="3194414" y="4685085"/>
                </a:cubicBezTo>
                <a:cubicBezTo>
                  <a:pt x="3202035" y="4711792"/>
                  <a:pt x="3188702" y="4740407"/>
                  <a:pt x="3162027" y="4748038"/>
                </a:cubicBezTo>
                <a:cubicBezTo>
                  <a:pt x="3162027" y="4748038"/>
                  <a:pt x="3162027" y="4748038"/>
                  <a:pt x="2819126" y="4862498"/>
                </a:cubicBezTo>
                <a:cubicBezTo>
                  <a:pt x="2794360" y="4872037"/>
                  <a:pt x="2765783" y="4856775"/>
                  <a:pt x="2756258" y="4830068"/>
                </a:cubicBezTo>
                <a:cubicBezTo>
                  <a:pt x="2754353" y="4826253"/>
                  <a:pt x="2754353" y="4820530"/>
                  <a:pt x="2754353" y="4814807"/>
                </a:cubicBezTo>
                <a:cubicBezTo>
                  <a:pt x="2754353" y="4793822"/>
                  <a:pt x="2767688" y="4774745"/>
                  <a:pt x="2788646" y="4767115"/>
                </a:cubicBezTo>
                <a:cubicBezTo>
                  <a:pt x="2788646" y="4767115"/>
                  <a:pt x="2788646" y="4767115"/>
                  <a:pt x="3129644" y="4654562"/>
                </a:cubicBezTo>
                <a:cubicBezTo>
                  <a:pt x="3136311" y="4652178"/>
                  <a:pt x="3143098" y="4651343"/>
                  <a:pt x="3149675" y="4651820"/>
                </a:cubicBezTo>
                <a:close/>
                <a:moveTo>
                  <a:pt x="4011840" y="4445533"/>
                </a:moveTo>
                <a:lnTo>
                  <a:pt x="4011840" y="4548851"/>
                </a:lnTo>
                <a:lnTo>
                  <a:pt x="3957236" y="4569111"/>
                </a:lnTo>
                <a:cubicBezTo>
                  <a:pt x="3932522" y="4576762"/>
                  <a:pt x="3904008" y="4565285"/>
                  <a:pt x="3896404" y="4538506"/>
                </a:cubicBezTo>
                <a:cubicBezTo>
                  <a:pt x="3894504" y="4534680"/>
                  <a:pt x="3892602" y="4528941"/>
                  <a:pt x="3892602" y="4523203"/>
                </a:cubicBezTo>
                <a:cubicBezTo>
                  <a:pt x="3892602" y="4502162"/>
                  <a:pt x="3904008" y="4484947"/>
                  <a:pt x="3924918" y="4477296"/>
                </a:cubicBezTo>
                <a:cubicBezTo>
                  <a:pt x="3924918" y="4477296"/>
                  <a:pt x="3924918" y="4477296"/>
                  <a:pt x="4007986" y="4446942"/>
                </a:cubicBezTo>
                <a:close/>
                <a:moveTo>
                  <a:pt x="398944" y="4379613"/>
                </a:moveTo>
                <a:cubicBezTo>
                  <a:pt x="408946" y="4382955"/>
                  <a:pt x="417518" y="4390116"/>
                  <a:pt x="422281" y="4400620"/>
                </a:cubicBezTo>
                <a:cubicBezTo>
                  <a:pt x="431806" y="4421628"/>
                  <a:pt x="422281" y="4446455"/>
                  <a:pt x="401326" y="4456004"/>
                </a:cubicBezTo>
                <a:cubicBezTo>
                  <a:pt x="401326" y="4456004"/>
                  <a:pt x="401326" y="4456004"/>
                  <a:pt x="62232" y="4616425"/>
                </a:cubicBezTo>
                <a:cubicBezTo>
                  <a:pt x="41276" y="4625974"/>
                  <a:pt x="16511" y="4616425"/>
                  <a:pt x="6986" y="4595417"/>
                </a:cubicBezTo>
                <a:cubicBezTo>
                  <a:pt x="5081" y="4589688"/>
                  <a:pt x="3176" y="4583959"/>
                  <a:pt x="3176" y="4578229"/>
                </a:cubicBezTo>
                <a:cubicBezTo>
                  <a:pt x="3176" y="4561041"/>
                  <a:pt x="12701" y="4547673"/>
                  <a:pt x="27941" y="4540034"/>
                </a:cubicBezTo>
                <a:cubicBezTo>
                  <a:pt x="27941" y="4540034"/>
                  <a:pt x="27941" y="4540034"/>
                  <a:pt x="367035" y="4381523"/>
                </a:cubicBezTo>
                <a:cubicBezTo>
                  <a:pt x="377513" y="4376748"/>
                  <a:pt x="388943" y="4376271"/>
                  <a:pt x="398944" y="4379613"/>
                </a:cubicBezTo>
                <a:close/>
                <a:moveTo>
                  <a:pt x="943805" y="4371271"/>
                </a:moveTo>
                <a:cubicBezTo>
                  <a:pt x="954537" y="4375324"/>
                  <a:pt x="963599" y="4383431"/>
                  <a:pt x="968368" y="4394876"/>
                </a:cubicBezTo>
                <a:cubicBezTo>
                  <a:pt x="977908" y="4415858"/>
                  <a:pt x="966461" y="4442562"/>
                  <a:pt x="945475" y="4452100"/>
                </a:cubicBezTo>
                <a:cubicBezTo>
                  <a:pt x="945475" y="4452100"/>
                  <a:pt x="945475" y="4452100"/>
                  <a:pt x="603977" y="4598974"/>
                </a:cubicBezTo>
                <a:cubicBezTo>
                  <a:pt x="581084" y="4608512"/>
                  <a:pt x="556282" y="4598974"/>
                  <a:pt x="546743" y="4576085"/>
                </a:cubicBezTo>
                <a:cubicBezTo>
                  <a:pt x="544835" y="4570362"/>
                  <a:pt x="542927" y="4564640"/>
                  <a:pt x="542927" y="4558918"/>
                </a:cubicBezTo>
                <a:cubicBezTo>
                  <a:pt x="542927" y="4541750"/>
                  <a:pt x="552466" y="4526491"/>
                  <a:pt x="569637" y="4518861"/>
                </a:cubicBezTo>
                <a:cubicBezTo>
                  <a:pt x="569637" y="4518861"/>
                  <a:pt x="569637" y="4518861"/>
                  <a:pt x="909226" y="4371986"/>
                </a:cubicBezTo>
                <a:cubicBezTo>
                  <a:pt x="920673" y="4367218"/>
                  <a:pt x="933074" y="4367218"/>
                  <a:pt x="943805" y="4371271"/>
                </a:cubicBezTo>
                <a:close/>
                <a:moveTo>
                  <a:pt x="1477208" y="4359077"/>
                </a:moveTo>
                <a:cubicBezTo>
                  <a:pt x="1495514" y="4359345"/>
                  <a:pt x="1511945" y="4370046"/>
                  <a:pt x="1517660" y="4387168"/>
                </a:cubicBezTo>
                <a:cubicBezTo>
                  <a:pt x="1527185" y="4411901"/>
                  <a:pt x="1515755" y="4438536"/>
                  <a:pt x="1492894" y="4448048"/>
                </a:cubicBezTo>
                <a:cubicBezTo>
                  <a:pt x="1492894" y="4448048"/>
                  <a:pt x="1492894" y="4448048"/>
                  <a:pt x="1151895" y="4583124"/>
                </a:cubicBezTo>
                <a:cubicBezTo>
                  <a:pt x="1129035" y="4592637"/>
                  <a:pt x="1102365" y="4581222"/>
                  <a:pt x="1092840" y="4556490"/>
                </a:cubicBezTo>
                <a:cubicBezTo>
                  <a:pt x="1090934" y="4550782"/>
                  <a:pt x="1089029" y="4545075"/>
                  <a:pt x="1089029" y="4539367"/>
                </a:cubicBezTo>
                <a:cubicBezTo>
                  <a:pt x="1089029" y="4522245"/>
                  <a:pt x="1100460" y="4505122"/>
                  <a:pt x="1117605" y="4497513"/>
                </a:cubicBezTo>
                <a:cubicBezTo>
                  <a:pt x="1117605" y="4497513"/>
                  <a:pt x="1117605" y="4497513"/>
                  <a:pt x="1458604" y="4362436"/>
                </a:cubicBezTo>
                <a:cubicBezTo>
                  <a:pt x="1464795" y="4360058"/>
                  <a:pt x="1471106" y="4358988"/>
                  <a:pt x="1477208" y="4359077"/>
                </a:cubicBezTo>
                <a:close/>
                <a:moveTo>
                  <a:pt x="2029782" y="4349914"/>
                </a:moveTo>
                <a:cubicBezTo>
                  <a:pt x="2048677" y="4350811"/>
                  <a:pt x="2066499" y="4363005"/>
                  <a:pt x="2073629" y="4381655"/>
                </a:cubicBezTo>
                <a:cubicBezTo>
                  <a:pt x="2081232" y="4406522"/>
                  <a:pt x="2069826" y="4435214"/>
                  <a:pt x="2045109" y="4442865"/>
                </a:cubicBezTo>
                <a:cubicBezTo>
                  <a:pt x="2045109" y="4442865"/>
                  <a:pt x="2045109" y="4442865"/>
                  <a:pt x="1702940" y="4569111"/>
                </a:cubicBezTo>
                <a:cubicBezTo>
                  <a:pt x="1678228" y="4576762"/>
                  <a:pt x="1651615" y="4565285"/>
                  <a:pt x="1642110" y="4538506"/>
                </a:cubicBezTo>
                <a:cubicBezTo>
                  <a:pt x="1640209" y="4534680"/>
                  <a:pt x="1638308" y="4528941"/>
                  <a:pt x="1638308" y="4523203"/>
                </a:cubicBezTo>
                <a:cubicBezTo>
                  <a:pt x="1638308" y="4502162"/>
                  <a:pt x="1651615" y="4484947"/>
                  <a:pt x="1670624" y="4477296"/>
                </a:cubicBezTo>
                <a:cubicBezTo>
                  <a:pt x="1670624" y="4477296"/>
                  <a:pt x="1670624" y="4477296"/>
                  <a:pt x="2010892" y="4352963"/>
                </a:cubicBezTo>
                <a:cubicBezTo>
                  <a:pt x="2017070" y="4350572"/>
                  <a:pt x="2023486" y="4349615"/>
                  <a:pt x="2029782" y="4349914"/>
                </a:cubicBezTo>
                <a:close/>
                <a:moveTo>
                  <a:pt x="3722768" y="4341193"/>
                </a:moveTo>
                <a:cubicBezTo>
                  <a:pt x="3742404" y="4342984"/>
                  <a:pt x="3759894" y="4355521"/>
                  <a:pt x="3765602" y="4375580"/>
                </a:cubicBezTo>
                <a:cubicBezTo>
                  <a:pt x="3775124" y="4402325"/>
                  <a:pt x="3759894" y="4430981"/>
                  <a:pt x="3733240" y="4438622"/>
                </a:cubicBezTo>
                <a:cubicBezTo>
                  <a:pt x="3733240" y="4438622"/>
                  <a:pt x="3733240" y="4438622"/>
                  <a:pt x="3392498" y="4551335"/>
                </a:cubicBezTo>
                <a:cubicBezTo>
                  <a:pt x="3365843" y="4560887"/>
                  <a:pt x="3337287" y="4545604"/>
                  <a:pt x="3329674" y="4518858"/>
                </a:cubicBezTo>
                <a:cubicBezTo>
                  <a:pt x="3327768" y="4515038"/>
                  <a:pt x="3325864" y="4509306"/>
                  <a:pt x="3325864" y="4503575"/>
                </a:cubicBezTo>
                <a:cubicBezTo>
                  <a:pt x="3325864" y="4482561"/>
                  <a:pt x="3339192" y="4463457"/>
                  <a:pt x="3360130" y="4455816"/>
                </a:cubicBezTo>
                <a:cubicBezTo>
                  <a:pt x="3360130" y="4455816"/>
                  <a:pt x="3360130" y="4455816"/>
                  <a:pt x="3702782" y="4343103"/>
                </a:cubicBezTo>
                <a:cubicBezTo>
                  <a:pt x="3709444" y="4341193"/>
                  <a:pt x="3716226" y="4340596"/>
                  <a:pt x="3722768" y="4341193"/>
                </a:cubicBezTo>
                <a:close/>
                <a:moveTo>
                  <a:pt x="2589270" y="4341193"/>
                </a:moveTo>
                <a:cubicBezTo>
                  <a:pt x="2608901" y="4342984"/>
                  <a:pt x="2626391" y="4355521"/>
                  <a:pt x="2632103" y="4375580"/>
                </a:cubicBezTo>
                <a:cubicBezTo>
                  <a:pt x="2641621" y="4402325"/>
                  <a:pt x="2626391" y="4430981"/>
                  <a:pt x="2599739" y="4438622"/>
                </a:cubicBezTo>
                <a:cubicBezTo>
                  <a:pt x="2599739" y="4438622"/>
                  <a:pt x="2599739" y="4438622"/>
                  <a:pt x="2258981" y="4551335"/>
                </a:cubicBezTo>
                <a:cubicBezTo>
                  <a:pt x="2232330" y="4560887"/>
                  <a:pt x="2203775" y="4545604"/>
                  <a:pt x="2196160" y="4518858"/>
                </a:cubicBezTo>
                <a:cubicBezTo>
                  <a:pt x="2194257" y="4515038"/>
                  <a:pt x="2192353" y="4509306"/>
                  <a:pt x="2192353" y="4503575"/>
                </a:cubicBezTo>
                <a:cubicBezTo>
                  <a:pt x="2192353" y="4482561"/>
                  <a:pt x="2205679" y="4463457"/>
                  <a:pt x="2226618" y="4455816"/>
                </a:cubicBezTo>
                <a:cubicBezTo>
                  <a:pt x="2226618" y="4455816"/>
                  <a:pt x="2226618" y="4455816"/>
                  <a:pt x="2569281" y="4343103"/>
                </a:cubicBezTo>
                <a:cubicBezTo>
                  <a:pt x="2575943" y="4341193"/>
                  <a:pt x="2582725" y="4340596"/>
                  <a:pt x="2589270" y="4341193"/>
                </a:cubicBezTo>
                <a:close/>
                <a:moveTo>
                  <a:pt x="3152169" y="4331988"/>
                </a:moveTo>
                <a:cubicBezTo>
                  <a:pt x="3172559" y="4334403"/>
                  <a:pt x="3190013" y="4348353"/>
                  <a:pt x="3195709" y="4369816"/>
                </a:cubicBezTo>
                <a:cubicBezTo>
                  <a:pt x="3205209" y="4396525"/>
                  <a:pt x="3188113" y="4427050"/>
                  <a:pt x="3161515" y="4434681"/>
                </a:cubicBezTo>
                <a:cubicBezTo>
                  <a:pt x="3161515" y="4434681"/>
                  <a:pt x="3161515" y="4434681"/>
                  <a:pt x="2819566" y="4535794"/>
                </a:cubicBezTo>
                <a:cubicBezTo>
                  <a:pt x="2791073" y="4543425"/>
                  <a:pt x="2762578" y="4528162"/>
                  <a:pt x="2753078" y="4499546"/>
                </a:cubicBezTo>
                <a:cubicBezTo>
                  <a:pt x="2753078" y="4495730"/>
                  <a:pt x="2751179" y="4490007"/>
                  <a:pt x="2751179" y="4486191"/>
                </a:cubicBezTo>
                <a:cubicBezTo>
                  <a:pt x="2751179" y="4463298"/>
                  <a:pt x="2766377" y="4442312"/>
                  <a:pt x="2789170" y="4434681"/>
                </a:cubicBezTo>
                <a:cubicBezTo>
                  <a:pt x="2789170" y="4434681"/>
                  <a:pt x="2789170" y="4434681"/>
                  <a:pt x="3131122" y="4333568"/>
                </a:cubicBezTo>
                <a:cubicBezTo>
                  <a:pt x="3138245" y="4331660"/>
                  <a:pt x="3145370" y="4331183"/>
                  <a:pt x="3152169" y="4331988"/>
                </a:cubicBezTo>
                <a:close/>
                <a:moveTo>
                  <a:pt x="4011840" y="4120157"/>
                </a:moveTo>
                <a:lnTo>
                  <a:pt x="4011840" y="4224539"/>
                </a:lnTo>
                <a:lnTo>
                  <a:pt x="3956340" y="4243386"/>
                </a:lnTo>
                <a:cubicBezTo>
                  <a:pt x="3929572" y="4252911"/>
                  <a:pt x="3900896" y="4237671"/>
                  <a:pt x="3893252" y="4212906"/>
                </a:cubicBezTo>
                <a:cubicBezTo>
                  <a:pt x="3891336" y="4207191"/>
                  <a:pt x="3889424" y="4201476"/>
                  <a:pt x="3889424" y="4195761"/>
                </a:cubicBezTo>
                <a:cubicBezTo>
                  <a:pt x="3889424" y="4174806"/>
                  <a:pt x="3902812" y="4155756"/>
                  <a:pt x="3923840" y="4150041"/>
                </a:cubicBezTo>
                <a:cubicBezTo>
                  <a:pt x="3923840" y="4150041"/>
                  <a:pt x="3923840" y="4150041"/>
                  <a:pt x="4007382" y="4121671"/>
                </a:cubicBezTo>
                <a:close/>
                <a:moveTo>
                  <a:pt x="383168" y="4054778"/>
                </a:moveTo>
                <a:cubicBezTo>
                  <a:pt x="399420" y="4053614"/>
                  <a:pt x="415137" y="4062925"/>
                  <a:pt x="422281" y="4078680"/>
                </a:cubicBezTo>
                <a:cubicBezTo>
                  <a:pt x="431806" y="4099688"/>
                  <a:pt x="424186" y="4124515"/>
                  <a:pt x="401325" y="4135973"/>
                </a:cubicBezTo>
                <a:cubicBezTo>
                  <a:pt x="401325" y="4135973"/>
                  <a:pt x="401325" y="4135973"/>
                  <a:pt x="62231" y="4292575"/>
                </a:cubicBezTo>
                <a:cubicBezTo>
                  <a:pt x="41276" y="4302124"/>
                  <a:pt x="16511" y="4292575"/>
                  <a:pt x="6986" y="4271567"/>
                </a:cubicBezTo>
                <a:cubicBezTo>
                  <a:pt x="5081" y="4265838"/>
                  <a:pt x="3176" y="4260109"/>
                  <a:pt x="3176" y="4254379"/>
                </a:cubicBezTo>
                <a:cubicBezTo>
                  <a:pt x="3176" y="4239101"/>
                  <a:pt x="12701" y="4223823"/>
                  <a:pt x="27941" y="4216184"/>
                </a:cubicBezTo>
                <a:cubicBezTo>
                  <a:pt x="27941" y="4216184"/>
                  <a:pt x="27941" y="4216184"/>
                  <a:pt x="367035" y="4059583"/>
                </a:cubicBezTo>
                <a:cubicBezTo>
                  <a:pt x="372274" y="4056718"/>
                  <a:pt x="377751" y="4055166"/>
                  <a:pt x="383168" y="4054778"/>
                </a:cubicBezTo>
                <a:close/>
                <a:moveTo>
                  <a:pt x="926784" y="4046333"/>
                </a:moveTo>
                <a:cubicBezTo>
                  <a:pt x="944402" y="4046513"/>
                  <a:pt x="961214" y="4056898"/>
                  <a:pt x="968368" y="4072655"/>
                </a:cubicBezTo>
                <a:cubicBezTo>
                  <a:pt x="977907" y="4095575"/>
                  <a:pt x="966460" y="4122314"/>
                  <a:pt x="945475" y="4131864"/>
                </a:cubicBezTo>
                <a:cubicBezTo>
                  <a:pt x="945475" y="4131864"/>
                  <a:pt x="945475" y="4131864"/>
                  <a:pt x="603977" y="4275111"/>
                </a:cubicBezTo>
                <a:cubicBezTo>
                  <a:pt x="581083" y="4284661"/>
                  <a:pt x="554374" y="4275111"/>
                  <a:pt x="544835" y="4252191"/>
                </a:cubicBezTo>
                <a:cubicBezTo>
                  <a:pt x="542927" y="4246462"/>
                  <a:pt x="542927" y="4240732"/>
                  <a:pt x="542927" y="4235002"/>
                </a:cubicBezTo>
                <a:cubicBezTo>
                  <a:pt x="542927" y="4217812"/>
                  <a:pt x="552466" y="4200622"/>
                  <a:pt x="569637" y="4192983"/>
                </a:cubicBezTo>
                <a:cubicBezTo>
                  <a:pt x="569637" y="4192983"/>
                  <a:pt x="569637" y="4192983"/>
                  <a:pt x="909226" y="4049736"/>
                </a:cubicBezTo>
                <a:cubicBezTo>
                  <a:pt x="914950" y="4047348"/>
                  <a:pt x="920912" y="4046274"/>
                  <a:pt x="926784" y="4046333"/>
                </a:cubicBezTo>
                <a:close/>
                <a:moveTo>
                  <a:pt x="1458388" y="4041415"/>
                </a:moveTo>
                <a:cubicBezTo>
                  <a:pt x="1483118" y="4033836"/>
                  <a:pt x="1509750" y="4045204"/>
                  <a:pt x="1519261" y="4069836"/>
                </a:cubicBezTo>
                <a:cubicBezTo>
                  <a:pt x="1528773" y="4092573"/>
                  <a:pt x="1517359" y="4120995"/>
                  <a:pt x="1492629" y="4130469"/>
                </a:cubicBezTo>
                <a:cubicBezTo>
                  <a:pt x="1492629" y="4130469"/>
                  <a:pt x="1492629" y="4130469"/>
                  <a:pt x="1152120" y="4259312"/>
                </a:cubicBezTo>
                <a:cubicBezTo>
                  <a:pt x="1127390" y="4268786"/>
                  <a:pt x="1100758" y="4255522"/>
                  <a:pt x="1091247" y="4230891"/>
                </a:cubicBezTo>
                <a:cubicBezTo>
                  <a:pt x="1089345" y="4225206"/>
                  <a:pt x="1087442" y="4219522"/>
                  <a:pt x="1087442" y="4215733"/>
                </a:cubicBezTo>
                <a:cubicBezTo>
                  <a:pt x="1087442" y="4196785"/>
                  <a:pt x="1098856" y="4177837"/>
                  <a:pt x="1117879" y="4170258"/>
                </a:cubicBezTo>
                <a:cubicBezTo>
                  <a:pt x="1117879" y="4170258"/>
                  <a:pt x="1117879" y="4170258"/>
                  <a:pt x="1458388" y="4041415"/>
                </a:cubicBezTo>
                <a:close/>
                <a:moveTo>
                  <a:pt x="2031406" y="4031097"/>
                </a:moveTo>
                <a:cubicBezTo>
                  <a:pt x="2050288" y="4032526"/>
                  <a:pt x="2068096" y="4045742"/>
                  <a:pt x="2075219" y="4064316"/>
                </a:cubicBezTo>
                <a:cubicBezTo>
                  <a:pt x="2082819" y="4090986"/>
                  <a:pt x="2069521" y="4119561"/>
                  <a:pt x="2042922" y="4127181"/>
                </a:cubicBezTo>
                <a:cubicBezTo>
                  <a:pt x="2042922" y="4127181"/>
                  <a:pt x="2042922" y="4127181"/>
                  <a:pt x="1702894" y="4243386"/>
                </a:cubicBezTo>
                <a:cubicBezTo>
                  <a:pt x="1676300" y="4252911"/>
                  <a:pt x="1649705" y="4237671"/>
                  <a:pt x="1640208" y="4212906"/>
                </a:cubicBezTo>
                <a:cubicBezTo>
                  <a:pt x="1638308" y="4207191"/>
                  <a:pt x="1638308" y="4201476"/>
                  <a:pt x="1638308" y="4195761"/>
                </a:cubicBezTo>
                <a:cubicBezTo>
                  <a:pt x="1638308" y="4174806"/>
                  <a:pt x="1649705" y="4155756"/>
                  <a:pt x="1670601" y="4150041"/>
                </a:cubicBezTo>
                <a:cubicBezTo>
                  <a:pt x="1670601" y="4150041"/>
                  <a:pt x="1670601" y="4150041"/>
                  <a:pt x="2012528" y="4033836"/>
                </a:cubicBezTo>
                <a:cubicBezTo>
                  <a:pt x="2018702" y="4031455"/>
                  <a:pt x="2025113" y="4030621"/>
                  <a:pt x="2031406" y="4031097"/>
                </a:cubicBezTo>
                <a:close/>
                <a:moveTo>
                  <a:pt x="3725864" y="4022416"/>
                </a:moveTo>
                <a:cubicBezTo>
                  <a:pt x="3745628" y="4024827"/>
                  <a:pt x="3763516" y="4038758"/>
                  <a:pt x="3770668" y="4060189"/>
                </a:cubicBezTo>
                <a:cubicBezTo>
                  <a:pt x="3778300" y="4086859"/>
                  <a:pt x="3763036" y="4115434"/>
                  <a:pt x="3734420" y="4124959"/>
                </a:cubicBezTo>
                <a:cubicBezTo>
                  <a:pt x="3734420" y="4124959"/>
                  <a:pt x="3734420" y="4124959"/>
                  <a:pt x="3391048" y="4225924"/>
                </a:cubicBezTo>
                <a:cubicBezTo>
                  <a:pt x="3364339" y="4235449"/>
                  <a:pt x="3335725" y="4218304"/>
                  <a:pt x="3326184" y="4191634"/>
                </a:cubicBezTo>
                <a:cubicBezTo>
                  <a:pt x="3326184" y="4185919"/>
                  <a:pt x="3324277" y="4182109"/>
                  <a:pt x="3324277" y="4176394"/>
                </a:cubicBezTo>
                <a:cubicBezTo>
                  <a:pt x="3324277" y="4153534"/>
                  <a:pt x="3339540" y="4132579"/>
                  <a:pt x="3362432" y="4126864"/>
                </a:cubicBezTo>
                <a:cubicBezTo>
                  <a:pt x="3362432" y="4126864"/>
                  <a:pt x="3362432" y="4126864"/>
                  <a:pt x="3705804" y="4023994"/>
                </a:cubicBezTo>
                <a:cubicBezTo>
                  <a:pt x="3712480" y="4022089"/>
                  <a:pt x="3719276" y="4021613"/>
                  <a:pt x="3725864" y="4022416"/>
                </a:cubicBezTo>
                <a:close/>
                <a:moveTo>
                  <a:pt x="2590959" y="4022416"/>
                </a:moveTo>
                <a:cubicBezTo>
                  <a:pt x="2610652" y="4024827"/>
                  <a:pt x="2628475" y="4038758"/>
                  <a:pt x="2635603" y="4060189"/>
                </a:cubicBezTo>
                <a:cubicBezTo>
                  <a:pt x="2643208" y="4086859"/>
                  <a:pt x="2627999" y="4115434"/>
                  <a:pt x="2599484" y="4124959"/>
                </a:cubicBezTo>
                <a:cubicBezTo>
                  <a:pt x="2599484" y="4124959"/>
                  <a:pt x="2599484" y="4124959"/>
                  <a:pt x="2257300" y="4225924"/>
                </a:cubicBezTo>
                <a:cubicBezTo>
                  <a:pt x="2230686" y="4235449"/>
                  <a:pt x="2202171" y="4218304"/>
                  <a:pt x="2192666" y="4191634"/>
                </a:cubicBezTo>
                <a:cubicBezTo>
                  <a:pt x="2190765" y="4185919"/>
                  <a:pt x="2190765" y="4182109"/>
                  <a:pt x="2190765" y="4176394"/>
                </a:cubicBezTo>
                <a:cubicBezTo>
                  <a:pt x="2190765" y="4153534"/>
                  <a:pt x="2205972" y="4132579"/>
                  <a:pt x="2228785" y="4126864"/>
                </a:cubicBezTo>
                <a:cubicBezTo>
                  <a:pt x="2228785" y="4126864"/>
                  <a:pt x="2228785" y="4126864"/>
                  <a:pt x="2570968" y="4023994"/>
                </a:cubicBezTo>
                <a:cubicBezTo>
                  <a:pt x="2577622" y="4022089"/>
                  <a:pt x="2584395" y="4021613"/>
                  <a:pt x="2590959" y="4022416"/>
                </a:cubicBezTo>
                <a:close/>
                <a:moveTo>
                  <a:pt x="3155344" y="4014776"/>
                </a:moveTo>
                <a:cubicBezTo>
                  <a:pt x="3176388" y="4017723"/>
                  <a:pt x="3195015" y="4032725"/>
                  <a:pt x="3200742" y="4054156"/>
                </a:cubicBezTo>
                <a:cubicBezTo>
                  <a:pt x="3208384" y="4084636"/>
                  <a:pt x="3189282" y="4113211"/>
                  <a:pt x="3160626" y="4120831"/>
                </a:cubicBezTo>
                <a:cubicBezTo>
                  <a:pt x="3160626" y="4120831"/>
                  <a:pt x="3160626" y="4120831"/>
                  <a:pt x="2816772" y="4210366"/>
                </a:cubicBezTo>
                <a:cubicBezTo>
                  <a:pt x="2786207" y="4217986"/>
                  <a:pt x="2757555" y="4198936"/>
                  <a:pt x="2749914" y="4170361"/>
                </a:cubicBezTo>
                <a:cubicBezTo>
                  <a:pt x="2748002" y="4166551"/>
                  <a:pt x="2748002" y="4160836"/>
                  <a:pt x="2748002" y="4157026"/>
                </a:cubicBezTo>
                <a:cubicBezTo>
                  <a:pt x="2748002" y="4132261"/>
                  <a:pt x="2765195" y="4109401"/>
                  <a:pt x="2788116" y="4103686"/>
                </a:cubicBezTo>
                <a:cubicBezTo>
                  <a:pt x="2788116" y="4103686"/>
                  <a:pt x="2788116" y="4103686"/>
                  <a:pt x="3133885" y="4016056"/>
                </a:cubicBezTo>
                <a:cubicBezTo>
                  <a:pt x="3141047" y="4014151"/>
                  <a:pt x="3148330" y="4013794"/>
                  <a:pt x="3155344" y="4014776"/>
                </a:cubicBezTo>
                <a:close/>
                <a:moveTo>
                  <a:pt x="4011840" y="3792351"/>
                </a:moveTo>
                <a:lnTo>
                  <a:pt x="4011840" y="3898685"/>
                </a:lnTo>
                <a:lnTo>
                  <a:pt x="3954656" y="3916388"/>
                </a:lnTo>
                <a:cubicBezTo>
                  <a:pt x="3927928" y="3925886"/>
                  <a:pt x="3899294" y="3910689"/>
                  <a:pt x="3891656" y="3884095"/>
                </a:cubicBezTo>
                <a:cubicBezTo>
                  <a:pt x="3889748" y="3878397"/>
                  <a:pt x="3887840" y="3874597"/>
                  <a:pt x="3887840" y="3868899"/>
                </a:cubicBezTo>
                <a:cubicBezTo>
                  <a:pt x="3887840" y="3846104"/>
                  <a:pt x="3903112" y="3827108"/>
                  <a:pt x="3924112" y="3819510"/>
                </a:cubicBezTo>
                <a:cubicBezTo>
                  <a:pt x="3924112" y="3819510"/>
                  <a:pt x="3924112" y="3819510"/>
                  <a:pt x="4008000" y="3793539"/>
                </a:cubicBezTo>
                <a:close/>
                <a:moveTo>
                  <a:pt x="398944" y="3734455"/>
                </a:moveTo>
                <a:cubicBezTo>
                  <a:pt x="408945" y="3738274"/>
                  <a:pt x="417518" y="3745914"/>
                  <a:pt x="422280" y="3756417"/>
                </a:cubicBezTo>
                <a:cubicBezTo>
                  <a:pt x="431805" y="3777425"/>
                  <a:pt x="424185" y="3804162"/>
                  <a:pt x="401325" y="3813710"/>
                </a:cubicBezTo>
                <a:cubicBezTo>
                  <a:pt x="401325" y="3813710"/>
                  <a:pt x="401325" y="3813710"/>
                  <a:pt x="62231" y="3970312"/>
                </a:cubicBezTo>
                <a:cubicBezTo>
                  <a:pt x="41276" y="3979861"/>
                  <a:pt x="16511" y="3970312"/>
                  <a:pt x="6985" y="3949304"/>
                </a:cubicBezTo>
                <a:cubicBezTo>
                  <a:pt x="5080" y="3943575"/>
                  <a:pt x="3175" y="3935936"/>
                  <a:pt x="3175" y="3930207"/>
                </a:cubicBezTo>
                <a:cubicBezTo>
                  <a:pt x="3175" y="3914929"/>
                  <a:pt x="12701" y="3899650"/>
                  <a:pt x="27941" y="3892011"/>
                </a:cubicBezTo>
                <a:cubicBezTo>
                  <a:pt x="27941" y="3892011"/>
                  <a:pt x="27941" y="3892011"/>
                  <a:pt x="367035" y="3735410"/>
                </a:cubicBezTo>
                <a:cubicBezTo>
                  <a:pt x="377512" y="3730635"/>
                  <a:pt x="388942" y="3730635"/>
                  <a:pt x="398944" y="3734455"/>
                </a:cubicBezTo>
                <a:close/>
                <a:moveTo>
                  <a:pt x="927625" y="3725656"/>
                </a:moveTo>
                <a:cubicBezTo>
                  <a:pt x="945497" y="3725923"/>
                  <a:pt x="961225" y="3736611"/>
                  <a:pt x="968374" y="3753711"/>
                </a:cubicBezTo>
                <a:cubicBezTo>
                  <a:pt x="977906" y="3776511"/>
                  <a:pt x="968374" y="3803111"/>
                  <a:pt x="945497" y="3812611"/>
                </a:cubicBezTo>
                <a:cubicBezTo>
                  <a:pt x="945497" y="3812611"/>
                  <a:pt x="945497" y="3812611"/>
                  <a:pt x="604250" y="3951311"/>
                </a:cubicBezTo>
                <a:cubicBezTo>
                  <a:pt x="581374" y="3960811"/>
                  <a:pt x="554684" y="3951311"/>
                  <a:pt x="545152" y="3928511"/>
                </a:cubicBezTo>
                <a:cubicBezTo>
                  <a:pt x="543246" y="3922811"/>
                  <a:pt x="541339" y="3917111"/>
                  <a:pt x="541339" y="3911411"/>
                </a:cubicBezTo>
                <a:cubicBezTo>
                  <a:pt x="541339" y="3892411"/>
                  <a:pt x="552778" y="3875311"/>
                  <a:pt x="569935" y="3869611"/>
                </a:cubicBezTo>
                <a:cubicBezTo>
                  <a:pt x="569935" y="3869611"/>
                  <a:pt x="569935" y="3869611"/>
                  <a:pt x="909276" y="3729011"/>
                </a:cubicBezTo>
                <a:cubicBezTo>
                  <a:pt x="915471" y="3726636"/>
                  <a:pt x="921667" y="3725567"/>
                  <a:pt x="927625" y="3725656"/>
                </a:cubicBezTo>
                <a:close/>
                <a:moveTo>
                  <a:pt x="1478619" y="3718044"/>
                </a:moveTo>
                <a:cubicBezTo>
                  <a:pt x="1496975" y="3718935"/>
                  <a:pt x="1513727" y="3731046"/>
                  <a:pt x="1520856" y="3749569"/>
                </a:cubicBezTo>
                <a:cubicBezTo>
                  <a:pt x="1530361" y="3774266"/>
                  <a:pt x="1517054" y="3802763"/>
                  <a:pt x="1492342" y="3810362"/>
                </a:cubicBezTo>
                <a:cubicBezTo>
                  <a:pt x="1492342" y="3810362"/>
                  <a:pt x="1492342" y="3810362"/>
                  <a:pt x="1152074" y="3933849"/>
                </a:cubicBezTo>
                <a:cubicBezTo>
                  <a:pt x="1127362" y="3943348"/>
                  <a:pt x="1098848" y="3930049"/>
                  <a:pt x="1089343" y="3905352"/>
                </a:cubicBezTo>
                <a:cubicBezTo>
                  <a:pt x="1087442" y="3901552"/>
                  <a:pt x="1087442" y="3895853"/>
                  <a:pt x="1087442" y="3890154"/>
                </a:cubicBezTo>
                <a:cubicBezTo>
                  <a:pt x="1087442" y="3869256"/>
                  <a:pt x="1098848" y="3852158"/>
                  <a:pt x="1117857" y="3844559"/>
                </a:cubicBezTo>
                <a:cubicBezTo>
                  <a:pt x="1117857" y="3844559"/>
                  <a:pt x="1117857" y="3844559"/>
                  <a:pt x="1460026" y="3721072"/>
                </a:cubicBezTo>
                <a:cubicBezTo>
                  <a:pt x="1466204" y="3718697"/>
                  <a:pt x="1472501" y="3717747"/>
                  <a:pt x="1478619" y="3718044"/>
                </a:cubicBezTo>
                <a:close/>
                <a:moveTo>
                  <a:pt x="2033482" y="3710433"/>
                </a:moveTo>
                <a:cubicBezTo>
                  <a:pt x="2053278" y="3711947"/>
                  <a:pt x="2071188" y="3725481"/>
                  <a:pt x="2078351" y="3745426"/>
                </a:cubicBezTo>
                <a:cubicBezTo>
                  <a:pt x="2085994" y="3772020"/>
                  <a:pt x="2070710" y="3800514"/>
                  <a:pt x="2043960" y="3810012"/>
                </a:cubicBezTo>
                <a:cubicBezTo>
                  <a:pt x="2043960" y="3810012"/>
                  <a:pt x="2043960" y="3810012"/>
                  <a:pt x="1701997" y="3916388"/>
                </a:cubicBezTo>
                <a:cubicBezTo>
                  <a:pt x="1673341" y="3925886"/>
                  <a:pt x="1644685" y="3910689"/>
                  <a:pt x="1637043" y="3884095"/>
                </a:cubicBezTo>
                <a:cubicBezTo>
                  <a:pt x="1635133" y="3878397"/>
                  <a:pt x="1635133" y="3874597"/>
                  <a:pt x="1635133" y="3868899"/>
                </a:cubicBezTo>
                <a:cubicBezTo>
                  <a:pt x="1635133" y="3846104"/>
                  <a:pt x="1648506" y="3827108"/>
                  <a:pt x="1669520" y="3819510"/>
                </a:cubicBezTo>
                <a:cubicBezTo>
                  <a:pt x="1669520" y="3819510"/>
                  <a:pt x="1669520" y="3819510"/>
                  <a:pt x="2013393" y="3713134"/>
                </a:cubicBezTo>
                <a:cubicBezTo>
                  <a:pt x="2020079" y="3710759"/>
                  <a:pt x="2026885" y="3709928"/>
                  <a:pt x="2033482" y="3710433"/>
                </a:cubicBezTo>
                <a:close/>
                <a:moveTo>
                  <a:pt x="3726988" y="3702861"/>
                </a:moveTo>
                <a:cubicBezTo>
                  <a:pt x="3747976" y="3705090"/>
                  <a:pt x="3766548" y="3720426"/>
                  <a:pt x="3772266" y="3743251"/>
                </a:cubicBezTo>
                <a:cubicBezTo>
                  <a:pt x="3779884" y="3771784"/>
                  <a:pt x="3762740" y="3800316"/>
                  <a:pt x="3734164" y="3807924"/>
                </a:cubicBezTo>
                <a:cubicBezTo>
                  <a:pt x="3734164" y="3807924"/>
                  <a:pt x="3734164" y="3807924"/>
                  <a:pt x="3391274" y="3899227"/>
                </a:cubicBezTo>
                <a:cubicBezTo>
                  <a:pt x="3360792" y="3906836"/>
                  <a:pt x="3332215" y="3889717"/>
                  <a:pt x="3324595" y="3861184"/>
                </a:cubicBezTo>
                <a:cubicBezTo>
                  <a:pt x="3322691" y="3857380"/>
                  <a:pt x="3322691" y="3851674"/>
                  <a:pt x="3322691" y="3847869"/>
                </a:cubicBezTo>
                <a:cubicBezTo>
                  <a:pt x="3322691" y="3823142"/>
                  <a:pt x="3337931" y="3802218"/>
                  <a:pt x="3362695" y="3796512"/>
                </a:cubicBezTo>
                <a:cubicBezTo>
                  <a:pt x="3362695" y="3796512"/>
                  <a:pt x="3362695" y="3796512"/>
                  <a:pt x="3705588" y="3705209"/>
                </a:cubicBezTo>
                <a:cubicBezTo>
                  <a:pt x="3712732" y="3702831"/>
                  <a:pt x="3719992" y="3702118"/>
                  <a:pt x="3726988" y="3702861"/>
                </a:cubicBezTo>
                <a:close/>
                <a:moveTo>
                  <a:pt x="2593304" y="3702861"/>
                </a:moveTo>
                <a:cubicBezTo>
                  <a:pt x="2614363" y="3705090"/>
                  <a:pt x="2633002" y="3720426"/>
                  <a:pt x="2638736" y="3743251"/>
                </a:cubicBezTo>
                <a:cubicBezTo>
                  <a:pt x="2646382" y="3771784"/>
                  <a:pt x="2629177" y="3800316"/>
                  <a:pt x="2600503" y="3807924"/>
                </a:cubicBezTo>
                <a:cubicBezTo>
                  <a:pt x="2600503" y="3807924"/>
                  <a:pt x="2600503" y="3807924"/>
                  <a:pt x="2256408" y="3899227"/>
                </a:cubicBezTo>
                <a:cubicBezTo>
                  <a:pt x="2225822" y="3906836"/>
                  <a:pt x="2197147" y="3889717"/>
                  <a:pt x="2189501" y="3861184"/>
                </a:cubicBezTo>
                <a:cubicBezTo>
                  <a:pt x="2187590" y="3857380"/>
                  <a:pt x="2187590" y="3851674"/>
                  <a:pt x="2187590" y="3847869"/>
                </a:cubicBezTo>
                <a:cubicBezTo>
                  <a:pt x="2187590" y="3823142"/>
                  <a:pt x="2202883" y="3802218"/>
                  <a:pt x="2227734" y="3796512"/>
                </a:cubicBezTo>
                <a:cubicBezTo>
                  <a:pt x="2227734" y="3796512"/>
                  <a:pt x="2227734" y="3796512"/>
                  <a:pt x="2571828" y="3705209"/>
                </a:cubicBezTo>
                <a:cubicBezTo>
                  <a:pt x="2578997" y="3702831"/>
                  <a:pt x="2586285" y="3702118"/>
                  <a:pt x="2593304" y="3702861"/>
                </a:cubicBezTo>
                <a:close/>
                <a:moveTo>
                  <a:pt x="3135575" y="3696651"/>
                </a:moveTo>
                <a:cubicBezTo>
                  <a:pt x="3166097" y="3690936"/>
                  <a:pt x="3196619" y="3709986"/>
                  <a:pt x="3202342" y="3740466"/>
                </a:cubicBezTo>
                <a:cubicBezTo>
                  <a:pt x="3209972" y="3770946"/>
                  <a:pt x="3190898" y="3801426"/>
                  <a:pt x="3160373" y="3809046"/>
                </a:cubicBezTo>
                <a:cubicBezTo>
                  <a:pt x="3160373" y="3809046"/>
                  <a:pt x="3160373" y="3809046"/>
                  <a:pt x="2815092" y="3883341"/>
                </a:cubicBezTo>
                <a:cubicBezTo>
                  <a:pt x="2784567" y="3890961"/>
                  <a:pt x="2754047" y="3871911"/>
                  <a:pt x="2746418" y="3841431"/>
                </a:cubicBezTo>
                <a:cubicBezTo>
                  <a:pt x="2746418" y="3835716"/>
                  <a:pt x="2746418" y="3831906"/>
                  <a:pt x="2746418" y="3828096"/>
                </a:cubicBezTo>
                <a:cubicBezTo>
                  <a:pt x="2746418" y="3801426"/>
                  <a:pt x="2763583" y="3778566"/>
                  <a:pt x="2790295" y="3772851"/>
                </a:cubicBezTo>
                <a:cubicBezTo>
                  <a:pt x="2790295" y="3772851"/>
                  <a:pt x="2790295" y="3772851"/>
                  <a:pt x="3135575" y="3696651"/>
                </a:cubicBezTo>
                <a:close/>
                <a:moveTo>
                  <a:pt x="4011840" y="3466417"/>
                </a:moveTo>
                <a:lnTo>
                  <a:pt x="4011840" y="3576032"/>
                </a:lnTo>
                <a:lnTo>
                  <a:pt x="3954880" y="3592817"/>
                </a:lnTo>
                <a:cubicBezTo>
                  <a:pt x="3926284" y="3600448"/>
                  <a:pt x="3897688" y="3585186"/>
                  <a:pt x="3888158" y="3556569"/>
                </a:cubicBezTo>
                <a:cubicBezTo>
                  <a:pt x="3888158" y="3552753"/>
                  <a:pt x="3886250" y="3547030"/>
                  <a:pt x="3886250" y="3541306"/>
                </a:cubicBezTo>
                <a:cubicBezTo>
                  <a:pt x="3886250" y="3518413"/>
                  <a:pt x="3901502" y="3497427"/>
                  <a:pt x="3924376" y="3491704"/>
                </a:cubicBezTo>
                <a:cubicBezTo>
                  <a:pt x="3924376" y="3491704"/>
                  <a:pt x="3924376" y="3491704"/>
                  <a:pt x="4008146" y="3467485"/>
                </a:cubicBezTo>
                <a:close/>
                <a:moveTo>
                  <a:pt x="398651" y="3413736"/>
                </a:moveTo>
                <a:cubicBezTo>
                  <a:pt x="408645" y="3417537"/>
                  <a:pt x="417211" y="3425137"/>
                  <a:pt x="421971" y="3435588"/>
                </a:cubicBezTo>
                <a:cubicBezTo>
                  <a:pt x="433392" y="3456490"/>
                  <a:pt x="423874" y="3483093"/>
                  <a:pt x="401031" y="3492594"/>
                </a:cubicBezTo>
                <a:cubicBezTo>
                  <a:pt x="401031" y="3492594"/>
                  <a:pt x="401031" y="3492594"/>
                  <a:pt x="62187" y="3646509"/>
                </a:cubicBezTo>
                <a:cubicBezTo>
                  <a:pt x="41248" y="3656010"/>
                  <a:pt x="16501" y="3646509"/>
                  <a:pt x="6983" y="3625607"/>
                </a:cubicBezTo>
                <a:cubicBezTo>
                  <a:pt x="3175" y="3619906"/>
                  <a:pt x="3175" y="3614206"/>
                  <a:pt x="3175" y="3608505"/>
                </a:cubicBezTo>
                <a:cubicBezTo>
                  <a:pt x="3175" y="3591403"/>
                  <a:pt x="12693" y="3576202"/>
                  <a:pt x="27922" y="3568601"/>
                </a:cubicBezTo>
                <a:cubicBezTo>
                  <a:pt x="27922" y="3568601"/>
                  <a:pt x="27922" y="3568601"/>
                  <a:pt x="366766" y="3414687"/>
                </a:cubicBezTo>
                <a:cubicBezTo>
                  <a:pt x="377236" y="3409937"/>
                  <a:pt x="388657" y="3409937"/>
                  <a:pt x="398651" y="3413736"/>
                </a:cubicBezTo>
                <a:close/>
                <a:moveTo>
                  <a:pt x="928445" y="3403423"/>
                </a:moveTo>
                <a:cubicBezTo>
                  <a:pt x="946037" y="3403779"/>
                  <a:pt x="962825" y="3414824"/>
                  <a:pt x="969969" y="3433348"/>
                </a:cubicBezTo>
                <a:cubicBezTo>
                  <a:pt x="979494" y="3456148"/>
                  <a:pt x="968064" y="3482748"/>
                  <a:pt x="945204" y="3492248"/>
                </a:cubicBezTo>
                <a:cubicBezTo>
                  <a:pt x="945204" y="3492248"/>
                  <a:pt x="945204" y="3492248"/>
                  <a:pt x="604205" y="3629048"/>
                </a:cubicBezTo>
                <a:cubicBezTo>
                  <a:pt x="579439" y="3638548"/>
                  <a:pt x="552769" y="3627148"/>
                  <a:pt x="543244" y="3602448"/>
                </a:cubicBezTo>
                <a:cubicBezTo>
                  <a:pt x="541339" y="3596748"/>
                  <a:pt x="541339" y="3591048"/>
                  <a:pt x="541339" y="3585348"/>
                </a:cubicBezTo>
                <a:cubicBezTo>
                  <a:pt x="541339" y="3568248"/>
                  <a:pt x="550864" y="3551148"/>
                  <a:pt x="569914" y="3543548"/>
                </a:cubicBezTo>
                <a:cubicBezTo>
                  <a:pt x="569914" y="3543548"/>
                  <a:pt x="569914" y="3543548"/>
                  <a:pt x="910913" y="3406748"/>
                </a:cubicBezTo>
                <a:cubicBezTo>
                  <a:pt x="916628" y="3404375"/>
                  <a:pt x="922581" y="3403304"/>
                  <a:pt x="928445" y="3403423"/>
                </a:cubicBezTo>
                <a:close/>
                <a:moveTo>
                  <a:pt x="1478769" y="3396584"/>
                </a:moveTo>
                <a:cubicBezTo>
                  <a:pt x="1497714" y="3398280"/>
                  <a:pt x="1515586" y="3410426"/>
                  <a:pt x="1522735" y="3428999"/>
                </a:cubicBezTo>
                <a:cubicBezTo>
                  <a:pt x="1530360" y="3455668"/>
                  <a:pt x="1517016" y="3484243"/>
                  <a:pt x="1492233" y="3491863"/>
                </a:cubicBezTo>
                <a:cubicBezTo>
                  <a:pt x="1492233" y="3491863"/>
                  <a:pt x="1492233" y="3491863"/>
                  <a:pt x="1149084" y="3609973"/>
                </a:cubicBezTo>
                <a:cubicBezTo>
                  <a:pt x="1124301" y="3619498"/>
                  <a:pt x="1095705" y="3606163"/>
                  <a:pt x="1088080" y="3579493"/>
                </a:cubicBezTo>
                <a:cubicBezTo>
                  <a:pt x="1086173" y="3575683"/>
                  <a:pt x="1084267" y="3569968"/>
                  <a:pt x="1084267" y="3564253"/>
                </a:cubicBezTo>
                <a:cubicBezTo>
                  <a:pt x="1084267" y="3543298"/>
                  <a:pt x="1097612" y="3524248"/>
                  <a:pt x="1116676" y="3518533"/>
                </a:cubicBezTo>
                <a:cubicBezTo>
                  <a:pt x="1116676" y="3518533"/>
                  <a:pt x="1116676" y="3518533"/>
                  <a:pt x="1459824" y="3398519"/>
                </a:cubicBezTo>
                <a:cubicBezTo>
                  <a:pt x="1466020" y="3396614"/>
                  <a:pt x="1472454" y="3396018"/>
                  <a:pt x="1478769" y="3396584"/>
                </a:cubicBezTo>
                <a:close/>
                <a:moveTo>
                  <a:pt x="2035412" y="3390086"/>
                </a:moveTo>
                <a:cubicBezTo>
                  <a:pt x="2055626" y="3392143"/>
                  <a:pt x="2074226" y="3406808"/>
                  <a:pt x="2079949" y="3426840"/>
                </a:cubicBezTo>
                <a:cubicBezTo>
                  <a:pt x="2087581" y="3455456"/>
                  <a:pt x="2072317" y="3484073"/>
                  <a:pt x="2043698" y="3491704"/>
                </a:cubicBezTo>
                <a:cubicBezTo>
                  <a:pt x="2043698" y="3491704"/>
                  <a:pt x="2043698" y="3491704"/>
                  <a:pt x="1700314" y="3592817"/>
                </a:cubicBezTo>
                <a:cubicBezTo>
                  <a:pt x="1671698" y="3600448"/>
                  <a:pt x="1643083" y="3585186"/>
                  <a:pt x="1635452" y="3556569"/>
                </a:cubicBezTo>
                <a:cubicBezTo>
                  <a:pt x="1633545" y="3552753"/>
                  <a:pt x="1633545" y="3547030"/>
                  <a:pt x="1633545" y="3541306"/>
                </a:cubicBezTo>
                <a:cubicBezTo>
                  <a:pt x="1633545" y="3518413"/>
                  <a:pt x="1648806" y="3497427"/>
                  <a:pt x="1671698" y="3491704"/>
                </a:cubicBezTo>
                <a:cubicBezTo>
                  <a:pt x="1671698" y="3491704"/>
                  <a:pt x="1671698" y="3491704"/>
                  <a:pt x="2015083" y="3392501"/>
                </a:cubicBezTo>
                <a:cubicBezTo>
                  <a:pt x="2021760" y="3390117"/>
                  <a:pt x="2028675" y="3389400"/>
                  <a:pt x="2035412" y="3390086"/>
                </a:cubicBezTo>
                <a:close/>
                <a:moveTo>
                  <a:pt x="3729540" y="3384850"/>
                </a:moveTo>
                <a:cubicBezTo>
                  <a:pt x="3751288" y="3388411"/>
                  <a:pt x="3769540" y="3404789"/>
                  <a:pt x="3773836" y="3427575"/>
                </a:cubicBezTo>
                <a:cubicBezTo>
                  <a:pt x="3781474" y="3456060"/>
                  <a:pt x="3762384" y="3486445"/>
                  <a:pt x="3733748" y="3494041"/>
                </a:cubicBezTo>
                <a:cubicBezTo>
                  <a:pt x="3733748" y="3494041"/>
                  <a:pt x="3733748" y="3494041"/>
                  <a:pt x="3388242" y="3575701"/>
                </a:cubicBezTo>
                <a:cubicBezTo>
                  <a:pt x="3357694" y="3581398"/>
                  <a:pt x="3327150" y="3564306"/>
                  <a:pt x="3321424" y="3533921"/>
                </a:cubicBezTo>
                <a:cubicBezTo>
                  <a:pt x="3319515" y="3528224"/>
                  <a:pt x="3319515" y="3524426"/>
                  <a:pt x="3319515" y="3520628"/>
                </a:cubicBezTo>
                <a:cubicBezTo>
                  <a:pt x="3319515" y="3495940"/>
                  <a:pt x="3336696" y="3473151"/>
                  <a:pt x="3361512" y="3465555"/>
                </a:cubicBezTo>
                <a:cubicBezTo>
                  <a:pt x="3361512" y="3465555"/>
                  <a:pt x="3361512" y="3465555"/>
                  <a:pt x="3707020" y="3385799"/>
                </a:cubicBezTo>
                <a:cubicBezTo>
                  <a:pt x="3714656" y="3383903"/>
                  <a:pt x="3722292" y="3383661"/>
                  <a:pt x="3729540" y="3384850"/>
                </a:cubicBezTo>
                <a:close/>
                <a:moveTo>
                  <a:pt x="2596040" y="3384845"/>
                </a:moveTo>
                <a:cubicBezTo>
                  <a:pt x="2617785" y="3388406"/>
                  <a:pt x="2636040" y="3404787"/>
                  <a:pt x="2640334" y="3427574"/>
                </a:cubicBezTo>
                <a:cubicBezTo>
                  <a:pt x="2647970" y="3456060"/>
                  <a:pt x="2628881" y="3486445"/>
                  <a:pt x="2598338" y="3494041"/>
                </a:cubicBezTo>
                <a:cubicBezTo>
                  <a:pt x="2598338" y="3494041"/>
                  <a:pt x="2598338" y="3494041"/>
                  <a:pt x="2254725" y="3575701"/>
                </a:cubicBezTo>
                <a:cubicBezTo>
                  <a:pt x="2224181" y="3581398"/>
                  <a:pt x="2193638" y="3564306"/>
                  <a:pt x="2187911" y="3533921"/>
                </a:cubicBezTo>
                <a:cubicBezTo>
                  <a:pt x="2186002" y="3528224"/>
                  <a:pt x="2186002" y="3524426"/>
                  <a:pt x="2186002" y="3520628"/>
                </a:cubicBezTo>
                <a:cubicBezTo>
                  <a:pt x="2186002" y="3495940"/>
                  <a:pt x="2203183" y="3473151"/>
                  <a:pt x="2227999" y="3465555"/>
                </a:cubicBezTo>
                <a:cubicBezTo>
                  <a:pt x="2227999" y="3465555"/>
                  <a:pt x="2227999" y="3465555"/>
                  <a:pt x="2573520" y="3385794"/>
                </a:cubicBezTo>
                <a:cubicBezTo>
                  <a:pt x="2581156" y="3383896"/>
                  <a:pt x="2588792" y="3383659"/>
                  <a:pt x="2596040" y="3384845"/>
                </a:cubicBezTo>
                <a:close/>
                <a:moveTo>
                  <a:pt x="3137316" y="3377570"/>
                </a:moveTo>
                <a:cubicBezTo>
                  <a:pt x="3169680" y="3371857"/>
                  <a:pt x="3200139" y="3392806"/>
                  <a:pt x="3205849" y="3425189"/>
                </a:cubicBezTo>
                <a:cubicBezTo>
                  <a:pt x="3211557" y="3457573"/>
                  <a:pt x="3190620" y="3488053"/>
                  <a:pt x="3158257" y="3493768"/>
                </a:cubicBezTo>
                <a:cubicBezTo>
                  <a:pt x="3158257" y="3493768"/>
                  <a:pt x="3158257" y="3493768"/>
                  <a:pt x="2813680" y="3556633"/>
                </a:cubicBezTo>
                <a:cubicBezTo>
                  <a:pt x="2781314" y="3562348"/>
                  <a:pt x="2750856" y="3541393"/>
                  <a:pt x="2745145" y="3509008"/>
                </a:cubicBezTo>
                <a:cubicBezTo>
                  <a:pt x="2743240" y="3505198"/>
                  <a:pt x="2743240" y="3501388"/>
                  <a:pt x="2743240" y="3497578"/>
                </a:cubicBezTo>
                <a:cubicBezTo>
                  <a:pt x="2743240" y="3470908"/>
                  <a:pt x="2764181" y="3446143"/>
                  <a:pt x="2792741" y="3440428"/>
                </a:cubicBezTo>
                <a:cubicBezTo>
                  <a:pt x="2792741" y="3440428"/>
                  <a:pt x="2792741" y="3440428"/>
                  <a:pt x="3137316" y="3377570"/>
                </a:cubicBezTo>
                <a:close/>
                <a:moveTo>
                  <a:pt x="4011840" y="3141126"/>
                </a:moveTo>
                <a:lnTo>
                  <a:pt x="4011840" y="3251800"/>
                </a:lnTo>
                <a:lnTo>
                  <a:pt x="3953196" y="3267426"/>
                </a:lnTo>
                <a:cubicBezTo>
                  <a:pt x="3924642" y="3275036"/>
                  <a:pt x="3894184" y="3257916"/>
                  <a:pt x="3886568" y="3229382"/>
                </a:cubicBezTo>
                <a:cubicBezTo>
                  <a:pt x="3886568" y="3225578"/>
                  <a:pt x="3884664" y="3219872"/>
                  <a:pt x="3884664" y="3216071"/>
                </a:cubicBezTo>
                <a:cubicBezTo>
                  <a:pt x="3884664" y="3191341"/>
                  <a:pt x="3901798" y="3170420"/>
                  <a:pt x="3924642" y="3164714"/>
                </a:cubicBezTo>
                <a:cubicBezTo>
                  <a:pt x="3924642" y="3164714"/>
                  <a:pt x="3924642" y="3164714"/>
                  <a:pt x="4008762" y="3141959"/>
                </a:cubicBezTo>
                <a:close/>
                <a:moveTo>
                  <a:pt x="399603" y="3091489"/>
                </a:moveTo>
                <a:cubicBezTo>
                  <a:pt x="410073" y="3095288"/>
                  <a:pt x="419115" y="3102890"/>
                  <a:pt x="423874" y="3113341"/>
                </a:cubicBezTo>
                <a:cubicBezTo>
                  <a:pt x="433392" y="3134243"/>
                  <a:pt x="423874" y="3160845"/>
                  <a:pt x="401031" y="3170346"/>
                </a:cubicBezTo>
                <a:cubicBezTo>
                  <a:pt x="401031" y="3170346"/>
                  <a:pt x="401031" y="3170346"/>
                  <a:pt x="62187" y="3324257"/>
                </a:cubicBezTo>
                <a:cubicBezTo>
                  <a:pt x="41247" y="3333758"/>
                  <a:pt x="16500" y="3324257"/>
                  <a:pt x="6982" y="3301458"/>
                </a:cubicBezTo>
                <a:cubicBezTo>
                  <a:pt x="3175" y="3295756"/>
                  <a:pt x="3175" y="3290055"/>
                  <a:pt x="3175" y="3284355"/>
                </a:cubicBezTo>
                <a:cubicBezTo>
                  <a:pt x="3175" y="3269153"/>
                  <a:pt x="12693" y="3252053"/>
                  <a:pt x="27922" y="3246351"/>
                </a:cubicBezTo>
                <a:cubicBezTo>
                  <a:pt x="27922" y="3246351"/>
                  <a:pt x="27922" y="3246351"/>
                  <a:pt x="366766" y="3092440"/>
                </a:cubicBezTo>
                <a:cubicBezTo>
                  <a:pt x="377235" y="3087688"/>
                  <a:pt x="389133" y="3087688"/>
                  <a:pt x="399603" y="3091489"/>
                </a:cubicBezTo>
                <a:close/>
                <a:moveTo>
                  <a:pt x="910964" y="3084205"/>
                </a:moveTo>
                <a:cubicBezTo>
                  <a:pt x="933807" y="3076586"/>
                  <a:pt x="960458" y="3088016"/>
                  <a:pt x="969977" y="3110874"/>
                </a:cubicBezTo>
                <a:cubicBezTo>
                  <a:pt x="979495" y="3135641"/>
                  <a:pt x="968073" y="3162310"/>
                  <a:pt x="945229" y="3171835"/>
                </a:cubicBezTo>
                <a:cubicBezTo>
                  <a:pt x="945229" y="3171835"/>
                  <a:pt x="945229" y="3171835"/>
                  <a:pt x="604476" y="3305182"/>
                </a:cubicBezTo>
                <a:cubicBezTo>
                  <a:pt x="579728" y="3314707"/>
                  <a:pt x="553077" y="3301372"/>
                  <a:pt x="543559" y="3278513"/>
                </a:cubicBezTo>
                <a:cubicBezTo>
                  <a:pt x="541655" y="3272798"/>
                  <a:pt x="539752" y="3267083"/>
                  <a:pt x="539752" y="3261369"/>
                </a:cubicBezTo>
                <a:cubicBezTo>
                  <a:pt x="539752" y="3242317"/>
                  <a:pt x="551174" y="3225173"/>
                  <a:pt x="570210" y="3217554"/>
                </a:cubicBezTo>
                <a:cubicBezTo>
                  <a:pt x="570210" y="3217554"/>
                  <a:pt x="570210" y="3217554"/>
                  <a:pt x="910964" y="3084205"/>
                </a:cubicBezTo>
                <a:close/>
                <a:moveTo>
                  <a:pt x="1479596" y="3075472"/>
                </a:moveTo>
                <a:cubicBezTo>
                  <a:pt x="1499228" y="3076991"/>
                  <a:pt x="1516718" y="3090584"/>
                  <a:pt x="1522429" y="3110614"/>
                </a:cubicBezTo>
                <a:cubicBezTo>
                  <a:pt x="1531947" y="3137321"/>
                  <a:pt x="1516718" y="3165935"/>
                  <a:pt x="1491970" y="3173568"/>
                </a:cubicBezTo>
                <a:cubicBezTo>
                  <a:pt x="1491970" y="3173568"/>
                  <a:pt x="1491970" y="3173568"/>
                  <a:pt x="1149308" y="3286117"/>
                </a:cubicBezTo>
                <a:cubicBezTo>
                  <a:pt x="1122656" y="3295656"/>
                  <a:pt x="1094101" y="3280396"/>
                  <a:pt x="1086486" y="3253688"/>
                </a:cubicBezTo>
                <a:cubicBezTo>
                  <a:pt x="1084582" y="3249872"/>
                  <a:pt x="1082679" y="3244148"/>
                  <a:pt x="1082679" y="3238426"/>
                </a:cubicBezTo>
                <a:cubicBezTo>
                  <a:pt x="1082679" y="3217441"/>
                  <a:pt x="1097908" y="3198366"/>
                  <a:pt x="1118849" y="3190736"/>
                </a:cubicBezTo>
                <a:cubicBezTo>
                  <a:pt x="1118849" y="3190736"/>
                  <a:pt x="1118849" y="3190736"/>
                  <a:pt x="1459607" y="3078184"/>
                </a:cubicBezTo>
                <a:cubicBezTo>
                  <a:pt x="1466270" y="3075800"/>
                  <a:pt x="1473052" y="3074965"/>
                  <a:pt x="1479596" y="3075472"/>
                </a:cubicBezTo>
                <a:close/>
                <a:moveTo>
                  <a:pt x="2036269" y="3070212"/>
                </a:moveTo>
                <a:cubicBezTo>
                  <a:pt x="2057258" y="3073154"/>
                  <a:pt x="2075832" y="3088134"/>
                  <a:pt x="2081548" y="3109532"/>
                </a:cubicBezTo>
                <a:cubicBezTo>
                  <a:pt x="2089168" y="3139966"/>
                  <a:pt x="2072023" y="3168499"/>
                  <a:pt x="2043443" y="3176106"/>
                </a:cubicBezTo>
                <a:cubicBezTo>
                  <a:pt x="2043443" y="3176106"/>
                  <a:pt x="2043443" y="3176106"/>
                  <a:pt x="1700538" y="3267409"/>
                </a:cubicBezTo>
                <a:cubicBezTo>
                  <a:pt x="1670058" y="3275018"/>
                  <a:pt x="1641482" y="3257898"/>
                  <a:pt x="1633862" y="3229366"/>
                </a:cubicBezTo>
                <a:cubicBezTo>
                  <a:pt x="1631957" y="3225562"/>
                  <a:pt x="1631957" y="3219855"/>
                  <a:pt x="1631957" y="3216051"/>
                </a:cubicBezTo>
                <a:cubicBezTo>
                  <a:pt x="1631957" y="3191325"/>
                  <a:pt x="1647198" y="3170401"/>
                  <a:pt x="1671963" y="3164695"/>
                </a:cubicBezTo>
                <a:cubicBezTo>
                  <a:pt x="1671963" y="3164695"/>
                  <a:pt x="1671963" y="3164695"/>
                  <a:pt x="2014867" y="3071490"/>
                </a:cubicBezTo>
                <a:cubicBezTo>
                  <a:pt x="2022011" y="3069588"/>
                  <a:pt x="2029274" y="3069230"/>
                  <a:pt x="2036269" y="3070212"/>
                </a:cubicBezTo>
                <a:close/>
                <a:moveTo>
                  <a:pt x="3731232" y="3064526"/>
                </a:moveTo>
                <a:cubicBezTo>
                  <a:pt x="3753036" y="3068642"/>
                  <a:pt x="3771624" y="3086171"/>
                  <a:pt x="3777344" y="3109067"/>
                </a:cubicBezTo>
                <a:cubicBezTo>
                  <a:pt x="3783062" y="3141504"/>
                  <a:pt x="3762092" y="3172032"/>
                  <a:pt x="3731588" y="3177757"/>
                </a:cubicBezTo>
                <a:cubicBezTo>
                  <a:pt x="3731588" y="3177757"/>
                  <a:pt x="3731588" y="3177757"/>
                  <a:pt x="3386557" y="3250258"/>
                </a:cubicBezTo>
                <a:cubicBezTo>
                  <a:pt x="3356055" y="3255985"/>
                  <a:pt x="3325554" y="3234992"/>
                  <a:pt x="3317928" y="3204467"/>
                </a:cubicBezTo>
                <a:cubicBezTo>
                  <a:pt x="3317928" y="3200651"/>
                  <a:pt x="3317928" y="3196834"/>
                  <a:pt x="3317928" y="3193018"/>
                </a:cubicBezTo>
                <a:cubicBezTo>
                  <a:pt x="3317928" y="3166307"/>
                  <a:pt x="3335085" y="3141504"/>
                  <a:pt x="3363681" y="3135781"/>
                </a:cubicBezTo>
                <a:cubicBezTo>
                  <a:pt x="3363681" y="3135781"/>
                  <a:pt x="3363681" y="3135781"/>
                  <a:pt x="3708712" y="3065182"/>
                </a:cubicBezTo>
                <a:cubicBezTo>
                  <a:pt x="3716336" y="3063275"/>
                  <a:pt x="3723964" y="3063157"/>
                  <a:pt x="3731232" y="3064526"/>
                </a:cubicBezTo>
                <a:close/>
                <a:moveTo>
                  <a:pt x="2597728" y="3064505"/>
                </a:moveTo>
                <a:cubicBezTo>
                  <a:pt x="2619532" y="3068620"/>
                  <a:pt x="2638119" y="3086150"/>
                  <a:pt x="2643838" y="3109046"/>
                </a:cubicBezTo>
                <a:cubicBezTo>
                  <a:pt x="2649557" y="3141483"/>
                  <a:pt x="2628587" y="3172011"/>
                  <a:pt x="2598086" y="3177737"/>
                </a:cubicBezTo>
                <a:cubicBezTo>
                  <a:pt x="2598086" y="3177737"/>
                  <a:pt x="2598086" y="3177737"/>
                  <a:pt x="2253042" y="3250241"/>
                </a:cubicBezTo>
                <a:cubicBezTo>
                  <a:pt x="2222541" y="3255966"/>
                  <a:pt x="2192040" y="3234975"/>
                  <a:pt x="2184414" y="3204449"/>
                </a:cubicBezTo>
                <a:cubicBezTo>
                  <a:pt x="2184414" y="3200633"/>
                  <a:pt x="2184414" y="3196817"/>
                  <a:pt x="2184414" y="3193000"/>
                </a:cubicBezTo>
                <a:cubicBezTo>
                  <a:pt x="2184414" y="3166289"/>
                  <a:pt x="2201571" y="3141483"/>
                  <a:pt x="2230166" y="3135760"/>
                </a:cubicBezTo>
                <a:cubicBezTo>
                  <a:pt x="2230166" y="3135760"/>
                  <a:pt x="2230166" y="3135760"/>
                  <a:pt x="2575210" y="3065161"/>
                </a:cubicBezTo>
                <a:cubicBezTo>
                  <a:pt x="2582837" y="3063252"/>
                  <a:pt x="2590461" y="3063132"/>
                  <a:pt x="2597728" y="3064505"/>
                </a:cubicBezTo>
                <a:close/>
                <a:moveTo>
                  <a:pt x="3139002" y="3058185"/>
                </a:moveTo>
                <a:cubicBezTo>
                  <a:pt x="3173224" y="3054375"/>
                  <a:pt x="3203641" y="3077235"/>
                  <a:pt x="3209344" y="3111524"/>
                </a:cubicBezTo>
                <a:cubicBezTo>
                  <a:pt x="3213145" y="3143909"/>
                  <a:pt x="3190332" y="3176294"/>
                  <a:pt x="3156112" y="3180105"/>
                </a:cubicBezTo>
                <a:cubicBezTo>
                  <a:pt x="3156112" y="3180105"/>
                  <a:pt x="3156112" y="3180105"/>
                  <a:pt x="2811996" y="3231532"/>
                </a:cubicBezTo>
                <a:cubicBezTo>
                  <a:pt x="2777776" y="3235344"/>
                  <a:pt x="2747356" y="3212490"/>
                  <a:pt x="2741653" y="3180105"/>
                </a:cubicBezTo>
                <a:cubicBezTo>
                  <a:pt x="2741653" y="3176294"/>
                  <a:pt x="2741653" y="3172482"/>
                  <a:pt x="2741653" y="3170578"/>
                </a:cubicBezTo>
                <a:cubicBezTo>
                  <a:pt x="2741653" y="3140101"/>
                  <a:pt x="2762567" y="3113431"/>
                  <a:pt x="2792985" y="3109621"/>
                </a:cubicBezTo>
                <a:cubicBezTo>
                  <a:pt x="2792985" y="3109621"/>
                  <a:pt x="2792985" y="3109621"/>
                  <a:pt x="3139002" y="3058185"/>
                </a:cubicBezTo>
                <a:close/>
                <a:moveTo>
                  <a:pt x="4011840" y="2813695"/>
                </a:moveTo>
                <a:lnTo>
                  <a:pt x="4011840" y="2929155"/>
                </a:lnTo>
                <a:lnTo>
                  <a:pt x="3953196" y="2943545"/>
                </a:lnTo>
                <a:cubicBezTo>
                  <a:pt x="3922736" y="2951190"/>
                  <a:pt x="3892278" y="2932080"/>
                  <a:pt x="3884664" y="2901507"/>
                </a:cubicBezTo>
                <a:cubicBezTo>
                  <a:pt x="3884664" y="2897685"/>
                  <a:pt x="3884664" y="2893863"/>
                  <a:pt x="3884664" y="2888131"/>
                </a:cubicBezTo>
                <a:cubicBezTo>
                  <a:pt x="3884664" y="2863287"/>
                  <a:pt x="3899892" y="2840356"/>
                  <a:pt x="3926546" y="2834624"/>
                </a:cubicBezTo>
                <a:cubicBezTo>
                  <a:pt x="3926546" y="2834624"/>
                  <a:pt x="3926546" y="2834624"/>
                  <a:pt x="4010200" y="2814097"/>
                </a:cubicBezTo>
                <a:close/>
                <a:moveTo>
                  <a:pt x="399603" y="2769236"/>
                </a:moveTo>
                <a:cubicBezTo>
                  <a:pt x="410073" y="2773041"/>
                  <a:pt x="419115" y="2780652"/>
                  <a:pt x="423874" y="2791116"/>
                </a:cubicBezTo>
                <a:cubicBezTo>
                  <a:pt x="433392" y="2812044"/>
                  <a:pt x="423874" y="2838680"/>
                  <a:pt x="401030" y="2848194"/>
                </a:cubicBezTo>
                <a:cubicBezTo>
                  <a:pt x="401030" y="2848194"/>
                  <a:pt x="401030" y="2848194"/>
                  <a:pt x="62187" y="3000399"/>
                </a:cubicBezTo>
                <a:cubicBezTo>
                  <a:pt x="41247" y="3009914"/>
                  <a:pt x="16500" y="3000399"/>
                  <a:pt x="6982" y="2979471"/>
                </a:cubicBezTo>
                <a:cubicBezTo>
                  <a:pt x="3175" y="2973763"/>
                  <a:pt x="3175" y="2968056"/>
                  <a:pt x="3175" y="2960446"/>
                </a:cubicBezTo>
                <a:cubicBezTo>
                  <a:pt x="3175" y="2945225"/>
                  <a:pt x="10789" y="2930005"/>
                  <a:pt x="27922" y="2922394"/>
                </a:cubicBezTo>
                <a:cubicBezTo>
                  <a:pt x="27922" y="2922394"/>
                  <a:pt x="27922" y="2922394"/>
                  <a:pt x="366765" y="2770189"/>
                </a:cubicBezTo>
                <a:cubicBezTo>
                  <a:pt x="377235" y="2765431"/>
                  <a:pt x="389133" y="2765431"/>
                  <a:pt x="399603" y="2769236"/>
                </a:cubicBezTo>
                <a:close/>
                <a:moveTo>
                  <a:pt x="930705" y="2760523"/>
                </a:moveTo>
                <a:cubicBezTo>
                  <a:pt x="949140" y="2760880"/>
                  <a:pt x="965965" y="2771968"/>
                  <a:pt x="973124" y="2790565"/>
                </a:cubicBezTo>
                <a:cubicBezTo>
                  <a:pt x="982670" y="2815364"/>
                  <a:pt x="969306" y="2842071"/>
                  <a:pt x="946396" y="2851609"/>
                </a:cubicBezTo>
                <a:cubicBezTo>
                  <a:pt x="946396" y="2851609"/>
                  <a:pt x="946396" y="2851609"/>
                  <a:pt x="604662" y="2981323"/>
                </a:cubicBezTo>
                <a:cubicBezTo>
                  <a:pt x="579843" y="2990862"/>
                  <a:pt x="551206" y="2977508"/>
                  <a:pt x="543570" y="2954616"/>
                </a:cubicBezTo>
                <a:cubicBezTo>
                  <a:pt x="541661" y="2948894"/>
                  <a:pt x="539752" y="2943172"/>
                  <a:pt x="539752" y="2937448"/>
                </a:cubicBezTo>
                <a:cubicBezTo>
                  <a:pt x="539752" y="2918374"/>
                  <a:pt x="551206" y="2899297"/>
                  <a:pt x="570298" y="2893575"/>
                </a:cubicBezTo>
                <a:cubicBezTo>
                  <a:pt x="570298" y="2893575"/>
                  <a:pt x="570298" y="2893575"/>
                  <a:pt x="912032" y="2763862"/>
                </a:cubicBezTo>
                <a:cubicBezTo>
                  <a:pt x="918237" y="2761479"/>
                  <a:pt x="924561" y="2760403"/>
                  <a:pt x="930705" y="2760523"/>
                </a:cubicBezTo>
                <a:close/>
                <a:moveTo>
                  <a:pt x="1482623" y="2755562"/>
                </a:moveTo>
                <a:cubicBezTo>
                  <a:pt x="1502310" y="2757882"/>
                  <a:pt x="1519850" y="2771434"/>
                  <a:pt x="1525577" y="2791407"/>
                </a:cubicBezTo>
                <a:cubicBezTo>
                  <a:pt x="1535122" y="2818039"/>
                  <a:pt x="1519850" y="2846572"/>
                  <a:pt x="1493123" y="2856085"/>
                </a:cubicBezTo>
                <a:cubicBezTo>
                  <a:pt x="1493123" y="2856085"/>
                  <a:pt x="1493123" y="2856085"/>
                  <a:pt x="1149495" y="2962612"/>
                </a:cubicBezTo>
                <a:cubicBezTo>
                  <a:pt x="1122769" y="2970220"/>
                  <a:pt x="1092224" y="2955002"/>
                  <a:pt x="1084588" y="2928370"/>
                </a:cubicBezTo>
                <a:cubicBezTo>
                  <a:pt x="1082679" y="2924566"/>
                  <a:pt x="1082679" y="2918859"/>
                  <a:pt x="1082679" y="2913153"/>
                </a:cubicBezTo>
                <a:cubicBezTo>
                  <a:pt x="1082679" y="2892227"/>
                  <a:pt x="1096042" y="2871303"/>
                  <a:pt x="1118950" y="2863693"/>
                </a:cubicBezTo>
                <a:cubicBezTo>
                  <a:pt x="1118950" y="2863693"/>
                  <a:pt x="1118950" y="2863693"/>
                  <a:pt x="1462578" y="2757168"/>
                </a:cubicBezTo>
                <a:cubicBezTo>
                  <a:pt x="1469260" y="2755265"/>
                  <a:pt x="1476061" y="2754790"/>
                  <a:pt x="1482623" y="2755562"/>
                </a:cubicBezTo>
                <a:close/>
                <a:moveTo>
                  <a:pt x="2037929" y="2750376"/>
                </a:moveTo>
                <a:cubicBezTo>
                  <a:pt x="2058890" y="2754227"/>
                  <a:pt x="2077438" y="2769633"/>
                  <a:pt x="2083145" y="2792565"/>
                </a:cubicBezTo>
                <a:cubicBezTo>
                  <a:pt x="2090755" y="2821228"/>
                  <a:pt x="2071730" y="2851802"/>
                  <a:pt x="2043190" y="2859446"/>
                </a:cubicBezTo>
                <a:cubicBezTo>
                  <a:pt x="2043190" y="2859446"/>
                  <a:pt x="2043190" y="2859446"/>
                  <a:pt x="1698856" y="2943524"/>
                </a:cubicBezTo>
                <a:cubicBezTo>
                  <a:pt x="1668417" y="2951168"/>
                  <a:pt x="1639881" y="2932060"/>
                  <a:pt x="1632272" y="2901486"/>
                </a:cubicBezTo>
                <a:cubicBezTo>
                  <a:pt x="1630369" y="2897664"/>
                  <a:pt x="1630369" y="2893842"/>
                  <a:pt x="1630369" y="2888109"/>
                </a:cubicBezTo>
                <a:cubicBezTo>
                  <a:pt x="1630369" y="2863268"/>
                  <a:pt x="1647491" y="2840337"/>
                  <a:pt x="1672222" y="2834604"/>
                </a:cubicBezTo>
                <a:cubicBezTo>
                  <a:pt x="1672222" y="2834604"/>
                  <a:pt x="1672222" y="2834604"/>
                  <a:pt x="2016556" y="2750526"/>
                </a:cubicBezTo>
                <a:cubicBezTo>
                  <a:pt x="2023690" y="2749093"/>
                  <a:pt x="2030943" y="2749093"/>
                  <a:pt x="2037929" y="2750376"/>
                </a:cubicBezTo>
                <a:close/>
                <a:moveTo>
                  <a:pt x="3710448" y="2745765"/>
                </a:moveTo>
                <a:cubicBezTo>
                  <a:pt x="3742792" y="2740051"/>
                  <a:pt x="3773232" y="2762911"/>
                  <a:pt x="3778944" y="2795292"/>
                </a:cubicBezTo>
                <a:cubicBezTo>
                  <a:pt x="3784650" y="2827678"/>
                  <a:pt x="3763720" y="2858160"/>
                  <a:pt x="3731376" y="2863875"/>
                </a:cubicBezTo>
                <a:cubicBezTo>
                  <a:pt x="3731376" y="2863875"/>
                  <a:pt x="3731376" y="2863875"/>
                  <a:pt x="3385145" y="2924837"/>
                </a:cubicBezTo>
                <a:cubicBezTo>
                  <a:pt x="3352800" y="2930551"/>
                  <a:pt x="3322363" y="2907691"/>
                  <a:pt x="3316655" y="2875305"/>
                </a:cubicBezTo>
                <a:cubicBezTo>
                  <a:pt x="3316655" y="2871495"/>
                  <a:pt x="3314753" y="2869590"/>
                  <a:pt x="3314753" y="2865779"/>
                </a:cubicBezTo>
                <a:cubicBezTo>
                  <a:pt x="3314753" y="2837202"/>
                  <a:pt x="3335679" y="2812439"/>
                  <a:pt x="3364218" y="2806724"/>
                </a:cubicBezTo>
                <a:cubicBezTo>
                  <a:pt x="3364218" y="2806724"/>
                  <a:pt x="3364218" y="2806724"/>
                  <a:pt x="3710448" y="2745765"/>
                </a:cubicBezTo>
                <a:close/>
                <a:moveTo>
                  <a:pt x="2576948" y="2745743"/>
                </a:moveTo>
                <a:cubicBezTo>
                  <a:pt x="2609290" y="2740028"/>
                  <a:pt x="2639729" y="2762887"/>
                  <a:pt x="2645436" y="2795273"/>
                </a:cubicBezTo>
                <a:cubicBezTo>
                  <a:pt x="2651144" y="2827657"/>
                  <a:pt x="2630217" y="2858138"/>
                  <a:pt x="2595973" y="2863852"/>
                </a:cubicBezTo>
                <a:cubicBezTo>
                  <a:pt x="2595973" y="2863852"/>
                  <a:pt x="2595973" y="2863852"/>
                  <a:pt x="2251629" y="2924813"/>
                </a:cubicBezTo>
                <a:cubicBezTo>
                  <a:pt x="2219287" y="2930528"/>
                  <a:pt x="2188848" y="2907668"/>
                  <a:pt x="2183141" y="2875282"/>
                </a:cubicBezTo>
                <a:cubicBezTo>
                  <a:pt x="2183141" y="2871473"/>
                  <a:pt x="2181238" y="2869568"/>
                  <a:pt x="2181238" y="2865758"/>
                </a:cubicBezTo>
                <a:cubicBezTo>
                  <a:pt x="2181238" y="2837183"/>
                  <a:pt x="2202166" y="2812418"/>
                  <a:pt x="2230702" y="2806703"/>
                </a:cubicBezTo>
                <a:cubicBezTo>
                  <a:pt x="2230702" y="2806703"/>
                  <a:pt x="2230702" y="2806703"/>
                  <a:pt x="2576948" y="2745743"/>
                </a:cubicBezTo>
                <a:close/>
                <a:moveTo>
                  <a:pt x="3140488" y="2739127"/>
                </a:moveTo>
                <a:cubicBezTo>
                  <a:pt x="3176662" y="2735289"/>
                  <a:pt x="3207121" y="2760236"/>
                  <a:pt x="3210926" y="2796693"/>
                </a:cubicBezTo>
                <a:cubicBezTo>
                  <a:pt x="3214735" y="2831234"/>
                  <a:pt x="3189988" y="2863857"/>
                  <a:pt x="3153818" y="2867695"/>
                </a:cubicBezTo>
                <a:cubicBezTo>
                  <a:pt x="3153818" y="2867695"/>
                  <a:pt x="3153818" y="2867695"/>
                  <a:pt x="2807329" y="2906076"/>
                </a:cubicBezTo>
                <a:cubicBezTo>
                  <a:pt x="2773061" y="2909915"/>
                  <a:pt x="2740696" y="2883048"/>
                  <a:pt x="2736893" y="2848505"/>
                </a:cubicBezTo>
                <a:cubicBezTo>
                  <a:pt x="2736893" y="2846586"/>
                  <a:pt x="2736893" y="2842748"/>
                  <a:pt x="2736893" y="2840828"/>
                </a:cubicBezTo>
                <a:cubicBezTo>
                  <a:pt x="2736893" y="2808208"/>
                  <a:pt x="2761639" y="2781342"/>
                  <a:pt x="2794003" y="2777505"/>
                </a:cubicBezTo>
                <a:cubicBezTo>
                  <a:pt x="2794003" y="2777505"/>
                  <a:pt x="2794003" y="2777505"/>
                  <a:pt x="3140488" y="2739127"/>
                </a:cubicBezTo>
                <a:close/>
                <a:moveTo>
                  <a:pt x="4011840" y="2488817"/>
                </a:moveTo>
                <a:lnTo>
                  <a:pt x="4011840" y="2605107"/>
                </a:lnTo>
                <a:lnTo>
                  <a:pt x="3951516" y="2618129"/>
                </a:lnTo>
                <a:cubicBezTo>
                  <a:pt x="3921098" y="2625749"/>
                  <a:pt x="3890680" y="2606702"/>
                  <a:pt x="3883076" y="2574325"/>
                </a:cubicBezTo>
                <a:cubicBezTo>
                  <a:pt x="3883076" y="2570513"/>
                  <a:pt x="3883076" y="2566705"/>
                  <a:pt x="3883076" y="2562897"/>
                </a:cubicBezTo>
                <a:cubicBezTo>
                  <a:pt x="3883076" y="2536230"/>
                  <a:pt x="3900186" y="2513366"/>
                  <a:pt x="3926804" y="2507652"/>
                </a:cubicBezTo>
                <a:cubicBezTo>
                  <a:pt x="3926804" y="2507652"/>
                  <a:pt x="3926804" y="2507652"/>
                  <a:pt x="4010808" y="2489046"/>
                </a:cubicBezTo>
                <a:close/>
                <a:moveTo>
                  <a:pt x="399503" y="2446974"/>
                </a:moveTo>
                <a:cubicBezTo>
                  <a:pt x="410004" y="2450780"/>
                  <a:pt x="419073" y="2458390"/>
                  <a:pt x="423846" y="2468859"/>
                </a:cubicBezTo>
                <a:cubicBezTo>
                  <a:pt x="433392" y="2491688"/>
                  <a:pt x="423846" y="2516422"/>
                  <a:pt x="400935" y="2525937"/>
                </a:cubicBezTo>
                <a:cubicBezTo>
                  <a:pt x="400935" y="2525937"/>
                  <a:pt x="400935" y="2525937"/>
                  <a:pt x="61095" y="2676233"/>
                </a:cubicBezTo>
                <a:cubicBezTo>
                  <a:pt x="40093" y="2687647"/>
                  <a:pt x="13364" y="2676233"/>
                  <a:pt x="3818" y="2655306"/>
                </a:cubicBezTo>
                <a:cubicBezTo>
                  <a:pt x="1909" y="2649597"/>
                  <a:pt x="0" y="2643887"/>
                  <a:pt x="0" y="2638182"/>
                </a:cubicBezTo>
                <a:cubicBezTo>
                  <a:pt x="0" y="2621058"/>
                  <a:pt x="9546" y="2605839"/>
                  <a:pt x="26729" y="2598228"/>
                </a:cubicBezTo>
                <a:cubicBezTo>
                  <a:pt x="26729" y="2598228"/>
                  <a:pt x="26729" y="2598228"/>
                  <a:pt x="366569" y="2447925"/>
                </a:cubicBezTo>
                <a:cubicBezTo>
                  <a:pt x="377070" y="2443169"/>
                  <a:pt x="389002" y="2443169"/>
                  <a:pt x="399503" y="2446974"/>
                </a:cubicBezTo>
                <a:close/>
                <a:moveTo>
                  <a:pt x="930705" y="2440109"/>
                </a:moveTo>
                <a:cubicBezTo>
                  <a:pt x="949140" y="2441000"/>
                  <a:pt x="965965" y="2453095"/>
                  <a:pt x="973124" y="2471595"/>
                </a:cubicBezTo>
                <a:cubicBezTo>
                  <a:pt x="982669" y="2496260"/>
                  <a:pt x="969306" y="2522822"/>
                  <a:pt x="944487" y="2532310"/>
                </a:cubicBezTo>
                <a:cubicBezTo>
                  <a:pt x="944487" y="2532310"/>
                  <a:pt x="944487" y="2532310"/>
                  <a:pt x="602753" y="2657520"/>
                </a:cubicBezTo>
                <a:cubicBezTo>
                  <a:pt x="577934" y="2667007"/>
                  <a:pt x="551206" y="2653725"/>
                  <a:pt x="541661" y="2629065"/>
                </a:cubicBezTo>
                <a:cubicBezTo>
                  <a:pt x="539751" y="2623373"/>
                  <a:pt x="539751" y="2617681"/>
                  <a:pt x="539751" y="2613887"/>
                </a:cubicBezTo>
                <a:cubicBezTo>
                  <a:pt x="539751" y="2593017"/>
                  <a:pt x="551206" y="2575945"/>
                  <a:pt x="570297" y="2568357"/>
                </a:cubicBezTo>
                <a:cubicBezTo>
                  <a:pt x="570297" y="2568357"/>
                  <a:pt x="570297" y="2568357"/>
                  <a:pt x="912032" y="2443134"/>
                </a:cubicBezTo>
                <a:cubicBezTo>
                  <a:pt x="918236" y="2440761"/>
                  <a:pt x="924560" y="2439813"/>
                  <a:pt x="930705" y="2440109"/>
                </a:cubicBezTo>
                <a:close/>
                <a:moveTo>
                  <a:pt x="1482958" y="2434934"/>
                </a:moveTo>
                <a:cubicBezTo>
                  <a:pt x="1503168" y="2437349"/>
                  <a:pt x="1521768" y="2451300"/>
                  <a:pt x="1527491" y="2472764"/>
                </a:cubicBezTo>
                <a:cubicBezTo>
                  <a:pt x="1535122" y="2499474"/>
                  <a:pt x="1519860" y="2528092"/>
                  <a:pt x="1491245" y="2537631"/>
                </a:cubicBezTo>
                <a:cubicBezTo>
                  <a:pt x="1491245" y="2537631"/>
                  <a:pt x="1491245" y="2537631"/>
                  <a:pt x="1147861" y="2638738"/>
                </a:cubicBezTo>
                <a:cubicBezTo>
                  <a:pt x="1121153" y="2646368"/>
                  <a:pt x="1092538" y="2631108"/>
                  <a:pt x="1082999" y="2602491"/>
                </a:cubicBezTo>
                <a:cubicBezTo>
                  <a:pt x="1081092" y="2596768"/>
                  <a:pt x="1081092" y="2592952"/>
                  <a:pt x="1081092" y="2587229"/>
                </a:cubicBezTo>
                <a:cubicBezTo>
                  <a:pt x="1081092" y="2564338"/>
                  <a:pt x="1096353" y="2545262"/>
                  <a:pt x="1119245" y="2537631"/>
                </a:cubicBezTo>
                <a:cubicBezTo>
                  <a:pt x="1119245" y="2537631"/>
                  <a:pt x="1119245" y="2537631"/>
                  <a:pt x="1462630" y="2436514"/>
                </a:cubicBezTo>
                <a:cubicBezTo>
                  <a:pt x="1469306" y="2434606"/>
                  <a:pt x="1476222" y="2434129"/>
                  <a:pt x="1482958" y="2434934"/>
                </a:cubicBezTo>
                <a:close/>
                <a:moveTo>
                  <a:pt x="2016607" y="2431420"/>
                </a:moveTo>
                <a:cubicBezTo>
                  <a:pt x="2047025" y="2425705"/>
                  <a:pt x="2077447" y="2444755"/>
                  <a:pt x="2085053" y="2475236"/>
                </a:cubicBezTo>
                <a:cubicBezTo>
                  <a:pt x="2090756" y="2505718"/>
                  <a:pt x="2071744" y="2536199"/>
                  <a:pt x="2041322" y="2543819"/>
                </a:cubicBezTo>
                <a:cubicBezTo>
                  <a:pt x="2041322" y="2543819"/>
                  <a:pt x="2041322" y="2543819"/>
                  <a:pt x="1697222" y="2618110"/>
                </a:cubicBezTo>
                <a:cubicBezTo>
                  <a:pt x="1666804" y="2625730"/>
                  <a:pt x="1636386" y="2606681"/>
                  <a:pt x="1630683" y="2574297"/>
                </a:cubicBezTo>
                <a:cubicBezTo>
                  <a:pt x="1628782" y="2570488"/>
                  <a:pt x="1628782" y="2566678"/>
                  <a:pt x="1628782" y="2562869"/>
                </a:cubicBezTo>
                <a:cubicBezTo>
                  <a:pt x="1628782" y="2536199"/>
                  <a:pt x="1647793" y="2513338"/>
                  <a:pt x="1674409" y="2507623"/>
                </a:cubicBezTo>
                <a:cubicBezTo>
                  <a:pt x="1674409" y="2507623"/>
                  <a:pt x="1674409" y="2507623"/>
                  <a:pt x="2016607" y="2431420"/>
                </a:cubicBezTo>
                <a:close/>
                <a:moveTo>
                  <a:pt x="2799530" y="2428900"/>
                </a:moveTo>
                <a:cubicBezTo>
                  <a:pt x="2799530" y="2428900"/>
                  <a:pt x="2799530" y="2428900"/>
                  <a:pt x="3148601" y="2428900"/>
                </a:cubicBezTo>
                <a:cubicBezTo>
                  <a:pt x="3188659" y="2428900"/>
                  <a:pt x="3221085" y="2459451"/>
                  <a:pt x="3221085" y="2499556"/>
                </a:cubicBezTo>
                <a:cubicBezTo>
                  <a:pt x="3221085" y="2537746"/>
                  <a:pt x="3188659" y="2570198"/>
                  <a:pt x="3148601" y="2570198"/>
                </a:cubicBezTo>
                <a:cubicBezTo>
                  <a:pt x="3148601" y="2570198"/>
                  <a:pt x="3148601" y="2570198"/>
                  <a:pt x="2799530" y="2570198"/>
                </a:cubicBezTo>
                <a:cubicBezTo>
                  <a:pt x="2761379" y="2570198"/>
                  <a:pt x="2728953" y="2537746"/>
                  <a:pt x="2728953" y="2499556"/>
                </a:cubicBezTo>
                <a:cubicBezTo>
                  <a:pt x="2728953" y="2459451"/>
                  <a:pt x="2761379" y="2428900"/>
                  <a:pt x="2799530" y="2428900"/>
                </a:cubicBezTo>
                <a:close/>
                <a:moveTo>
                  <a:pt x="3713474" y="2424773"/>
                </a:moveTo>
                <a:cubicBezTo>
                  <a:pt x="3745884" y="2420960"/>
                  <a:pt x="3778294" y="2443824"/>
                  <a:pt x="3782104" y="2478118"/>
                </a:cubicBezTo>
                <a:cubicBezTo>
                  <a:pt x="3787824" y="2510510"/>
                  <a:pt x="3764948" y="2542896"/>
                  <a:pt x="3730632" y="2546706"/>
                </a:cubicBezTo>
                <a:cubicBezTo>
                  <a:pt x="3730632" y="2546706"/>
                  <a:pt x="3730632" y="2546706"/>
                  <a:pt x="3383699" y="2598127"/>
                </a:cubicBezTo>
                <a:cubicBezTo>
                  <a:pt x="3351292" y="2601938"/>
                  <a:pt x="3318883" y="2579083"/>
                  <a:pt x="3315071" y="2546706"/>
                </a:cubicBezTo>
                <a:cubicBezTo>
                  <a:pt x="3313164" y="2542896"/>
                  <a:pt x="3313164" y="2539086"/>
                  <a:pt x="3313164" y="2537183"/>
                </a:cubicBezTo>
                <a:cubicBezTo>
                  <a:pt x="3313164" y="2506700"/>
                  <a:pt x="3336040" y="2480026"/>
                  <a:pt x="3366541" y="2476213"/>
                </a:cubicBezTo>
                <a:cubicBezTo>
                  <a:pt x="3366541" y="2476213"/>
                  <a:pt x="3366541" y="2476213"/>
                  <a:pt x="3713474" y="2424773"/>
                </a:cubicBezTo>
                <a:close/>
                <a:moveTo>
                  <a:pt x="2578386" y="2424750"/>
                </a:moveTo>
                <a:cubicBezTo>
                  <a:pt x="2610793" y="2420940"/>
                  <a:pt x="2643200" y="2443801"/>
                  <a:pt x="2647013" y="2478093"/>
                </a:cubicBezTo>
                <a:cubicBezTo>
                  <a:pt x="2652731" y="2510478"/>
                  <a:pt x="2629856" y="2542862"/>
                  <a:pt x="2595543" y="2546673"/>
                </a:cubicBezTo>
                <a:cubicBezTo>
                  <a:pt x="2595543" y="2546673"/>
                  <a:pt x="2595543" y="2546673"/>
                  <a:pt x="2248597" y="2598105"/>
                </a:cubicBezTo>
                <a:cubicBezTo>
                  <a:pt x="2216190" y="2601915"/>
                  <a:pt x="2183783" y="2579056"/>
                  <a:pt x="2179970" y="2546673"/>
                </a:cubicBezTo>
                <a:cubicBezTo>
                  <a:pt x="2178064" y="2542862"/>
                  <a:pt x="2178064" y="2539052"/>
                  <a:pt x="2178064" y="2537148"/>
                </a:cubicBezTo>
                <a:cubicBezTo>
                  <a:pt x="2178064" y="2506667"/>
                  <a:pt x="2200939" y="2479996"/>
                  <a:pt x="2231440" y="2476187"/>
                </a:cubicBezTo>
                <a:cubicBezTo>
                  <a:pt x="2231440" y="2476187"/>
                  <a:pt x="2231440" y="2476187"/>
                  <a:pt x="2578386" y="2424750"/>
                </a:cubicBezTo>
                <a:close/>
                <a:moveTo>
                  <a:pt x="4011840" y="2170473"/>
                </a:moveTo>
                <a:lnTo>
                  <a:pt x="4011840" y="2283142"/>
                </a:lnTo>
                <a:lnTo>
                  <a:pt x="3952804" y="2297465"/>
                </a:lnTo>
                <a:cubicBezTo>
                  <a:pt x="3922240" y="2305051"/>
                  <a:pt x="3891674" y="2286085"/>
                  <a:pt x="3884032" y="2257651"/>
                </a:cubicBezTo>
                <a:cubicBezTo>
                  <a:pt x="3878302" y="2227314"/>
                  <a:pt x="3895496" y="2196975"/>
                  <a:pt x="3926060" y="2191286"/>
                </a:cubicBezTo>
                <a:cubicBezTo>
                  <a:pt x="3926060" y="2191286"/>
                  <a:pt x="3926060" y="2191286"/>
                  <a:pt x="4010006" y="2170918"/>
                </a:cubicBezTo>
                <a:close/>
                <a:moveTo>
                  <a:pt x="398983" y="2123120"/>
                </a:moveTo>
                <a:cubicBezTo>
                  <a:pt x="409445" y="2126926"/>
                  <a:pt x="418480" y="2134534"/>
                  <a:pt x="423236" y="2145003"/>
                </a:cubicBezTo>
                <a:cubicBezTo>
                  <a:pt x="425138" y="2150710"/>
                  <a:pt x="427040" y="2158322"/>
                  <a:pt x="427040" y="2164030"/>
                </a:cubicBezTo>
                <a:cubicBezTo>
                  <a:pt x="427040" y="2179250"/>
                  <a:pt x="417529" y="2196374"/>
                  <a:pt x="402312" y="2202079"/>
                </a:cubicBezTo>
                <a:cubicBezTo>
                  <a:pt x="402312" y="2202079"/>
                  <a:pt x="402312" y="2202079"/>
                  <a:pt x="61813" y="2354282"/>
                </a:cubicBezTo>
                <a:cubicBezTo>
                  <a:pt x="40889" y="2363796"/>
                  <a:pt x="16160" y="2354282"/>
                  <a:pt x="6649" y="2333354"/>
                </a:cubicBezTo>
                <a:cubicBezTo>
                  <a:pt x="-4765" y="2312425"/>
                  <a:pt x="4746" y="2285781"/>
                  <a:pt x="27573" y="2276277"/>
                </a:cubicBezTo>
                <a:cubicBezTo>
                  <a:pt x="27573" y="2276277"/>
                  <a:pt x="27573" y="2276277"/>
                  <a:pt x="366169" y="2124071"/>
                </a:cubicBezTo>
                <a:cubicBezTo>
                  <a:pt x="376631" y="2119317"/>
                  <a:pt x="388520" y="2119317"/>
                  <a:pt x="398983" y="2123120"/>
                </a:cubicBezTo>
                <a:close/>
                <a:moveTo>
                  <a:pt x="930370" y="2116219"/>
                </a:moveTo>
                <a:cubicBezTo>
                  <a:pt x="948819" y="2117022"/>
                  <a:pt x="965655" y="2128742"/>
                  <a:pt x="972820" y="2145797"/>
                </a:cubicBezTo>
                <a:cubicBezTo>
                  <a:pt x="974730" y="2151482"/>
                  <a:pt x="974730" y="2157168"/>
                  <a:pt x="974730" y="2162851"/>
                </a:cubicBezTo>
                <a:cubicBezTo>
                  <a:pt x="974730" y="2181799"/>
                  <a:pt x="963267" y="2198852"/>
                  <a:pt x="944162" y="2206429"/>
                </a:cubicBezTo>
                <a:cubicBezTo>
                  <a:pt x="944162" y="2206429"/>
                  <a:pt x="944162" y="2206429"/>
                  <a:pt x="602179" y="2335271"/>
                </a:cubicBezTo>
                <a:cubicBezTo>
                  <a:pt x="579252" y="2344740"/>
                  <a:pt x="550595" y="2333375"/>
                  <a:pt x="542953" y="2308740"/>
                </a:cubicBezTo>
                <a:cubicBezTo>
                  <a:pt x="533400" y="2284105"/>
                  <a:pt x="544863" y="2257586"/>
                  <a:pt x="569700" y="2248111"/>
                </a:cubicBezTo>
                <a:cubicBezTo>
                  <a:pt x="569700" y="2248111"/>
                  <a:pt x="569700" y="2248111"/>
                  <a:pt x="911683" y="2119271"/>
                </a:cubicBezTo>
                <a:cubicBezTo>
                  <a:pt x="917892" y="2116901"/>
                  <a:pt x="924221" y="2115954"/>
                  <a:pt x="930370" y="2116219"/>
                </a:cubicBezTo>
                <a:close/>
                <a:moveTo>
                  <a:pt x="1482447" y="2110273"/>
                </a:moveTo>
                <a:cubicBezTo>
                  <a:pt x="1502079" y="2111874"/>
                  <a:pt x="1519569" y="2125762"/>
                  <a:pt x="1525280" y="2147134"/>
                </a:cubicBezTo>
                <a:cubicBezTo>
                  <a:pt x="1527184" y="2150933"/>
                  <a:pt x="1527184" y="2156633"/>
                  <a:pt x="1527184" y="2162332"/>
                </a:cubicBezTo>
                <a:cubicBezTo>
                  <a:pt x="1527184" y="2183226"/>
                  <a:pt x="1513858" y="2204123"/>
                  <a:pt x="1492917" y="2209820"/>
                </a:cubicBezTo>
                <a:cubicBezTo>
                  <a:pt x="1492917" y="2209820"/>
                  <a:pt x="1492917" y="2209820"/>
                  <a:pt x="1150255" y="2316193"/>
                </a:cubicBezTo>
                <a:cubicBezTo>
                  <a:pt x="1123603" y="2325693"/>
                  <a:pt x="1093145" y="2310492"/>
                  <a:pt x="1085530" y="2283894"/>
                </a:cubicBezTo>
                <a:cubicBezTo>
                  <a:pt x="1077915" y="2255409"/>
                  <a:pt x="1093145" y="2226917"/>
                  <a:pt x="1119796" y="2219317"/>
                </a:cubicBezTo>
                <a:cubicBezTo>
                  <a:pt x="1119796" y="2219317"/>
                  <a:pt x="1119796" y="2219317"/>
                  <a:pt x="1462458" y="2112944"/>
                </a:cubicBezTo>
                <a:cubicBezTo>
                  <a:pt x="1469121" y="2110569"/>
                  <a:pt x="1475903" y="2109738"/>
                  <a:pt x="1482447" y="2110273"/>
                </a:cubicBezTo>
                <a:close/>
                <a:moveTo>
                  <a:pt x="2038710" y="2106607"/>
                </a:moveTo>
                <a:cubicBezTo>
                  <a:pt x="2059742" y="2109629"/>
                  <a:pt x="2078355" y="2124916"/>
                  <a:pt x="2084082" y="2147672"/>
                </a:cubicBezTo>
                <a:cubicBezTo>
                  <a:pt x="2084082" y="2151465"/>
                  <a:pt x="2085991" y="2157154"/>
                  <a:pt x="2085991" y="2160946"/>
                </a:cubicBezTo>
                <a:cubicBezTo>
                  <a:pt x="2085991" y="2185596"/>
                  <a:pt x="2068810" y="2208348"/>
                  <a:pt x="2043989" y="2214037"/>
                </a:cubicBezTo>
                <a:cubicBezTo>
                  <a:pt x="2043989" y="2214037"/>
                  <a:pt x="2043989" y="2214037"/>
                  <a:pt x="1698467" y="2297465"/>
                </a:cubicBezTo>
                <a:cubicBezTo>
                  <a:pt x="1667924" y="2305051"/>
                  <a:pt x="1639290" y="2286085"/>
                  <a:pt x="1631654" y="2257649"/>
                </a:cubicBezTo>
                <a:cubicBezTo>
                  <a:pt x="1624018" y="2227312"/>
                  <a:pt x="1643107" y="2196972"/>
                  <a:pt x="1671742" y="2191284"/>
                </a:cubicBezTo>
                <a:cubicBezTo>
                  <a:pt x="1671742" y="2191284"/>
                  <a:pt x="1671742" y="2191284"/>
                  <a:pt x="2017264" y="2107852"/>
                </a:cubicBezTo>
                <a:cubicBezTo>
                  <a:pt x="2024423" y="2105955"/>
                  <a:pt x="2031700" y="2105600"/>
                  <a:pt x="2038710" y="2106607"/>
                </a:cubicBezTo>
                <a:close/>
                <a:moveTo>
                  <a:pt x="3734742" y="2101210"/>
                </a:moveTo>
                <a:cubicBezTo>
                  <a:pt x="3757308" y="2105942"/>
                  <a:pt x="3775572" y="2124873"/>
                  <a:pt x="3779872" y="2149163"/>
                </a:cubicBezTo>
                <a:cubicBezTo>
                  <a:pt x="3779872" y="2152972"/>
                  <a:pt x="3779872" y="2156782"/>
                  <a:pt x="3779872" y="2158688"/>
                </a:cubicBezTo>
                <a:cubicBezTo>
                  <a:pt x="3779872" y="2187262"/>
                  <a:pt x="3760768" y="2212026"/>
                  <a:pt x="3732116" y="2217741"/>
                </a:cubicBezTo>
                <a:cubicBezTo>
                  <a:pt x="3732116" y="2217741"/>
                  <a:pt x="3732116" y="2217741"/>
                  <a:pt x="3384469" y="2278699"/>
                </a:cubicBezTo>
                <a:cubicBezTo>
                  <a:pt x="3351995" y="2284410"/>
                  <a:pt x="3321431" y="2263461"/>
                  <a:pt x="3315701" y="2231076"/>
                </a:cubicBezTo>
                <a:cubicBezTo>
                  <a:pt x="3309970" y="2198691"/>
                  <a:pt x="3330982" y="2166308"/>
                  <a:pt x="3363456" y="2160593"/>
                </a:cubicBezTo>
                <a:cubicBezTo>
                  <a:pt x="3363456" y="2160593"/>
                  <a:pt x="3363456" y="2160593"/>
                  <a:pt x="3711104" y="2101538"/>
                </a:cubicBezTo>
                <a:cubicBezTo>
                  <a:pt x="3719222" y="2099633"/>
                  <a:pt x="3727220" y="2099633"/>
                  <a:pt x="3734742" y="2101210"/>
                </a:cubicBezTo>
                <a:close/>
                <a:moveTo>
                  <a:pt x="2601252" y="2101207"/>
                </a:moveTo>
                <a:cubicBezTo>
                  <a:pt x="2623816" y="2105940"/>
                  <a:pt x="2642082" y="2124870"/>
                  <a:pt x="2646380" y="2149158"/>
                </a:cubicBezTo>
                <a:cubicBezTo>
                  <a:pt x="2646380" y="2152969"/>
                  <a:pt x="2646380" y="2156780"/>
                  <a:pt x="2646380" y="2158685"/>
                </a:cubicBezTo>
                <a:cubicBezTo>
                  <a:pt x="2646380" y="2187260"/>
                  <a:pt x="2627278" y="2212024"/>
                  <a:pt x="2596715" y="2217739"/>
                </a:cubicBezTo>
                <a:cubicBezTo>
                  <a:pt x="2596715" y="2217739"/>
                  <a:pt x="2596715" y="2217739"/>
                  <a:pt x="2250972" y="2278698"/>
                </a:cubicBezTo>
                <a:cubicBezTo>
                  <a:pt x="2218499" y="2284410"/>
                  <a:pt x="2187936" y="2263459"/>
                  <a:pt x="2182205" y="2231074"/>
                </a:cubicBezTo>
                <a:cubicBezTo>
                  <a:pt x="2176475" y="2198689"/>
                  <a:pt x="2197487" y="2166304"/>
                  <a:pt x="2229960" y="2160590"/>
                </a:cubicBezTo>
                <a:cubicBezTo>
                  <a:pt x="2229960" y="2160590"/>
                  <a:pt x="2229960" y="2160590"/>
                  <a:pt x="2577613" y="2101535"/>
                </a:cubicBezTo>
                <a:cubicBezTo>
                  <a:pt x="2585732" y="2099630"/>
                  <a:pt x="2593730" y="2099630"/>
                  <a:pt x="2601252" y="2101207"/>
                </a:cubicBezTo>
                <a:close/>
                <a:moveTo>
                  <a:pt x="3141099" y="2094543"/>
                </a:moveTo>
                <a:cubicBezTo>
                  <a:pt x="3177271" y="2090740"/>
                  <a:pt x="3207731" y="2117360"/>
                  <a:pt x="3211539" y="2151589"/>
                </a:cubicBezTo>
                <a:cubicBezTo>
                  <a:pt x="3211539" y="2153490"/>
                  <a:pt x="3211539" y="2157291"/>
                  <a:pt x="3211539" y="2159195"/>
                </a:cubicBezTo>
                <a:cubicBezTo>
                  <a:pt x="3211539" y="2191522"/>
                  <a:pt x="3188693" y="2218141"/>
                  <a:pt x="3156330" y="2221944"/>
                </a:cubicBezTo>
                <a:cubicBezTo>
                  <a:pt x="3156330" y="2221944"/>
                  <a:pt x="3156330" y="2221944"/>
                  <a:pt x="2807941" y="2259975"/>
                </a:cubicBezTo>
                <a:cubicBezTo>
                  <a:pt x="2773673" y="2263775"/>
                  <a:pt x="2741309" y="2239058"/>
                  <a:pt x="2737501" y="2202929"/>
                </a:cubicBezTo>
                <a:cubicBezTo>
                  <a:pt x="2733694" y="2168703"/>
                  <a:pt x="2760347" y="2136375"/>
                  <a:pt x="2794615" y="2132570"/>
                </a:cubicBezTo>
                <a:cubicBezTo>
                  <a:pt x="2794615" y="2132570"/>
                  <a:pt x="2794615" y="2132570"/>
                  <a:pt x="3141099" y="2094543"/>
                </a:cubicBezTo>
                <a:close/>
                <a:moveTo>
                  <a:pt x="4011840" y="1849489"/>
                </a:moveTo>
                <a:lnTo>
                  <a:pt x="4011840" y="1962430"/>
                </a:lnTo>
                <a:lnTo>
                  <a:pt x="3952612" y="1978320"/>
                </a:lnTo>
                <a:cubicBezTo>
                  <a:pt x="3924032" y="1985985"/>
                  <a:pt x="3893552" y="1968738"/>
                  <a:pt x="3885932" y="1939991"/>
                </a:cubicBezTo>
                <a:cubicBezTo>
                  <a:pt x="3878314" y="1911245"/>
                  <a:pt x="3895458" y="1880581"/>
                  <a:pt x="3924032" y="1872916"/>
                </a:cubicBezTo>
                <a:cubicBezTo>
                  <a:pt x="3924032" y="1872916"/>
                  <a:pt x="3924032" y="1872916"/>
                  <a:pt x="4008210" y="1850457"/>
                </a:cubicBezTo>
                <a:close/>
                <a:moveTo>
                  <a:pt x="398962" y="1800917"/>
                </a:moveTo>
                <a:cubicBezTo>
                  <a:pt x="409432" y="1804747"/>
                  <a:pt x="418474" y="1812406"/>
                  <a:pt x="423233" y="1822936"/>
                </a:cubicBezTo>
                <a:cubicBezTo>
                  <a:pt x="425137" y="1828681"/>
                  <a:pt x="427041" y="1834425"/>
                  <a:pt x="427041" y="1840169"/>
                </a:cubicBezTo>
                <a:cubicBezTo>
                  <a:pt x="427041" y="1857402"/>
                  <a:pt x="417522" y="1872719"/>
                  <a:pt x="400390" y="1878463"/>
                </a:cubicBezTo>
                <a:cubicBezTo>
                  <a:pt x="400390" y="1878463"/>
                  <a:pt x="400390" y="1878463"/>
                  <a:pt x="61546" y="2033553"/>
                </a:cubicBezTo>
                <a:cubicBezTo>
                  <a:pt x="40607" y="2043126"/>
                  <a:pt x="15860" y="2033553"/>
                  <a:pt x="6342" y="2012491"/>
                </a:cubicBezTo>
                <a:cubicBezTo>
                  <a:pt x="-3177" y="1991430"/>
                  <a:pt x="6342" y="1964624"/>
                  <a:pt x="27281" y="1955050"/>
                </a:cubicBezTo>
                <a:cubicBezTo>
                  <a:pt x="27281" y="1955050"/>
                  <a:pt x="27281" y="1955050"/>
                  <a:pt x="366125" y="1801874"/>
                </a:cubicBezTo>
                <a:cubicBezTo>
                  <a:pt x="376595" y="1797088"/>
                  <a:pt x="388492" y="1797088"/>
                  <a:pt x="398962" y="1800917"/>
                </a:cubicBezTo>
                <a:close/>
                <a:moveTo>
                  <a:pt x="929266" y="1792140"/>
                </a:moveTo>
                <a:cubicBezTo>
                  <a:pt x="946908" y="1792497"/>
                  <a:pt x="963745" y="1803570"/>
                  <a:pt x="970909" y="1822144"/>
                </a:cubicBezTo>
                <a:cubicBezTo>
                  <a:pt x="974730" y="1827859"/>
                  <a:pt x="974730" y="1833574"/>
                  <a:pt x="974730" y="1839289"/>
                </a:cubicBezTo>
                <a:cubicBezTo>
                  <a:pt x="974730" y="1858339"/>
                  <a:pt x="963267" y="1875484"/>
                  <a:pt x="946072" y="1883104"/>
                </a:cubicBezTo>
                <a:cubicBezTo>
                  <a:pt x="946072" y="1883104"/>
                  <a:pt x="946072" y="1883104"/>
                  <a:pt x="604089" y="2014549"/>
                </a:cubicBezTo>
                <a:cubicBezTo>
                  <a:pt x="579253" y="2024073"/>
                  <a:pt x="552505" y="2012644"/>
                  <a:pt x="542953" y="1989784"/>
                </a:cubicBezTo>
                <a:cubicBezTo>
                  <a:pt x="533400" y="1965019"/>
                  <a:pt x="544863" y="1938349"/>
                  <a:pt x="569700" y="1928824"/>
                </a:cubicBezTo>
                <a:cubicBezTo>
                  <a:pt x="569700" y="1928824"/>
                  <a:pt x="569700" y="1928824"/>
                  <a:pt x="911683" y="1795473"/>
                </a:cubicBezTo>
                <a:cubicBezTo>
                  <a:pt x="917415" y="1793092"/>
                  <a:pt x="923385" y="1792021"/>
                  <a:pt x="929266" y="1792140"/>
                </a:cubicBezTo>
                <a:close/>
                <a:moveTo>
                  <a:pt x="1480544" y="1786402"/>
                </a:moveTo>
                <a:cubicBezTo>
                  <a:pt x="1500175" y="1787834"/>
                  <a:pt x="1517665" y="1801087"/>
                  <a:pt x="1523376" y="1819714"/>
                </a:cubicBezTo>
                <a:cubicBezTo>
                  <a:pt x="1525280" y="1825445"/>
                  <a:pt x="1527184" y="1831176"/>
                  <a:pt x="1527184" y="1836908"/>
                </a:cubicBezTo>
                <a:cubicBezTo>
                  <a:pt x="1527184" y="1857922"/>
                  <a:pt x="1513858" y="1877026"/>
                  <a:pt x="1492918" y="1884667"/>
                </a:cubicBezTo>
                <a:cubicBezTo>
                  <a:pt x="1492918" y="1884667"/>
                  <a:pt x="1492918" y="1884667"/>
                  <a:pt x="1150255" y="1997380"/>
                </a:cubicBezTo>
                <a:cubicBezTo>
                  <a:pt x="1123604" y="2005020"/>
                  <a:pt x="1095048" y="1991648"/>
                  <a:pt x="1087434" y="1964903"/>
                </a:cubicBezTo>
                <a:cubicBezTo>
                  <a:pt x="1077915" y="1938158"/>
                  <a:pt x="1093145" y="1909502"/>
                  <a:pt x="1119796" y="1901861"/>
                </a:cubicBezTo>
                <a:cubicBezTo>
                  <a:pt x="1119796" y="1901861"/>
                  <a:pt x="1119796" y="1901861"/>
                  <a:pt x="1460555" y="1789148"/>
                </a:cubicBezTo>
                <a:cubicBezTo>
                  <a:pt x="1467218" y="1786760"/>
                  <a:pt x="1474000" y="1785924"/>
                  <a:pt x="1480544" y="1786402"/>
                </a:cubicBezTo>
                <a:close/>
                <a:moveTo>
                  <a:pt x="2035632" y="1779621"/>
                </a:moveTo>
                <a:cubicBezTo>
                  <a:pt x="2056622" y="1782586"/>
                  <a:pt x="2075195" y="1797678"/>
                  <a:pt x="2080910" y="1819238"/>
                </a:cubicBezTo>
                <a:cubicBezTo>
                  <a:pt x="2082815" y="1824987"/>
                  <a:pt x="2082815" y="1828820"/>
                  <a:pt x="2082815" y="1834569"/>
                </a:cubicBezTo>
                <a:cubicBezTo>
                  <a:pt x="2082815" y="1857567"/>
                  <a:pt x="2065670" y="1878648"/>
                  <a:pt x="2042805" y="1886314"/>
                </a:cubicBezTo>
                <a:cubicBezTo>
                  <a:pt x="2042805" y="1886314"/>
                  <a:pt x="2042805" y="1886314"/>
                  <a:pt x="1699901" y="1978302"/>
                </a:cubicBezTo>
                <a:cubicBezTo>
                  <a:pt x="1669421" y="1985968"/>
                  <a:pt x="1640845" y="1968720"/>
                  <a:pt x="1633225" y="1939974"/>
                </a:cubicBezTo>
                <a:cubicBezTo>
                  <a:pt x="1625605" y="1911227"/>
                  <a:pt x="1642750" y="1880564"/>
                  <a:pt x="1671326" y="1872898"/>
                </a:cubicBezTo>
                <a:cubicBezTo>
                  <a:pt x="1671326" y="1872898"/>
                  <a:pt x="1671326" y="1872898"/>
                  <a:pt x="2014230" y="1780909"/>
                </a:cubicBezTo>
                <a:cubicBezTo>
                  <a:pt x="2021374" y="1778992"/>
                  <a:pt x="2028637" y="1778633"/>
                  <a:pt x="2035632" y="1779621"/>
                </a:cubicBezTo>
                <a:close/>
                <a:moveTo>
                  <a:pt x="3732186" y="1775473"/>
                </a:moveTo>
                <a:cubicBezTo>
                  <a:pt x="3753992" y="1779587"/>
                  <a:pt x="3772580" y="1797118"/>
                  <a:pt x="3778300" y="1820015"/>
                </a:cubicBezTo>
                <a:cubicBezTo>
                  <a:pt x="3778300" y="1823830"/>
                  <a:pt x="3778300" y="1827647"/>
                  <a:pt x="3778300" y="1831463"/>
                </a:cubicBezTo>
                <a:cubicBezTo>
                  <a:pt x="3778300" y="1858176"/>
                  <a:pt x="3759236" y="1882981"/>
                  <a:pt x="3732544" y="1888705"/>
                </a:cubicBezTo>
                <a:cubicBezTo>
                  <a:pt x="3732544" y="1888705"/>
                  <a:pt x="3732544" y="1888705"/>
                  <a:pt x="3387514" y="1959303"/>
                </a:cubicBezTo>
                <a:cubicBezTo>
                  <a:pt x="3357010" y="1966936"/>
                  <a:pt x="3326509" y="1945947"/>
                  <a:pt x="3318883" y="1915418"/>
                </a:cubicBezTo>
                <a:cubicBezTo>
                  <a:pt x="3313164" y="1882981"/>
                  <a:pt x="3332228" y="1852452"/>
                  <a:pt x="3364636" y="1846728"/>
                </a:cubicBezTo>
                <a:cubicBezTo>
                  <a:pt x="3364636" y="1846728"/>
                  <a:pt x="3364636" y="1846728"/>
                  <a:pt x="3709668" y="1776129"/>
                </a:cubicBezTo>
                <a:cubicBezTo>
                  <a:pt x="3717292" y="1774221"/>
                  <a:pt x="3724918" y="1774102"/>
                  <a:pt x="3732186" y="1775473"/>
                </a:cubicBezTo>
                <a:close/>
                <a:moveTo>
                  <a:pt x="2597096" y="1775454"/>
                </a:moveTo>
                <a:cubicBezTo>
                  <a:pt x="2618900" y="1779568"/>
                  <a:pt x="2637486" y="1797098"/>
                  <a:pt x="2643205" y="1819995"/>
                </a:cubicBezTo>
                <a:cubicBezTo>
                  <a:pt x="2643205" y="1823811"/>
                  <a:pt x="2643205" y="1827627"/>
                  <a:pt x="2643205" y="1831444"/>
                </a:cubicBezTo>
                <a:cubicBezTo>
                  <a:pt x="2643205" y="1858156"/>
                  <a:pt x="2624142" y="1882961"/>
                  <a:pt x="2597453" y="1888685"/>
                </a:cubicBezTo>
                <a:cubicBezTo>
                  <a:pt x="2597453" y="1888685"/>
                  <a:pt x="2597453" y="1888685"/>
                  <a:pt x="2252409" y="1959283"/>
                </a:cubicBezTo>
                <a:cubicBezTo>
                  <a:pt x="2221908" y="1966916"/>
                  <a:pt x="2191406" y="1945927"/>
                  <a:pt x="2183781" y="1915398"/>
                </a:cubicBezTo>
                <a:cubicBezTo>
                  <a:pt x="2178062" y="1882961"/>
                  <a:pt x="2197125" y="1852432"/>
                  <a:pt x="2229533" y="1846708"/>
                </a:cubicBezTo>
                <a:cubicBezTo>
                  <a:pt x="2229533" y="1846708"/>
                  <a:pt x="2229533" y="1846708"/>
                  <a:pt x="2574577" y="1776110"/>
                </a:cubicBezTo>
                <a:cubicBezTo>
                  <a:pt x="2582203" y="1774201"/>
                  <a:pt x="2589828" y="1774082"/>
                  <a:pt x="2597096" y="1775454"/>
                </a:cubicBezTo>
                <a:close/>
                <a:moveTo>
                  <a:pt x="3139439" y="1767852"/>
                </a:moveTo>
                <a:cubicBezTo>
                  <a:pt x="3173753" y="1762146"/>
                  <a:pt x="3204252" y="1786869"/>
                  <a:pt x="3209972" y="1819198"/>
                </a:cubicBezTo>
                <a:cubicBezTo>
                  <a:pt x="3209972" y="1823001"/>
                  <a:pt x="3209972" y="1826805"/>
                  <a:pt x="3209972" y="1828706"/>
                </a:cubicBezTo>
                <a:cubicBezTo>
                  <a:pt x="3209972" y="1859134"/>
                  <a:pt x="3187098" y="1885758"/>
                  <a:pt x="3156596" y="1889561"/>
                </a:cubicBezTo>
                <a:cubicBezTo>
                  <a:pt x="3156596" y="1889561"/>
                  <a:pt x="3156596" y="1889561"/>
                  <a:pt x="2811555" y="1939005"/>
                </a:cubicBezTo>
                <a:cubicBezTo>
                  <a:pt x="2777239" y="1944711"/>
                  <a:pt x="2746740" y="1921890"/>
                  <a:pt x="2741022" y="1887660"/>
                </a:cubicBezTo>
                <a:cubicBezTo>
                  <a:pt x="2735303" y="1853429"/>
                  <a:pt x="2760084" y="1823001"/>
                  <a:pt x="2792492" y="1819198"/>
                </a:cubicBezTo>
                <a:cubicBezTo>
                  <a:pt x="2792492" y="1819198"/>
                  <a:pt x="2792492" y="1819198"/>
                  <a:pt x="3139439" y="1767852"/>
                </a:cubicBezTo>
                <a:close/>
                <a:moveTo>
                  <a:pt x="4011840" y="1531095"/>
                </a:moveTo>
                <a:lnTo>
                  <a:pt x="4011840" y="1641028"/>
                </a:lnTo>
                <a:lnTo>
                  <a:pt x="3954252" y="1657678"/>
                </a:lnTo>
                <a:cubicBezTo>
                  <a:pt x="3925656" y="1665310"/>
                  <a:pt x="3897056" y="1650048"/>
                  <a:pt x="3887528" y="1621430"/>
                </a:cubicBezTo>
                <a:cubicBezTo>
                  <a:pt x="3879902" y="1594720"/>
                  <a:pt x="3897056" y="1564195"/>
                  <a:pt x="3923748" y="1556564"/>
                </a:cubicBezTo>
                <a:cubicBezTo>
                  <a:pt x="3923748" y="1556564"/>
                  <a:pt x="3923748" y="1556564"/>
                  <a:pt x="4007518" y="1532344"/>
                </a:cubicBezTo>
                <a:close/>
                <a:moveTo>
                  <a:pt x="398249" y="1477054"/>
                </a:moveTo>
                <a:cubicBezTo>
                  <a:pt x="408480" y="1480877"/>
                  <a:pt x="417523" y="1488527"/>
                  <a:pt x="423234" y="1499043"/>
                </a:cubicBezTo>
                <a:cubicBezTo>
                  <a:pt x="425137" y="1504780"/>
                  <a:pt x="427041" y="1510517"/>
                  <a:pt x="427041" y="1516254"/>
                </a:cubicBezTo>
                <a:cubicBezTo>
                  <a:pt x="427041" y="1533463"/>
                  <a:pt x="417523" y="1548761"/>
                  <a:pt x="402294" y="1556411"/>
                </a:cubicBezTo>
                <a:cubicBezTo>
                  <a:pt x="402294" y="1556411"/>
                  <a:pt x="402294" y="1556411"/>
                  <a:pt x="61547" y="1711302"/>
                </a:cubicBezTo>
                <a:cubicBezTo>
                  <a:pt x="40607" y="1720863"/>
                  <a:pt x="15860" y="1711302"/>
                  <a:pt x="6342" y="1690267"/>
                </a:cubicBezTo>
                <a:cubicBezTo>
                  <a:pt x="-3176" y="1669232"/>
                  <a:pt x="6342" y="1644373"/>
                  <a:pt x="27282" y="1632900"/>
                </a:cubicBezTo>
                <a:cubicBezTo>
                  <a:pt x="27282" y="1632900"/>
                  <a:pt x="27282" y="1632900"/>
                  <a:pt x="366125" y="1478010"/>
                </a:cubicBezTo>
                <a:cubicBezTo>
                  <a:pt x="376595" y="1473229"/>
                  <a:pt x="388017" y="1473229"/>
                  <a:pt x="398249" y="1477054"/>
                </a:cubicBezTo>
                <a:close/>
                <a:moveTo>
                  <a:pt x="929397" y="1468271"/>
                </a:moveTo>
                <a:cubicBezTo>
                  <a:pt x="946989" y="1468627"/>
                  <a:pt x="963777" y="1479671"/>
                  <a:pt x="970920" y="1498195"/>
                </a:cubicBezTo>
                <a:cubicBezTo>
                  <a:pt x="972826" y="1503895"/>
                  <a:pt x="974730" y="1509596"/>
                  <a:pt x="974730" y="1515296"/>
                </a:cubicBezTo>
                <a:cubicBezTo>
                  <a:pt x="974730" y="1532396"/>
                  <a:pt x="963300" y="1549496"/>
                  <a:pt x="946155" y="1557096"/>
                </a:cubicBezTo>
                <a:cubicBezTo>
                  <a:pt x="946155" y="1557096"/>
                  <a:pt x="946155" y="1557096"/>
                  <a:pt x="605156" y="1693897"/>
                </a:cubicBezTo>
                <a:cubicBezTo>
                  <a:pt x="580391" y="1703397"/>
                  <a:pt x="553721" y="1691997"/>
                  <a:pt x="546100" y="1667296"/>
                </a:cubicBezTo>
                <a:cubicBezTo>
                  <a:pt x="536576" y="1644496"/>
                  <a:pt x="548005" y="1617896"/>
                  <a:pt x="570866" y="1608396"/>
                </a:cubicBezTo>
                <a:cubicBezTo>
                  <a:pt x="570866" y="1608396"/>
                  <a:pt x="570866" y="1608396"/>
                  <a:pt x="911865" y="1471596"/>
                </a:cubicBezTo>
                <a:cubicBezTo>
                  <a:pt x="917580" y="1469221"/>
                  <a:pt x="923533" y="1468152"/>
                  <a:pt x="929397" y="1468271"/>
                </a:cubicBezTo>
                <a:close/>
                <a:moveTo>
                  <a:pt x="1479724" y="1461429"/>
                </a:moveTo>
                <a:cubicBezTo>
                  <a:pt x="1498668" y="1463125"/>
                  <a:pt x="1516541" y="1475270"/>
                  <a:pt x="1523689" y="1493843"/>
                </a:cubicBezTo>
                <a:cubicBezTo>
                  <a:pt x="1525596" y="1499559"/>
                  <a:pt x="1525596" y="1505273"/>
                  <a:pt x="1525596" y="1510988"/>
                </a:cubicBezTo>
                <a:cubicBezTo>
                  <a:pt x="1525596" y="1531943"/>
                  <a:pt x="1512251" y="1550994"/>
                  <a:pt x="1493187" y="1556708"/>
                </a:cubicBezTo>
                <a:cubicBezTo>
                  <a:pt x="1493187" y="1556708"/>
                  <a:pt x="1493187" y="1556708"/>
                  <a:pt x="1150039" y="1674820"/>
                </a:cubicBezTo>
                <a:cubicBezTo>
                  <a:pt x="1125256" y="1684344"/>
                  <a:pt x="1096660" y="1671009"/>
                  <a:pt x="1089034" y="1644339"/>
                </a:cubicBezTo>
                <a:cubicBezTo>
                  <a:pt x="1079503" y="1619574"/>
                  <a:pt x="1092847" y="1590999"/>
                  <a:pt x="1117630" y="1583379"/>
                </a:cubicBezTo>
                <a:cubicBezTo>
                  <a:pt x="1117630" y="1583379"/>
                  <a:pt x="1117630" y="1583379"/>
                  <a:pt x="1460779" y="1463363"/>
                </a:cubicBezTo>
                <a:cubicBezTo>
                  <a:pt x="1466975" y="1461459"/>
                  <a:pt x="1473409" y="1460863"/>
                  <a:pt x="1479724" y="1461429"/>
                </a:cubicBezTo>
                <a:close/>
                <a:moveTo>
                  <a:pt x="2034947" y="1454929"/>
                </a:moveTo>
                <a:cubicBezTo>
                  <a:pt x="2055091" y="1456986"/>
                  <a:pt x="2073625" y="1471652"/>
                  <a:pt x="2079328" y="1491683"/>
                </a:cubicBezTo>
                <a:cubicBezTo>
                  <a:pt x="2081229" y="1497407"/>
                  <a:pt x="2081229" y="1501222"/>
                  <a:pt x="2081229" y="1506945"/>
                </a:cubicBezTo>
                <a:cubicBezTo>
                  <a:pt x="2081229" y="1529839"/>
                  <a:pt x="2066021" y="1550825"/>
                  <a:pt x="2043204" y="1558456"/>
                </a:cubicBezTo>
                <a:cubicBezTo>
                  <a:pt x="2043204" y="1558456"/>
                  <a:pt x="2043204" y="1558456"/>
                  <a:pt x="1701020" y="1657662"/>
                </a:cubicBezTo>
                <a:cubicBezTo>
                  <a:pt x="1672505" y="1665293"/>
                  <a:pt x="1643989" y="1650030"/>
                  <a:pt x="1636385" y="1621413"/>
                </a:cubicBezTo>
                <a:cubicBezTo>
                  <a:pt x="1628781" y="1594704"/>
                  <a:pt x="1643989" y="1564179"/>
                  <a:pt x="1672505" y="1556548"/>
                </a:cubicBezTo>
                <a:cubicBezTo>
                  <a:pt x="1672505" y="1556548"/>
                  <a:pt x="1672505" y="1556548"/>
                  <a:pt x="2014689" y="1457343"/>
                </a:cubicBezTo>
                <a:cubicBezTo>
                  <a:pt x="2021343" y="1454958"/>
                  <a:pt x="2028234" y="1454243"/>
                  <a:pt x="2034947" y="1454929"/>
                </a:cubicBezTo>
                <a:close/>
                <a:moveTo>
                  <a:pt x="3729076" y="1449674"/>
                </a:moveTo>
                <a:cubicBezTo>
                  <a:pt x="3750748" y="1453146"/>
                  <a:pt x="3768942" y="1469169"/>
                  <a:pt x="3773220" y="1490533"/>
                </a:cubicBezTo>
                <a:cubicBezTo>
                  <a:pt x="3775124" y="1496230"/>
                  <a:pt x="3775124" y="1500029"/>
                  <a:pt x="3775124" y="1503826"/>
                </a:cubicBezTo>
                <a:cubicBezTo>
                  <a:pt x="3775124" y="1528514"/>
                  <a:pt x="3758002" y="1553203"/>
                  <a:pt x="3733268" y="1558900"/>
                </a:cubicBezTo>
                <a:cubicBezTo>
                  <a:pt x="3733268" y="1558900"/>
                  <a:pt x="3733268" y="1558900"/>
                  <a:pt x="3388949" y="1638661"/>
                </a:cubicBezTo>
                <a:cubicBezTo>
                  <a:pt x="3358507" y="1646258"/>
                  <a:pt x="3328069" y="1627267"/>
                  <a:pt x="3322361" y="1598781"/>
                </a:cubicBezTo>
                <a:cubicBezTo>
                  <a:pt x="3314753" y="1568395"/>
                  <a:pt x="3333778" y="1538010"/>
                  <a:pt x="3362311" y="1530413"/>
                </a:cubicBezTo>
                <a:cubicBezTo>
                  <a:pt x="3362311" y="1530413"/>
                  <a:pt x="3362311" y="1530413"/>
                  <a:pt x="3706634" y="1450653"/>
                </a:cubicBezTo>
                <a:cubicBezTo>
                  <a:pt x="3714244" y="1448755"/>
                  <a:pt x="3721852" y="1448517"/>
                  <a:pt x="3729076" y="1449674"/>
                </a:cubicBezTo>
                <a:close/>
                <a:moveTo>
                  <a:pt x="2595306" y="1449656"/>
                </a:moveTo>
                <a:cubicBezTo>
                  <a:pt x="2616530" y="1453128"/>
                  <a:pt x="2634008" y="1469151"/>
                  <a:pt x="2639715" y="1490515"/>
                </a:cubicBezTo>
                <a:cubicBezTo>
                  <a:pt x="2641617" y="1496212"/>
                  <a:pt x="2641617" y="1500010"/>
                  <a:pt x="2641617" y="1503809"/>
                </a:cubicBezTo>
                <a:cubicBezTo>
                  <a:pt x="2641617" y="1528497"/>
                  <a:pt x="2624496" y="1553184"/>
                  <a:pt x="2597862" y="1558882"/>
                </a:cubicBezTo>
                <a:cubicBezTo>
                  <a:pt x="2597862" y="1558882"/>
                  <a:pt x="2597862" y="1558882"/>
                  <a:pt x="2255431" y="1638643"/>
                </a:cubicBezTo>
                <a:cubicBezTo>
                  <a:pt x="2224992" y="1646239"/>
                  <a:pt x="2194554" y="1627248"/>
                  <a:pt x="2188847" y="1598762"/>
                </a:cubicBezTo>
                <a:cubicBezTo>
                  <a:pt x="2181237" y="1568377"/>
                  <a:pt x="2200261" y="1537992"/>
                  <a:pt x="2228797" y="1530396"/>
                </a:cubicBezTo>
                <a:cubicBezTo>
                  <a:pt x="2228797" y="1530396"/>
                  <a:pt x="2228797" y="1530396"/>
                  <a:pt x="2573131" y="1450635"/>
                </a:cubicBezTo>
                <a:cubicBezTo>
                  <a:pt x="2580740" y="1448736"/>
                  <a:pt x="2588232" y="1448498"/>
                  <a:pt x="2595306" y="1449656"/>
                </a:cubicBezTo>
                <a:close/>
                <a:moveTo>
                  <a:pt x="3137758" y="1442422"/>
                </a:moveTo>
                <a:cubicBezTo>
                  <a:pt x="3170208" y="1436707"/>
                  <a:pt x="3200750" y="1457662"/>
                  <a:pt x="3206474" y="1490047"/>
                </a:cubicBezTo>
                <a:cubicBezTo>
                  <a:pt x="3206474" y="1493857"/>
                  <a:pt x="3208386" y="1497666"/>
                  <a:pt x="3208386" y="1499571"/>
                </a:cubicBezTo>
                <a:cubicBezTo>
                  <a:pt x="3208386" y="1528146"/>
                  <a:pt x="3187387" y="1552912"/>
                  <a:pt x="3158756" y="1558627"/>
                </a:cubicBezTo>
                <a:cubicBezTo>
                  <a:pt x="3158756" y="1558627"/>
                  <a:pt x="3158756" y="1558627"/>
                  <a:pt x="2813246" y="1621493"/>
                </a:cubicBezTo>
                <a:cubicBezTo>
                  <a:pt x="2780793" y="1627208"/>
                  <a:pt x="2750254" y="1606252"/>
                  <a:pt x="2744526" y="1573867"/>
                </a:cubicBezTo>
                <a:cubicBezTo>
                  <a:pt x="2736890" y="1541481"/>
                  <a:pt x="2759798" y="1511001"/>
                  <a:pt x="2792249" y="1505286"/>
                </a:cubicBezTo>
                <a:cubicBezTo>
                  <a:pt x="2792249" y="1505286"/>
                  <a:pt x="2792249" y="1505286"/>
                  <a:pt x="3137758" y="1442422"/>
                </a:cubicBezTo>
                <a:close/>
                <a:moveTo>
                  <a:pt x="4011840" y="1212485"/>
                </a:moveTo>
                <a:lnTo>
                  <a:pt x="4011840" y="1319140"/>
                </a:lnTo>
                <a:lnTo>
                  <a:pt x="3955366" y="1337024"/>
                </a:lnTo>
                <a:cubicBezTo>
                  <a:pt x="3928732" y="1344633"/>
                  <a:pt x="3900198" y="1329414"/>
                  <a:pt x="3890684" y="1302782"/>
                </a:cubicBezTo>
                <a:cubicBezTo>
                  <a:pt x="3883076" y="1276150"/>
                  <a:pt x="3898296" y="1247615"/>
                  <a:pt x="3924928" y="1240007"/>
                </a:cubicBezTo>
                <a:cubicBezTo>
                  <a:pt x="3924928" y="1240007"/>
                  <a:pt x="3924928" y="1240007"/>
                  <a:pt x="4008522" y="1213536"/>
                </a:cubicBezTo>
                <a:close/>
                <a:moveTo>
                  <a:pt x="398307" y="1155612"/>
                </a:moveTo>
                <a:cubicBezTo>
                  <a:pt x="408309" y="1159175"/>
                  <a:pt x="416881" y="1166776"/>
                  <a:pt x="421644" y="1178178"/>
                </a:cubicBezTo>
                <a:cubicBezTo>
                  <a:pt x="425454" y="1183878"/>
                  <a:pt x="425454" y="1189578"/>
                  <a:pt x="425454" y="1195279"/>
                </a:cubicBezTo>
                <a:cubicBezTo>
                  <a:pt x="425454" y="1210481"/>
                  <a:pt x="417834" y="1225680"/>
                  <a:pt x="402594" y="1233281"/>
                </a:cubicBezTo>
                <a:cubicBezTo>
                  <a:pt x="402594" y="1233281"/>
                  <a:pt x="402594" y="1233281"/>
                  <a:pt x="61595" y="1389098"/>
                </a:cubicBezTo>
                <a:cubicBezTo>
                  <a:pt x="40639" y="1398599"/>
                  <a:pt x="15874" y="1389098"/>
                  <a:pt x="6349" y="1368196"/>
                </a:cubicBezTo>
                <a:cubicBezTo>
                  <a:pt x="-3176" y="1347292"/>
                  <a:pt x="6349" y="1322591"/>
                  <a:pt x="27304" y="1313089"/>
                </a:cubicBezTo>
                <a:cubicBezTo>
                  <a:pt x="27304" y="1313089"/>
                  <a:pt x="27304" y="1313089"/>
                  <a:pt x="366398" y="1157275"/>
                </a:cubicBezTo>
                <a:cubicBezTo>
                  <a:pt x="376876" y="1152524"/>
                  <a:pt x="388306" y="1152049"/>
                  <a:pt x="398307" y="1155612"/>
                </a:cubicBezTo>
                <a:close/>
                <a:moveTo>
                  <a:pt x="929385" y="1144384"/>
                </a:moveTo>
                <a:cubicBezTo>
                  <a:pt x="946453" y="1144651"/>
                  <a:pt x="962181" y="1155325"/>
                  <a:pt x="969330" y="1172402"/>
                </a:cubicBezTo>
                <a:cubicBezTo>
                  <a:pt x="973143" y="1178096"/>
                  <a:pt x="973143" y="1183789"/>
                  <a:pt x="973143" y="1189481"/>
                </a:cubicBezTo>
                <a:cubicBezTo>
                  <a:pt x="973143" y="1208456"/>
                  <a:pt x="963611" y="1225533"/>
                  <a:pt x="946453" y="1231226"/>
                </a:cubicBezTo>
                <a:cubicBezTo>
                  <a:pt x="946453" y="1231226"/>
                  <a:pt x="946453" y="1231226"/>
                  <a:pt x="605206" y="1371647"/>
                </a:cubicBezTo>
                <a:cubicBezTo>
                  <a:pt x="582329" y="1381135"/>
                  <a:pt x="555640" y="1369750"/>
                  <a:pt x="546107" y="1346978"/>
                </a:cubicBezTo>
                <a:cubicBezTo>
                  <a:pt x="536576" y="1324207"/>
                  <a:pt x="548014" y="1297641"/>
                  <a:pt x="570891" y="1288153"/>
                </a:cubicBezTo>
                <a:cubicBezTo>
                  <a:pt x="570891" y="1288153"/>
                  <a:pt x="570891" y="1288153"/>
                  <a:pt x="912138" y="1147734"/>
                </a:cubicBezTo>
                <a:cubicBezTo>
                  <a:pt x="917857" y="1145362"/>
                  <a:pt x="923695" y="1144295"/>
                  <a:pt x="929385" y="1144384"/>
                </a:cubicBezTo>
                <a:close/>
                <a:moveTo>
                  <a:pt x="1478252" y="1136777"/>
                </a:moveTo>
                <a:cubicBezTo>
                  <a:pt x="1496621" y="1137668"/>
                  <a:pt x="1513385" y="1149779"/>
                  <a:pt x="1520519" y="1168302"/>
                </a:cubicBezTo>
                <a:cubicBezTo>
                  <a:pt x="1522421" y="1174002"/>
                  <a:pt x="1522421" y="1179701"/>
                  <a:pt x="1522421" y="1185401"/>
                </a:cubicBezTo>
                <a:cubicBezTo>
                  <a:pt x="1522421" y="1204399"/>
                  <a:pt x="1511007" y="1223396"/>
                  <a:pt x="1491984" y="1230995"/>
                </a:cubicBezTo>
                <a:cubicBezTo>
                  <a:pt x="1491984" y="1230995"/>
                  <a:pt x="1491984" y="1230995"/>
                  <a:pt x="1151475" y="1354481"/>
                </a:cubicBezTo>
                <a:cubicBezTo>
                  <a:pt x="1124843" y="1362081"/>
                  <a:pt x="1098211" y="1350681"/>
                  <a:pt x="1088700" y="1325984"/>
                </a:cubicBezTo>
                <a:cubicBezTo>
                  <a:pt x="1081091" y="1301286"/>
                  <a:pt x="1092504" y="1272790"/>
                  <a:pt x="1117234" y="1263291"/>
                </a:cubicBezTo>
                <a:cubicBezTo>
                  <a:pt x="1117234" y="1263291"/>
                  <a:pt x="1117234" y="1263291"/>
                  <a:pt x="1459646" y="1139805"/>
                </a:cubicBezTo>
                <a:cubicBezTo>
                  <a:pt x="1465828" y="1137431"/>
                  <a:pt x="1472129" y="1136480"/>
                  <a:pt x="1478252" y="1136777"/>
                </a:cubicBezTo>
                <a:close/>
                <a:moveTo>
                  <a:pt x="2033027" y="1129690"/>
                </a:moveTo>
                <a:cubicBezTo>
                  <a:pt x="2052752" y="1131563"/>
                  <a:pt x="2070599" y="1144403"/>
                  <a:pt x="2077738" y="1165803"/>
                </a:cubicBezTo>
                <a:cubicBezTo>
                  <a:pt x="2079641" y="1169608"/>
                  <a:pt x="2079641" y="1175315"/>
                  <a:pt x="2079641" y="1181022"/>
                </a:cubicBezTo>
                <a:cubicBezTo>
                  <a:pt x="2079641" y="1201947"/>
                  <a:pt x="2066315" y="1222871"/>
                  <a:pt x="2043467" y="1228577"/>
                </a:cubicBezTo>
                <a:cubicBezTo>
                  <a:pt x="2043467" y="1228577"/>
                  <a:pt x="2043467" y="1228577"/>
                  <a:pt x="1702708" y="1337007"/>
                </a:cubicBezTo>
                <a:cubicBezTo>
                  <a:pt x="1674153" y="1344616"/>
                  <a:pt x="1645598" y="1329398"/>
                  <a:pt x="1637983" y="1302766"/>
                </a:cubicBezTo>
                <a:cubicBezTo>
                  <a:pt x="1630368" y="1276134"/>
                  <a:pt x="1643694" y="1247600"/>
                  <a:pt x="1670346" y="1239991"/>
                </a:cubicBezTo>
                <a:cubicBezTo>
                  <a:pt x="1670346" y="1239991"/>
                  <a:pt x="1670346" y="1239991"/>
                  <a:pt x="2013008" y="1131563"/>
                </a:cubicBezTo>
                <a:cubicBezTo>
                  <a:pt x="2019671" y="1129660"/>
                  <a:pt x="2026453" y="1129066"/>
                  <a:pt x="2033027" y="1129690"/>
                </a:cubicBezTo>
                <a:close/>
                <a:moveTo>
                  <a:pt x="3726352" y="1122412"/>
                </a:moveTo>
                <a:cubicBezTo>
                  <a:pt x="3747340" y="1125377"/>
                  <a:pt x="3765914" y="1140469"/>
                  <a:pt x="3771630" y="1162029"/>
                </a:cubicBezTo>
                <a:cubicBezTo>
                  <a:pt x="3773534" y="1165862"/>
                  <a:pt x="3773534" y="1171611"/>
                  <a:pt x="3773534" y="1175444"/>
                </a:cubicBezTo>
                <a:cubicBezTo>
                  <a:pt x="3773534" y="1200359"/>
                  <a:pt x="3758296" y="1221437"/>
                  <a:pt x="3733528" y="1229103"/>
                </a:cubicBezTo>
                <a:cubicBezTo>
                  <a:pt x="3733528" y="1229103"/>
                  <a:pt x="3733528" y="1229103"/>
                  <a:pt x="3390637" y="1321092"/>
                </a:cubicBezTo>
                <a:cubicBezTo>
                  <a:pt x="3362061" y="1328758"/>
                  <a:pt x="3331580" y="1311508"/>
                  <a:pt x="3323960" y="1282761"/>
                </a:cubicBezTo>
                <a:cubicBezTo>
                  <a:pt x="3316339" y="1254015"/>
                  <a:pt x="3333484" y="1223355"/>
                  <a:pt x="3362061" y="1215690"/>
                </a:cubicBezTo>
                <a:cubicBezTo>
                  <a:pt x="3362061" y="1215690"/>
                  <a:pt x="3362061" y="1215690"/>
                  <a:pt x="3704952" y="1123700"/>
                </a:cubicBezTo>
                <a:cubicBezTo>
                  <a:pt x="3712096" y="1121784"/>
                  <a:pt x="3719358" y="1121424"/>
                  <a:pt x="3726352" y="1122412"/>
                </a:cubicBezTo>
                <a:close/>
                <a:moveTo>
                  <a:pt x="2592851" y="1122392"/>
                </a:moveTo>
                <a:cubicBezTo>
                  <a:pt x="2613837" y="1125356"/>
                  <a:pt x="2632410" y="1140449"/>
                  <a:pt x="2638126" y="1162008"/>
                </a:cubicBezTo>
                <a:cubicBezTo>
                  <a:pt x="2640030" y="1165841"/>
                  <a:pt x="2640030" y="1171591"/>
                  <a:pt x="2640030" y="1175424"/>
                </a:cubicBezTo>
                <a:cubicBezTo>
                  <a:pt x="2640030" y="1200338"/>
                  <a:pt x="2622885" y="1221418"/>
                  <a:pt x="2600026" y="1229084"/>
                </a:cubicBezTo>
                <a:cubicBezTo>
                  <a:pt x="2600026" y="1229084"/>
                  <a:pt x="2600026" y="1229084"/>
                  <a:pt x="2257121" y="1321073"/>
                </a:cubicBezTo>
                <a:cubicBezTo>
                  <a:pt x="2226641" y="1328739"/>
                  <a:pt x="2198066" y="1311491"/>
                  <a:pt x="2190445" y="1282744"/>
                </a:cubicBezTo>
                <a:cubicBezTo>
                  <a:pt x="2182826" y="1253997"/>
                  <a:pt x="2199971" y="1223335"/>
                  <a:pt x="2228546" y="1215669"/>
                </a:cubicBezTo>
                <a:cubicBezTo>
                  <a:pt x="2228546" y="1215669"/>
                  <a:pt x="2228546" y="1215669"/>
                  <a:pt x="2571449" y="1123680"/>
                </a:cubicBezTo>
                <a:cubicBezTo>
                  <a:pt x="2578593" y="1121763"/>
                  <a:pt x="2585856" y="1121404"/>
                  <a:pt x="2592851" y="1122392"/>
                </a:cubicBezTo>
                <a:close/>
                <a:moveTo>
                  <a:pt x="3157611" y="1116352"/>
                </a:moveTo>
                <a:cubicBezTo>
                  <a:pt x="3179267" y="1119924"/>
                  <a:pt x="3197446" y="1136354"/>
                  <a:pt x="3201722" y="1159215"/>
                </a:cubicBezTo>
                <a:cubicBezTo>
                  <a:pt x="3203624" y="1163024"/>
                  <a:pt x="3203624" y="1168739"/>
                  <a:pt x="3203624" y="1172550"/>
                </a:cubicBezTo>
                <a:cubicBezTo>
                  <a:pt x="3203624" y="1197316"/>
                  <a:pt x="3186515" y="1222078"/>
                  <a:pt x="3159900" y="1227794"/>
                </a:cubicBezTo>
                <a:cubicBezTo>
                  <a:pt x="3159900" y="1227794"/>
                  <a:pt x="3159900" y="1227794"/>
                  <a:pt x="2815797" y="1303992"/>
                </a:cubicBezTo>
                <a:cubicBezTo>
                  <a:pt x="2785375" y="1309707"/>
                  <a:pt x="2754960" y="1290657"/>
                  <a:pt x="2747356" y="1260177"/>
                </a:cubicBezTo>
                <a:cubicBezTo>
                  <a:pt x="2741654" y="1229698"/>
                  <a:pt x="2760664" y="1199220"/>
                  <a:pt x="2791085" y="1191600"/>
                </a:cubicBezTo>
                <a:cubicBezTo>
                  <a:pt x="2791085" y="1191600"/>
                  <a:pt x="2791085" y="1191600"/>
                  <a:pt x="3135184" y="1117304"/>
                </a:cubicBezTo>
                <a:cubicBezTo>
                  <a:pt x="3142789" y="1115399"/>
                  <a:pt x="3150393" y="1115161"/>
                  <a:pt x="3157611" y="1116352"/>
                </a:cubicBezTo>
                <a:close/>
                <a:moveTo>
                  <a:pt x="4011840" y="892779"/>
                </a:moveTo>
                <a:lnTo>
                  <a:pt x="4011840" y="999216"/>
                </a:lnTo>
                <a:lnTo>
                  <a:pt x="3957056" y="1017912"/>
                </a:lnTo>
                <a:cubicBezTo>
                  <a:pt x="3930386" y="1025543"/>
                  <a:pt x="3901808" y="1012189"/>
                  <a:pt x="3894188" y="985481"/>
                </a:cubicBezTo>
                <a:cubicBezTo>
                  <a:pt x="3884664" y="960682"/>
                  <a:pt x="3898000" y="932067"/>
                  <a:pt x="3924668" y="922528"/>
                </a:cubicBezTo>
                <a:cubicBezTo>
                  <a:pt x="3924668" y="922528"/>
                  <a:pt x="3924668" y="922528"/>
                  <a:pt x="4007916" y="894118"/>
                </a:cubicBezTo>
                <a:close/>
                <a:moveTo>
                  <a:pt x="398307" y="832461"/>
                </a:moveTo>
                <a:cubicBezTo>
                  <a:pt x="408309" y="836256"/>
                  <a:pt x="416881" y="843848"/>
                  <a:pt x="421644" y="854286"/>
                </a:cubicBezTo>
                <a:cubicBezTo>
                  <a:pt x="425454" y="859979"/>
                  <a:pt x="425454" y="865673"/>
                  <a:pt x="425454" y="871366"/>
                </a:cubicBezTo>
                <a:cubicBezTo>
                  <a:pt x="425454" y="886549"/>
                  <a:pt x="417834" y="901732"/>
                  <a:pt x="400689" y="909323"/>
                </a:cubicBezTo>
                <a:cubicBezTo>
                  <a:pt x="400689" y="909323"/>
                  <a:pt x="400689" y="909323"/>
                  <a:pt x="61595" y="1066847"/>
                </a:cubicBezTo>
                <a:cubicBezTo>
                  <a:pt x="40639" y="1076336"/>
                  <a:pt x="15874" y="1066847"/>
                  <a:pt x="6349" y="1045967"/>
                </a:cubicBezTo>
                <a:cubicBezTo>
                  <a:pt x="-3176" y="1025091"/>
                  <a:pt x="6349" y="1000419"/>
                  <a:pt x="27304" y="990930"/>
                </a:cubicBezTo>
                <a:cubicBezTo>
                  <a:pt x="27304" y="990930"/>
                  <a:pt x="27304" y="990930"/>
                  <a:pt x="366398" y="833409"/>
                </a:cubicBezTo>
                <a:cubicBezTo>
                  <a:pt x="376876" y="828665"/>
                  <a:pt x="388306" y="828665"/>
                  <a:pt x="398307" y="832461"/>
                </a:cubicBezTo>
                <a:close/>
                <a:moveTo>
                  <a:pt x="944785" y="824757"/>
                </a:moveTo>
                <a:cubicBezTo>
                  <a:pt x="955509" y="828790"/>
                  <a:pt x="964564" y="836854"/>
                  <a:pt x="969330" y="848240"/>
                </a:cubicBezTo>
                <a:cubicBezTo>
                  <a:pt x="971236" y="853932"/>
                  <a:pt x="973143" y="859625"/>
                  <a:pt x="973143" y="865318"/>
                </a:cubicBezTo>
                <a:cubicBezTo>
                  <a:pt x="973143" y="882396"/>
                  <a:pt x="963611" y="899474"/>
                  <a:pt x="946453" y="907064"/>
                </a:cubicBezTo>
                <a:cubicBezTo>
                  <a:pt x="946453" y="907064"/>
                  <a:pt x="946453" y="907064"/>
                  <a:pt x="605206" y="1049381"/>
                </a:cubicBezTo>
                <a:cubicBezTo>
                  <a:pt x="582329" y="1058872"/>
                  <a:pt x="555640" y="1047484"/>
                  <a:pt x="546108" y="1024713"/>
                </a:cubicBezTo>
                <a:cubicBezTo>
                  <a:pt x="536576" y="1003840"/>
                  <a:pt x="548014" y="977274"/>
                  <a:pt x="570891" y="967786"/>
                </a:cubicBezTo>
                <a:cubicBezTo>
                  <a:pt x="570891" y="967786"/>
                  <a:pt x="570891" y="967786"/>
                  <a:pt x="910231" y="825469"/>
                </a:cubicBezTo>
                <a:cubicBezTo>
                  <a:pt x="921670" y="820725"/>
                  <a:pt x="934061" y="820725"/>
                  <a:pt x="944785" y="824757"/>
                </a:cubicBezTo>
                <a:close/>
                <a:moveTo>
                  <a:pt x="1476350" y="812922"/>
                </a:moveTo>
                <a:cubicBezTo>
                  <a:pt x="1494719" y="813727"/>
                  <a:pt x="1511483" y="825530"/>
                  <a:pt x="1518617" y="842698"/>
                </a:cubicBezTo>
                <a:cubicBezTo>
                  <a:pt x="1520519" y="848421"/>
                  <a:pt x="1522421" y="854143"/>
                  <a:pt x="1522421" y="859866"/>
                </a:cubicBezTo>
                <a:cubicBezTo>
                  <a:pt x="1522421" y="878941"/>
                  <a:pt x="1511008" y="898017"/>
                  <a:pt x="1491985" y="903740"/>
                </a:cubicBezTo>
                <a:cubicBezTo>
                  <a:pt x="1491985" y="903740"/>
                  <a:pt x="1491985" y="903740"/>
                  <a:pt x="1151476" y="1033454"/>
                </a:cubicBezTo>
                <a:cubicBezTo>
                  <a:pt x="1126746" y="1042992"/>
                  <a:pt x="1100114" y="1031547"/>
                  <a:pt x="1090602" y="1006748"/>
                </a:cubicBezTo>
                <a:cubicBezTo>
                  <a:pt x="1081091" y="981950"/>
                  <a:pt x="1094407" y="955244"/>
                  <a:pt x="1117234" y="945706"/>
                </a:cubicBezTo>
                <a:cubicBezTo>
                  <a:pt x="1117234" y="945706"/>
                  <a:pt x="1117234" y="945706"/>
                  <a:pt x="1457743" y="815992"/>
                </a:cubicBezTo>
                <a:cubicBezTo>
                  <a:pt x="1463926" y="813608"/>
                  <a:pt x="1470227" y="812654"/>
                  <a:pt x="1476350" y="812922"/>
                </a:cubicBezTo>
                <a:close/>
                <a:moveTo>
                  <a:pt x="2032209" y="804237"/>
                </a:moveTo>
                <a:cubicBezTo>
                  <a:pt x="2051146" y="806026"/>
                  <a:pt x="2069005" y="818545"/>
                  <a:pt x="2076148" y="838575"/>
                </a:cubicBezTo>
                <a:cubicBezTo>
                  <a:pt x="2078054" y="844298"/>
                  <a:pt x="2078054" y="848114"/>
                  <a:pt x="2078054" y="853837"/>
                </a:cubicBezTo>
                <a:cubicBezTo>
                  <a:pt x="2078054" y="874821"/>
                  <a:pt x="2064718" y="893898"/>
                  <a:pt x="2043759" y="901528"/>
                </a:cubicBezTo>
                <a:cubicBezTo>
                  <a:pt x="2043759" y="901528"/>
                  <a:pt x="2043759" y="901528"/>
                  <a:pt x="1702759" y="1017896"/>
                </a:cubicBezTo>
                <a:cubicBezTo>
                  <a:pt x="1676089" y="1025527"/>
                  <a:pt x="1649419" y="1012173"/>
                  <a:pt x="1639894" y="985466"/>
                </a:cubicBezTo>
                <a:cubicBezTo>
                  <a:pt x="1630368" y="960666"/>
                  <a:pt x="1645609" y="932051"/>
                  <a:pt x="1670374" y="922513"/>
                </a:cubicBezTo>
                <a:cubicBezTo>
                  <a:pt x="1670374" y="922513"/>
                  <a:pt x="1670374" y="922513"/>
                  <a:pt x="2013278" y="806145"/>
                </a:cubicBezTo>
                <a:cubicBezTo>
                  <a:pt x="2019470" y="804237"/>
                  <a:pt x="2025899" y="803641"/>
                  <a:pt x="2032209" y="804237"/>
                </a:cubicBezTo>
                <a:close/>
                <a:moveTo>
                  <a:pt x="3725236" y="796615"/>
                </a:moveTo>
                <a:cubicBezTo>
                  <a:pt x="3745002" y="798940"/>
                  <a:pt x="3762884" y="812533"/>
                  <a:pt x="3770040" y="832564"/>
                </a:cubicBezTo>
                <a:cubicBezTo>
                  <a:pt x="3770040" y="838288"/>
                  <a:pt x="3771948" y="844011"/>
                  <a:pt x="3771948" y="847826"/>
                </a:cubicBezTo>
                <a:cubicBezTo>
                  <a:pt x="3771948" y="870720"/>
                  <a:pt x="3756688" y="891705"/>
                  <a:pt x="3733792" y="897429"/>
                </a:cubicBezTo>
                <a:cubicBezTo>
                  <a:pt x="3733792" y="897429"/>
                  <a:pt x="3733792" y="897429"/>
                  <a:pt x="3390423" y="1000449"/>
                </a:cubicBezTo>
                <a:cubicBezTo>
                  <a:pt x="3363713" y="1008080"/>
                  <a:pt x="3335097" y="992818"/>
                  <a:pt x="3325558" y="964201"/>
                </a:cubicBezTo>
                <a:cubicBezTo>
                  <a:pt x="3317928" y="937492"/>
                  <a:pt x="3333189" y="908876"/>
                  <a:pt x="3361806" y="899337"/>
                </a:cubicBezTo>
                <a:cubicBezTo>
                  <a:pt x="3361806" y="899337"/>
                  <a:pt x="3361806" y="899337"/>
                  <a:pt x="3705176" y="798224"/>
                </a:cubicBezTo>
                <a:cubicBezTo>
                  <a:pt x="3711854" y="796316"/>
                  <a:pt x="3718648" y="795840"/>
                  <a:pt x="3725236" y="796615"/>
                </a:cubicBezTo>
                <a:close/>
                <a:moveTo>
                  <a:pt x="2591734" y="796597"/>
                </a:moveTo>
                <a:cubicBezTo>
                  <a:pt x="2611497" y="798922"/>
                  <a:pt x="2629381" y="812515"/>
                  <a:pt x="2636535" y="832546"/>
                </a:cubicBezTo>
                <a:cubicBezTo>
                  <a:pt x="2636535" y="838270"/>
                  <a:pt x="2638443" y="843993"/>
                  <a:pt x="2638443" y="847809"/>
                </a:cubicBezTo>
                <a:cubicBezTo>
                  <a:pt x="2638443" y="870702"/>
                  <a:pt x="2623182" y="891688"/>
                  <a:pt x="2600289" y="897411"/>
                </a:cubicBezTo>
                <a:cubicBezTo>
                  <a:pt x="2600289" y="897411"/>
                  <a:pt x="2600289" y="897411"/>
                  <a:pt x="2256905" y="1000432"/>
                </a:cubicBezTo>
                <a:cubicBezTo>
                  <a:pt x="2230197" y="1008063"/>
                  <a:pt x="2201582" y="992801"/>
                  <a:pt x="2192044" y="964184"/>
                </a:cubicBezTo>
                <a:cubicBezTo>
                  <a:pt x="2184413" y="937475"/>
                  <a:pt x="2199674" y="908858"/>
                  <a:pt x="2228290" y="899319"/>
                </a:cubicBezTo>
                <a:cubicBezTo>
                  <a:pt x="2228290" y="899319"/>
                  <a:pt x="2228290" y="899319"/>
                  <a:pt x="2571674" y="798206"/>
                </a:cubicBezTo>
                <a:cubicBezTo>
                  <a:pt x="2578350" y="796299"/>
                  <a:pt x="2585147" y="795822"/>
                  <a:pt x="2591734" y="796597"/>
                </a:cubicBezTo>
                <a:close/>
                <a:moveTo>
                  <a:pt x="3154890" y="787706"/>
                </a:moveTo>
                <a:cubicBezTo>
                  <a:pt x="3175860" y="791188"/>
                  <a:pt x="3194420" y="807261"/>
                  <a:pt x="3200131" y="828693"/>
                </a:cubicBezTo>
                <a:cubicBezTo>
                  <a:pt x="3200131" y="832503"/>
                  <a:pt x="3202035" y="838218"/>
                  <a:pt x="3202035" y="842028"/>
                </a:cubicBezTo>
                <a:cubicBezTo>
                  <a:pt x="3202035" y="866793"/>
                  <a:pt x="3184903" y="887747"/>
                  <a:pt x="3160155" y="895367"/>
                </a:cubicBezTo>
                <a:cubicBezTo>
                  <a:pt x="3160155" y="895367"/>
                  <a:pt x="3160155" y="895367"/>
                  <a:pt x="2817485" y="982997"/>
                </a:cubicBezTo>
                <a:cubicBezTo>
                  <a:pt x="2787025" y="990617"/>
                  <a:pt x="2758469" y="973472"/>
                  <a:pt x="2750856" y="944898"/>
                </a:cubicBezTo>
                <a:cubicBezTo>
                  <a:pt x="2743240" y="914417"/>
                  <a:pt x="2760373" y="885843"/>
                  <a:pt x="2788932" y="878223"/>
                </a:cubicBezTo>
                <a:cubicBezTo>
                  <a:pt x="2788932" y="878223"/>
                  <a:pt x="2788932" y="878223"/>
                  <a:pt x="3133502" y="788688"/>
                </a:cubicBezTo>
                <a:cubicBezTo>
                  <a:pt x="3140640" y="786783"/>
                  <a:pt x="3147899" y="786545"/>
                  <a:pt x="3154890" y="787706"/>
                </a:cubicBezTo>
                <a:close/>
                <a:moveTo>
                  <a:pt x="4011840" y="574461"/>
                </a:moveTo>
                <a:lnTo>
                  <a:pt x="4011840" y="675481"/>
                </a:lnTo>
                <a:lnTo>
                  <a:pt x="3956840" y="695371"/>
                </a:lnTo>
                <a:cubicBezTo>
                  <a:pt x="3932036" y="704870"/>
                  <a:pt x="3903420" y="691571"/>
                  <a:pt x="3895788" y="666874"/>
                </a:cubicBezTo>
                <a:cubicBezTo>
                  <a:pt x="3886250" y="642177"/>
                  <a:pt x="3899604" y="615579"/>
                  <a:pt x="3924406" y="606080"/>
                </a:cubicBezTo>
                <a:cubicBezTo>
                  <a:pt x="3924406" y="606080"/>
                  <a:pt x="3924406" y="606080"/>
                  <a:pt x="4007772" y="575932"/>
                </a:cubicBezTo>
                <a:close/>
                <a:moveTo>
                  <a:pt x="382532" y="506676"/>
                </a:moveTo>
                <a:cubicBezTo>
                  <a:pt x="398784" y="505521"/>
                  <a:pt x="414500" y="514761"/>
                  <a:pt x="421644" y="530400"/>
                </a:cubicBezTo>
                <a:cubicBezTo>
                  <a:pt x="423549" y="536086"/>
                  <a:pt x="425454" y="541773"/>
                  <a:pt x="425454" y="547459"/>
                </a:cubicBezTo>
                <a:cubicBezTo>
                  <a:pt x="425454" y="564519"/>
                  <a:pt x="415929" y="579683"/>
                  <a:pt x="400689" y="585369"/>
                </a:cubicBezTo>
                <a:cubicBezTo>
                  <a:pt x="400689" y="585369"/>
                  <a:pt x="400689" y="585369"/>
                  <a:pt x="61595" y="744593"/>
                </a:cubicBezTo>
                <a:cubicBezTo>
                  <a:pt x="40640" y="754071"/>
                  <a:pt x="15874" y="744593"/>
                  <a:pt x="6349" y="723742"/>
                </a:cubicBezTo>
                <a:cubicBezTo>
                  <a:pt x="-3176" y="702892"/>
                  <a:pt x="6349" y="678250"/>
                  <a:pt x="27304" y="668772"/>
                </a:cubicBezTo>
                <a:cubicBezTo>
                  <a:pt x="27304" y="668772"/>
                  <a:pt x="27304" y="668772"/>
                  <a:pt x="366399" y="511444"/>
                </a:cubicBezTo>
                <a:cubicBezTo>
                  <a:pt x="371637" y="508601"/>
                  <a:pt x="377114" y="507061"/>
                  <a:pt x="382532" y="506676"/>
                </a:cubicBezTo>
                <a:close/>
                <a:moveTo>
                  <a:pt x="943575" y="500954"/>
                </a:moveTo>
                <a:cubicBezTo>
                  <a:pt x="954275" y="505007"/>
                  <a:pt x="963310" y="513114"/>
                  <a:pt x="968066" y="524559"/>
                </a:cubicBezTo>
                <a:cubicBezTo>
                  <a:pt x="969968" y="530281"/>
                  <a:pt x="969968" y="536004"/>
                  <a:pt x="969968" y="541726"/>
                </a:cubicBezTo>
                <a:cubicBezTo>
                  <a:pt x="969968" y="558893"/>
                  <a:pt x="960457" y="574153"/>
                  <a:pt x="945239" y="581783"/>
                </a:cubicBezTo>
                <a:cubicBezTo>
                  <a:pt x="945239" y="581783"/>
                  <a:pt x="945239" y="581783"/>
                  <a:pt x="604741" y="728657"/>
                </a:cubicBezTo>
                <a:cubicBezTo>
                  <a:pt x="581914" y="738195"/>
                  <a:pt x="557185" y="728657"/>
                  <a:pt x="547674" y="705768"/>
                </a:cubicBezTo>
                <a:cubicBezTo>
                  <a:pt x="538163" y="682878"/>
                  <a:pt x="547674" y="658081"/>
                  <a:pt x="570501" y="648544"/>
                </a:cubicBezTo>
                <a:cubicBezTo>
                  <a:pt x="570501" y="648544"/>
                  <a:pt x="570501" y="648544"/>
                  <a:pt x="909097" y="501669"/>
                </a:cubicBezTo>
                <a:cubicBezTo>
                  <a:pt x="920510" y="496901"/>
                  <a:pt x="932875" y="496901"/>
                  <a:pt x="943575" y="500954"/>
                </a:cubicBezTo>
                <a:close/>
                <a:moveTo>
                  <a:pt x="1475768" y="488758"/>
                </a:moveTo>
                <a:cubicBezTo>
                  <a:pt x="1493806" y="489026"/>
                  <a:pt x="1511308" y="499727"/>
                  <a:pt x="1517023" y="516849"/>
                </a:cubicBezTo>
                <a:cubicBezTo>
                  <a:pt x="1520833" y="522557"/>
                  <a:pt x="1520833" y="528264"/>
                  <a:pt x="1520833" y="533972"/>
                </a:cubicBezTo>
                <a:cubicBezTo>
                  <a:pt x="1520833" y="552997"/>
                  <a:pt x="1509403" y="570119"/>
                  <a:pt x="1492258" y="577729"/>
                </a:cubicBezTo>
                <a:cubicBezTo>
                  <a:pt x="1492258" y="577729"/>
                  <a:pt x="1492258" y="577729"/>
                  <a:pt x="1151259" y="712805"/>
                </a:cubicBezTo>
                <a:cubicBezTo>
                  <a:pt x="1128399" y="722318"/>
                  <a:pt x="1101728" y="710903"/>
                  <a:pt x="1092203" y="686170"/>
                </a:cubicBezTo>
                <a:cubicBezTo>
                  <a:pt x="1082678" y="663341"/>
                  <a:pt x="1094108" y="636706"/>
                  <a:pt x="1116969" y="627193"/>
                </a:cubicBezTo>
                <a:cubicBezTo>
                  <a:pt x="1116969" y="627193"/>
                  <a:pt x="1116969" y="627193"/>
                  <a:pt x="1457968" y="492117"/>
                </a:cubicBezTo>
                <a:cubicBezTo>
                  <a:pt x="1463683" y="489739"/>
                  <a:pt x="1469755" y="488669"/>
                  <a:pt x="1475768" y="488758"/>
                </a:cubicBezTo>
                <a:close/>
                <a:moveTo>
                  <a:pt x="2030557" y="479549"/>
                </a:moveTo>
                <a:cubicBezTo>
                  <a:pt x="2049519" y="480439"/>
                  <a:pt x="2067405" y="492550"/>
                  <a:pt x="2074559" y="511073"/>
                </a:cubicBezTo>
                <a:cubicBezTo>
                  <a:pt x="2076467" y="516773"/>
                  <a:pt x="2076467" y="522472"/>
                  <a:pt x="2076467" y="528172"/>
                </a:cubicBezTo>
                <a:cubicBezTo>
                  <a:pt x="2076467" y="547170"/>
                  <a:pt x="2065020" y="566167"/>
                  <a:pt x="2045938" y="571867"/>
                </a:cubicBezTo>
                <a:cubicBezTo>
                  <a:pt x="2045938" y="571867"/>
                  <a:pt x="2045938" y="571867"/>
                  <a:pt x="1702543" y="695353"/>
                </a:cubicBezTo>
                <a:cubicBezTo>
                  <a:pt x="1677743" y="704852"/>
                  <a:pt x="1651034" y="691554"/>
                  <a:pt x="1641495" y="666857"/>
                </a:cubicBezTo>
                <a:cubicBezTo>
                  <a:pt x="1631957" y="642159"/>
                  <a:pt x="1645311" y="615562"/>
                  <a:pt x="1670112" y="606063"/>
                </a:cubicBezTo>
                <a:cubicBezTo>
                  <a:pt x="1670112" y="606063"/>
                  <a:pt x="1670112" y="606063"/>
                  <a:pt x="2011599" y="482577"/>
                </a:cubicBezTo>
                <a:cubicBezTo>
                  <a:pt x="2017799" y="480202"/>
                  <a:pt x="2024238" y="479252"/>
                  <a:pt x="2030557" y="479549"/>
                </a:cubicBezTo>
                <a:close/>
                <a:moveTo>
                  <a:pt x="3723552" y="470397"/>
                </a:moveTo>
                <a:cubicBezTo>
                  <a:pt x="3743256" y="471917"/>
                  <a:pt x="3760808" y="485509"/>
                  <a:pt x="3766538" y="505539"/>
                </a:cubicBezTo>
                <a:cubicBezTo>
                  <a:pt x="3768448" y="511262"/>
                  <a:pt x="3770360" y="515077"/>
                  <a:pt x="3770360" y="520800"/>
                </a:cubicBezTo>
                <a:cubicBezTo>
                  <a:pt x="3770360" y="541785"/>
                  <a:pt x="3756988" y="560861"/>
                  <a:pt x="3734060" y="568492"/>
                </a:cubicBezTo>
                <a:cubicBezTo>
                  <a:pt x="3734060" y="568492"/>
                  <a:pt x="3734060" y="568492"/>
                  <a:pt x="3392112" y="681044"/>
                </a:cubicBezTo>
                <a:cubicBezTo>
                  <a:pt x="3365365" y="690583"/>
                  <a:pt x="3336709" y="675321"/>
                  <a:pt x="3329066" y="648614"/>
                </a:cubicBezTo>
                <a:cubicBezTo>
                  <a:pt x="3319515" y="621907"/>
                  <a:pt x="3334799" y="595199"/>
                  <a:pt x="3359633" y="585661"/>
                </a:cubicBezTo>
                <a:cubicBezTo>
                  <a:pt x="3359633" y="585661"/>
                  <a:pt x="3359633" y="585661"/>
                  <a:pt x="3703492" y="473109"/>
                </a:cubicBezTo>
                <a:cubicBezTo>
                  <a:pt x="3710178" y="470724"/>
                  <a:pt x="3716984" y="469890"/>
                  <a:pt x="3723552" y="470397"/>
                </a:cubicBezTo>
                <a:close/>
                <a:moveTo>
                  <a:pt x="2590051" y="470376"/>
                </a:moveTo>
                <a:cubicBezTo>
                  <a:pt x="2609752" y="471896"/>
                  <a:pt x="2627304" y="485489"/>
                  <a:pt x="2633035" y="505519"/>
                </a:cubicBezTo>
                <a:cubicBezTo>
                  <a:pt x="2634946" y="511242"/>
                  <a:pt x="2636856" y="515058"/>
                  <a:pt x="2636856" y="520780"/>
                </a:cubicBezTo>
                <a:cubicBezTo>
                  <a:pt x="2636856" y="541765"/>
                  <a:pt x="2623484" y="560842"/>
                  <a:pt x="2600558" y="568472"/>
                </a:cubicBezTo>
                <a:cubicBezTo>
                  <a:pt x="2600558" y="568472"/>
                  <a:pt x="2600558" y="568472"/>
                  <a:pt x="2258596" y="681025"/>
                </a:cubicBezTo>
                <a:cubicBezTo>
                  <a:pt x="2231850" y="690563"/>
                  <a:pt x="2203194" y="675302"/>
                  <a:pt x="2195553" y="648594"/>
                </a:cubicBezTo>
                <a:cubicBezTo>
                  <a:pt x="2186001" y="621887"/>
                  <a:pt x="2201284" y="595180"/>
                  <a:pt x="2226119" y="585641"/>
                </a:cubicBezTo>
                <a:cubicBezTo>
                  <a:pt x="2226119" y="585641"/>
                  <a:pt x="2226119" y="585641"/>
                  <a:pt x="2569992" y="473089"/>
                </a:cubicBezTo>
                <a:cubicBezTo>
                  <a:pt x="2576678" y="470704"/>
                  <a:pt x="2583484" y="469870"/>
                  <a:pt x="2590051" y="470376"/>
                </a:cubicBezTo>
                <a:close/>
                <a:moveTo>
                  <a:pt x="3153226" y="461684"/>
                </a:moveTo>
                <a:cubicBezTo>
                  <a:pt x="3173703" y="464098"/>
                  <a:pt x="3191231" y="478049"/>
                  <a:pt x="3196954" y="499511"/>
                </a:cubicBezTo>
                <a:cubicBezTo>
                  <a:pt x="3198860" y="503327"/>
                  <a:pt x="3198860" y="509050"/>
                  <a:pt x="3198860" y="512866"/>
                </a:cubicBezTo>
                <a:cubicBezTo>
                  <a:pt x="3198860" y="535759"/>
                  <a:pt x="3185507" y="556745"/>
                  <a:pt x="3162616" y="564376"/>
                </a:cubicBezTo>
                <a:cubicBezTo>
                  <a:pt x="3162616" y="564376"/>
                  <a:pt x="3162616" y="564376"/>
                  <a:pt x="2819228" y="665488"/>
                </a:cubicBezTo>
                <a:cubicBezTo>
                  <a:pt x="2790614" y="673120"/>
                  <a:pt x="2761996" y="657857"/>
                  <a:pt x="2754367" y="629241"/>
                </a:cubicBezTo>
                <a:cubicBezTo>
                  <a:pt x="2744828" y="602531"/>
                  <a:pt x="2761996" y="572007"/>
                  <a:pt x="2788705" y="564376"/>
                </a:cubicBezTo>
                <a:cubicBezTo>
                  <a:pt x="2788705" y="564376"/>
                  <a:pt x="2788705" y="564376"/>
                  <a:pt x="3132091" y="463264"/>
                </a:cubicBezTo>
                <a:cubicBezTo>
                  <a:pt x="3139247" y="461356"/>
                  <a:pt x="3146400" y="460879"/>
                  <a:pt x="3153226" y="461684"/>
                </a:cubicBezTo>
                <a:close/>
                <a:moveTo>
                  <a:pt x="4011840" y="256161"/>
                </a:moveTo>
                <a:lnTo>
                  <a:pt x="4011840" y="354991"/>
                </a:lnTo>
                <a:lnTo>
                  <a:pt x="3956616" y="376246"/>
                </a:lnTo>
                <a:cubicBezTo>
                  <a:pt x="3933692" y="385784"/>
                  <a:pt x="3906944" y="374339"/>
                  <a:pt x="3897392" y="349541"/>
                </a:cubicBezTo>
                <a:cubicBezTo>
                  <a:pt x="3887836" y="326650"/>
                  <a:pt x="3899300" y="299944"/>
                  <a:pt x="3924140" y="290406"/>
                </a:cubicBezTo>
                <a:cubicBezTo>
                  <a:pt x="3924140" y="290406"/>
                  <a:pt x="3924140" y="290406"/>
                  <a:pt x="4007626" y="257806"/>
                </a:cubicBezTo>
                <a:close/>
                <a:moveTo>
                  <a:pt x="398308" y="186349"/>
                </a:moveTo>
                <a:cubicBezTo>
                  <a:pt x="408309" y="190145"/>
                  <a:pt x="416882" y="197736"/>
                  <a:pt x="421644" y="208174"/>
                </a:cubicBezTo>
                <a:cubicBezTo>
                  <a:pt x="423549" y="213868"/>
                  <a:pt x="425454" y="219561"/>
                  <a:pt x="425454" y="225255"/>
                </a:cubicBezTo>
                <a:cubicBezTo>
                  <a:pt x="425454" y="240437"/>
                  <a:pt x="415929" y="255620"/>
                  <a:pt x="400689" y="263212"/>
                </a:cubicBezTo>
                <a:cubicBezTo>
                  <a:pt x="400689" y="263212"/>
                  <a:pt x="400689" y="263212"/>
                  <a:pt x="61595" y="420733"/>
                </a:cubicBezTo>
                <a:cubicBezTo>
                  <a:pt x="42545" y="430222"/>
                  <a:pt x="17780" y="422630"/>
                  <a:pt x="6349" y="401754"/>
                </a:cubicBezTo>
                <a:cubicBezTo>
                  <a:pt x="-3176" y="380878"/>
                  <a:pt x="6349" y="356206"/>
                  <a:pt x="27305" y="346717"/>
                </a:cubicBezTo>
                <a:cubicBezTo>
                  <a:pt x="27305" y="346717"/>
                  <a:pt x="27305" y="346717"/>
                  <a:pt x="366399" y="187298"/>
                </a:cubicBezTo>
                <a:cubicBezTo>
                  <a:pt x="376876" y="182554"/>
                  <a:pt x="388306" y="182554"/>
                  <a:pt x="398308" y="186349"/>
                </a:cubicBezTo>
                <a:close/>
                <a:moveTo>
                  <a:pt x="942624" y="176854"/>
                </a:moveTo>
                <a:cubicBezTo>
                  <a:pt x="952848" y="180664"/>
                  <a:pt x="961408" y="188284"/>
                  <a:pt x="966164" y="198761"/>
                </a:cubicBezTo>
                <a:cubicBezTo>
                  <a:pt x="968066" y="204476"/>
                  <a:pt x="969968" y="212096"/>
                  <a:pt x="969968" y="217811"/>
                </a:cubicBezTo>
                <a:cubicBezTo>
                  <a:pt x="969968" y="233051"/>
                  <a:pt x="960457" y="250196"/>
                  <a:pt x="945239" y="255911"/>
                </a:cubicBezTo>
                <a:cubicBezTo>
                  <a:pt x="945239" y="255911"/>
                  <a:pt x="945239" y="255911"/>
                  <a:pt x="604741" y="406406"/>
                </a:cubicBezTo>
                <a:cubicBezTo>
                  <a:pt x="583816" y="415931"/>
                  <a:pt x="557185" y="406406"/>
                  <a:pt x="547674" y="385451"/>
                </a:cubicBezTo>
                <a:cubicBezTo>
                  <a:pt x="538163" y="362591"/>
                  <a:pt x="547674" y="337826"/>
                  <a:pt x="570501" y="328301"/>
                </a:cubicBezTo>
                <a:cubicBezTo>
                  <a:pt x="570501" y="328301"/>
                  <a:pt x="570501" y="328301"/>
                  <a:pt x="909097" y="177807"/>
                </a:cubicBezTo>
                <a:cubicBezTo>
                  <a:pt x="920510" y="173044"/>
                  <a:pt x="932399" y="173044"/>
                  <a:pt x="942624" y="176854"/>
                </a:cubicBezTo>
                <a:close/>
                <a:moveTo>
                  <a:pt x="1492476" y="167542"/>
                </a:moveTo>
                <a:cubicBezTo>
                  <a:pt x="1503199" y="171579"/>
                  <a:pt x="1512255" y="179654"/>
                  <a:pt x="1517021" y="191054"/>
                </a:cubicBezTo>
                <a:cubicBezTo>
                  <a:pt x="1518927" y="196754"/>
                  <a:pt x="1520833" y="202454"/>
                  <a:pt x="1520833" y="208154"/>
                </a:cubicBezTo>
                <a:cubicBezTo>
                  <a:pt x="1520833" y="227154"/>
                  <a:pt x="1509395" y="242354"/>
                  <a:pt x="1492238" y="249954"/>
                </a:cubicBezTo>
                <a:cubicBezTo>
                  <a:pt x="1492238" y="249954"/>
                  <a:pt x="1492238" y="249954"/>
                  <a:pt x="1150990" y="390554"/>
                </a:cubicBezTo>
                <a:cubicBezTo>
                  <a:pt x="1128114" y="400054"/>
                  <a:pt x="1103330" y="390554"/>
                  <a:pt x="1093798" y="367754"/>
                </a:cubicBezTo>
                <a:cubicBezTo>
                  <a:pt x="1084266" y="343054"/>
                  <a:pt x="1093798" y="318354"/>
                  <a:pt x="1116675" y="308854"/>
                </a:cubicBezTo>
                <a:cubicBezTo>
                  <a:pt x="1116675" y="308854"/>
                  <a:pt x="1116675" y="308854"/>
                  <a:pt x="1457922" y="168254"/>
                </a:cubicBezTo>
                <a:cubicBezTo>
                  <a:pt x="1469361" y="163504"/>
                  <a:pt x="1481752" y="163504"/>
                  <a:pt x="1492476" y="167542"/>
                </a:cubicBezTo>
                <a:close/>
                <a:moveTo>
                  <a:pt x="2010467" y="156857"/>
                </a:moveTo>
                <a:cubicBezTo>
                  <a:pt x="2035214" y="149227"/>
                  <a:pt x="2061870" y="160672"/>
                  <a:pt x="2071388" y="183563"/>
                </a:cubicBezTo>
                <a:cubicBezTo>
                  <a:pt x="2073292" y="189286"/>
                  <a:pt x="2073292" y="195008"/>
                  <a:pt x="2073292" y="200731"/>
                </a:cubicBezTo>
                <a:cubicBezTo>
                  <a:pt x="2073292" y="219807"/>
                  <a:pt x="2061870" y="236975"/>
                  <a:pt x="2044733" y="244605"/>
                </a:cubicBezTo>
                <a:cubicBezTo>
                  <a:pt x="2044733" y="244605"/>
                  <a:pt x="2044733" y="244605"/>
                  <a:pt x="1703979" y="376227"/>
                </a:cubicBezTo>
                <a:cubicBezTo>
                  <a:pt x="1679231" y="385765"/>
                  <a:pt x="1652580" y="374320"/>
                  <a:pt x="1643062" y="349521"/>
                </a:cubicBezTo>
                <a:cubicBezTo>
                  <a:pt x="1633544" y="326630"/>
                  <a:pt x="1644966" y="299925"/>
                  <a:pt x="1669713" y="290387"/>
                </a:cubicBezTo>
                <a:cubicBezTo>
                  <a:pt x="1669713" y="290387"/>
                  <a:pt x="1669713" y="290387"/>
                  <a:pt x="2010467" y="156857"/>
                </a:cubicBezTo>
                <a:close/>
                <a:moveTo>
                  <a:pt x="3720656" y="144606"/>
                </a:moveTo>
                <a:cubicBezTo>
                  <a:pt x="3739812" y="145497"/>
                  <a:pt x="3756568" y="157608"/>
                  <a:pt x="3763698" y="176130"/>
                </a:cubicBezTo>
                <a:cubicBezTo>
                  <a:pt x="3765600" y="181830"/>
                  <a:pt x="3765600" y="187529"/>
                  <a:pt x="3765600" y="193228"/>
                </a:cubicBezTo>
                <a:cubicBezTo>
                  <a:pt x="3765600" y="212226"/>
                  <a:pt x="3754192" y="231224"/>
                  <a:pt x="3735180" y="238823"/>
                </a:cubicBezTo>
                <a:cubicBezTo>
                  <a:pt x="3735180" y="238823"/>
                  <a:pt x="3735180" y="238823"/>
                  <a:pt x="3393028" y="360410"/>
                </a:cubicBezTo>
                <a:cubicBezTo>
                  <a:pt x="3368312" y="369909"/>
                  <a:pt x="3341701" y="356611"/>
                  <a:pt x="3332195" y="331913"/>
                </a:cubicBezTo>
                <a:cubicBezTo>
                  <a:pt x="3322691" y="307216"/>
                  <a:pt x="3335998" y="278719"/>
                  <a:pt x="3360708" y="271120"/>
                </a:cubicBezTo>
                <a:cubicBezTo>
                  <a:pt x="3360708" y="271120"/>
                  <a:pt x="3360708" y="271120"/>
                  <a:pt x="3700964" y="147634"/>
                </a:cubicBezTo>
                <a:cubicBezTo>
                  <a:pt x="3707616" y="145259"/>
                  <a:pt x="3714268" y="144309"/>
                  <a:pt x="3720656" y="144606"/>
                </a:cubicBezTo>
                <a:close/>
                <a:moveTo>
                  <a:pt x="2586993" y="144584"/>
                </a:moveTo>
                <a:cubicBezTo>
                  <a:pt x="2606219" y="145475"/>
                  <a:pt x="2623032" y="157586"/>
                  <a:pt x="2630185" y="176109"/>
                </a:cubicBezTo>
                <a:cubicBezTo>
                  <a:pt x="2632093" y="181808"/>
                  <a:pt x="2632093" y="187507"/>
                  <a:pt x="2632093" y="193207"/>
                </a:cubicBezTo>
                <a:cubicBezTo>
                  <a:pt x="2632093" y="212205"/>
                  <a:pt x="2620647" y="231203"/>
                  <a:pt x="2601569" y="238802"/>
                </a:cubicBezTo>
                <a:cubicBezTo>
                  <a:pt x="2601569" y="238802"/>
                  <a:pt x="2601569" y="238802"/>
                  <a:pt x="2258175" y="360389"/>
                </a:cubicBezTo>
                <a:cubicBezTo>
                  <a:pt x="2233374" y="369888"/>
                  <a:pt x="2206666" y="356589"/>
                  <a:pt x="2197127" y="331892"/>
                </a:cubicBezTo>
                <a:cubicBezTo>
                  <a:pt x="2187588" y="307194"/>
                  <a:pt x="2200942" y="278697"/>
                  <a:pt x="2225743" y="271098"/>
                </a:cubicBezTo>
                <a:cubicBezTo>
                  <a:pt x="2225743" y="271098"/>
                  <a:pt x="2225743" y="271098"/>
                  <a:pt x="2567230" y="147612"/>
                </a:cubicBezTo>
                <a:cubicBezTo>
                  <a:pt x="2573907" y="145237"/>
                  <a:pt x="2580584" y="144287"/>
                  <a:pt x="2586993" y="144584"/>
                </a:cubicBezTo>
                <a:close/>
                <a:moveTo>
                  <a:pt x="3149047" y="135359"/>
                </a:moveTo>
                <a:cubicBezTo>
                  <a:pt x="3168678" y="136779"/>
                  <a:pt x="3186167" y="149921"/>
                  <a:pt x="3191878" y="168391"/>
                </a:cubicBezTo>
                <a:cubicBezTo>
                  <a:pt x="3193782" y="174073"/>
                  <a:pt x="3195685" y="179756"/>
                  <a:pt x="3195685" y="185439"/>
                </a:cubicBezTo>
                <a:cubicBezTo>
                  <a:pt x="3195685" y="206277"/>
                  <a:pt x="3182361" y="225220"/>
                  <a:pt x="3161420" y="232797"/>
                </a:cubicBezTo>
                <a:cubicBezTo>
                  <a:pt x="3161420" y="232797"/>
                  <a:pt x="3161420" y="232797"/>
                  <a:pt x="2818756" y="344562"/>
                </a:cubicBezTo>
                <a:cubicBezTo>
                  <a:pt x="2794009" y="354034"/>
                  <a:pt x="2765451" y="338879"/>
                  <a:pt x="2755934" y="314253"/>
                </a:cubicBezTo>
                <a:cubicBezTo>
                  <a:pt x="2746414" y="287733"/>
                  <a:pt x="2761644" y="259318"/>
                  <a:pt x="2788299" y="249846"/>
                </a:cubicBezTo>
                <a:cubicBezTo>
                  <a:pt x="2788299" y="249846"/>
                  <a:pt x="2788299" y="249846"/>
                  <a:pt x="3129056" y="138082"/>
                </a:cubicBezTo>
                <a:cubicBezTo>
                  <a:pt x="3135720" y="135714"/>
                  <a:pt x="3142503" y="134885"/>
                  <a:pt x="3149047" y="135359"/>
                </a:cubicBezTo>
                <a:close/>
                <a:moveTo>
                  <a:pt x="3898002" y="24"/>
                </a:moveTo>
                <a:cubicBezTo>
                  <a:pt x="3898002" y="24"/>
                  <a:pt x="3898002" y="24"/>
                  <a:pt x="3980112" y="24"/>
                </a:cubicBezTo>
                <a:lnTo>
                  <a:pt x="4011840" y="24"/>
                </a:lnTo>
                <a:lnTo>
                  <a:pt x="4011840" y="33605"/>
                </a:lnTo>
                <a:lnTo>
                  <a:pt x="3959064" y="55540"/>
                </a:lnTo>
                <a:cubicBezTo>
                  <a:pt x="3936168" y="65112"/>
                  <a:pt x="3909452" y="53625"/>
                  <a:pt x="3899912" y="30653"/>
                </a:cubicBezTo>
                <a:cubicBezTo>
                  <a:pt x="3896096" y="21082"/>
                  <a:pt x="3894188" y="9595"/>
                  <a:pt x="3898002" y="24"/>
                </a:cubicBezTo>
                <a:close/>
                <a:moveTo>
                  <a:pt x="3332212" y="24"/>
                </a:moveTo>
                <a:cubicBezTo>
                  <a:pt x="3332212" y="24"/>
                  <a:pt x="3332212" y="24"/>
                  <a:pt x="3497315" y="24"/>
                </a:cubicBezTo>
                <a:cubicBezTo>
                  <a:pt x="3497315" y="24"/>
                  <a:pt x="3497315" y="24"/>
                  <a:pt x="3394843" y="41665"/>
                </a:cubicBezTo>
                <a:cubicBezTo>
                  <a:pt x="3370170" y="49236"/>
                  <a:pt x="3343601" y="37880"/>
                  <a:pt x="3334111" y="15166"/>
                </a:cubicBezTo>
                <a:cubicBezTo>
                  <a:pt x="3332212" y="9488"/>
                  <a:pt x="3332212" y="5702"/>
                  <a:pt x="3332212" y="24"/>
                </a:cubicBezTo>
                <a:close/>
                <a:moveTo>
                  <a:pt x="2760703" y="23"/>
                </a:moveTo>
                <a:cubicBezTo>
                  <a:pt x="2760703" y="23"/>
                  <a:pt x="2760703" y="23"/>
                  <a:pt x="2890880" y="23"/>
                </a:cubicBezTo>
                <a:cubicBezTo>
                  <a:pt x="2890880" y="23"/>
                  <a:pt x="2890880" y="23"/>
                  <a:pt x="2821076" y="27187"/>
                </a:cubicBezTo>
                <a:cubicBezTo>
                  <a:pt x="2796551" y="34949"/>
                  <a:pt x="2772024" y="23307"/>
                  <a:pt x="2760703" y="23"/>
                </a:cubicBezTo>
                <a:close/>
                <a:moveTo>
                  <a:pt x="76928" y="9"/>
                </a:moveTo>
                <a:cubicBezTo>
                  <a:pt x="76928" y="9"/>
                  <a:pt x="76928" y="9"/>
                  <a:pt x="271465" y="9"/>
                </a:cubicBezTo>
                <a:cubicBezTo>
                  <a:pt x="271465" y="9"/>
                  <a:pt x="271465" y="9"/>
                  <a:pt x="63577" y="99939"/>
                </a:cubicBezTo>
                <a:cubicBezTo>
                  <a:pt x="42598" y="109547"/>
                  <a:pt x="17804" y="101861"/>
                  <a:pt x="8268" y="80722"/>
                </a:cubicBezTo>
                <a:cubicBezTo>
                  <a:pt x="-3175" y="59583"/>
                  <a:pt x="6361" y="34600"/>
                  <a:pt x="27340" y="24992"/>
                </a:cubicBezTo>
                <a:cubicBezTo>
                  <a:pt x="27340" y="24992"/>
                  <a:pt x="27340" y="24992"/>
                  <a:pt x="76928" y="9"/>
                </a:cubicBezTo>
                <a:close/>
                <a:moveTo>
                  <a:pt x="583733" y="7"/>
                </a:moveTo>
                <a:cubicBezTo>
                  <a:pt x="583733" y="7"/>
                  <a:pt x="583733" y="7"/>
                  <a:pt x="792167" y="7"/>
                </a:cubicBezTo>
                <a:cubicBezTo>
                  <a:pt x="792167" y="7"/>
                  <a:pt x="792167" y="7"/>
                  <a:pt x="604767" y="83827"/>
                </a:cubicBezTo>
                <a:cubicBezTo>
                  <a:pt x="583733" y="95257"/>
                  <a:pt x="558874" y="85732"/>
                  <a:pt x="549312" y="62872"/>
                </a:cubicBezTo>
                <a:cubicBezTo>
                  <a:pt x="539751" y="41917"/>
                  <a:pt x="549312" y="17152"/>
                  <a:pt x="570347" y="7627"/>
                </a:cubicBezTo>
                <a:cubicBezTo>
                  <a:pt x="570347" y="7627"/>
                  <a:pt x="570347" y="7627"/>
                  <a:pt x="583733" y="7"/>
                </a:cubicBezTo>
                <a:close/>
                <a:moveTo>
                  <a:pt x="1102307" y="5"/>
                </a:moveTo>
                <a:cubicBezTo>
                  <a:pt x="1102307" y="5"/>
                  <a:pt x="1102307" y="5"/>
                  <a:pt x="1312869" y="5"/>
                </a:cubicBezTo>
                <a:cubicBezTo>
                  <a:pt x="1312869" y="5"/>
                  <a:pt x="1312869" y="5"/>
                  <a:pt x="1153525" y="71329"/>
                </a:cubicBezTo>
                <a:cubicBezTo>
                  <a:pt x="1130761" y="80968"/>
                  <a:pt x="1104204" y="69401"/>
                  <a:pt x="1094719" y="48197"/>
                </a:cubicBezTo>
                <a:cubicBezTo>
                  <a:pt x="1089028" y="30848"/>
                  <a:pt x="1090925" y="13498"/>
                  <a:pt x="1102307" y="5"/>
                </a:cubicBezTo>
                <a:close/>
                <a:moveTo>
                  <a:pt x="1643393" y="2"/>
                </a:moveTo>
                <a:cubicBezTo>
                  <a:pt x="1643393" y="2"/>
                  <a:pt x="1643393" y="2"/>
                  <a:pt x="1838335" y="2"/>
                </a:cubicBezTo>
                <a:cubicBezTo>
                  <a:pt x="1838335" y="2"/>
                  <a:pt x="1838335" y="2"/>
                  <a:pt x="1704551" y="55519"/>
                </a:cubicBezTo>
                <a:cubicBezTo>
                  <a:pt x="1681617" y="65090"/>
                  <a:pt x="1654860" y="53604"/>
                  <a:pt x="1645304" y="30632"/>
                </a:cubicBezTo>
                <a:cubicBezTo>
                  <a:pt x="1641482" y="21060"/>
                  <a:pt x="1641482" y="9574"/>
                  <a:pt x="1643393" y="2"/>
                </a:cubicBezTo>
                <a:close/>
                <a:moveTo>
                  <a:pt x="2197113" y="0"/>
                </a:moveTo>
                <a:cubicBezTo>
                  <a:pt x="2197113" y="0"/>
                  <a:pt x="2197113" y="0"/>
                  <a:pt x="2363803" y="0"/>
                </a:cubicBezTo>
                <a:cubicBezTo>
                  <a:pt x="2363803" y="0"/>
                  <a:pt x="2363803" y="0"/>
                  <a:pt x="2260341" y="41642"/>
                </a:cubicBezTo>
                <a:cubicBezTo>
                  <a:pt x="2235433" y="49213"/>
                  <a:pt x="2208609" y="37856"/>
                  <a:pt x="2199030" y="15142"/>
                </a:cubicBezTo>
                <a:cubicBezTo>
                  <a:pt x="2197113" y="9464"/>
                  <a:pt x="2197113" y="5678"/>
                  <a:pt x="2197113" y="0"/>
                </a:cubicBezTo>
                <a:close/>
              </a:path>
            </a:pathLst>
          </a:custGeom>
          <a:solidFill>
            <a:srgbClr val="55BA4A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061793" y="0"/>
            <a:ext cx="8127034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849537"/>
            <a:ext cx="3513152" cy="1926795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>
              <a:lnSpc>
                <a:spcPts val="4199"/>
              </a:lnSpc>
              <a:spcBef>
                <a:spcPts val="0"/>
              </a:spcBef>
              <a:buFont typeface="Arial" panose="020B0604020202020204" pitchFamily="34" charset="0"/>
              <a:buNone/>
              <a:defRPr sz="4666" b="1" strike="noStrike" spc="-151" baseline="0">
                <a:solidFill>
                  <a:schemeClr val="bg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Photo Plus</a:t>
            </a:r>
            <a:br>
              <a:rPr lang="en-US"/>
            </a:br>
            <a:r>
              <a:rPr lang="en-US"/>
              <a:t>Statement</a:t>
            </a:r>
            <a:br>
              <a:rPr lang="en-US"/>
            </a:br>
            <a:r>
              <a:rPr lang="en-US"/>
              <a:t>Layou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48643" y="2943647"/>
            <a:ext cx="3513150" cy="16416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399"/>
              </a:lnSpc>
              <a:spcBef>
                <a:spcPts val="0"/>
              </a:spcBef>
              <a:buNone/>
              <a:defRPr sz="2399" baseline="0">
                <a:solidFill>
                  <a:schemeClr val="bg1"/>
                </a:solidFill>
              </a:defRPr>
            </a:lvl1pPr>
            <a:lvl2pPr marL="609321" indent="0">
              <a:buNone/>
              <a:defRPr/>
            </a:lvl2pPr>
            <a:lvl3pPr marL="1218641" indent="0">
              <a:buNone/>
              <a:defRPr/>
            </a:lvl3pPr>
            <a:lvl4pPr marL="1827963" indent="0">
              <a:buNone/>
              <a:defRPr/>
            </a:lvl4pPr>
            <a:lvl5pPr marL="2437284" indent="0">
              <a:buNone/>
              <a:defRPr/>
            </a:lvl5pPr>
          </a:lstStyle>
          <a:p>
            <a:pPr lvl="0"/>
            <a:r>
              <a:rPr lang="en-US"/>
              <a:t>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205390284"/>
      </p:ext>
    </p:extLst>
  </p:cSld>
  <p:clrMapOvr>
    <a:masterClrMapping/>
  </p:clrMapOvr>
  <p:transition spd="med"/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 -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0"/>
            <a:ext cx="12188826" cy="6858000"/>
          </a:xfrm>
          <a:prstGeom prst="rect">
            <a:avLst/>
          </a:prstGeom>
          <a:solidFill>
            <a:srgbClr val="488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49951" y="-3179"/>
            <a:ext cx="12139750" cy="6858291"/>
          </a:xfrm>
          <a:custGeom>
            <a:avLst/>
            <a:gdLst>
              <a:gd name="connsiteX0" fmla="*/ 9863865 w 12139750"/>
              <a:gd name="connsiteY0" fmla="*/ 6730848 h 6858290"/>
              <a:gd name="connsiteX1" fmla="*/ 9906123 w 12139750"/>
              <a:gd name="connsiteY1" fmla="*/ 6760852 h 6858290"/>
              <a:gd name="connsiteX2" fmla="*/ 9879496 w 12139750"/>
              <a:gd name="connsiteY2" fmla="*/ 6819907 h 6858290"/>
              <a:gd name="connsiteX3" fmla="*/ 9782500 w 12139750"/>
              <a:gd name="connsiteY3" fmla="*/ 6858007 h 6858290"/>
              <a:gd name="connsiteX4" fmla="*/ 9531452 w 12139750"/>
              <a:gd name="connsiteY4" fmla="*/ 6858007 h 6858290"/>
              <a:gd name="connsiteX5" fmla="*/ 9845262 w 12139750"/>
              <a:gd name="connsiteY5" fmla="*/ 6734182 h 6858290"/>
              <a:gd name="connsiteX6" fmla="*/ 9863865 w 12139750"/>
              <a:gd name="connsiteY6" fmla="*/ 6730848 h 6858290"/>
              <a:gd name="connsiteX7" fmla="*/ 10445577 w 12139750"/>
              <a:gd name="connsiteY7" fmla="*/ 6718092 h 6858290"/>
              <a:gd name="connsiteX8" fmla="*/ 10487132 w 12139750"/>
              <a:gd name="connsiteY8" fmla="*/ 6746099 h 6858290"/>
              <a:gd name="connsiteX9" fmla="*/ 10462348 w 12139750"/>
              <a:gd name="connsiteY9" fmla="*/ 6804898 h 6858290"/>
              <a:gd name="connsiteX10" fmla="*/ 10328892 w 12139750"/>
              <a:gd name="connsiteY10" fmla="*/ 6858007 h 6858290"/>
              <a:gd name="connsiteX11" fmla="*/ 10088672 w 12139750"/>
              <a:gd name="connsiteY11" fmla="*/ 6858007 h 6858290"/>
              <a:gd name="connsiteX12" fmla="*/ 10428031 w 12139750"/>
              <a:gd name="connsiteY12" fmla="*/ 6721441 h 6858290"/>
              <a:gd name="connsiteX13" fmla="*/ 10445577 w 12139750"/>
              <a:gd name="connsiteY13" fmla="*/ 6718092 h 6858290"/>
              <a:gd name="connsiteX14" fmla="*/ 9285099 w 12139750"/>
              <a:gd name="connsiteY14" fmla="*/ 6718092 h 6858290"/>
              <a:gd name="connsiteX15" fmla="*/ 9326654 w 12139750"/>
              <a:gd name="connsiteY15" fmla="*/ 6746099 h 6858290"/>
              <a:gd name="connsiteX16" fmla="*/ 9301870 w 12139750"/>
              <a:gd name="connsiteY16" fmla="*/ 6804898 h 6858290"/>
              <a:gd name="connsiteX17" fmla="*/ 9168414 w 12139750"/>
              <a:gd name="connsiteY17" fmla="*/ 6858007 h 6858290"/>
              <a:gd name="connsiteX18" fmla="*/ 8928194 w 12139750"/>
              <a:gd name="connsiteY18" fmla="*/ 6858007 h 6858290"/>
              <a:gd name="connsiteX19" fmla="*/ 9267553 w 12139750"/>
              <a:gd name="connsiteY19" fmla="*/ 6721441 h 6858290"/>
              <a:gd name="connsiteX20" fmla="*/ 9285099 w 12139750"/>
              <a:gd name="connsiteY20" fmla="*/ 6718092 h 6858290"/>
              <a:gd name="connsiteX21" fmla="*/ 11021925 w 12139750"/>
              <a:gd name="connsiteY21" fmla="*/ 6702243 h 6858290"/>
              <a:gd name="connsiteX22" fmla="*/ 11063417 w 12139750"/>
              <a:gd name="connsiteY22" fmla="*/ 6730372 h 6858290"/>
              <a:gd name="connsiteX23" fmla="*/ 11038670 w 12139750"/>
              <a:gd name="connsiteY23" fmla="*/ 6789427 h 6858290"/>
              <a:gd name="connsiteX24" fmla="*/ 10873058 w 12139750"/>
              <a:gd name="connsiteY24" fmla="*/ 6858007 h 6858290"/>
              <a:gd name="connsiteX25" fmla="*/ 10652242 w 12139750"/>
              <a:gd name="connsiteY25" fmla="*/ 6858007 h 6858290"/>
              <a:gd name="connsiteX26" fmla="*/ 10665567 w 12139750"/>
              <a:gd name="connsiteY26" fmla="*/ 6850387 h 6858290"/>
              <a:gd name="connsiteX27" fmla="*/ 11004406 w 12139750"/>
              <a:gd name="connsiteY27" fmla="*/ 6705607 h 6858290"/>
              <a:gd name="connsiteX28" fmla="*/ 11021925 w 12139750"/>
              <a:gd name="connsiteY28" fmla="*/ 6702243 h 6858290"/>
              <a:gd name="connsiteX29" fmla="*/ 8712081 w 12139750"/>
              <a:gd name="connsiteY29" fmla="*/ 6702243 h 6858290"/>
              <a:gd name="connsiteX30" fmla="*/ 8753573 w 12139750"/>
              <a:gd name="connsiteY30" fmla="*/ 6730372 h 6858290"/>
              <a:gd name="connsiteX31" fmla="*/ 8730730 w 12139750"/>
              <a:gd name="connsiteY31" fmla="*/ 6789427 h 6858290"/>
              <a:gd name="connsiteX32" fmla="*/ 8565118 w 12139750"/>
              <a:gd name="connsiteY32" fmla="*/ 6858007 h 6858290"/>
              <a:gd name="connsiteX33" fmla="*/ 8342398 w 12139750"/>
              <a:gd name="connsiteY33" fmla="*/ 6858007 h 6858290"/>
              <a:gd name="connsiteX34" fmla="*/ 8355723 w 12139750"/>
              <a:gd name="connsiteY34" fmla="*/ 6850387 h 6858290"/>
              <a:gd name="connsiteX35" fmla="*/ 8694562 w 12139750"/>
              <a:gd name="connsiteY35" fmla="*/ 6705607 h 6858290"/>
              <a:gd name="connsiteX36" fmla="*/ 8712081 w 12139750"/>
              <a:gd name="connsiteY36" fmla="*/ 6702243 h 6858290"/>
              <a:gd name="connsiteX37" fmla="*/ 11608144 w 12139750"/>
              <a:gd name="connsiteY37" fmla="*/ 6692160 h 6858290"/>
              <a:gd name="connsiteX38" fmla="*/ 11631736 w 12139750"/>
              <a:gd name="connsiteY38" fmla="*/ 6715650 h 6858290"/>
              <a:gd name="connsiteX39" fmla="*/ 11608858 w 12139750"/>
              <a:gd name="connsiteY39" fmla="*/ 6772593 h 6858290"/>
              <a:gd name="connsiteX40" fmla="*/ 11412495 w 12139750"/>
              <a:gd name="connsiteY40" fmla="*/ 6858007 h 6858290"/>
              <a:gd name="connsiteX41" fmla="*/ 11214225 w 12139750"/>
              <a:gd name="connsiteY41" fmla="*/ 6858007 h 6858290"/>
              <a:gd name="connsiteX42" fmla="*/ 11235196 w 12139750"/>
              <a:gd name="connsiteY42" fmla="*/ 6840924 h 6858290"/>
              <a:gd name="connsiteX43" fmla="*/ 11574543 w 12139750"/>
              <a:gd name="connsiteY43" fmla="*/ 6692872 h 6858290"/>
              <a:gd name="connsiteX44" fmla="*/ 11608144 w 12139750"/>
              <a:gd name="connsiteY44" fmla="*/ 6692160 h 6858290"/>
              <a:gd name="connsiteX45" fmla="*/ 8162632 w 12139750"/>
              <a:gd name="connsiteY45" fmla="*/ 6692160 h 6858290"/>
              <a:gd name="connsiteX46" fmla="*/ 8186849 w 12139750"/>
              <a:gd name="connsiteY46" fmla="*/ 6715650 h 6858290"/>
              <a:gd name="connsiteX47" fmla="*/ 8164057 w 12139750"/>
              <a:gd name="connsiteY47" fmla="*/ 6772593 h 6858290"/>
              <a:gd name="connsiteX48" fmla="*/ 7966524 w 12139750"/>
              <a:gd name="connsiteY48" fmla="*/ 6858007 h 6858290"/>
              <a:gd name="connsiteX49" fmla="*/ 7770890 w 12139750"/>
              <a:gd name="connsiteY49" fmla="*/ 6858007 h 6858290"/>
              <a:gd name="connsiteX50" fmla="*/ 7789883 w 12139750"/>
              <a:gd name="connsiteY50" fmla="*/ 6840924 h 6858290"/>
              <a:gd name="connsiteX51" fmla="*/ 8129868 w 12139750"/>
              <a:gd name="connsiteY51" fmla="*/ 6692872 h 6858290"/>
              <a:gd name="connsiteX52" fmla="*/ 8162632 w 12139750"/>
              <a:gd name="connsiteY52" fmla="*/ 6692160 h 6858290"/>
              <a:gd name="connsiteX53" fmla="*/ 7602161 w 12139750"/>
              <a:gd name="connsiteY53" fmla="*/ 6677681 h 6858290"/>
              <a:gd name="connsiteX54" fmla="*/ 7626432 w 12139750"/>
              <a:gd name="connsiteY54" fmla="*/ 6699625 h 6858290"/>
              <a:gd name="connsiteX55" fmla="*/ 7605492 w 12139750"/>
              <a:gd name="connsiteY55" fmla="*/ 6756872 h 6858290"/>
              <a:gd name="connsiteX56" fmla="*/ 7378961 w 12139750"/>
              <a:gd name="connsiteY56" fmla="*/ 6858007 h 6858290"/>
              <a:gd name="connsiteX57" fmla="*/ 7205732 w 12139750"/>
              <a:gd name="connsiteY57" fmla="*/ 6858007 h 6858290"/>
              <a:gd name="connsiteX58" fmla="*/ 7230479 w 12139750"/>
              <a:gd name="connsiteY58" fmla="*/ 6831292 h 6858290"/>
              <a:gd name="connsiteX59" fmla="*/ 7569323 w 12139750"/>
              <a:gd name="connsiteY59" fmla="*/ 6678635 h 6858290"/>
              <a:gd name="connsiteX60" fmla="*/ 7602161 w 12139750"/>
              <a:gd name="connsiteY60" fmla="*/ 6677681 h 6858290"/>
              <a:gd name="connsiteX61" fmla="*/ 12139750 w 12139750"/>
              <a:gd name="connsiteY61" fmla="*/ 6677032 h 6858290"/>
              <a:gd name="connsiteX62" fmla="*/ 12139750 w 12139750"/>
              <a:gd name="connsiteY62" fmla="*/ 6770377 h 6858290"/>
              <a:gd name="connsiteX63" fmla="*/ 12139750 w 12139750"/>
              <a:gd name="connsiteY63" fmla="*/ 6858007 h 6858290"/>
              <a:gd name="connsiteX64" fmla="*/ 11945775 w 12139750"/>
              <a:gd name="connsiteY64" fmla="*/ 6858007 h 6858290"/>
              <a:gd name="connsiteX65" fmla="*/ 11774620 w 12139750"/>
              <a:gd name="connsiteY65" fmla="*/ 6858007 h 6858290"/>
              <a:gd name="connsiteX66" fmla="*/ 11797441 w 12139750"/>
              <a:gd name="connsiteY66" fmla="*/ 6831337 h 6858290"/>
              <a:gd name="connsiteX67" fmla="*/ 12137848 w 12139750"/>
              <a:gd name="connsiteY67" fmla="*/ 6678937 h 6858290"/>
              <a:gd name="connsiteX68" fmla="*/ 12139750 w 12139750"/>
              <a:gd name="connsiteY68" fmla="*/ 6677032 h 6858290"/>
              <a:gd name="connsiteX69" fmla="*/ 7049044 w 12139750"/>
              <a:gd name="connsiteY69" fmla="*/ 6663353 h 6858290"/>
              <a:gd name="connsiteX70" fmla="*/ 7072381 w 12139750"/>
              <a:gd name="connsiteY70" fmla="*/ 6685192 h 6858290"/>
              <a:gd name="connsiteX71" fmla="*/ 7051425 w 12139750"/>
              <a:gd name="connsiteY71" fmla="*/ 6742164 h 6858290"/>
              <a:gd name="connsiteX72" fmla="*/ 6798057 w 12139750"/>
              <a:gd name="connsiteY72" fmla="*/ 6858007 h 6858290"/>
              <a:gd name="connsiteX73" fmla="*/ 6653275 w 12139750"/>
              <a:gd name="connsiteY73" fmla="*/ 6858007 h 6858290"/>
              <a:gd name="connsiteX74" fmla="*/ 6678040 w 12139750"/>
              <a:gd name="connsiteY74" fmla="*/ 6821925 h 6858290"/>
              <a:gd name="connsiteX75" fmla="*/ 7017135 w 12139750"/>
              <a:gd name="connsiteY75" fmla="*/ 6664302 h 6858290"/>
              <a:gd name="connsiteX76" fmla="*/ 7049044 w 12139750"/>
              <a:gd name="connsiteY76" fmla="*/ 6663353 h 6858290"/>
              <a:gd name="connsiteX77" fmla="*/ 6502912 w 12139750"/>
              <a:gd name="connsiteY77" fmla="*/ 6648865 h 6858290"/>
              <a:gd name="connsiteX78" fmla="*/ 6526266 w 12139750"/>
              <a:gd name="connsiteY78" fmla="*/ 6669136 h 6858290"/>
              <a:gd name="connsiteX79" fmla="*/ 6507201 w 12139750"/>
              <a:gd name="connsiteY79" fmla="*/ 6724462 h 6858290"/>
              <a:gd name="connsiteX80" fmla="*/ 6226954 w 12139750"/>
              <a:gd name="connsiteY80" fmla="*/ 6858007 h 6858290"/>
              <a:gd name="connsiteX81" fmla="*/ 6108755 w 12139750"/>
              <a:gd name="connsiteY81" fmla="*/ 6858007 h 6858290"/>
              <a:gd name="connsiteX82" fmla="*/ 6108755 w 12139750"/>
              <a:gd name="connsiteY82" fmla="*/ 6850376 h 6858290"/>
              <a:gd name="connsiteX83" fmla="*/ 6131632 w 12139750"/>
              <a:gd name="connsiteY83" fmla="*/ 6812220 h 6858290"/>
              <a:gd name="connsiteX84" fmla="*/ 6470979 w 12139750"/>
              <a:gd name="connsiteY84" fmla="*/ 6650058 h 6858290"/>
              <a:gd name="connsiteX85" fmla="*/ 6502912 w 12139750"/>
              <a:gd name="connsiteY85" fmla="*/ 6648865 h 6858290"/>
              <a:gd name="connsiteX86" fmla="*/ 5955433 w 12139750"/>
              <a:gd name="connsiteY86" fmla="*/ 6635428 h 6858290"/>
              <a:gd name="connsiteX87" fmla="*/ 5978564 w 12139750"/>
              <a:gd name="connsiteY87" fmla="*/ 6656354 h 6858290"/>
              <a:gd name="connsiteX88" fmla="*/ 5961395 w 12139750"/>
              <a:gd name="connsiteY88" fmla="*/ 6709621 h 6858290"/>
              <a:gd name="connsiteX89" fmla="*/ 5656142 w 12139750"/>
              <a:gd name="connsiteY89" fmla="*/ 6858007 h 6858290"/>
              <a:gd name="connsiteX90" fmla="*/ 5568382 w 12139750"/>
              <a:gd name="connsiteY90" fmla="*/ 6858007 h 6858290"/>
              <a:gd name="connsiteX91" fmla="*/ 5566474 w 12139750"/>
              <a:gd name="connsiteY91" fmla="*/ 6858007 h 6858290"/>
              <a:gd name="connsiteX92" fmla="*/ 5562658 w 12139750"/>
              <a:gd name="connsiteY92" fmla="*/ 6838983 h 6858290"/>
              <a:gd name="connsiteX93" fmla="*/ 5585552 w 12139750"/>
              <a:gd name="connsiteY93" fmla="*/ 6802838 h 6858290"/>
              <a:gd name="connsiteX94" fmla="*/ 5925146 w 12139750"/>
              <a:gd name="connsiteY94" fmla="*/ 6637331 h 6858290"/>
              <a:gd name="connsiteX95" fmla="*/ 5955433 w 12139750"/>
              <a:gd name="connsiteY95" fmla="*/ 6635428 h 6858290"/>
              <a:gd name="connsiteX96" fmla="*/ 396081 w 12139750"/>
              <a:gd name="connsiteY96" fmla="*/ 6635428 h 6858290"/>
              <a:gd name="connsiteX97" fmla="*/ 419128 w 12139750"/>
              <a:gd name="connsiteY97" fmla="*/ 6656354 h 6858290"/>
              <a:gd name="connsiteX98" fmla="*/ 400120 w 12139750"/>
              <a:gd name="connsiteY98" fmla="*/ 6709621 h 6858290"/>
              <a:gd name="connsiteX99" fmla="*/ 97901 w 12139750"/>
              <a:gd name="connsiteY99" fmla="*/ 6858007 h 6858290"/>
              <a:gd name="connsiteX100" fmla="*/ 10466 w 12139750"/>
              <a:gd name="connsiteY100" fmla="*/ 6858007 h 6858290"/>
              <a:gd name="connsiteX101" fmla="*/ 8566 w 12139750"/>
              <a:gd name="connsiteY101" fmla="*/ 6858007 h 6858290"/>
              <a:gd name="connsiteX102" fmla="*/ 4764 w 12139750"/>
              <a:gd name="connsiteY102" fmla="*/ 6838983 h 6858290"/>
              <a:gd name="connsiteX103" fmla="*/ 27573 w 12139750"/>
              <a:gd name="connsiteY103" fmla="*/ 6802838 h 6858290"/>
              <a:gd name="connsiteX104" fmla="*/ 365906 w 12139750"/>
              <a:gd name="connsiteY104" fmla="*/ 6637331 h 6858290"/>
              <a:gd name="connsiteX105" fmla="*/ 396081 w 12139750"/>
              <a:gd name="connsiteY105" fmla="*/ 6635428 h 6858290"/>
              <a:gd name="connsiteX106" fmla="*/ 5405387 w 12139750"/>
              <a:gd name="connsiteY106" fmla="*/ 6619812 h 6858290"/>
              <a:gd name="connsiteX107" fmla="*/ 5427736 w 12139750"/>
              <a:gd name="connsiteY107" fmla="*/ 6640556 h 6858290"/>
              <a:gd name="connsiteX108" fmla="*/ 5410617 w 12139750"/>
              <a:gd name="connsiteY108" fmla="*/ 6693965 h 6858290"/>
              <a:gd name="connsiteX109" fmla="*/ 5083442 w 12139750"/>
              <a:gd name="connsiteY109" fmla="*/ 6858007 h 6858290"/>
              <a:gd name="connsiteX110" fmla="*/ 5028286 w 12139750"/>
              <a:gd name="connsiteY110" fmla="*/ 6858007 h 6858290"/>
              <a:gd name="connsiteX111" fmla="*/ 5020677 w 12139750"/>
              <a:gd name="connsiteY111" fmla="*/ 6846562 h 6858290"/>
              <a:gd name="connsiteX112" fmla="*/ 5014971 w 12139750"/>
              <a:gd name="connsiteY112" fmla="*/ 6829395 h 6858290"/>
              <a:gd name="connsiteX113" fmla="*/ 5037795 w 12139750"/>
              <a:gd name="connsiteY113" fmla="*/ 6793153 h 6858290"/>
              <a:gd name="connsiteX114" fmla="*/ 5374477 w 12139750"/>
              <a:gd name="connsiteY114" fmla="*/ 6623389 h 6858290"/>
              <a:gd name="connsiteX115" fmla="*/ 5405387 w 12139750"/>
              <a:gd name="connsiteY115" fmla="*/ 6619812 h 6858290"/>
              <a:gd name="connsiteX116" fmla="*/ 939733 w 12139750"/>
              <a:gd name="connsiteY116" fmla="*/ 6619812 h 6858290"/>
              <a:gd name="connsiteX117" fmla="*/ 963599 w 12139750"/>
              <a:gd name="connsiteY117" fmla="*/ 6640556 h 6858290"/>
              <a:gd name="connsiteX118" fmla="*/ 944506 w 12139750"/>
              <a:gd name="connsiteY118" fmla="*/ 6693965 h 6858290"/>
              <a:gd name="connsiteX119" fmla="*/ 618014 w 12139750"/>
              <a:gd name="connsiteY119" fmla="*/ 6858007 h 6858290"/>
              <a:gd name="connsiteX120" fmla="*/ 562644 w 12139750"/>
              <a:gd name="connsiteY120" fmla="*/ 6858007 h 6858290"/>
              <a:gd name="connsiteX121" fmla="*/ 553097 w 12139750"/>
              <a:gd name="connsiteY121" fmla="*/ 6846562 h 6858290"/>
              <a:gd name="connsiteX122" fmla="*/ 549279 w 12139750"/>
              <a:gd name="connsiteY122" fmla="*/ 6829395 h 6858290"/>
              <a:gd name="connsiteX123" fmla="*/ 570281 w 12139750"/>
              <a:gd name="connsiteY123" fmla="*/ 6793153 h 6858290"/>
              <a:gd name="connsiteX124" fmla="*/ 910138 w 12139750"/>
              <a:gd name="connsiteY124" fmla="*/ 6623389 h 6858290"/>
              <a:gd name="connsiteX125" fmla="*/ 939733 w 12139750"/>
              <a:gd name="connsiteY125" fmla="*/ 6619812 h 6858290"/>
              <a:gd name="connsiteX126" fmla="*/ 4850594 w 12139750"/>
              <a:gd name="connsiteY126" fmla="*/ 6606634 h 6858290"/>
              <a:gd name="connsiteX127" fmla="*/ 4873677 w 12139750"/>
              <a:gd name="connsiteY127" fmla="*/ 6625946 h 6858290"/>
              <a:gd name="connsiteX128" fmla="*/ 4856543 w 12139750"/>
              <a:gd name="connsiteY128" fmla="*/ 6677443 h 6858290"/>
              <a:gd name="connsiteX129" fmla="*/ 4519613 w 12139750"/>
              <a:gd name="connsiteY129" fmla="*/ 6852914 h 6858290"/>
              <a:gd name="connsiteX130" fmla="*/ 4466313 w 12139750"/>
              <a:gd name="connsiteY130" fmla="*/ 6837655 h 6858290"/>
              <a:gd name="connsiteX131" fmla="*/ 4462507 w 12139750"/>
              <a:gd name="connsiteY131" fmla="*/ 6818582 h 6858290"/>
              <a:gd name="connsiteX132" fmla="*/ 4483447 w 12139750"/>
              <a:gd name="connsiteY132" fmla="*/ 6784251 h 6858290"/>
              <a:gd name="connsiteX133" fmla="*/ 4820372 w 12139750"/>
              <a:gd name="connsiteY133" fmla="*/ 6608780 h 6858290"/>
              <a:gd name="connsiteX134" fmla="*/ 4850594 w 12139750"/>
              <a:gd name="connsiteY134" fmla="*/ 6606634 h 6858290"/>
              <a:gd name="connsiteX135" fmla="*/ 1485698 w 12139750"/>
              <a:gd name="connsiteY135" fmla="*/ 6606634 h 6858290"/>
              <a:gd name="connsiteX136" fmla="*/ 1507827 w 12139750"/>
              <a:gd name="connsiteY136" fmla="*/ 6625946 h 6858290"/>
              <a:gd name="connsiteX137" fmla="*/ 1492599 w 12139750"/>
              <a:gd name="connsiteY137" fmla="*/ 6677443 h 6858290"/>
              <a:gd name="connsiteX138" fmla="*/ 1153761 w 12139750"/>
              <a:gd name="connsiteY138" fmla="*/ 6852914 h 6858290"/>
              <a:gd name="connsiteX139" fmla="*/ 1102364 w 12139750"/>
              <a:gd name="connsiteY139" fmla="*/ 6837655 h 6858290"/>
              <a:gd name="connsiteX140" fmla="*/ 1098557 w 12139750"/>
              <a:gd name="connsiteY140" fmla="*/ 6818582 h 6858290"/>
              <a:gd name="connsiteX141" fmla="*/ 1119496 w 12139750"/>
              <a:gd name="connsiteY141" fmla="*/ 6784251 h 6858290"/>
              <a:gd name="connsiteX142" fmla="*/ 1456431 w 12139750"/>
              <a:gd name="connsiteY142" fmla="*/ 6608780 h 6858290"/>
              <a:gd name="connsiteX143" fmla="*/ 1485698 w 12139750"/>
              <a:gd name="connsiteY143" fmla="*/ 6606634 h 6858290"/>
              <a:gd name="connsiteX144" fmla="*/ 4291129 w 12139750"/>
              <a:gd name="connsiteY144" fmla="*/ 6592973 h 6858290"/>
              <a:gd name="connsiteX145" fmla="*/ 4313276 w 12139750"/>
              <a:gd name="connsiteY145" fmla="*/ 6611309 h 6858290"/>
              <a:gd name="connsiteX146" fmla="*/ 4298035 w 12139750"/>
              <a:gd name="connsiteY146" fmla="*/ 6662744 h 6858290"/>
              <a:gd name="connsiteX147" fmla="*/ 3960866 w 12139750"/>
              <a:gd name="connsiteY147" fmla="*/ 6841814 h 6858290"/>
              <a:gd name="connsiteX148" fmla="*/ 3909430 w 12139750"/>
              <a:gd name="connsiteY148" fmla="*/ 6826574 h 6858290"/>
              <a:gd name="connsiteX149" fmla="*/ 3903713 w 12139750"/>
              <a:gd name="connsiteY149" fmla="*/ 6809429 h 6858290"/>
              <a:gd name="connsiteX150" fmla="*/ 3924671 w 12139750"/>
              <a:gd name="connsiteY150" fmla="*/ 6775139 h 6858290"/>
              <a:gd name="connsiteX151" fmla="*/ 4261838 w 12139750"/>
              <a:gd name="connsiteY151" fmla="*/ 6596069 h 6858290"/>
              <a:gd name="connsiteX152" fmla="*/ 4291129 w 12139750"/>
              <a:gd name="connsiteY152" fmla="*/ 6592973 h 6858290"/>
              <a:gd name="connsiteX153" fmla="*/ 2037015 w 12139750"/>
              <a:gd name="connsiteY153" fmla="*/ 6592973 h 6858290"/>
              <a:gd name="connsiteX154" fmla="*/ 2060595 w 12139750"/>
              <a:gd name="connsiteY154" fmla="*/ 6611309 h 6858290"/>
              <a:gd name="connsiteX155" fmla="*/ 2043444 w 12139750"/>
              <a:gd name="connsiteY155" fmla="*/ 6662744 h 6858290"/>
              <a:gd name="connsiteX156" fmla="*/ 1706255 w 12139750"/>
              <a:gd name="connsiteY156" fmla="*/ 6841814 h 6858290"/>
              <a:gd name="connsiteX157" fmla="*/ 1654819 w 12139750"/>
              <a:gd name="connsiteY157" fmla="*/ 6826574 h 6858290"/>
              <a:gd name="connsiteX158" fmla="*/ 1651009 w 12139750"/>
              <a:gd name="connsiteY158" fmla="*/ 6809429 h 6858290"/>
              <a:gd name="connsiteX159" fmla="*/ 1670059 w 12139750"/>
              <a:gd name="connsiteY159" fmla="*/ 6775139 h 6858290"/>
              <a:gd name="connsiteX160" fmla="*/ 2009154 w 12139750"/>
              <a:gd name="connsiteY160" fmla="*/ 6596069 h 6858290"/>
              <a:gd name="connsiteX161" fmla="*/ 2037015 w 12139750"/>
              <a:gd name="connsiteY161" fmla="*/ 6592973 h 6858290"/>
              <a:gd name="connsiteX162" fmla="*/ 3727789 w 12139750"/>
              <a:gd name="connsiteY162" fmla="*/ 6578033 h 6858290"/>
              <a:gd name="connsiteX163" fmla="*/ 3749716 w 12139750"/>
              <a:gd name="connsiteY163" fmla="*/ 6595376 h 6858290"/>
              <a:gd name="connsiteX164" fmla="*/ 3734462 w 12139750"/>
              <a:gd name="connsiteY164" fmla="*/ 6646690 h 6858290"/>
              <a:gd name="connsiteX165" fmla="*/ 3397032 w 12139750"/>
              <a:gd name="connsiteY165" fmla="*/ 6831042 h 6858290"/>
              <a:gd name="connsiteX166" fmla="*/ 3347462 w 12139750"/>
              <a:gd name="connsiteY166" fmla="*/ 6815837 h 6858290"/>
              <a:gd name="connsiteX167" fmla="*/ 3341741 w 12139750"/>
              <a:gd name="connsiteY167" fmla="*/ 6798733 h 6858290"/>
              <a:gd name="connsiteX168" fmla="*/ 3362712 w 12139750"/>
              <a:gd name="connsiteY168" fmla="*/ 6764523 h 6858290"/>
              <a:gd name="connsiteX169" fmla="*/ 3700143 w 12139750"/>
              <a:gd name="connsiteY169" fmla="*/ 6582072 h 6858290"/>
              <a:gd name="connsiteX170" fmla="*/ 3727789 w 12139750"/>
              <a:gd name="connsiteY170" fmla="*/ 6578033 h 6858290"/>
              <a:gd name="connsiteX171" fmla="*/ 2592701 w 12139750"/>
              <a:gd name="connsiteY171" fmla="*/ 6578033 h 6858290"/>
              <a:gd name="connsiteX172" fmla="*/ 2614625 w 12139750"/>
              <a:gd name="connsiteY172" fmla="*/ 6595376 h 6858290"/>
              <a:gd name="connsiteX173" fmla="*/ 2599374 w 12139750"/>
              <a:gd name="connsiteY173" fmla="*/ 6646690 h 6858290"/>
              <a:gd name="connsiteX174" fmla="*/ 2261929 w 12139750"/>
              <a:gd name="connsiteY174" fmla="*/ 6831042 h 6858290"/>
              <a:gd name="connsiteX175" fmla="*/ 2212361 w 12139750"/>
              <a:gd name="connsiteY175" fmla="*/ 6815837 h 6858290"/>
              <a:gd name="connsiteX176" fmla="*/ 2206641 w 12139750"/>
              <a:gd name="connsiteY176" fmla="*/ 6798733 h 6858290"/>
              <a:gd name="connsiteX177" fmla="*/ 2225706 w 12139750"/>
              <a:gd name="connsiteY177" fmla="*/ 6764523 h 6858290"/>
              <a:gd name="connsiteX178" fmla="*/ 2565057 w 12139750"/>
              <a:gd name="connsiteY178" fmla="*/ 6582072 h 6858290"/>
              <a:gd name="connsiteX179" fmla="*/ 2592701 w 12139750"/>
              <a:gd name="connsiteY179" fmla="*/ 6578033 h 6858290"/>
              <a:gd name="connsiteX180" fmla="*/ 3153211 w 12139750"/>
              <a:gd name="connsiteY180" fmla="*/ 6564138 h 6858290"/>
              <a:gd name="connsiteX181" fmla="*/ 3175070 w 12139750"/>
              <a:gd name="connsiteY181" fmla="*/ 6580749 h 6858290"/>
              <a:gd name="connsiteX182" fmla="*/ 3161766 w 12139750"/>
              <a:gd name="connsiteY182" fmla="*/ 6630106 h 6858290"/>
              <a:gd name="connsiteX183" fmla="*/ 2825350 w 12139750"/>
              <a:gd name="connsiteY183" fmla="*/ 6819941 h 6858290"/>
              <a:gd name="connsiteX184" fmla="*/ 2775931 w 12139750"/>
              <a:gd name="connsiteY184" fmla="*/ 6804754 h 6858290"/>
              <a:gd name="connsiteX185" fmla="*/ 2770229 w 12139750"/>
              <a:gd name="connsiteY185" fmla="*/ 6787669 h 6858290"/>
              <a:gd name="connsiteX186" fmla="*/ 2789236 w 12139750"/>
              <a:gd name="connsiteY186" fmla="*/ 6757295 h 6858290"/>
              <a:gd name="connsiteX187" fmla="*/ 3125653 w 12139750"/>
              <a:gd name="connsiteY187" fmla="*/ 6567460 h 6858290"/>
              <a:gd name="connsiteX188" fmla="*/ 3153211 w 12139750"/>
              <a:gd name="connsiteY188" fmla="*/ 6564138 h 6858290"/>
              <a:gd name="connsiteX189" fmla="*/ 9862101 w 12139750"/>
              <a:gd name="connsiteY189" fmla="*/ 6403755 h 6858290"/>
              <a:gd name="connsiteX190" fmla="*/ 9902911 w 12139750"/>
              <a:gd name="connsiteY190" fmla="*/ 6429975 h 6858290"/>
              <a:gd name="connsiteX191" fmla="*/ 9880000 w 12139750"/>
              <a:gd name="connsiteY191" fmla="*/ 6487052 h 6858290"/>
              <a:gd name="connsiteX192" fmla="*/ 9540159 w 12139750"/>
              <a:gd name="connsiteY192" fmla="*/ 6637356 h 6858290"/>
              <a:gd name="connsiteX193" fmla="*/ 9482882 w 12139750"/>
              <a:gd name="connsiteY193" fmla="*/ 6614525 h 6858290"/>
              <a:gd name="connsiteX194" fmla="*/ 9479064 w 12139750"/>
              <a:gd name="connsiteY194" fmla="*/ 6597402 h 6858290"/>
              <a:gd name="connsiteX195" fmla="*/ 9505793 w 12139750"/>
              <a:gd name="connsiteY195" fmla="*/ 6557447 h 6858290"/>
              <a:gd name="connsiteX196" fmla="*/ 9845634 w 12139750"/>
              <a:gd name="connsiteY196" fmla="*/ 6407144 h 6858290"/>
              <a:gd name="connsiteX197" fmla="*/ 9862101 w 12139750"/>
              <a:gd name="connsiteY197" fmla="*/ 6403755 h 6858290"/>
              <a:gd name="connsiteX198" fmla="*/ 10444609 w 12139750"/>
              <a:gd name="connsiteY198" fmla="*/ 6390314 h 6858290"/>
              <a:gd name="connsiteX199" fmla="*/ 10483665 w 12139750"/>
              <a:gd name="connsiteY199" fmla="*/ 6415894 h 6858290"/>
              <a:gd name="connsiteX200" fmla="*/ 10462740 w 12139750"/>
              <a:gd name="connsiteY200" fmla="*/ 6473334 h 6858290"/>
              <a:gd name="connsiteX201" fmla="*/ 10124143 w 12139750"/>
              <a:gd name="connsiteY201" fmla="*/ 6624595 h 6858290"/>
              <a:gd name="connsiteX202" fmla="*/ 10067076 w 12139750"/>
              <a:gd name="connsiteY202" fmla="*/ 6603534 h 6858290"/>
              <a:gd name="connsiteX203" fmla="*/ 10063272 w 12139750"/>
              <a:gd name="connsiteY203" fmla="*/ 6586301 h 6858290"/>
              <a:gd name="connsiteX204" fmla="*/ 10088001 w 12139750"/>
              <a:gd name="connsiteY204" fmla="*/ 6546093 h 6858290"/>
              <a:gd name="connsiteX205" fmla="*/ 10428500 w 12139750"/>
              <a:gd name="connsiteY205" fmla="*/ 6394832 h 6858290"/>
              <a:gd name="connsiteX206" fmla="*/ 10444609 w 12139750"/>
              <a:gd name="connsiteY206" fmla="*/ 6390314 h 6858290"/>
              <a:gd name="connsiteX207" fmla="*/ 9283606 w 12139750"/>
              <a:gd name="connsiteY207" fmla="*/ 6390314 h 6858290"/>
              <a:gd name="connsiteX208" fmla="*/ 9323493 w 12139750"/>
              <a:gd name="connsiteY208" fmla="*/ 6415894 h 6858290"/>
              <a:gd name="connsiteX209" fmla="*/ 9302553 w 12139750"/>
              <a:gd name="connsiteY209" fmla="*/ 6473334 h 6858290"/>
              <a:gd name="connsiteX210" fmla="*/ 8961805 w 12139750"/>
              <a:gd name="connsiteY210" fmla="*/ 6624595 h 6858290"/>
              <a:gd name="connsiteX211" fmla="*/ 8906600 w 12139750"/>
              <a:gd name="connsiteY211" fmla="*/ 6603534 h 6858290"/>
              <a:gd name="connsiteX212" fmla="*/ 8902793 w 12139750"/>
              <a:gd name="connsiteY212" fmla="*/ 6586301 h 6858290"/>
              <a:gd name="connsiteX213" fmla="*/ 8927540 w 12139750"/>
              <a:gd name="connsiteY213" fmla="*/ 6546093 h 6858290"/>
              <a:gd name="connsiteX214" fmla="*/ 9266384 w 12139750"/>
              <a:gd name="connsiteY214" fmla="*/ 6394832 h 6858290"/>
              <a:gd name="connsiteX215" fmla="*/ 9283606 w 12139750"/>
              <a:gd name="connsiteY215" fmla="*/ 6390314 h 6858290"/>
              <a:gd name="connsiteX216" fmla="*/ 11020686 w 12139750"/>
              <a:gd name="connsiteY216" fmla="*/ 6377294 h 6858290"/>
              <a:gd name="connsiteX217" fmla="*/ 11061795 w 12139750"/>
              <a:gd name="connsiteY217" fmla="*/ 6402947 h 6858290"/>
              <a:gd name="connsiteX218" fmla="*/ 11038867 w 12139750"/>
              <a:gd name="connsiteY218" fmla="*/ 6458052 h 6858290"/>
              <a:gd name="connsiteX219" fmla="*/ 10698772 w 12139750"/>
              <a:gd name="connsiteY219" fmla="*/ 6611968 h 6858290"/>
              <a:gd name="connsiteX220" fmla="*/ 10643363 w 12139750"/>
              <a:gd name="connsiteY220" fmla="*/ 6591066 h 6858290"/>
              <a:gd name="connsiteX221" fmla="*/ 10639542 w 12139750"/>
              <a:gd name="connsiteY221" fmla="*/ 6573964 h 6858290"/>
              <a:gd name="connsiteX222" fmla="*/ 10664380 w 12139750"/>
              <a:gd name="connsiteY222" fmla="*/ 6534060 h 6858290"/>
              <a:gd name="connsiteX223" fmla="*/ 11004475 w 12139750"/>
              <a:gd name="connsiteY223" fmla="*/ 6382045 h 6858290"/>
              <a:gd name="connsiteX224" fmla="*/ 11020686 w 12139750"/>
              <a:gd name="connsiteY224" fmla="*/ 6377294 h 6858290"/>
              <a:gd name="connsiteX225" fmla="*/ 8711110 w 12139750"/>
              <a:gd name="connsiteY225" fmla="*/ 6377294 h 6858290"/>
              <a:gd name="connsiteX226" fmla="*/ 8751951 w 12139750"/>
              <a:gd name="connsiteY226" fmla="*/ 6402947 h 6858290"/>
              <a:gd name="connsiteX227" fmla="*/ 8730934 w 12139750"/>
              <a:gd name="connsiteY227" fmla="*/ 6458052 h 6858290"/>
              <a:gd name="connsiteX228" fmla="*/ 8388928 w 12139750"/>
              <a:gd name="connsiteY228" fmla="*/ 6611968 h 6858290"/>
              <a:gd name="connsiteX229" fmla="*/ 8333519 w 12139750"/>
              <a:gd name="connsiteY229" fmla="*/ 6591066 h 6858290"/>
              <a:gd name="connsiteX230" fmla="*/ 8329698 w 12139750"/>
              <a:gd name="connsiteY230" fmla="*/ 6573964 h 6858290"/>
              <a:gd name="connsiteX231" fmla="*/ 8354536 w 12139750"/>
              <a:gd name="connsiteY231" fmla="*/ 6534060 h 6858290"/>
              <a:gd name="connsiteX232" fmla="*/ 8694631 w 12139750"/>
              <a:gd name="connsiteY232" fmla="*/ 6382045 h 6858290"/>
              <a:gd name="connsiteX233" fmla="*/ 8711110 w 12139750"/>
              <a:gd name="connsiteY233" fmla="*/ 6377294 h 6858290"/>
              <a:gd name="connsiteX234" fmla="*/ 8145353 w 12139750"/>
              <a:gd name="connsiteY234" fmla="*/ 6364557 h 6858290"/>
              <a:gd name="connsiteX235" fmla="*/ 8185240 w 12139750"/>
              <a:gd name="connsiteY235" fmla="*/ 6388309 h 6858290"/>
              <a:gd name="connsiteX236" fmla="*/ 8164300 w 12139750"/>
              <a:gd name="connsiteY236" fmla="*/ 6445244 h 6858290"/>
              <a:gd name="connsiteX237" fmla="*/ 7825456 w 12139750"/>
              <a:gd name="connsiteY237" fmla="*/ 6600868 h 6858290"/>
              <a:gd name="connsiteX238" fmla="*/ 7768347 w 12139750"/>
              <a:gd name="connsiteY238" fmla="*/ 6579991 h 6858290"/>
              <a:gd name="connsiteX239" fmla="*/ 7764540 w 12139750"/>
              <a:gd name="connsiteY239" fmla="*/ 6562911 h 6858290"/>
              <a:gd name="connsiteX240" fmla="*/ 7789287 w 12139750"/>
              <a:gd name="connsiteY240" fmla="*/ 6523056 h 6858290"/>
              <a:gd name="connsiteX241" fmla="*/ 8128131 w 12139750"/>
              <a:gd name="connsiteY241" fmla="*/ 6369331 h 6858290"/>
              <a:gd name="connsiteX242" fmla="*/ 8145353 w 12139750"/>
              <a:gd name="connsiteY242" fmla="*/ 6364557 h 6858290"/>
              <a:gd name="connsiteX243" fmla="*/ 11589455 w 12139750"/>
              <a:gd name="connsiteY243" fmla="*/ 6364556 h 6858290"/>
              <a:gd name="connsiteX244" fmla="*/ 11628568 w 12139750"/>
              <a:gd name="connsiteY244" fmla="*/ 6388309 h 6858290"/>
              <a:gd name="connsiteX245" fmla="*/ 11607613 w 12139750"/>
              <a:gd name="connsiteY245" fmla="*/ 6445244 h 6858290"/>
              <a:gd name="connsiteX246" fmla="*/ 11268518 w 12139750"/>
              <a:gd name="connsiteY246" fmla="*/ 6600868 h 6858290"/>
              <a:gd name="connsiteX247" fmla="*/ 11213272 w 12139750"/>
              <a:gd name="connsiteY247" fmla="*/ 6579991 h 6858290"/>
              <a:gd name="connsiteX248" fmla="*/ 11209462 w 12139750"/>
              <a:gd name="connsiteY248" fmla="*/ 6562911 h 6858290"/>
              <a:gd name="connsiteX249" fmla="*/ 11234227 w 12139750"/>
              <a:gd name="connsiteY249" fmla="*/ 6523056 h 6858290"/>
              <a:gd name="connsiteX250" fmla="*/ 11573322 w 12139750"/>
              <a:gd name="connsiteY250" fmla="*/ 6369331 h 6858290"/>
              <a:gd name="connsiteX251" fmla="*/ 11589455 w 12139750"/>
              <a:gd name="connsiteY251" fmla="*/ 6364556 h 6858290"/>
              <a:gd name="connsiteX252" fmla="*/ 12139750 w 12139750"/>
              <a:gd name="connsiteY252" fmla="*/ 6353181 h 6858290"/>
              <a:gd name="connsiteX253" fmla="*/ 12139750 w 12139750"/>
              <a:gd name="connsiteY253" fmla="*/ 6444739 h 6858290"/>
              <a:gd name="connsiteX254" fmla="*/ 11833573 w 12139750"/>
              <a:gd name="connsiteY254" fmla="*/ 6587799 h 6858290"/>
              <a:gd name="connsiteX255" fmla="*/ 11778423 w 12139750"/>
              <a:gd name="connsiteY255" fmla="*/ 6568724 h 6858290"/>
              <a:gd name="connsiteX256" fmla="*/ 11774620 w 12139750"/>
              <a:gd name="connsiteY256" fmla="*/ 6551557 h 6858290"/>
              <a:gd name="connsiteX257" fmla="*/ 11797441 w 12139750"/>
              <a:gd name="connsiteY257" fmla="*/ 6513408 h 6858290"/>
              <a:gd name="connsiteX258" fmla="*/ 12135947 w 12139750"/>
              <a:gd name="connsiteY258" fmla="*/ 6355088 h 6858290"/>
              <a:gd name="connsiteX259" fmla="*/ 12139750 w 12139750"/>
              <a:gd name="connsiteY259" fmla="*/ 6353181 h 6858290"/>
              <a:gd name="connsiteX260" fmla="*/ 7585725 w 12139750"/>
              <a:gd name="connsiteY260" fmla="*/ 6350302 h 6858290"/>
              <a:gd name="connsiteX261" fmla="*/ 7624838 w 12139750"/>
              <a:gd name="connsiteY261" fmla="*/ 6374174 h 6858290"/>
              <a:gd name="connsiteX262" fmla="*/ 7605787 w 12139750"/>
              <a:gd name="connsiteY262" fmla="*/ 6429488 h 6858290"/>
              <a:gd name="connsiteX263" fmla="*/ 7264788 w 12139750"/>
              <a:gd name="connsiteY263" fmla="*/ 6587800 h 6858290"/>
              <a:gd name="connsiteX264" fmla="*/ 7209542 w 12139750"/>
              <a:gd name="connsiteY264" fmla="*/ 6568726 h 6858290"/>
              <a:gd name="connsiteX265" fmla="*/ 7205732 w 12139750"/>
              <a:gd name="connsiteY265" fmla="*/ 6551559 h 6858290"/>
              <a:gd name="connsiteX266" fmla="*/ 7230497 w 12139750"/>
              <a:gd name="connsiteY266" fmla="*/ 6513412 h 6858290"/>
              <a:gd name="connsiteX267" fmla="*/ 7569592 w 12139750"/>
              <a:gd name="connsiteY267" fmla="*/ 6355100 h 6858290"/>
              <a:gd name="connsiteX268" fmla="*/ 7585725 w 12139750"/>
              <a:gd name="connsiteY268" fmla="*/ 6350302 h 6858290"/>
              <a:gd name="connsiteX269" fmla="*/ 7049044 w 12139750"/>
              <a:gd name="connsiteY269" fmla="*/ 6340183 h 6858290"/>
              <a:gd name="connsiteX270" fmla="*/ 7072381 w 12139750"/>
              <a:gd name="connsiteY270" fmla="*/ 6361190 h 6858290"/>
              <a:gd name="connsiteX271" fmla="*/ 7051425 w 12139750"/>
              <a:gd name="connsiteY271" fmla="*/ 6416574 h 6858290"/>
              <a:gd name="connsiteX272" fmla="*/ 6714236 w 12139750"/>
              <a:gd name="connsiteY272" fmla="*/ 6576995 h 6858290"/>
              <a:gd name="connsiteX273" fmla="*/ 6658990 w 12139750"/>
              <a:gd name="connsiteY273" fmla="*/ 6557897 h 6858290"/>
              <a:gd name="connsiteX274" fmla="*/ 6653275 w 12139750"/>
              <a:gd name="connsiteY274" fmla="*/ 6540709 h 6858290"/>
              <a:gd name="connsiteX275" fmla="*/ 6678040 w 12139750"/>
              <a:gd name="connsiteY275" fmla="*/ 6502514 h 6858290"/>
              <a:gd name="connsiteX276" fmla="*/ 7017135 w 12139750"/>
              <a:gd name="connsiteY276" fmla="*/ 6342093 h 6858290"/>
              <a:gd name="connsiteX277" fmla="*/ 7049044 w 12139750"/>
              <a:gd name="connsiteY277" fmla="*/ 6340183 h 6858290"/>
              <a:gd name="connsiteX278" fmla="*/ 6502912 w 12139750"/>
              <a:gd name="connsiteY278" fmla="*/ 6327426 h 6858290"/>
              <a:gd name="connsiteX279" fmla="*/ 6526266 w 12139750"/>
              <a:gd name="connsiteY279" fmla="*/ 6348277 h 6858290"/>
              <a:gd name="connsiteX280" fmla="*/ 6507201 w 12139750"/>
              <a:gd name="connsiteY280" fmla="*/ 6401351 h 6858290"/>
              <a:gd name="connsiteX281" fmla="*/ 6167854 w 12139750"/>
              <a:gd name="connsiteY281" fmla="*/ 6564366 h 6858290"/>
              <a:gd name="connsiteX282" fmla="*/ 6112568 w 12139750"/>
              <a:gd name="connsiteY282" fmla="*/ 6545411 h 6858290"/>
              <a:gd name="connsiteX283" fmla="*/ 6108755 w 12139750"/>
              <a:gd name="connsiteY283" fmla="*/ 6528351 h 6858290"/>
              <a:gd name="connsiteX284" fmla="*/ 6131632 w 12139750"/>
              <a:gd name="connsiteY284" fmla="*/ 6490441 h 6858290"/>
              <a:gd name="connsiteX285" fmla="*/ 6470979 w 12139750"/>
              <a:gd name="connsiteY285" fmla="*/ 6329321 h 6858290"/>
              <a:gd name="connsiteX286" fmla="*/ 6502912 w 12139750"/>
              <a:gd name="connsiteY286" fmla="*/ 6327426 h 6858290"/>
              <a:gd name="connsiteX287" fmla="*/ 5955853 w 12139750"/>
              <a:gd name="connsiteY287" fmla="*/ 6313176 h 6858290"/>
              <a:gd name="connsiteX288" fmla="*/ 5978253 w 12139750"/>
              <a:gd name="connsiteY288" fmla="*/ 6334131 h 6858290"/>
              <a:gd name="connsiteX289" fmla="*/ 5961095 w 12139750"/>
              <a:gd name="connsiteY289" fmla="*/ 6387471 h 6858290"/>
              <a:gd name="connsiteX290" fmla="*/ 5621756 w 12139750"/>
              <a:gd name="connsiteY290" fmla="*/ 6553206 h 6858290"/>
              <a:gd name="connsiteX291" fmla="*/ 5566471 w 12139750"/>
              <a:gd name="connsiteY291" fmla="*/ 6534156 h 6858290"/>
              <a:gd name="connsiteX292" fmla="*/ 5562658 w 12139750"/>
              <a:gd name="connsiteY292" fmla="*/ 6517011 h 6858290"/>
              <a:gd name="connsiteX293" fmla="*/ 5585535 w 12139750"/>
              <a:gd name="connsiteY293" fmla="*/ 6478911 h 6858290"/>
              <a:gd name="connsiteX294" fmla="*/ 5924874 w 12139750"/>
              <a:gd name="connsiteY294" fmla="*/ 6315081 h 6858290"/>
              <a:gd name="connsiteX295" fmla="*/ 5955853 w 12139750"/>
              <a:gd name="connsiteY295" fmla="*/ 6313176 h 6858290"/>
              <a:gd name="connsiteX296" fmla="*/ 396081 w 12139750"/>
              <a:gd name="connsiteY296" fmla="*/ 6313176 h 6858290"/>
              <a:gd name="connsiteX297" fmla="*/ 419127 w 12139750"/>
              <a:gd name="connsiteY297" fmla="*/ 6334131 h 6858290"/>
              <a:gd name="connsiteX298" fmla="*/ 400120 w 12139750"/>
              <a:gd name="connsiteY298" fmla="*/ 6387471 h 6858290"/>
              <a:gd name="connsiteX299" fmla="*/ 63687 w 12139750"/>
              <a:gd name="connsiteY299" fmla="*/ 6553206 h 6858290"/>
              <a:gd name="connsiteX300" fmla="*/ 8565 w 12139750"/>
              <a:gd name="connsiteY300" fmla="*/ 6534156 h 6858290"/>
              <a:gd name="connsiteX301" fmla="*/ 4764 w 12139750"/>
              <a:gd name="connsiteY301" fmla="*/ 6517011 h 6858290"/>
              <a:gd name="connsiteX302" fmla="*/ 27573 w 12139750"/>
              <a:gd name="connsiteY302" fmla="*/ 6478911 h 6858290"/>
              <a:gd name="connsiteX303" fmla="*/ 365906 w 12139750"/>
              <a:gd name="connsiteY303" fmla="*/ 6315081 h 6858290"/>
              <a:gd name="connsiteX304" fmla="*/ 396081 w 12139750"/>
              <a:gd name="connsiteY304" fmla="*/ 6313176 h 6858290"/>
              <a:gd name="connsiteX305" fmla="*/ 5405334 w 12139750"/>
              <a:gd name="connsiteY305" fmla="*/ 6300229 h 6858290"/>
              <a:gd name="connsiteX306" fmla="*/ 5429330 w 12139750"/>
              <a:gd name="connsiteY306" fmla="*/ 6319493 h 6858290"/>
              <a:gd name="connsiteX307" fmla="*/ 5410323 w 12139750"/>
              <a:gd name="connsiteY307" fmla="*/ 6372768 h 6858290"/>
              <a:gd name="connsiteX308" fmla="*/ 5071988 w 12139750"/>
              <a:gd name="connsiteY308" fmla="*/ 6540203 h 6858290"/>
              <a:gd name="connsiteX309" fmla="*/ 5018774 w 12139750"/>
              <a:gd name="connsiteY309" fmla="*/ 6523079 h 6858290"/>
              <a:gd name="connsiteX310" fmla="*/ 5014971 w 12139750"/>
              <a:gd name="connsiteY310" fmla="*/ 6505955 h 6858290"/>
              <a:gd name="connsiteX311" fmla="*/ 5037777 w 12139750"/>
              <a:gd name="connsiteY311" fmla="*/ 6469804 h 6858290"/>
              <a:gd name="connsiteX312" fmla="*/ 5374210 w 12139750"/>
              <a:gd name="connsiteY312" fmla="*/ 6302369 h 6858290"/>
              <a:gd name="connsiteX313" fmla="*/ 5405334 w 12139750"/>
              <a:gd name="connsiteY313" fmla="*/ 6300229 h 6858290"/>
              <a:gd name="connsiteX314" fmla="*/ 940474 w 12139750"/>
              <a:gd name="connsiteY314" fmla="*/ 6300229 h 6858290"/>
              <a:gd name="connsiteX315" fmla="*/ 963607 w 12139750"/>
              <a:gd name="connsiteY315" fmla="*/ 6319493 h 6858290"/>
              <a:gd name="connsiteX316" fmla="*/ 944529 w 12139750"/>
              <a:gd name="connsiteY316" fmla="*/ 6372768 h 6858290"/>
              <a:gd name="connsiteX317" fmla="*/ 606835 w 12139750"/>
              <a:gd name="connsiteY317" fmla="*/ 6540203 h 6858290"/>
              <a:gd name="connsiteX318" fmla="*/ 551507 w 12139750"/>
              <a:gd name="connsiteY318" fmla="*/ 6523079 h 6858290"/>
              <a:gd name="connsiteX319" fmla="*/ 547691 w 12139750"/>
              <a:gd name="connsiteY319" fmla="*/ 6505955 h 6858290"/>
              <a:gd name="connsiteX320" fmla="*/ 570586 w 12139750"/>
              <a:gd name="connsiteY320" fmla="*/ 6469804 h 6858290"/>
              <a:gd name="connsiteX321" fmla="*/ 910187 w 12139750"/>
              <a:gd name="connsiteY321" fmla="*/ 6302369 h 6858290"/>
              <a:gd name="connsiteX322" fmla="*/ 940474 w 12139750"/>
              <a:gd name="connsiteY322" fmla="*/ 6300229 h 6858290"/>
              <a:gd name="connsiteX323" fmla="*/ 4851394 w 12139750"/>
              <a:gd name="connsiteY323" fmla="*/ 6285987 h 6858290"/>
              <a:gd name="connsiteX324" fmla="*/ 4875244 w 12139750"/>
              <a:gd name="connsiteY324" fmla="*/ 6305369 h 6858290"/>
              <a:gd name="connsiteX325" fmla="*/ 4856163 w 12139750"/>
              <a:gd name="connsiteY325" fmla="*/ 6358971 h 6858290"/>
              <a:gd name="connsiteX326" fmla="*/ 4518476 w 12139750"/>
              <a:gd name="connsiteY326" fmla="*/ 6529347 h 6858290"/>
              <a:gd name="connsiteX327" fmla="*/ 4465055 w 12139750"/>
              <a:gd name="connsiteY327" fmla="*/ 6512118 h 6858290"/>
              <a:gd name="connsiteX328" fmla="*/ 4459332 w 12139750"/>
              <a:gd name="connsiteY328" fmla="*/ 6494889 h 6858290"/>
              <a:gd name="connsiteX329" fmla="*/ 4482226 w 12139750"/>
              <a:gd name="connsiteY329" fmla="*/ 6458517 h 6858290"/>
              <a:gd name="connsiteX330" fmla="*/ 4821817 w 12139750"/>
              <a:gd name="connsiteY330" fmla="*/ 6288140 h 6858290"/>
              <a:gd name="connsiteX331" fmla="*/ 4851394 w 12139750"/>
              <a:gd name="connsiteY331" fmla="*/ 6285987 h 6858290"/>
              <a:gd name="connsiteX332" fmla="*/ 1486674 w 12139750"/>
              <a:gd name="connsiteY332" fmla="*/ 6285987 h 6858290"/>
              <a:gd name="connsiteX333" fmla="*/ 1509738 w 12139750"/>
              <a:gd name="connsiteY333" fmla="*/ 6305369 h 6858290"/>
              <a:gd name="connsiteX334" fmla="*/ 1492618 w 12139750"/>
              <a:gd name="connsiteY334" fmla="*/ 6358971 h 6858290"/>
              <a:gd name="connsiteX335" fmla="*/ 1154033 w 12139750"/>
              <a:gd name="connsiteY335" fmla="*/ 6529347 h 6858290"/>
              <a:gd name="connsiteX336" fmla="*/ 1100773 w 12139750"/>
              <a:gd name="connsiteY336" fmla="*/ 6512118 h 6858290"/>
              <a:gd name="connsiteX337" fmla="*/ 1096968 w 12139750"/>
              <a:gd name="connsiteY337" fmla="*/ 6494889 h 6858290"/>
              <a:gd name="connsiteX338" fmla="*/ 1117892 w 12139750"/>
              <a:gd name="connsiteY338" fmla="*/ 6458517 h 6858290"/>
              <a:gd name="connsiteX339" fmla="*/ 1456477 w 12139750"/>
              <a:gd name="connsiteY339" fmla="*/ 6288140 h 6858290"/>
              <a:gd name="connsiteX340" fmla="*/ 1486674 w 12139750"/>
              <a:gd name="connsiteY340" fmla="*/ 6285987 h 6858290"/>
              <a:gd name="connsiteX341" fmla="*/ 4292528 w 12139750"/>
              <a:gd name="connsiteY341" fmla="*/ 6273233 h 6858290"/>
              <a:gd name="connsiteX342" fmla="*/ 4314879 w 12139750"/>
              <a:gd name="connsiteY342" fmla="*/ 6292474 h 6858290"/>
              <a:gd name="connsiteX343" fmla="*/ 4297758 w 12139750"/>
              <a:gd name="connsiteY343" fmla="*/ 6345684 h 6858290"/>
              <a:gd name="connsiteX344" fmla="*/ 3961098 w 12139750"/>
              <a:gd name="connsiteY344" fmla="*/ 6516717 h 6858290"/>
              <a:gd name="connsiteX345" fmla="*/ 3907833 w 12139750"/>
              <a:gd name="connsiteY345" fmla="*/ 6499614 h 6858290"/>
              <a:gd name="connsiteX346" fmla="*/ 3902127 w 12139750"/>
              <a:gd name="connsiteY346" fmla="*/ 6482510 h 6858290"/>
              <a:gd name="connsiteX347" fmla="*/ 3924953 w 12139750"/>
              <a:gd name="connsiteY347" fmla="*/ 6446403 h 6858290"/>
              <a:gd name="connsiteX348" fmla="*/ 4261616 w 12139750"/>
              <a:gd name="connsiteY348" fmla="*/ 6275371 h 6858290"/>
              <a:gd name="connsiteX349" fmla="*/ 4292528 w 12139750"/>
              <a:gd name="connsiteY349" fmla="*/ 6273233 h 6858290"/>
              <a:gd name="connsiteX350" fmla="*/ 2038415 w 12139750"/>
              <a:gd name="connsiteY350" fmla="*/ 6273233 h 6858290"/>
              <a:gd name="connsiteX351" fmla="*/ 2062198 w 12139750"/>
              <a:gd name="connsiteY351" fmla="*/ 6292474 h 6858290"/>
              <a:gd name="connsiteX352" fmla="*/ 2045072 w 12139750"/>
              <a:gd name="connsiteY352" fmla="*/ 6345684 h 6858290"/>
              <a:gd name="connsiteX353" fmla="*/ 1706487 w 12139750"/>
              <a:gd name="connsiteY353" fmla="*/ 6516717 h 6858290"/>
              <a:gd name="connsiteX354" fmla="*/ 1653226 w 12139750"/>
              <a:gd name="connsiteY354" fmla="*/ 6499614 h 6858290"/>
              <a:gd name="connsiteX355" fmla="*/ 1649422 w 12139750"/>
              <a:gd name="connsiteY355" fmla="*/ 6482510 h 6858290"/>
              <a:gd name="connsiteX356" fmla="*/ 1670346 w 12139750"/>
              <a:gd name="connsiteY356" fmla="*/ 6446403 h 6858290"/>
              <a:gd name="connsiteX357" fmla="*/ 2008931 w 12139750"/>
              <a:gd name="connsiteY357" fmla="*/ 6275371 h 6858290"/>
              <a:gd name="connsiteX358" fmla="*/ 2038415 w 12139750"/>
              <a:gd name="connsiteY358" fmla="*/ 6273233 h 6858290"/>
              <a:gd name="connsiteX359" fmla="*/ 3729186 w 12139750"/>
              <a:gd name="connsiteY359" fmla="*/ 6260524 h 6858290"/>
              <a:gd name="connsiteX360" fmla="*/ 3751317 w 12139750"/>
              <a:gd name="connsiteY360" fmla="*/ 6279742 h 6858290"/>
              <a:gd name="connsiteX361" fmla="*/ 3736088 w 12139750"/>
              <a:gd name="connsiteY361" fmla="*/ 6330991 h 6858290"/>
              <a:gd name="connsiteX362" fmla="*/ 3397264 w 12139750"/>
              <a:gd name="connsiteY362" fmla="*/ 6505616 h 6858290"/>
              <a:gd name="connsiteX363" fmla="*/ 3345866 w 12139750"/>
              <a:gd name="connsiteY363" fmla="*/ 6488533 h 6858290"/>
              <a:gd name="connsiteX364" fmla="*/ 3340155 w 12139750"/>
              <a:gd name="connsiteY364" fmla="*/ 6469552 h 6858290"/>
              <a:gd name="connsiteX365" fmla="*/ 3361094 w 12139750"/>
              <a:gd name="connsiteY365" fmla="*/ 6435386 h 6858290"/>
              <a:gd name="connsiteX366" fmla="*/ 3699919 w 12139750"/>
              <a:gd name="connsiteY366" fmla="*/ 6262659 h 6858290"/>
              <a:gd name="connsiteX367" fmla="*/ 3729186 w 12139750"/>
              <a:gd name="connsiteY367" fmla="*/ 6260524 h 6858290"/>
              <a:gd name="connsiteX368" fmla="*/ 2595567 w 12139750"/>
              <a:gd name="connsiteY368" fmla="*/ 6260524 h 6858290"/>
              <a:gd name="connsiteX369" fmla="*/ 2617780 w 12139750"/>
              <a:gd name="connsiteY369" fmla="*/ 6279742 h 6858290"/>
              <a:gd name="connsiteX370" fmla="*/ 2600583 w 12139750"/>
              <a:gd name="connsiteY370" fmla="*/ 6330991 h 6858290"/>
              <a:gd name="connsiteX371" fmla="*/ 2262377 w 12139750"/>
              <a:gd name="connsiteY371" fmla="*/ 6505616 h 6858290"/>
              <a:gd name="connsiteX372" fmla="*/ 2210786 w 12139750"/>
              <a:gd name="connsiteY372" fmla="*/ 6488533 h 6858290"/>
              <a:gd name="connsiteX373" fmla="*/ 2205054 w 12139750"/>
              <a:gd name="connsiteY373" fmla="*/ 6469552 h 6858290"/>
              <a:gd name="connsiteX374" fmla="*/ 2226073 w 12139750"/>
              <a:gd name="connsiteY374" fmla="*/ 6435386 h 6858290"/>
              <a:gd name="connsiteX375" fmla="*/ 2566189 w 12139750"/>
              <a:gd name="connsiteY375" fmla="*/ 6262659 h 6858290"/>
              <a:gd name="connsiteX376" fmla="*/ 2595567 w 12139750"/>
              <a:gd name="connsiteY376" fmla="*/ 6260524 h 6858290"/>
              <a:gd name="connsiteX377" fmla="*/ 3155659 w 12139750"/>
              <a:gd name="connsiteY377" fmla="*/ 6245326 h 6858290"/>
              <a:gd name="connsiteX378" fmla="*/ 3177874 w 12139750"/>
              <a:gd name="connsiteY378" fmla="*/ 6263706 h 6858290"/>
              <a:gd name="connsiteX379" fmla="*/ 3162585 w 12139750"/>
              <a:gd name="connsiteY379" fmla="*/ 6317174 h 6858290"/>
              <a:gd name="connsiteX380" fmla="*/ 2822468 w 12139750"/>
              <a:gd name="connsiteY380" fmla="*/ 6492858 h 6858290"/>
              <a:gd name="connsiteX381" fmla="*/ 2770875 w 12139750"/>
              <a:gd name="connsiteY381" fmla="*/ 6477581 h 6858290"/>
              <a:gd name="connsiteX382" fmla="*/ 2767055 w 12139750"/>
              <a:gd name="connsiteY382" fmla="*/ 6458485 h 6858290"/>
              <a:gd name="connsiteX383" fmla="*/ 2788072 w 12139750"/>
              <a:gd name="connsiteY383" fmla="*/ 6426022 h 6858290"/>
              <a:gd name="connsiteX384" fmla="*/ 3126282 w 12139750"/>
              <a:gd name="connsiteY384" fmla="*/ 6248429 h 6858290"/>
              <a:gd name="connsiteX385" fmla="*/ 3155659 w 12139750"/>
              <a:gd name="connsiteY385" fmla="*/ 6245326 h 6858290"/>
              <a:gd name="connsiteX386" fmla="*/ 9874931 w 12139750"/>
              <a:gd name="connsiteY386" fmla="*/ 6079814 h 6858290"/>
              <a:gd name="connsiteX387" fmla="*/ 9898198 w 12139750"/>
              <a:gd name="connsiteY387" fmla="*/ 6100769 h 6858290"/>
              <a:gd name="connsiteX388" fmla="*/ 9879205 w 12139750"/>
              <a:gd name="connsiteY388" fmla="*/ 6154109 h 6858290"/>
              <a:gd name="connsiteX389" fmla="*/ 9541119 w 12139750"/>
              <a:gd name="connsiteY389" fmla="*/ 6319844 h 6858290"/>
              <a:gd name="connsiteX390" fmla="*/ 9487937 w 12139750"/>
              <a:gd name="connsiteY390" fmla="*/ 6300794 h 6858290"/>
              <a:gd name="connsiteX391" fmla="*/ 9482239 w 12139750"/>
              <a:gd name="connsiteY391" fmla="*/ 6281744 h 6858290"/>
              <a:gd name="connsiteX392" fmla="*/ 9506931 w 12139750"/>
              <a:gd name="connsiteY392" fmla="*/ 6245549 h 6858290"/>
              <a:gd name="connsiteX393" fmla="*/ 9843117 w 12139750"/>
              <a:gd name="connsiteY393" fmla="*/ 6081719 h 6858290"/>
              <a:gd name="connsiteX394" fmla="*/ 9874931 w 12139750"/>
              <a:gd name="connsiteY394" fmla="*/ 6079814 h 6858290"/>
              <a:gd name="connsiteX395" fmla="*/ 10459016 w 12139750"/>
              <a:gd name="connsiteY395" fmla="*/ 6066240 h 6858290"/>
              <a:gd name="connsiteX396" fmla="*/ 10482370 w 12139750"/>
              <a:gd name="connsiteY396" fmla="*/ 6086481 h 6858290"/>
              <a:gd name="connsiteX397" fmla="*/ 10463305 w 12139750"/>
              <a:gd name="connsiteY397" fmla="*/ 6141726 h 6858290"/>
              <a:gd name="connsiteX398" fmla="*/ 10123959 w 12139750"/>
              <a:gd name="connsiteY398" fmla="*/ 6305556 h 6858290"/>
              <a:gd name="connsiteX399" fmla="*/ 10068672 w 12139750"/>
              <a:gd name="connsiteY399" fmla="*/ 6286506 h 6858290"/>
              <a:gd name="connsiteX400" fmla="*/ 10064859 w 12139750"/>
              <a:gd name="connsiteY400" fmla="*/ 6269361 h 6858290"/>
              <a:gd name="connsiteX401" fmla="*/ 10087736 w 12139750"/>
              <a:gd name="connsiteY401" fmla="*/ 6231261 h 6858290"/>
              <a:gd name="connsiteX402" fmla="*/ 10427083 w 12139750"/>
              <a:gd name="connsiteY402" fmla="*/ 6067431 h 6858290"/>
              <a:gd name="connsiteX403" fmla="*/ 10459016 w 12139750"/>
              <a:gd name="connsiteY403" fmla="*/ 6066240 h 6858290"/>
              <a:gd name="connsiteX404" fmla="*/ 9297823 w 12139750"/>
              <a:gd name="connsiteY404" fmla="*/ 6066240 h 6858290"/>
              <a:gd name="connsiteX405" fmla="*/ 9321892 w 12139750"/>
              <a:gd name="connsiteY405" fmla="*/ 6086481 h 6858290"/>
              <a:gd name="connsiteX406" fmla="*/ 9302827 w 12139750"/>
              <a:gd name="connsiteY406" fmla="*/ 6141726 h 6858290"/>
              <a:gd name="connsiteX407" fmla="*/ 8963481 w 12139750"/>
              <a:gd name="connsiteY407" fmla="*/ 6305556 h 6858290"/>
              <a:gd name="connsiteX408" fmla="*/ 8908194 w 12139750"/>
              <a:gd name="connsiteY408" fmla="*/ 6286506 h 6858290"/>
              <a:gd name="connsiteX409" fmla="*/ 8904381 w 12139750"/>
              <a:gd name="connsiteY409" fmla="*/ 6269361 h 6858290"/>
              <a:gd name="connsiteX410" fmla="*/ 8927258 w 12139750"/>
              <a:gd name="connsiteY410" fmla="*/ 6231261 h 6858290"/>
              <a:gd name="connsiteX411" fmla="*/ 9266605 w 12139750"/>
              <a:gd name="connsiteY411" fmla="*/ 6067431 h 6858290"/>
              <a:gd name="connsiteX412" fmla="*/ 9297823 w 12139750"/>
              <a:gd name="connsiteY412" fmla="*/ 6066240 h 6858290"/>
              <a:gd name="connsiteX413" fmla="*/ 11018858 w 12139750"/>
              <a:gd name="connsiteY413" fmla="*/ 6051844 h 6858290"/>
              <a:gd name="connsiteX414" fmla="*/ 11057081 w 12139750"/>
              <a:gd name="connsiteY414" fmla="*/ 6075686 h 6858290"/>
              <a:gd name="connsiteX415" fmla="*/ 11038074 w 12139750"/>
              <a:gd name="connsiteY415" fmla="*/ 6129026 h 6858290"/>
              <a:gd name="connsiteX416" fmla="*/ 10699740 w 12139750"/>
              <a:gd name="connsiteY416" fmla="*/ 6292856 h 6858290"/>
              <a:gd name="connsiteX417" fmla="*/ 10646519 w 12139750"/>
              <a:gd name="connsiteY417" fmla="*/ 6273806 h 6858290"/>
              <a:gd name="connsiteX418" fmla="*/ 10642717 w 12139750"/>
              <a:gd name="connsiteY418" fmla="*/ 6256661 h 6858290"/>
              <a:gd name="connsiteX419" fmla="*/ 10665526 w 12139750"/>
              <a:gd name="connsiteY419" fmla="*/ 6220466 h 6858290"/>
              <a:gd name="connsiteX420" fmla="*/ 11003860 w 12139750"/>
              <a:gd name="connsiteY420" fmla="*/ 6056636 h 6858290"/>
              <a:gd name="connsiteX421" fmla="*/ 11018858 w 12139750"/>
              <a:gd name="connsiteY421" fmla="*/ 6051844 h 6858290"/>
              <a:gd name="connsiteX422" fmla="*/ 8710944 w 12139750"/>
              <a:gd name="connsiteY422" fmla="*/ 6051843 h 6858290"/>
              <a:gd name="connsiteX423" fmla="*/ 8748477 w 12139750"/>
              <a:gd name="connsiteY423" fmla="*/ 6075686 h 6858290"/>
              <a:gd name="connsiteX424" fmla="*/ 8731319 w 12139750"/>
              <a:gd name="connsiteY424" fmla="*/ 6129026 h 6858290"/>
              <a:gd name="connsiteX425" fmla="*/ 8391973 w 12139750"/>
              <a:gd name="connsiteY425" fmla="*/ 6292856 h 6858290"/>
              <a:gd name="connsiteX426" fmla="*/ 8336686 w 12139750"/>
              <a:gd name="connsiteY426" fmla="*/ 6273806 h 6858290"/>
              <a:gd name="connsiteX427" fmla="*/ 8332873 w 12139750"/>
              <a:gd name="connsiteY427" fmla="*/ 6256661 h 6858290"/>
              <a:gd name="connsiteX428" fmla="*/ 8355750 w 12139750"/>
              <a:gd name="connsiteY428" fmla="*/ 6220466 h 6858290"/>
              <a:gd name="connsiteX429" fmla="*/ 8695097 w 12139750"/>
              <a:gd name="connsiteY429" fmla="*/ 6056636 h 6858290"/>
              <a:gd name="connsiteX430" fmla="*/ 8710944 w 12139750"/>
              <a:gd name="connsiteY430" fmla="*/ 6051843 h 6858290"/>
              <a:gd name="connsiteX431" fmla="*/ 11603954 w 12139750"/>
              <a:gd name="connsiteY431" fmla="*/ 6041714 h 6858290"/>
              <a:gd name="connsiteX432" fmla="*/ 11627001 w 12139750"/>
              <a:gd name="connsiteY432" fmla="*/ 6062669 h 6858290"/>
              <a:gd name="connsiteX433" fmla="*/ 11607994 w 12139750"/>
              <a:gd name="connsiteY433" fmla="*/ 6117914 h 6858290"/>
              <a:gd name="connsiteX434" fmla="*/ 11271560 w 12139750"/>
              <a:gd name="connsiteY434" fmla="*/ 6281744 h 6858290"/>
              <a:gd name="connsiteX435" fmla="*/ 11216439 w 12139750"/>
              <a:gd name="connsiteY435" fmla="*/ 6262694 h 6858290"/>
              <a:gd name="connsiteX436" fmla="*/ 11212637 w 12139750"/>
              <a:gd name="connsiteY436" fmla="*/ 6243644 h 6858290"/>
              <a:gd name="connsiteX437" fmla="*/ 11235446 w 12139750"/>
              <a:gd name="connsiteY437" fmla="*/ 6207449 h 6858290"/>
              <a:gd name="connsiteX438" fmla="*/ 11573780 w 12139750"/>
              <a:gd name="connsiteY438" fmla="*/ 6043619 h 6858290"/>
              <a:gd name="connsiteX439" fmla="*/ 11603954 w 12139750"/>
              <a:gd name="connsiteY439" fmla="*/ 6041714 h 6858290"/>
              <a:gd name="connsiteX440" fmla="*/ 8160285 w 12139750"/>
              <a:gd name="connsiteY440" fmla="*/ 6041714 h 6858290"/>
              <a:gd name="connsiteX441" fmla="*/ 8183639 w 12139750"/>
              <a:gd name="connsiteY441" fmla="*/ 6062669 h 6858290"/>
              <a:gd name="connsiteX442" fmla="*/ 8164574 w 12139750"/>
              <a:gd name="connsiteY442" fmla="*/ 6117914 h 6858290"/>
              <a:gd name="connsiteX443" fmla="*/ 7825227 w 12139750"/>
              <a:gd name="connsiteY443" fmla="*/ 6281744 h 6858290"/>
              <a:gd name="connsiteX444" fmla="*/ 7769941 w 12139750"/>
              <a:gd name="connsiteY444" fmla="*/ 6262694 h 6858290"/>
              <a:gd name="connsiteX445" fmla="*/ 7766128 w 12139750"/>
              <a:gd name="connsiteY445" fmla="*/ 6243644 h 6858290"/>
              <a:gd name="connsiteX446" fmla="*/ 7789005 w 12139750"/>
              <a:gd name="connsiteY446" fmla="*/ 6207449 h 6858290"/>
              <a:gd name="connsiteX447" fmla="*/ 8128352 w 12139750"/>
              <a:gd name="connsiteY447" fmla="*/ 6043619 h 6858290"/>
              <a:gd name="connsiteX448" fmla="*/ 8160285 w 12139750"/>
              <a:gd name="connsiteY448" fmla="*/ 6041714 h 6858290"/>
              <a:gd name="connsiteX449" fmla="*/ 12135947 w 12139750"/>
              <a:gd name="connsiteY449" fmla="*/ 6029331 h 6858290"/>
              <a:gd name="connsiteX450" fmla="*/ 12139750 w 12139750"/>
              <a:gd name="connsiteY450" fmla="*/ 6029331 h 6858290"/>
              <a:gd name="connsiteX451" fmla="*/ 12139750 w 12139750"/>
              <a:gd name="connsiteY451" fmla="*/ 6118866 h 6858290"/>
              <a:gd name="connsiteX452" fmla="*/ 11833573 w 12139750"/>
              <a:gd name="connsiteY452" fmla="*/ 6267456 h 6858290"/>
              <a:gd name="connsiteX453" fmla="*/ 11780325 w 12139750"/>
              <a:gd name="connsiteY453" fmla="*/ 6248406 h 6858290"/>
              <a:gd name="connsiteX454" fmla="*/ 11774620 w 12139750"/>
              <a:gd name="connsiteY454" fmla="*/ 6231261 h 6858290"/>
              <a:gd name="connsiteX455" fmla="*/ 11797441 w 12139750"/>
              <a:gd name="connsiteY455" fmla="*/ 6195066 h 6858290"/>
              <a:gd name="connsiteX456" fmla="*/ 7599808 w 12139750"/>
              <a:gd name="connsiteY456" fmla="*/ 6028140 h 6858290"/>
              <a:gd name="connsiteX457" fmla="*/ 7622924 w 12139750"/>
              <a:gd name="connsiteY457" fmla="*/ 6048381 h 6858290"/>
              <a:gd name="connsiteX458" fmla="*/ 7603860 w 12139750"/>
              <a:gd name="connsiteY458" fmla="*/ 6103626 h 6858290"/>
              <a:gd name="connsiteX459" fmla="*/ 7266419 w 12139750"/>
              <a:gd name="connsiteY459" fmla="*/ 6267456 h 6858290"/>
              <a:gd name="connsiteX460" fmla="*/ 7211133 w 12139750"/>
              <a:gd name="connsiteY460" fmla="*/ 6248406 h 6858290"/>
              <a:gd name="connsiteX461" fmla="*/ 7207320 w 12139750"/>
              <a:gd name="connsiteY461" fmla="*/ 6231261 h 6858290"/>
              <a:gd name="connsiteX462" fmla="*/ 7230197 w 12139750"/>
              <a:gd name="connsiteY462" fmla="*/ 6195066 h 6858290"/>
              <a:gd name="connsiteX463" fmla="*/ 7569544 w 12139750"/>
              <a:gd name="connsiteY463" fmla="*/ 6029331 h 6858290"/>
              <a:gd name="connsiteX464" fmla="*/ 7599808 w 12139750"/>
              <a:gd name="connsiteY464" fmla="*/ 6028140 h 6858290"/>
              <a:gd name="connsiteX465" fmla="*/ 7047350 w 12139750"/>
              <a:gd name="connsiteY465" fmla="*/ 6016314 h 6858290"/>
              <a:gd name="connsiteX466" fmla="*/ 7070466 w 12139750"/>
              <a:gd name="connsiteY466" fmla="*/ 6037269 h 6858290"/>
              <a:gd name="connsiteX467" fmla="*/ 7051402 w 12139750"/>
              <a:gd name="connsiteY467" fmla="*/ 6090609 h 6858290"/>
              <a:gd name="connsiteX468" fmla="*/ 6713961 w 12139750"/>
              <a:gd name="connsiteY468" fmla="*/ 6254439 h 6858290"/>
              <a:gd name="connsiteX469" fmla="*/ 6658675 w 12139750"/>
              <a:gd name="connsiteY469" fmla="*/ 6235389 h 6858290"/>
              <a:gd name="connsiteX470" fmla="*/ 6654862 w 12139750"/>
              <a:gd name="connsiteY470" fmla="*/ 6218244 h 6858290"/>
              <a:gd name="connsiteX471" fmla="*/ 6677739 w 12139750"/>
              <a:gd name="connsiteY471" fmla="*/ 6182049 h 6858290"/>
              <a:gd name="connsiteX472" fmla="*/ 7017086 w 12139750"/>
              <a:gd name="connsiteY472" fmla="*/ 6018219 h 6858290"/>
              <a:gd name="connsiteX473" fmla="*/ 7047350 w 12139750"/>
              <a:gd name="connsiteY473" fmla="*/ 6016314 h 6858290"/>
              <a:gd name="connsiteX474" fmla="*/ 6502912 w 12139750"/>
              <a:gd name="connsiteY474" fmla="*/ 6003613 h 6858290"/>
              <a:gd name="connsiteX475" fmla="*/ 6526266 w 12139750"/>
              <a:gd name="connsiteY475" fmla="*/ 6024568 h 6858290"/>
              <a:gd name="connsiteX476" fmla="*/ 6507201 w 12139750"/>
              <a:gd name="connsiteY476" fmla="*/ 6079813 h 6858290"/>
              <a:gd name="connsiteX477" fmla="*/ 6167854 w 12139750"/>
              <a:gd name="connsiteY477" fmla="*/ 6243643 h 6858290"/>
              <a:gd name="connsiteX478" fmla="*/ 6112568 w 12139750"/>
              <a:gd name="connsiteY478" fmla="*/ 6224593 h 6858290"/>
              <a:gd name="connsiteX479" fmla="*/ 6108755 w 12139750"/>
              <a:gd name="connsiteY479" fmla="*/ 6207448 h 6858290"/>
              <a:gd name="connsiteX480" fmla="*/ 6131632 w 12139750"/>
              <a:gd name="connsiteY480" fmla="*/ 6169348 h 6858290"/>
              <a:gd name="connsiteX481" fmla="*/ 6470979 w 12139750"/>
              <a:gd name="connsiteY481" fmla="*/ 6005518 h 6858290"/>
              <a:gd name="connsiteX482" fmla="*/ 6502912 w 12139750"/>
              <a:gd name="connsiteY482" fmla="*/ 6003613 h 6858290"/>
              <a:gd name="connsiteX483" fmla="*/ 5940751 w 12139750"/>
              <a:gd name="connsiteY483" fmla="*/ 5988314 h 6858290"/>
              <a:gd name="connsiteX484" fmla="*/ 5980159 w 12139750"/>
              <a:gd name="connsiteY484" fmla="*/ 6010281 h 6858290"/>
              <a:gd name="connsiteX485" fmla="*/ 5961095 w 12139750"/>
              <a:gd name="connsiteY485" fmla="*/ 6065526 h 6858290"/>
              <a:gd name="connsiteX486" fmla="*/ 5621756 w 12139750"/>
              <a:gd name="connsiteY486" fmla="*/ 6229356 h 6858290"/>
              <a:gd name="connsiteX487" fmla="*/ 5566471 w 12139750"/>
              <a:gd name="connsiteY487" fmla="*/ 6210306 h 6858290"/>
              <a:gd name="connsiteX488" fmla="*/ 5562658 w 12139750"/>
              <a:gd name="connsiteY488" fmla="*/ 6193161 h 6858290"/>
              <a:gd name="connsiteX489" fmla="*/ 5585535 w 12139750"/>
              <a:gd name="connsiteY489" fmla="*/ 6156966 h 6858290"/>
              <a:gd name="connsiteX490" fmla="*/ 5924874 w 12139750"/>
              <a:gd name="connsiteY490" fmla="*/ 5993136 h 6858290"/>
              <a:gd name="connsiteX491" fmla="*/ 5940751 w 12139750"/>
              <a:gd name="connsiteY491" fmla="*/ 5988314 h 6858290"/>
              <a:gd name="connsiteX492" fmla="*/ 380904 w 12139750"/>
              <a:gd name="connsiteY492" fmla="*/ 5988314 h 6858290"/>
              <a:gd name="connsiteX493" fmla="*/ 419127 w 12139750"/>
              <a:gd name="connsiteY493" fmla="*/ 6010281 h 6858290"/>
              <a:gd name="connsiteX494" fmla="*/ 400120 w 12139750"/>
              <a:gd name="connsiteY494" fmla="*/ 6065526 h 6858290"/>
              <a:gd name="connsiteX495" fmla="*/ 63687 w 12139750"/>
              <a:gd name="connsiteY495" fmla="*/ 6229356 h 6858290"/>
              <a:gd name="connsiteX496" fmla="*/ 8565 w 12139750"/>
              <a:gd name="connsiteY496" fmla="*/ 6210306 h 6858290"/>
              <a:gd name="connsiteX497" fmla="*/ 4764 w 12139750"/>
              <a:gd name="connsiteY497" fmla="*/ 6193161 h 6858290"/>
              <a:gd name="connsiteX498" fmla="*/ 27573 w 12139750"/>
              <a:gd name="connsiteY498" fmla="*/ 6156966 h 6858290"/>
              <a:gd name="connsiteX499" fmla="*/ 365906 w 12139750"/>
              <a:gd name="connsiteY499" fmla="*/ 5993136 h 6858290"/>
              <a:gd name="connsiteX500" fmla="*/ 380904 w 12139750"/>
              <a:gd name="connsiteY500" fmla="*/ 5988314 h 6858290"/>
              <a:gd name="connsiteX501" fmla="*/ 5406285 w 12139750"/>
              <a:gd name="connsiteY501" fmla="*/ 5978213 h 6858290"/>
              <a:gd name="connsiteX502" fmla="*/ 5429330 w 12139750"/>
              <a:gd name="connsiteY502" fmla="*/ 5999168 h 6858290"/>
              <a:gd name="connsiteX503" fmla="*/ 5410323 w 12139750"/>
              <a:gd name="connsiteY503" fmla="*/ 6052508 h 6858290"/>
              <a:gd name="connsiteX504" fmla="*/ 5071988 w 12139750"/>
              <a:gd name="connsiteY504" fmla="*/ 6218243 h 6858290"/>
              <a:gd name="connsiteX505" fmla="*/ 5018774 w 12139750"/>
              <a:gd name="connsiteY505" fmla="*/ 6199193 h 6858290"/>
              <a:gd name="connsiteX506" fmla="*/ 5014971 w 12139750"/>
              <a:gd name="connsiteY506" fmla="*/ 6180143 h 6858290"/>
              <a:gd name="connsiteX507" fmla="*/ 5037777 w 12139750"/>
              <a:gd name="connsiteY507" fmla="*/ 6143948 h 6858290"/>
              <a:gd name="connsiteX508" fmla="*/ 5376110 w 12139750"/>
              <a:gd name="connsiteY508" fmla="*/ 5980118 h 6858290"/>
              <a:gd name="connsiteX509" fmla="*/ 5406285 w 12139750"/>
              <a:gd name="connsiteY509" fmla="*/ 5978213 h 6858290"/>
              <a:gd name="connsiteX510" fmla="*/ 940179 w 12139750"/>
              <a:gd name="connsiteY510" fmla="*/ 5978213 h 6858290"/>
              <a:gd name="connsiteX511" fmla="*/ 963295 w 12139750"/>
              <a:gd name="connsiteY511" fmla="*/ 5999168 h 6858290"/>
              <a:gd name="connsiteX512" fmla="*/ 944230 w 12139750"/>
              <a:gd name="connsiteY512" fmla="*/ 6052508 h 6858290"/>
              <a:gd name="connsiteX513" fmla="*/ 606791 w 12139750"/>
              <a:gd name="connsiteY513" fmla="*/ 6218243 h 6858290"/>
              <a:gd name="connsiteX514" fmla="*/ 551504 w 12139750"/>
              <a:gd name="connsiteY514" fmla="*/ 6199193 h 6858290"/>
              <a:gd name="connsiteX515" fmla="*/ 547691 w 12139750"/>
              <a:gd name="connsiteY515" fmla="*/ 6180143 h 6858290"/>
              <a:gd name="connsiteX516" fmla="*/ 570568 w 12139750"/>
              <a:gd name="connsiteY516" fmla="*/ 6143948 h 6858290"/>
              <a:gd name="connsiteX517" fmla="*/ 909915 w 12139750"/>
              <a:gd name="connsiteY517" fmla="*/ 5980118 h 6858290"/>
              <a:gd name="connsiteX518" fmla="*/ 940179 w 12139750"/>
              <a:gd name="connsiteY518" fmla="*/ 5978213 h 6858290"/>
              <a:gd name="connsiteX519" fmla="*/ 4852108 w 12139750"/>
              <a:gd name="connsiteY519" fmla="*/ 5966227 h 6858290"/>
              <a:gd name="connsiteX520" fmla="*/ 4875244 w 12139750"/>
              <a:gd name="connsiteY520" fmla="*/ 5986468 h 6858290"/>
              <a:gd name="connsiteX521" fmla="*/ 4856163 w 12139750"/>
              <a:gd name="connsiteY521" fmla="*/ 6041713 h 6858290"/>
              <a:gd name="connsiteX522" fmla="*/ 4516568 w 12139750"/>
              <a:gd name="connsiteY522" fmla="*/ 6205543 h 6858290"/>
              <a:gd name="connsiteX523" fmla="*/ 4463147 w 12139750"/>
              <a:gd name="connsiteY523" fmla="*/ 6186493 h 6858290"/>
              <a:gd name="connsiteX524" fmla="*/ 4459332 w 12139750"/>
              <a:gd name="connsiteY524" fmla="*/ 6169348 h 6858290"/>
              <a:gd name="connsiteX525" fmla="*/ 4482226 w 12139750"/>
              <a:gd name="connsiteY525" fmla="*/ 6131248 h 6858290"/>
              <a:gd name="connsiteX526" fmla="*/ 4821817 w 12139750"/>
              <a:gd name="connsiteY526" fmla="*/ 5967418 h 6858290"/>
              <a:gd name="connsiteX527" fmla="*/ 4852108 w 12139750"/>
              <a:gd name="connsiteY527" fmla="*/ 5966227 h 6858290"/>
              <a:gd name="connsiteX528" fmla="*/ 1487950 w 12139750"/>
              <a:gd name="connsiteY528" fmla="*/ 5966227 h 6858290"/>
              <a:gd name="connsiteX529" fmla="*/ 1511303 w 12139750"/>
              <a:gd name="connsiteY529" fmla="*/ 5986468 h 6858290"/>
              <a:gd name="connsiteX530" fmla="*/ 1492239 w 12139750"/>
              <a:gd name="connsiteY530" fmla="*/ 6041713 h 6858290"/>
              <a:gd name="connsiteX531" fmla="*/ 1152893 w 12139750"/>
              <a:gd name="connsiteY531" fmla="*/ 6205543 h 6858290"/>
              <a:gd name="connsiteX532" fmla="*/ 1097606 w 12139750"/>
              <a:gd name="connsiteY532" fmla="*/ 6186493 h 6858290"/>
              <a:gd name="connsiteX533" fmla="*/ 1093793 w 12139750"/>
              <a:gd name="connsiteY533" fmla="*/ 6169348 h 6858290"/>
              <a:gd name="connsiteX534" fmla="*/ 1116671 w 12139750"/>
              <a:gd name="connsiteY534" fmla="*/ 6131248 h 6858290"/>
              <a:gd name="connsiteX535" fmla="*/ 1456017 w 12139750"/>
              <a:gd name="connsiteY535" fmla="*/ 5967418 h 6858290"/>
              <a:gd name="connsiteX536" fmla="*/ 1487950 w 12139750"/>
              <a:gd name="connsiteY536" fmla="*/ 5966227 h 6858290"/>
              <a:gd name="connsiteX537" fmla="*/ 4293425 w 12139750"/>
              <a:gd name="connsiteY537" fmla="*/ 5952822 h 6858290"/>
              <a:gd name="connsiteX538" fmla="*/ 4316472 w 12139750"/>
              <a:gd name="connsiteY538" fmla="*/ 5973803 h 6858290"/>
              <a:gd name="connsiteX539" fmla="*/ 4297464 w 12139750"/>
              <a:gd name="connsiteY539" fmla="*/ 6027210 h 6858290"/>
              <a:gd name="connsiteX540" fmla="*/ 3959151 w 12139750"/>
              <a:gd name="connsiteY540" fmla="*/ 6191244 h 6858290"/>
              <a:gd name="connsiteX541" fmla="*/ 3905930 w 12139750"/>
              <a:gd name="connsiteY541" fmla="*/ 6172170 h 6858290"/>
              <a:gd name="connsiteX542" fmla="*/ 3902127 w 12139750"/>
              <a:gd name="connsiteY542" fmla="*/ 6155004 h 6858290"/>
              <a:gd name="connsiteX543" fmla="*/ 3924936 w 12139750"/>
              <a:gd name="connsiteY543" fmla="*/ 6118764 h 6858290"/>
              <a:gd name="connsiteX544" fmla="*/ 4263250 w 12139750"/>
              <a:gd name="connsiteY544" fmla="*/ 5954730 h 6858290"/>
              <a:gd name="connsiteX545" fmla="*/ 4293425 w 12139750"/>
              <a:gd name="connsiteY545" fmla="*/ 5952822 h 6858290"/>
              <a:gd name="connsiteX546" fmla="*/ 2039813 w 12139750"/>
              <a:gd name="connsiteY546" fmla="*/ 5952822 h 6858290"/>
              <a:gd name="connsiteX547" fmla="*/ 2063798 w 12139750"/>
              <a:gd name="connsiteY547" fmla="*/ 5973803 h 6858290"/>
              <a:gd name="connsiteX548" fmla="*/ 2044799 w 12139750"/>
              <a:gd name="connsiteY548" fmla="*/ 6027210 h 6858290"/>
              <a:gd name="connsiteX549" fmla="*/ 1706714 w 12139750"/>
              <a:gd name="connsiteY549" fmla="*/ 6191244 h 6858290"/>
              <a:gd name="connsiteX550" fmla="*/ 1651633 w 12139750"/>
              <a:gd name="connsiteY550" fmla="*/ 6172170 h 6858290"/>
              <a:gd name="connsiteX551" fmla="*/ 1647834 w 12139750"/>
              <a:gd name="connsiteY551" fmla="*/ 6155004 h 6858290"/>
              <a:gd name="connsiteX552" fmla="*/ 1670626 w 12139750"/>
              <a:gd name="connsiteY552" fmla="*/ 6118764 h 6858290"/>
              <a:gd name="connsiteX553" fmla="*/ 2008712 w 12139750"/>
              <a:gd name="connsiteY553" fmla="*/ 5954730 h 6858290"/>
              <a:gd name="connsiteX554" fmla="*/ 2039813 w 12139750"/>
              <a:gd name="connsiteY554" fmla="*/ 5952822 h 6858290"/>
              <a:gd name="connsiteX555" fmla="*/ 3730408 w 12139750"/>
              <a:gd name="connsiteY555" fmla="*/ 5940113 h 6858290"/>
              <a:gd name="connsiteX556" fmla="*/ 3754477 w 12139750"/>
              <a:gd name="connsiteY556" fmla="*/ 5961068 h 6858290"/>
              <a:gd name="connsiteX557" fmla="*/ 3735413 w 12139750"/>
              <a:gd name="connsiteY557" fmla="*/ 6016313 h 6858290"/>
              <a:gd name="connsiteX558" fmla="*/ 3396080 w 12139750"/>
              <a:gd name="connsiteY558" fmla="*/ 6180143 h 6858290"/>
              <a:gd name="connsiteX559" fmla="*/ 3340791 w 12139750"/>
              <a:gd name="connsiteY559" fmla="*/ 6161093 h 6858290"/>
              <a:gd name="connsiteX560" fmla="*/ 3336980 w 12139750"/>
              <a:gd name="connsiteY560" fmla="*/ 6142043 h 6858290"/>
              <a:gd name="connsiteX561" fmla="*/ 3359854 w 12139750"/>
              <a:gd name="connsiteY561" fmla="*/ 6105848 h 6858290"/>
              <a:gd name="connsiteX562" fmla="*/ 3699190 w 12139750"/>
              <a:gd name="connsiteY562" fmla="*/ 5942018 h 6858290"/>
              <a:gd name="connsiteX563" fmla="*/ 3730408 w 12139750"/>
              <a:gd name="connsiteY563" fmla="*/ 5940113 h 6858290"/>
              <a:gd name="connsiteX564" fmla="*/ 2596907 w 12139750"/>
              <a:gd name="connsiteY564" fmla="*/ 5940113 h 6858290"/>
              <a:gd name="connsiteX565" fmla="*/ 2620976 w 12139750"/>
              <a:gd name="connsiteY565" fmla="*/ 5961068 h 6858290"/>
              <a:gd name="connsiteX566" fmla="*/ 2601911 w 12139750"/>
              <a:gd name="connsiteY566" fmla="*/ 6016313 h 6858290"/>
              <a:gd name="connsiteX567" fmla="*/ 2262565 w 12139750"/>
              <a:gd name="connsiteY567" fmla="*/ 6180143 h 6858290"/>
              <a:gd name="connsiteX568" fmla="*/ 2207278 w 12139750"/>
              <a:gd name="connsiteY568" fmla="*/ 6161093 h 6858290"/>
              <a:gd name="connsiteX569" fmla="*/ 2203466 w 12139750"/>
              <a:gd name="connsiteY569" fmla="*/ 6142043 h 6858290"/>
              <a:gd name="connsiteX570" fmla="*/ 2226343 w 12139750"/>
              <a:gd name="connsiteY570" fmla="*/ 6105848 h 6858290"/>
              <a:gd name="connsiteX571" fmla="*/ 2565688 w 12139750"/>
              <a:gd name="connsiteY571" fmla="*/ 5942018 h 6858290"/>
              <a:gd name="connsiteX572" fmla="*/ 2596907 w 12139750"/>
              <a:gd name="connsiteY572" fmla="*/ 5940113 h 6858290"/>
              <a:gd name="connsiteX573" fmla="*/ 3158038 w 12139750"/>
              <a:gd name="connsiteY573" fmla="*/ 5928127 h 6858290"/>
              <a:gd name="connsiteX574" fmla="*/ 3181392 w 12139750"/>
              <a:gd name="connsiteY574" fmla="*/ 5948368 h 6858290"/>
              <a:gd name="connsiteX575" fmla="*/ 3162325 w 12139750"/>
              <a:gd name="connsiteY575" fmla="*/ 6003613 h 6858290"/>
              <a:gd name="connsiteX576" fmla="*/ 2822979 w 12139750"/>
              <a:gd name="connsiteY576" fmla="*/ 6167443 h 6858290"/>
              <a:gd name="connsiteX577" fmla="*/ 2769598 w 12139750"/>
              <a:gd name="connsiteY577" fmla="*/ 6148393 h 6858290"/>
              <a:gd name="connsiteX578" fmla="*/ 2763878 w 12139750"/>
              <a:gd name="connsiteY578" fmla="*/ 6131248 h 6858290"/>
              <a:gd name="connsiteX579" fmla="*/ 2788667 w 12139750"/>
              <a:gd name="connsiteY579" fmla="*/ 6093148 h 6858290"/>
              <a:gd name="connsiteX580" fmla="*/ 3126105 w 12139750"/>
              <a:gd name="connsiteY580" fmla="*/ 5929318 h 6858290"/>
              <a:gd name="connsiteX581" fmla="*/ 3158038 w 12139750"/>
              <a:gd name="connsiteY581" fmla="*/ 5928127 h 6858290"/>
              <a:gd name="connsiteX582" fmla="*/ 9872849 w 12139750"/>
              <a:gd name="connsiteY582" fmla="*/ 5750963 h 6858290"/>
              <a:gd name="connsiteX583" fmla="*/ 9894995 w 12139750"/>
              <a:gd name="connsiteY583" fmla="*/ 5770251 h 6858290"/>
              <a:gd name="connsiteX584" fmla="*/ 9879755 w 12139750"/>
              <a:gd name="connsiteY584" fmla="*/ 5821686 h 6858290"/>
              <a:gd name="connsiteX585" fmla="*/ 9542565 w 12139750"/>
              <a:gd name="connsiteY585" fmla="*/ 6000756 h 6858290"/>
              <a:gd name="connsiteX586" fmla="*/ 9489224 w 12139750"/>
              <a:gd name="connsiteY586" fmla="*/ 5983611 h 6858290"/>
              <a:gd name="connsiteX587" fmla="*/ 9485414 w 12139750"/>
              <a:gd name="connsiteY587" fmla="*/ 5966466 h 6858290"/>
              <a:gd name="connsiteX588" fmla="*/ 9506369 w 12139750"/>
              <a:gd name="connsiteY588" fmla="*/ 5932176 h 6858290"/>
              <a:gd name="connsiteX589" fmla="*/ 9843559 w 12139750"/>
              <a:gd name="connsiteY589" fmla="*/ 5753106 h 6858290"/>
              <a:gd name="connsiteX590" fmla="*/ 9872849 w 12139750"/>
              <a:gd name="connsiteY590" fmla="*/ 5750963 h 6858290"/>
              <a:gd name="connsiteX591" fmla="*/ 10455469 w 12139750"/>
              <a:gd name="connsiteY591" fmla="*/ 5739858 h 6858290"/>
              <a:gd name="connsiteX592" fmla="*/ 10477615 w 12139750"/>
              <a:gd name="connsiteY592" fmla="*/ 5759170 h 6858290"/>
              <a:gd name="connsiteX593" fmla="*/ 10462375 w 12139750"/>
              <a:gd name="connsiteY593" fmla="*/ 5810667 h 6858290"/>
              <a:gd name="connsiteX594" fmla="*/ 10123280 w 12139750"/>
              <a:gd name="connsiteY594" fmla="*/ 5988044 h 6858290"/>
              <a:gd name="connsiteX595" fmla="*/ 10071844 w 12139750"/>
              <a:gd name="connsiteY595" fmla="*/ 5970879 h 6858290"/>
              <a:gd name="connsiteX596" fmla="*/ 10068034 w 12139750"/>
              <a:gd name="connsiteY596" fmla="*/ 5953713 h 6858290"/>
              <a:gd name="connsiteX597" fmla="*/ 10088989 w 12139750"/>
              <a:gd name="connsiteY597" fmla="*/ 5919382 h 6858290"/>
              <a:gd name="connsiteX598" fmla="*/ 10426179 w 12139750"/>
              <a:gd name="connsiteY598" fmla="*/ 5742004 h 6858290"/>
              <a:gd name="connsiteX599" fmla="*/ 10455469 w 12139750"/>
              <a:gd name="connsiteY599" fmla="*/ 5739858 h 6858290"/>
              <a:gd name="connsiteX600" fmla="*/ 9295014 w 12139750"/>
              <a:gd name="connsiteY600" fmla="*/ 5739858 h 6858290"/>
              <a:gd name="connsiteX601" fmla="*/ 9317143 w 12139750"/>
              <a:gd name="connsiteY601" fmla="*/ 5759170 h 6858290"/>
              <a:gd name="connsiteX602" fmla="*/ 9300011 w 12139750"/>
              <a:gd name="connsiteY602" fmla="*/ 5810667 h 6858290"/>
              <a:gd name="connsiteX603" fmla="*/ 8963076 w 12139750"/>
              <a:gd name="connsiteY603" fmla="*/ 5988044 h 6858290"/>
              <a:gd name="connsiteX604" fmla="*/ 8911679 w 12139750"/>
              <a:gd name="connsiteY604" fmla="*/ 5970879 h 6858290"/>
              <a:gd name="connsiteX605" fmla="*/ 8905968 w 12139750"/>
              <a:gd name="connsiteY605" fmla="*/ 5953713 h 6858290"/>
              <a:gd name="connsiteX606" fmla="*/ 8926907 w 12139750"/>
              <a:gd name="connsiteY606" fmla="*/ 5919382 h 6858290"/>
              <a:gd name="connsiteX607" fmla="*/ 9265746 w 12139750"/>
              <a:gd name="connsiteY607" fmla="*/ 5742004 h 6858290"/>
              <a:gd name="connsiteX608" fmla="*/ 9295014 w 12139750"/>
              <a:gd name="connsiteY608" fmla="*/ 5739858 h 6858290"/>
              <a:gd name="connsiteX609" fmla="*/ 11032399 w 12139750"/>
              <a:gd name="connsiteY609" fmla="*/ 5727762 h 6858290"/>
              <a:gd name="connsiteX610" fmla="*/ 11055480 w 12139750"/>
              <a:gd name="connsiteY610" fmla="*/ 5746031 h 6858290"/>
              <a:gd name="connsiteX611" fmla="*/ 11038348 w 12139750"/>
              <a:gd name="connsiteY611" fmla="*/ 5799178 h 6858290"/>
              <a:gd name="connsiteX612" fmla="*/ 10701413 w 12139750"/>
              <a:gd name="connsiteY612" fmla="*/ 5973803 h 6858290"/>
              <a:gd name="connsiteX613" fmla="*/ 10648112 w 12139750"/>
              <a:gd name="connsiteY613" fmla="*/ 5956720 h 6858290"/>
              <a:gd name="connsiteX614" fmla="*/ 10644305 w 12139750"/>
              <a:gd name="connsiteY614" fmla="*/ 5937739 h 6858290"/>
              <a:gd name="connsiteX615" fmla="*/ 10665244 w 12139750"/>
              <a:gd name="connsiteY615" fmla="*/ 5903573 h 6858290"/>
              <a:gd name="connsiteX616" fmla="*/ 11002180 w 12139750"/>
              <a:gd name="connsiteY616" fmla="*/ 5730846 h 6858290"/>
              <a:gd name="connsiteX617" fmla="*/ 11032399 w 12139750"/>
              <a:gd name="connsiteY617" fmla="*/ 5727762 h 6858290"/>
              <a:gd name="connsiteX618" fmla="*/ 8723506 w 12139750"/>
              <a:gd name="connsiteY618" fmla="*/ 5727762 h 6858290"/>
              <a:gd name="connsiteX619" fmla="*/ 8745635 w 12139750"/>
              <a:gd name="connsiteY619" fmla="*/ 5746031 h 6858290"/>
              <a:gd name="connsiteX620" fmla="*/ 8728503 w 12139750"/>
              <a:gd name="connsiteY620" fmla="*/ 5799178 h 6858290"/>
              <a:gd name="connsiteX621" fmla="*/ 8391568 w 12139750"/>
              <a:gd name="connsiteY621" fmla="*/ 5973803 h 6858290"/>
              <a:gd name="connsiteX622" fmla="*/ 8338267 w 12139750"/>
              <a:gd name="connsiteY622" fmla="*/ 5956720 h 6858290"/>
              <a:gd name="connsiteX623" fmla="*/ 8334460 w 12139750"/>
              <a:gd name="connsiteY623" fmla="*/ 5937739 h 6858290"/>
              <a:gd name="connsiteX624" fmla="*/ 8355399 w 12139750"/>
              <a:gd name="connsiteY624" fmla="*/ 5903573 h 6858290"/>
              <a:gd name="connsiteX625" fmla="*/ 8694238 w 12139750"/>
              <a:gd name="connsiteY625" fmla="*/ 5730846 h 6858290"/>
              <a:gd name="connsiteX626" fmla="*/ 8723506 w 12139750"/>
              <a:gd name="connsiteY626" fmla="*/ 5727762 h 6858290"/>
              <a:gd name="connsiteX627" fmla="*/ 11603271 w 12139750"/>
              <a:gd name="connsiteY627" fmla="*/ 5714468 h 6858290"/>
              <a:gd name="connsiteX628" fmla="*/ 11625400 w 12139750"/>
              <a:gd name="connsiteY628" fmla="*/ 5733802 h 6858290"/>
              <a:gd name="connsiteX629" fmla="*/ 11608268 w 12139750"/>
              <a:gd name="connsiteY629" fmla="*/ 5787271 h 6858290"/>
              <a:gd name="connsiteX630" fmla="*/ 11271333 w 12139750"/>
              <a:gd name="connsiteY630" fmla="*/ 5961045 h 6858290"/>
              <a:gd name="connsiteX631" fmla="*/ 11218032 w 12139750"/>
              <a:gd name="connsiteY631" fmla="*/ 5941949 h 6858290"/>
              <a:gd name="connsiteX632" fmla="*/ 11214225 w 12139750"/>
              <a:gd name="connsiteY632" fmla="*/ 5924762 h 6858290"/>
              <a:gd name="connsiteX633" fmla="*/ 11235164 w 12139750"/>
              <a:gd name="connsiteY633" fmla="*/ 5890389 h 6858290"/>
              <a:gd name="connsiteX634" fmla="*/ 11574003 w 12139750"/>
              <a:gd name="connsiteY634" fmla="*/ 5716616 h 6858290"/>
              <a:gd name="connsiteX635" fmla="*/ 11603271 w 12139750"/>
              <a:gd name="connsiteY635" fmla="*/ 5714468 h 6858290"/>
              <a:gd name="connsiteX636" fmla="*/ 8158886 w 12139750"/>
              <a:gd name="connsiteY636" fmla="*/ 5714468 h 6858290"/>
              <a:gd name="connsiteX637" fmla="*/ 8182036 w 12139750"/>
              <a:gd name="connsiteY637" fmla="*/ 5733802 h 6858290"/>
              <a:gd name="connsiteX638" fmla="*/ 8164852 w 12139750"/>
              <a:gd name="connsiteY638" fmla="*/ 5787271 h 6858290"/>
              <a:gd name="connsiteX639" fmla="*/ 7824994 w 12139750"/>
              <a:gd name="connsiteY639" fmla="*/ 5961045 h 6858290"/>
              <a:gd name="connsiteX640" fmla="*/ 7771533 w 12139750"/>
              <a:gd name="connsiteY640" fmla="*/ 5941949 h 6858290"/>
              <a:gd name="connsiteX641" fmla="*/ 7767715 w 12139750"/>
              <a:gd name="connsiteY641" fmla="*/ 5924762 h 6858290"/>
              <a:gd name="connsiteX642" fmla="*/ 7788717 w 12139750"/>
              <a:gd name="connsiteY642" fmla="*/ 5890389 h 6858290"/>
              <a:gd name="connsiteX643" fmla="*/ 8128575 w 12139750"/>
              <a:gd name="connsiteY643" fmla="*/ 5716616 h 6858290"/>
              <a:gd name="connsiteX644" fmla="*/ 8158886 w 12139750"/>
              <a:gd name="connsiteY644" fmla="*/ 5714468 h 6858290"/>
              <a:gd name="connsiteX645" fmla="*/ 12139750 w 12139750"/>
              <a:gd name="connsiteY645" fmla="*/ 5703893 h 6858290"/>
              <a:gd name="connsiteX646" fmla="*/ 12139750 w 12139750"/>
              <a:gd name="connsiteY646" fmla="*/ 5793652 h 6858290"/>
              <a:gd name="connsiteX647" fmla="*/ 11833309 w 12139750"/>
              <a:gd name="connsiteY647" fmla="*/ 5948344 h 6858290"/>
              <a:gd name="connsiteX648" fmla="*/ 11780015 w 12139750"/>
              <a:gd name="connsiteY648" fmla="*/ 5929246 h 6858290"/>
              <a:gd name="connsiteX649" fmla="*/ 11776208 w 12139750"/>
              <a:gd name="connsiteY649" fmla="*/ 5912058 h 6858290"/>
              <a:gd name="connsiteX650" fmla="*/ 11799048 w 12139750"/>
              <a:gd name="connsiteY650" fmla="*/ 5875772 h 6858290"/>
              <a:gd name="connsiteX651" fmla="*/ 12135943 w 12139750"/>
              <a:gd name="connsiteY651" fmla="*/ 5705803 h 6858290"/>
              <a:gd name="connsiteX652" fmla="*/ 12139750 w 12139750"/>
              <a:gd name="connsiteY652" fmla="*/ 5703893 h 6858290"/>
              <a:gd name="connsiteX653" fmla="*/ 7600201 w 12139750"/>
              <a:gd name="connsiteY653" fmla="*/ 5703365 h 6858290"/>
              <a:gd name="connsiteX654" fmla="*/ 7623265 w 12139750"/>
              <a:gd name="connsiteY654" fmla="*/ 5722723 h 6858290"/>
              <a:gd name="connsiteX655" fmla="*/ 7604243 w 12139750"/>
              <a:gd name="connsiteY655" fmla="*/ 5776258 h 6858290"/>
              <a:gd name="connsiteX656" fmla="*/ 7267560 w 12139750"/>
              <a:gd name="connsiteY656" fmla="*/ 5948334 h 6858290"/>
              <a:gd name="connsiteX657" fmla="*/ 7214299 w 12139750"/>
              <a:gd name="connsiteY657" fmla="*/ 5929214 h 6858290"/>
              <a:gd name="connsiteX658" fmla="*/ 7210495 w 12139750"/>
              <a:gd name="connsiteY658" fmla="*/ 5912007 h 6858290"/>
              <a:gd name="connsiteX659" fmla="*/ 7231419 w 12139750"/>
              <a:gd name="connsiteY659" fmla="*/ 5875680 h 6858290"/>
              <a:gd name="connsiteX660" fmla="*/ 7570004 w 12139750"/>
              <a:gd name="connsiteY660" fmla="*/ 5705516 h 6858290"/>
              <a:gd name="connsiteX661" fmla="*/ 7600201 w 12139750"/>
              <a:gd name="connsiteY661" fmla="*/ 5703365 h 6858290"/>
              <a:gd name="connsiteX662" fmla="*/ 7047645 w 12139750"/>
              <a:gd name="connsiteY662" fmla="*/ 5692216 h 6858290"/>
              <a:gd name="connsiteX663" fmla="*/ 7070778 w 12139750"/>
              <a:gd name="connsiteY663" fmla="*/ 5711480 h 6858290"/>
              <a:gd name="connsiteX664" fmla="*/ 7051700 w 12139750"/>
              <a:gd name="connsiteY664" fmla="*/ 5766658 h 6858290"/>
              <a:gd name="connsiteX665" fmla="*/ 6714006 w 12139750"/>
              <a:gd name="connsiteY665" fmla="*/ 5934092 h 6858290"/>
              <a:gd name="connsiteX666" fmla="*/ 6658677 w 12139750"/>
              <a:gd name="connsiteY666" fmla="*/ 5915066 h 6858290"/>
              <a:gd name="connsiteX667" fmla="*/ 6654862 w 12139750"/>
              <a:gd name="connsiteY667" fmla="*/ 5897942 h 6858290"/>
              <a:gd name="connsiteX668" fmla="*/ 6677756 w 12139750"/>
              <a:gd name="connsiteY668" fmla="*/ 5861791 h 6858290"/>
              <a:gd name="connsiteX669" fmla="*/ 7017358 w 12139750"/>
              <a:gd name="connsiteY669" fmla="*/ 5694356 h 6858290"/>
              <a:gd name="connsiteX670" fmla="*/ 7047645 w 12139750"/>
              <a:gd name="connsiteY670" fmla="*/ 5692216 h 6858290"/>
              <a:gd name="connsiteX671" fmla="*/ 6486856 w 12139750"/>
              <a:gd name="connsiteY671" fmla="*/ 5678743 h 6858290"/>
              <a:gd name="connsiteX672" fmla="*/ 6526266 w 12139750"/>
              <a:gd name="connsiteY672" fmla="*/ 5700683 h 6858290"/>
              <a:gd name="connsiteX673" fmla="*/ 6507201 w 12139750"/>
              <a:gd name="connsiteY673" fmla="*/ 5755860 h 6858290"/>
              <a:gd name="connsiteX674" fmla="*/ 6167854 w 12139750"/>
              <a:gd name="connsiteY674" fmla="*/ 5921392 h 6858290"/>
              <a:gd name="connsiteX675" fmla="*/ 6114474 w 12139750"/>
              <a:gd name="connsiteY675" fmla="*/ 5902366 h 6858290"/>
              <a:gd name="connsiteX676" fmla="*/ 6108755 w 12139750"/>
              <a:gd name="connsiteY676" fmla="*/ 5883339 h 6858290"/>
              <a:gd name="connsiteX677" fmla="*/ 6131632 w 12139750"/>
              <a:gd name="connsiteY677" fmla="*/ 5847188 h 6858290"/>
              <a:gd name="connsiteX678" fmla="*/ 6470979 w 12139750"/>
              <a:gd name="connsiteY678" fmla="*/ 5683559 h 6858290"/>
              <a:gd name="connsiteX679" fmla="*/ 6486856 w 12139750"/>
              <a:gd name="connsiteY679" fmla="*/ 5678743 h 6858290"/>
              <a:gd name="connsiteX680" fmla="*/ 5956806 w 12139750"/>
              <a:gd name="connsiteY680" fmla="*/ 5667777 h 6858290"/>
              <a:gd name="connsiteX681" fmla="*/ 5980159 w 12139750"/>
              <a:gd name="connsiteY681" fmla="*/ 5688018 h 6858290"/>
              <a:gd name="connsiteX682" fmla="*/ 5961095 w 12139750"/>
              <a:gd name="connsiteY682" fmla="*/ 5743263 h 6858290"/>
              <a:gd name="connsiteX683" fmla="*/ 5621756 w 12139750"/>
              <a:gd name="connsiteY683" fmla="*/ 5907093 h 6858290"/>
              <a:gd name="connsiteX684" fmla="*/ 5566471 w 12139750"/>
              <a:gd name="connsiteY684" fmla="*/ 5888043 h 6858290"/>
              <a:gd name="connsiteX685" fmla="*/ 5562658 w 12139750"/>
              <a:gd name="connsiteY685" fmla="*/ 5868993 h 6858290"/>
              <a:gd name="connsiteX686" fmla="*/ 5585535 w 12139750"/>
              <a:gd name="connsiteY686" fmla="*/ 5832798 h 6858290"/>
              <a:gd name="connsiteX687" fmla="*/ 5924874 w 12139750"/>
              <a:gd name="connsiteY687" fmla="*/ 5668968 h 6858290"/>
              <a:gd name="connsiteX688" fmla="*/ 5956806 w 12139750"/>
              <a:gd name="connsiteY688" fmla="*/ 5667777 h 6858290"/>
              <a:gd name="connsiteX689" fmla="*/ 397251 w 12139750"/>
              <a:gd name="connsiteY689" fmla="*/ 5667777 h 6858290"/>
              <a:gd name="connsiteX690" fmla="*/ 420367 w 12139750"/>
              <a:gd name="connsiteY690" fmla="*/ 5688018 h 6858290"/>
              <a:gd name="connsiteX691" fmla="*/ 401303 w 12139750"/>
              <a:gd name="connsiteY691" fmla="*/ 5743263 h 6858290"/>
              <a:gd name="connsiteX692" fmla="*/ 63863 w 12139750"/>
              <a:gd name="connsiteY692" fmla="*/ 5907093 h 6858290"/>
              <a:gd name="connsiteX693" fmla="*/ 8576 w 12139750"/>
              <a:gd name="connsiteY693" fmla="*/ 5888043 h 6858290"/>
              <a:gd name="connsiteX694" fmla="*/ 4764 w 12139750"/>
              <a:gd name="connsiteY694" fmla="*/ 5868993 h 6858290"/>
              <a:gd name="connsiteX695" fmla="*/ 27641 w 12139750"/>
              <a:gd name="connsiteY695" fmla="*/ 5832798 h 6858290"/>
              <a:gd name="connsiteX696" fmla="*/ 366987 w 12139750"/>
              <a:gd name="connsiteY696" fmla="*/ 5668968 h 6858290"/>
              <a:gd name="connsiteX697" fmla="*/ 397251 w 12139750"/>
              <a:gd name="connsiteY697" fmla="*/ 5667777 h 6858290"/>
              <a:gd name="connsiteX698" fmla="*/ 5407592 w 12139750"/>
              <a:gd name="connsiteY698" fmla="*/ 5656676 h 6858290"/>
              <a:gd name="connsiteX699" fmla="*/ 5432449 w 12139750"/>
              <a:gd name="connsiteY699" fmla="*/ 5676941 h 6858290"/>
              <a:gd name="connsiteX700" fmla="*/ 5411416 w 12139750"/>
              <a:gd name="connsiteY700" fmla="*/ 5732255 h 6858290"/>
              <a:gd name="connsiteX701" fmla="*/ 5071064 w 12139750"/>
              <a:gd name="connsiteY701" fmla="*/ 5894382 h 6858290"/>
              <a:gd name="connsiteX702" fmla="*/ 5015621 w 12139750"/>
              <a:gd name="connsiteY702" fmla="*/ 5873401 h 6858290"/>
              <a:gd name="connsiteX703" fmla="*/ 5011797 w 12139750"/>
              <a:gd name="connsiteY703" fmla="*/ 5856234 h 6858290"/>
              <a:gd name="connsiteX704" fmla="*/ 5036651 w 12139750"/>
              <a:gd name="connsiteY704" fmla="*/ 5818087 h 6858290"/>
              <a:gd name="connsiteX705" fmla="*/ 5377000 w 12139750"/>
              <a:gd name="connsiteY705" fmla="*/ 5657868 h 6858290"/>
              <a:gd name="connsiteX706" fmla="*/ 5407592 w 12139750"/>
              <a:gd name="connsiteY706" fmla="*/ 5656676 h 6858290"/>
              <a:gd name="connsiteX707" fmla="*/ 941847 w 12139750"/>
              <a:gd name="connsiteY707" fmla="*/ 5656676 h 6858290"/>
              <a:gd name="connsiteX708" fmla="*/ 965201 w 12139750"/>
              <a:gd name="connsiteY708" fmla="*/ 5676941 h 6858290"/>
              <a:gd name="connsiteX709" fmla="*/ 946137 w 12139750"/>
              <a:gd name="connsiteY709" fmla="*/ 5732255 h 6858290"/>
              <a:gd name="connsiteX710" fmla="*/ 606791 w 12139750"/>
              <a:gd name="connsiteY710" fmla="*/ 5894382 h 6858290"/>
              <a:gd name="connsiteX711" fmla="*/ 551504 w 12139750"/>
              <a:gd name="connsiteY711" fmla="*/ 5873401 h 6858290"/>
              <a:gd name="connsiteX712" fmla="*/ 547691 w 12139750"/>
              <a:gd name="connsiteY712" fmla="*/ 5856234 h 6858290"/>
              <a:gd name="connsiteX713" fmla="*/ 570568 w 12139750"/>
              <a:gd name="connsiteY713" fmla="*/ 5818087 h 6858290"/>
              <a:gd name="connsiteX714" fmla="*/ 909914 w 12139750"/>
              <a:gd name="connsiteY714" fmla="*/ 5657868 h 6858290"/>
              <a:gd name="connsiteX715" fmla="*/ 941847 w 12139750"/>
              <a:gd name="connsiteY715" fmla="*/ 5656676 h 6858290"/>
              <a:gd name="connsiteX716" fmla="*/ 4853506 w 12139750"/>
              <a:gd name="connsiteY716" fmla="*/ 5644857 h 6858290"/>
              <a:gd name="connsiteX717" fmla="*/ 4876848 w 12139750"/>
              <a:gd name="connsiteY717" fmla="*/ 5665864 h 6858290"/>
              <a:gd name="connsiteX718" fmla="*/ 4855887 w 12139750"/>
              <a:gd name="connsiteY718" fmla="*/ 5723158 h 6858290"/>
              <a:gd name="connsiteX719" fmla="*/ 4516801 w 12139750"/>
              <a:gd name="connsiteY719" fmla="*/ 5881669 h 6858290"/>
              <a:gd name="connsiteX720" fmla="*/ 4461553 w 12139750"/>
              <a:gd name="connsiteY720" fmla="*/ 5860661 h 6858290"/>
              <a:gd name="connsiteX721" fmla="*/ 4457744 w 12139750"/>
              <a:gd name="connsiteY721" fmla="*/ 5843473 h 6858290"/>
              <a:gd name="connsiteX722" fmla="*/ 4482509 w 12139750"/>
              <a:gd name="connsiteY722" fmla="*/ 5805278 h 6858290"/>
              <a:gd name="connsiteX723" fmla="*/ 4821592 w 12139750"/>
              <a:gd name="connsiteY723" fmla="*/ 5646767 h 6858290"/>
              <a:gd name="connsiteX724" fmla="*/ 4853506 w 12139750"/>
              <a:gd name="connsiteY724" fmla="*/ 5644857 h 6858290"/>
              <a:gd name="connsiteX725" fmla="*/ 1487895 w 12139750"/>
              <a:gd name="connsiteY725" fmla="*/ 5644857 h 6858290"/>
              <a:gd name="connsiteX726" fmla="*/ 1512898 w 12139750"/>
              <a:gd name="connsiteY726" fmla="*/ 5665864 h 6858290"/>
              <a:gd name="connsiteX727" fmla="*/ 1491943 w 12139750"/>
              <a:gd name="connsiteY727" fmla="*/ 5723158 h 6858290"/>
              <a:gd name="connsiteX728" fmla="*/ 1152849 w 12139750"/>
              <a:gd name="connsiteY728" fmla="*/ 5881669 h 6858290"/>
              <a:gd name="connsiteX729" fmla="*/ 1097603 w 12139750"/>
              <a:gd name="connsiteY729" fmla="*/ 5860661 h 6858290"/>
              <a:gd name="connsiteX730" fmla="*/ 1093793 w 12139750"/>
              <a:gd name="connsiteY730" fmla="*/ 5843473 h 6858290"/>
              <a:gd name="connsiteX731" fmla="*/ 1116653 w 12139750"/>
              <a:gd name="connsiteY731" fmla="*/ 5805278 h 6858290"/>
              <a:gd name="connsiteX732" fmla="*/ 1455747 w 12139750"/>
              <a:gd name="connsiteY732" fmla="*/ 5646767 h 6858290"/>
              <a:gd name="connsiteX733" fmla="*/ 1487895 w 12139750"/>
              <a:gd name="connsiteY733" fmla="*/ 5644857 h 6858290"/>
              <a:gd name="connsiteX734" fmla="*/ 4280333 w 12139750"/>
              <a:gd name="connsiteY734" fmla="*/ 5631131 h 6858290"/>
              <a:gd name="connsiteX735" fmla="*/ 4319591 w 12139750"/>
              <a:gd name="connsiteY735" fmla="*/ 5654883 h 6858290"/>
              <a:gd name="connsiteX736" fmla="*/ 4298557 w 12139750"/>
              <a:gd name="connsiteY736" fmla="*/ 5711818 h 6858290"/>
              <a:gd name="connsiteX737" fmla="*/ 3958229 w 12139750"/>
              <a:gd name="connsiteY737" fmla="*/ 5867442 h 6858290"/>
              <a:gd name="connsiteX738" fmla="*/ 3902776 w 12139750"/>
              <a:gd name="connsiteY738" fmla="*/ 5846565 h 6858290"/>
              <a:gd name="connsiteX739" fmla="*/ 3898954 w 12139750"/>
              <a:gd name="connsiteY739" fmla="*/ 5829485 h 6858290"/>
              <a:gd name="connsiteX740" fmla="*/ 3923810 w 12139750"/>
              <a:gd name="connsiteY740" fmla="*/ 5789630 h 6858290"/>
              <a:gd name="connsiteX741" fmla="*/ 4264139 w 12139750"/>
              <a:gd name="connsiteY741" fmla="*/ 5635905 h 6858290"/>
              <a:gd name="connsiteX742" fmla="*/ 4280333 w 12139750"/>
              <a:gd name="connsiteY742" fmla="*/ 5631131 h 6858290"/>
              <a:gd name="connsiteX743" fmla="*/ 2025802 w 12139750"/>
              <a:gd name="connsiteY743" fmla="*/ 5631130 h 6858290"/>
              <a:gd name="connsiteX744" fmla="*/ 2066916 w 12139750"/>
              <a:gd name="connsiteY744" fmla="*/ 5654883 h 6858290"/>
              <a:gd name="connsiteX745" fmla="*/ 2045894 w 12139750"/>
              <a:gd name="connsiteY745" fmla="*/ 5711818 h 6858290"/>
              <a:gd name="connsiteX746" fmla="*/ 1705799 w 12139750"/>
              <a:gd name="connsiteY746" fmla="*/ 5867442 h 6858290"/>
              <a:gd name="connsiteX747" fmla="*/ 1648480 w 12139750"/>
              <a:gd name="connsiteY747" fmla="*/ 5846565 h 6858290"/>
              <a:gd name="connsiteX748" fmla="*/ 1644659 w 12139750"/>
              <a:gd name="connsiteY748" fmla="*/ 5829485 h 6858290"/>
              <a:gd name="connsiteX749" fmla="*/ 1669497 w 12139750"/>
              <a:gd name="connsiteY749" fmla="*/ 5789630 h 6858290"/>
              <a:gd name="connsiteX750" fmla="*/ 2009592 w 12139750"/>
              <a:gd name="connsiteY750" fmla="*/ 5635905 h 6858290"/>
              <a:gd name="connsiteX751" fmla="*/ 2025802 w 12139750"/>
              <a:gd name="connsiteY751" fmla="*/ 5631130 h 6858290"/>
              <a:gd name="connsiteX752" fmla="*/ 3732521 w 12139750"/>
              <a:gd name="connsiteY752" fmla="*/ 5620423 h 6858290"/>
              <a:gd name="connsiteX753" fmla="*/ 3756078 w 12139750"/>
              <a:gd name="connsiteY753" fmla="*/ 5642413 h 6858290"/>
              <a:gd name="connsiteX754" fmla="*/ 3735138 w 12139750"/>
              <a:gd name="connsiteY754" fmla="*/ 5699780 h 6858290"/>
              <a:gd name="connsiteX755" fmla="*/ 3396308 w 12139750"/>
              <a:gd name="connsiteY755" fmla="*/ 5854670 h 6858290"/>
              <a:gd name="connsiteX756" fmla="*/ 3339199 w 12139750"/>
              <a:gd name="connsiteY756" fmla="*/ 5833635 h 6858290"/>
              <a:gd name="connsiteX757" fmla="*/ 3335390 w 12139750"/>
              <a:gd name="connsiteY757" fmla="*/ 5814513 h 6858290"/>
              <a:gd name="connsiteX758" fmla="*/ 3360135 w 12139750"/>
              <a:gd name="connsiteY758" fmla="*/ 5776269 h 6858290"/>
              <a:gd name="connsiteX759" fmla="*/ 3698967 w 12139750"/>
              <a:gd name="connsiteY759" fmla="*/ 5621379 h 6858290"/>
              <a:gd name="connsiteX760" fmla="*/ 3732521 w 12139750"/>
              <a:gd name="connsiteY760" fmla="*/ 5620423 h 6858290"/>
              <a:gd name="connsiteX761" fmla="*/ 2598306 w 12139750"/>
              <a:gd name="connsiteY761" fmla="*/ 5620423 h 6858290"/>
              <a:gd name="connsiteX762" fmla="*/ 2622577 w 12139750"/>
              <a:gd name="connsiteY762" fmla="*/ 5642413 h 6858290"/>
              <a:gd name="connsiteX763" fmla="*/ 2601638 w 12139750"/>
              <a:gd name="connsiteY763" fmla="*/ 5699780 h 6858290"/>
              <a:gd name="connsiteX764" fmla="*/ 2262794 w 12139750"/>
              <a:gd name="connsiteY764" fmla="*/ 5854670 h 6858290"/>
              <a:gd name="connsiteX765" fmla="*/ 2205686 w 12139750"/>
              <a:gd name="connsiteY765" fmla="*/ 5833635 h 6858290"/>
              <a:gd name="connsiteX766" fmla="*/ 2201879 w 12139750"/>
              <a:gd name="connsiteY766" fmla="*/ 5814513 h 6858290"/>
              <a:gd name="connsiteX767" fmla="*/ 2226626 w 12139750"/>
              <a:gd name="connsiteY767" fmla="*/ 5776269 h 6858290"/>
              <a:gd name="connsiteX768" fmla="*/ 2565468 w 12139750"/>
              <a:gd name="connsiteY768" fmla="*/ 5621379 h 6858290"/>
              <a:gd name="connsiteX769" fmla="*/ 2598306 w 12139750"/>
              <a:gd name="connsiteY769" fmla="*/ 5620423 h 6858290"/>
              <a:gd name="connsiteX770" fmla="*/ 3160334 w 12139750"/>
              <a:gd name="connsiteY770" fmla="*/ 5609267 h 6858290"/>
              <a:gd name="connsiteX771" fmla="*/ 3184589 w 12139750"/>
              <a:gd name="connsiteY771" fmla="*/ 5631147 h 6858290"/>
              <a:gd name="connsiteX772" fmla="*/ 3161758 w 12139750"/>
              <a:gd name="connsiteY772" fmla="*/ 5688224 h 6858290"/>
              <a:gd name="connsiteX773" fmla="*/ 2823162 w 12139750"/>
              <a:gd name="connsiteY773" fmla="*/ 5840431 h 6858290"/>
              <a:gd name="connsiteX774" fmla="*/ 2766094 w 12139750"/>
              <a:gd name="connsiteY774" fmla="*/ 5817600 h 6858290"/>
              <a:gd name="connsiteX775" fmla="*/ 2762292 w 12139750"/>
              <a:gd name="connsiteY775" fmla="*/ 5800477 h 6858290"/>
              <a:gd name="connsiteX776" fmla="*/ 2787018 w 12139750"/>
              <a:gd name="connsiteY776" fmla="*/ 5760522 h 6858290"/>
              <a:gd name="connsiteX777" fmla="*/ 3127521 w 12139750"/>
              <a:gd name="connsiteY777" fmla="*/ 5610219 h 6858290"/>
              <a:gd name="connsiteX778" fmla="*/ 3160334 w 12139750"/>
              <a:gd name="connsiteY778" fmla="*/ 5609267 h 6858290"/>
              <a:gd name="connsiteX779" fmla="*/ 9870771 w 12139750"/>
              <a:gd name="connsiteY779" fmla="*/ 5423698 h 6858290"/>
              <a:gd name="connsiteX780" fmla="*/ 9891790 w 12139750"/>
              <a:gd name="connsiteY780" fmla="*/ 5439415 h 6858290"/>
              <a:gd name="connsiteX781" fmla="*/ 9878414 w 12139750"/>
              <a:gd name="connsiteY781" fmla="*/ 5488945 h 6858290"/>
              <a:gd name="connsiteX782" fmla="*/ 9542094 w 12139750"/>
              <a:gd name="connsiteY782" fmla="*/ 5683255 h 6858290"/>
              <a:gd name="connsiteX783" fmla="*/ 9492411 w 12139750"/>
              <a:gd name="connsiteY783" fmla="*/ 5669920 h 6858290"/>
              <a:gd name="connsiteX784" fmla="*/ 9488589 w 12139750"/>
              <a:gd name="connsiteY784" fmla="*/ 5650870 h 6858290"/>
              <a:gd name="connsiteX785" fmla="*/ 9505787 w 12139750"/>
              <a:gd name="connsiteY785" fmla="*/ 5620390 h 6858290"/>
              <a:gd name="connsiteX786" fmla="*/ 9844018 w 12139750"/>
              <a:gd name="connsiteY786" fmla="*/ 5427985 h 6858290"/>
              <a:gd name="connsiteX787" fmla="*/ 9870771 w 12139750"/>
              <a:gd name="connsiteY787" fmla="*/ 5423698 h 6858290"/>
              <a:gd name="connsiteX788" fmla="*/ 10454072 w 12139750"/>
              <a:gd name="connsiteY788" fmla="*/ 5413206 h 6858290"/>
              <a:gd name="connsiteX789" fmla="*/ 10476013 w 12139750"/>
              <a:gd name="connsiteY789" fmla="*/ 5429836 h 6858290"/>
              <a:gd name="connsiteX790" fmla="*/ 10460750 w 12139750"/>
              <a:gd name="connsiteY790" fmla="*/ 5479250 h 6858290"/>
              <a:gd name="connsiteX791" fmla="*/ 10123044 w 12139750"/>
              <a:gd name="connsiteY791" fmla="*/ 5667402 h 6858290"/>
              <a:gd name="connsiteX792" fmla="*/ 10075346 w 12139750"/>
              <a:gd name="connsiteY792" fmla="*/ 5654098 h 6858290"/>
              <a:gd name="connsiteX793" fmla="*/ 10069622 w 12139750"/>
              <a:gd name="connsiteY793" fmla="*/ 5636994 h 6858290"/>
              <a:gd name="connsiteX794" fmla="*/ 10088701 w 12139750"/>
              <a:gd name="connsiteY794" fmla="*/ 5604685 h 6858290"/>
              <a:gd name="connsiteX795" fmla="*/ 10426407 w 12139750"/>
              <a:gd name="connsiteY795" fmla="*/ 5416532 h 6858290"/>
              <a:gd name="connsiteX796" fmla="*/ 10454072 w 12139750"/>
              <a:gd name="connsiteY796" fmla="*/ 5413206 h 6858290"/>
              <a:gd name="connsiteX797" fmla="*/ 9292639 w 12139750"/>
              <a:gd name="connsiteY797" fmla="*/ 5413206 h 6858290"/>
              <a:gd name="connsiteX798" fmla="*/ 9313626 w 12139750"/>
              <a:gd name="connsiteY798" fmla="*/ 5429836 h 6858290"/>
              <a:gd name="connsiteX799" fmla="*/ 9300271 w 12139750"/>
              <a:gd name="connsiteY799" fmla="*/ 5479250 h 6858290"/>
              <a:gd name="connsiteX800" fmla="*/ 8962565 w 12139750"/>
              <a:gd name="connsiteY800" fmla="*/ 5667402 h 6858290"/>
              <a:gd name="connsiteX801" fmla="*/ 8912959 w 12139750"/>
              <a:gd name="connsiteY801" fmla="*/ 5654098 h 6858290"/>
              <a:gd name="connsiteX802" fmla="*/ 8909143 w 12139750"/>
              <a:gd name="connsiteY802" fmla="*/ 5636994 h 6858290"/>
              <a:gd name="connsiteX803" fmla="*/ 8928222 w 12139750"/>
              <a:gd name="connsiteY803" fmla="*/ 5604685 h 6858290"/>
              <a:gd name="connsiteX804" fmla="*/ 9265928 w 12139750"/>
              <a:gd name="connsiteY804" fmla="*/ 5416532 h 6858290"/>
              <a:gd name="connsiteX805" fmla="*/ 9292639 w 12139750"/>
              <a:gd name="connsiteY805" fmla="*/ 5413206 h 6858290"/>
              <a:gd name="connsiteX806" fmla="*/ 11031715 w 12139750"/>
              <a:gd name="connsiteY806" fmla="*/ 5402102 h 6858290"/>
              <a:gd name="connsiteX807" fmla="*/ 11053878 w 12139750"/>
              <a:gd name="connsiteY807" fmla="*/ 5418751 h 6858290"/>
              <a:gd name="connsiteX808" fmla="*/ 11038626 w 12139750"/>
              <a:gd name="connsiteY808" fmla="*/ 5470125 h 6858290"/>
              <a:gd name="connsiteX809" fmla="*/ 10701180 w 12139750"/>
              <a:gd name="connsiteY809" fmla="*/ 5654692 h 6858290"/>
              <a:gd name="connsiteX810" fmla="*/ 10649705 w 12139750"/>
              <a:gd name="connsiteY810" fmla="*/ 5639470 h 6858290"/>
              <a:gd name="connsiteX811" fmla="*/ 10645892 w 12139750"/>
              <a:gd name="connsiteY811" fmla="*/ 5622345 h 6858290"/>
              <a:gd name="connsiteX812" fmla="*/ 10664957 w 12139750"/>
              <a:gd name="connsiteY812" fmla="*/ 5589998 h 6858290"/>
              <a:gd name="connsiteX813" fmla="*/ 11002403 w 12139750"/>
              <a:gd name="connsiteY813" fmla="*/ 5405432 h 6858290"/>
              <a:gd name="connsiteX814" fmla="*/ 11031715 w 12139750"/>
              <a:gd name="connsiteY814" fmla="*/ 5402102 h 6858290"/>
              <a:gd name="connsiteX815" fmla="*/ 8722109 w 12139750"/>
              <a:gd name="connsiteY815" fmla="*/ 5402102 h 6858290"/>
              <a:gd name="connsiteX816" fmla="*/ 8744034 w 12139750"/>
              <a:gd name="connsiteY816" fmla="*/ 5418751 h 6858290"/>
              <a:gd name="connsiteX817" fmla="*/ 8728782 w 12139750"/>
              <a:gd name="connsiteY817" fmla="*/ 5470125 h 6858290"/>
              <a:gd name="connsiteX818" fmla="*/ 8391336 w 12139750"/>
              <a:gd name="connsiteY818" fmla="*/ 5654692 h 6858290"/>
              <a:gd name="connsiteX819" fmla="*/ 8341767 w 12139750"/>
              <a:gd name="connsiteY819" fmla="*/ 5639470 h 6858290"/>
              <a:gd name="connsiteX820" fmla="*/ 8336048 w 12139750"/>
              <a:gd name="connsiteY820" fmla="*/ 5622345 h 6858290"/>
              <a:gd name="connsiteX821" fmla="*/ 8355113 w 12139750"/>
              <a:gd name="connsiteY821" fmla="*/ 5589998 h 6858290"/>
              <a:gd name="connsiteX822" fmla="*/ 8694465 w 12139750"/>
              <a:gd name="connsiteY822" fmla="*/ 5405432 h 6858290"/>
              <a:gd name="connsiteX823" fmla="*/ 8722109 w 12139750"/>
              <a:gd name="connsiteY823" fmla="*/ 5402102 h 6858290"/>
              <a:gd name="connsiteX824" fmla="*/ 11601635 w 12139750"/>
              <a:gd name="connsiteY824" fmla="*/ 5389647 h 6858290"/>
              <a:gd name="connsiteX825" fmla="*/ 11623798 w 12139750"/>
              <a:gd name="connsiteY825" fmla="*/ 5407983 h 6858290"/>
              <a:gd name="connsiteX826" fmla="*/ 11608546 w 12139750"/>
              <a:gd name="connsiteY826" fmla="*/ 5459418 h 6858290"/>
              <a:gd name="connsiteX827" fmla="*/ 11271100 w 12139750"/>
              <a:gd name="connsiteY827" fmla="*/ 5638488 h 6858290"/>
              <a:gd name="connsiteX828" fmla="*/ 11219625 w 12139750"/>
              <a:gd name="connsiteY828" fmla="*/ 5623248 h 6858290"/>
              <a:gd name="connsiteX829" fmla="*/ 11215812 w 12139750"/>
              <a:gd name="connsiteY829" fmla="*/ 5606103 h 6858290"/>
              <a:gd name="connsiteX830" fmla="*/ 11234877 w 12139750"/>
              <a:gd name="connsiteY830" fmla="*/ 5571813 h 6858290"/>
              <a:gd name="connsiteX831" fmla="*/ 11572323 w 12139750"/>
              <a:gd name="connsiteY831" fmla="*/ 5392743 h 6858290"/>
              <a:gd name="connsiteX832" fmla="*/ 11601635 w 12139750"/>
              <a:gd name="connsiteY832" fmla="*/ 5389647 h 6858290"/>
              <a:gd name="connsiteX833" fmla="*/ 8158325 w 12139750"/>
              <a:gd name="connsiteY833" fmla="*/ 5389647 h 6858290"/>
              <a:gd name="connsiteX834" fmla="*/ 8180471 w 12139750"/>
              <a:gd name="connsiteY834" fmla="*/ 5407983 h 6858290"/>
              <a:gd name="connsiteX835" fmla="*/ 8165230 w 12139750"/>
              <a:gd name="connsiteY835" fmla="*/ 5459418 h 6858290"/>
              <a:gd name="connsiteX836" fmla="*/ 7826136 w 12139750"/>
              <a:gd name="connsiteY836" fmla="*/ 5638488 h 6858290"/>
              <a:gd name="connsiteX837" fmla="*/ 7774700 w 12139750"/>
              <a:gd name="connsiteY837" fmla="*/ 5623248 h 6858290"/>
              <a:gd name="connsiteX838" fmla="*/ 7770890 w 12139750"/>
              <a:gd name="connsiteY838" fmla="*/ 5606103 h 6858290"/>
              <a:gd name="connsiteX839" fmla="*/ 7791845 w 12139750"/>
              <a:gd name="connsiteY839" fmla="*/ 5571813 h 6858290"/>
              <a:gd name="connsiteX840" fmla="*/ 8129035 w 12139750"/>
              <a:gd name="connsiteY840" fmla="*/ 5392743 h 6858290"/>
              <a:gd name="connsiteX841" fmla="*/ 8158325 w 12139750"/>
              <a:gd name="connsiteY841" fmla="*/ 5389647 h 6858290"/>
              <a:gd name="connsiteX842" fmla="*/ 12139750 w 12139750"/>
              <a:gd name="connsiteY842" fmla="*/ 5380043 h 6858290"/>
              <a:gd name="connsiteX843" fmla="*/ 12139750 w 12139750"/>
              <a:gd name="connsiteY843" fmla="*/ 5467782 h 6858290"/>
              <a:gd name="connsiteX844" fmla="*/ 11833041 w 12139750"/>
              <a:gd name="connsiteY844" fmla="*/ 5626094 h 6858290"/>
              <a:gd name="connsiteX845" fmla="*/ 11781605 w 12139750"/>
              <a:gd name="connsiteY845" fmla="*/ 5608928 h 6858290"/>
              <a:gd name="connsiteX846" fmla="*/ 11777795 w 12139750"/>
              <a:gd name="connsiteY846" fmla="*/ 5591761 h 6858290"/>
              <a:gd name="connsiteX847" fmla="*/ 11798750 w 12139750"/>
              <a:gd name="connsiteY847" fmla="*/ 5557428 h 6858290"/>
              <a:gd name="connsiteX848" fmla="*/ 12135940 w 12139750"/>
              <a:gd name="connsiteY848" fmla="*/ 5381950 h 6858290"/>
              <a:gd name="connsiteX849" fmla="*/ 12139750 w 12139750"/>
              <a:gd name="connsiteY849" fmla="*/ 5380043 h 6858290"/>
              <a:gd name="connsiteX850" fmla="*/ 7599540 w 12139750"/>
              <a:gd name="connsiteY850" fmla="*/ 5379505 h 6858290"/>
              <a:gd name="connsiteX851" fmla="*/ 7621670 w 12139750"/>
              <a:gd name="connsiteY851" fmla="*/ 5398839 h 6858290"/>
              <a:gd name="connsiteX852" fmla="*/ 7604538 w 12139750"/>
              <a:gd name="connsiteY852" fmla="*/ 5450398 h 6858290"/>
              <a:gd name="connsiteX853" fmla="*/ 7267602 w 12139750"/>
              <a:gd name="connsiteY853" fmla="*/ 5626082 h 6858290"/>
              <a:gd name="connsiteX854" fmla="*/ 7214302 w 12139750"/>
              <a:gd name="connsiteY854" fmla="*/ 5608895 h 6858290"/>
              <a:gd name="connsiteX855" fmla="*/ 7210495 w 12139750"/>
              <a:gd name="connsiteY855" fmla="*/ 5591709 h 6858290"/>
              <a:gd name="connsiteX856" fmla="*/ 7231434 w 12139750"/>
              <a:gd name="connsiteY856" fmla="*/ 5557336 h 6858290"/>
              <a:gd name="connsiteX857" fmla="*/ 7570273 w 12139750"/>
              <a:gd name="connsiteY857" fmla="*/ 5381653 h 6858290"/>
              <a:gd name="connsiteX858" fmla="*/ 7599540 w 12139750"/>
              <a:gd name="connsiteY858" fmla="*/ 5379505 h 6858290"/>
              <a:gd name="connsiteX859" fmla="*/ 7046905 w 12139750"/>
              <a:gd name="connsiteY859" fmla="*/ 5368357 h 6858290"/>
              <a:gd name="connsiteX860" fmla="*/ 7070771 w 12139750"/>
              <a:gd name="connsiteY860" fmla="*/ 5387598 h 6858290"/>
              <a:gd name="connsiteX861" fmla="*/ 7051678 w 12139750"/>
              <a:gd name="connsiteY861" fmla="*/ 5440808 h 6858290"/>
              <a:gd name="connsiteX862" fmla="*/ 6713729 w 12139750"/>
              <a:gd name="connsiteY862" fmla="*/ 5611841 h 6858290"/>
              <a:gd name="connsiteX863" fmla="*/ 6660268 w 12139750"/>
              <a:gd name="connsiteY863" fmla="*/ 5594738 h 6858290"/>
              <a:gd name="connsiteX864" fmla="*/ 6656450 w 12139750"/>
              <a:gd name="connsiteY864" fmla="*/ 5575734 h 6858290"/>
              <a:gd name="connsiteX865" fmla="*/ 6677452 w 12139750"/>
              <a:gd name="connsiteY865" fmla="*/ 5541527 h 6858290"/>
              <a:gd name="connsiteX866" fmla="*/ 7017310 w 12139750"/>
              <a:gd name="connsiteY866" fmla="*/ 5370495 h 6858290"/>
              <a:gd name="connsiteX867" fmla="*/ 7046905 w 12139750"/>
              <a:gd name="connsiteY867" fmla="*/ 5368357 h 6858290"/>
              <a:gd name="connsiteX868" fmla="*/ 6501958 w 12139750"/>
              <a:gd name="connsiteY868" fmla="*/ 5357490 h 6858290"/>
              <a:gd name="connsiteX869" fmla="*/ 6524359 w 12139750"/>
              <a:gd name="connsiteY869" fmla="*/ 5378420 h 6858290"/>
              <a:gd name="connsiteX870" fmla="*/ 6507201 w 12139750"/>
              <a:gd name="connsiteY870" fmla="*/ 5431695 h 6858290"/>
              <a:gd name="connsiteX871" fmla="*/ 6167854 w 12139750"/>
              <a:gd name="connsiteY871" fmla="*/ 5597227 h 6858290"/>
              <a:gd name="connsiteX872" fmla="*/ 6114474 w 12139750"/>
              <a:gd name="connsiteY872" fmla="*/ 5580103 h 6858290"/>
              <a:gd name="connsiteX873" fmla="*/ 6108755 w 12139750"/>
              <a:gd name="connsiteY873" fmla="*/ 5561076 h 6858290"/>
              <a:gd name="connsiteX874" fmla="*/ 6131632 w 12139750"/>
              <a:gd name="connsiteY874" fmla="*/ 5524925 h 6858290"/>
              <a:gd name="connsiteX875" fmla="*/ 6470979 w 12139750"/>
              <a:gd name="connsiteY875" fmla="*/ 5359393 h 6858290"/>
              <a:gd name="connsiteX876" fmla="*/ 6501958 w 12139750"/>
              <a:gd name="connsiteY876" fmla="*/ 5357490 h 6858290"/>
              <a:gd name="connsiteX877" fmla="*/ 5956806 w 12139750"/>
              <a:gd name="connsiteY877" fmla="*/ 5347061 h 6858290"/>
              <a:gd name="connsiteX878" fmla="*/ 5980159 w 12139750"/>
              <a:gd name="connsiteY878" fmla="*/ 5367201 h 6858290"/>
              <a:gd name="connsiteX879" fmla="*/ 5961095 w 12139750"/>
              <a:gd name="connsiteY879" fmla="*/ 5422171 h 6858290"/>
              <a:gd name="connsiteX880" fmla="*/ 5621756 w 12139750"/>
              <a:gd name="connsiteY880" fmla="*/ 5583290 h 6858290"/>
              <a:gd name="connsiteX881" fmla="*/ 5566471 w 12139750"/>
              <a:gd name="connsiteY881" fmla="*/ 5564335 h 6858290"/>
              <a:gd name="connsiteX882" fmla="*/ 5562658 w 12139750"/>
              <a:gd name="connsiteY882" fmla="*/ 5547275 h 6858290"/>
              <a:gd name="connsiteX883" fmla="*/ 5585535 w 12139750"/>
              <a:gd name="connsiteY883" fmla="*/ 5509365 h 6858290"/>
              <a:gd name="connsiteX884" fmla="*/ 5924874 w 12139750"/>
              <a:gd name="connsiteY884" fmla="*/ 5348245 h 6858290"/>
              <a:gd name="connsiteX885" fmla="*/ 5956806 w 12139750"/>
              <a:gd name="connsiteY885" fmla="*/ 5347061 h 6858290"/>
              <a:gd name="connsiteX886" fmla="*/ 398204 w 12139750"/>
              <a:gd name="connsiteY886" fmla="*/ 5347061 h 6858290"/>
              <a:gd name="connsiteX887" fmla="*/ 422273 w 12139750"/>
              <a:gd name="connsiteY887" fmla="*/ 5367201 h 6858290"/>
              <a:gd name="connsiteX888" fmla="*/ 401302 w 12139750"/>
              <a:gd name="connsiteY888" fmla="*/ 5422171 h 6858290"/>
              <a:gd name="connsiteX889" fmla="*/ 63863 w 12139750"/>
              <a:gd name="connsiteY889" fmla="*/ 5583290 h 6858290"/>
              <a:gd name="connsiteX890" fmla="*/ 8576 w 12139750"/>
              <a:gd name="connsiteY890" fmla="*/ 5564335 h 6858290"/>
              <a:gd name="connsiteX891" fmla="*/ 4763 w 12139750"/>
              <a:gd name="connsiteY891" fmla="*/ 5547275 h 6858290"/>
              <a:gd name="connsiteX892" fmla="*/ 27641 w 12139750"/>
              <a:gd name="connsiteY892" fmla="*/ 5509365 h 6858290"/>
              <a:gd name="connsiteX893" fmla="*/ 366986 w 12139750"/>
              <a:gd name="connsiteY893" fmla="*/ 5348245 h 6858290"/>
              <a:gd name="connsiteX894" fmla="*/ 398204 w 12139750"/>
              <a:gd name="connsiteY894" fmla="*/ 5347061 h 6858290"/>
              <a:gd name="connsiteX895" fmla="*/ 5409026 w 12139750"/>
              <a:gd name="connsiteY895" fmla="*/ 5334662 h 6858290"/>
              <a:gd name="connsiteX896" fmla="*/ 5432449 w 12139750"/>
              <a:gd name="connsiteY896" fmla="*/ 5356624 h 6858290"/>
              <a:gd name="connsiteX897" fmla="*/ 5411416 w 12139750"/>
              <a:gd name="connsiteY897" fmla="*/ 5412008 h 6858290"/>
              <a:gd name="connsiteX898" fmla="*/ 5071064 w 12139750"/>
              <a:gd name="connsiteY898" fmla="*/ 5570519 h 6858290"/>
              <a:gd name="connsiteX899" fmla="*/ 5015621 w 12139750"/>
              <a:gd name="connsiteY899" fmla="*/ 5549511 h 6858290"/>
              <a:gd name="connsiteX900" fmla="*/ 5011797 w 12139750"/>
              <a:gd name="connsiteY900" fmla="*/ 5532323 h 6858290"/>
              <a:gd name="connsiteX901" fmla="*/ 5036651 w 12139750"/>
              <a:gd name="connsiteY901" fmla="*/ 5494128 h 6858290"/>
              <a:gd name="connsiteX902" fmla="*/ 5377000 w 12139750"/>
              <a:gd name="connsiteY902" fmla="*/ 5335617 h 6858290"/>
              <a:gd name="connsiteX903" fmla="*/ 5409026 w 12139750"/>
              <a:gd name="connsiteY903" fmla="*/ 5334662 h 6858290"/>
              <a:gd name="connsiteX904" fmla="*/ 941871 w 12139750"/>
              <a:gd name="connsiteY904" fmla="*/ 5334662 h 6858290"/>
              <a:gd name="connsiteX905" fmla="*/ 965208 w 12139750"/>
              <a:gd name="connsiteY905" fmla="*/ 5356624 h 6858290"/>
              <a:gd name="connsiteX906" fmla="*/ 946158 w 12139750"/>
              <a:gd name="connsiteY906" fmla="*/ 5412008 h 6858290"/>
              <a:gd name="connsiteX907" fmla="*/ 605159 w 12139750"/>
              <a:gd name="connsiteY907" fmla="*/ 5570519 h 6858290"/>
              <a:gd name="connsiteX908" fmla="*/ 549913 w 12139750"/>
              <a:gd name="connsiteY908" fmla="*/ 5549511 h 6858290"/>
              <a:gd name="connsiteX909" fmla="*/ 546103 w 12139750"/>
              <a:gd name="connsiteY909" fmla="*/ 5532323 h 6858290"/>
              <a:gd name="connsiteX910" fmla="*/ 570868 w 12139750"/>
              <a:gd name="connsiteY910" fmla="*/ 5494128 h 6858290"/>
              <a:gd name="connsiteX911" fmla="*/ 909962 w 12139750"/>
              <a:gd name="connsiteY911" fmla="*/ 5335617 h 6858290"/>
              <a:gd name="connsiteX912" fmla="*/ 941871 w 12139750"/>
              <a:gd name="connsiteY912" fmla="*/ 5334662 h 6858290"/>
              <a:gd name="connsiteX913" fmla="*/ 4854192 w 12139750"/>
              <a:gd name="connsiteY913" fmla="*/ 5323799 h 6858290"/>
              <a:gd name="connsiteX914" fmla="*/ 4878449 w 12139750"/>
              <a:gd name="connsiteY914" fmla="*/ 5347462 h 6858290"/>
              <a:gd name="connsiteX915" fmla="*/ 4855618 w 12139750"/>
              <a:gd name="connsiteY915" fmla="*/ 5402917 h 6858290"/>
              <a:gd name="connsiteX916" fmla="*/ 4517026 w 12139750"/>
              <a:gd name="connsiteY916" fmla="*/ 5555894 h 6858290"/>
              <a:gd name="connsiteX917" fmla="*/ 4459961 w 12139750"/>
              <a:gd name="connsiteY917" fmla="*/ 5534860 h 6858290"/>
              <a:gd name="connsiteX918" fmla="*/ 4456156 w 12139750"/>
              <a:gd name="connsiteY918" fmla="*/ 5517650 h 6858290"/>
              <a:gd name="connsiteX919" fmla="*/ 4482788 w 12139750"/>
              <a:gd name="connsiteY919" fmla="*/ 5477493 h 6858290"/>
              <a:gd name="connsiteX920" fmla="*/ 4821374 w 12139750"/>
              <a:gd name="connsiteY920" fmla="*/ 5324516 h 6858290"/>
              <a:gd name="connsiteX921" fmla="*/ 4854192 w 12139750"/>
              <a:gd name="connsiteY921" fmla="*/ 5323799 h 6858290"/>
              <a:gd name="connsiteX922" fmla="*/ 1489585 w 12139750"/>
              <a:gd name="connsiteY922" fmla="*/ 5323799 h 6858290"/>
              <a:gd name="connsiteX923" fmla="*/ 1512904 w 12139750"/>
              <a:gd name="connsiteY923" fmla="*/ 5347462 h 6858290"/>
              <a:gd name="connsiteX924" fmla="*/ 1491964 w 12139750"/>
              <a:gd name="connsiteY924" fmla="*/ 5402917 h 6858290"/>
              <a:gd name="connsiteX925" fmla="*/ 1153121 w 12139750"/>
              <a:gd name="connsiteY925" fmla="*/ 5555894 h 6858290"/>
              <a:gd name="connsiteX926" fmla="*/ 1096012 w 12139750"/>
              <a:gd name="connsiteY926" fmla="*/ 5534860 h 6858290"/>
              <a:gd name="connsiteX927" fmla="*/ 1092205 w 12139750"/>
              <a:gd name="connsiteY927" fmla="*/ 5517650 h 6858290"/>
              <a:gd name="connsiteX928" fmla="*/ 1116952 w 12139750"/>
              <a:gd name="connsiteY928" fmla="*/ 5477493 h 6858290"/>
              <a:gd name="connsiteX929" fmla="*/ 1457699 w 12139750"/>
              <a:gd name="connsiteY929" fmla="*/ 5324516 h 6858290"/>
              <a:gd name="connsiteX930" fmla="*/ 1489585 w 12139750"/>
              <a:gd name="connsiteY930" fmla="*/ 5323799 h 6858290"/>
              <a:gd name="connsiteX931" fmla="*/ 4281187 w 12139750"/>
              <a:gd name="connsiteY931" fmla="*/ 5309975 h 6858290"/>
              <a:gd name="connsiteX932" fmla="*/ 4321192 w 12139750"/>
              <a:gd name="connsiteY932" fmla="*/ 5336228 h 6858290"/>
              <a:gd name="connsiteX933" fmla="*/ 4298280 w 12139750"/>
              <a:gd name="connsiteY933" fmla="*/ 5395283 h 6858290"/>
              <a:gd name="connsiteX934" fmla="*/ 3958460 w 12139750"/>
              <a:gd name="connsiteY934" fmla="*/ 5541968 h 6858290"/>
              <a:gd name="connsiteX935" fmla="*/ 3901184 w 12139750"/>
              <a:gd name="connsiteY935" fmla="*/ 5519108 h 6858290"/>
              <a:gd name="connsiteX936" fmla="*/ 3897365 w 12139750"/>
              <a:gd name="connsiteY936" fmla="*/ 5501963 h 6858290"/>
              <a:gd name="connsiteX937" fmla="*/ 3924093 w 12139750"/>
              <a:gd name="connsiteY937" fmla="*/ 5461958 h 6858290"/>
              <a:gd name="connsiteX938" fmla="*/ 4263914 w 12139750"/>
              <a:gd name="connsiteY938" fmla="*/ 5313368 h 6858290"/>
              <a:gd name="connsiteX939" fmla="*/ 4281187 w 12139750"/>
              <a:gd name="connsiteY939" fmla="*/ 5309975 h 6858290"/>
              <a:gd name="connsiteX940" fmla="*/ 2026929 w 12139750"/>
              <a:gd name="connsiteY940" fmla="*/ 5309974 h 6858290"/>
              <a:gd name="connsiteX941" fmla="*/ 2068518 w 12139750"/>
              <a:gd name="connsiteY941" fmla="*/ 5336228 h 6858290"/>
              <a:gd name="connsiteX942" fmla="*/ 2045619 w 12139750"/>
              <a:gd name="connsiteY942" fmla="*/ 5395283 h 6858290"/>
              <a:gd name="connsiteX943" fmla="*/ 1704121 w 12139750"/>
              <a:gd name="connsiteY943" fmla="*/ 5541968 h 6858290"/>
              <a:gd name="connsiteX944" fmla="*/ 1646887 w 12139750"/>
              <a:gd name="connsiteY944" fmla="*/ 5519108 h 6858290"/>
              <a:gd name="connsiteX945" fmla="*/ 1643071 w 12139750"/>
              <a:gd name="connsiteY945" fmla="*/ 5501963 h 6858290"/>
              <a:gd name="connsiteX946" fmla="*/ 1669781 w 12139750"/>
              <a:gd name="connsiteY946" fmla="*/ 5461958 h 6858290"/>
              <a:gd name="connsiteX947" fmla="*/ 2009371 w 12139750"/>
              <a:gd name="connsiteY947" fmla="*/ 5313368 h 6858290"/>
              <a:gd name="connsiteX948" fmla="*/ 2026929 w 12139750"/>
              <a:gd name="connsiteY948" fmla="*/ 5309974 h 6858290"/>
              <a:gd name="connsiteX949" fmla="*/ 3719258 w 12139750"/>
              <a:gd name="connsiteY949" fmla="*/ 5298899 h 6858290"/>
              <a:gd name="connsiteX950" fmla="*/ 3759237 w 12139750"/>
              <a:gd name="connsiteY950" fmla="*/ 5327064 h 6858290"/>
              <a:gd name="connsiteX951" fmla="*/ 3736337 w 12139750"/>
              <a:gd name="connsiteY951" fmla="*/ 5386196 h 6858290"/>
              <a:gd name="connsiteX952" fmla="*/ 3394855 w 12139750"/>
              <a:gd name="connsiteY952" fmla="*/ 5529255 h 6858290"/>
              <a:gd name="connsiteX953" fmla="*/ 3337618 w 12139750"/>
              <a:gd name="connsiteY953" fmla="*/ 5504458 h 6858290"/>
              <a:gd name="connsiteX954" fmla="*/ 3333804 w 12139750"/>
              <a:gd name="connsiteY954" fmla="*/ 5487291 h 6858290"/>
              <a:gd name="connsiteX955" fmla="*/ 3360513 w 12139750"/>
              <a:gd name="connsiteY955" fmla="*/ 5447234 h 6858290"/>
              <a:gd name="connsiteX956" fmla="*/ 3701998 w 12139750"/>
              <a:gd name="connsiteY956" fmla="*/ 5302267 h 6858290"/>
              <a:gd name="connsiteX957" fmla="*/ 3719258 w 12139750"/>
              <a:gd name="connsiteY957" fmla="*/ 5298899 h 6858290"/>
              <a:gd name="connsiteX958" fmla="*/ 2583547 w 12139750"/>
              <a:gd name="connsiteY958" fmla="*/ 5298899 h 6858290"/>
              <a:gd name="connsiteX959" fmla="*/ 2624178 w 12139750"/>
              <a:gd name="connsiteY959" fmla="*/ 5327064 h 6858290"/>
              <a:gd name="connsiteX960" fmla="*/ 2601368 w 12139750"/>
              <a:gd name="connsiteY960" fmla="*/ 5386196 h 6858290"/>
              <a:gd name="connsiteX961" fmla="*/ 2261117 w 12139750"/>
              <a:gd name="connsiteY961" fmla="*/ 5529255 h 6858290"/>
              <a:gd name="connsiteX962" fmla="*/ 2204092 w 12139750"/>
              <a:gd name="connsiteY962" fmla="*/ 5504458 h 6858290"/>
              <a:gd name="connsiteX963" fmla="*/ 2200290 w 12139750"/>
              <a:gd name="connsiteY963" fmla="*/ 5487291 h 6858290"/>
              <a:gd name="connsiteX964" fmla="*/ 2226902 w 12139750"/>
              <a:gd name="connsiteY964" fmla="*/ 5447234 h 6858290"/>
              <a:gd name="connsiteX965" fmla="*/ 2567153 w 12139750"/>
              <a:gd name="connsiteY965" fmla="*/ 5302267 h 6858290"/>
              <a:gd name="connsiteX966" fmla="*/ 2583547 w 12139750"/>
              <a:gd name="connsiteY966" fmla="*/ 5298899 h 6858290"/>
              <a:gd name="connsiteX967" fmla="*/ 3161733 w 12139750"/>
              <a:gd name="connsiteY967" fmla="*/ 5292230 h 6858290"/>
              <a:gd name="connsiteX968" fmla="*/ 3186188 w 12139750"/>
              <a:gd name="connsiteY968" fmla="*/ 5317405 h 6858290"/>
              <a:gd name="connsiteX969" fmla="*/ 3161495 w 12139750"/>
              <a:gd name="connsiteY969" fmla="*/ 5376305 h 6858290"/>
              <a:gd name="connsiteX970" fmla="*/ 2821486 w 12139750"/>
              <a:gd name="connsiteY970" fmla="*/ 5515005 h 6858290"/>
              <a:gd name="connsiteX971" fmla="*/ 2762604 w 12139750"/>
              <a:gd name="connsiteY971" fmla="*/ 5488405 h 6858290"/>
              <a:gd name="connsiteX972" fmla="*/ 2760705 w 12139750"/>
              <a:gd name="connsiteY972" fmla="*/ 5471305 h 6858290"/>
              <a:gd name="connsiteX973" fmla="*/ 2787298 w 12139750"/>
              <a:gd name="connsiteY973" fmla="*/ 5429505 h 6858290"/>
              <a:gd name="connsiteX974" fmla="*/ 3127305 w 12139750"/>
              <a:gd name="connsiteY974" fmla="*/ 5292705 h 6858290"/>
              <a:gd name="connsiteX975" fmla="*/ 3161733 w 12139750"/>
              <a:gd name="connsiteY975" fmla="*/ 5292230 h 6858290"/>
              <a:gd name="connsiteX976" fmla="*/ 9868289 w 12139750"/>
              <a:gd name="connsiteY976" fmla="*/ 5096095 h 6858290"/>
              <a:gd name="connsiteX977" fmla="*/ 9888974 w 12139750"/>
              <a:gd name="connsiteY977" fmla="*/ 5110082 h 6858290"/>
              <a:gd name="connsiteX978" fmla="*/ 9877562 w 12139750"/>
              <a:gd name="connsiteY978" fmla="*/ 5155597 h 6858290"/>
              <a:gd name="connsiteX979" fmla="*/ 9542804 w 12139750"/>
              <a:gd name="connsiteY979" fmla="*/ 5364209 h 6858290"/>
              <a:gd name="connsiteX980" fmla="*/ 9497155 w 12139750"/>
              <a:gd name="connsiteY980" fmla="*/ 5352831 h 6858290"/>
              <a:gd name="connsiteX981" fmla="*/ 9493351 w 12139750"/>
              <a:gd name="connsiteY981" fmla="*/ 5335762 h 6858290"/>
              <a:gd name="connsiteX982" fmla="*/ 9508567 w 12139750"/>
              <a:gd name="connsiteY982" fmla="*/ 5307315 h 6858290"/>
              <a:gd name="connsiteX983" fmla="*/ 9843325 w 12139750"/>
              <a:gd name="connsiteY983" fmla="*/ 5100599 h 6858290"/>
              <a:gd name="connsiteX984" fmla="*/ 9868289 w 12139750"/>
              <a:gd name="connsiteY984" fmla="*/ 5096095 h 6858290"/>
              <a:gd name="connsiteX985" fmla="*/ 10452111 w 12139750"/>
              <a:gd name="connsiteY985" fmla="*/ 5084390 h 6858290"/>
              <a:gd name="connsiteX986" fmla="*/ 10472844 w 12139750"/>
              <a:gd name="connsiteY986" fmla="*/ 5099443 h 6858290"/>
              <a:gd name="connsiteX987" fmla="*/ 10461405 w 12139750"/>
              <a:gd name="connsiteY987" fmla="*/ 5147230 h 6858290"/>
              <a:gd name="connsiteX988" fmla="*/ 10125860 w 12139750"/>
              <a:gd name="connsiteY988" fmla="*/ 5349847 h 6858290"/>
              <a:gd name="connsiteX989" fmla="*/ 10078197 w 12139750"/>
              <a:gd name="connsiteY989" fmla="*/ 5338378 h 6858290"/>
              <a:gd name="connsiteX990" fmla="*/ 10074384 w 12139750"/>
              <a:gd name="connsiteY990" fmla="*/ 5321175 h 6858290"/>
              <a:gd name="connsiteX991" fmla="*/ 10089636 w 12139750"/>
              <a:gd name="connsiteY991" fmla="*/ 5290591 h 6858290"/>
              <a:gd name="connsiteX992" fmla="*/ 10427088 w 12139750"/>
              <a:gd name="connsiteY992" fmla="*/ 5087974 h 6858290"/>
              <a:gd name="connsiteX993" fmla="*/ 10452111 w 12139750"/>
              <a:gd name="connsiteY993" fmla="*/ 5084390 h 6858290"/>
              <a:gd name="connsiteX994" fmla="*/ 9291418 w 12139750"/>
              <a:gd name="connsiteY994" fmla="*/ 5084390 h 6858290"/>
              <a:gd name="connsiteX995" fmla="*/ 9312374 w 12139750"/>
              <a:gd name="connsiteY995" fmla="*/ 5099443 h 6858290"/>
              <a:gd name="connsiteX996" fmla="*/ 9300944 w 12139750"/>
              <a:gd name="connsiteY996" fmla="*/ 5147230 h 6858290"/>
              <a:gd name="connsiteX997" fmla="*/ 8963754 w 12139750"/>
              <a:gd name="connsiteY997" fmla="*/ 5349847 h 6858290"/>
              <a:gd name="connsiteX998" fmla="*/ 8918033 w 12139750"/>
              <a:gd name="connsiteY998" fmla="*/ 5338378 h 6858290"/>
              <a:gd name="connsiteX999" fmla="*/ 8912318 w 12139750"/>
              <a:gd name="connsiteY999" fmla="*/ 5321175 h 6858290"/>
              <a:gd name="connsiteX1000" fmla="*/ 8929463 w 12139750"/>
              <a:gd name="connsiteY1000" fmla="*/ 5290591 h 6858290"/>
              <a:gd name="connsiteX1001" fmla="*/ 9264748 w 12139750"/>
              <a:gd name="connsiteY1001" fmla="*/ 5087974 h 6858290"/>
              <a:gd name="connsiteX1002" fmla="*/ 9291418 w 12139750"/>
              <a:gd name="connsiteY1002" fmla="*/ 5084390 h 6858290"/>
              <a:gd name="connsiteX1003" fmla="*/ 11029363 w 12139750"/>
              <a:gd name="connsiteY1003" fmla="*/ 5075090 h 6858290"/>
              <a:gd name="connsiteX1004" fmla="*/ 11050366 w 12139750"/>
              <a:gd name="connsiteY1004" fmla="*/ 5091778 h 6858290"/>
              <a:gd name="connsiteX1005" fmla="*/ 11038910 w 12139750"/>
              <a:gd name="connsiteY1005" fmla="*/ 5139458 h 6858290"/>
              <a:gd name="connsiteX1006" fmla="*/ 10700944 w 12139750"/>
              <a:gd name="connsiteY1006" fmla="*/ 5333994 h 6858290"/>
              <a:gd name="connsiteX1007" fmla="*/ 10653208 w 12139750"/>
              <a:gd name="connsiteY1007" fmla="*/ 5320643 h 6858290"/>
              <a:gd name="connsiteX1008" fmla="*/ 10647480 w 12139750"/>
              <a:gd name="connsiteY1008" fmla="*/ 5303478 h 6858290"/>
              <a:gd name="connsiteX1009" fmla="*/ 10664665 w 12139750"/>
              <a:gd name="connsiteY1009" fmla="*/ 5272963 h 6858290"/>
              <a:gd name="connsiteX1010" fmla="*/ 11002631 w 12139750"/>
              <a:gd name="connsiteY1010" fmla="*/ 5078428 h 6858290"/>
              <a:gd name="connsiteX1011" fmla="*/ 11029363 w 12139750"/>
              <a:gd name="connsiteY1011" fmla="*/ 5075090 h 6858290"/>
              <a:gd name="connsiteX1012" fmla="*/ 8719756 w 12139750"/>
              <a:gd name="connsiteY1012" fmla="*/ 5075090 h 6858290"/>
              <a:gd name="connsiteX1013" fmla="*/ 8742431 w 12139750"/>
              <a:gd name="connsiteY1013" fmla="*/ 5091778 h 6858290"/>
              <a:gd name="connsiteX1014" fmla="*/ 8729065 w 12139750"/>
              <a:gd name="connsiteY1014" fmla="*/ 5139458 h 6858290"/>
              <a:gd name="connsiteX1015" fmla="*/ 8391099 w 12139750"/>
              <a:gd name="connsiteY1015" fmla="*/ 5333994 h 6858290"/>
              <a:gd name="connsiteX1016" fmla="*/ 8343363 w 12139750"/>
              <a:gd name="connsiteY1016" fmla="*/ 5320643 h 6858290"/>
              <a:gd name="connsiteX1017" fmla="*/ 8337635 w 12139750"/>
              <a:gd name="connsiteY1017" fmla="*/ 5303478 h 6858290"/>
              <a:gd name="connsiteX1018" fmla="*/ 8356729 w 12139750"/>
              <a:gd name="connsiteY1018" fmla="*/ 5272963 h 6858290"/>
              <a:gd name="connsiteX1019" fmla="*/ 8692786 w 12139750"/>
              <a:gd name="connsiteY1019" fmla="*/ 5078428 h 6858290"/>
              <a:gd name="connsiteX1020" fmla="*/ 8719756 w 12139750"/>
              <a:gd name="connsiteY1020" fmla="*/ 5075090 h 6858290"/>
              <a:gd name="connsiteX1021" fmla="*/ 11600954 w 12139750"/>
              <a:gd name="connsiteY1021" fmla="*/ 5064224 h 6858290"/>
              <a:gd name="connsiteX1022" fmla="*/ 11622196 w 12139750"/>
              <a:gd name="connsiteY1022" fmla="*/ 5082602 h 6858290"/>
              <a:gd name="connsiteX1023" fmla="*/ 11608830 w 12139750"/>
              <a:gd name="connsiteY1023" fmla="*/ 5132248 h 6858290"/>
              <a:gd name="connsiteX1024" fmla="*/ 11270864 w 12139750"/>
              <a:gd name="connsiteY1024" fmla="*/ 5319373 h 6858290"/>
              <a:gd name="connsiteX1025" fmla="*/ 11221219 w 12139750"/>
              <a:gd name="connsiteY1025" fmla="*/ 5306007 h 6858290"/>
              <a:gd name="connsiteX1026" fmla="*/ 11217400 w 12139750"/>
              <a:gd name="connsiteY1026" fmla="*/ 5288822 h 6858290"/>
              <a:gd name="connsiteX1027" fmla="*/ 11234585 w 12139750"/>
              <a:gd name="connsiteY1027" fmla="*/ 5256362 h 6858290"/>
              <a:gd name="connsiteX1028" fmla="*/ 11572551 w 12139750"/>
              <a:gd name="connsiteY1028" fmla="*/ 5067327 h 6858290"/>
              <a:gd name="connsiteX1029" fmla="*/ 11600954 w 12139750"/>
              <a:gd name="connsiteY1029" fmla="*/ 5064224 h 6858290"/>
              <a:gd name="connsiteX1030" fmla="*/ 8155460 w 12139750"/>
              <a:gd name="connsiteY1030" fmla="*/ 5064224 h 6858290"/>
              <a:gd name="connsiteX1031" fmla="*/ 8177317 w 12139750"/>
              <a:gd name="connsiteY1031" fmla="*/ 5082602 h 6858290"/>
              <a:gd name="connsiteX1032" fmla="*/ 8162112 w 12139750"/>
              <a:gd name="connsiteY1032" fmla="*/ 5132248 h 6858290"/>
              <a:gd name="connsiteX1033" fmla="*/ 7825696 w 12139750"/>
              <a:gd name="connsiteY1033" fmla="*/ 5319373 h 6858290"/>
              <a:gd name="connsiteX1034" fmla="*/ 7776279 w 12139750"/>
              <a:gd name="connsiteY1034" fmla="*/ 5306007 h 6858290"/>
              <a:gd name="connsiteX1035" fmla="*/ 7772478 w 12139750"/>
              <a:gd name="connsiteY1035" fmla="*/ 5288822 h 6858290"/>
              <a:gd name="connsiteX1036" fmla="*/ 7791484 w 12139750"/>
              <a:gd name="connsiteY1036" fmla="*/ 5256362 h 6858290"/>
              <a:gd name="connsiteX1037" fmla="*/ 8127900 w 12139750"/>
              <a:gd name="connsiteY1037" fmla="*/ 5067327 h 6858290"/>
              <a:gd name="connsiteX1038" fmla="*/ 8155460 w 12139750"/>
              <a:gd name="connsiteY1038" fmla="*/ 5064224 h 6858290"/>
              <a:gd name="connsiteX1039" fmla="*/ 12139750 w 12139750"/>
              <a:gd name="connsiteY1039" fmla="*/ 5056192 h 6858290"/>
              <a:gd name="connsiteX1040" fmla="*/ 12139750 w 12139750"/>
              <a:gd name="connsiteY1040" fmla="*/ 5139909 h 6858290"/>
              <a:gd name="connsiteX1041" fmla="*/ 11834946 w 12139750"/>
              <a:gd name="connsiteY1041" fmla="*/ 5305441 h 6858290"/>
              <a:gd name="connsiteX1042" fmla="*/ 11783510 w 12139750"/>
              <a:gd name="connsiteY1042" fmla="*/ 5290220 h 6858290"/>
              <a:gd name="connsiteX1043" fmla="*/ 11777795 w 12139750"/>
              <a:gd name="connsiteY1043" fmla="*/ 5271193 h 6858290"/>
              <a:gd name="connsiteX1044" fmla="*/ 11798750 w 12139750"/>
              <a:gd name="connsiteY1044" fmla="*/ 5238848 h 6858290"/>
              <a:gd name="connsiteX1045" fmla="*/ 12135940 w 12139750"/>
              <a:gd name="connsiteY1045" fmla="*/ 5058094 h 6858290"/>
              <a:gd name="connsiteX1046" fmla="*/ 12139750 w 12139750"/>
              <a:gd name="connsiteY1046" fmla="*/ 5056192 h 6858290"/>
              <a:gd name="connsiteX1047" fmla="*/ 7597906 w 12139750"/>
              <a:gd name="connsiteY1047" fmla="*/ 5054684 h 6858290"/>
              <a:gd name="connsiteX1048" fmla="*/ 7620068 w 12139750"/>
              <a:gd name="connsiteY1048" fmla="*/ 5073020 h 6858290"/>
              <a:gd name="connsiteX1049" fmla="*/ 7604817 w 12139750"/>
              <a:gd name="connsiteY1049" fmla="*/ 5124455 h 6858290"/>
              <a:gd name="connsiteX1050" fmla="*/ 7267371 w 12139750"/>
              <a:gd name="connsiteY1050" fmla="*/ 5305430 h 6858290"/>
              <a:gd name="connsiteX1051" fmla="*/ 7215896 w 12139750"/>
              <a:gd name="connsiteY1051" fmla="*/ 5290190 h 6858290"/>
              <a:gd name="connsiteX1052" fmla="*/ 7212083 w 12139750"/>
              <a:gd name="connsiteY1052" fmla="*/ 5271140 h 6858290"/>
              <a:gd name="connsiteX1053" fmla="*/ 7231147 w 12139750"/>
              <a:gd name="connsiteY1053" fmla="*/ 5238755 h 6858290"/>
              <a:gd name="connsiteX1054" fmla="*/ 7568594 w 12139750"/>
              <a:gd name="connsiteY1054" fmla="*/ 5057780 h 6858290"/>
              <a:gd name="connsiteX1055" fmla="*/ 7597906 w 12139750"/>
              <a:gd name="connsiteY1055" fmla="*/ 5054684 h 6858290"/>
              <a:gd name="connsiteX1056" fmla="*/ 7046964 w 12139750"/>
              <a:gd name="connsiteY1056" fmla="*/ 5044542 h 6858290"/>
              <a:gd name="connsiteX1057" fmla="*/ 7069177 w 12139750"/>
              <a:gd name="connsiteY1057" fmla="*/ 5063876 h 6858290"/>
              <a:gd name="connsiteX1058" fmla="*/ 7051980 w 12139750"/>
              <a:gd name="connsiteY1058" fmla="*/ 5115435 h 6858290"/>
              <a:gd name="connsiteX1059" fmla="*/ 6713773 w 12139750"/>
              <a:gd name="connsiteY1059" fmla="*/ 5291119 h 6858290"/>
              <a:gd name="connsiteX1060" fmla="*/ 6660271 w 12139750"/>
              <a:gd name="connsiteY1060" fmla="*/ 5273932 h 6858290"/>
              <a:gd name="connsiteX1061" fmla="*/ 6656450 w 12139750"/>
              <a:gd name="connsiteY1061" fmla="*/ 5256746 h 6858290"/>
              <a:gd name="connsiteX1062" fmla="*/ 6677468 w 12139750"/>
              <a:gd name="connsiteY1062" fmla="*/ 5222373 h 6858290"/>
              <a:gd name="connsiteX1063" fmla="*/ 7017586 w 12139750"/>
              <a:gd name="connsiteY1063" fmla="*/ 5046690 h 6858290"/>
              <a:gd name="connsiteX1064" fmla="*/ 7046964 w 12139750"/>
              <a:gd name="connsiteY1064" fmla="*/ 5044542 h 6858290"/>
              <a:gd name="connsiteX1065" fmla="*/ 6485663 w 12139750"/>
              <a:gd name="connsiteY1065" fmla="*/ 5032630 h 6858290"/>
              <a:gd name="connsiteX1066" fmla="*/ 6523112 w 12139750"/>
              <a:gd name="connsiteY1066" fmla="*/ 5054570 h 6858290"/>
              <a:gd name="connsiteX1067" fmla="*/ 6505992 w 12139750"/>
              <a:gd name="connsiteY1067" fmla="*/ 5107845 h 6858290"/>
              <a:gd name="connsiteX1068" fmla="*/ 6167407 w 12139750"/>
              <a:gd name="connsiteY1068" fmla="*/ 5275279 h 6858290"/>
              <a:gd name="connsiteX1069" fmla="*/ 6114146 w 12139750"/>
              <a:gd name="connsiteY1069" fmla="*/ 5258155 h 6858290"/>
              <a:gd name="connsiteX1070" fmla="*/ 6110342 w 12139750"/>
              <a:gd name="connsiteY1070" fmla="*/ 5239129 h 6858290"/>
              <a:gd name="connsiteX1071" fmla="*/ 6131266 w 12139750"/>
              <a:gd name="connsiteY1071" fmla="*/ 5202978 h 6858290"/>
              <a:gd name="connsiteX1072" fmla="*/ 6469851 w 12139750"/>
              <a:gd name="connsiteY1072" fmla="*/ 5037446 h 6858290"/>
              <a:gd name="connsiteX1073" fmla="*/ 6485663 w 12139750"/>
              <a:gd name="connsiteY1073" fmla="*/ 5032630 h 6858290"/>
              <a:gd name="connsiteX1074" fmla="*/ 5956806 w 12139750"/>
              <a:gd name="connsiteY1074" fmla="*/ 5024850 h 6858290"/>
              <a:gd name="connsiteX1075" fmla="*/ 5980159 w 12139750"/>
              <a:gd name="connsiteY1075" fmla="*/ 5045115 h 6858290"/>
              <a:gd name="connsiteX1076" fmla="*/ 5961095 w 12139750"/>
              <a:gd name="connsiteY1076" fmla="*/ 5100429 h 6858290"/>
              <a:gd name="connsiteX1077" fmla="*/ 5621756 w 12139750"/>
              <a:gd name="connsiteY1077" fmla="*/ 5262556 h 6858290"/>
              <a:gd name="connsiteX1078" fmla="*/ 5566471 w 12139750"/>
              <a:gd name="connsiteY1078" fmla="*/ 5241575 h 6858290"/>
              <a:gd name="connsiteX1079" fmla="*/ 5562658 w 12139750"/>
              <a:gd name="connsiteY1079" fmla="*/ 5224408 h 6858290"/>
              <a:gd name="connsiteX1080" fmla="*/ 5585535 w 12139750"/>
              <a:gd name="connsiteY1080" fmla="*/ 5186261 h 6858290"/>
              <a:gd name="connsiteX1081" fmla="*/ 5924874 w 12139750"/>
              <a:gd name="connsiteY1081" fmla="*/ 5026042 h 6858290"/>
              <a:gd name="connsiteX1082" fmla="*/ 5956806 w 12139750"/>
              <a:gd name="connsiteY1082" fmla="*/ 5024850 h 6858290"/>
              <a:gd name="connsiteX1083" fmla="*/ 398945 w 12139750"/>
              <a:gd name="connsiteY1083" fmla="*/ 5024850 h 6858290"/>
              <a:gd name="connsiteX1084" fmla="*/ 422281 w 12139750"/>
              <a:gd name="connsiteY1084" fmla="*/ 5045115 h 6858290"/>
              <a:gd name="connsiteX1085" fmla="*/ 401326 w 12139750"/>
              <a:gd name="connsiteY1085" fmla="*/ 5100429 h 6858290"/>
              <a:gd name="connsiteX1086" fmla="*/ 62232 w 12139750"/>
              <a:gd name="connsiteY1086" fmla="*/ 5262556 h 6858290"/>
              <a:gd name="connsiteX1087" fmla="*/ 8891 w 12139750"/>
              <a:gd name="connsiteY1087" fmla="*/ 5241575 h 6858290"/>
              <a:gd name="connsiteX1088" fmla="*/ 3176 w 12139750"/>
              <a:gd name="connsiteY1088" fmla="*/ 5224408 h 6858290"/>
              <a:gd name="connsiteX1089" fmla="*/ 27941 w 12139750"/>
              <a:gd name="connsiteY1089" fmla="*/ 5186261 h 6858290"/>
              <a:gd name="connsiteX1090" fmla="*/ 367036 w 12139750"/>
              <a:gd name="connsiteY1090" fmla="*/ 5026042 h 6858290"/>
              <a:gd name="connsiteX1091" fmla="*/ 398945 w 12139750"/>
              <a:gd name="connsiteY1091" fmla="*/ 5024850 h 6858290"/>
              <a:gd name="connsiteX1092" fmla="*/ 5409053 w 12139750"/>
              <a:gd name="connsiteY1092" fmla="*/ 5014180 h 6858290"/>
              <a:gd name="connsiteX1093" fmla="*/ 5432458 w 12139750"/>
              <a:gd name="connsiteY1093" fmla="*/ 5037695 h 6858290"/>
              <a:gd name="connsiteX1094" fmla="*/ 5411440 w 12139750"/>
              <a:gd name="connsiteY1094" fmla="*/ 5092800 h 6858290"/>
              <a:gd name="connsiteX1095" fmla="*/ 5071343 w 12139750"/>
              <a:gd name="connsiteY1095" fmla="*/ 5246716 h 6858290"/>
              <a:gd name="connsiteX1096" fmla="*/ 5014031 w 12139750"/>
              <a:gd name="connsiteY1096" fmla="*/ 5225814 h 6858290"/>
              <a:gd name="connsiteX1097" fmla="*/ 5010210 w 12139750"/>
              <a:gd name="connsiteY1097" fmla="*/ 5208712 h 6858290"/>
              <a:gd name="connsiteX1098" fmla="*/ 5036956 w 12139750"/>
              <a:gd name="connsiteY1098" fmla="*/ 5168808 h 6858290"/>
              <a:gd name="connsiteX1099" fmla="*/ 5377049 w 12139750"/>
              <a:gd name="connsiteY1099" fmla="*/ 5014893 h 6858290"/>
              <a:gd name="connsiteX1100" fmla="*/ 5409053 w 12139750"/>
              <a:gd name="connsiteY1100" fmla="*/ 5014180 h 6858290"/>
              <a:gd name="connsiteX1101" fmla="*/ 942531 w 12139750"/>
              <a:gd name="connsiteY1101" fmla="*/ 5014180 h 6858290"/>
              <a:gd name="connsiteX1102" fmla="*/ 966802 w 12139750"/>
              <a:gd name="connsiteY1102" fmla="*/ 5037695 h 6858290"/>
              <a:gd name="connsiteX1103" fmla="*/ 945862 w 12139750"/>
              <a:gd name="connsiteY1103" fmla="*/ 5092800 h 6858290"/>
              <a:gd name="connsiteX1104" fmla="*/ 605115 w 12139750"/>
              <a:gd name="connsiteY1104" fmla="*/ 5246716 h 6858290"/>
              <a:gd name="connsiteX1105" fmla="*/ 549910 w 12139750"/>
              <a:gd name="connsiteY1105" fmla="*/ 5225814 h 6858290"/>
              <a:gd name="connsiteX1106" fmla="*/ 546103 w 12139750"/>
              <a:gd name="connsiteY1106" fmla="*/ 5208712 h 6858290"/>
              <a:gd name="connsiteX1107" fmla="*/ 570850 w 12139750"/>
              <a:gd name="connsiteY1107" fmla="*/ 5168808 h 6858290"/>
              <a:gd name="connsiteX1108" fmla="*/ 909693 w 12139750"/>
              <a:gd name="connsiteY1108" fmla="*/ 5014893 h 6858290"/>
              <a:gd name="connsiteX1109" fmla="*/ 942531 w 12139750"/>
              <a:gd name="connsiteY1109" fmla="*/ 5014180 h 6858290"/>
              <a:gd name="connsiteX1110" fmla="*/ 4856076 w 12139750"/>
              <a:gd name="connsiteY1110" fmla="*/ 5004632 h 6858290"/>
              <a:gd name="connsiteX1111" fmla="*/ 4879688 w 12139750"/>
              <a:gd name="connsiteY1111" fmla="*/ 5028084 h 6858290"/>
              <a:gd name="connsiteX1112" fmla="*/ 4856791 w 12139750"/>
              <a:gd name="connsiteY1112" fmla="*/ 5084939 h 6858290"/>
              <a:gd name="connsiteX1113" fmla="*/ 4517208 w 12139750"/>
              <a:gd name="connsiteY1113" fmla="*/ 5230866 h 6858290"/>
              <a:gd name="connsiteX1114" fmla="*/ 4459972 w 12139750"/>
              <a:gd name="connsiteY1114" fmla="*/ 5208124 h 6858290"/>
              <a:gd name="connsiteX1115" fmla="*/ 4456156 w 12139750"/>
              <a:gd name="connsiteY1115" fmla="*/ 5191068 h 6858290"/>
              <a:gd name="connsiteX1116" fmla="*/ 4482867 w 12139750"/>
              <a:gd name="connsiteY1116" fmla="*/ 5151269 h 6858290"/>
              <a:gd name="connsiteX1117" fmla="*/ 4822445 w 12139750"/>
              <a:gd name="connsiteY1117" fmla="*/ 5005343 h 6858290"/>
              <a:gd name="connsiteX1118" fmla="*/ 4856076 w 12139750"/>
              <a:gd name="connsiteY1118" fmla="*/ 5004632 h 6858290"/>
              <a:gd name="connsiteX1119" fmla="*/ 1491734 w 12139750"/>
              <a:gd name="connsiteY1119" fmla="*/ 5004632 h 6858290"/>
              <a:gd name="connsiteX1120" fmla="*/ 1516059 w 12139750"/>
              <a:gd name="connsiteY1120" fmla="*/ 5028084 h 6858290"/>
              <a:gd name="connsiteX1121" fmla="*/ 1493165 w 12139750"/>
              <a:gd name="connsiteY1121" fmla="*/ 5084939 h 6858290"/>
              <a:gd name="connsiteX1122" fmla="*/ 1153575 w 12139750"/>
              <a:gd name="connsiteY1122" fmla="*/ 5230866 h 6858290"/>
              <a:gd name="connsiteX1123" fmla="*/ 1094433 w 12139750"/>
              <a:gd name="connsiteY1123" fmla="*/ 5208124 h 6858290"/>
              <a:gd name="connsiteX1124" fmla="*/ 1090618 w 12139750"/>
              <a:gd name="connsiteY1124" fmla="*/ 5191068 h 6858290"/>
              <a:gd name="connsiteX1125" fmla="*/ 1117327 w 12139750"/>
              <a:gd name="connsiteY1125" fmla="*/ 5151269 h 6858290"/>
              <a:gd name="connsiteX1126" fmla="*/ 1458825 w 12139750"/>
              <a:gd name="connsiteY1126" fmla="*/ 5005343 h 6858290"/>
              <a:gd name="connsiteX1127" fmla="*/ 1491734 w 12139750"/>
              <a:gd name="connsiteY1127" fmla="*/ 5004632 h 6858290"/>
              <a:gd name="connsiteX1128" fmla="*/ 4281239 w 12139750"/>
              <a:gd name="connsiteY1128" fmla="*/ 4989344 h 6858290"/>
              <a:gd name="connsiteX1129" fmla="*/ 4322794 w 12139750"/>
              <a:gd name="connsiteY1129" fmla="*/ 5017546 h 6858290"/>
              <a:gd name="connsiteX1130" fmla="*/ 4298010 w 12139750"/>
              <a:gd name="connsiteY1130" fmla="*/ 5076755 h 6858290"/>
              <a:gd name="connsiteX1131" fmla="*/ 3958691 w 12139750"/>
              <a:gd name="connsiteY1131" fmla="*/ 5218092 h 6858290"/>
              <a:gd name="connsiteX1132" fmla="*/ 3899590 w 12139750"/>
              <a:gd name="connsiteY1132" fmla="*/ 5193262 h 6858290"/>
              <a:gd name="connsiteX1133" fmla="*/ 3895779 w 12139750"/>
              <a:gd name="connsiteY1133" fmla="*/ 5176073 h 6858290"/>
              <a:gd name="connsiteX1134" fmla="*/ 3924374 w 12139750"/>
              <a:gd name="connsiteY1134" fmla="*/ 5134054 h 6858290"/>
              <a:gd name="connsiteX1135" fmla="*/ 4263694 w 12139750"/>
              <a:gd name="connsiteY1135" fmla="*/ 4992717 h 6858290"/>
              <a:gd name="connsiteX1136" fmla="*/ 4281239 w 12139750"/>
              <a:gd name="connsiteY1136" fmla="*/ 4989344 h 6858290"/>
              <a:gd name="connsiteX1137" fmla="*/ 2028590 w 12139750"/>
              <a:gd name="connsiteY1137" fmla="*/ 4989344 h 6858290"/>
              <a:gd name="connsiteX1138" fmla="*/ 2070119 w 12139750"/>
              <a:gd name="connsiteY1138" fmla="*/ 5017546 h 6858290"/>
              <a:gd name="connsiteX1139" fmla="*/ 2045349 w 12139750"/>
              <a:gd name="connsiteY1139" fmla="*/ 5076755 h 6858290"/>
              <a:gd name="connsiteX1140" fmla="*/ 1704349 w 12139750"/>
              <a:gd name="connsiteY1140" fmla="*/ 5218092 h 6858290"/>
              <a:gd name="connsiteX1141" fmla="*/ 1645293 w 12139750"/>
              <a:gd name="connsiteY1141" fmla="*/ 5193262 h 6858290"/>
              <a:gd name="connsiteX1142" fmla="*/ 1641483 w 12139750"/>
              <a:gd name="connsiteY1142" fmla="*/ 5176073 h 6858290"/>
              <a:gd name="connsiteX1143" fmla="*/ 1670059 w 12139750"/>
              <a:gd name="connsiteY1143" fmla="*/ 5134054 h 6858290"/>
              <a:gd name="connsiteX1144" fmla="*/ 2011058 w 12139750"/>
              <a:gd name="connsiteY1144" fmla="*/ 4992717 h 6858290"/>
              <a:gd name="connsiteX1145" fmla="*/ 2028590 w 12139750"/>
              <a:gd name="connsiteY1145" fmla="*/ 4989344 h 6858290"/>
              <a:gd name="connsiteX1146" fmla="*/ 3720408 w 12139750"/>
              <a:gd name="connsiteY1146" fmla="*/ 4979833 h 6858290"/>
              <a:gd name="connsiteX1147" fmla="*/ 3762739 w 12139750"/>
              <a:gd name="connsiteY1147" fmla="*/ 5009837 h 6858290"/>
              <a:gd name="connsiteX1148" fmla="*/ 3736068 w 12139750"/>
              <a:gd name="connsiteY1148" fmla="*/ 5068892 h 6858290"/>
              <a:gd name="connsiteX1149" fmla="*/ 3395084 w 12139750"/>
              <a:gd name="connsiteY1149" fmla="*/ 5202242 h 6858290"/>
              <a:gd name="connsiteX1150" fmla="*/ 3334121 w 12139750"/>
              <a:gd name="connsiteY1150" fmla="*/ 5175572 h 6858290"/>
              <a:gd name="connsiteX1151" fmla="*/ 3332215 w 12139750"/>
              <a:gd name="connsiteY1151" fmla="*/ 5158427 h 6858290"/>
              <a:gd name="connsiteX1152" fmla="*/ 3360792 w 12139750"/>
              <a:gd name="connsiteY1152" fmla="*/ 5116517 h 6858290"/>
              <a:gd name="connsiteX1153" fmla="*/ 3701777 w 12139750"/>
              <a:gd name="connsiteY1153" fmla="*/ 4983167 h 6858290"/>
              <a:gd name="connsiteX1154" fmla="*/ 3720408 w 12139750"/>
              <a:gd name="connsiteY1154" fmla="*/ 4979833 h 6858290"/>
              <a:gd name="connsiteX1155" fmla="*/ 2585923 w 12139750"/>
              <a:gd name="connsiteY1155" fmla="*/ 4979833 h 6858290"/>
              <a:gd name="connsiteX1156" fmla="*/ 2629210 w 12139750"/>
              <a:gd name="connsiteY1156" fmla="*/ 5009837 h 6858290"/>
              <a:gd name="connsiteX1157" fmla="*/ 2602444 w 12139750"/>
              <a:gd name="connsiteY1157" fmla="*/ 5068892 h 6858290"/>
              <a:gd name="connsiteX1158" fmla="*/ 2260209 w 12139750"/>
              <a:gd name="connsiteY1158" fmla="*/ 5202242 h 6858290"/>
              <a:gd name="connsiteX1159" fmla="*/ 2199027 w 12139750"/>
              <a:gd name="connsiteY1159" fmla="*/ 5175572 h 6858290"/>
              <a:gd name="connsiteX1160" fmla="*/ 2197115 w 12139750"/>
              <a:gd name="connsiteY1160" fmla="*/ 5158427 h 6858290"/>
              <a:gd name="connsiteX1161" fmla="*/ 2225794 w 12139750"/>
              <a:gd name="connsiteY1161" fmla="*/ 5116517 h 6858290"/>
              <a:gd name="connsiteX1162" fmla="*/ 2568028 w 12139750"/>
              <a:gd name="connsiteY1162" fmla="*/ 4983167 h 6858290"/>
              <a:gd name="connsiteX1163" fmla="*/ 2585923 w 12139750"/>
              <a:gd name="connsiteY1163" fmla="*/ 4979833 h 6858290"/>
              <a:gd name="connsiteX1164" fmla="*/ 3148522 w 12139750"/>
              <a:gd name="connsiteY1164" fmla="*/ 4969036 h 6858290"/>
              <a:gd name="connsiteX1165" fmla="*/ 3190913 w 12139750"/>
              <a:gd name="connsiteY1165" fmla="*/ 5000733 h 6858290"/>
              <a:gd name="connsiteX1166" fmla="*/ 3162293 w 12139750"/>
              <a:gd name="connsiteY1166" fmla="*/ 5061858 h 6858290"/>
              <a:gd name="connsiteX1167" fmla="*/ 2820804 w 12139750"/>
              <a:gd name="connsiteY1167" fmla="*/ 5187929 h 6858290"/>
              <a:gd name="connsiteX1168" fmla="*/ 2759756 w 12139750"/>
              <a:gd name="connsiteY1168" fmla="*/ 5161187 h 6858290"/>
              <a:gd name="connsiteX1169" fmla="*/ 2755940 w 12139750"/>
              <a:gd name="connsiteY1169" fmla="*/ 5143995 h 6858290"/>
              <a:gd name="connsiteX1170" fmla="*/ 2788374 w 12139750"/>
              <a:gd name="connsiteY1170" fmla="*/ 5098151 h 6858290"/>
              <a:gd name="connsiteX1171" fmla="*/ 3129862 w 12139750"/>
              <a:gd name="connsiteY1171" fmla="*/ 4972081 h 6858290"/>
              <a:gd name="connsiteX1172" fmla="*/ 3148522 w 12139750"/>
              <a:gd name="connsiteY1172" fmla="*/ 4969036 h 6858290"/>
              <a:gd name="connsiteX1173" fmla="*/ 9865943 w 12139750"/>
              <a:gd name="connsiteY1173" fmla="*/ 4767278 h 6858290"/>
              <a:gd name="connsiteX1174" fmla="*/ 9885469 w 12139750"/>
              <a:gd name="connsiteY1174" fmla="*/ 4779687 h 6858290"/>
              <a:gd name="connsiteX1175" fmla="*/ 9875944 w 12139750"/>
              <a:gd name="connsiteY1175" fmla="*/ 4821688 h 6858290"/>
              <a:gd name="connsiteX1176" fmla="*/ 9542565 w 12139750"/>
              <a:gd name="connsiteY1176" fmla="*/ 5046968 h 6858290"/>
              <a:gd name="connsiteX1177" fmla="*/ 9500654 w 12139750"/>
              <a:gd name="connsiteY1177" fmla="*/ 5037422 h 6858290"/>
              <a:gd name="connsiteX1178" fmla="*/ 9494939 w 12139750"/>
              <a:gd name="connsiteY1178" fmla="*/ 5022149 h 6858290"/>
              <a:gd name="connsiteX1179" fmla="*/ 9508274 w 12139750"/>
              <a:gd name="connsiteY1179" fmla="*/ 4997330 h 6858290"/>
              <a:gd name="connsiteX1180" fmla="*/ 9843558 w 12139750"/>
              <a:gd name="connsiteY1180" fmla="*/ 4772051 h 6858290"/>
              <a:gd name="connsiteX1181" fmla="*/ 9865943 w 12139750"/>
              <a:gd name="connsiteY1181" fmla="*/ 4767278 h 6858290"/>
              <a:gd name="connsiteX1182" fmla="*/ 10450715 w 12139750"/>
              <a:gd name="connsiteY1182" fmla="*/ 4757980 h 6858290"/>
              <a:gd name="connsiteX1183" fmla="*/ 10471242 w 12139750"/>
              <a:gd name="connsiteY1183" fmla="*/ 4772030 h 6858290"/>
              <a:gd name="connsiteX1184" fmla="*/ 10461695 w 12139750"/>
              <a:gd name="connsiteY1184" fmla="*/ 4815845 h 6858290"/>
              <a:gd name="connsiteX1185" fmla="*/ 10125619 w 12139750"/>
              <a:gd name="connsiteY1185" fmla="*/ 5029205 h 6858290"/>
              <a:gd name="connsiteX1186" fmla="*/ 10081701 w 12139750"/>
              <a:gd name="connsiteY1186" fmla="*/ 5019680 h 6858290"/>
              <a:gd name="connsiteX1187" fmla="*/ 10075972 w 12139750"/>
              <a:gd name="connsiteY1187" fmla="*/ 5004440 h 6858290"/>
              <a:gd name="connsiteX1188" fmla="*/ 10091248 w 12139750"/>
              <a:gd name="connsiteY1188" fmla="*/ 4977770 h 6858290"/>
              <a:gd name="connsiteX1189" fmla="*/ 10427323 w 12139750"/>
              <a:gd name="connsiteY1189" fmla="*/ 4762505 h 6858290"/>
              <a:gd name="connsiteX1190" fmla="*/ 10450715 w 12139750"/>
              <a:gd name="connsiteY1190" fmla="*/ 4757980 h 6858290"/>
              <a:gd name="connsiteX1191" fmla="*/ 9287869 w 12139750"/>
              <a:gd name="connsiteY1191" fmla="*/ 4757980 h 6858290"/>
              <a:gd name="connsiteX1192" fmla="*/ 9307618 w 12139750"/>
              <a:gd name="connsiteY1192" fmla="*/ 4772030 h 6858290"/>
              <a:gd name="connsiteX1193" fmla="*/ 9298101 w 12139750"/>
              <a:gd name="connsiteY1193" fmla="*/ 4815845 h 6858290"/>
              <a:gd name="connsiteX1194" fmla="*/ 8963081 w 12139750"/>
              <a:gd name="connsiteY1194" fmla="*/ 5029205 h 6858290"/>
              <a:gd name="connsiteX1195" fmla="*/ 8919300 w 12139750"/>
              <a:gd name="connsiteY1195" fmla="*/ 5019680 h 6858290"/>
              <a:gd name="connsiteX1196" fmla="*/ 8915493 w 12139750"/>
              <a:gd name="connsiteY1196" fmla="*/ 5004440 h 6858290"/>
              <a:gd name="connsiteX1197" fmla="*/ 8928818 w 12139750"/>
              <a:gd name="connsiteY1197" fmla="*/ 4977770 h 6858290"/>
              <a:gd name="connsiteX1198" fmla="*/ 9263837 w 12139750"/>
              <a:gd name="connsiteY1198" fmla="*/ 4762505 h 6858290"/>
              <a:gd name="connsiteX1199" fmla="*/ 9287869 w 12139750"/>
              <a:gd name="connsiteY1199" fmla="*/ 4757980 h 6858290"/>
              <a:gd name="connsiteX1200" fmla="*/ 11026794 w 12139750"/>
              <a:gd name="connsiteY1200" fmla="*/ 4748711 h 6858290"/>
              <a:gd name="connsiteX1201" fmla="*/ 11047527 w 12139750"/>
              <a:gd name="connsiteY1201" fmla="*/ 4764481 h 6858290"/>
              <a:gd name="connsiteX1202" fmla="*/ 11036088 w 12139750"/>
              <a:gd name="connsiteY1202" fmla="*/ 4810357 h 6858290"/>
              <a:gd name="connsiteX1203" fmla="*/ 10700543 w 12139750"/>
              <a:gd name="connsiteY1203" fmla="*/ 5014885 h 6858290"/>
              <a:gd name="connsiteX1204" fmla="*/ 10654787 w 12139750"/>
              <a:gd name="connsiteY1204" fmla="*/ 5005328 h 6858290"/>
              <a:gd name="connsiteX1205" fmla="*/ 10649067 w 12139750"/>
              <a:gd name="connsiteY1205" fmla="*/ 4988125 h 6858290"/>
              <a:gd name="connsiteX1206" fmla="*/ 10666226 w 12139750"/>
              <a:gd name="connsiteY1206" fmla="*/ 4959452 h 6858290"/>
              <a:gd name="connsiteX1207" fmla="*/ 11001771 w 12139750"/>
              <a:gd name="connsiteY1207" fmla="*/ 4753012 h 6858290"/>
              <a:gd name="connsiteX1208" fmla="*/ 11026794 w 12139750"/>
              <a:gd name="connsiteY1208" fmla="*/ 4748711 h 6858290"/>
              <a:gd name="connsiteX1209" fmla="*/ 8717757 w 12139750"/>
              <a:gd name="connsiteY1209" fmla="*/ 4748711 h 6858290"/>
              <a:gd name="connsiteX1210" fmla="*/ 8737713 w 12139750"/>
              <a:gd name="connsiteY1210" fmla="*/ 4764481 h 6858290"/>
              <a:gd name="connsiteX1211" fmla="*/ 8728210 w 12139750"/>
              <a:gd name="connsiteY1211" fmla="*/ 4810357 h 6858290"/>
              <a:gd name="connsiteX1212" fmla="*/ 8391812 w 12139750"/>
              <a:gd name="connsiteY1212" fmla="*/ 5014885 h 6858290"/>
              <a:gd name="connsiteX1213" fmla="*/ 8346199 w 12139750"/>
              <a:gd name="connsiteY1213" fmla="*/ 5005328 h 6858290"/>
              <a:gd name="connsiteX1214" fmla="*/ 8342398 w 12139750"/>
              <a:gd name="connsiteY1214" fmla="*/ 4988125 h 6858290"/>
              <a:gd name="connsiteX1215" fmla="*/ 8357602 w 12139750"/>
              <a:gd name="connsiteY1215" fmla="*/ 4959452 h 6858290"/>
              <a:gd name="connsiteX1216" fmla="*/ 8692100 w 12139750"/>
              <a:gd name="connsiteY1216" fmla="*/ 4753012 h 6858290"/>
              <a:gd name="connsiteX1217" fmla="*/ 8717757 w 12139750"/>
              <a:gd name="connsiteY1217" fmla="*/ 4748711 h 6858290"/>
              <a:gd name="connsiteX1218" fmla="*/ 11598111 w 12139750"/>
              <a:gd name="connsiteY1218" fmla="*/ 4739890 h 6858290"/>
              <a:gd name="connsiteX1219" fmla="*/ 11619050 w 12139750"/>
              <a:gd name="connsiteY1219" fmla="*/ 4754909 h 6858290"/>
              <a:gd name="connsiteX1220" fmla="*/ 11607629 w 12139750"/>
              <a:gd name="connsiteY1220" fmla="*/ 4802589 h 6858290"/>
              <a:gd name="connsiteX1221" fmla="*/ 11270700 w 12139750"/>
              <a:gd name="connsiteY1221" fmla="*/ 4999032 h 6858290"/>
              <a:gd name="connsiteX1222" fmla="*/ 11223111 w 12139750"/>
              <a:gd name="connsiteY1222" fmla="*/ 4987588 h 6858290"/>
              <a:gd name="connsiteX1223" fmla="*/ 11217400 w 12139750"/>
              <a:gd name="connsiteY1223" fmla="*/ 4968516 h 6858290"/>
              <a:gd name="connsiteX1224" fmla="*/ 11236436 w 12139750"/>
              <a:gd name="connsiteY1224" fmla="*/ 4939908 h 6858290"/>
              <a:gd name="connsiteX1225" fmla="*/ 11571461 w 12139750"/>
              <a:gd name="connsiteY1225" fmla="*/ 4743466 h 6858290"/>
              <a:gd name="connsiteX1226" fmla="*/ 11598111 w 12139750"/>
              <a:gd name="connsiteY1226" fmla="*/ 4739890 h 6858290"/>
              <a:gd name="connsiteX1227" fmla="*/ 8154062 w 12139750"/>
              <a:gd name="connsiteY1227" fmla="*/ 4739890 h 6858290"/>
              <a:gd name="connsiteX1228" fmla="*/ 8175715 w 12139750"/>
              <a:gd name="connsiteY1228" fmla="*/ 4754909 h 6858290"/>
              <a:gd name="connsiteX1229" fmla="*/ 8162390 w 12139750"/>
              <a:gd name="connsiteY1229" fmla="*/ 4802589 h 6858290"/>
              <a:gd name="connsiteX1230" fmla="*/ 7825461 w 12139750"/>
              <a:gd name="connsiteY1230" fmla="*/ 4999032 h 6858290"/>
              <a:gd name="connsiteX1231" fmla="*/ 7777872 w 12139750"/>
              <a:gd name="connsiteY1231" fmla="*/ 4987588 h 6858290"/>
              <a:gd name="connsiteX1232" fmla="*/ 7774065 w 12139750"/>
              <a:gd name="connsiteY1232" fmla="*/ 4968516 h 6858290"/>
              <a:gd name="connsiteX1233" fmla="*/ 7791197 w 12139750"/>
              <a:gd name="connsiteY1233" fmla="*/ 4939908 h 6858290"/>
              <a:gd name="connsiteX1234" fmla="*/ 8128126 w 12139750"/>
              <a:gd name="connsiteY1234" fmla="*/ 4743466 h 6858290"/>
              <a:gd name="connsiteX1235" fmla="*/ 8154062 w 12139750"/>
              <a:gd name="connsiteY1235" fmla="*/ 4739890 h 6858290"/>
              <a:gd name="connsiteX1236" fmla="*/ 12135937 w 12139750"/>
              <a:gd name="connsiteY1236" fmla="*/ 4732342 h 6858290"/>
              <a:gd name="connsiteX1237" fmla="*/ 12139750 w 12139750"/>
              <a:gd name="connsiteY1237" fmla="*/ 4732342 h 6858290"/>
              <a:gd name="connsiteX1238" fmla="*/ 12139750 w 12139750"/>
              <a:gd name="connsiteY1238" fmla="*/ 4814057 h 6858290"/>
              <a:gd name="connsiteX1239" fmla="*/ 11834677 w 12139750"/>
              <a:gd name="connsiteY1239" fmla="*/ 4983190 h 6858290"/>
              <a:gd name="connsiteX1240" fmla="*/ 11783196 w 12139750"/>
              <a:gd name="connsiteY1240" fmla="*/ 4969887 h 6858290"/>
              <a:gd name="connsiteX1241" fmla="*/ 11779383 w 12139750"/>
              <a:gd name="connsiteY1241" fmla="*/ 4950884 h 6858290"/>
              <a:gd name="connsiteX1242" fmla="*/ 11798450 w 12139750"/>
              <a:gd name="connsiteY1242" fmla="*/ 4920478 h 6858290"/>
              <a:gd name="connsiteX1243" fmla="*/ 7597191 w 12139750"/>
              <a:gd name="connsiteY1243" fmla="*/ 4729944 h 6858290"/>
              <a:gd name="connsiteX1244" fmla="*/ 7620068 w 12139750"/>
              <a:gd name="connsiteY1244" fmla="*/ 4747524 h 6858290"/>
              <a:gd name="connsiteX1245" fmla="*/ 7604817 w 12139750"/>
              <a:gd name="connsiteY1245" fmla="*/ 4796937 h 6858290"/>
              <a:gd name="connsiteX1246" fmla="*/ 7267371 w 12139750"/>
              <a:gd name="connsiteY1246" fmla="*/ 4983189 h 6858290"/>
              <a:gd name="connsiteX1247" fmla="*/ 7217802 w 12139750"/>
              <a:gd name="connsiteY1247" fmla="*/ 4969885 h 6858290"/>
              <a:gd name="connsiteX1248" fmla="*/ 7212083 w 12139750"/>
              <a:gd name="connsiteY1248" fmla="*/ 4950880 h 6858290"/>
              <a:gd name="connsiteX1249" fmla="*/ 7231147 w 12139750"/>
              <a:gd name="connsiteY1249" fmla="*/ 4920472 h 6858290"/>
              <a:gd name="connsiteX1250" fmla="*/ 7568594 w 12139750"/>
              <a:gd name="connsiteY1250" fmla="*/ 4732319 h 6858290"/>
              <a:gd name="connsiteX1251" fmla="*/ 7597191 w 12139750"/>
              <a:gd name="connsiteY1251" fmla="*/ 4729944 h 6858290"/>
              <a:gd name="connsiteX1252" fmla="*/ 7045531 w 12139750"/>
              <a:gd name="connsiteY1252" fmla="*/ 4720682 h 6858290"/>
              <a:gd name="connsiteX1253" fmla="*/ 7069177 w 12139750"/>
              <a:gd name="connsiteY1253" fmla="*/ 4739994 h 6858290"/>
              <a:gd name="connsiteX1254" fmla="*/ 7051980 w 12139750"/>
              <a:gd name="connsiteY1254" fmla="*/ 4791491 h 6858290"/>
              <a:gd name="connsiteX1255" fmla="*/ 6713773 w 12139750"/>
              <a:gd name="connsiteY1255" fmla="*/ 4968868 h 6858290"/>
              <a:gd name="connsiteX1256" fmla="*/ 6662182 w 12139750"/>
              <a:gd name="connsiteY1256" fmla="*/ 4953610 h 6858290"/>
              <a:gd name="connsiteX1257" fmla="*/ 6656450 w 12139750"/>
              <a:gd name="connsiteY1257" fmla="*/ 4934537 h 6858290"/>
              <a:gd name="connsiteX1258" fmla="*/ 6677468 w 12139750"/>
              <a:gd name="connsiteY1258" fmla="*/ 4902113 h 6858290"/>
              <a:gd name="connsiteX1259" fmla="*/ 7017586 w 12139750"/>
              <a:gd name="connsiteY1259" fmla="*/ 4722828 h 6858290"/>
              <a:gd name="connsiteX1260" fmla="*/ 7045531 w 12139750"/>
              <a:gd name="connsiteY1260" fmla="*/ 4720682 h 6858290"/>
              <a:gd name="connsiteX1261" fmla="*/ 6500048 w 12139750"/>
              <a:gd name="connsiteY1261" fmla="*/ 4711377 h 6858290"/>
              <a:gd name="connsiteX1262" fmla="*/ 6523112 w 12139750"/>
              <a:gd name="connsiteY1262" fmla="*/ 4732307 h 6858290"/>
              <a:gd name="connsiteX1263" fmla="*/ 6505992 w 12139750"/>
              <a:gd name="connsiteY1263" fmla="*/ 4785582 h 6858290"/>
              <a:gd name="connsiteX1264" fmla="*/ 6167407 w 12139750"/>
              <a:gd name="connsiteY1264" fmla="*/ 4953016 h 6858290"/>
              <a:gd name="connsiteX1265" fmla="*/ 6114146 w 12139750"/>
              <a:gd name="connsiteY1265" fmla="*/ 4935892 h 6858290"/>
              <a:gd name="connsiteX1266" fmla="*/ 6110342 w 12139750"/>
              <a:gd name="connsiteY1266" fmla="*/ 4916866 h 6858290"/>
              <a:gd name="connsiteX1267" fmla="*/ 6131266 w 12139750"/>
              <a:gd name="connsiteY1267" fmla="*/ 4882618 h 6858290"/>
              <a:gd name="connsiteX1268" fmla="*/ 6469851 w 12139750"/>
              <a:gd name="connsiteY1268" fmla="*/ 4713280 h 6858290"/>
              <a:gd name="connsiteX1269" fmla="*/ 6500048 w 12139750"/>
              <a:gd name="connsiteY1269" fmla="*/ 4711377 h 6858290"/>
              <a:gd name="connsiteX1270" fmla="*/ 5956806 w 12139750"/>
              <a:gd name="connsiteY1270" fmla="*/ 4701881 h 6858290"/>
              <a:gd name="connsiteX1271" fmla="*/ 5980159 w 12139750"/>
              <a:gd name="connsiteY1271" fmla="*/ 4722888 h 6858290"/>
              <a:gd name="connsiteX1272" fmla="*/ 5961095 w 12139750"/>
              <a:gd name="connsiteY1272" fmla="*/ 4778272 h 6858290"/>
              <a:gd name="connsiteX1273" fmla="*/ 5621756 w 12139750"/>
              <a:gd name="connsiteY1273" fmla="*/ 4938693 h 6858290"/>
              <a:gd name="connsiteX1274" fmla="*/ 5566471 w 12139750"/>
              <a:gd name="connsiteY1274" fmla="*/ 4919595 h 6858290"/>
              <a:gd name="connsiteX1275" fmla="*/ 5562658 w 12139750"/>
              <a:gd name="connsiteY1275" fmla="*/ 4900497 h 6858290"/>
              <a:gd name="connsiteX1276" fmla="*/ 5585535 w 12139750"/>
              <a:gd name="connsiteY1276" fmla="*/ 4864212 h 6858290"/>
              <a:gd name="connsiteX1277" fmla="*/ 5924874 w 12139750"/>
              <a:gd name="connsiteY1277" fmla="*/ 4703791 h 6858290"/>
              <a:gd name="connsiteX1278" fmla="*/ 5956806 w 12139750"/>
              <a:gd name="connsiteY1278" fmla="*/ 4701881 h 6858290"/>
              <a:gd name="connsiteX1279" fmla="*/ 398944 w 12139750"/>
              <a:gd name="connsiteY1279" fmla="*/ 4701881 h 6858290"/>
              <a:gd name="connsiteX1280" fmla="*/ 422281 w 12139750"/>
              <a:gd name="connsiteY1280" fmla="*/ 4722888 h 6858290"/>
              <a:gd name="connsiteX1281" fmla="*/ 401326 w 12139750"/>
              <a:gd name="connsiteY1281" fmla="*/ 4778272 h 6858290"/>
              <a:gd name="connsiteX1282" fmla="*/ 62232 w 12139750"/>
              <a:gd name="connsiteY1282" fmla="*/ 4938693 h 6858290"/>
              <a:gd name="connsiteX1283" fmla="*/ 6986 w 12139750"/>
              <a:gd name="connsiteY1283" fmla="*/ 4919595 h 6858290"/>
              <a:gd name="connsiteX1284" fmla="*/ 3176 w 12139750"/>
              <a:gd name="connsiteY1284" fmla="*/ 4900497 h 6858290"/>
              <a:gd name="connsiteX1285" fmla="*/ 27941 w 12139750"/>
              <a:gd name="connsiteY1285" fmla="*/ 4864212 h 6858290"/>
              <a:gd name="connsiteX1286" fmla="*/ 367035 w 12139750"/>
              <a:gd name="connsiteY1286" fmla="*/ 4703791 h 6858290"/>
              <a:gd name="connsiteX1287" fmla="*/ 398944 w 12139750"/>
              <a:gd name="connsiteY1287" fmla="*/ 4701881 h 6858290"/>
              <a:gd name="connsiteX1288" fmla="*/ 5409709 w 12139750"/>
              <a:gd name="connsiteY1288" fmla="*/ 4693289 h 6858290"/>
              <a:gd name="connsiteX1289" fmla="*/ 5434051 w 12139750"/>
              <a:gd name="connsiteY1289" fmla="*/ 4715197 h 6858290"/>
              <a:gd name="connsiteX1290" fmla="*/ 5411140 w 12139750"/>
              <a:gd name="connsiteY1290" fmla="*/ 4772347 h 6858290"/>
              <a:gd name="connsiteX1291" fmla="*/ 5071297 w 12139750"/>
              <a:gd name="connsiteY1291" fmla="*/ 4922842 h 6858290"/>
              <a:gd name="connsiteX1292" fmla="*/ 5014028 w 12139750"/>
              <a:gd name="connsiteY1292" fmla="*/ 4901887 h 6858290"/>
              <a:gd name="connsiteX1293" fmla="*/ 5010210 w 12139750"/>
              <a:gd name="connsiteY1293" fmla="*/ 4882837 h 6858290"/>
              <a:gd name="connsiteX1294" fmla="*/ 5036935 w 12139750"/>
              <a:gd name="connsiteY1294" fmla="*/ 4842832 h 6858290"/>
              <a:gd name="connsiteX1295" fmla="*/ 5376776 w 12139750"/>
              <a:gd name="connsiteY1295" fmla="*/ 4694242 h 6858290"/>
              <a:gd name="connsiteX1296" fmla="*/ 5409709 w 12139750"/>
              <a:gd name="connsiteY1296" fmla="*/ 4693289 h 6858290"/>
              <a:gd name="connsiteX1297" fmla="*/ 943147 w 12139750"/>
              <a:gd name="connsiteY1297" fmla="*/ 4693289 h 6858290"/>
              <a:gd name="connsiteX1298" fmla="*/ 966774 w 12139750"/>
              <a:gd name="connsiteY1298" fmla="*/ 4715197 h 6858290"/>
              <a:gd name="connsiteX1299" fmla="*/ 945772 w 12139750"/>
              <a:gd name="connsiteY1299" fmla="*/ 4772347 h 6858290"/>
              <a:gd name="connsiteX1300" fmla="*/ 604023 w 12139750"/>
              <a:gd name="connsiteY1300" fmla="*/ 4922842 h 6858290"/>
              <a:gd name="connsiteX1301" fmla="*/ 546746 w 12139750"/>
              <a:gd name="connsiteY1301" fmla="*/ 4901887 h 6858290"/>
              <a:gd name="connsiteX1302" fmla="*/ 542928 w 12139750"/>
              <a:gd name="connsiteY1302" fmla="*/ 4882837 h 6858290"/>
              <a:gd name="connsiteX1303" fmla="*/ 569657 w 12139750"/>
              <a:gd name="connsiteY1303" fmla="*/ 4842832 h 6858290"/>
              <a:gd name="connsiteX1304" fmla="*/ 909497 w 12139750"/>
              <a:gd name="connsiteY1304" fmla="*/ 4694242 h 6858290"/>
              <a:gd name="connsiteX1305" fmla="*/ 943147 w 12139750"/>
              <a:gd name="connsiteY1305" fmla="*/ 4693289 h 6858290"/>
              <a:gd name="connsiteX1306" fmla="*/ 4840043 w 12139750"/>
              <a:gd name="connsiteY1306" fmla="*/ 4679741 h 6858290"/>
              <a:gd name="connsiteX1307" fmla="*/ 4881602 w 12139750"/>
              <a:gd name="connsiteY1307" fmla="*/ 4707760 h 6858290"/>
              <a:gd name="connsiteX1308" fmla="*/ 4856815 w 12139750"/>
              <a:gd name="connsiteY1308" fmla="*/ 4766584 h 6858290"/>
              <a:gd name="connsiteX1309" fmla="*/ 4517479 w 12139750"/>
              <a:gd name="connsiteY1309" fmla="*/ 4907004 h 6858290"/>
              <a:gd name="connsiteX1310" fmla="*/ 4458382 w 12139750"/>
              <a:gd name="connsiteY1310" fmla="*/ 4882336 h 6858290"/>
              <a:gd name="connsiteX1311" fmla="*/ 4454569 w 12139750"/>
              <a:gd name="connsiteY1311" fmla="*/ 4865258 h 6858290"/>
              <a:gd name="connsiteX1312" fmla="*/ 4483164 w 12139750"/>
              <a:gd name="connsiteY1312" fmla="*/ 4823511 h 6858290"/>
              <a:gd name="connsiteX1313" fmla="*/ 4822495 w 12139750"/>
              <a:gd name="connsiteY1313" fmla="*/ 4683092 h 6858290"/>
              <a:gd name="connsiteX1314" fmla="*/ 4840043 w 12139750"/>
              <a:gd name="connsiteY1314" fmla="*/ 4679741 h 6858290"/>
              <a:gd name="connsiteX1315" fmla="*/ 1476099 w 12139750"/>
              <a:gd name="connsiteY1315" fmla="*/ 4679741 h 6858290"/>
              <a:gd name="connsiteX1316" fmla="*/ 1517653 w 12139750"/>
              <a:gd name="connsiteY1316" fmla="*/ 4707760 h 6858290"/>
              <a:gd name="connsiteX1317" fmla="*/ 1492870 w 12139750"/>
              <a:gd name="connsiteY1317" fmla="*/ 4766584 h 6858290"/>
              <a:gd name="connsiteX1318" fmla="*/ 1151623 w 12139750"/>
              <a:gd name="connsiteY1318" fmla="*/ 4907004 h 6858290"/>
              <a:gd name="connsiteX1319" fmla="*/ 1094430 w 12139750"/>
              <a:gd name="connsiteY1319" fmla="*/ 4882336 h 6858290"/>
              <a:gd name="connsiteX1320" fmla="*/ 1090618 w 12139750"/>
              <a:gd name="connsiteY1320" fmla="*/ 4865258 h 6858290"/>
              <a:gd name="connsiteX1321" fmla="*/ 1117307 w 12139750"/>
              <a:gd name="connsiteY1321" fmla="*/ 4823511 h 6858290"/>
              <a:gd name="connsiteX1322" fmla="*/ 1458554 w 12139750"/>
              <a:gd name="connsiteY1322" fmla="*/ 4683092 h 6858290"/>
              <a:gd name="connsiteX1323" fmla="*/ 1476099 w 12139750"/>
              <a:gd name="connsiteY1323" fmla="*/ 4679741 h 6858290"/>
              <a:gd name="connsiteX1324" fmla="*/ 4282901 w 12139750"/>
              <a:gd name="connsiteY1324" fmla="*/ 4670538 h 6858290"/>
              <a:gd name="connsiteX1325" fmla="*/ 4324395 w 12139750"/>
              <a:gd name="connsiteY1325" fmla="*/ 4700274 h 6858290"/>
              <a:gd name="connsiteX1326" fmla="*/ 4297744 w 12139750"/>
              <a:gd name="connsiteY1326" fmla="*/ 4761234 h 6858290"/>
              <a:gd name="connsiteX1327" fmla="*/ 3957011 w 12139750"/>
              <a:gd name="connsiteY1327" fmla="*/ 4892679 h 6858290"/>
              <a:gd name="connsiteX1328" fmla="*/ 3897996 w 12139750"/>
              <a:gd name="connsiteY1328" fmla="*/ 4866009 h 6858290"/>
              <a:gd name="connsiteX1329" fmla="*/ 3894189 w 12139750"/>
              <a:gd name="connsiteY1329" fmla="*/ 4848864 h 6858290"/>
              <a:gd name="connsiteX1330" fmla="*/ 3924649 w 12139750"/>
              <a:gd name="connsiteY1330" fmla="*/ 4805049 h 6858290"/>
              <a:gd name="connsiteX1331" fmla="*/ 4265381 w 12139750"/>
              <a:gd name="connsiteY1331" fmla="*/ 4673604 h 6858290"/>
              <a:gd name="connsiteX1332" fmla="*/ 4282901 w 12139750"/>
              <a:gd name="connsiteY1332" fmla="*/ 4670538 h 6858290"/>
              <a:gd name="connsiteX1333" fmla="*/ 2029448 w 12139750"/>
              <a:gd name="connsiteY1333" fmla="*/ 4670538 h 6858290"/>
              <a:gd name="connsiteX1334" fmla="*/ 2071719 w 12139750"/>
              <a:gd name="connsiteY1334" fmla="*/ 4700274 h 6858290"/>
              <a:gd name="connsiteX1335" fmla="*/ 2045082 w 12139750"/>
              <a:gd name="connsiteY1335" fmla="*/ 4761234 h 6858290"/>
              <a:gd name="connsiteX1336" fmla="*/ 1704573 w 12139750"/>
              <a:gd name="connsiteY1336" fmla="*/ 4892679 h 6858290"/>
              <a:gd name="connsiteX1337" fmla="*/ 1643700 w 12139750"/>
              <a:gd name="connsiteY1337" fmla="*/ 4866009 h 6858290"/>
              <a:gd name="connsiteX1338" fmla="*/ 1639895 w 12139750"/>
              <a:gd name="connsiteY1338" fmla="*/ 4848864 h 6858290"/>
              <a:gd name="connsiteX1339" fmla="*/ 1670332 w 12139750"/>
              <a:gd name="connsiteY1339" fmla="*/ 4805049 h 6858290"/>
              <a:gd name="connsiteX1340" fmla="*/ 2010841 w 12139750"/>
              <a:gd name="connsiteY1340" fmla="*/ 4673604 h 6858290"/>
              <a:gd name="connsiteX1341" fmla="*/ 2029448 w 12139750"/>
              <a:gd name="connsiteY1341" fmla="*/ 4670538 h 6858290"/>
              <a:gd name="connsiteX1342" fmla="*/ 3720839 w 12139750"/>
              <a:gd name="connsiteY1342" fmla="*/ 4661025 h 6858290"/>
              <a:gd name="connsiteX1343" fmla="*/ 3764003 w 12139750"/>
              <a:gd name="connsiteY1343" fmla="*/ 4692550 h 6858290"/>
              <a:gd name="connsiteX1344" fmla="*/ 3735407 w 12139750"/>
              <a:gd name="connsiteY1344" fmla="*/ 4755243 h 6858290"/>
              <a:gd name="connsiteX1345" fmla="*/ 3392273 w 12139750"/>
              <a:gd name="connsiteY1345" fmla="*/ 4876830 h 6858290"/>
              <a:gd name="connsiteX1346" fmla="*/ 3331265 w 12139750"/>
              <a:gd name="connsiteY1346" fmla="*/ 4848333 h 6858290"/>
              <a:gd name="connsiteX1347" fmla="*/ 3327453 w 12139750"/>
              <a:gd name="connsiteY1347" fmla="*/ 4831235 h 6858290"/>
              <a:gd name="connsiteX1348" fmla="*/ 3359861 w 12139750"/>
              <a:gd name="connsiteY1348" fmla="*/ 4785640 h 6858290"/>
              <a:gd name="connsiteX1349" fmla="*/ 3701092 w 12139750"/>
              <a:gd name="connsiteY1349" fmla="*/ 4664053 h 6858290"/>
              <a:gd name="connsiteX1350" fmla="*/ 3720839 w 12139750"/>
              <a:gd name="connsiteY1350" fmla="*/ 4661025 h 6858290"/>
              <a:gd name="connsiteX1351" fmla="*/ 2587339 w 12139750"/>
              <a:gd name="connsiteY1351" fmla="*/ 4661025 h 6858290"/>
              <a:gd name="connsiteX1352" fmla="*/ 2630501 w 12139750"/>
              <a:gd name="connsiteY1352" fmla="*/ 4692550 h 6858290"/>
              <a:gd name="connsiteX1353" fmla="*/ 2601905 w 12139750"/>
              <a:gd name="connsiteY1353" fmla="*/ 4755243 h 6858290"/>
              <a:gd name="connsiteX1354" fmla="*/ 2258757 w 12139750"/>
              <a:gd name="connsiteY1354" fmla="*/ 4876830 h 6858290"/>
              <a:gd name="connsiteX1355" fmla="*/ 2197753 w 12139750"/>
              <a:gd name="connsiteY1355" fmla="*/ 4848333 h 6858290"/>
              <a:gd name="connsiteX1356" fmla="*/ 2193940 w 12139750"/>
              <a:gd name="connsiteY1356" fmla="*/ 4831235 h 6858290"/>
              <a:gd name="connsiteX1357" fmla="*/ 2226348 w 12139750"/>
              <a:gd name="connsiteY1357" fmla="*/ 4785640 h 6858290"/>
              <a:gd name="connsiteX1358" fmla="*/ 2567590 w 12139750"/>
              <a:gd name="connsiteY1358" fmla="*/ 4664053 h 6858290"/>
              <a:gd name="connsiteX1359" fmla="*/ 2587339 w 12139750"/>
              <a:gd name="connsiteY1359" fmla="*/ 4661025 h 6858290"/>
              <a:gd name="connsiteX1360" fmla="*/ 3149675 w 12139750"/>
              <a:gd name="connsiteY1360" fmla="*/ 4651825 h 6858290"/>
              <a:gd name="connsiteX1361" fmla="*/ 3194414 w 12139750"/>
              <a:gd name="connsiteY1361" fmla="*/ 4685090 h 6858290"/>
              <a:gd name="connsiteX1362" fmla="*/ 3162027 w 12139750"/>
              <a:gd name="connsiteY1362" fmla="*/ 4748043 h 6858290"/>
              <a:gd name="connsiteX1363" fmla="*/ 2819126 w 12139750"/>
              <a:gd name="connsiteY1363" fmla="*/ 4862503 h 6858290"/>
              <a:gd name="connsiteX1364" fmla="*/ 2756258 w 12139750"/>
              <a:gd name="connsiteY1364" fmla="*/ 4830073 h 6858290"/>
              <a:gd name="connsiteX1365" fmla="*/ 2754353 w 12139750"/>
              <a:gd name="connsiteY1365" fmla="*/ 4814812 h 6858290"/>
              <a:gd name="connsiteX1366" fmla="*/ 2788646 w 12139750"/>
              <a:gd name="connsiteY1366" fmla="*/ 4767120 h 6858290"/>
              <a:gd name="connsiteX1367" fmla="*/ 3129644 w 12139750"/>
              <a:gd name="connsiteY1367" fmla="*/ 4654567 h 6858290"/>
              <a:gd name="connsiteX1368" fmla="*/ 3149675 w 12139750"/>
              <a:gd name="connsiteY1368" fmla="*/ 4651825 h 6858290"/>
              <a:gd name="connsiteX1369" fmla="*/ 9864585 w 12139750"/>
              <a:gd name="connsiteY1369" fmla="*/ 4440631 h 6858290"/>
              <a:gd name="connsiteX1370" fmla="*/ 9882263 w 12139750"/>
              <a:gd name="connsiteY1370" fmla="*/ 4452274 h 6858290"/>
              <a:gd name="connsiteX1371" fmla="*/ 9876530 w 12139750"/>
              <a:gd name="connsiteY1371" fmla="*/ 4488393 h 6858290"/>
              <a:gd name="connsiteX1372" fmla="*/ 9540160 w 12139750"/>
              <a:gd name="connsiteY1372" fmla="*/ 4727913 h 6858290"/>
              <a:gd name="connsiteX1373" fmla="*/ 9503848 w 12139750"/>
              <a:gd name="connsiteY1373" fmla="*/ 4720309 h 6858290"/>
              <a:gd name="connsiteX1374" fmla="*/ 9498114 w 12139750"/>
              <a:gd name="connsiteY1374" fmla="*/ 4705101 h 6858290"/>
              <a:gd name="connsiteX1375" fmla="*/ 9509581 w 12139750"/>
              <a:gd name="connsiteY1375" fmla="*/ 4684191 h 6858290"/>
              <a:gd name="connsiteX1376" fmla="*/ 9844039 w 12139750"/>
              <a:gd name="connsiteY1376" fmla="*/ 4444671 h 6858290"/>
              <a:gd name="connsiteX1377" fmla="*/ 9864585 w 12139750"/>
              <a:gd name="connsiteY1377" fmla="*/ 4440631 h 6858290"/>
              <a:gd name="connsiteX1378" fmla="*/ 10447906 w 12139750"/>
              <a:gd name="connsiteY1378" fmla="*/ 4432309 h 6858290"/>
              <a:gd name="connsiteX1379" fmla="*/ 10466494 w 12139750"/>
              <a:gd name="connsiteY1379" fmla="*/ 4444705 h 6858290"/>
              <a:gd name="connsiteX1380" fmla="*/ 10458868 w 12139750"/>
              <a:gd name="connsiteY1380" fmla="*/ 4484754 h 6858290"/>
              <a:gd name="connsiteX1381" fmla="*/ 10123316 w 12139750"/>
              <a:gd name="connsiteY1381" fmla="*/ 4711694 h 6858290"/>
              <a:gd name="connsiteX1382" fmla="*/ 10083279 w 12139750"/>
              <a:gd name="connsiteY1382" fmla="*/ 4704066 h 6858290"/>
              <a:gd name="connsiteX1383" fmla="*/ 10077559 w 12139750"/>
              <a:gd name="connsiteY1383" fmla="*/ 4686903 h 6858290"/>
              <a:gd name="connsiteX1384" fmla="*/ 10090905 w 12139750"/>
              <a:gd name="connsiteY1384" fmla="*/ 4664018 h 6858290"/>
              <a:gd name="connsiteX1385" fmla="*/ 10426457 w 12139750"/>
              <a:gd name="connsiteY1385" fmla="*/ 4437077 h 6858290"/>
              <a:gd name="connsiteX1386" fmla="*/ 10447906 w 12139750"/>
              <a:gd name="connsiteY1386" fmla="*/ 4432309 h 6858290"/>
              <a:gd name="connsiteX1387" fmla="*/ 9287428 w 12139750"/>
              <a:gd name="connsiteY1387" fmla="*/ 4432309 h 6858290"/>
              <a:gd name="connsiteX1388" fmla="*/ 9306016 w 12139750"/>
              <a:gd name="connsiteY1388" fmla="*/ 4444705 h 6858290"/>
              <a:gd name="connsiteX1389" fmla="*/ 9298390 w 12139750"/>
              <a:gd name="connsiteY1389" fmla="*/ 4484754 h 6858290"/>
              <a:gd name="connsiteX1390" fmla="*/ 8962838 w 12139750"/>
              <a:gd name="connsiteY1390" fmla="*/ 4711694 h 6858290"/>
              <a:gd name="connsiteX1391" fmla="*/ 8922801 w 12139750"/>
              <a:gd name="connsiteY1391" fmla="*/ 4704066 h 6858290"/>
              <a:gd name="connsiteX1392" fmla="*/ 8917081 w 12139750"/>
              <a:gd name="connsiteY1392" fmla="*/ 4686903 h 6858290"/>
              <a:gd name="connsiteX1393" fmla="*/ 8930427 w 12139750"/>
              <a:gd name="connsiteY1393" fmla="*/ 4664018 h 6858290"/>
              <a:gd name="connsiteX1394" fmla="*/ 9265979 w 12139750"/>
              <a:gd name="connsiteY1394" fmla="*/ 4437077 h 6858290"/>
              <a:gd name="connsiteX1395" fmla="*/ 9287428 w 12139750"/>
              <a:gd name="connsiteY1395" fmla="*/ 4432309 h 6858290"/>
              <a:gd name="connsiteX1396" fmla="*/ 11026206 w 12139750"/>
              <a:gd name="connsiteY1396" fmla="*/ 4423012 h 6858290"/>
              <a:gd name="connsiteX1397" fmla="*/ 11045955 w 12139750"/>
              <a:gd name="connsiteY1397" fmla="*/ 4437046 h 6858290"/>
              <a:gd name="connsiteX1398" fmla="*/ 11036438 w 12139750"/>
              <a:gd name="connsiteY1398" fmla="*/ 4478910 h 6858290"/>
              <a:gd name="connsiteX1399" fmla="*/ 10701418 w 12139750"/>
              <a:gd name="connsiteY1399" fmla="*/ 4695840 h 6858290"/>
              <a:gd name="connsiteX1400" fmla="*/ 10657637 w 12139750"/>
              <a:gd name="connsiteY1400" fmla="*/ 4686326 h 6858290"/>
              <a:gd name="connsiteX1401" fmla="*/ 10653830 w 12139750"/>
              <a:gd name="connsiteY1401" fmla="*/ 4669200 h 6858290"/>
              <a:gd name="connsiteX1402" fmla="*/ 10667155 w 12139750"/>
              <a:gd name="connsiteY1402" fmla="*/ 4642559 h 6858290"/>
              <a:gd name="connsiteX1403" fmla="*/ 11002174 w 12139750"/>
              <a:gd name="connsiteY1403" fmla="*/ 4427531 h 6858290"/>
              <a:gd name="connsiteX1404" fmla="*/ 11026206 w 12139750"/>
              <a:gd name="connsiteY1404" fmla="*/ 4423012 h 6858290"/>
              <a:gd name="connsiteX1405" fmla="*/ 8716363 w 12139750"/>
              <a:gd name="connsiteY1405" fmla="*/ 4423012 h 6858290"/>
              <a:gd name="connsiteX1406" fmla="*/ 8736111 w 12139750"/>
              <a:gd name="connsiteY1406" fmla="*/ 4437046 h 6858290"/>
              <a:gd name="connsiteX1407" fmla="*/ 8726594 w 12139750"/>
              <a:gd name="connsiteY1407" fmla="*/ 4478910 h 6858290"/>
              <a:gd name="connsiteX1408" fmla="*/ 8391574 w 12139750"/>
              <a:gd name="connsiteY1408" fmla="*/ 4695840 h 6858290"/>
              <a:gd name="connsiteX1409" fmla="*/ 8347793 w 12139750"/>
              <a:gd name="connsiteY1409" fmla="*/ 4686326 h 6858290"/>
              <a:gd name="connsiteX1410" fmla="*/ 8343986 w 12139750"/>
              <a:gd name="connsiteY1410" fmla="*/ 4669200 h 6858290"/>
              <a:gd name="connsiteX1411" fmla="*/ 8357311 w 12139750"/>
              <a:gd name="connsiteY1411" fmla="*/ 4642559 h 6858290"/>
              <a:gd name="connsiteX1412" fmla="*/ 8692330 w 12139750"/>
              <a:gd name="connsiteY1412" fmla="*/ 4427531 h 6858290"/>
              <a:gd name="connsiteX1413" fmla="*/ 8716363 w 12139750"/>
              <a:gd name="connsiteY1413" fmla="*/ 4423012 h 6858290"/>
              <a:gd name="connsiteX1414" fmla="*/ 11596714 w 12139750"/>
              <a:gd name="connsiteY1414" fmla="*/ 4414431 h 6858290"/>
              <a:gd name="connsiteX1415" fmla="*/ 11617447 w 12139750"/>
              <a:gd name="connsiteY1415" fmla="*/ 4429399 h 6858290"/>
              <a:gd name="connsiteX1416" fmla="*/ 11606008 w 12139750"/>
              <a:gd name="connsiteY1416" fmla="*/ 4475016 h 6858290"/>
              <a:gd name="connsiteX1417" fmla="*/ 11270463 w 12139750"/>
              <a:gd name="connsiteY1417" fmla="*/ 4678388 h 6858290"/>
              <a:gd name="connsiteX1418" fmla="*/ 11224707 w 12139750"/>
              <a:gd name="connsiteY1418" fmla="*/ 4666984 h 6858290"/>
              <a:gd name="connsiteX1419" fmla="*/ 11218987 w 12139750"/>
              <a:gd name="connsiteY1419" fmla="*/ 4649878 h 6858290"/>
              <a:gd name="connsiteX1420" fmla="*/ 11236146 w 12139750"/>
              <a:gd name="connsiteY1420" fmla="*/ 4621368 h 6858290"/>
              <a:gd name="connsiteX1421" fmla="*/ 11571691 w 12139750"/>
              <a:gd name="connsiteY1421" fmla="*/ 4417995 h 6858290"/>
              <a:gd name="connsiteX1422" fmla="*/ 11596714 w 12139750"/>
              <a:gd name="connsiteY1422" fmla="*/ 4414431 h 6858290"/>
              <a:gd name="connsiteX1423" fmla="*/ 8153380 w 12139750"/>
              <a:gd name="connsiteY1423" fmla="*/ 4414431 h 6858290"/>
              <a:gd name="connsiteX1424" fmla="*/ 8174113 w 12139750"/>
              <a:gd name="connsiteY1424" fmla="*/ 4429399 h 6858290"/>
              <a:gd name="connsiteX1425" fmla="*/ 8162674 w 12139750"/>
              <a:gd name="connsiteY1425" fmla="*/ 4475016 h 6858290"/>
              <a:gd name="connsiteX1426" fmla="*/ 7825222 w 12139750"/>
              <a:gd name="connsiteY1426" fmla="*/ 4678388 h 6858290"/>
              <a:gd name="connsiteX1427" fmla="*/ 7779466 w 12139750"/>
              <a:gd name="connsiteY1427" fmla="*/ 4666984 h 6858290"/>
              <a:gd name="connsiteX1428" fmla="*/ 7775653 w 12139750"/>
              <a:gd name="connsiteY1428" fmla="*/ 4649878 h 6858290"/>
              <a:gd name="connsiteX1429" fmla="*/ 7790905 w 12139750"/>
              <a:gd name="connsiteY1429" fmla="*/ 4621368 h 6858290"/>
              <a:gd name="connsiteX1430" fmla="*/ 8128357 w 12139750"/>
              <a:gd name="connsiteY1430" fmla="*/ 4417995 h 6858290"/>
              <a:gd name="connsiteX1431" fmla="*/ 8153380 w 12139750"/>
              <a:gd name="connsiteY1431" fmla="*/ 4414431 h 6858290"/>
              <a:gd name="connsiteX1432" fmla="*/ 12139750 w 12139750"/>
              <a:gd name="connsiteY1432" fmla="*/ 4406904 h 6858290"/>
              <a:gd name="connsiteX1433" fmla="*/ 12139750 w 12139750"/>
              <a:gd name="connsiteY1433" fmla="*/ 4488819 h 6858290"/>
              <a:gd name="connsiteX1434" fmla="*/ 11834405 w 12139750"/>
              <a:gd name="connsiteY1434" fmla="*/ 4664079 h 6858290"/>
              <a:gd name="connsiteX1435" fmla="*/ 11784787 w 12139750"/>
              <a:gd name="connsiteY1435" fmla="*/ 4650744 h 6858290"/>
              <a:gd name="connsiteX1436" fmla="*/ 11780970 w 12139750"/>
              <a:gd name="connsiteY1436" fmla="*/ 4633599 h 6858290"/>
              <a:gd name="connsiteX1437" fmla="*/ 11798146 w 12139750"/>
              <a:gd name="connsiteY1437" fmla="*/ 4601214 h 6858290"/>
              <a:gd name="connsiteX1438" fmla="*/ 12135933 w 12139750"/>
              <a:gd name="connsiteY1438" fmla="*/ 4408809 h 6858290"/>
              <a:gd name="connsiteX1439" fmla="*/ 12139750 w 12139750"/>
              <a:gd name="connsiteY1439" fmla="*/ 4406904 h 6858290"/>
              <a:gd name="connsiteX1440" fmla="*/ 7595041 w 12139750"/>
              <a:gd name="connsiteY1440" fmla="*/ 4405165 h 6858290"/>
              <a:gd name="connsiteX1441" fmla="*/ 7616915 w 12139750"/>
              <a:gd name="connsiteY1441" fmla="*/ 4421853 h 6858290"/>
              <a:gd name="connsiteX1442" fmla="*/ 7603601 w 12139750"/>
              <a:gd name="connsiteY1442" fmla="*/ 4471441 h 6858290"/>
              <a:gd name="connsiteX1443" fmla="*/ 7266929 w 12139750"/>
              <a:gd name="connsiteY1443" fmla="*/ 4664069 h 6858290"/>
              <a:gd name="connsiteX1444" fmla="*/ 7219376 w 12139750"/>
              <a:gd name="connsiteY1444" fmla="*/ 4650718 h 6858290"/>
              <a:gd name="connsiteX1445" fmla="*/ 7213670 w 12139750"/>
              <a:gd name="connsiteY1445" fmla="*/ 4633553 h 6858290"/>
              <a:gd name="connsiteX1446" fmla="*/ 7230789 w 12139750"/>
              <a:gd name="connsiteY1446" fmla="*/ 4601131 h 6858290"/>
              <a:gd name="connsiteX1447" fmla="*/ 7567461 w 12139750"/>
              <a:gd name="connsiteY1447" fmla="*/ 4408503 h 6858290"/>
              <a:gd name="connsiteX1448" fmla="*/ 7595041 w 12139750"/>
              <a:gd name="connsiteY1448" fmla="*/ 4405165 h 6858290"/>
              <a:gd name="connsiteX1449" fmla="*/ 7045447 w 12139750"/>
              <a:gd name="connsiteY1449" fmla="*/ 4396577 h 6858290"/>
              <a:gd name="connsiteX1450" fmla="*/ 7067610 w 12139750"/>
              <a:gd name="connsiteY1450" fmla="*/ 4414178 h 6858290"/>
              <a:gd name="connsiteX1451" fmla="*/ 7052359 w 12139750"/>
              <a:gd name="connsiteY1451" fmla="*/ 4465552 h 6858290"/>
              <a:gd name="connsiteX1452" fmla="*/ 6714913 w 12139750"/>
              <a:gd name="connsiteY1452" fmla="*/ 4646313 h 6858290"/>
              <a:gd name="connsiteX1453" fmla="*/ 6663438 w 12139750"/>
              <a:gd name="connsiteY1453" fmla="*/ 4631091 h 6858290"/>
              <a:gd name="connsiteX1454" fmla="*/ 6659625 w 12139750"/>
              <a:gd name="connsiteY1454" fmla="*/ 4613966 h 6858290"/>
              <a:gd name="connsiteX1455" fmla="*/ 6678689 w 12139750"/>
              <a:gd name="connsiteY1455" fmla="*/ 4581620 h 6858290"/>
              <a:gd name="connsiteX1456" fmla="*/ 7016136 w 12139750"/>
              <a:gd name="connsiteY1456" fmla="*/ 4398956 h 6858290"/>
              <a:gd name="connsiteX1457" fmla="*/ 7045447 w 12139750"/>
              <a:gd name="connsiteY1457" fmla="*/ 4396577 h 6858290"/>
              <a:gd name="connsiteX1458" fmla="*/ 6484860 w 12139750"/>
              <a:gd name="connsiteY1458" fmla="*/ 4386509 h 6858290"/>
              <a:gd name="connsiteX1459" fmla="*/ 6523112 w 12139750"/>
              <a:gd name="connsiteY1459" fmla="*/ 4408422 h 6858290"/>
              <a:gd name="connsiteX1460" fmla="*/ 6505992 w 12139750"/>
              <a:gd name="connsiteY1460" fmla="*/ 4461632 h 6858290"/>
              <a:gd name="connsiteX1461" fmla="*/ 6167407 w 12139750"/>
              <a:gd name="connsiteY1461" fmla="*/ 4630765 h 6858290"/>
              <a:gd name="connsiteX1462" fmla="*/ 6114146 w 12139750"/>
              <a:gd name="connsiteY1462" fmla="*/ 4613662 h 6858290"/>
              <a:gd name="connsiteX1463" fmla="*/ 6110342 w 12139750"/>
              <a:gd name="connsiteY1463" fmla="*/ 4594658 h 6858290"/>
              <a:gd name="connsiteX1464" fmla="*/ 6131266 w 12139750"/>
              <a:gd name="connsiteY1464" fmla="*/ 4560451 h 6858290"/>
              <a:gd name="connsiteX1465" fmla="*/ 6469851 w 12139750"/>
              <a:gd name="connsiteY1465" fmla="*/ 4391319 h 6858290"/>
              <a:gd name="connsiteX1466" fmla="*/ 6484860 w 12139750"/>
              <a:gd name="connsiteY1466" fmla="*/ 4386509 h 6858290"/>
              <a:gd name="connsiteX1467" fmla="*/ 5956833 w 12139750"/>
              <a:gd name="connsiteY1467" fmla="*/ 4379618 h 6858290"/>
              <a:gd name="connsiteX1468" fmla="*/ 5980168 w 12139750"/>
              <a:gd name="connsiteY1468" fmla="*/ 4400625 h 6858290"/>
              <a:gd name="connsiteX1469" fmla="*/ 5961117 w 12139750"/>
              <a:gd name="connsiteY1469" fmla="*/ 4456009 h 6858290"/>
              <a:gd name="connsiteX1470" fmla="*/ 5622030 w 12139750"/>
              <a:gd name="connsiteY1470" fmla="*/ 4616430 h 6858290"/>
              <a:gd name="connsiteX1471" fmla="*/ 5564881 w 12139750"/>
              <a:gd name="connsiteY1471" fmla="*/ 4595422 h 6858290"/>
              <a:gd name="connsiteX1472" fmla="*/ 5561071 w 12139750"/>
              <a:gd name="connsiteY1472" fmla="*/ 4578234 h 6858290"/>
              <a:gd name="connsiteX1473" fmla="*/ 5585836 w 12139750"/>
              <a:gd name="connsiteY1473" fmla="*/ 4540039 h 6858290"/>
              <a:gd name="connsiteX1474" fmla="*/ 5924922 w 12139750"/>
              <a:gd name="connsiteY1474" fmla="*/ 4381528 h 6858290"/>
              <a:gd name="connsiteX1475" fmla="*/ 5956833 w 12139750"/>
              <a:gd name="connsiteY1475" fmla="*/ 4379618 h 6858290"/>
              <a:gd name="connsiteX1476" fmla="*/ 398944 w 12139750"/>
              <a:gd name="connsiteY1476" fmla="*/ 4379618 h 6858290"/>
              <a:gd name="connsiteX1477" fmla="*/ 422281 w 12139750"/>
              <a:gd name="connsiteY1477" fmla="*/ 4400625 h 6858290"/>
              <a:gd name="connsiteX1478" fmla="*/ 401326 w 12139750"/>
              <a:gd name="connsiteY1478" fmla="*/ 4456009 h 6858290"/>
              <a:gd name="connsiteX1479" fmla="*/ 62232 w 12139750"/>
              <a:gd name="connsiteY1479" fmla="*/ 4616430 h 6858290"/>
              <a:gd name="connsiteX1480" fmla="*/ 6986 w 12139750"/>
              <a:gd name="connsiteY1480" fmla="*/ 4595422 h 6858290"/>
              <a:gd name="connsiteX1481" fmla="*/ 3176 w 12139750"/>
              <a:gd name="connsiteY1481" fmla="*/ 4578234 h 6858290"/>
              <a:gd name="connsiteX1482" fmla="*/ 27941 w 12139750"/>
              <a:gd name="connsiteY1482" fmla="*/ 4540039 h 6858290"/>
              <a:gd name="connsiteX1483" fmla="*/ 367035 w 12139750"/>
              <a:gd name="connsiteY1483" fmla="*/ 4381528 h 6858290"/>
              <a:gd name="connsiteX1484" fmla="*/ 398944 w 12139750"/>
              <a:gd name="connsiteY1484" fmla="*/ 4379618 h 6858290"/>
              <a:gd name="connsiteX1485" fmla="*/ 5410426 w 12139750"/>
              <a:gd name="connsiteY1485" fmla="*/ 4371276 h 6858290"/>
              <a:gd name="connsiteX1486" fmla="*/ 5434051 w 12139750"/>
              <a:gd name="connsiteY1486" fmla="*/ 4394881 h 6858290"/>
              <a:gd name="connsiteX1487" fmla="*/ 5411140 w 12139750"/>
              <a:gd name="connsiteY1487" fmla="*/ 4452105 h 6858290"/>
              <a:gd name="connsiteX1488" fmla="*/ 5071297 w 12139750"/>
              <a:gd name="connsiteY1488" fmla="*/ 4598979 h 6858290"/>
              <a:gd name="connsiteX1489" fmla="*/ 5014028 w 12139750"/>
              <a:gd name="connsiteY1489" fmla="*/ 4576090 h 6858290"/>
              <a:gd name="connsiteX1490" fmla="*/ 5010210 w 12139750"/>
              <a:gd name="connsiteY1490" fmla="*/ 4558923 h 6858290"/>
              <a:gd name="connsiteX1491" fmla="*/ 5036935 w 12139750"/>
              <a:gd name="connsiteY1491" fmla="*/ 4518866 h 6858290"/>
              <a:gd name="connsiteX1492" fmla="*/ 5376776 w 12139750"/>
              <a:gd name="connsiteY1492" fmla="*/ 4371991 h 6858290"/>
              <a:gd name="connsiteX1493" fmla="*/ 5410426 w 12139750"/>
              <a:gd name="connsiteY1493" fmla="*/ 4371276 h 6858290"/>
              <a:gd name="connsiteX1494" fmla="*/ 943805 w 12139750"/>
              <a:gd name="connsiteY1494" fmla="*/ 4371276 h 6858290"/>
              <a:gd name="connsiteX1495" fmla="*/ 968368 w 12139750"/>
              <a:gd name="connsiteY1495" fmla="*/ 4394881 h 6858290"/>
              <a:gd name="connsiteX1496" fmla="*/ 945475 w 12139750"/>
              <a:gd name="connsiteY1496" fmla="*/ 4452105 h 6858290"/>
              <a:gd name="connsiteX1497" fmla="*/ 603977 w 12139750"/>
              <a:gd name="connsiteY1497" fmla="*/ 4598979 h 6858290"/>
              <a:gd name="connsiteX1498" fmla="*/ 546743 w 12139750"/>
              <a:gd name="connsiteY1498" fmla="*/ 4576090 h 6858290"/>
              <a:gd name="connsiteX1499" fmla="*/ 542927 w 12139750"/>
              <a:gd name="connsiteY1499" fmla="*/ 4558923 h 6858290"/>
              <a:gd name="connsiteX1500" fmla="*/ 569637 w 12139750"/>
              <a:gd name="connsiteY1500" fmla="*/ 4518866 h 6858290"/>
              <a:gd name="connsiteX1501" fmla="*/ 909226 w 12139750"/>
              <a:gd name="connsiteY1501" fmla="*/ 4371991 h 6858290"/>
              <a:gd name="connsiteX1502" fmla="*/ 943805 w 12139750"/>
              <a:gd name="connsiteY1502" fmla="*/ 4371276 h 6858290"/>
              <a:gd name="connsiteX1503" fmla="*/ 4841668 w 12139750"/>
              <a:gd name="connsiteY1503" fmla="*/ 4359082 h 6858290"/>
              <a:gd name="connsiteX1504" fmla="*/ 4883197 w 12139750"/>
              <a:gd name="connsiteY1504" fmla="*/ 4387173 h 6858290"/>
              <a:gd name="connsiteX1505" fmla="*/ 4856524 w 12139750"/>
              <a:gd name="connsiteY1505" fmla="*/ 4448053 h 6858290"/>
              <a:gd name="connsiteX1506" fmla="*/ 4517434 w 12139750"/>
              <a:gd name="connsiteY1506" fmla="*/ 4583129 h 6858290"/>
              <a:gd name="connsiteX1507" fmla="*/ 4456473 w 12139750"/>
              <a:gd name="connsiteY1507" fmla="*/ 4556495 h 6858290"/>
              <a:gd name="connsiteX1508" fmla="*/ 4454569 w 12139750"/>
              <a:gd name="connsiteY1508" fmla="*/ 4539372 h 6858290"/>
              <a:gd name="connsiteX1509" fmla="*/ 4483145 w 12139750"/>
              <a:gd name="connsiteY1509" fmla="*/ 4497518 h 6858290"/>
              <a:gd name="connsiteX1510" fmla="*/ 4824132 w 12139750"/>
              <a:gd name="connsiteY1510" fmla="*/ 4362441 h 6858290"/>
              <a:gd name="connsiteX1511" fmla="*/ 4841668 w 12139750"/>
              <a:gd name="connsiteY1511" fmla="*/ 4359082 h 6858290"/>
              <a:gd name="connsiteX1512" fmla="*/ 1477208 w 12139750"/>
              <a:gd name="connsiteY1512" fmla="*/ 4359082 h 6858290"/>
              <a:gd name="connsiteX1513" fmla="*/ 1517660 w 12139750"/>
              <a:gd name="connsiteY1513" fmla="*/ 4387173 h 6858290"/>
              <a:gd name="connsiteX1514" fmla="*/ 1492894 w 12139750"/>
              <a:gd name="connsiteY1514" fmla="*/ 4448053 h 6858290"/>
              <a:gd name="connsiteX1515" fmla="*/ 1151895 w 12139750"/>
              <a:gd name="connsiteY1515" fmla="*/ 4583129 h 6858290"/>
              <a:gd name="connsiteX1516" fmla="*/ 1092840 w 12139750"/>
              <a:gd name="connsiteY1516" fmla="*/ 4556495 h 6858290"/>
              <a:gd name="connsiteX1517" fmla="*/ 1089029 w 12139750"/>
              <a:gd name="connsiteY1517" fmla="*/ 4539372 h 6858290"/>
              <a:gd name="connsiteX1518" fmla="*/ 1117605 w 12139750"/>
              <a:gd name="connsiteY1518" fmla="*/ 4497518 h 6858290"/>
              <a:gd name="connsiteX1519" fmla="*/ 1458604 w 12139750"/>
              <a:gd name="connsiteY1519" fmla="*/ 4362441 h 6858290"/>
              <a:gd name="connsiteX1520" fmla="*/ 1477208 w 12139750"/>
              <a:gd name="connsiteY1520" fmla="*/ 4359082 h 6858290"/>
              <a:gd name="connsiteX1521" fmla="*/ 4284027 w 12139750"/>
              <a:gd name="connsiteY1521" fmla="*/ 4349919 h 6858290"/>
              <a:gd name="connsiteX1522" fmla="*/ 4325998 w 12139750"/>
              <a:gd name="connsiteY1522" fmla="*/ 4381660 h 6858290"/>
              <a:gd name="connsiteX1523" fmla="*/ 4297483 w 12139750"/>
              <a:gd name="connsiteY1523" fmla="*/ 4442870 h 6858290"/>
              <a:gd name="connsiteX1524" fmla="*/ 3957235 w 12139750"/>
              <a:gd name="connsiteY1524" fmla="*/ 4569116 h 6858290"/>
              <a:gd name="connsiteX1525" fmla="*/ 3896403 w 12139750"/>
              <a:gd name="connsiteY1525" fmla="*/ 4538511 h 6858290"/>
              <a:gd name="connsiteX1526" fmla="*/ 3892602 w 12139750"/>
              <a:gd name="connsiteY1526" fmla="*/ 4523208 h 6858290"/>
              <a:gd name="connsiteX1527" fmla="*/ 3924918 w 12139750"/>
              <a:gd name="connsiteY1527" fmla="*/ 4477301 h 6858290"/>
              <a:gd name="connsiteX1528" fmla="*/ 4265165 w 12139750"/>
              <a:gd name="connsiteY1528" fmla="*/ 4352968 h 6858290"/>
              <a:gd name="connsiteX1529" fmla="*/ 4284027 w 12139750"/>
              <a:gd name="connsiteY1529" fmla="*/ 4349919 h 6858290"/>
              <a:gd name="connsiteX1530" fmla="*/ 2029782 w 12139750"/>
              <a:gd name="connsiteY1530" fmla="*/ 4349919 h 6858290"/>
              <a:gd name="connsiteX1531" fmla="*/ 2073629 w 12139750"/>
              <a:gd name="connsiteY1531" fmla="*/ 4381660 h 6858290"/>
              <a:gd name="connsiteX1532" fmla="*/ 2045109 w 12139750"/>
              <a:gd name="connsiteY1532" fmla="*/ 4442870 h 6858290"/>
              <a:gd name="connsiteX1533" fmla="*/ 1702940 w 12139750"/>
              <a:gd name="connsiteY1533" fmla="*/ 4569116 h 6858290"/>
              <a:gd name="connsiteX1534" fmla="*/ 1642110 w 12139750"/>
              <a:gd name="connsiteY1534" fmla="*/ 4538511 h 6858290"/>
              <a:gd name="connsiteX1535" fmla="*/ 1638308 w 12139750"/>
              <a:gd name="connsiteY1535" fmla="*/ 4523208 h 6858290"/>
              <a:gd name="connsiteX1536" fmla="*/ 1670624 w 12139750"/>
              <a:gd name="connsiteY1536" fmla="*/ 4477301 h 6858290"/>
              <a:gd name="connsiteX1537" fmla="*/ 2010892 w 12139750"/>
              <a:gd name="connsiteY1537" fmla="*/ 4352968 h 6858290"/>
              <a:gd name="connsiteX1538" fmla="*/ 2029782 w 12139750"/>
              <a:gd name="connsiteY1538" fmla="*/ 4349919 h 6858290"/>
              <a:gd name="connsiteX1539" fmla="*/ 3722769 w 12139750"/>
              <a:gd name="connsiteY1539" fmla="*/ 4341198 h 6858290"/>
              <a:gd name="connsiteX1540" fmla="*/ 3765602 w 12139750"/>
              <a:gd name="connsiteY1540" fmla="*/ 4375585 h 6858290"/>
              <a:gd name="connsiteX1541" fmla="*/ 3733240 w 12139750"/>
              <a:gd name="connsiteY1541" fmla="*/ 4438627 h 6858290"/>
              <a:gd name="connsiteX1542" fmla="*/ 3392498 w 12139750"/>
              <a:gd name="connsiteY1542" fmla="*/ 4551340 h 6858290"/>
              <a:gd name="connsiteX1543" fmla="*/ 3329674 w 12139750"/>
              <a:gd name="connsiteY1543" fmla="*/ 4518863 h 6858290"/>
              <a:gd name="connsiteX1544" fmla="*/ 3325864 w 12139750"/>
              <a:gd name="connsiteY1544" fmla="*/ 4503580 h 6858290"/>
              <a:gd name="connsiteX1545" fmla="*/ 3360130 w 12139750"/>
              <a:gd name="connsiteY1545" fmla="*/ 4455821 h 6858290"/>
              <a:gd name="connsiteX1546" fmla="*/ 3702782 w 12139750"/>
              <a:gd name="connsiteY1546" fmla="*/ 4343108 h 6858290"/>
              <a:gd name="connsiteX1547" fmla="*/ 3722769 w 12139750"/>
              <a:gd name="connsiteY1547" fmla="*/ 4341198 h 6858290"/>
              <a:gd name="connsiteX1548" fmla="*/ 2589270 w 12139750"/>
              <a:gd name="connsiteY1548" fmla="*/ 4341198 h 6858290"/>
              <a:gd name="connsiteX1549" fmla="*/ 2632103 w 12139750"/>
              <a:gd name="connsiteY1549" fmla="*/ 4375585 h 6858290"/>
              <a:gd name="connsiteX1550" fmla="*/ 2599739 w 12139750"/>
              <a:gd name="connsiteY1550" fmla="*/ 4438627 h 6858290"/>
              <a:gd name="connsiteX1551" fmla="*/ 2258981 w 12139750"/>
              <a:gd name="connsiteY1551" fmla="*/ 4551340 h 6858290"/>
              <a:gd name="connsiteX1552" fmla="*/ 2196160 w 12139750"/>
              <a:gd name="connsiteY1552" fmla="*/ 4518863 h 6858290"/>
              <a:gd name="connsiteX1553" fmla="*/ 2192353 w 12139750"/>
              <a:gd name="connsiteY1553" fmla="*/ 4503580 h 6858290"/>
              <a:gd name="connsiteX1554" fmla="*/ 2226618 w 12139750"/>
              <a:gd name="connsiteY1554" fmla="*/ 4455821 h 6858290"/>
              <a:gd name="connsiteX1555" fmla="*/ 2569281 w 12139750"/>
              <a:gd name="connsiteY1555" fmla="*/ 4343108 h 6858290"/>
              <a:gd name="connsiteX1556" fmla="*/ 2589270 w 12139750"/>
              <a:gd name="connsiteY1556" fmla="*/ 4341198 h 6858290"/>
              <a:gd name="connsiteX1557" fmla="*/ 3152169 w 12139750"/>
              <a:gd name="connsiteY1557" fmla="*/ 4331993 h 6858290"/>
              <a:gd name="connsiteX1558" fmla="*/ 3195709 w 12139750"/>
              <a:gd name="connsiteY1558" fmla="*/ 4369821 h 6858290"/>
              <a:gd name="connsiteX1559" fmla="*/ 3161515 w 12139750"/>
              <a:gd name="connsiteY1559" fmla="*/ 4434686 h 6858290"/>
              <a:gd name="connsiteX1560" fmla="*/ 2819566 w 12139750"/>
              <a:gd name="connsiteY1560" fmla="*/ 4535799 h 6858290"/>
              <a:gd name="connsiteX1561" fmla="*/ 2753078 w 12139750"/>
              <a:gd name="connsiteY1561" fmla="*/ 4499551 h 6858290"/>
              <a:gd name="connsiteX1562" fmla="*/ 2751179 w 12139750"/>
              <a:gd name="connsiteY1562" fmla="*/ 4486196 h 6858290"/>
              <a:gd name="connsiteX1563" fmla="*/ 2789170 w 12139750"/>
              <a:gd name="connsiteY1563" fmla="*/ 4434686 h 6858290"/>
              <a:gd name="connsiteX1564" fmla="*/ 3131122 w 12139750"/>
              <a:gd name="connsiteY1564" fmla="*/ 4333573 h 6858290"/>
              <a:gd name="connsiteX1565" fmla="*/ 3152169 w 12139750"/>
              <a:gd name="connsiteY1565" fmla="*/ 4331993 h 6858290"/>
              <a:gd name="connsiteX1566" fmla="*/ 9861856 w 12139750"/>
              <a:gd name="connsiteY1566" fmla="*/ 4113368 h 6858290"/>
              <a:gd name="connsiteX1567" fmla="*/ 9877547 w 12139750"/>
              <a:gd name="connsiteY1567" fmla="*/ 4123348 h 6858290"/>
              <a:gd name="connsiteX1568" fmla="*/ 9873743 w 12139750"/>
              <a:gd name="connsiteY1568" fmla="*/ 4157568 h 6858290"/>
              <a:gd name="connsiteX1569" fmla="*/ 9540914 w 12139750"/>
              <a:gd name="connsiteY1569" fmla="*/ 4410411 h 6858290"/>
              <a:gd name="connsiteX1570" fmla="*/ 9506680 w 12139750"/>
              <a:gd name="connsiteY1570" fmla="*/ 4404708 h 6858290"/>
              <a:gd name="connsiteX1571" fmla="*/ 9502876 w 12139750"/>
              <a:gd name="connsiteY1571" fmla="*/ 4391401 h 6858290"/>
              <a:gd name="connsiteX1572" fmla="*/ 9512385 w 12139750"/>
              <a:gd name="connsiteY1572" fmla="*/ 4370489 h 6858290"/>
              <a:gd name="connsiteX1573" fmla="*/ 9843313 w 12139750"/>
              <a:gd name="connsiteY1573" fmla="*/ 4117645 h 6858290"/>
              <a:gd name="connsiteX1574" fmla="*/ 9861856 w 12139750"/>
              <a:gd name="connsiteY1574" fmla="*/ 4113368 h 6858290"/>
              <a:gd name="connsiteX1575" fmla="*/ 10446896 w 12139750"/>
              <a:gd name="connsiteY1575" fmla="*/ 4105427 h 6858290"/>
              <a:gd name="connsiteX1576" fmla="*/ 10465232 w 12139750"/>
              <a:gd name="connsiteY1576" fmla="*/ 4115397 h 6858290"/>
              <a:gd name="connsiteX1577" fmla="*/ 10459517 w 12139750"/>
              <a:gd name="connsiteY1577" fmla="*/ 4153376 h 6858290"/>
              <a:gd name="connsiteX1578" fmla="*/ 10124233 w 12139750"/>
              <a:gd name="connsiteY1578" fmla="*/ 4392647 h 6858290"/>
              <a:gd name="connsiteX1579" fmla="*/ 10088037 w 12139750"/>
              <a:gd name="connsiteY1579" fmla="*/ 4386950 h 6858290"/>
              <a:gd name="connsiteX1580" fmla="*/ 10082322 w 12139750"/>
              <a:gd name="connsiteY1580" fmla="*/ 4369859 h 6858290"/>
              <a:gd name="connsiteX1581" fmla="*/ 10093752 w 12139750"/>
              <a:gd name="connsiteY1581" fmla="*/ 4348970 h 6858290"/>
              <a:gd name="connsiteX1582" fmla="*/ 10427131 w 12139750"/>
              <a:gd name="connsiteY1582" fmla="*/ 4109700 h 6858290"/>
              <a:gd name="connsiteX1583" fmla="*/ 10446896 w 12139750"/>
              <a:gd name="connsiteY1583" fmla="*/ 4105427 h 6858290"/>
              <a:gd name="connsiteX1584" fmla="*/ 9286179 w 12139750"/>
              <a:gd name="connsiteY1584" fmla="*/ 4105427 h 6858290"/>
              <a:gd name="connsiteX1585" fmla="*/ 9302848 w 12139750"/>
              <a:gd name="connsiteY1585" fmla="*/ 4115397 h 6858290"/>
              <a:gd name="connsiteX1586" fmla="*/ 9297133 w 12139750"/>
              <a:gd name="connsiteY1586" fmla="*/ 4153376 h 6858290"/>
              <a:gd name="connsiteX1587" fmla="*/ 8963754 w 12139750"/>
              <a:gd name="connsiteY1587" fmla="*/ 4392647 h 6858290"/>
              <a:gd name="connsiteX1588" fmla="*/ 8925653 w 12139750"/>
              <a:gd name="connsiteY1588" fmla="*/ 4386950 h 6858290"/>
              <a:gd name="connsiteX1589" fmla="*/ 8921843 w 12139750"/>
              <a:gd name="connsiteY1589" fmla="*/ 4369859 h 6858290"/>
              <a:gd name="connsiteX1590" fmla="*/ 8931368 w 12139750"/>
              <a:gd name="connsiteY1590" fmla="*/ 4348970 h 6858290"/>
              <a:gd name="connsiteX1591" fmla="*/ 9266652 w 12139750"/>
              <a:gd name="connsiteY1591" fmla="*/ 4109700 h 6858290"/>
              <a:gd name="connsiteX1592" fmla="*/ 9286179 w 12139750"/>
              <a:gd name="connsiteY1592" fmla="*/ 4105427 h 6858290"/>
              <a:gd name="connsiteX1593" fmla="*/ 11024810 w 12139750"/>
              <a:gd name="connsiteY1593" fmla="*/ 4097347 h 6858290"/>
              <a:gd name="connsiteX1594" fmla="*/ 11044352 w 12139750"/>
              <a:gd name="connsiteY1594" fmla="*/ 4109742 h 6858290"/>
              <a:gd name="connsiteX1595" fmla="*/ 11036726 w 12139750"/>
              <a:gd name="connsiteY1595" fmla="*/ 4149791 h 6858290"/>
              <a:gd name="connsiteX1596" fmla="*/ 10701174 w 12139750"/>
              <a:gd name="connsiteY1596" fmla="*/ 4376731 h 6858290"/>
              <a:gd name="connsiteX1597" fmla="*/ 10659230 w 12139750"/>
              <a:gd name="connsiteY1597" fmla="*/ 4369103 h 6858290"/>
              <a:gd name="connsiteX1598" fmla="*/ 10655417 w 12139750"/>
              <a:gd name="connsiteY1598" fmla="*/ 4351940 h 6858290"/>
              <a:gd name="connsiteX1599" fmla="*/ 10668763 w 12139750"/>
              <a:gd name="connsiteY1599" fmla="*/ 4327148 h 6858290"/>
              <a:gd name="connsiteX1600" fmla="*/ 11002408 w 12139750"/>
              <a:gd name="connsiteY1600" fmla="*/ 4102114 h 6858290"/>
              <a:gd name="connsiteX1601" fmla="*/ 11024810 w 12139750"/>
              <a:gd name="connsiteY1601" fmla="*/ 4097347 h 6858290"/>
              <a:gd name="connsiteX1602" fmla="*/ 8715681 w 12139750"/>
              <a:gd name="connsiteY1602" fmla="*/ 4097347 h 6858290"/>
              <a:gd name="connsiteX1603" fmla="*/ 8734508 w 12139750"/>
              <a:gd name="connsiteY1603" fmla="*/ 4109742 h 6858290"/>
              <a:gd name="connsiteX1604" fmla="*/ 8726882 w 12139750"/>
              <a:gd name="connsiteY1604" fmla="*/ 4149791 h 6858290"/>
              <a:gd name="connsiteX1605" fmla="*/ 8391330 w 12139750"/>
              <a:gd name="connsiteY1605" fmla="*/ 4376731 h 6858290"/>
              <a:gd name="connsiteX1606" fmla="*/ 8351293 w 12139750"/>
              <a:gd name="connsiteY1606" fmla="*/ 4369103 h 6858290"/>
              <a:gd name="connsiteX1607" fmla="*/ 8345573 w 12139750"/>
              <a:gd name="connsiteY1607" fmla="*/ 4351940 h 6858290"/>
              <a:gd name="connsiteX1608" fmla="*/ 8358919 w 12139750"/>
              <a:gd name="connsiteY1608" fmla="*/ 4327148 h 6858290"/>
              <a:gd name="connsiteX1609" fmla="*/ 8692564 w 12139750"/>
              <a:gd name="connsiteY1609" fmla="*/ 4102114 h 6858290"/>
              <a:gd name="connsiteX1610" fmla="*/ 8715681 w 12139750"/>
              <a:gd name="connsiteY1610" fmla="*/ 4097347 h 6858290"/>
              <a:gd name="connsiteX1611" fmla="*/ 11596149 w 12139750"/>
              <a:gd name="connsiteY1611" fmla="*/ 4089007 h 6858290"/>
              <a:gd name="connsiteX1612" fmla="*/ 11615883 w 12139750"/>
              <a:gd name="connsiteY1612" fmla="*/ 4104009 h 6858290"/>
              <a:gd name="connsiteX1613" fmla="*/ 11606373 w 12139750"/>
              <a:gd name="connsiteY1613" fmla="*/ 4147824 h 6858290"/>
              <a:gd name="connsiteX1614" fmla="*/ 11271615 w 12139750"/>
              <a:gd name="connsiteY1614" fmla="*/ 4359279 h 6858290"/>
              <a:gd name="connsiteX1615" fmla="*/ 11227868 w 12139750"/>
              <a:gd name="connsiteY1615" fmla="*/ 4349754 h 6858290"/>
              <a:gd name="connsiteX1616" fmla="*/ 11222162 w 12139750"/>
              <a:gd name="connsiteY1616" fmla="*/ 4332609 h 6858290"/>
              <a:gd name="connsiteX1617" fmla="*/ 11237378 w 12139750"/>
              <a:gd name="connsiteY1617" fmla="*/ 4305939 h 6858290"/>
              <a:gd name="connsiteX1618" fmla="*/ 11572136 w 12139750"/>
              <a:gd name="connsiteY1618" fmla="*/ 4092579 h 6858290"/>
              <a:gd name="connsiteX1619" fmla="*/ 11596149 w 12139750"/>
              <a:gd name="connsiteY1619" fmla="*/ 4089007 h 6858290"/>
              <a:gd name="connsiteX1620" fmla="*/ 8152699 w 12139750"/>
              <a:gd name="connsiteY1620" fmla="*/ 4089007 h 6858290"/>
              <a:gd name="connsiteX1621" fmla="*/ 8172510 w 12139750"/>
              <a:gd name="connsiteY1621" fmla="*/ 4104009 h 6858290"/>
              <a:gd name="connsiteX1622" fmla="*/ 8162963 w 12139750"/>
              <a:gd name="connsiteY1622" fmla="*/ 4147824 h 6858290"/>
              <a:gd name="connsiteX1623" fmla="*/ 7824978 w 12139750"/>
              <a:gd name="connsiteY1623" fmla="*/ 4359279 h 6858290"/>
              <a:gd name="connsiteX1624" fmla="*/ 7781059 w 12139750"/>
              <a:gd name="connsiteY1624" fmla="*/ 4349754 h 6858290"/>
              <a:gd name="connsiteX1625" fmla="*/ 7777240 w 12139750"/>
              <a:gd name="connsiteY1625" fmla="*/ 4332609 h 6858290"/>
              <a:gd name="connsiteX1626" fmla="*/ 7792516 w 12139750"/>
              <a:gd name="connsiteY1626" fmla="*/ 4305939 h 6858290"/>
              <a:gd name="connsiteX1627" fmla="*/ 8128591 w 12139750"/>
              <a:gd name="connsiteY1627" fmla="*/ 4092579 h 6858290"/>
              <a:gd name="connsiteX1628" fmla="*/ 8152699 w 12139750"/>
              <a:gd name="connsiteY1628" fmla="*/ 4089007 h 6858290"/>
              <a:gd name="connsiteX1629" fmla="*/ 12139750 w 12139750"/>
              <a:gd name="connsiteY1629" fmla="*/ 4083054 h 6858290"/>
              <a:gd name="connsiteX1630" fmla="*/ 12139750 w 12139750"/>
              <a:gd name="connsiteY1630" fmla="*/ 4162969 h 6858290"/>
              <a:gd name="connsiteX1631" fmla="*/ 11834405 w 12139750"/>
              <a:gd name="connsiteY1631" fmla="*/ 4341828 h 6858290"/>
              <a:gd name="connsiteX1632" fmla="*/ 11786695 w 12139750"/>
              <a:gd name="connsiteY1632" fmla="*/ 4330411 h 6858290"/>
              <a:gd name="connsiteX1633" fmla="*/ 11780970 w 12139750"/>
              <a:gd name="connsiteY1633" fmla="*/ 4313287 h 6858290"/>
              <a:gd name="connsiteX1634" fmla="*/ 11798146 w 12139750"/>
              <a:gd name="connsiteY1634" fmla="*/ 4282843 h 6858290"/>
              <a:gd name="connsiteX1635" fmla="*/ 12135933 w 12139750"/>
              <a:gd name="connsiteY1635" fmla="*/ 4084957 h 6858290"/>
              <a:gd name="connsiteX1636" fmla="*/ 12139750 w 12139750"/>
              <a:gd name="connsiteY1636" fmla="*/ 4083054 h 6858290"/>
              <a:gd name="connsiteX1637" fmla="*/ 7594358 w 12139750"/>
              <a:gd name="connsiteY1637" fmla="*/ 4081069 h 6858290"/>
              <a:gd name="connsiteX1638" fmla="*/ 7615314 w 12139750"/>
              <a:gd name="connsiteY1638" fmla="*/ 4096071 h 6858290"/>
              <a:gd name="connsiteX1639" fmla="*/ 7603883 w 12139750"/>
              <a:gd name="connsiteY1639" fmla="*/ 4143696 h 6858290"/>
              <a:gd name="connsiteX1640" fmla="*/ 7266694 w 12139750"/>
              <a:gd name="connsiteY1640" fmla="*/ 4341816 h 6858290"/>
              <a:gd name="connsiteX1641" fmla="*/ 7219068 w 12139750"/>
              <a:gd name="connsiteY1641" fmla="*/ 4330386 h 6858290"/>
              <a:gd name="connsiteX1642" fmla="*/ 7215258 w 12139750"/>
              <a:gd name="connsiteY1642" fmla="*/ 4313241 h 6858290"/>
              <a:gd name="connsiteX1643" fmla="*/ 7232403 w 12139750"/>
              <a:gd name="connsiteY1643" fmla="*/ 4282761 h 6858290"/>
              <a:gd name="connsiteX1644" fmla="*/ 7567688 w 12139750"/>
              <a:gd name="connsiteY1644" fmla="*/ 4084641 h 6858290"/>
              <a:gd name="connsiteX1645" fmla="*/ 7594358 w 12139750"/>
              <a:gd name="connsiteY1645" fmla="*/ 4081069 h 6858290"/>
              <a:gd name="connsiteX1646" fmla="*/ 7045448 w 12139750"/>
              <a:gd name="connsiteY1646" fmla="*/ 4072718 h 6858290"/>
              <a:gd name="connsiteX1647" fmla="*/ 7067610 w 12139750"/>
              <a:gd name="connsiteY1647" fmla="*/ 4090298 h 6858290"/>
              <a:gd name="connsiteX1648" fmla="*/ 7052359 w 12139750"/>
              <a:gd name="connsiteY1648" fmla="*/ 4141612 h 6858290"/>
              <a:gd name="connsiteX1649" fmla="*/ 6714913 w 12139750"/>
              <a:gd name="connsiteY1649" fmla="*/ 4325963 h 6858290"/>
              <a:gd name="connsiteX1650" fmla="*/ 6665344 w 12139750"/>
              <a:gd name="connsiteY1650" fmla="*/ 4310759 h 6858290"/>
              <a:gd name="connsiteX1651" fmla="*/ 6659625 w 12139750"/>
              <a:gd name="connsiteY1651" fmla="*/ 4293654 h 6858290"/>
              <a:gd name="connsiteX1652" fmla="*/ 6678689 w 12139750"/>
              <a:gd name="connsiteY1652" fmla="*/ 4259445 h 6858290"/>
              <a:gd name="connsiteX1653" fmla="*/ 7016136 w 12139750"/>
              <a:gd name="connsiteY1653" fmla="*/ 4075094 h 6858290"/>
              <a:gd name="connsiteX1654" fmla="*/ 7045448 w 12139750"/>
              <a:gd name="connsiteY1654" fmla="*/ 4072718 h 6858290"/>
              <a:gd name="connsiteX1655" fmla="*/ 6500048 w 12139750"/>
              <a:gd name="connsiteY1655" fmla="*/ 4065063 h 6858290"/>
              <a:gd name="connsiteX1656" fmla="*/ 6523112 w 12139750"/>
              <a:gd name="connsiteY1656" fmla="*/ 4084421 h 6858290"/>
              <a:gd name="connsiteX1657" fmla="*/ 6505992 w 12139750"/>
              <a:gd name="connsiteY1657" fmla="*/ 4137956 h 6858290"/>
              <a:gd name="connsiteX1658" fmla="*/ 6167407 w 12139750"/>
              <a:gd name="connsiteY1658" fmla="*/ 4310032 h 6858290"/>
              <a:gd name="connsiteX1659" fmla="*/ 6114146 w 12139750"/>
              <a:gd name="connsiteY1659" fmla="*/ 4292824 h 6858290"/>
              <a:gd name="connsiteX1660" fmla="*/ 6110342 w 12139750"/>
              <a:gd name="connsiteY1660" fmla="*/ 4273705 h 6858290"/>
              <a:gd name="connsiteX1661" fmla="*/ 6131266 w 12139750"/>
              <a:gd name="connsiteY1661" fmla="*/ 4239290 h 6858290"/>
              <a:gd name="connsiteX1662" fmla="*/ 6469851 w 12139750"/>
              <a:gd name="connsiteY1662" fmla="*/ 4067214 h 6858290"/>
              <a:gd name="connsiteX1663" fmla="*/ 6500048 w 12139750"/>
              <a:gd name="connsiteY1663" fmla="*/ 4065063 h 6858290"/>
              <a:gd name="connsiteX1664" fmla="*/ 5941056 w 12139750"/>
              <a:gd name="connsiteY1664" fmla="*/ 4054783 h 6858290"/>
              <a:gd name="connsiteX1665" fmla="*/ 5980168 w 12139750"/>
              <a:gd name="connsiteY1665" fmla="*/ 4078685 h 6858290"/>
              <a:gd name="connsiteX1666" fmla="*/ 5961117 w 12139750"/>
              <a:gd name="connsiteY1666" fmla="*/ 4135978 h 6858290"/>
              <a:gd name="connsiteX1667" fmla="*/ 5622030 w 12139750"/>
              <a:gd name="connsiteY1667" fmla="*/ 4292580 h 6858290"/>
              <a:gd name="connsiteX1668" fmla="*/ 5564881 w 12139750"/>
              <a:gd name="connsiteY1668" fmla="*/ 4271572 h 6858290"/>
              <a:gd name="connsiteX1669" fmla="*/ 5561071 w 12139750"/>
              <a:gd name="connsiteY1669" fmla="*/ 4254384 h 6858290"/>
              <a:gd name="connsiteX1670" fmla="*/ 5585836 w 12139750"/>
              <a:gd name="connsiteY1670" fmla="*/ 4216189 h 6858290"/>
              <a:gd name="connsiteX1671" fmla="*/ 5924922 w 12139750"/>
              <a:gd name="connsiteY1671" fmla="*/ 4059588 h 6858290"/>
              <a:gd name="connsiteX1672" fmla="*/ 5941056 w 12139750"/>
              <a:gd name="connsiteY1672" fmla="*/ 4054783 h 6858290"/>
              <a:gd name="connsiteX1673" fmla="*/ 383168 w 12139750"/>
              <a:gd name="connsiteY1673" fmla="*/ 4054783 h 6858290"/>
              <a:gd name="connsiteX1674" fmla="*/ 422281 w 12139750"/>
              <a:gd name="connsiteY1674" fmla="*/ 4078685 h 6858290"/>
              <a:gd name="connsiteX1675" fmla="*/ 401325 w 12139750"/>
              <a:gd name="connsiteY1675" fmla="*/ 4135978 h 6858290"/>
              <a:gd name="connsiteX1676" fmla="*/ 62231 w 12139750"/>
              <a:gd name="connsiteY1676" fmla="*/ 4292580 h 6858290"/>
              <a:gd name="connsiteX1677" fmla="*/ 6986 w 12139750"/>
              <a:gd name="connsiteY1677" fmla="*/ 4271572 h 6858290"/>
              <a:gd name="connsiteX1678" fmla="*/ 3176 w 12139750"/>
              <a:gd name="connsiteY1678" fmla="*/ 4254384 h 6858290"/>
              <a:gd name="connsiteX1679" fmla="*/ 27941 w 12139750"/>
              <a:gd name="connsiteY1679" fmla="*/ 4216189 h 6858290"/>
              <a:gd name="connsiteX1680" fmla="*/ 367035 w 12139750"/>
              <a:gd name="connsiteY1680" fmla="*/ 4059588 h 6858290"/>
              <a:gd name="connsiteX1681" fmla="*/ 383168 w 12139750"/>
              <a:gd name="connsiteY1681" fmla="*/ 4054783 h 6858290"/>
              <a:gd name="connsiteX1682" fmla="*/ 5394099 w 12139750"/>
              <a:gd name="connsiteY1682" fmla="*/ 4046339 h 6858290"/>
              <a:gd name="connsiteX1683" fmla="*/ 5435652 w 12139750"/>
              <a:gd name="connsiteY1683" fmla="*/ 4072660 h 6858290"/>
              <a:gd name="connsiteX1684" fmla="*/ 5410870 w 12139750"/>
              <a:gd name="connsiteY1684" fmla="*/ 4131869 h 6858290"/>
              <a:gd name="connsiteX1685" fmla="*/ 5071527 w 12139750"/>
              <a:gd name="connsiteY1685" fmla="*/ 4275116 h 6858290"/>
              <a:gd name="connsiteX1686" fmla="*/ 5012435 w 12139750"/>
              <a:gd name="connsiteY1686" fmla="*/ 4252196 h 6858290"/>
              <a:gd name="connsiteX1687" fmla="*/ 5008623 w 12139750"/>
              <a:gd name="connsiteY1687" fmla="*/ 4235007 h 6858290"/>
              <a:gd name="connsiteX1688" fmla="*/ 5037215 w 12139750"/>
              <a:gd name="connsiteY1688" fmla="*/ 4192988 h 6858290"/>
              <a:gd name="connsiteX1689" fmla="*/ 5376554 w 12139750"/>
              <a:gd name="connsiteY1689" fmla="*/ 4049741 h 6858290"/>
              <a:gd name="connsiteX1690" fmla="*/ 5394099 w 12139750"/>
              <a:gd name="connsiteY1690" fmla="*/ 4046339 h 6858290"/>
              <a:gd name="connsiteX1691" fmla="*/ 926784 w 12139750"/>
              <a:gd name="connsiteY1691" fmla="*/ 4046338 h 6858290"/>
              <a:gd name="connsiteX1692" fmla="*/ 968368 w 12139750"/>
              <a:gd name="connsiteY1692" fmla="*/ 4072660 h 6858290"/>
              <a:gd name="connsiteX1693" fmla="*/ 945475 w 12139750"/>
              <a:gd name="connsiteY1693" fmla="*/ 4131869 h 6858290"/>
              <a:gd name="connsiteX1694" fmla="*/ 603977 w 12139750"/>
              <a:gd name="connsiteY1694" fmla="*/ 4275116 h 6858290"/>
              <a:gd name="connsiteX1695" fmla="*/ 544835 w 12139750"/>
              <a:gd name="connsiteY1695" fmla="*/ 4252196 h 6858290"/>
              <a:gd name="connsiteX1696" fmla="*/ 542927 w 12139750"/>
              <a:gd name="connsiteY1696" fmla="*/ 4235007 h 6858290"/>
              <a:gd name="connsiteX1697" fmla="*/ 569637 w 12139750"/>
              <a:gd name="connsiteY1697" fmla="*/ 4192988 h 6858290"/>
              <a:gd name="connsiteX1698" fmla="*/ 909226 w 12139750"/>
              <a:gd name="connsiteY1698" fmla="*/ 4049741 h 6858290"/>
              <a:gd name="connsiteX1699" fmla="*/ 926784 w 12139750"/>
              <a:gd name="connsiteY1699" fmla="*/ 4046338 h 6858290"/>
              <a:gd name="connsiteX1700" fmla="*/ 4823918 w 12139750"/>
              <a:gd name="connsiteY1700" fmla="*/ 4041420 h 6858290"/>
              <a:gd name="connsiteX1701" fmla="*/ 4884801 w 12139750"/>
              <a:gd name="connsiteY1701" fmla="*/ 4069841 h 6858290"/>
              <a:gd name="connsiteX1702" fmla="*/ 4856260 w 12139750"/>
              <a:gd name="connsiteY1702" fmla="*/ 4130474 h 6858290"/>
              <a:gd name="connsiteX1703" fmla="*/ 4515756 w 12139750"/>
              <a:gd name="connsiteY1703" fmla="*/ 4259317 h 6858290"/>
              <a:gd name="connsiteX1704" fmla="*/ 4454884 w 12139750"/>
              <a:gd name="connsiteY1704" fmla="*/ 4230896 h 6858290"/>
              <a:gd name="connsiteX1705" fmla="*/ 4452982 w 12139750"/>
              <a:gd name="connsiteY1705" fmla="*/ 4215738 h 6858290"/>
              <a:gd name="connsiteX1706" fmla="*/ 4483418 w 12139750"/>
              <a:gd name="connsiteY1706" fmla="*/ 4170263 h 6858290"/>
              <a:gd name="connsiteX1707" fmla="*/ 4823918 w 12139750"/>
              <a:gd name="connsiteY1707" fmla="*/ 4041420 h 6858290"/>
              <a:gd name="connsiteX1708" fmla="*/ 1458388 w 12139750"/>
              <a:gd name="connsiteY1708" fmla="*/ 4041420 h 6858290"/>
              <a:gd name="connsiteX1709" fmla="*/ 1519261 w 12139750"/>
              <a:gd name="connsiteY1709" fmla="*/ 4069841 h 6858290"/>
              <a:gd name="connsiteX1710" fmla="*/ 1492629 w 12139750"/>
              <a:gd name="connsiteY1710" fmla="*/ 4130474 h 6858290"/>
              <a:gd name="connsiteX1711" fmla="*/ 1152120 w 12139750"/>
              <a:gd name="connsiteY1711" fmla="*/ 4259317 h 6858290"/>
              <a:gd name="connsiteX1712" fmla="*/ 1091247 w 12139750"/>
              <a:gd name="connsiteY1712" fmla="*/ 4230896 h 6858290"/>
              <a:gd name="connsiteX1713" fmla="*/ 1087442 w 12139750"/>
              <a:gd name="connsiteY1713" fmla="*/ 4215738 h 6858290"/>
              <a:gd name="connsiteX1714" fmla="*/ 1117879 w 12139750"/>
              <a:gd name="connsiteY1714" fmla="*/ 4170263 h 6858290"/>
              <a:gd name="connsiteX1715" fmla="*/ 1458388 w 12139750"/>
              <a:gd name="connsiteY1715" fmla="*/ 4041420 h 6858290"/>
              <a:gd name="connsiteX1716" fmla="*/ 4286101 w 12139750"/>
              <a:gd name="connsiteY1716" fmla="*/ 4031102 h 6858290"/>
              <a:gd name="connsiteX1717" fmla="*/ 4329117 w 12139750"/>
              <a:gd name="connsiteY1717" fmla="*/ 4064321 h 6858290"/>
              <a:gd name="connsiteX1718" fmla="*/ 4298528 w 12139750"/>
              <a:gd name="connsiteY1718" fmla="*/ 4127186 h 6858290"/>
              <a:gd name="connsiteX1719" fmla="*/ 3956340 w 12139750"/>
              <a:gd name="connsiteY1719" fmla="*/ 4243391 h 6858290"/>
              <a:gd name="connsiteX1720" fmla="*/ 3893251 w 12139750"/>
              <a:gd name="connsiteY1720" fmla="*/ 4212911 h 6858290"/>
              <a:gd name="connsiteX1721" fmla="*/ 3889424 w 12139750"/>
              <a:gd name="connsiteY1721" fmla="*/ 4195766 h 6858290"/>
              <a:gd name="connsiteX1722" fmla="*/ 3923839 w 12139750"/>
              <a:gd name="connsiteY1722" fmla="*/ 4150046 h 6858290"/>
              <a:gd name="connsiteX1723" fmla="*/ 4266028 w 12139750"/>
              <a:gd name="connsiteY1723" fmla="*/ 4033841 h 6858290"/>
              <a:gd name="connsiteX1724" fmla="*/ 4286101 w 12139750"/>
              <a:gd name="connsiteY1724" fmla="*/ 4031102 h 6858290"/>
              <a:gd name="connsiteX1725" fmla="*/ 2031406 w 12139750"/>
              <a:gd name="connsiteY1725" fmla="*/ 4031102 h 6858290"/>
              <a:gd name="connsiteX1726" fmla="*/ 2075219 w 12139750"/>
              <a:gd name="connsiteY1726" fmla="*/ 4064321 h 6858290"/>
              <a:gd name="connsiteX1727" fmla="*/ 2042922 w 12139750"/>
              <a:gd name="connsiteY1727" fmla="*/ 4127186 h 6858290"/>
              <a:gd name="connsiteX1728" fmla="*/ 1702894 w 12139750"/>
              <a:gd name="connsiteY1728" fmla="*/ 4243391 h 6858290"/>
              <a:gd name="connsiteX1729" fmla="*/ 1640208 w 12139750"/>
              <a:gd name="connsiteY1729" fmla="*/ 4212911 h 6858290"/>
              <a:gd name="connsiteX1730" fmla="*/ 1638308 w 12139750"/>
              <a:gd name="connsiteY1730" fmla="*/ 4195766 h 6858290"/>
              <a:gd name="connsiteX1731" fmla="*/ 1670601 w 12139750"/>
              <a:gd name="connsiteY1731" fmla="*/ 4150046 h 6858290"/>
              <a:gd name="connsiteX1732" fmla="*/ 2012528 w 12139750"/>
              <a:gd name="connsiteY1732" fmla="*/ 4033841 h 6858290"/>
              <a:gd name="connsiteX1733" fmla="*/ 2031406 w 12139750"/>
              <a:gd name="connsiteY1733" fmla="*/ 4031102 h 6858290"/>
              <a:gd name="connsiteX1734" fmla="*/ 3725864 w 12139750"/>
              <a:gd name="connsiteY1734" fmla="*/ 4022421 h 6858290"/>
              <a:gd name="connsiteX1735" fmla="*/ 3770669 w 12139750"/>
              <a:gd name="connsiteY1735" fmla="*/ 4060194 h 6858290"/>
              <a:gd name="connsiteX1736" fmla="*/ 3734420 w 12139750"/>
              <a:gd name="connsiteY1736" fmla="*/ 4124964 h 6858290"/>
              <a:gd name="connsiteX1737" fmla="*/ 3391048 w 12139750"/>
              <a:gd name="connsiteY1737" fmla="*/ 4225929 h 6858290"/>
              <a:gd name="connsiteX1738" fmla="*/ 3326184 w 12139750"/>
              <a:gd name="connsiteY1738" fmla="*/ 4191639 h 6858290"/>
              <a:gd name="connsiteX1739" fmla="*/ 3324277 w 12139750"/>
              <a:gd name="connsiteY1739" fmla="*/ 4176399 h 6858290"/>
              <a:gd name="connsiteX1740" fmla="*/ 3362432 w 12139750"/>
              <a:gd name="connsiteY1740" fmla="*/ 4126869 h 6858290"/>
              <a:gd name="connsiteX1741" fmla="*/ 3705804 w 12139750"/>
              <a:gd name="connsiteY1741" fmla="*/ 4023999 h 6858290"/>
              <a:gd name="connsiteX1742" fmla="*/ 3725864 w 12139750"/>
              <a:gd name="connsiteY1742" fmla="*/ 4022421 h 6858290"/>
              <a:gd name="connsiteX1743" fmla="*/ 2590959 w 12139750"/>
              <a:gd name="connsiteY1743" fmla="*/ 4022421 h 6858290"/>
              <a:gd name="connsiteX1744" fmla="*/ 2635603 w 12139750"/>
              <a:gd name="connsiteY1744" fmla="*/ 4060194 h 6858290"/>
              <a:gd name="connsiteX1745" fmla="*/ 2599484 w 12139750"/>
              <a:gd name="connsiteY1745" fmla="*/ 4124964 h 6858290"/>
              <a:gd name="connsiteX1746" fmla="*/ 2257300 w 12139750"/>
              <a:gd name="connsiteY1746" fmla="*/ 4225929 h 6858290"/>
              <a:gd name="connsiteX1747" fmla="*/ 2192666 w 12139750"/>
              <a:gd name="connsiteY1747" fmla="*/ 4191639 h 6858290"/>
              <a:gd name="connsiteX1748" fmla="*/ 2190765 w 12139750"/>
              <a:gd name="connsiteY1748" fmla="*/ 4176399 h 6858290"/>
              <a:gd name="connsiteX1749" fmla="*/ 2228785 w 12139750"/>
              <a:gd name="connsiteY1749" fmla="*/ 4126869 h 6858290"/>
              <a:gd name="connsiteX1750" fmla="*/ 2570968 w 12139750"/>
              <a:gd name="connsiteY1750" fmla="*/ 4023999 h 6858290"/>
              <a:gd name="connsiteX1751" fmla="*/ 2590959 w 12139750"/>
              <a:gd name="connsiteY1751" fmla="*/ 4022421 h 6858290"/>
              <a:gd name="connsiteX1752" fmla="*/ 3155344 w 12139750"/>
              <a:gd name="connsiteY1752" fmla="*/ 4014781 h 6858290"/>
              <a:gd name="connsiteX1753" fmla="*/ 3200742 w 12139750"/>
              <a:gd name="connsiteY1753" fmla="*/ 4054161 h 6858290"/>
              <a:gd name="connsiteX1754" fmla="*/ 3160626 w 12139750"/>
              <a:gd name="connsiteY1754" fmla="*/ 4120836 h 6858290"/>
              <a:gd name="connsiteX1755" fmla="*/ 2816772 w 12139750"/>
              <a:gd name="connsiteY1755" fmla="*/ 4210371 h 6858290"/>
              <a:gd name="connsiteX1756" fmla="*/ 2749914 w 12139750"/>
              <a:gd name="connsiteY1756" fmla="*/ 4170366 h 6858290"/>
              <a:gd name="connsiteX1757" fmla="*/ 2748002 w 12139750"/>
              <a:gd name="connsiteY1757" fmla="*/ 4157031 h 6858290"/>
              <a:gd name="connsiteX1758" fmla="*/ 2788116 w 12139750"/>
              <a:gd name="connsiteY1758" fmla="*/ 4103691 h 6858290"/>
              <a:gd name="connsiteX1759" fmla="*/ 3133885 w 12139750"/>
              <a:gd name="connsiteY1759" fmla="*/ 4016061 h 6858290"/>
              <a:gd name="connsiteX1760" fmla="*/ 3155344 w 12139750"/>
              <a:gd name="connsiteY1760" fmla="*/ 4014781 h 6858290"/>
              <a:gd name="connsiteX1761" fmla="*/ 9861718 w 12139750"/>
              <a:gd name="connsiteY1761" fmla="*/ 3784929 h 6858290"/>
              <a:gd name="connsiteX1762" fmla="*/ 9876256 w 12139750"/>
              <a:gd name="connsiteY1762" fmla="*/ 3792579 h 6858290"/>
              <a:gd name="connsiteX1763" fmla="*/ 9872442 w 12139750"/>
              <a:gd name="connsiteY1763" fmla="*/ 3823182 h 6858290"/>
              <a:gd name="connsiteX1764" fmla="*/ 9540690 w 12139750"/>
              <a:gd name="connsiteY1764" fmla="*/ 4092865 h 6858290"/>
              <a:gd name="connsiteX1765" fmla="*/ 9510184 w 12139750"/>
              <a:gd name="connsiteY1765" fmla="*/ 4089040 h 6858290"/>
              <a:gd name="connsiteX1766" fmla="*/ 9504464 w 12139750"/>
              <a:gd name="connsiteY1766" fmla="*/ 4075651 h 6858290"/>
              <a:gd name="connsiteX1767" fmla="*/ 9513997 w 12139750"/>
              <a:gd name="connsiteY1767" fmla="*/ 4058438 h 6858290"/>
              <a:gd name="connsiteX1768" fmla="*/ 9845750 w 12139750"/>
              <a:gd name="connsiteY1768" fmla="*/ 3788754 h 6858290"/>
              <a:gd name="connsiteX1769" fmla="*/ 9861718 w 12139750"/>
              <a:gd name="connsiteY1769" fmla="*/ 3784929 h 6858290"/>
              <a:gd name="connsiteX1770" fmla="*/ 10445981 w 12139750"/>
              <a:gd name="connsiteY1770" fmla="*/ 3777074 h 6858290"/>
              <a:gd name="connsiteX1771" fmla="*/ 10461723 w 12139750"/>
              <a:gd name="connsiteY1771" fmla="*/ 3786867 h 6858290"/>
              <a:gd name="connsiteX1772" fmla="*/ 10457907 w 12139750"/>
              <a:gd name="connsiteY1772" fmla="*/ 3821263 h 6858290"/>
              <a:gd name="connsiteX1773" fmla="*/ 10123980 w 12139750"/>
              <a:gd name="connsiteY1773" fmla="*/ 4075410 h 6858290"/>
              <a:gd name="connsiteX1774" fmla="*/ 10089633 w 12139750"/>
              <a:gd name="connsiteY1774" fmla="*/ 4069678 h 6858290"/>
              <a:gd name="connsiteX1775" fmla="*/ 10083909 w 12139750"/>
              <a:gd name="connsiteY1775" fmla="*/ 4054391 h 6858290"/>
              <a:gd name="connsiteX1776" fmla="*/ 10093450 w 12139750"/>
              <a:gd name="connsiteY1776" fmla="*/ 4035282 h 6858290"/>
              <a:gd name="connsiteX1777" fmla="*/ 10427376 w 12139750"/>
              <a:gd name="connsiteY1777" fmla="*/ 3783045 h 6858290"/>
              <a:gd name="connsiteX1778" fmla="*/ 10445981 w 12139750"/>
              <a:gd name="connsiteY1778" fmla="*/ 3777074 h 6858290"/>
              <a:gd name="connsiteX1779" fmla="*/ 9284313 w 12139750"/>
              <a:gd name="connsiteY1779" fmla="*/ 3777074 h 6858290"/>
              <a:gd name="connsiteX1780" fmla="*/ 9300003 w 12139750"/>
              <a:gd name="connsiteY1780" fmla="*/ 3786867 h 6858290"/>
              <a:gd name="connsiteX1781" fmla="*/ 9296200 w 12139750"/>
              <a:gd name="connsiteY1781" fmla="*/ 3821263 h 6858290"/>
              <a:gd name="connsiteX1782" fmla="*/ 8963371 w 12139750"/>
              <a:gd name="connsiteY1782" fmla="*/ 4075410 h 6858290"/>
              <a:gd name="connsiteX1783" fmla="*/ 8929137 w 12139750"/>
              <a:gd name="connsiteY1783" fmla="*/ 4069678 h 6858290"/>
              <a:gd name="connsiteX1784" fmla="*/ 8923431 w 12139750"/>
              <a:gd name="connsiteY1784" fmla="*/ 4054391 h 6858290"/>
              <a:gd name="connsiteX1785" fmla="*/ 8932940 w 12139750"/>
              <a:gd name="connsiteY1785" fmla="*/ 4035282 h 6858290"/>
              <a:gd name="connsiteX1786" fmla="*/ 9265770 w 12139750"/>
              <a:gd name="connsiteY1786" fmla="*/ 3783045 h 6858290"/>
              <a:gd name="connsiteX1787" fmla="*/ 9284313 w 12139750"/>
              <a:gd name="connsiteY1787" fmla="*/ 3777074 h 6858290"/>
              <a:gd name="connsiteX1788" fmla="*/ 8714826 w 12139750"/>
              <a:gd name="connsiteY1788" fmla="*/ 3771656 h 6858290"/>
              <a:gd name="connsiteX1789" fmla="*/ 8733221 w 12139750"/>
              <a:gd name="connsiteY1789" fmla="*/ 3782349 h 6858290"/>
              <a:gd name="connsiteX1790" fmla="*/ 8725576 w 12139750"/>
              <a:gd name="connsiteY1790" fmla="*/ 3820368 h 6858290"/>
              <a:gd name="connsiteX1791" fmla="*/ 8391118 w 12139750"/>
              <a:gd name="connsiteY1791" fmla="*/ 4056086 h 6858290"/>
              <a:gd name="connsiteX1792" fmla="*/ 8352895 w 12139750"/>
              <a:gd name="connsiteY1792" fmla="*/ 4050383 h 6858290"/>
              <a:gd name="connsiteX1793" fmla="*/ 8347161 w 12139750"/>
              <a:gd name="connsiteY1793" fmla="*/ 4035176 h 6858290"/>
              <a:gd name="connsiteX1794" fmla="*/ 8358628 w 12139750"/>
              <a:gd name="connsiteY1794" fmla="*/ 4012364 h 6858290"/>
              <a:gd name="connsiteX1795" fmla="*/ 8694997 w 12139750"/>
              <a:gd name="connsiteY1795" fmla="*/ 3776646 h 6858290"/>
              <a:gd name="connsiteX1796" fmla="*/ 8714826 w 12139750"/>
              <a:gd name="connsiteY1796" fmla="*/ 3771656 h 6858290"/>
              <a:gd name="connsiteX1797" fmla="*/ 11022950 w 12139750"/>
              <a:gd name="connsiteY1797" fmla="*/ 3771656 h 6858290"/>
              <a:gd name="connsiteX1798" fmla="*/ 11041509 w 12139750"/>
              <a:gd name="connsiteY1798" fmla="*/ 3782349 h 6858290"/>
              <a:gd name="connsiteX1799" fmla="*/ 11033895 w 12139750"/>
              <a:gd name="connsiteY1799" fmla="*/ 3820368 h 6858290"/>
              <a:gd name="connsiteX1800" fmla="*/ 10700785 w 12139750"/>
              <a:gd name="connsiteY1800" fmla="*/ 4056086 h 6858290"/>
              <a:gd name="connsiteX1801" fmla="*/ 10662715 w 12139750"/>
              <a:gd name="connsiteY1801" fmla="*/ 4050383 h 6858290"/>
              <a:gd name="connsiteX1802" fmla="*/ 10657005 w 12139750"/>
              <a:gd name="connsiteY1802" fmla="*/ 4035176 h 6858290"/>
              <a:gd name="connsiteX1803" fmla="*/ 10668426 w 12139750"/>
              <a:gd name="connsiteY1803" fmla="*/ 4012364 h 6858290"/>
              <a:gd name="connsiteX1804" fmla="*/ 11001536 w 12139750"/>
              <a:gd name="connsiteY1804" fmla="*/ 3776646 h 6858290"/>
              <a:gd name="connsiteX1805" fmla="*/ 11022950 w 12139750"/>
              <a:gd name="connsiteY1805" fmla="*/ 3771656 h 6858290"/>
              <a:gd name="connsiteX1806" fmla="*/ 8151418 w 12139750"/>
              <a:gd name="connsiteY1806" fmla="*/ 3763955 h 6858290"/>
              <a:gd name="connsiteX1807" fmla="*/ 8170945 w 12139750"/>
              <a:gd name="connsiteY1807" fmla="*/ 3776310 h 6858290"/>
              <a:gd name="connsiteX1808" fmla="*/ 8161420 w 12139750"/>
              <a:gd name="connsiteY1808" fmla="*/ 3820029 h 6858290"/>
              <a:gd name="connsiteX1809" fmla="*/ 7826135 w 12139750"/>
              <a:gd name="connsiteY1809" fmla="*/ 4038624 h 6858290"/>
              <a:gd name="connsiteX1810" fmla="*/ 7784225 w 12139750"/>
              <a:gd name="connsiteY1810" fmla="*/ 4031020 h 6858290"/>
              <a:gd name="connsiteX1811" fmla="*/ 7780415 w 12139750"/>
              <a:gd name="connsiteY1811" fmla="*/ 4013913 h 6858290"/>
              <a:gd name="connsiteX1812" fmla="*/ 7793750 w 12139750"/>
              <a:gd name="connsiteY1812" fmla="*/ 3987302 h 6858290"/>
              <a:gd name="connsiteX1813" fmla="*/ 8129034 w 12139750"/>
              <a:gd name="connsiteY1813" fmla="*/ 3768707 h 6858290"/>
              <a:gd name="connsiteX1814" fmla="*/ 8151418 w 12139750"/>
              <a:gd name="connsiteY1814" fmla="*/ 3763955 h 6858290"/>
              <a:gd name="connsiteX1815" fmla="*/ 11596182 w 12139750"/>
              <a:gd name="connsiteY1815" fmla="*/ 3763955 h 6858290"/>
              <a:gd name="connsiteX1816" fmla="*/ 11614280 w 12139750"/>
              <a:gd name="connsiteY1816" fmla="*/ 3776310 h 6858290"/>
              <a:gd name="connsiteX1817" fmla="*/ 11606660 w 12139750"/>
              <a:gd name="connsiteY1817" fmla="*/ 3820029 h 6858290"/>
              <a:gd name="connsiteX1818" fmla="*/ 11271376 w 12139750"/>
              <a:gd name="connsiteY1818" fmla="*/ 4038624 h 6858290"/>
              <a:gd name="connsiteX1819" fmla="*/ 11229465 w 12139750"/>
              <a:gd name="connsiteY1819" fmla="*/ 4031020 h 6858290"/>
              <a:gd name="connsiteX1820" fmla="*/ 11223750 w 12139750"/>
              <a:gd name="connsiteY1820" fmla="*/ 4013913 h 6858290"/>
              <a:gd name="connsiteX1821" fmla="*/ 11237085 w 12139750"/>
              <a:gd name="connsiteY1821" fmla="*/ 3987302 h 6858290"/>
              <a:gd name="connsiteX1822" fmla="*/ 11572369 w 12139750"/>
              <a:gd name="connsiteY1822" fmla="*/ 3768707 h 6858290"/>
              <a:gd name="connsiteX1823" fmla="*/ 11596182 w 12139750"/>
              <a:gd name="connsiteY1823" fmla="*/ 3763955 h 6858290"/>
              <a:gd name="connsiteX1824" fmla="*/ 12139750 w 12139750"/>
              <a:gd name="connsiteY1824" fmla="*/ 3759203 h 6858290"/>
              <a:gd name="connsiteX1825" fmla="*/ 12139750 w 12139750"/>
              <a:gd name="connsiteY1825" fmla="*/ 3835137 h 6858290"/>
              <a:gd name="connsiteX1826" fmla="*/ 11835489 w 12139750"/>
              <a:gd name="connsiteY1826" fmla="*/ 4021174 h 6858290"/>
              <a:gd name="connsiteX1827" fmla="*/ 11789850 w 12139750"/>
              <a:gd name="connsiteY1827" fmla="*/ 4009784 h 6858290"/>
              <a:gd name="connsiteX1828" fmla="*/ 11784145 w 12139750"/>
              <a:gd name="connsiteY1828" fmla="*/ 3992699 h 6858290"/>
              <a:gd name="connsiteX1829" fmla="*/ 11799358 w 12139750"/>
              <a:gd name="connsiteY1829" fmla="*/ 3964224 h 6858290"/>
              <a:gd name="connsiteX1830" fmla="*/ 12135947 w 12139750"/>
              <a:gd name="connsiteY1830" fmla="*/ 3761101 h 6858290"/>
              <a:gd name="connsiteX1831" fmla="*/ 12139750 w 12139750"/>
              <a:gd name="connsiteY1831" fmla="*/ 3759203 h 6858290"/>
              <a:gd name="connsiteX1832" fmla="*/ 7593700 w 12139750"/>
              <a:gd name="connsiteY1832" fmla="*/ 3756493 h 6858290"/>
              <a:gd name="connsiteX1833" fmla="*/ 7613718 w 12139750"/>
              <a:gd name="connsiteY1833" fmla="*/ 3772173 h 6858290"/>
              <a:gd name="connsiteX1834" fmla="*/ 7604186 w 12139750"/>
              <a:gd name="connsiteY1834" fmla="*/ 3817790 h 6858290"/>
              <a:gd name="connsiteX1835" fmla="*/ 7266734 w 12139750"/>
              <a:gd name="connsiteY1835" fmla="*/ 4021162 h 6858290"/>
              <a:gd name="connsiteX1836" fmla="*/ 7220977 w 12139750"/>
              <a:gd name="connsiteY1836" fmla="*/ 4009758 h 6858290"/>
              <a:gd name="connsiteX1837" fmla="*/ 7215258 w 12139750"/>
              <a:gd name="connsiteY1837" fmla="*/ 3992652 h 6858290"/>
              <a:gd name="connsiteX1838" fmla="*/ 7232416 w 12139750"/>
              <a:gd name="connsiteY1838" fmla="*/ 3964142 h 6858290"/>
              <a:gd name="connsiteX1839" fmla="*/ 7567962 w 12139750"/>
              <a:gd name="connsiteY1839" fmla="*/ 3760769 h 6858290"/>
              <a:gd name="connsiteX1840" fmla="*/ 7593700 w 12139750"/>
              <a:gd name="connsiteY1840" fmla="*/ 3756493 h 6858290"/>
              <a:gd name="connsiteX1841" fmla="*/ 7044469 w 12139750"/>
              <a:gd name="connsiteY1841" fmla="*/ 3749140 h 6858290"/>
              <a:gd name="connsiteX1842" fmla="*/ 7065695 w 12139750"/>
              <a:gd name="connsiteY1842" fmla="*/ 3766564 h 6858290"/>
              <a:gd name="connsiteX1843" fmla="*/ 7052340 w 12139750"/>
              <a:gd name="connsiteY1843" fmla="*/ 3816209 h 6858290"/>
              <a:gd name="connsiteX1844" fmla="*/ 6714634 w 12139750"/>
              <a:gd name="connsiteY1844" fmla="*/ 4005244 h 6858290"/>
              <a:gd name="connsiteX1845" fmla="*/ 6665028 w 12139750"/>
              <a:gd name="connsiteY1845" fmla="*/ 3989968 h 6858290"/>
              <a:gd name="connsiteX1846" fmla="*/ 6661212 w 12139750"/>
              <a:gd name="connsiteY1846" fmla="*/ 3972783 h 6858290"/>
              <a:gd name="connsiteX1847" fmla="*/ 6678383 w 12139750"/>
              <a:gd name="connsiteY1847" fmla="*/ 3940323 h 6858290"/>
              <a:gd name="connsiteX1848" fmla="*/ 7016089 w 12139750"/>
              <a:gd name="connsiteY1848" fmla="*/ 3753198 h 6858290"/>
              <a:gd name="connsiteX1849" fmla="*/ 7044469 w 12139750"/>
              <a:gd name="connsiteY1849" fmla="*/ 3749140 h 6858290"/>
              <a:gd name="connsiteX1850" fmla="*/ 6500048 w 12139750"/>
              <a:gd name="connsiteY1850" fmla="*/ 3741441 h 6858290"/>
              <a:gd name="connsiteX1851" fmla="*/ 6523112 w 12139750"/>
              <a:gd name="connsiteY1851" fmla="*/ 3762447 h 6858290"/>
              <a:gd name="connsiteX1852" fmla="*/ 6505992 w 12139750"/>
              <a:gd name="connsiteY1852" fmla="*/ 3814006 h 6858290"/>
              <a:gd name="connsiteX1853" fmla="*/ 6167407 w 12139750"/>
              <a:gd name="connsiteY1853" fmla="*/ 3987780 h 6858290"/>
              <a:gd name="connsiteX1854" fmla="*/ 6114146 w 12139750"/>
              <a:gd name="connsiteY1854" fmla="*/ 3970593 h 6858290"/>
              <a:gd name="connsiteX1855" fmla="*/ 6110342 w 12139750"/>
              <a:gd name="connsiteY1855" fmla="*/ 3951497 h 6858290"/>
              <a:gd name="connsiteX1856" fmla="*/ 6131266 w 12139750"/>
              <a:gd name="connsiteY1856" fmla="*/ 3917125 h 6858290"/>
              <a:gd name="connsiteX1857" fmla="*/ 6469851 w 12139750"/>
              <a:gd name="connsiteY1857" fmla="*/ 3743351 h 6858290"/>
              <a:gd name="connsiteX1858" fmla="*/ 6500048 w 12139750"/>
              <a:gd name="connsiteY1858" fmla="*/ 3741441 h 6858290"/>
              <a:gd name="connsiteX1859" fmla="*/ 5958237 w 12139750"/>
              <a:gd name="connsiteY1859" fmla="*/ 3734460 h 6858290"/>
              <a:gd name="connsiteX1860" fmla="*/ 5983314 w 12139750"/>
              <a:gd name="connsiteY1860" fmla="*/ 3756422 h 6858290"/>
              <a:gd name="connsiteX1861" fmla="*/ 5962297 w 12139750"/>
              <a:gd name="connsiteY1861" fmla="*/ 3813715 h 6858290"/>
              <a:gd name="connsiteX1862" fmla="*/ 5622211 w 12139750"/>
              <a:gd name="connsiteY1862" fmla="*/ 3970317 h 6858290"/>
              <a:gd name="connsiteX1863" fmla="*/ 5564892 w 12139750"/>
              <a:gd name="connsiteY1863" fmla="*/ 3949309 h 6858290"/>
              <a:gd name="connsiteX1864" fmla="*/ 5561071 w 12139750"/>
              <a:gd name="connsiteY1864" fmla="*/ 3930212 h 6858290"/>
              <a:gd name="connsiteX1865" fmla="*/ 5585909 w 12139750"/>
              <a:gd name="connsiteY1865" fmla="*/ 3892016 h 6858290"/>
              <a:gd name="connsiteX1866" fmla="*/ 5925996 w 12139750"/>
              <a:gd name="connsiteY1866" fmla="*/ 3735415 h 6858290"/>
              <a:gd name="connsiteX1867" fmla="*/ 5958237 w 12139750"/>
              <a:gd name="connsiteY1867" fmla="*/ 3734460 h 6858290"/>
              <a:gd name="connsiteX1868" fmla="*/ 398944 w 12139750"/>
              <a:gd name="connsiteY1868" fmla="*/ 3734460 h 6858290"/>
              <a:gd name="connsiteX1869" fmla="*/ 422280 w 12139750"/>
              <a:gd name="connsiteY1869" fmla="*/ 3756422 h 6858290"/>
              <a:gd name="connsiteX1870" fmla="*/ 401325 w 12139750"/>
              <a:gd name="connsiteY1870" fmla="*/ 3813715 h 6858290"/>
              <a:gd name="connsiteX1871" fmla="*/ 62231 w 12139750"/>
              <a:gd name="connsiteY1871" fmla="*/ 3970317 h 6858290"/>
              <a:gd name="connsiteX1872" fmla="*/ 6985 w 12139750"/>
              <a:gd name="connsiteY1872" fmla="*/ 3949309 h 6858290"/>
              <a:gd name="connsiteX1873" fmla="*/ 3175 w 12139750"/>
              <a:gd name="connsiteY1873" fmla="*/ 3930212 h 6858290"/>
              <a:gd name="connsiteX1874" fmla="*/ 27941 w 12139750"/>
              <a:gd name="connsiteY1874" fmla="*/ 3892016 h 6858290"/>
              <a:gd name="connsiteX1875" fmla="*/ 367035 w 12139750"/>
              <a:gd name="connsiteY1875" fmla="*/ 3735415 h 6858290"/>
              <a:gd name="connsiteX1876" fmla="*/ 398944 w 12139750"/>
              <a:gd name="connsiteY1876" fmla="*/ 3734460 h 6858290"/>
              <a:gd name="connsiteX1877" fmla="*/ 5394099 w 12139750"/>
              <a:gd name="connsiteY1877" fmla="*/ 3725661 h 6858290"/>
              <a:gd name="connsiteX1878" fmla="*/ 5435652 w 12139750"/>
              <a:gd name="connsiteY1878" fmla="*/ 3753716 h 6858290"/>
              <a:gd name="connsiteX1879" fmla="*/ 5410870 w 12139750"/>
              <a:gd name="connsiteY1879" fmla="*/ 3812616 h 6858290"/>
              <a:gd name="connsiteX1880" fmla="*/ 5071527 w 12139750"/>
              <a:gd name="connsiteY1880" fmla="*/ 3951316 h 6858290"/>
              <a:gd name="connsiteX1881" fmla="*/ 5012435 w 12139750"/>
              <a:gd name="connsiteY1881" fmla="*/ 3928516 h 6858290"/>
              <a:gd name="connsiteX1882" fmla="*/ 5008623 w 12139750"/>
              <a:gd name="connsiteY1882" fmla="*/ 3911416 h 6858290"/>
              <a:gd name="connsiteX1883" fmla="*/ 5037215 w 12139750"/>
              <a:gd name="connsiteY1883" fmla="*/ 3869616 h 6858290"/>
              <a:gd name="connsiteX1884" fmla="*/ 5376554 w 12139750"/>
              <a:gd name="connsiteY1884" fmla="*/ 3729016 h 6858290"/>
              <a:gd name="connsiteX1885" fmla="*/ 5394099 w 12139750"/>
              <a:gd name="connsiteY1885" fmla="*/ 3725661 h 6858290"/>
              <a:gd name="connsiteX1886" fmla="*/ 927625 w 12139750"/>
              <a:gd name="connsiteY1886" fmla="*/ 3725661 h 6858290"/>
              <a:gd name="connsiteX1887" fmla="*/ 968374 w 12139750"/>
              <a:gd name="connsiteY1887" fmla="*/ 3753716 h 6858290"/>
              <a:gd name="connsiteX1888" fmla="*/ 945497 w 12139750"/>
              <a:gd name="connsiteY1888" fmla="*/ 3812616 h 6858290"/>
              <a:gd name="connsiteX1889" fmla="*/ 604250 w 12139750"/>
              <a:gd name="connsiteY1889" fmla="*/ 3951316 h 6858290"/>
              <a:gd name="connsiteX1890" fmla="*/ 545152 w 12139750"/>
              <a:gd name="connsiteY1890" fmla="*/ 3928516 h 6858290"/>
              <a:gd name="connsiteX1891" fmla="*/ 541339 w 12139750"/>
              <a:gd name="connsiteY1891" fmla="*/ 3911416 h 6858290"/>
              <a:gd name="connsiteX1892" fmla="*/ 569935 w 12139750"/>
              <a:gd name="connsiteY1892" fmla="*/ 3869616 h 6858290"/>
              <a:gd name="connsiteX1893" fmla="*/ 909276 w 12139750"/>
              <a:gd name="connsiteY1893" fmla="*/ 3729016 h 6858290"/>
              <a:gd name="connsiteX1894" fmla="*/ 927625 w 12139750"/>
              <a:gd name="connsiteY1894" fmla="*/ 3725661 h 6858290"/>
              <a:gd name="connsiteX1895" fmla="*/ 4842646 w 12139750"/>
              <a:gd name="connsiteY1895" fmla="*/ 3718049 h 6858290"/>
              <a:gd name="connsiteX1896" fmla="*/ 4884773 w 12139750"/>
              <a:gd name="connsiteY1896" fmla="*/ 3749574 h 6858290"/>
              <a:gd name="connsiteX1897" fmla="*/ 4856151 w 12139750"/>
              <a:gd name="connsiteY1897" fmla="*/ 3810367 h 6858290"/>
              <a:gd name="connsiteX1898" fmla="*/ 4514670 w 12139750"/>
              <a:gd name="connsiteY1898" fmla="*/ 3933854 h 6858290"/>
              <a:gd name="connsiteX1899" fmla="*/ 4453622 w 12139750"/>
              <a:gd name="connsiteY1899" fmla="*/ 3905357 h 6858290"/>
              <a:gd name="connsiteX1900" fmla="*/ 4449806 w 12139750"/>
              <a:gd name="connsiteY1900" fmla="*/ 3890159 h 6858290"/>
              <a:gd name="connsiteX1901" fmla="*/ 4482239 w 12139750"/>
              <a:gd name="connsiteY1901" fmla="*/ 3844564 h 6858290"/>
              <a:gd name="connsiteX1902" fmla="*/ 4823715 w 12139750"/>
              <a:gd name="connsiteY1902" fmla="*/ 3721077 h 6858290"/>
              <a:gd name="connsiteX1903" fmla="*/ 4842646 w 12139750"/>
              <a:gd name="connsiteY1903" fmla="*/ 3718049 h 6858290"/>
              <a:gd name="connsiteX1904" fmla="*/ 1478619 w 12139750"/>
              <a:gd name="connsiteY1904" fmla="*/ 3718049 h 6858290"/>
              <a:gd name="connsiteX1905" fmla="*/ 1520856 w 12139750"/>
              <a:gd name="connsiteY1905" fmla="*/ 3749574 h 6858290"/>
              <a:gd name="connsiteX1906" fmla="*/ 1492342 w 12139750"/>
              <a:gd name="connsiteY1906" fmla="*/ 3810367 h 6858290"/>
              <a:gd name="connsiteX1907" fmla="*/ 1152074 w 12139750"/>
              <a:gd name="connsiteY1907" fmla="*/ 3933854 h 6858290"/>
              <a:gd name="connsiteX1908" fmla="*/ 1089343 w 12139750"/>
              <a:gd name="connsiteY1908" fmla="*/ 3905357 h 6858290"/>
              <a:gd name="connsiteX1909" fmla="*/ 1087442 w 12139750"/>
              <a:gd name="connsiteY1909" fmla="*/ 3890159 h 6858290"/>
              <a:gd name="connsiteX1910" fmla="*/ 1117857 w 12139750"/>
              <a:gd name="connsiteY1910" fmla="*/ 3844564 h 6858290"/>
              <a:gd name="connsiteX1911" fmla="*/ 1460026 w 12139750"/>
              <a:gd name="connsiteY1911" fmla="*/ 3721077 h 6858290"/>
              <a:gd name="connsiteX1912" fmla="*/ 1478619 w 12139750"/>
              <a:gd name="connsiteY1912" fmla="*/ 3718049 h 6858290"/>
              <a:gd name="connsiteX1913" fmla="*/ 2033482 w 12139750"/>
              <a:gd name="connsiteY1913" fmla="*/ 3710438 h 6858290"/>
              <a:gd name="connsiteX1914" fmla="*/ 2078351 w 12139750"/>
              <a:gd name="connsiteY1914" fmla="*/ 3745431 h 6858290"/>
              <a:gd name="connsiteX1915" fmla="*/ 2043960 w 12139750"/>
              <a:gd name="connsiteY1915" fmla="*/ 3810017 h 6858290"/>
              <a:gd name="connsiteX1916" fmla="*/ 1701997 w 12139750"/>
              <a:gd name="connsiteY1916" fmla="*/ 3916393 h 6858290"/>
              <a:gd name="connsiteX1917" fmla="*/ 1637043 w 12139750"/>
              <a:gd name="connsiteY1917" fmla="*/ 3884100 h 6858290"/>
              <a:gd name="connsiteX1918" fmla="*/ 1635133 w 12139750"/>
              <a:gd name="connsiteY1918" fmla="*/ 3868904 h 6858290"/>
              <a:gd name="connsiteX1919" fmla="*/ 1669520 w 12139750"/>
              <a:gd name="connsiteY1919" fmla="*/ 3819515 h 6858290"/>
              <a:gd name="connsiteX1920" fmla="*/ 2013393 w 12139750"/>
              <a:gd name="connsiteY1920" fmla="*/ 3713139 h 6858290"/>
              <a:gd name="connsiteX1921" fmla="*/ 2033482 w 12139750"/>
              <a:gd name="connsiteY1921" fmla="*/ 3710438 h 6858290"/>
              <a:gd name="connsiteX1922" fmla="*/ 4287765 w 12139750"/>
              <a:gd name="connsiteY1922" fmla="*/ 3710438 h 6858290"/>
              <a:gd name="connsiteX1923" fmla="*/ 4330719 w 12139750"/>
              <a:gd name="connsiteY1923" fmla="*/ 3745431 h 6858290"/>
              <a:gd name="connsiteX1924" fmla="*/ 4298265 w 12139750"/>
              <a:gd name="connsiteY1924" fmla="*/ 3810017 h 6858290"/>
              <a:gd name="connsiteX1925" fmla="*/ 3954657 w 12139750"/>
              <a:gd name="connsiteY1925" fmla="*/ 3916393 h 6858290"/>
              <a:gd name="connsiteX1926" fmla="*/ 3891656 w 12139750"/>
              <a:gd name="connsiteY1926" fmla="*/ 3884100 h 6858290"/>
              <a:gd name="connsiteX1927" fmla="*/ 3887840 w 12139750"/>
              <a:gd name="connsiteY1927" fmla="*/ 3868904 h 6858290"/>
              <a:gd name="connsiteX1928" fmla="*/ 3924112 w 12139750"/>
              <a:gd name="connsiteY1928" fmla="*/ 3819515 h 6858290"/>
              <a:gd name="connsiteX1929" fmla="*/ 4267719 w 12139750"/>
              <a:gd name="connsiteY1929" fmla="*/ 3713139 h 6858290"/>
              <a:gd name="connsiteX1930" fmla="*/ 4287765 w 12139750"/>
              <a:gd name="connsiteY1930" fmla="*/ 3710438 h 6858290"/>
              <a:gd name="connsiteX1931" fmla="*/ 3726989 w 12139750"/>
              <a:gd name="connsiteY1931" fmla="*/ 3702866 h 6858290"/>
              <a:gd name="connsiteX1932" fmla="*/ 3772266 w 12139750"/>
              <a:gd name="connsiteY1932" fmla="*/ 3743256 h 6858290"/>
              <a:gd name="connsiteX1933" fmla="*/ 3734163 w 12139750"/>
              <a:gd name="connsiteY1933" fmla="*/ 3807929 h 6858290"/>
              <a:gd name="connsiteX1934" fmla="*/ 3391274 w 12139750"/>
              <a:gd name="connsiteY1934" fmla="*/ 3899232 h 6858290"/>
              <a:gd name="connsiteX1935" fmla="*/ 3324595 w 12139750"/>
              <a:gd name="connsiteY1935" fmla="*/ 3861189 h 6858290"/>
              <a:gd name="connsiteX1936" fmla="*/ 3322691 w 12139750"/>
              <a:gd name="connsiteY1936" fmla="*/ 3847874 h 6858290"/>
              <a:gd name="connsiteX1937" fmla="*/ 3362695 w 12139750"/>
              <a:gd name="connsiteY1937" fmla="*/ 3796517 h 6858290"/>
              <a:gd name="connsiteX1938" fmla="*/ 3705588 w 12139750"/>
              <a:gd name="connsiteY1938" fmla="*/ 3705214 h 6858290"/>
              <a:gd name="connsiteX1939" fmla="*/ 3726989 w 12139750"/>
              <a:gd name="connsiteY1939" fmla="*/ 3702866 h 6858290"/>
              <a:gd name="connsiteX1940" fmla="*/ 2593304 w 12139750"/>
              <a:gd name="connsiteY1940" fmla="*/ 3702866 h 6858290"/>
              <a:gd name="connsiteX1941" fmla="*/ 2638736 w 12139750"/>
              <a:gd name="connsiteY1941" fmla="*/ 3743256 h 6858290"/>
              <a:gd name="connsiteX1942" fmla="*/ 2600503 w 12139750"/>
              <a:gd name="connsiteY1942" fmla="*/ 3807929 h 6858290"/>
              <a:gd name="connsiteX1943" fmla="*/ 2256408 w 12139750"/>
              <a:gd name="connsiteY1943" fmla="*/ 3899232 h 6858290"/>
              <a:gd name="connsiteX1944" fmla="*/ 2189501 w 12139750"/>
              <a:gd name="connsiteY1944" fmla="*/ 3861189 h 6858290"/>
              <a:gd name="connsiteX1945" fmla="*/ 2187590 w 12139750"/>
              <a:gd name="connsiteY1945" fmla="*/ 3847874 h 6858290"/>
              <a:gd name="connsiteX1946" fmla="*/ 2227734 w 12139750"/>
              <a:gd name="connsiteY1946" fmla="*/ 3796517 h 6858290"/>
              <a:gd name="connsiteX1947" fmla="*/ 2571828 w 12139750"/>
              <a:gd name="connsiteY1947" fmla="*/ 3705214 h 6858290"/>
              <a:gd name="connsiteX1948" fmla="*/ 2593304 w 12139750"/>
              <a:gd name="connsiteY1948" fmla="*/ 3702866 h 6858290"/>
              <a:gd name="connsiteX1949" fmla="*/ 3135575 w 12139750"/>
              <a:gd name="connsiteY1949" fmla="*/ 3696656 h 6858290"/>
              <a:gd name="connsiteX1950" fmla="*/ 3202342 w 12139750"/>
              <a:gd name="connsiteY1950" fmla="*/ 3740471 h 6858290"/>
              <a:gd name="connsiteX1951" fmla="*/ 3160373 w 12139750"/>
              <a:gd name="connsiteY1951" fmla="*/ 3809051 h 6858290"/>
              <a:gd name="connsiteX1952" fmla="*/ 2815092 w 12139750"/>
              <a:gd name="connsiteY1952" fmla="*/ 3883346 h 6858290"/>
              <a:gd name="connsiteX1953" fmla="*/ 2746418 w 12139750"/>
              <a:gd name="connsiteY1953" fmla="*/ 3841436 h 6858290"/>
              <a:gd name="connsiteX1954" fmla="*/ 2746418 w 12139750"/>
              <a:gd name="connsiteY1954" fmla="*/ 3828101 h 6858290"/>
              <a:gd name="connsiteX1955" fmla="*/ 2790295 w 12139750"/>
              <a:gd name="connsiteY1955" fmla="*/ 3772856 h 6858290"/>
              <a:gd name="connsiteX1956" fmla="*/ 3135575 w 12139750"/>
              <a:gd name="connsiteY1956" fmla="*/ 3696656 h 6858290"/>
              <a:gd name="connsiteX1957" fmla="*/ 9858878 w 12139750"/>
              <a:gd name="connsiteY1957" fmla="*/ 3457894 h 6858290"/>
              <a:gd name="connsiteX1958" fmla="*/ 9871499 w 12139750"/>
              <a:gd name="connsiteY1958" fmla="*/ 3465507 h 6858290"/>
              <a:gd name="connsiteX1959" fmla="*/ 9869594 w 12139750"/>
              <a:gd name="connsiteY1959" fmla="*/ 3492151 h 6858290"/>
              <a:gd name="connsiteX1960" fmla="*/ 9538119 w 12139750"/>
              <a:gd name="connsiteY1960" fmla="*/ 3773816 h 6858290"/>
              <a:gd name="connsiteX1961" fmla="*/ 9511449 w 12139750"/>
              <a:gd name="connsiteY1961" fmla="*/ 3771913 h 6858290"/>
              <a:gd name="connsiteX1962" fmla="*/ 9507639 w 12139750"/>
              <a:gd name="connsiteY1962" fmla="*/ 3760494 h 6858290"/>
              <a:gd name="connsiteX1963" fmla="*/ 9513354 w 12139750"/>
              <a:gd name="connsiteY1963" fmla="*/ 3745269 h 6858290"/>
              <a:gd name="connsiteX1964" fmla="*/ 9844829 w 12139750"/>
              <a:gd name="connsiteY1964" fmla="*/ 3461700 h 6858290"/>
              <a:gd name="connsiteX1965" fmla="*/ 9858878 w 12139750"/>
              <a:gd name="connsiteY1965" fmla="*/ 3457894 h 6858290"/>
              <a:gd name="connsiteX1966" fmla="*/ 10444338 w 12139750"/>
              <a:gd name="connsiteY1966" fmla="*/ 3451145 h 6858290"/>
              <a:gd name="connsiteX1967" fmla="*/ 10458876 w 12139750"/>
              <a:gd name="connsiteY1967" fmla="*/ 3459471 h 6858290"/>
              <a:gd name="connsiteX1968" fmla="*/ 10455062 w 12139750"/>
              <a:gd name="connsiteY1968" fmla="*/ 3489921 h 6858290"/>
              <a:gd name="connsiteX1969" fmla="*/ 10123310 w 12139750"/>
              <a:gd name="connsiteY1969" fmla="*/ 3756353 h 6858290"/>
              <a:gd name="connsiteX1970" fmla="*/ 10090897 w 12139750"/>
              <a:gd name="connsiteY1970" fmla="*/ 3752547 h 6858290"/>
              <a:gd name="connsiteX1971" fmla="*/ 10087084 w 12139750"/>
              <a:gd name="connsiteY1971" fmla="*/ 3737323 h 6858290"/>
              <a:gd name="connsiteX1972" fmla="*/ 10094710 w 12139750"/>
              <a:gd name="connsiteY1972" fmla="*/ 3720195 h 6858290"/>
              <a:gd name="connsiteX1973" fmla="*/ 10428370 w 12139750"/>
              <a:gd name="connsiteY1973" fmla="*/ 3455665 h 6858290"/>
              <a:gd name="connsiteX1974" fmla="*/ 10444338 w 12139750"/>
              <a:gd name="connsiteY1974" fmla="*/ 3451145 h 6858290"/>
              <a:gd name="connsiteX1975" fmla="*/ 9282925 w 12139750"/>
              <a:gd name="connsiteY1975" fmla="*/ 3451145 h 6858290"/>
              <a:gd name="connsiteX1976" fmla="*/ 9298403 w 12139750"/>
              <a:gd name="connsiteY1976" fmla="*/ 3459471 h 6858290"/>
              <a:gd name="connsiteX1977" fmla="*/ 9294593 w 12139750"/>
              <a:gd name="connsiteY1977" fmla="*/ 3489921 h 6858290"/>
              <a:gd name="connsiteX1978" fmla="*/ 8961213 w 12139750"/>
              <a:gd name="connsiteY1978" fmla="*/ 3756353 h 6858290"/>
              <a:gd name="connsiteX1979" fmla="*/ 8930733 w 12139750"/>
              <a:gd name="connsiteY1979" fmla="*/ 3752547 h 6858290"/>
              <a:gd name="connsiteX1980" fmla="*/ 8925018 w 12139750"/>
              <a:gd name="connsiteY1980" fmla="*/ 3737323 h 6858290"/>
              <a:gd name="connsiteX1981" fmla="*/ 8934543 w 12139750"/>
              <a:gd name="connsiteY1981" fmla="*/ 3720195 h 6858290"/>
              <a:gd name="connsiteX1982" fmla="*/ 9266017 w 12139750"/>
              <a:gd name="connsiteY1982" fmla="*/ 3455665 h 6858290"/>
              <a:gd name="connsiteX1983" fmla="*/ 9282925 w 12139750"/>
              <a:gd name="connsiteY1983" fmla="*/ 3451145 h 6858290"/>
              <a:gd name="connsiteX1984" fmla="*/ 8712667 w 12139750"/>
              <a:gd name="connsiteY1984" fmla="*/ 3443688 h 6858290"/>
              <a:gd name="connsiteX1985" fmla="*/ 8730065 w 12139750"/>
              <a:gd name="connsiteY1985" fmla="*/ 3453451 h 6858290"/>
              <a:gd name="connsiteX1986" fmla="*/ 8724345 w 12139750"/>
              <a:gd name="connsiteY1986" fmla="*/ 3489646 h 6858290"/>
              <a:gd name="connsiteX1987" fmla="*/ 8390693 w 12139750"/>
              <a:gd name="connsiteY1987" fmla="*/ 3737296 h 6858290"/>
              <a:gd name="connsiteX1988" fmla="*/ 8354468 w 12139750"/>
              <a:gd name="connsiteY1988" fmla="*/ 3731581 h 6858290"/>
              <a:gd name="connsiteX1989" fmla="*/ 8348748 w 12139750"/>
              <a:gd name="connsiteY1989" fmla="*/ 3716341 h 6858290"/>
              <a:gd name="connsiteX1990" fmla="*/ 8360188 w 12139750"/>
              <a:gd name="connsiteY1990" fmla="*/ 3695386 h 6858290"/>
              <a:gd name="connsiteX1991" fmla="*/ 8693840 w 12139750"/>
              <a:gd name="connsiteY1991" fmla="*/ 3449641 h 6858290"/>
              <a:gd name="connsiteX1992" fmla="*/ 8712667 w 12139750"/>
              <a:gd name="connsiteY1992" fmla="*/ 3443688 h 6858290"/>
              <a:gd name="connsiteX1993" fmla="*/ 11022273 w 12139750"/>
              <a:gd name="connsiteY1993" fmla="*/ 3443688 h 6858290"/>
              <a:gd name="connsiteX1994" fmla="*/ 11038002 w 12139750"/>
              <a:gd name="connsiteY1994" fmla="*/ 3453451 h 6858290"/>
              <a:gd name="connsiteX1995" fmla="*/ 11034189 w 12139750"/>
              <a:gd name="connsiteY1995" fmla="*/ 3489646 h 6858290"/>
              <a:gd name="connsiteX1996" fmla="*/ 10700537 w 12139750"/>
              <a:gd name="connsiteY1996" fmla="*/ 3737296 h 6858290"/>
              <a:gd name="connsiteX1997" fmla="*/ 10664312 w 12139750"/>
              <a:gd name="connsiteY1997" fmla="*/ 3731581 h 6858290"/>
              <a:gd name="connsiteX1998" fmla="*/ 10658592 w 12139750"/>
              <a:gd name="connsiteY1998" fmla="*/ 3716341 h 6858290"/>
              <a:gd name="connsiteX1999" fmla="*/ 10670032 w 12139750"/>
              <a:gd name="connsiteY1999" fmla="*/ 3695386 h 6858290"/>
              <a:gd name="connsiteX2000" fmla="*/ 11003684 w 12139750"/>
              <a:gd name="connsiteY2000" fmla="*/ 3449641 h 6858290"/>
              <a:gd name="connsiteX2001" fmla="*/ 11022273 w 12139750"/>
              <a:gd name="connsiteY2001" fmla="*/ 3443688 h 6858290"/>
              <a:gd name="connsiteX2002" fmla="*/ 11595028 w 12139750"/>
              <a:gd name="connsiteY2002" fmla="*/ 3438528 h 6858290"/>
              <a:gd name="connsiteX2003" fmla="*/ 11614586 w 12139750"/>
              <a:gd name="connsiteY2003" fmla="*/ 3450911 h 6858290"/>
              <a:gd name="connsiteX2004" fmla="*/ 11606953 w 12139750"/>
              <a:gd name="connsiteY2004" fmla="*/ 3490916 h 6858290"/>
              <a:gd name="connsiteX2005" fmla="*/ 11271132 w 12139750"/>
              <a:gd name="connsiteY2005" fmla="*/ 3719516 h 6858290"/>
              <a:gd name="connsiteX2006" fmla="*/ 11231062 w 12139750"/>
              <a:gd name="connsiteY2006" fmla="*/ 3711896 h 6858290"/>
              <a:gd name="connsiteX2007" fmla="*/ 11225338 w 12139750"/>
              <a:gd name="connsiteY2007" fmla="*/ 3696656 h 6858290"/>
              <a:gd name="connsiteX2008" fmla="*/ 11238695 w 12139750"/>
              <a:gd name="connsiteY2008" fmla="*/ 3671891 h 6858290"/>
              <a:gd name="connsiteX2009" fmla="*/ 11572608 w 12139750"/>
              <a:gd name="connsiteY2009" fmla="*/ 3443291 h 6858290"/>
              <a:gd name="connsiteX2010" fmla="*/ 11595028 w 12139750"/>
              <a:gd name="connsiteY2010" fmla="*/ 3438528 h 6858290"/>
              <a:gd name="connsiteX2011" fmla="*/ 8149264 w 12139750"/>
              <a:gd name="connsiteY2011" fmla="*/ 3438528 h 6858290"/>
              <a:gd name="connsiteX2012" fmla="*/ 8167794 w 12139750"/>
              <a:gd name="connsiteY2012" fmla="*/ 3450911 h 6858290"/>
              <a:gd name="connsiteX2013" fmla="*/ 8160192 w 12139750"/>
              <a:gd name="connsiteY2013" fmla="*/ 3490916 h 6858290"/>
              <a:gd name="connsiteX2014" fmla="*/ 7825713 w 12139750"/>
              <a:gd name="connsiteY2014" fmla="*/ 3719516 h 6858290"/>
              <a:gd name="connsiteX2015" fmla="*/ 7785804 w 12139750"/>
              <a:gd name="connsiteY2015" fmla="*/ 3711896 h 6858290"/>
              <a:gd name="connsiteX2016" fmla="*/ 7782003 w 12139750"/>
              <a:gd name="connsiteY2016" fmla="*/ 3696656 h 6858290"/>
              <a:gd name="connsiteX2017" fmla="*/ 7793405 w 12139750"/>
              <a:gd name="connsiteY2017" fmla="*/ 3671891 h 6858290"/>
              <a:gd name="connsiteX2018" fmla="*/ 8127884 w 12139750"/>
              <a:gd name="connsiteY2018" fmla="*/ 3443291 h 6858290"/>
              <a:gd name="connsiteX2019" fmla="*/ 8149264 w 12139750"/>
              <a:gd name="connsiteY2019" fmla="*/ 3438528 h 6858290"/>
              <a:gd name="connsiteX2020" fmla="*/ 12139750 w 12139750"/>
              <a:gd name="connsiteY2020" fmla="*/ 3433766 h 6858290"/>
              <a:gd name="connsiteX2021" fmla="*/ 12139750 w 12139750"/>
              <a:gd name="connsiteY2021" fmla="*/ 3509879 h 6858290"/>
              <a:gd name="connsiteX2022" fmla="*/ 11835219 w 12139750"/>
              <a:gd name="connsiteY2022" fmla="*/ 3702065 h 6858290"/>
              <a:gd name="connsiteX2023" fmla="*/ 11789540 w 12139750"/>
              <a:gd name="connsiteY2023" fmla="*/ 3690648 h 6858290"/>
              <a:gd name="connsiteX2024" fmla="*/ 11785733 w 12139750"/>
              <a:gd name="connsiteY2024" fmla="*/ 3673522 h 6858290"/>
              <a:gd name="connsiteX2025" fmla="*/ 11800960 w 12139750"/>
              <a:gd name="connsiteY2025" fmla="*/ 3646883 h 6858290"/>
              <a:gd name="connsiteX2026" fmla="*/ 12135943 w 12139750"/>
              <a:gd name="connsiteY2026" fmla="*/ 3435669 h 6858290"/>
              <a:gd name="connsiteX2027" fmla="*/ 12139750 w 12139750"/>
              <a:gd name="connsiteY2027" fmla="*/ 3433766 h 6858290"/>
              <a:gd name="connsiteX2028" fmla="*/ 7592961 w 12139750"/>
              <a:gd name="connsiteY2028" fmla="*/ 3431781 h 6858290"/>
              <a:gd name="connsiteX2029" fmla="*/ 7613711 w 12139750"/>
              <a:gd name="connsiteY2029" fmla="*/ 3446783 h 6858290"/>
              <a:gd name="connsiteX2030" fmla="*/ 7602263 w 12139750"/>
              <a:gd name="connsiteY2030" fmla="*/ 3490598 h 6858290"/>
              <a:gd name="connsiteX2031" fmla="*/ 7266453 w 12139750"/>
              <a:gd name="connsiteY2031" fmla="*/ 3702053 h 6858290"/>
              <a:gd name="connsiteX2032" fmla="*/ 7222569 w 12139750"/>
              <a:gd name="connsiteY2032" fmla="*/ 3690623 h 6858290"/>
              <a:gd name="connsiteX2033" fmla="*/ 7216845 w 12139750"/>
              <a:gd name="connsiteY2033" fmla="*/ 3673478 h 6858290"/>
              <a:gd name="connsiteX2034" fmla="*/ 7232109 w 12139750"/>
              <a:gd name="connsiteY2034" fmla="*/ 3646808 h 6858290"/>
              <a:gd name="connsiteX2035" fmla="*/ 7567918 w 12139750"/>
              <a:gd name="connsiteY2035" fmla="*/ 3435353 h 6858290"/>
              <a:gd name="connsiteX2036" fmla="*/ 7592961 w 12139750"/>
              <a:gd name="connsiteY2036" fmla="*/ 3431781 h 6858290"/>
              <a:gd name="connsiteX2037" fmla="*/ 7042583 w 12139750"/>
              <a:gd name="connsiteY2037" fmla="*/ 3425684 h 6858290"/>
              <a:gd name="connsiteX2038" fmla="*/ 7064457 w 12139750"/>
              <a:gd name="connsiteY2038" fmla="*/ 3442391 h 6858290"/>
              <a:gd name="connsiteX2039" fmla="*/ 7051143 w 12139750"/>
              <a:gd name="connsiteY2039" fmla="*/ 3490127 h 6858290"/>
              <a:gd name="connsiteX2040" fmla="*/ 6714471 w 12139750"/>
              <a:gd name="connsiteY2040" fmla="*/ 3682981 h 6858290"/>
              <a:gd name="connsiteX2041" fmla="*/ 6665016 w 12139750"/>
              <a:gd name="connsiteY2041" fmla="*/ 3669615 h 6858290"/>
              <a:gd name="connsiteX2042" fmla="*/ 6661212 w 12139750"/>
              <a:gd name="connsiteY2042" fmla="*/ 3652430 h 6858290"/>
              <a:gd name="connsiteX2043" fmla="*/ 6678331 w 12139750"/>
              <a:gd name="connsiteY2043" fmla="*/ 3619969 h 6858290"/>
              <a:gd name="connsiteX2044" fmla="*/ 7015003 w 12139750"/>
              <a:gd name="connsiteY2044" fmla="*/ 3429025 h 6858290"/>
              <a:gd name="connsiteX2045" fmla="*/ 7042583 w 12139750"/>
              <a:gd name="connsiteY2045" fmla="*/ 3425684 h 6858290"/>
              <a:gd name="connsiteX2046" fmla="*/ 6499335 w 12139750"/>
              <a:gd name="connsiteY2046" fmla="*/ 3418940 h 6858290"/>
              <a:gd name="connsiteX2047" fmla="*/ 6523112 w 12139750"/>
              <a:gd name="connsiteY2047" fmla="*/ 3438274 h 6858290"/>
              <a:gd name="connsiteX2048" fmla="*/ 6505992 w 12139750"/>
              <a:gd name="connsiteY2048" fmla="*/ 3491743 h 6858290"/>
              <a:gd name="connsiteX2049" fmla="*/ 6167407 w 12139750"/>
              <a:gd name="connsiteY2049" fmla="*/ 3663607 h 6858290"/>
              <a:gd name="connsiteX2050" fmla="*/ 6116048 w 12139750"/>
              <a:gd name="connsiteY2050" fmla="*/ 3648330 h 6858290"/>
              <a:gd name="connsiteX2051" fmla="*/ 6110342 w 12139750"/>
              <a:gd name="connsiteY2051" fmla="*/ 3629234 h 6858290"/>
              <a:gd name="connsiteX2052" fmla="*/ 6131266 w 12139750"/>
              <a:gd name="connsiteY2052" fmla="*/ 3594862 h 6858290"/>
              <a:gd name="connsiteX2053" fmla="*/ 6469851 w 12139750"/>
              <a:gd name="connsiteY2053" fmla="*/ 3421090 h 6858290"/>
              <a:gd name="connsiteX2054" fmla="*/ 6499335 w 12139750"/>
              <a:gd name="connsiteY2054" fmla="*/ 3418940 h 6858290"/>
              <a:gd name="connsiteX2055" fmla="*/ 5958954 w 12139750"/>
              <a:gd name="connsiteY2055" fmla="*/ 3413743 h 6858290"/>
              <a:gd name="connsiteX2056" fmla="*/ 5983314 w 12139750"/>
              <a:gd name="connsiteY2056" fmla="*/ 3435593 h 6858290"/>
              <a:gd name="connsiteX2057" fmla="*/ 5962297 w 12139750"/>
              <a:gd name="connsiteY2057" fmla="*/ 3492599 h 6858290"/>
              <a:gd name="connsiteX2058" fmla="*/ 5622211 w 12139750"/>
              <a:gd name="connsiteY2058" fmla="*/ 3646514 h 6858290"/>
              <a:gd name="connsiteX2059" fmla="*/ 5564892 w 12139750"/>
              <a:gd name="connsiteY2059" fmla="*/ 3625612 h 6858290"/>
              <a:gd name="connsiteX2060" fmla="*/ 5561071 w 12139750"/>
              <a:gd name="connsiteY2060" fmla="*/ 3608510 h 6858290"/>
              <a:gd name="connsiteX2061" fmla="*/ 5585909 w 12139750"/>
              <a:gd name="connsiteY2061" fmla="*/ 3568606 h 6858290"/>
              <a:gd name="connsiteX2062" fmla="*/ 5925996 w 12139750"/>
              <a:gd name="connsiteY2062" fmla="*/ 3414692 h 6858290"/>
              <a:gd name="connsiteX2063" fmla="*/ 5958954 w 12139750"/>
              <a:gd name="connsiteY2063" fmla="*/ 3413743 h 6858290"/>
              <a:gd name="connsiteX2064" fmla="*/ 398651 w 12139750"/>
              <a:gd name="connsiteY2064" fmla="*/ 3413741 h 6858290"/>
              <a:gd name="connsiteX2065" fmla="*/ 421971 w 12139750"/>
              <a:gd name="connsiteY2065" fmla="*/ 3435593 h 6858290"/>
              <a:gd name="connsiteX2066" fmla="*/ 401031 w 12139750"/>
              <a:gd name="connsiteY2066" fmla="*/ 3492599 h 6858290"/>
              <a:gd name="connsiteX2067" fmla="*/ 62187 w 12139750"/>
              <a:gd name="connsiteY2067" fmla="*/ 3646514 h 6858290"/>
              <a:gd name="connsiteX2068" fmla="*/ 6983 w 12139750"/>
              <a:gd name="connsiteY2068" fmla="*/ 3625612 h 6858290"/>
              <a:gd name="connsiteX2069" fmla="*/ 3175 w 12139750"/>
              <a:gd name="connsiteY2069" fmla="*/ 3608510 h 6858290"/>
              <a:gd name="connsiteX2070" fmla="*/ 27922 w 12139750"/>
              <a:gd name="connsiteY2070" fmla="*/ 3568606 h 6858290"/>
              <a:gd name="connsiteX2071" fmla="*/ 366766 w 12139750"/>
              <a:gd name="connsiteY2071" fmla="*/ 3414692 h 6858290"/>
              <a:gd name="connsiteX2072" fmla="*/ 398651 w 12139750"/>
              <a:gd name="connsiteY2072" fmla="*/ 3413741 h 6858290"/>
              <a:gd name="connsiteX2073" fmla="*/ 5394959 w 12139750"/>
              <a:gd name="connsiteY2073" fmla="*/ 3403430 h 6858290"/>
              <a:gd name="connsiteX2074" fmla="*/ 5437255 w 12139750"/>
              <a:gd name="connsiteY2074" fmla="*/ 3433353 h 6858290"/>
              <a:gd name="connsiteX2075" fmla="*/ 5410604 w 12139750"/>
              <a:gd name="connsiteY2075" fmla="*/ 3492253 h 6858290"/>
              <a:gd name="connsiteX2076" fmla="*/ 5069849 w 12139750"/>
              <a:gd name="connsiteY2076" fmla="*/ 3629053 h 6858290"/>
              <a:gd name="connsiteX2077" fmla="*/ 5010842 w 12139750"/>
              <a:gd name="connsiteY2077" fmla="*/ 3602453 h 6858290"/>
              <a:gd name="connsiteX2078" fmla="*/ 5007035 w 12139750"/>
              <a:gd name="connsiteY2078" fmla="*/ 3585353 h 6858290"/>
              <a:gd name="connsiteX2079" fmla="*/ 5037491 w 12139750"/>
              <a:gd name="connsiteY2079" fmla="*/ 3543553 h 6858290"/>
              <a:gd name="connsiteX2080" fmla="*/ 5376340 w 12139750"/>
              <a:gd name="connsiteY2080" fmla="*/ 3406755 h 6858290"/>
              <a:gd name="connsiteX2081" fmla="*/ 5394959 w 12139750"/>
              <a:gd name="connsiteY2081" fmla="*/ 3403430 h 6858290"/>
              <a:gd name="connsiteX2082" fmla="*/ 928445 w 12139750"/>
              <a:gd name="connsiteY2082" fmla="*/ 3403428 h 6858290"/>
              <a:gd name="connsiteX2083" fmla="*/ 969969 w 12139750"/>
              <a:gd name="connsiteY2083" fmla="*/ 3433353 h 6858290"/>
              <a:gd name="connsiteX2084" fmla="*/ 945204 w 12139750"/>
              <a:gd name="connsiteY2084" fmla="*/ 3492253 h 6858290"/>
              <a:gd name="connsiteX2085" fmla="*/ 604205 w 12139750"/>
              <a:gd name="connsiteY2085" fmla="*/ 3629053 h 6858290"/>
              <a:gd name="connsiteX2086" fmla="*/ 543244 w 12139750"/>
              <a:gd name="connsiteY2086" fmla="*/ 3602453 h 6858290"/>
              <a:gd name="connsiteX2087" fmla="*/ 541339 w 12139750"/>
              <a:gd name="connsiteY2087" fmla="*/ 3585353 h 6858290"/>
              <a:gd name="connsiteX2088" fmla="*/ 569914 w 12139750"/>
              <a:gd name="connsiteY2088" fmla="*/ 3543553 h 6858290"/>
              <a:gd name="connsiteX2089" fmla="*/ 910913 w 12139750"/>
              <a:gd name="connsiteY2089" fmla="*/ 3406753 h 6858290"/>
              <a:gd name="connsiteX2090" fmla="*/ 928445 w 12139750"/>
              <a:gd name="connsiteY2090" fmla="*/ 3403428 h 6858290"/>
              <a:gd name="connsiteX2091" fmla="*/ 4843466 w 12139750"/>
              <a:gd name="connsiteY2091" fmla="*/ 3396591 h 6858290"/>
              <a:gd name="connsiteX2092" fmla="*/ 4886368 w 12139750"/>
              <a:gd name="connsiteY2092" fmla="*/ 3429004 h 6858290"/>
              <a:gd name="connsiteX2093" fmla="*/ 4855860 w 12139750"/>
              <a:gd name="connsiteY2093" fmla="*/ 3491868 h 6858290"/>
              <a:gd name="connsiteX2094" fmla="*/ 4514625 w 12139750"/>
              <a:gd name="connsiteY2094" fmla="*/ 3609978 h 6858290"/>
              <a:gd name="connsiteX2095" fmla="*/ 4451713 w 12139750"/>
              <a:gd name="connsiteY2095" fmla="*/ 3579498 h 6858290"/>
              <a:gd name="connsiteX2096" fmla="*/ 4449806 w 12139750"/>
              <a:gd name="connsiteY2096" fmla="*/ 3564258 h 6858290"/>
              <a:gd name="connsiteX2097" fmla="*/ 4482216 w 12139750"/>
              <a:gd name="connsiteY2097" fmla="*/ 3518538 h 6858290"/>
              <a:gd name="connsiteX2098" fmla="*/ 4823448 w 12139750"/>
              <a:gd name="connsiteY2098" fmla="*/ 3398526 h 6858290"/>
              <a:gd name="connsiteX2099" fmla="*/ 4843466 w 12139750"/>
              <a:gd name="connsiteY2099" fmla="*/ 3396591 h 6858290"/>
              <a:gd name="connsiteX2100" fmla="*/ 1478769 w 12139750"/>
              <a:gd name="connsiteY2100" fmla="*/ 3396589 h 6858290"/>
              <a:gd name="connsiteX2101" fmla="*/ 1522735 w 12139750"/>
              <a:gd name="connsiteY2101" fmla="*/ 3429004 h 6858290"/>
              <a:gd name="connsiteX2102" fmla="*/ 1492233 w 12139750"/>
              <a:gd name="connsiteY2102" fmla="*/ 3491868 h 6858290"/>
              <a:gd name="connsiteX2103" fmla="*/ 1149084 w 12139750"/>
              <a:gd name="connsiteY2103" fmla="*/ 3609978 h 6858290"/>
              <a:gd name="connsiteX2104" fmla="*/ 1088080 w 12139750"/>
              <a:gd name="connsiteY2104" fmla="*/ 3579498 h 6858290"/>
              <a:gd name="connsiteX2105" fmla="*/ 1084267 w 12139750"/>
              <a:gd name="connsiteY2105" fmla="*/ 3564258 h 6858290"/>
              <a:gd name="connsiteX2106" fmla="*/ 1116676 w 12139750"/>
              <a:gd name="connsiteY2106" fmla="*/ 3518538 h 6858290"/>
              <a:gd name="connsiteX2107" fmla="*/ 1459824 w 12139750"/>
              <a:gd name="connsiteY2107" fmla="*/ 3398524 h 6858290"/>
              <a:gd name="connsiteX2108" fmla="*/ 1478769 w 12139750"/>
              <a:gd name="connsiteY2108" fmla="*/ 3396589 h 6858290"/>
              <a:gd name="connsiteX2109" fmla="*/ 4288621 w 12139750"/>
              <a:gd name="connsiteY2109" fmla="*/ 3390094 h 6858290"/>
              <a:gd name="connsiteX2110" fmla="*/ 4332319 w 12139750"/>
              <a:gd name="connsiteY2110" fmla="*/ 3426845 h 6858290"/>
              <a:gd name="connsiteX2111" fmla="*/ 4298005 w 12139750"/>
              <a:gd name="connsiteY2111" fmla="*/ 3491709 h 6858290"/>
              <a:gd name="connsiteX2112" fmla="*/ 3954880 w 12139750"/>
              <a:gd name="connsiteY2112" fmla="*/ 3592822 h 6858290"/>
              <a:gd name="connsiteX2113" fmla="*/ 3888158 w 12139750"/>
              <a:gd name="connsiteY2113" fmla="*/ 3556574 h 6858290"/>
              <a:gd name="connsiteX2114" fmla="*/ 3886250 w 12139750"/>
              <a:gd name="connsiteY2114" fmla="*/ 3541311 h 6858290"/>
              <a:gd name="connsiteX2115" fmla="*/ 3924377 w 12139750"/>
              <a:gd name="connsiteY2115" fmla="*/ 3491709 h 6858290"/>
              <a:gd name="connsiteX2116" fmla="*/ 4267501 w 12139750"/>
              <a:gd name="connsiteY2116" fmla="*/ 3392508 h 6858290"/>
              <a:gd name="connsiteX2117" fmla="*/ 4288621 w 12139750"/>
              <a:gd name="connsiteY2117" fmla="*/ 3390094 h 6858290"/>
              <a:gd name="connsiteX2118" fmla="*/ 2035412 w 12139750"/>
              <a:gd name="connsiteY2118" fmla="*/ 3390091 h 6858290"/>
              <a:gd name="connsiteX2119" fmla="*/ 2079949 w 12139750"/>
              <a:gd name="connsiteY2119" fmla="*/ 3426845 h 6858290"/>
              <a:gd name="connsiteX2120" fmla="*/ 2043698 w 12139750"/>
              <a:gd name="connsiteY2120" fmla="*/ 3491709 h 6858290"/>
              <a:gd name="connsiteX2121" fmla="*/ 1700314 w 12139750"/>
              <a:gd name="connsiteY2121" fmla="*/ 3592822 h 6858290"/>
              <a:gd name="connsiteX2122" fmla="*/ 1635452 w 12139750"/>
              <a:gd name="connsiteY2122" fmla="*/ 3556574 h 6858290"/>
              <a:gd name="connsiteX2123" fmla="*/ 1633545 w 12139750"/>
              <a:gd name="connsiteY2123" fmla="*/ 3541311 h 6858290"/>
              <a:gd name="connsiteX2124" fmla="*/ 1671698 w 12139750"/>
              <a:gd name="connsiteY2124" fmla="*/ 3491709 h 6858290"/>
              <a:gd name="connsiteX2125" fmla="*/ 2015083 w 12139750"/>
              <a:gd name="connsiteY2125" fmla="*/ 3392506 h 6858290"/>
              <a:gd name="connsiteX2126" fmla="*/ 2035412 w 12139750"/>
              <a:gd name="connsiteY2126" fmla="*/ 3390091 h 6858290"/>
              <a:gd name="connsiteX2127" fmla="*/ 3729541 w 12139750"/>
              <a:gd name="connsiteY2127" fmla="*/ 3384855 h 6858290"/>
              <a:gd name="connsiteX2128" fmla="*/ 3773836 w 12139750"/>
              <a:gd name="connsiteY2128" fmla="*/ 3427580 h 6858290"/>
              <a:gd name="connsiteX2129" fmla="*/ 3733748 w 12139750"/>
              <a:gd name="connsiteY2129" fmla="*/ 3494046 h 6858290"/>
              <a:gd name="connsiteX2130" fmla="*/ 3388242 w 12139750"/>
              <a:gd name="connsiteY2130" fmla="*/ 3575706 h 6858290"/>
              <a:gd name="connsiteX2131" fmla="*/ 3321424 w 12139750"/>
              <a:gd name="connsiteY2131" fmla="*/ 3533926 h 6858290"/>
              <a:gd name="connsiteX2132" fmla="*/ 3319515 w 12139750"/>
              <a:gd name="connsiteY2132" fmla="*/ 3520633 h 6858290"/>
              <a:gd name="connsiteX2133" fmla="*/ 3361512 w 12139750"/>
              <a:gd name="connsiteY2133" fmla="*/ 3465560 h 6858290"/>
              <a:gd name="connsiteX2134" fmla="*/ 3707021 w 12139750"/>
              <a:gd name="connsiteY2134" fmla="*/ 3385804 h 6858290"/>
              <a:gd name="connsiteX2135" fmla="*/ 3729541 w 12139750"/>
              <a:gd name="connsiteY2135" fmla="*/ 3384855 h 6858290"/>
              <a:gd name="connsiteX2136" fmla="*/ 2596040 w 12139750"/>
              <a:gd name="connsiteY2136" fmla="*/ 3384850 h 6858290"/>
              <a:gd name="connsiteX2137" fmla="*/ 2640334 w 12139750"/>
              <a:gd name="connsiteY2137" fmla="*/ 3427579 h 6858290"/>
              <a:gd name="connsiteX2138" fmla="*/ 2598338 w 12139750"/>
              <a:gd name="connsiteY2138" fmla="*/ 3494046 h 6858290"/>
              <a:gd name="connsiteX2139" fmla="*/ 2254725 w 12139750"/>
              <a:gd name="connsiteY2139" fmla="*/ 3575706 h 6858290"/>
              <a:gd name="connsiteX2140" fmla="*/ 2187911 w 12139750"/>
              <a:gd name="connsiteY2140" fmla="*/ 3533926 h 6858290"/>
              <a:gd name="connsiteX2141" fmla="*/ 2186002 w 12139750"/>
              <a:gd name="connsiteY2141" fmla="*/ 3520633 h 6858290"/>
              <a:gd name="connsiteX2142" fmla="*/ 2227999 w 12139750"/>
              <a:gd name="connsiteY2142" fmla="*/ 3465560 h 6858290"/>
              <a:gd name="connsiteX2143" fmla="*/ 2573520 w 12139750"/>
              <a:gd name="connsiteY2143" fmla="*/ 3385799 h 6858290"/>
              <a:gd name="connsiteX2144" fmla="*/ 2596040 w 12139750"/>
              <a:gd name="connsiteY2144" fmla="*/ 3384850 h 6858290"/>
              <a:gd name="connsiteX2145" fmla="*/ 3137316 w 12139750"/>
              <a:gd name="connsiteY2145" fmla="*/ 3377575 h 6858290"/>
              <a:gd name="connsiteX2146" fmla="*/ 3205849 w 12139750"/>
              <a:gd name="connsiteY2146" fmla="*/ 3425194 h 6858290"/>
              <a:gd name="connsiteX2147" fmla="*/ 3158257 w 12139750"/>
              <a:gd name="connsiteY2147" fmla="*/ 3493773 h 6858290"/>
              <a:gd name="connsiteX2148" fmla="*/ 2813680 w 12139750"/>
              <a:gd name="connsiteY2148" fmla="*/ 3556638 h 6858290"/>
              <a:gd name="connsiteX2149" fmla="*/ 2745145 w 12139750"/>
              <a:gd name="connsiteY2149" fmla="*/ 3509013 h 6858290"/>
              <a:gd name="connsiteX2150" fmla="*/ 2743240 w 12139750"/>
              <a:gd name="connsiteY2150" fmla="*/ 3497583 h 6858290"/>
              <a:gd name="connsiteX2151" fmla="*/ 2792741 w 12139750"/>
              <a:gd name="connsiteY2151" fmla="*/ 3440433 h 6858290"/>
              <a:gd name="connsiteX2152" fmla="*/ 3137316 w 12139750"/>
              <a:gd name="connsiteY2152" fmla="*/ 3377575 h 6858290"/>
              <a:gd name="connsiteX2153" fmla="*/ 9858814 w 12139750"/>
              <a:gd name="connsiteY2153" fmla="*/ 3131368 h 6858290"/>
              <a:gd name="connsiteX2154" fmla="*/ 9870234 w 12139750"/>
              <a:gd name="connsiteY2154" fmla="*/ 3136605 h 6858290"/>
              <a:gd name="connsiteX2155" fmla="*/ 9868331 w 12139750"/>
              <a:gd name="connsiteY2155" fmla="*/ 3159443 h 6858290"/>
              <a:gd name="connsiteX2156" fmla="*/ 9539049 w 12139750"/>
              <a:gd name="connsiteY2156" fmla="*/ 3458218 h 6858290"/>
              <a:gd name="connsiteX2157" fmla="*/ 9516209 w 12139750"/>
              <a:gd name="connsiteY2157" fmla="*/ 3456315 h 6858290"/>
              <a:gd name="connsiteX2158" fmla="*/ 9512402 w 12139750"/>
              <a:gd name="connsiteY2158" fmla="*/ 3444896 h 6858290"/>
              <a:gd name="connsiteX2159" fmla="*/ 9516209 w 12139750"/>
              <a:gd name="connsiteY2159" fmla="*/ 3433477 h 6858290"/>
              <a:gd name="connsiteX2160" fmla="*/ 9847394 w 12139750"/>
              <a:gd name="connsiteY2160" fmla="*/ 3134702 h 6858290"/>
              <a:gd name="connsiteX2161" fmla="*/ 9858814 w 12139750"/>
              <a:gd name="connsiteY2161" fmla="*/ 3131368 h 6858290"/>
              <a:gd name="connsiteX2162" fmla="*/ 9282539 w 12139750"/>
              <a:gd name="connsiteY2162" fmla="*/ 3124787 h 6858290"/>
              <a:gd name="connsiteX2163" fmla="*/ 9295203 w 12139750"/>
              <a:gd name="connsiteY2163" fmla="*/ 3132178 h 6858290"/>
              <a:gd name="connsiteX2164" fmla="*/ 9293291 w 12139750"/>
              <a:gd name="connsiteY2164" fmla="*/ 3160778 h 6858290"/>
              <a:gd name="connsiteX2165" fmla="*/ 8960690 w 12139750"/>
              <a:gd name="connsiteY2165" fmla="*/ 3437250 h 6858290"/>
              <a:gd name="connsiteX2166" fmla="*/ 8932017 w 12139750"/>
              <a:gd name="connsiteY2166" fmla="*/ 3435343 h 6858290"/>
              <a:gd name="connsiteX2167" fmla="*/ 8928194 w 12139750"/>
              <a:gd name="connsiteY2167" fmla="*/ 3421997 h 6858290"/>
              <a:gd name="connsiteX2168" fmla="*/ 8935840 w 12139750"/>
              <a:gd name="connsiteY2168" fmla="*/ 3406743 h 6858290"/>
              <a:gd name="connsiteX2169" fmla="*/ 9268442 w 12139750"/>
              <a:gd name="connsiteY2169" fmla="*/ 3130267 h 6858290"/>
              <a:gd name="connsiteX2170" fmla="*/ 9282539 w 12139750"/>
              <a:gd name="connsiteY2170" fmla="*/ 3124787 h 6858290"/>
              <a:gd name="connsiteX2171" fmla="*/ 10443256 w 12139750"/>
              <a:gd name="connsiteY2171" fmla="*/ 3124763 h 6858290"/>
              <a:gd name="connsiteX2172" fmla="*/ 10457592 w 12139750"/>
              <a:gd name="connsiteY2172" fmla="*/ 3132152 h 6858290"/>
              <a:gd name="connsiteX2173" fmla="*/ 10453769 w 12139750"/>
              <a:gd name="connsiteY2173" fmla="*/ 3160755 h 6858290"/>
              <a:gd name="connsiteX2174" fmla="*/ 10121168 w 12139750"/>
              <a:gd name="connsiteY2174" fmla="*/ 3437250 h 6858290"/>
              <a:gd name="connsiteX2175" fmla="*/ 10094407 w 12139750"/>
              <a:gd name="connsiteY2175" fmla="*/ 3435343 h 6858290"/>
              <a:gd name="connsiteX2176" fmla="*/ 10088672 w 12139750"/>
              <a:gd name="connsiteY2176" fmla="*/ 3421995 h 6858290"/>
              <a:gd name="connsiteX2177" fmla="*/ 10096318 w 12139750"/>
              <a:gd name="connsiteY2177" fmla="*/ 3406741 h 6858290"/>
              <a:gd name="connsiteX2178" fmla="*/ 10428920 w 12139750"/>
              <a:gd name="connsiteY2178" fmla="*/ 3130246 h 6858290"/>
              <a:gd name="connsiteX2179" fmla="*/ 10443256 w 12139750"/>
              <a:gd name="connsiteY2179" fmla="*/ 3124763 h 6858290"/>
              <a:gd name="connsiteX2180" fmla="*/ 8711378 w 12139750"/>
              <a:gd name="connsiteY2180" fmla="*/ 3118284 h 6858290"/>
              <a:gd name="connsiteX2181" fmla="*/ 8728495 w 12139750"/>
              <a:gd name="connsiteY2181" fmla="*/ 3128067 h 6858290"/>
              <a:gd name="connsiteX2182" fmla="*/ 8722790 w 12139750"/>
              <a:gd name="connsiteY2182" fmla="*/ 3160517 h 6858290"/>
              <a:gd name="connsiteX2183" fmla="*/ 8391863 w 12139750"/>
              <a:gd name="connsiteY2183" fmla="*/ 3418193 h 6858290"/>
              <a:gd name="connsiteX2184" fmla="*/ 8357629 w 12139750"/>
              <a:gd name="connsiteY2184" fmla="*/ 3414376 h 6858290"/>
              <a:gd name="connsiteX2185" fmla="*/ 8351923 w 12139750"/>
              <a:gd name="connsiteY2185" fmla="*/ 3399106 h 6858290"/>
              <a:gd name="connsiteX2186" fmla="*/ 8361432 w 12139750"/>
              <a:gd name="connsiteY2186" fmla="*/ 3380018 h 6858290"/>
              <a:gd name="connsiteX2187" fmla="*/ 8694262 w 12139750"/>
              <a:gd name="connsiteY2187" fmla="*/ 3124249 h 6858290"/>
              <a:gd name="connsiteX2188" fmla="*/ 8711378 w 12139750"/>
              <a:gd name="connsiteY2188" fmla="*/ 3118284 h 6858290"/>
              <a:gd name="connsiteX2189" fmla="*/ 11020985 w 12139750"/>
              <a:gd name="connsiteY2189" fmla="*/ 3118259 h 6858290"/>
              <a:gd name="connsiteX2190" fmla="*/ 11036438 w 12139750"/>
              <a:gd name="connsiteY2190" fmla="*/ 3128041 h 6858290"/>
              <a:gd name="connsiteX2191" fmla="*/ 11032634 w 12139750"/>
              <a:gd name="connsiteY2191" fmla="*/ 3160492 h 6858290"/>
              <a:gd name="connsiteX2192" fmla="*/ 10699805 w 12139750"/>
              <a:gd name="connsiteY2192" fmla="*/ 3418193 h 6858290"/>
              <a:gd name="connsiteX2193" fmla="*/ 10667473 w 12139750"/>
              <a:gd name="connsiteY2193" fmla="*/ 3414376 h 6858290"/>
              <a:gd name="connsiteX2194" fmla="*/ 10661767 w 12139750"/>
              <a:gd name="connsiteY2194" fmla="*/ 3399103 h 6858290"/>
              <a:gd name="connsiteX2195" fmla="*/ 10671276 w 12139750"/>
              <a:gd name="connsiteY2195" fmla="*/ 3380016 h 6858290"/>
              <a:gd name="connsiteX2196" fmla="*/ 11004106 w 12139750"/>
              <a:gd name="connsiteY2196" fmla="*/ 3124224 h 6858290"/>
              <a:gd name="connsiteX2197" fmla="*/ 11020985 w 12139750"/>
              <a:gd name="connsiteY2197" fmla="*/ 3118259 h 6858290"/>
              <a:gd name="connsiteX2198" fmla="*/ 8147892 w 12139750"/>
              <a:gd name="connsiteY2198" fmla="*/ 3113506 h 6858290"/>
              <a:gd name="connsiteX2199" fmla="*/ 8166198 w 12139750"/>
              <a:gd name="connsiteY2199" fmla="*/ 3125150 h 6858290"/>
              <a:gd name="connsiteX2200" fmla="*/ 8160492 w 12139750"/>
              <a:gd name="connsiteY2200" fmla="*/ 3163167 h 6858290"/>
              <a:gd name="connsiteX2201" fmla="*/ 7825748 w 12139750"/>
              <a:gd name="connsiteY2201" fmla="*/ 3398864 h 6858290"/>
              <a:gd name="connsiteX2202" fmla="*/ 7787709 w 12139750"/>
              <a:gd name="connsiteY2202" fmla="*/ 3393162 h 6858290"/>
              <a:gd name="connsiteX2203" fmla="*/ 7782003 w 12139750"/>
              <a:gd name="connsiteY2203" fmla="*/ 3376054 h 6858290"/>
              <a:gd name="connsiteX2204" fmla="*/ 7795316 w 12139750"/>
              <a:gd name="connsiteY2204" fmla="*/ 3353251 h 6858290"/>
              <a:gd name="connsiteX2205" fmla="*/ 8128159 w 12139750"/>
              <a:gd name="connsiteY2205" fmla="*/ 3117545 h 6858290"/>
              <a:gd name="connsiteX2206" fmla="*/ 8147892 w 12139750"/>
              <a:gd name="connsiteY2206" fmla="*/ 3113506 h 6858290"/>
              <a:gd name="connsiteX2207" fmla="*/ 11592870 w 12139750"/>
              <a:gd name="connsiteY2207" fmla="*/ 3113497 h 6858290"/>
              <a:gd name="connsiteX2208" fmla="*/ 11611429 w 12139750"/>
              <a:gd name="connsiteY2208" fmla="*/ 3125143 h 6858290"/>
              <a:gd name="connsiteX2209" fmla="*/ 11603815 w 12139750"/>
              <a:gd name="connsiteY2209" fmla="*/ 3163160 h 6858290"/>
              <a:gd name="connsiteX2210" fmla="*/ 11270705 w 12139750"/>
              <a:gd name="connsiteY2210" fmla="*/ 3398861 h 6858290"/>
              <a:gd name="connsiteX2211" fmla="*/ 11232635 w 12139750"/>
              <a:gd name="connsiteY2211" fmla="*/ 3393157 h 6858290"/>
              <a:gd name="connsiteX2212" fmla="*/ 11226925 w 12139750"/>
              <a:gd name="connsiteY2212" fmla="*/ 3376052 h 6858290"/>
              <a:gd name="connsiteX2213" fmla="*/ 11238346 w 12139750"/>
              <a:gd name="connsiteY2213" fmla="*/ 3353249 h 6858290"/>
              <a:gd name="connsiteX2214" fmla="*/ 11571456 w 12139750"/>
              <a:gd name="connsiteY2214" fmla="*/ 3117537 h 6858290"/>
              <a:gd name="connsiteX2215" fmla="*/ 11592870 w 12139750"/>
              <a:gd name="connsiteY2215" fmla="*/ 3113497 h 6858290"/>
              <a:gd name="connsiteX2216" fmla="*/ 12139750 w 12139750"/>
              <a:gd name="connsiteY2216" fmla="*/ 3109931 h 6858290"/>
              <a:gd name="connsiteX2217" fmla="*/ 12139750 w 12139750"/>
              <a:gd name="connsiteY2217" fmla="*/ 3184058 h 6858290"/>
              <a:gd name="connsiteX2218" fmla="*/ 11835219 w 12139750"/>
              <a:gd name="connsiteY2218" fmla="*/ 3379813 h 6858290"/>
              <a:gd name="connsiteX2219" fmla="*/ 11791443 w 12139750"/>
              <a:gd name="connsiteY2219" fmla="*/ 3370310 h 6858290"/>
              <a:gd name="connsiteX2220" fmla="*/ 11785733 w 12139750"/>
              <a:gd name="connsiteY2220" fmla="*/ 3353211 h 6858290"/>
              <a:gd name="connsiteX2221" fmla="*/ 11800960 w 12139750"/>
              <a:gd name="connsiteY2221" fmla="*/ 3326605 h 6858290"/>
              <a:gd name="connsiteX2222" fmla="*/ 12135943 w 12139750"/>
              <a:gd name="connsiteY2222" fmla="*/ 3111832 h 6858290"/>
              <a:gd name="connsiteX2223" fmla="*/ 12139750 w 12139750"/>
              <a:gd name="connsiteY2223" fmla="*/ 3109931 h 6858290"/>
              <a:gd name="connsiteX2224" fmla="*/ 7592396 w 12139750"/>
              <a:gd name="connsiteY2224" fmla="*/ 3107000 h 6858290"/>
              <a:gd name="connsiteX2225" fmla="*/ 7612145 w 12139750"/>
              <a:gd name="connsiteY2225" fmla="*/ 3121034 h 6858290"/>
              <a:gd name="connsiteX2226" fmla="*/ 7602628 w 12139750"/>
              <a:gd name="connsiteY2226" fmla="*/ 3164800 h 6858290"/>
              <a:gd name="connsiteX2227" fmla="*/ 7267608 w 12139750"/>
              <a:gd name="connsiteY2227" fmla="*/ 3379811 h 6858290"/>
              <a:gd name="connsiteX2228" fmla="*/ 7223827 w 12139750"/>
              <a:gd name="connsiteY2228" fmla="*/ 3370294 h 6858290"/>
              <a:gd name="connsiteX2229" fmla="*/ 7220020 w 12139750"/>
              <a:gd name="connsiteY2229" fmla="*/ 3353176 h 6858290"/>
              <a:gd name="connsiteX2230" fmla="*/ 7233344 w 12139750"/>
              <a:gd name="connsiteY2230" fmla="*/ 3326538 h 6858290"/>
              <a:gd name="connsiteX2231" fmla="*/ 7568364 w 12139750"/>
              <a:gd name="connsiteY2231" fmla="*/ 3111519 h 6858290"/>
              <a:gd name="connsiteX2232" fmla="*/ 7592396 w 12139750"/>
              <a:gd name="connsiteY2232" fmla="*/ 3107000 h 6858290"/>
              <a:gd name="connsiteX2233" fmla="*/ 7041870 w 12139750"/>
              <a:gd name="connsiteY2233" fmla="*/ 3101853 h 6858290"/>
              <a:gd name="connsiteX2234" fmla="*/ 7064457 w 12139750"/>
              <a:gd name="connsiteY2234" fmla="*/ 3118540 h 6858290"/>
              <a:gd name="connsiteX2235" fmla="*/ 7051143 w 12139750"/>
              <a:gd name="connsiteY2235" fmla="*/ 3166221 h 6858290"/>
              <a:gd name="connsiteX2236" fmla="*/ 6714471 w 12139750"/>
              <a:gd name="connsiteY2236" fmla="*/ 3360742 h 6858290"/>
              <a:gd name="connsiteX2237" fmla="*/ 6666918 w 12139750"/>
              <a:gd name="connsiteY2237" fmla="*/ 3347395 h 6858290"/>
              <a:gd name="connsiteX2238" fmla="*/ 6661212 w 12139750"/>
              <a:gd name="connsiteY2238" fmla="*/ 3330234 h 6858290"/>
              <a:gd name="connsiteX2239" fmla="*/ 6680233 w 12139750"/>
              <a:gd name="connsiteY2239" fmla="*/ 3299719 h 6858290"/>
              <a:gd name="connsiteX2240" fmla="*/ 7015003 w 12139750"/>
              <a:gd name="connsiteY2240" fmla="*/ 3105192 h 6858290"/>
              <a:gd name="connsiteX2241" fmla="*/ 7041870 w 12139750"/>
              <a:gd name="connsiteY2241" fmla="*/ 3101853 h 6858290"/>
              <a:gd name="connsiteX2242" fmla="*/ 6499097 w 12139750"/>
              <a:gd name="connsiteY2242" fmla="*/ 3095115 h 6858290"/>
              <a:gd name="connsiteX2243" fmla="*/ 6521210 w 12139750"/>
              <a:gd name="connsiteY2243" fmla="*/ 3114451 h 6858290"/>
              <a:gd name="connsiteX2244" fmla="*/ 6505992 w 12139750"/>
              <a:gd name="connsiteY2244" fmla="*/ 3167917 h 6858290"/>
              <a:gd name="connsiteX2245" fmla="*/ 6167407 w 12139750"/>
              <a:gd name="connsiteY2245" fmla="*/ 3341686 h 6858290"/>
              <a:gd name="connsiteX2246" fmla="*/ 6116048 w 12139750"/>
              <a:gd name="connsiteY2246" fmla="*/ 3326407 h 6858290"/>
              <a:gd name="connsiteX2247" fmla="*/ 6110342 w 12139750"/>
              <a:gd name="connsiteY2247" fmla="*/ 3307313 h 6858290"/>
              <a:gd name="connsiteX2248" fmla="*/ 6131266 w 12139750"/>
              <a:gd name="connsiteY2248" fmla="*/ 3272944 h 6858290"/>
              <a:gd name="connsiteX2249" fmla="*/ 6469851 w 12139750"/>
              <a:gd name="connsiteY2249" fmla="*/ 3097266 h 6858290"/>
              <a:gd name="connsiteX2250" fmla="*/ 6499097 w 12139750"/>
              <a:gd name="connsiteY2250" fmla="*/ 3095115 h 6858290"/>
              <a:gd name="connsiteX2251" fmla="*/ 5958954 w 12139750"/>
              <a:gd name="connsiteY2251" fmla="*/ 3091506 h 6858290"/>
              <a:gd name="connsiteX2252" fmla="*/ 5983314 w 12139750"/>
              <a:gd name="connsiteY2252" fmla="*/ 3113357 h 6858290"/>
              <a:gd name="connsiteX2253" fmla="*/ 5962297 w 12139750"/>
              <a:gd name="connsiteY2253" fmla="*/ 3170362 h 6858290"/>
              <a:gd name="connsiteX2254" fmla="*/ 5620299 w 12139750"/>
              <a:gd name="connsiteY2254" fmla="*/ 3324270 h 6858290"/>
              <a:gd name="connsiteX2255" fmla="*/ 5564892 w 12139750"/>
              <a:gd name="connsiteY2255" fmla="*/ 3301471 h 6858290"/>
              <a:gd name="connsiteX2256" fmla="*/ 5561071 w 12139750"/>
              <a:gd name="connsiteY2256" fmla="*/ 3284371 h 6858290"/>
              <a:gd name="connsiteX2257" fmla="*/ 5585909 w 12139750"/>
              <a:gd name="connsiteY2257" fmla="*/ 3246366 h 6858290"/>
              <a:gd name="connsiteX2258" fmla="*/ 5925996 w 12139750"/>
              <a:gd name="connsiteY2258" fmla="*/ 3092457 h 6858290"/>
              <a:gd name="connsiteX2259" fmla="*/ 5958954 w 12139750"/>
              <a:gd name="connsiteY2259" fmla="*/ 3091506 h 6858290"/>
              <a:gd name="connsiteX2260" fmla="*/ 399603 w 12139750"/>
              <a:gd name="connsiteY2260" fmla="*/ 3091494 h 6858290"/>
              <a:gd name="connsiteX2261" fmla="*/ 423874 w 12139750"/>
              <a:gd name="connsiteY2261" fmla="*/ 3113346 h 6858290"/>
              <a:gd name="connsiteX2262" fmla="*/ 401031 w 12139750"/>
              <a:gd name="connsiteY2262" fmla="*/ 3170351 h 6858290"/>
              <a:gd name="connsiteX2263" fmla="*/ 62187 w 12139750"/>
              <a:gd name="connsiteY2263" fmla="*/ 3324262 h 6858290"/>
              <a:gd name="connsiteX2264" fmla="*/ 6982 w 12139750"/>
              <a:gd name="connsiteY2264" fmla="*/ 3301463 h 6858290"/>
              <a:gd name="connsiteX2265" fmla="*/ 3175 w 12139750"/>
              <a:gd name="connsiteY2265" fmla="*/ 3284360 h 6858290"/>
              <a:gd name="connsiteX2266" fmla="*/ 27922 w 12139750"/>
              <a:gd name="connsiteY2266" fmla="*/ 3246356 h 6858290"/>
              <a:gd name="connsiteX2267" fmla="*/ 366766 w 12139750"/>
              <a:gd name="connsiteY2267" fmla="*/ 3092445 h 6858290"/>
              <a:gd name="connsiteX2268" fmla="*/ 399603 w 12139750"/>
              <a:gd name="connsiteY2268" fmla="*/ 3091494 h 6858290"/>
              <a:gd name="connsiteX2269" fmla="*/ 5376340 w 12139750"/>
              <a:gd name="connsiteY2269" fmla="*/ 3084226 h 6858290"/>
              <a:gd name="connsiteX2270" fmla="*/ 5437255 w 12139750"/>
              <a:gd name="connsiteY2270" fmla="*/ 3110894 h 6858290"/>
              <a:gd name="connsiteX2271" fmla="*/ 5410604 w 12139750"/>
              <a:gd name="connsiteY2271" fmla="*/ 3171854 h 6858290"/>
              <a:gd name="connsiteX2272" fmla="*/ 5069849 w 12139750"/>
              <a:gd name="connsiteY2272" fmla="*/ 3305199 h 6858290"/>
              <a:gd name="connsiteX2273" fmla="*/ 5010842 w 12139750"/>
              <a:gd name="connsiteY2273" fmla="*/ 3278532 h 6858290"/>
              <a:gd name="connsiteX2274" fmla="*/ 5007035 w 12139750"/>
              <a:gd name="connsiteY2274" fmla="*/ 3261388 h 6858290"/>
              <a:gd name="connsiteX2275" fmla="*/ 5037491 w 12139750"/>
              <a:gd name="connsiteY2275" fmla="*/ 3217574 h 6858290"/>
              <a:gd name="connsiteX2276" fmla="*/ 5376340 w 12139750"/>
              <a:gd name="connsiteY2276" fmla="*/ 3084226 h 6858290"/>
              <a:gd name="connsiteX2277" fmla="*/ 910964 w 12139750"/>
              <a:gd name="connsiteY2277" fmla="*/ 3084210 h 6858290"/>
              <a:gd name="connsiteX2278" fmla="*/ 969977 w 12139750"/>
              <a:gd name="connsiteY2278" fmla="*/ 3110879 h 6858290"/>
              <a:gd name="connsiteX2279" fmla="*/ 945229 w 12139750"/>
              <a:gd name="connsiteY2279" fmla="*/ 3171840 h 6858290"/>
              <a:gd name="connsiteX2280" fmla="*/ 604476 w 12139750"/>
              <a:gd name="connsiteY2280" fmla="*/ 3305187 h 6858290"/>
              <a:gd name="connsiteX2281" fmla="*/ 543559 w 12139750"/>
              <a:gd name="connsiteY2281" fmla="*/ 3278518 h 6858290"/>
              <a:gd name="connsiteX2282" fmla="*/ 539752 w 12139750"/>
              <a:gd name="connsiteY2282" fmla="*/ 3261374 h 6858290"/>
              <a:gd name="connsiteX2283" fmla="*/ 570210 w 12139750"/>
              <a:gd name="connsiteY2283" fmla="*/ 3217559 h 6858290"/>
              <a:gd name="connsiteX2284" fmla="*/ 910964 w 12139750"/>
              <a:gd name="connsiteY2284" fmla="*/ 3084210 h 6858290"/>
              <a:gd name="connsiteX2285" fmla="*/ 4845142 w 12139750"/>
              <a:gd name="connsiteY2285" fmla="*/ 3075495 h 6858290"/>
              <a:gd name="connsiteX2286" fmla="*/ 4888280 w 12139750"/>
              <a:gd name="connsiteY2286" fmla="*/ 3110635 h 6858290"/>
              <a:gd name="connsiteX2287" fmla="*/ 4855887 w 12139750"/>
              <a:gd name="connsiteY2287" fmla="*/ 3173587 h 6858290"/>
              <a:gd name="connsiteX2288" fmla="*/ 4514895 w 12139750"/>
              <a:gd name="connsiteY2288" fmla="*/ 3286137 h 6858290"/>
              <a:gd name="connsiteX2289" fmla="*/ 4450123 w 12139750"/>
              <a:gd name="connsiteY2289" fmla="*/ 3253707 h 6858290"/>
              <a:gd name="connsiteX2290" fmla="*/ 4448218 w 12139750"/>
              <a:gd name="connsiteY2290" fmla="*/ 3238443 h 6858290"/>
              <a:gd name="connsiteX2291" fmla="*/ 4482509 w 12139750"/>
              <a:gd name="connsiteY2291" fmla="*/ 3190757 h 6858290"/>
              <a:gd name="connsiteX2292" fmla="*/ 4825402 w 12139750"/>
              <a:gd name="connsiteY2292" fmla="*/ 3078206 h 6858290"/>
              <a:gd name="connsiteX2293" fmla="*/ 4845142 w 12139750"/>
              <a:gd name="connsiteY2293" fmla="*/ 3075495 h 6858290"/>
              <a:gd name="connsiteX2294" fmla="*/ 1479596 w 12139750"/>
              <a:gd name="connsiteY2294" fmla="*/ 3075477 h 6858290"/>
              <a:gd name="connsiteX2295" fmla="*/ 1522429 w 12139750"/>
              <a:gd name="connsiteY2295" fmla="*/ 3110619 h 6858290"/>
              <a:gd name="connsiteX2296" fmla="*/ 1491970 w 12139750"/>
              <a:gd name="connsiteY2296" fmla="*/ 3173573 h 6858290"/>
              <a:gd name="connsiteX2297" fmla="*/ 1149308 w 12139750"/>
              <a:gd name="connsiteY2297" fmla="*/ 3286122 h 6858290"/>
              <a:gd name="connsiteX2298" fmla="*/ 1086486 w 12139750"/>
              <a:gd name="connsiteY2298" fmla="*/ 3253693 h 6858290"/>
              <a:gd name="connsiteX2299" fmla="*/ 1082679 w 12139750"/>
              <a:gd name="connsiteY2299" fmla="*/ 3238431 h 6858290"/>
              <a:gd name="connsiteX2300" fmla="*/ 1118849 w 12139750"/>
              <a:gd name="connsiteY2300" fmla="*/ 3190741 h 6858290"/>
              <a:gd name="connsiteX2301" fmla="*/ 1459607 w 12139750"/>
              <a:gd name="connsiteY2301" fmla="*/ 3078189 h 6858290"/>
              <a:gd name="connsiteX2302" fmla="*/ 1479596 w 12139750"/>
              <a:gd name="connsiteY2302" fmla="*/ 3075477 h 6858290"/>
              <a:gd name="connsiteX2303" fmla="*/ 4290284 w 12139750"/>
              <a:gd name="connsiteY2303" fmla="*/ 3070235 h 6858290"/>
              <a:gd name="connsiteX2304" fmla="*/ 4333922 w 12139750"/>
              <a:gd name="connsiteY2304" fmla="*/ 3109556 h 6858290"/>
              <a:gd name="connsiteX2305" fmla="*/ 4295845 w 12139750"/>
              <a:gd name="connsiteY2305" fmla="*/ 3176127 h 6858290"/>
              <a:gd name="connsiteX2306" fmla="*/ 3953197 w 12139750"/>
              <a:gd name="connsiteY2306" fmla="*/ 3267431 h 6858290"/>
              <a:gd name="connsiteX2307" fmla="*/ 3886567 w 12139750"/>
              <a:gd name="connsiteY2307" fmla="*/ 3229387 h 6858290"/>
              <a:gd name="connsiteX2308" fmla="*/ 3884664 w 12139750"/>
              <a:gd name="connsiteY2308" fmla="*/ 3216076 h 6858290"/>
              <a:gd name="connsiteX2309" fmla="*/ 3924642 w 12139750"/>
              <a:gd name="connsiteY2309" fmla="*/ 3164719 h 6858290"/>
              <a:gd name="connsiteX2310" fmla="*/ 4269194 w 12139750"/>
              <a:gd name="connsiteY2310" fmla="*/ 3071515 h 6858290"/>
              <a:gd name="connsiteX2311" fmla="*/ 4290284 w 12139750"/>
              <a:gd name="connsiteY2311" fmla="*/ 3070235 h 6858290"/>
              <a:gd name="connsiteX2312" fmla="*/ 2036269 w 12139750"/>
              <a:gd name="connsiteY2312" fmla="*/ 3070217 h 6858290"/>
              <a:gd name="connsiteX2313" fmla="*/ 2081548 w 12139750"/>
              <a:gd name="connsiteY2313" fmla="*/ 3109537 h 6858290"/>
              <a:gd name="connsiteX2314" fmla="*/ 2043443 w 12139750"/>
              <a:gd name="connsiteY2314" fmla="*/ 3176111 h 6858290"/>
              <a:gd name="connsiteX2315" fmla="*/ 1700538 w 12139750"/>
              <a:gd name="connsiteY2315" fmla="*/ 3267414 h 6858290"/>
              <a:gd name="connsiteX2316" fmla="*/ 1633862 w 12139750"/>
              <a:gd name="connsiteY2316" fmla="*/ 3229371 h 6858290"/>
              <a:gd name="connsiteX2317" fmla="*/ 1631957 w 12139750"/>
              <a:gd name="connsiteY2317" fmla="*/ 3216056 h 6858290"/>
              <a:gd name="connsiteX2318" fmla="*/ 1671963 w 12139750"/>
              <a:gd name="connsiteY2318" fmla="*/ 3164700 h 6858290"/>
              <a:gd name="connsiteX2319" fmla="*/ 2014867 w 12139750"/>
              <a:gd name="connsiteY2319" fmla="*/ 3071495 h 6858290"/>
              <a:gd name="connsiteX2320" fmla="*/ 2036269 w 12139750"/>
              <a:gd name="connsiteY2320" fmla="*/ 3070217 h 6858290"/>
              <a:gd name="connsiteX2321" fmla="*/ 3731231 w 12139750"/>
              <a:gd name="connsiteY2321" fmla="*/ 3064531 h 6858290"/>
              <a:gd name="connsiteX2322" fmla="*/ 3777343 w 12139750"/>
              <a:gd name="connsiteY2322" fmla="*/ 3109072 h 6858290"/>
              <a:gd name="connsiteX2323" fmla="*/ 3731589 w 12139750"/>
              <a:gd name="connsiteY2323" fmla="*/ 3177762 h 6858290"/>
              <a:gd name="connsiteX2324" fmla="*/ 3386557 w 12139750"/>
              <a:gd name="connsiteY2324" fmla="*/ 3250263 h 6858290"/>
              <a:gd name="connsiteX2325" fmla="*/ 3317928 w 12139750"/>
              <a:gd name="connsiteY2325" fmla="*/ 3204472 h 6858290"/>
              <a:gd name="connsiteX2326" fmla="*/ 3317928 w 12139750"/>
              <a:gd name="connsiteY2326" fmla="*/ 3193023 h 6858290"/>
              <a:gd name="connsiteX2327" fmla="*/ 3363681 w 12139750"/>
              <a:gd name="connsiteY2327" fmla="*/ 3135786 h 6858290"/>
              <a:gd name="connsiteX2328" fmla="*/ 3708711 w 12139750"/>
              <a:gd name="connsiteY2328" fmla="*/ 3065187 h 6858290"/>
              <a:gd name="connsiteX2329" fmla="*/ 3731231 w 12139750"/>
              <a:gd name="connsiteY2329" fmla="*/ 3064531 h 6858290"/>
              <a:gd name="connsiteX2330" fmla="*/ 2597728 w 12139750"/>
              <a:gd name="connsiteY2330" fmla="*/ 3064510 h 6858290"/>
              <a:gd name="connsiteX2331" fmla="*/ 2643838 w 12139750"/>
              <a:gd name="connsiteY2331" fmla="*/ 3109051 h 6858290"/>
              <a:gd name="connsiteX2332" fmla="*/ 2598086 w 12139750"/>
              <a:gd name="connsiteY2332" fmla="*/ 3177742 h 6858290"/>
              <a:gd name="connsiteX2333" fmla="*/ 2253042 w 12139750"/>
              <a:gd name="connsiteY2333" fmla="*/ 3250246 h 6858290"/>
              <a:gd name="connsiteX2334" fmla="*/ 2184414 w 12139750"/>
              <a:gd name="connsiteY2334" fmla="*/ 3204454 h 6858290"/>
              <a:gd name="connsiteX2335" fmla="*/ 2184414 w 12139750"/>
              <a:gd name="connsiteY2335" fmla="*/ 3193005 h 6858290"/>
              <a:gd name="connsiteX2336" fmla="*/ 2230166 w 12139750"/>
              <a:gd name="connsiteY2336" fmla="*/ 3135765 h 6858290"/>
              <a:gd name="connsiteX2337" fmla="*/ 2575210 w 12139750"/>
              <a:gd name="connsiteY2337" fmla="*/ 3065166 h 6858290"/>
              <a:gd name="connsiteX2338" fmla="*/ 2597728 w 12139750"/>
              <a:gd name="connsiteY2338" fmla="*/ 3064510 h 6858290"/>
              <a:gd name="connsiteX2339" fmla="*/ 3139002 w 12139750"/>
              <a:gd name="connsiteY2339" fmla="*/ 3058190 h 6858290"/>
              <a:gd name="connsiteX2340" fmla="*/ 3209344 w 12139750"/>
              <a:gd name="connsiteY2340" fmla="*/ 3111529 h 6858290"/>
              <a:gd name="connsiteX2341" fmla="*/ 3156112 w 12139750"/>
              <a:gd name="connsiteY2341" fmla="*/ 3180110 h 6858290"/>
              <a:gd name="connsiteX2342" fmla="*/ 2811996 w 12139750"/>
              <a:gd name="connsiteY2342" fmla="*/ 3231537 h 6858290"/>
              <a:gd name="connsiteX2343" fmla="*/ 2741653 w 12139750"/>
              <a:gd name="connsiteY2343" fmla="*/ 3180110 h 6858290"/>
              <a:gd name="connsiteX2344" fmla="*/ 2741653 w 12139750"/>
              <a:gd name="connsiteY2344" fmla="*/ 3170583 h 6858290"/>
              <a:gd name="connsiteX2345" fmla="*/ 2792985 w 12139750"/>
              <a:gd name="connsiteY2345" fmla="*/ 3109626 h 6858290"/>
              <a:gd name="connsiteX2346" fmla="*/ 3139002 w 12139750"/>
              <a:gd name="connsiteY2346" fmla="*/ 3058190 h 6858290"/>
              <a:gd name="connsiteX2347" fmla="*/ 9858217 w 12139750"/>
              <a:gd name="connsiteY2347" fmla="*/ 2803158 h 6858290"/>
              <a:gd name="connsiteX2348" fmla="*/ 9867044 w 12139750"/>
              <a:gd name="connsiteY2348" fmla="*/ 2807683 h 6858290"/>
              <a:gd name="connsiteX2349" fmla="*/ 9867044 w 12139750"/>
              <a:gd name="connsiteY2349" fmla="*/ 2826731 h 6858290"/>
              <a:gd name="connsiteX2350" fmla="*/ 9536890 w 12139750"/>
              <a:gd name="connsiteY2350" fmla="*/ 3139152 h 6858290"/>
              <a:gd name="connsiteX2351" fmla="*/ 9517806 w 12139750"/>
              <a:gd name="connsiteY2351" fmla="*/ 3139152 h 6858290"/>
              <a:gd name="connsiteX2352" fmla="*/ 9513989 w 12139750"/>
              <a:gd name="connsiteY2352" fmla="*/ 3129628 h 6858290"/>
              <a:gd name="connsiteX2353" fmla="*/ 9519714 w 12139750"/>
              <a:gd name="connsiteY2353" fmla="*/ 3120101 h 6858290"/>
              <a:gd name="connsiteX2354" fmla="*/ 9847960 w 12139750"/>
              <a:gd name="connsiteY2354" fmla="*/ 2805777 h 6858290"/>
              <a:gd name="connsiteX2355" fmla="*/ 9858217 w 12139750"/>
              <a:gd name="connsiteY2355" fmla="*/ 2803158 h 6858290"/>
              <a:gd name="connsiteX2356" fmla="*/ 9280452 w 12139750"/>
              <a:gd name="connsiteY2356" fmla="*/ 2798866 h 6858290"/>
              <a:gd name="connsiteX2357" fmla="*/ 9292080 w 12139750"/>
              <a:gd name="connsiteY2357" fmla="*/ 2804804 h 6858290"/>
              <a:gd name="connsiteX2358" fmla="*/ 9290182 w 12139750"/>
              <a:gd name="connsiteY2358" fmla="*/ 2829495 h 6858290"/>
              <a:gd name="connsiteX2359" fmla="*/ 8961745 w 12139750"/>
              <a:gd name="connsiteY2359" fmla="*/ 3118217 h 6858290"/>
              <a:gd name="connsiteX2360" fmla="*/ 8937064 w 12139750"/>
              <a:gd name="connsiteY2360" fmla="*/ 3116319 h 6858290"/>
              <a:gd name="connsiteX2361" fmla="*/ 8931369 w 12139750"/>
              <a:gd name="connsiteY2361" fmla="*/ 3104922 h 6858290"/>
              <a:gd name="connsiteX2362" fmla="*/ 8937064 w 12139750"/>
              <a:gd name="connsiteY2362" fmla="*/ 3091625 h 6858290"/>
              <a:gd name="connsiteX2363" fmla="*/ 9267400 w 12139750"/>
              <a:gd name="connsiteY2363" fmla="*/ 2802904 h 6858290"/>
              <a:gd name="connsiteX2364" fmla="*/ 9280452 w 12139750"/>
              <a:gd name="connsiteY2364" fmla="*/ 2798866 h 6858290"/>
              <a:gd name="connsiteX2365" fmla="*/ 10442418 w 12139750"/>
              <a:gd name="connsiteY2365" fmla="*/ 2798842 h 6858290"/>
              <a:gd name="connsiteX2366" fmla="*/ 10454106 w 12139750"/>
              <a:gd name="connsiteY2366" fmla="*/ 2804777 h 6858290"/>
              <a:gd name="connsiteX2367" fmla="*/ 10454106 w 12139750"/>
              <a:gd name="connsiteY2367" fmla="*/ 2829471 h 6858290"/>
              <a:gd name="connsiteX2368" fmla="*/ 10122059 w 12139750"/>
              <a:gd name="connsiteY2368" fmla="*/ 3118194 h 6858290"/>
              <a:gd name="connsiteX2369" fmla="*/ 10097251 w 12139750"/>
              <a:gd name="connsiteY2369" fmla="*/ 3116295 h 6858290"/>
              <a:gd name="connsiteX2370" fmla="*/ 10093434 w 12139750"/>
              <a:gd name="connsiteY2370" fmla="*/ 3104898 h 6858290"/>
              <a:gd name="connsiteX2371" fmla="*/ 10099159 w 12139750"/>
              <a:gd name="connsiteY2371" fmla="*/ 3091603 h 6858290"/>
              <a:gd name="connsiteX2372" fmla="*/ 10429298 w 12139750"/>
              <a:gd name="connsiteY2372" fmla="*/ 2802878 h 6858290"/>
              <a:gd name="connsiteX2373" fmla="*/ 10442418 w 12139750"/>
              <a:gd name="connsiteY2373" fmla="*/ 2798842 h 6858290"/>
              <a:gd name="connsiteX2374" fmla="*/ 8710745 w 12139750"/>
              <a:gd name="connsiteY2374" fmla="*/ 2792356 h 6858290"/>
              <a:gd name="connsiteX2375" fmla="*/ 8725295 w 12139750"/>
              <a:gd name="connsiteY2375" fmla="*/ 2800675 h 6858290"/>
              <a:gd name="connsiteX2376" fmla="*/ 8723387 w 12139750"/>
              <a:gd name="connsiteY2376" fmla="*/ 2831093 h 6858290"/>
              <a:gd name="connsiteX2377" fmla="*/ 8389446 w 12139750"/>
              <a:gd name="connsiteY2377" fmla="*/ 3099164 h 6858290"/>
              <a:gd name="connsiteX2378" fmla="*/ 8358914 w 12139750"/>
              <a:gd name="connsiteY2378" fmla="*/ 3095358 h 6858290"/>
              <a:gd name="connsiteX2379" fmla="*/ 8355098 w 12139750"/>
              <a:gd name="connsiteY2379" fmla="*/ 3082053 h 6858290"/>
              <a:gd name="connsiteX2380" fmla="*/ 8362731 w 12139750"/>
              <a:gd name="connsiteY2380" fmla="*/ 3064941 h 6858290"/>
              <a:gd name="connsiteX2381" fmla="*/ 8694763 w 12139750"/>
              <a:gd name="connsiteY2381" fmla="*/ 2796872 h 6858290"/>
              <a:gd name="connsiteX2382" fmla="*/ 8710745 w 12139750"/>
              <a:gd name="connsiteY2382" fmla="*/ 2792356 h 6858290"/>
              <a:gd name="connsiteX2383" fmla="*/ 11020609 w 12139750"/>
              <a:gd name="connsiteY2383" fmla="*/ 2792330 h 6858290"/>
              <a:gd name="connsiteX2384" fmla="*/ 11035146 w 12139750"/>
              <a:gd name="connsiteY2384" fmla="*/ 2800648 h 6858290"/>
              <a:gd name="connsiteX2385" fmla="*/ 11031333 w 12139750"/>
              <a:gd name="connsiteY2385" fmla="*/ 2831067 h 6858290"/>
              <a:gd name="connsiteX2386" fmla="*/ 10699581 w 12139750"/>
              <a:gd name="connsiteY2386" fmla="*/ 3099136 h 6858290"/>
              <a:gd name="connsiteX2387" fmla="*/ 10669075 w 12139750"/>
              <a:gd name="connsiteY2387" fmla="*/ 3095334 h 6858290"/>
              <a:gd name="connsiteX2388" fmla="*/ 10663355 w 12139750"/>
              <a:gd name="connsiteY2388" fmla="*/ 3082025 h 6858290"/>
              <a:gd name="connsiteX2389" fmla="*/ 10672888 w 12139750"/>
              <a:gd name="connsiteY2389" fmla="*/ 3064914 h 6858290"/>
              <a:gd name="connsiteX2390" fmla="*/ 11004641 w 12139750"/>
              <a:gd name="connsiteY2390" fmla="*/ 2796846 h 6858290"/>
              <a:gd name="connsiteX2391" fmla="*/ 11020609 w 12139750"/>
              <a:gd name="connsiteY2391" fmla="*/ 2792330 h 6858290"/>
              <a:gd name="connsiteX2392" fmla="*/ 8147926 w 12139750"/>
              <a:gd name="connsiteY2392" fmla="*/ 2787441 h 6858290"/>
              <a:gd name="connsiteX2393" fmla="*/ 8164595 w 12139750"/>
              <a:gd name="connsiteY2393" fmla="*/ 2798157 h 6858290"/>
              <a:gd name="connsiteX2394" fmla="*/ 8158880 w 12139750"/>
              <a:gd name="connsiteY2394" fmla="*/ 2834352 h 6858290"/>
              <a:gd name="connsiteX2395" fmla="*/ 7825500 w 12139750"/>
              <a:gd name="connsiteY2395" fmla="*/ 3078192 h 6858290"/>
              <a:gd name="connsiteX2396" fmla="*/ 7789305 w 12139750"/>
              <a:gd name="connsiteY2396" fmla="*/ 3072478 h 6858290"/>
              <a:gd name="connsiteX2397" fmla="*/ 7783590 w 12139750"/>
              <a:gd name="connsiteY2397" fmla="*/ 3057236 h 6858290"/>
              <a:gd name="connsiteX2398" fmla="*/ 7795020 w 12139750"/>
              <a:gd name="connsiteY2398" fmla="*/ 3036282 h 6858290"/>
              <a:gd name="connsiteX2399" fmla="*/ 8128399 w 12139750"/>
              <a:gd name="connsiteY2399" fmla="*/ 2792440 h 6858290"/>
              <a:gd name="connsiteX2400" fmla="*/ 8147926 w 12139750"/>
              <a:gd name="connsiteY2400" fmla="*/ 2787441 h 6858290"/>
              <a:gd name="connsiteX2401" fmla="*/ 11592432 w 12139750"/>
              <a:gd name="connsiteY2401" fmla="*/ 2787434 h 6858290"/>
              <a:gd name="connsiteX2402" fmla="*/ 11609830 w 12139750"/>
              <a:gd name="connsiteY2402" fmla="*/ 2798149 h 6858290"/>
              <a:gd name="connsiteX2403" fmla="*/ 11604110 w 12139750"/>
              <a:gd name="connsiteY2403" fmla="*/ 2834343 h 6858290"/>
              <a:gd name="connsiteX2404" fmla="*/ 11270458 w 12139750"/>
              <a:gd name="connsiteY2404" fmla="*/ 3078185 h 6858290"/>
              <a:gd name="connsiteX2405" fmla="*/ 11234233 w 12139750"/>
              <a:gd name="connsiteY2405" fmla="*/ 3072469 h 6858290"/>
              <a:gd name="connsiteX2406" fmla="*/ 11228513 w 12139750"/>
              <a:gd name="connsiteY2406" fmla="*/ 3057229 h 6858290"/>
              <a:gd name="connsiteX2407" fmla="*/ 11238046 w 12139750"/>
              <a:gd name="connsiteY2407" fmla="*/ 3036275 h 6858290"/>
              <a:gd name="connsiteX2408" fmla="*/ 11573605 w 12139750"/>
              <a:gd name="connsiteY2408" fmla="*/ 2792433 h 6858290"/>
              <a:gd name="connsiteX2409" fmla="*/ 11592432 w 12139750"/>
              <a:gd name="connsiteY2409" fmla="*/ 2787434 h 6858290"/>
              <a:gd name="connsiteX2410" fmla="*/ 12139750 w 12139750"/>
              <a:gd name="connsiteY2410" fmla="*/ 2786083 h 6858290"/>
              <a:gd name="connsiteX2411" fmla="*/ 12139750 w 12139750"/>
              <a:gd name="connsiteY2411" fmla="*/ 2858148 h 6858290"/>
              <a:gd name="connsiteX2412" fmla="*/ 11834946 w 12139750"/>
              <a:gd name="connsiteY2412" fmla="*/ 3059175 h 6858290"/>
              <a:gd name="connsiteX2413" fmla="*/ 11793035 w 12139750"/>
              <a:gd name="connsiteY2413" fmla="*/ 3049691 h 6858290"/>
              <a:gd name="connsiteX2414" fmla="*/ 11787320 w 12139750"/>
              <a:gd name="connsiteY2414" fmla="*/ 3032623 h 6858290"/>
              <a:gd name="connsiteX2415" fmla="*/ 11800655 w 12139750"/>
              <a:gd name="connsiteY2415" fmla="*/ 3007970 h 6858290"/>
              <a:gd name="connsiteX2416" fmla="*/ 12135940 w 12139750"/>
              <a:gd name="connsiteY2416" fmla="*/ 2787978 h 6858290"/>
              <a:gd name="connsiteX2417" fmla="*/ 12139750 w 12139750"/>
              <a:gd name="connsiteY2417" fmla="*/ 2786083 h 6858290"/>
              <a:gd name="connsiteX2418" fmla="*/ 7592452 w 12139750"/>
              <a:gd name="connsiteY2418" fmla="*/ 2782900 h 6858290"/>
              <a:gd name="connsiteX2419" fmla="*/ 7610550 w 12139750"/>
              <a:gd name="connsiteY2419" fmla="*/ 2795241 h 6858290"/>
              <a:gd name="connsiteX2420" fmla="*/ 7602930 w 12139750"/>
              <a:gd name="connsiteY2420" fmla="*/ 2837016 h 6858290"/>
              <a:gd name="connsiteX2421" fmla="*/ 7267645 w 12139750"/>
              <a:gd name="connsiteY2421" fmla="*/ 3059173 h 6858290"/>
              <a:gd name="connsiteX2422" fmla="*/ 7225735 w 12139750"/>
              <a:gd name="connsiteY2422" fmla="*/ 3049680 h 6858290"/>
              <a:gd name="connsiteX2423" fmla="*/ 7220020 w 12139750"/>
              <a:gd name="connsiteY2423" fmla="*/ 3032591 h 6858290"/>
              <a:gd name="connsiteX2424" fmla="*/ 7233355 w 12139750"/>
              <a:gd name="connsiteY2424" fmla="*/ 3007907 h 6858290"/>
              <a:gd name="connsiteX2425" fmla="*/ 7568639 w 12139750"/>
              <a:gd name="connsiteY2425" fmla="*/ 2787648 h 6858290"/>
              <a:gd name="connsiteX2426" fmla="*/ 7592452 w 12139750"/>
              <a:gd name="connsiteY2426" fmla="*/ 2782900 h 6858290"/>
              <a:gd name="connsiteX2427" fmla="*/ 7041900 w 12139750"/>
              <a:gd name="connsiteY2427" fmla="*/ 2777758 h 6858290"/>
              <a:gd name="connsiteX2428" fmla="*/ 7062856 w 12139750"/>
              <a:gd name="connsiteY2428" fmla="*/ 2792757 h 6858290"/>
              <a:gd name="connsiteX2429" fmla="*/ 7051425 w 12139750"/>
              <a:gd name="connsiteY2429" fmla="*/ 2840384 h 6858290"/>
              <a:gd name="connsiteX2430" fmla="*/ 6714236 w 12139750"/>
              <a:gd name="connsiteY2430" fmla="*/ 3038503 h 6858290"/>
              <a:gd name="connsiteX2431" fmla="*/ 6666610 w 12139750"/>
              <a:gd name="connsiteY2431" fmla="*/ 3027077 h 6858290"/>
              <a:gd name="connsiteX2432" fmla="*/ 6662800 w 12139750"/>
              <a:gd name="connsiteY2432" fmla="*/ 3009931 h 6858290"/>
              <a:gd name="connsiteX2433" fmla="*/ 6679945 w 12139750"/>
              <a:gd name="connsiteY2433" fmla="*/ 2979450 h 6858290"/>
              <a:gd name="connsiteX2434" fmla="*/ 7015230 w 12139750"/>
              <a:gd name="connsiteY2434" fmla="*/ 2781330 h 6858290"/>
              <a:gd name="connsiteX2435" fmla="*/ 7041900 w 12139750"/>
              <a:gd name="connsiteY2435" fmla="*/ 2777758 h 6858290"/>
              <a:gd name="connsiteX2436" fmla="*/ 6499388 w 12139750"/>
              <a:gd name="connsiteY2436" fmla="*/ 2774400 h 6858290"/>
              <a:gd name="connsiteX2437" fmla="*/ 6521517 w 12139750"/>
              <a:gd name="connsiteY2437" fmla="*/ 2793615 h 6858290"/>
              <a:gd name="connsiteX2438" fmla="*/ 6506288 w 12139750"/>
              <a:gd name="connsiteY2438" fmla="*/ 2844865 h 6858290"/>
              <a:gd name="connsiteX2439" fmla="*/ 6167449 w 12139750"/>
              <a:gd name="connsiteY2439" fmla="*/ 3019490 h 6858290"/>
              <a:gd name="connsiteX2440" fmla="*/ 6116053 w 12139750"/>
              <a:gd name="connsiteY2440" fmla="*/ 3002408 h 6858290"/>
              <a:gd name="connsiteX2441" fmla="*/ 6110342 w 12139750"/>
              <a:gd name="connsiteY2441" fmla="*/ 2985324 h 6858290"/>
              <a:gd name="connsiteX2442" fmla="*/ 6131281 w 12139750"/>
              <a:gd name="connsiteY2442" fmla="*/ 2951160 h 6858290"/>
              <a:gd name="connsiteX2443" fmla="*/ 6470120 w 12139750"/>
              <a:gd name="connsiteY2443" fmla="*/ 2776533 h 6858290"/>
              <a:gd name="connsiteX2444" fmla="*/ 6499388 w 12139750"/>
              <a:gd name="connsiteY2444" fmla="*/ 2774400 h 6858290"/>
              <a:gd name="connsiteX2445" fmla="*/ 5959672 w 12139750"/>
              <a:gd name="connsiteY2445" fmla="*/ 2769256 h 6858290"/>
              <a:gd name="connsiteX2446" fmla="*/ 5983314 w 12139750"/>
              <a:gd name="connsiteY2446" fmla="*/ 2791133 h 6858290"/>
              <a:gd name="connsiteX2447" fmla="*/ 5962297 w 12139750"/>
              <a:gd name="connsiteY2447" fmla="*/ 2848210 h 6858290"/>
              <a:gd name="connsiteX2448" fmla="*/ 5620299 w 12139750"/>
              <a:gd name="connsiteY2448" fmla="*/ 3000418 h 6858290"/>
              <a:gd name="connsiteX2449" fmla="*/ 5564892 w 12139750"/>
              <a:gd name="connsiteY2449" fmla="*/ 2979489 h 6858290"/>
              <a:gd name="connsiteX2450" fmla="*/ 5561071 w 12139750"/>
              <a:gd name="connsiteY2450" fmla="*/ 2960466 h 6858290"/>
              <a:gd name="connsiteX2451" fmla="*/ 5585909 w 12139750"/>
              <a:gd name="connsiteY2451" fmla="*/ 2922412 h 6858290"/>
              <a:gd name="connsiteX2452" fmla="*/ 5925996 w 12139750"/>
              <a:gd name="connsiteY2452" fmla="*/ 2770208 h 6858290"/>
              <a:gd name="connsiteX2453" fmla="*/ 5959672 w 12139750"/>
              <a:gd name="connsiteY2453" fmla="*/ 2769256 h 6858290"/>
              <a:gd name="connsiteX2454" fmla="*/ 399603 w 12139750"/>
              <a:gd name="connsiteY2454" fmla="*/ 2769241 h 6858290"/>
              <a:gd name="connsiteX2455" fmla="*/ 423874 w 12139750"/>
              <a:gd name="connsiteY2455" fmla="*/ 2791121 h 6858290"/>
              <a:gd name="connsiteX2456" fmla="*/ 401030 w 12139750"/>
              <a:gd name="connsiteY2456" fmla="*/ 2848199 h 6858290"/>
              <a:gd name="connsiteX2457" fmla="*/ 62187 w 12139750"/>
              <a:gd name="connsiteY2457" fmla="*/ 3000404 h 6858290"/>
              <a:gd name="connsiteX2458" fmla="*/ 6982 w 12139750"/>
              <a:gd name="connsiteY2458" fmla="*/ 2979476 h 6858290"/>
              <a:gd name="connsiteX2459" fmla="*/ 3175 w 12139750"/>
              <a:gd name="connsiteY2459" fmla="*/ 2960451 h 6858290"/>
              <a:gd name="connsiteX2460" fmla="*/ 27922 w 12139750"/>
              <a:gd name="connsiteY2460" fmla="*/ 2922399 h 6858290"/>
              <a:gd name="connsiteX2461" fmla="*/ 366765 w 12139750"/>
              <a:gd name="connsiteY2461" fmla="*/ 2770194 h 6858290"/>
              <a:gd name="connsiteX2462" fmla="*/ 399603 w 12139750"/>
              <a:gd name="connsiteY2462" fmla="*/ 2769241 h 6858290"/>
              <a:gd name="connsiteX2463" fmla="*/ 5396029 w 12139750"/>
              <a:gd name="connsiteY2463" fmla="*/ 2760546 h 6858290"/>
              <a:gd name="connsiteX2464" fmla="*/ 5437255 w 12139750"/>
              <a:gd name="connsiteY2464" fmla="*/ 2790586 h 6858290"/>
              <a:gd name="connsiteX2465" fmla="*/ 5410604 w 12139750"/>
              <a:gd name="connsiteY2465" fmla="*/ 2851628 h 6858290"/>
              <a:gd name="connsiteX2466" fmla="*/ 5069849 w 12139750"/>
              <a:gd name="connsiteY2466" fmla="*/ 2981344 h 6858290"/>
              <a:gd name="connsiteX2467" fmla="*/ 5008938 w 12139750"/>
              <a:gd name="connsiteY2467" fmla="*/ 2954638 h 6858290"/>
              <a:gd name="connsiteX2468" fmla="*/ 5007035 w 12139750"/>
              <a:gd name="connsiteY2468" fmla="*/ 2937469 h 6858290"/>
              <a:gd name="connsiteX2469" fmla="*/ 5037491 w 12139750"/>
              <a:gd name="connsiteY2469" fmla="*/ 2893596 h 6858290"/>
              <a:gd name="connsiteX2470" fmla="*/ 5378242 w 12139750"/>
              <a:gd name="connsiteY2470" fmla="*/ 2763882 h 6858290"/>
              <a:gd name="connsiteX2471" fmla="*/ 5396029 w 12139750"/>
              <a:gd name="connsiteY2471" fmla="*/ 2760546 h 6858290"/>
              <a:gd name="connsiteX2472" fmla="*/ 930705 w 12139750"/>
              <a:gd name="connsiteY2472" fmla="*/ 2760528 h 6858290"/>
              <a:gd name="connsiteX2473" fmla="*/ 973124 w 12139750"/>
              <a:gd name="connsiteY2473" fmla="*/ 2790570 h 6858290"/>
              <a:gd name="connsiteX2474" fmla="*/ 946396 w 12139750"/>
              <a:gd name="connsiteY2474" fmla="*/ 2851614 h 6858290"/>
              <a:gd name="connsiteX2475" fmla="*/ 604662 w 12139750"/>
              <a:gd name="connsiteY2475" fmla="*/ 2981328 h 6858290"/>
              <a:gd name="connsiteX2476" fmla="*/ 543570 w 12139750"/>
              <a:gd name="connsiteY2476" fmla="*/ 2954621 h 6858290"/>
              <a:gd name="connsiteX2477" fmla="*/ 539752 w 12139750"/>
              <a:gd name="connsiteY2477" fmla="*/ 2937453 h 6858290"/>
              <a:gd name="connsiteX2478" fmla="*/ 570298 w 12139750"/>
              <a:gd name="connsiteY2478" fmla="*/ 2893580 h 6858290"/>
              <a:gd name="connsiteX2479" fmla="*/ 912032 w 12139750"/>
              <a:gd name="connsiteY2479" fmla="*/ 2763867 h 6858290"/>
              <a:gd name="connsiteX2480" fmla="*/ 930705 w 12139750"/>
              <a:gd name="connsiteY2480" fmla="*/ 2760528 h 6858290"/>
              <a:gd name="connsiteX2481" fmla="*/ 4845195 w 12139750"/>
              <a:gd name="connsiteY2481" fmla="*/ 2755586 h 6858290"/>
              <a:gd name="connsiteX2482" fmla="*/ 4889878 w 12139750"/>
              <a:gd name="connsiteY2482" fmla="*/ 2791428 h 6858290"/>
              <a:gd name="connsiteX2483" fmla="*/ 4855629 w 12139750"/>
              <a:gd name="connsiteY2483" fmla="*/ 2856106 h 6858290"/>
              <a:gd name="connsiteX2484" fmla="*/ 4513213 w 12139750"/>
              <a:gd name="connsiteY2484" fmla="*/ 2962635 h 6858290"/>
              <a:gd name="connsiteX2485" fmla="*/ 4448534 w 12139750"/>
              <a:gd name="connsiteY2485" fmla="*/ 2928394 h 6858290"/>
              <a:gd name="connsiteX2486" fmla="*/ 4446631 w 12139750"/>
              <a:gd name="connsiteY2486" fmla="*/ 2913176 h 6858290"/>
              <a:gd name="connsiteX2487" fmla="*/ 4482778 w 12139750"/>
              <a:gd name="connsiteY2487" fmla="*/ 2863715 h 6858290"/>
              <a:gd name="connsiteX2488" fmla="*/ 4825187 w 12139750"/>
              <a:gd name="connsiteY2488" fmla="*/ 2757192 h 6858290"/>
              <a:gd name="connsiteX2489" fmla="*/ 4845195 w 12139750"/>
              <a:gd name="connsiteY2489" fmla="*/ 2755586 h 6858290"/>
              <a:gd name="connsiteX2490" fmla="*/ 1482623 w 12139750"/>
              <a:gd name="connsiteY2490" fmla="*/ 2755567 h 6858290"/>
              <a:gd name="connsiteX2491" fmla="*/ 1525577 w 12139750"/>
              <a:gd name="connsiteY2491" fmla="*/ 2791412 h 6858290"/>
              <a:gd name="connsiteX2492" fmla="*/ 1493123 w 12139750"/>
              <a:gd name="connsiteY2492" fmla="*/ 2856090 h 6858290"/>
              <a:gd name="connsiteX2493" fmla="*/ 1149495 w 12139750"/>
              <a:gd name="connsiteY2493" fmla="*/ 2962617 h 6858290"/>
              <a:gd name="connsiteX2494" fmla="*/ 1084588 w 12139750"/>
              <a:gd name="connsiteY2494" fmla="*/ 2928375 h 6858290"/>
              <a:gd name="connsiteX2495" fmla="*/ 1082679 w 12139750"/>
              <a:gd name="connsiteY2495" fmla="*/ 2913158 h 6858290"/>
              <a:gd name="connsiteX2496" fmla="*/ 1118950 w 12139750"/>
              <a:gd name="connsiteY2496" fmla="*/ 2863698 h 6858290"/>
              <a:gd name="connsiteX2497" fmla="*/ 1462578 w 12139750"/>
              <a:gd name="connsiteY2497" fmla="*/ 2757173 h 6858290"/>
              <a:gd name="connsiteX2498" fmla="*/ 1482623 w 12139750"/>
              <a:gd name="connsiteY2498" fmla="*/ 2755567 h 6858290"/>
              <a:gd name="connsiteX2499" fmla="*/ 4291652 w 12139750"/>
              <a:gd name="connsiteY2499" fmla="*/ 2750401 h 6858290"/>
              <a:gd name="connsiteX2500" fmla="*/ 4335825 w 12139750"/>
              <a:gd name="connsiteY2500" fmla="*/ 2792587 h 6858290"/>
              <a:gd name="connsiteX2501" fmla="*/ 4295845 w 12139750"/>
              <a:gd name="connsiteY2501" fmla="*/ 2859470 h 6858290"/>
              <a:gd name="connsiteX2502" fmla="*/ 3953197 w 12139750"/>
              <a:gd name="connsiteY2502" fmla="*/ 2943550 h 6858290"/>
              <a:gd name="connsiteX2503" fmla="*/ 3884664 w 12139750"/>
              <a:gd name="connsiteY2503" fmla="*/ 2901512 h 6858290"/>
              <a:gd name="connsiteX2504" fmla="*/ 3884664 w 12139750"/>
              <a:gd name="connsiteY2504" fmla="*/ 2888136 h 6858290"/>
              <a:gd name="connsiteX2505" fmla="*/ 3926546 w 12139750"/>
              <a:gd name="connsiteY2505" fmla="*/ 2834629 h 6858290"/>
              <a:gd name="connsiteX2506" fmla="*/ 4269194 w 12139750"/>
              <a:gd name="connsiteY2506" fmla="*/ 2750551 h 6858290"/>
              <a:gd name="connsiteX2507" fmla="*/ 4291652 w 12139750"/>
              <a:gd name="connsiteY2507" fmla="*/ 2750401 h 6858290"/>
              <a:gd name="connsiteX2508" fmla="*/ 2037929 w 12139750"/>
              <a:gd name="connsiteY2508" fmla="*/ 2750381 h 6858290"/>
              <a:gd name="connsiteX2509" fmla="*/ 2083145 w 12139750"/>
              <a:gd name="connsiteY2509" fmla="*/ 2792570 h 6858290"/>
              <a:gd name="connsiteX2510" fmla="*/ 2043190 w 12139750"/>
              <a:gd name="connsiteY2510" fmla="*/ 2859451 h 6858290"/>
              <a:gd name="connsiteX2511" fmla="*/ 1698856 w 12139750"/>
              <a:gd name="connsiteY2511" fmla="*/ 2943529 h 6858290"/>
              <a:gd name="connsiteX2512" fmla="*/ 1632272 w 12139750"/>
              <a:gd name="connsiteY2512" fmla="*/ 2901491 h 6858290"/>
              <a:gd name="connsiteX2513" fmla="*/ 1630369 w 12139750"/>
              <a:gd name="connsiteY2513" fmla="*/ 2888114 h 6858290"/>
              <a:gd name="connsiteX2514" fmla="*/ 1672222 w 12139750"/>
              <a:gd name="connsiteY2514" fmla="*/ 2834609 h 6858290"/>
              <a:gd name="connsiteX2515" fmla="*/ 2016556 w 12139750"/>
              <a:gd name="connsiteY2515" fmla="*/ 2750531 h 6858290"/>
              <a:gd name="connsiteX2516" fmla="*/ 2037929 w 12139750"/>
              <a:gd name="connsiteY2516" fmla="*/ 2750381 h 6858290"/>
              <a:gd name="connsiteX2517" fmla="*/ 3710449 w 12139750"/>
              <a:gd name="connsiteY2517" fmla="*/ 2745770 h 6858290"/>
              <a:gd name="connsiteX2518" fmla="*/ 3778943 w 12139750"/>
              <a:gd name="connsiteY2518" fmla="*/ 2795297 h 6858290"/>
              <a:gd name="connsiteX2519" fmla="*/ 3731376 w 12139750"/>
              <a:gd name="connsiteY2519" fmla="*/ 2863880 h 6858290"/>
              <a:gd name="connsiteX2520" fmla="*/ 3385145 w 12139750"/>
              <a:gd name="connsiteY2520" fmla="*/ 2924842 h 6858290"/>
              <a:gd name="connsiteX2521" fmla="*/ 3316655 w 12139750"/>
              <a:gd name="connsiteY2521" fmla="*/ 2875310 h 6858290"/>
              <a:gd name="connsiteX2522" fmla="*/ 3314753 w 12139750"/>
              <a:gd name="connsiteY2522" fmla="*/ 2865784 h 6858290"/>
              <a:gd name="connsiteX2523" fmla="*/ 3364218 w 12139750"/>
              <a:gd name="connsiteY2523" fmla="*/ 2806729 h 6858290"/>
              <a:gd name="connsiteX2524" fmla="*/ 3710449 w 12139750"/>
              <a:gd name="connsiteY2524" fmla="*/ 2745770 h 6858290"/>
              <a:gd name="connsiteX2525" fmla="*/ 2576948 w 12139750"/>
              <a:gd name="connsiteY2525" fmla="*/ 2745748 h 6858290"/>
              <a:gd name="connsiteX2526" fmla="*/ 2645436 w 12139750"/>
              <a:gd name="connsiteY2526" fmla="*/ 2795278 h 6858290"/>
              <a:gd name="connsiteX2527" fmla="*/ 2595973 w 12139750"/>
              <a:gd name="connsiteY2527" fmla="*/ 2863857 h 6858290"/>
              <a:gd name="connsiteX2528" fmla="*/ 2251629 w 12139750"/>
              <a:gd name="connsiteY2528" fmla="*/ 2924818 h 6858290"/>
              <a:gd name="connsiteX2529" fmla="*/ 2183141 w 12139750"/>
              <a:gd name="connsiteY2529" fmla="*/ 2875287 h 6858290"/>
              <a:gd name="connsiteX2530" fmla="*/ 2181238 w 12139750"/>
              <a:gd name="connsiteY2530" fmla="*/ 2865763 h 6858290"/>
              <a:gd name="connsiteX2531" fmla="*/ 2230702 w 12139750"/>
              <a:gd name="connsiteY2531" fmla="*/ 2806708 h 6858290"/>
              <a:gd name="connsiteX2532" fmla="*/ 2576948 w 12139750"/>
              <a:gd name="connsiteY2532" fmla="*/ 2745748 h 6858290"/>
              <a:gd name="connsiteX2533" fmla="*/ 3140488 w 12139750"/>
              <a:gd name="connsiteY2533" fmla="*/ 2739132 h 6858290"/>
              <a:gd name="connsiteX2534" fmla="*/ 3210926 w 12139750"/>
              <a:gd name="connsiteY2534" fmla="*/ 2796698 h 6858290"/>
              <a:gd name="connsiteX2535" fmla="*/ 3153818 w 12139750"/>
              <a:gd name="connsiteY2535" fmla="*/ 2867700 h 6858290"/>
              <a:gd name="connsiteX2536" fmla="*/ 2807329 w 12139750"/>
              <a:gd name="connsiteY2536" fmla="*/ 2906081 h 6858290"/>
              <a:gd name="connsiteX2537" fmla="*/ 2736893 w 12139750"/>
              <a:gd name="connsiteY2537" fmla="*/ 2848510 h 6858290"/>
              <a:gd name="connsiteX2538" fmla="*/ 2736893 w 12139750"/>
              <a:gd name="connsiteY2538" fmla="*/ 2840833 h 6858290"/>
              <a:gd name="connsiteX2539" fmla="*/ 2794003 w 12139750"/>
              <a:gd name="connsiteY2539" fmla="*/ 2777510 h 6858290"/>
              <a:gd name="connsiteX2540" fmla="*/ 3140488 w 12139750"/>
              <a:gd name="connsiteY2540" fmla="*/ 2739132 h 6858290"/>
              <a:gd name="connsiteX2541" fmla="*/ 9848938 w 12139750"/>
              <a:gd name="connsiteY2541" fmla="*/ 2478758 h 6858290"/>
              <a:gd name="connsiteX2542" fmla="*/ 9864192 w 12139750"/>
              <a:gd name="connsiteY2542" fmla="*/ 2478758 h 6858290"/>
              <a:gd name="connsiteX2543" fmla="*/ 9864192 w 12139750"/>
              <a:gd name="connsiteY2543" fmla="*/ 2494003 h 6858290"/>
              <a:gd name="connsiteX2544" fmla="*/ 9536232 w 12139750"/>
              <a:gd name="connsiteY2544" fmla="*/ 2823558 h 6858290"/>
              <a:gd name="connsiteX2545" fmla="*/ 9520978 w 12139750"/>
              <a:gd name="connsiteY2545" fmla="*/ 2823558 h 6858290"/>
              <a:gd name="connsiteX2546" fmla="*/ 9517164 w 12139750"/>
              <a:gd name="connsiteY2546" fmla="*/ 2815937 h 6858290"/>
              <a:gd name="connsiteX2547" fmla="*/ 9520978 w 12139750"/>
              <a:gd name="connsiteY2547" fmla="*/ 2808317 h 6858290"/>
              <a:gd name="connsiteX2548" fmla="*/ 9848938 w 12139750"/>
              <a:gd name="connsiteY2548" fmla="*/ 2478758 h 6858290"/>
              <a:gd name="connsiteX2549" fmla="*/ 9280068 w 12139750"/>
              <a:gd name="connsiteY2549" fmla="*/ 2470987 h 6858290"/>
              <a:gd name="connsiteX2550" fmla="*/ 9290784 w 12139750"/>
              <a:gd name="connsiteY2550" fmla="*/ 2476239 h 6858290"/>
              <a:gd name="connsiteX2551" fmla="*/ 9288879 w 12139750"/>
              <a:gd name="connsiteY2551" fmla="*/ 2497260 h 6858290"/>
              <a:gd name="connsiteX2552" fmla="*/ 8959309 w 12139750"/>
              <a:gd name="connsiteY2552" fmla="*/ 2800997 h 6858290"/>
              <a:gd name="connsiteX2553" fmla="*/ 8938354 w 12139750"/>
              <a:gd name="connsiteY2553" fmla="*/ 2800997 h 6858290"/>
              <a:gd name="connsiteX2554" fmla="*/ 8934544 w 12139750"/>
              <a:gd name="connsiteY2554" fmla="*/ 2789535 h 6858290"/>
              <a:gd name="connsiteX2555" fmla="*/ 8938354 w 12139750"/>
              <a:gd name="connsiteY2555" fmla="*/ 2778073 h 6858290"/>
              <a:gd name="connsiteX2556" fmla="*/ 9267924 w 12139750"/>
              <a:gd name="connsiteY2556" fmla="*/ 2474329 h 6858290"/>
              <a:gd name="connsiteX2557" fmla="*/ 9280068 w 12139750"/>
              <a:gd name="connsiteY2557" fmla="*/ 2470987 h 6858290"/>
              <a:gd name="connsiteX2558" fmla="*/ 10440785 w 12139750"/>
              <a:gd name="connsiteY2558" fmla="*/ 2470956 h 6858290"/>
              <a:gd name="connsiteX2559" fmla="*/ 10451262 w 12139750"/>
              <a:gd name="connsiteY2559" fmla="*/ 2476209 h 6858290"/>
              <a:gd name="connsiteX2560" fmla="*/ 10451262 w 12139750"/>
              <a:gd name="connsiteY2560" fmla="*/ 2497223 h 6858290"/>
              <a:gd name="connsiteX2561" fmla="*/ 10121692 w 12139750"/>
              <a:gd name="connsiteY2561" fmla="*/ 2800974 h 6858290"/>
              <a:gd name="connsiteX2562" fmla="*/ 10098832 w 12139750"/>
              <a:gd name="connsiteY2562" fmla="*/ 2800974 h 6858290"/>
              <a:gd name="connsiteX2563" fmla="*/ 10095022 w 12139750"/>
              <a:gd name="connsiteY2563" fmla="*/ 2789511 h 6858290"/>
              <a:gd name="connsiteX2564" fmla="*/ 10100737 w 12139750"/>
              <a:gd name="connsiteY2564" fmla="*/ 2778049 h 6858290"/>
              <a:gd name="connsiteX2565" fmla="*/ 10430307 w 12139750"/>
              <a:gd name="connsiteY2565" fmla="*/ 2474298 h 6858290"/>
              <a:gd name="connsiteX2566" fmla="*/ 10440785 w 12139750"/>
              <a:gd name="connsiteY2566" fmla="*/ 2470956 h 6858290"/>
              <a:gd name="connsiteX2567" fmla="*/ 8710792 w 12139750"/>
              <a:gd name="connsiteY2567" fmla="*/ 2467329 h 6858290"/>
              <a:gd name="connsiteX2568" fmla="*/ 8723695 w 12139750"/>
              <a:gd name="connsiteY2568" fmla="*/ 2474959 h 6858290"/>
              <a:gd name="connsiteX2569" fmla="*/ 8721783 w 12139750"/>
              <a:gd name="connsiteY2569" fmla="*/ 2501658 h 6858290"/>
              <a:gd name="connsiteX2570" fmla="*/ 8389182 w 12139750"/>
              <a:gd name="connsiteY2570" fmla="*/ 2780051 h 6858290"/>
              <a:gd name="connsiteX2571" fmla="*/ 8360509 w 12139750"/>
              <a:gd name="connsiteY2571" fmla="*/ 2778145 h 6858290"/>
              <a:gd name="connsiteX2572" fmla="*/ 8356686 w 12139750"/>
              <a:gd name="connsiteY2572" fmla="*/ 2764800 h 6858290"/>
              <a:gd name="connsiteX2573" fmla="*/ 8364332 w 12139750"/>
              <a:gd name="connsiteY2573" fmla="*/ 2749541 h 6858290"/>
              <a:gd name="connsiteX2574" fmla="*/ 8695022 w 12139750"/>
              <a:gd name="connsiteY2574" fmla="*/ 2471144 h 6858290"/>
              <a:gd name="connsiteX2575" fmla="*/ 8710792 w 12139750"/>
              <a:gd name="connsiteY2575" fmla="*/ 2467329 h 6858290"/>
              <a:gd name="connsiteX2576" fmla="*/ 11018422 w 12139750"/>
              <a:gd name="connsiteY2576" fmla="*/ 2467296 h 6858290"/>
              <a:gd name="connsiteX2577" fmla="*/ 11031984 w 12139750"/>
              <a:gd name="connsiteY2577" fmla="*/ 2474925 h 6858290"/>
              <a:gd name="connsiteX2578" fmla="*/ 11030081 w 12139750"/>
              <a:gd name="connsiteY2578" fmla="*/ 2501621 h 6858290"/>
              <a:gd name="connsiteX2579" fmla="*/ 10698888 w 12139750"/>
              <a:gd name="connsiteY2579" fmla="*/ 2780026 h 6858290"/>
              <a:gd name="connsiteX2580" fmla="*/ 10670337 w 12139750"/>
              <a:gd name="connsiteY2580" fmla="*/ 2778118 h 6858290"/>
              <a:gd name="connsiteX2581" fmla="*/ 10666530 w 12139750"/>
              <a:gd name="connsiteY2581" fmla="*/ 2764770 h 6858290"/>
              <a:gd name="connsiteX2582" fmla="*/ 10672240 w 12139750"/>
              <a:gd name="connsiteY2582" fmla="*/ 2749515 h 6858290"/>
              <a:gd name="connsiteX2583" fmla="*/ 11003433 w 12139750"/>
              <a:gd name="connsiteY2583" fmla="*/ 2471111 h 6858290"/>
              <a:gd name="connsiteX2584" fmla="*/ 11018422 w 12139750"/>
              <a:gd name="connsiteY2584" fmla="*/ 2467296 h 6858290"/>
              <a:gd name="connsiteX2585" fmla="*/ 8147250 w 12139750"/>
              <a:gd name="connsiteY2585" fmla="*/ 2462181 h 6858290"/>
              <a:gd name="connsiteX2586" fmla="*/ 8162992 w 12139750"/>
              <a:gd name="connsiteY2586" fmla="*/ 2470551 h 6858290"/>
              <a:gd name="connsiteX2587" fmla="*/ 8159176 w 12139750"/>
              <a:gd name="connsiteY2587" fmla="*/ 2506900 h 6858290"/>
              <a:gd name="connsiteX2588" fmla="*/ 7825249 w 12139750"/>
              <a:gd name="connsiteY2588" fmla="*/ 2759395 h 6858290"/>
              <a:gd name="connsiteX2589" fmla="*/ 7790902 w 12139750"/>
              <a:gd name="connsiteY2589" fmla="*/ 2755567 h 6858290"/>
              <a:gd name="connsiteX2590" fmla="*/ 7785178 w 12139750"/>
              <a:gd name="connsiteY2590" fmla="*/ 2740262 h 6858290"/>
              <a:gd name="connsiteX2591" fmla="*/ 7794719 w 12139750"/>
              <a:gd name="connsiteY2591" fmla="*/ 2719221 h 6858290"/>
              <a:gd name="connsiteX2592" fmla="*/ 8128645 w 12139750"/>
              <a:gd name="connsiteY2592" fmla="*/ 2466726 h 6858290"/>
              <a:gd name="connsiteX2593" fmla="*/ 8147250 w 12139750"/>
              <a:gd name="connsiteY2593" fmla="*/ 2462181 h 6858290"/>
              <a:gd name="connsiteX2594" fmla="*/ 11591857 w 12139750"/>
              <a:gd name="connsiteY2594" fmla="*/ 2462171 h 6858290"/>
              <a:gd name="connsiteX2595" fmla="*/ 11608260 w 12139750"/>
              <a:gd name="connsiteY2595" fmla="*/ 2470542 h 6858290"/>
              <a:gd name="connsiteX2596" fmla="*/ 11602555 w 12139750"/>
              <a:gd name="connsiteY2596" fmla="*/ 2506889 h 6858290"/>
              <a:gd name="connsiteX2597" fmla="*/ 11271628 w 12139750"/>
              <a:gd name="connsiteY2597" fmla="*/ 2759383 h 6858290"/>
              <a:gd name="connsiteX2598" fmla="*/ 11235492 w 12139750"/>
              <a:gd name="connsiteY2598" fmla="*/ 2755558 h 6858290"/>
              <a:gd name="connsiteX2599" fmla="*/ 11231688 w 12139750"/>
              <a:gd name="connsiteY2599" fmla="*/ 2740254 h 6858290"/>
              <a:gd name="connsiteX2600" fmla="*/ 11241197 w 12139750"/>
              <a:gd name="connsiteY2600" fmla="*/ 2719210 h 6858290"/>
              <a:gd name="connsiteX2601" fmla="*/ 11574027 w 12139750"/>
              <a:gd name="connsiteY2601" fmla="*/ 2466717 h 6858290"/>
              <a:gd name="connsiteX2602" fmla="*/ 11591857 w 12139750"/>
              <a:gd name="connsiteY2602" fmla="*/ 2462171 h 6858290"/>
              <a:gd name="connsiteX2603" fmla="*/ 7591001 w 12139750"/>
              <a:gd name="connsiteY2603" fmla="*/ 2459079 h 6858290"/>
              <a:gd name="connsiteX2604" fmla="*/ 7610543 w 12139750"/>
              <a:gd name="connsiteY2604" fmla="*/ 2471476 h 6858290"/>
              <a:gd name="connsiteX2605" fmla="*/ 7602917 w 12139750"/>
              <a:gd name="connsiteY2605" fmla="*/ 2511529 h 6858290"/>
              <a:gd name="connsiteX2606" fmla="*/ 7267365 w 12139750"/>
              <a:gd name="connsiteY2606" fmla="*/ 2738458 h 6858290"/>
              <a:gd name="connsiteX2607" fmla="*/ 7227327 w 12139750"/>
              <a:gd name="connsiteY2607" fmla="*/ 2730832 h 6858290"/>
              <a:gd name="connsiteX2608" fmla="*/ 7221608 w 12139750"/>
              <a:gd name="connsiteY2608" fmla="*/ 2715570 h 6858290"/>
              <a:gd name="connsiteX2609" fmla="*/ 7234954 w 12139750"/>
              <a:gd name="connsiteY2609" fmla="*/ 2690775 h 6858290"/>
              <a:gd name="connsiteX2610" fmla="*/ 7568599 w 12139750"/>
              <a:gd name="connsiteY2610" fmla="*/ 2463845 h 6858290"/>
              <a:gd name="connsiteX2611" fmla="*/ 7591001 w 12139750"/>
              <a:gd name="connsiteY2611" fmla="*/ 2459079 h 6858290"/>
              <a:gd name="connsiteX2612" fmla="*/ 12139750 w 12139750"/>
              <a:gd name="connsiteY2612" fmla="*/ 2459059 h 6858290"/>
              <a:gd name="connsiteX2613" fmla="*/ 12139750 w 12139750"/>
              <a:gd name="connsiteY2613" fmla="*/ 2529860 h 6858290"/>
              <a:gd name="connsiteX2614" fmla="*/ 11834670 w 12139750"/>
              <a:gd name="connsiteY2614" fmla="*/ 2738414 h 6858290"/>
              <a:gd name="connsiteX2615" fmla="*/ 11792722 w 12139750"/>
              <a:gd name="connsiteY2615" fmla="*/ 2730760 h 6858290"/>
              <a:gd name="connsiteX2616" fmla="*/ 11788908 w 12139750"/>
              <a:gd name="connsiteY2616" fmla="*/ 2715453 h 6858290"/>
              <a:gd name="connsiteX2617" fmla="*/ 11800348 w 12139750"/>
              <a:gd name="connsiteY2617" fmla="*/ 2690576 h 6858290"/>
              <a:gd name="connsiteX2618" fmla="*/ 12135936 w 12139750"/>
              <a:gd name="connsiteY2618" fmla="*/ 2462887 h 6858290"/>
              <a:gd name="connsiteX2619" fmla="*/ 12139750 w 12139750"/>
              <a:gd name="connsiteY2619" fmla="*/ 2459059 h 6858290"/>
              <a:gd name="connsiteX2620" fmla="*/ 7041900 w 12139750"/>
              <a:gd name="connsiteY2620" fmla="*/ 2453933 h 6858290"/>
              <a:gd name="connsiteX2621" fmla="*/ 7062856 w 12139750"/>
              <a:gd name="connsiteY2621" fmla="*/ 2468988 h 6858290"/>
              <a:gd name="connsiteX2622" fmla="*/ 7051425 w 12139750"/>
              <a:gd name="connsiteY2622" fmla="*/ 2516781 h 6858290"/>
              <a:gd name="connsiteX2623" fmla="*/ 6714236 w 12139750"/>
              <a:gd name="connsiteY2623" fmla="*/ 2719384 h 6858290"/>
              <a:gd name="connsiteX2624" fmla="*/ 6668515 w 12139750"/>
              <a:gd name="connsiteY2624" fmla="*/ 2706003 h 6858290"/>
              <a:gd name="connsiteX2625" fmla="*/ 6662800 w 12139750"/>
              <a:gd name="connsiteY2625" fmla="*/ 2688796 h 6858290"/>
              <a:gd name="connsiteX2626" fmla="*/ 6679945 w 12139750"/>
              <a:gd name="connsiteY2626" fmla="*/ 2660125 h 6858290"/>
              <a:gd name="connsiteX2627" fmla="*/ 7015230 w 12139750"/>
              <a:gd name="connsiteY2627" fmla="*/ 2457516 h 6858290"/>
              <a:gd name="connsiteX2628" fmla="*/ 7041900 w 12139750"/>
              <a:gd name="connsiteY2628" fmla="*/ 2453933 h 6858290"/>
              <a:gd name="connsiteX2629" fmla="*/ 6499365 w 12139750"/>
              <a:gd name="connsiteY2629" fmla="*/ 2450542 h 6858290"/>
              <a:gd name="connsiteX2630" fmla="*/ 6521511 w 12139750"/>
              <a:gd name="connsiteY2630" fmla="*/ 2469741 h 6858290"/>
              <a:gd name="connsiteX2631" fmla="*/ 6506270 w 12139750"/>
              <a:gd name="connsiteY2631" fmla="*/ 2520932 h 6858290"/>
              <a:gd name="connsiteX2632" fmla="*/ 6167176 w 12139750"/>
              <a:gd name="connsiteY2632" fmla="*/ 2697234 h 6858290"/>
              <a:gd name="connsiteX2633" fmla="*/ 6115740 w 12139750"/>
              <a:gd name="connsiteY2633" fmla="*/ 2680171 h 6858290"/>
              <a:gd name="connsiteX2634" fmla="*/ 6111930 w 12139750"/>
              <a:gd name="connsiteY2634" fmla="*/ 2663105 h 6858290"/>
              <a:gd name="connsiteX2635" fmla="*/ 6130980 w 12139750"/>
              <a:gd name="connsiteY2635" fmla="*/ 2628984 h 6858290"/>
              <a:gd name="connsiteX2636" fmla="*/ 6470075 w 12139750"/>
              <a:gd name="connsiteY2636" fmla="*/ 2452675 h 6858290"/>
              <a:gd name="connsiteX2637" fmla="*/ 6499365 w 12139750"/>
              <a:gd name="connsiteY2637" fmla="*/ 2450542 h 6858290"/>
              <a:gd name="connsiteX2638" fmla="*/ 5959672 w 12139750"/>
              <a:gd name="connsiteY2638" fmla="*/ 2446994 h 6858290"/>
              <a:gd name="connsiteX2639" fmla="*/ 5983314 w 12139750"/>
              <a:gd name="connsiteY2639" fmla="*/ 2468881 h 6858290"/>
              <a:gd name="connsiteX2640" fmla="*/ 5962297 w 12139750"/>
              <a:gd name="connsiteY2640" fmla="*/ 2525960 h 6858290"/>
              <a:gd name="connsiteX2641" fmla="*/ 5620299 w 12139750"/>
              <a:gd name="connsiteY2641" fmla="*/ 2676247 h 6858290"/>
              <a:gd name="connsiteX2642" fmla="*/ 5564892 w 12139750"/>
              <a:gd name="connsiteY2642" fmla="*/ 2655321 h 6858290"/>
              <a:gd name="connsiteX2643" fmla="*/ 5561071 w 12139750"/>
              <a:gd name="connsiteY2643" fmla="*/ 2638199 h 6858290"/>
              <a:gd name="connsiteX2644" fmla="*/ 5585909 w 12139750"/>
              <a:gd name="connsiteY2644" fmla="*/ 2598249 h 6858290"/>
              <a:gd name="connsiteX2645" fmla="*/ 5925996 w 12139750"/>
              <a:gd name="connsiteY2645" fmla="*/ 2447945 h 6858290"/>
              <a:gd name="connsiteX2646" fmla="*/ 5959672 w 12139750"/>
              <a:gd name="connsiteY2646" fmla="*/ 2446994 h 6858290"/>
              <a:gd name="connsiteX2647" fmla="*/ 399503 w 12139750"/>
              <a:gd name="connsiteY2647" fmla="*/ 2446979 h 6858290"/>
              <a:gd name="connsiteX2648" fmla="*/ 423846 w 12139750"/>
              <a:gd name="connsiteY2648" fmla="*/ 2468864 h 6858290"/>
              <a:gd name="connsiteX2649" fmla="*/ 400935 w 12139750"/>
              <a:gd name="connsiteY2649" fmla="*/ 2525942 h 6858290"/>
              <a:gd name="connsiteX2650" fmla="*/ 61095 w 12139750"/>
              <a:gd name="connsiteY2650" fmla="*/ 2676238 h 6858290"/>
              <a:gd name="connsiteX2651" fmla="*/ 3818 w 12139750"/>
              <a:gd name="connsiteY2651" fmla="*/ 2655311 h 6858290"/>
              <a:gd name="connsiteX2652" fmla="*/ 0 w 12139750"/>
              <a:gd name="connsiteY2652" fmla="*/ 2638187 h 6858290"/>
              <a:gd name="connsiteX2653" fmla="*/ 26729 w 12139750"/>
              <a:gd name="connsiteY2653" fmla="*/ 2598233 h 6858290"/>
              <a:gd name="connsiteX2654" fmla="*/ 366569 w 12139750"/>
              <a:gd name="connsiteY2654" fmla="*/ 2447930 h 6858290"/>
              <a:gd name="connsiteX2655" fmla="*/ 399503 w 12139750"/>
              <a:gd name="connsiteY2655" fmla="*/ 2446979 h 6858290"/>
              <a:gd name="connsiteX2656" fmla="*/ 5396620 w 12139750"/>
              <a:gd name="connsiteY2656" fmla="*/ 2440131 h 6858290"/>
              <a:gd name="connsiteX2657" fmla="*/ 5438856 w 12139750"/>
              <a:gd name="connsiteY2657" fmla="*/ 2471621 h 6858290"/>
              <a:gd name="connsiteX2658" fmla="*/ 5410341 w 12139750"/>
              <a:gd name="connsiteY2658" fmla="*/ 2532340 h 6858290"/>
              <a:gd name="connsiteX2659" fmla="*/ 5070072 w 12139750"/>
              <a:gd name="connsiteY2659" fmla="*/ 2657538 h 6858290"/>
              <a:gd name="connsiteX2660" fmla="*/ 5009250 w 12139750"/>
              <a:gd name="connsiteY2660" fmla="*/ 2629084 h 6858290"/>
              <a:gd name="connsiteX2661" fmla="*/ 5005447 w 12139750"/>
              <a:gd name="connsiteY2661" fmla="*/ 2613907 h 6858290"/>
              <a:gd name="connsiteX2662" fmla="*/ 5037760 w 12139750"/>
              <a:gd name="connsiteY2662" fmla="*/ 2568382 h 6858290"/>
              <a:gd name="connsiteX2663" fmla="*/ 5378027 w 12139750"/>
              <a:gd name="connsiteY2663" fmla="*/ 2443156 h 6858290"/>
              <a:gd name="connsiteX2664" fmla="*/ 5396620 w 12139750"/>
              <a:gd name="connsiteY2664" fmla="*/ 2440131 h 6858290"/>
              <a:gd name="connsiteX2665" fmla="*/ 930705 w 12139750"/>
              <a:gd name="connsiteY2665" fmla="*/ 2440114 h 6858290"/>
              <a:gd name="connsiteX2666" fmla="*/ 973124 w 12139750"/>
              <a:gd name="connsiteY2666" fmla="*/ 2471600 h 6858290"/>
              <a:gd name="connsiteX2667" fmla="*/ 944487 w 12139750"/>
              <a:gd name="connsiteY2667" fmla="*/ 2532315 h 6858290"/>
              <a:gd name="connsiteX2668" fmla="*/ 602753 w 12139750"/>
              <a:gd name="connsiteY2668" fmla="*/ 2657525 h 6858290"/>
              <a:gd name="connsiteX2669" fmla="*/ 541661 w 12139750"/>
              <a:gd name="connsiteY2669" fmla="*/ 2629070 h 6858290"/>
              <a:gd name="connsiteX2670" fmla="*/ 539751 w 12139750"/>
              <a:gd name="connsiteY2670" fmla="*/ 2613892 h 6858290"/>
              <a:gd name="connsiteX2671" fmla="*/ 570297 w 12139750"/>
              <a:gd name="connsiteY2671" fmla="*/ 2568362 h 6858290"/>
              <a:gd name="connsiteX2672" fmla="*/ 912032 w 12139750"/>
              <a:gd name="connsiteY2672" fmla="*/ 2443139 h 6858290"/>
              <a:gd name="connsiteX2673" fmla="*/ 930705 w 12139750"/>
              <a:gd name="connsiteY2673" fmla="*/ 2440114 h 6858290"/>
              <a:gd name="connsiteX2674" fmla="*/ 4847390 w 12139750"/>
              <a:gd name="connsiteY2674" fmla="*/ 2434959 h 6858290"/>
              <a:gd name="connsiteX2675" fmla="*/ 4891123 w 12139750"/>
              <a:gd name="connsiteY2675" fmla="*/ 2472791 h 6858290"/>
              <a:gd name="connsiteX2676" fmla="*/ 4856779 w 12139750"/>
              <a:gd name="connsiteY2676" fmla="*/ 2537664 h 6858290"/>
              <a:gd name="connsiteX2677" fmla="*/ 4513402 w 12139750"/>
              <a:gd name="connsiteY2677" fmla="*/ 2638759 h 6858290"/>
              <a:gd name="connsiteX2678" fmla="*/ 4448539 w 12139750"/>
              <a:gd name="connsiteY2678" fmla="*/ 2602516 h 6858290"/>
              <a:gd name="connsiteX2679" fmla="*/ 4446631 w 12139750"/>
              <a:gd name="connsiteY2679" fmla="*/ 2587256 h 6858290"/>
              <a:gd name="connsiteX2680" fmla="*/ 4482878 w 12139750"/>
              <a:gd name="connsiteY2680" fmla="*/ 2537664 h 6858290"/>
              <a:gd name="connsiteX2681" fmla="*/ 4826251 w 12139750"/>
              <a:gd name="connsiteY2681" fmla="*/ 2436537 h 6858290"/>
              <a:gd name="connsiteX2682" fmla="*/ 4847390 w 12139750"/>
              <a:gd name="connsiteY2682" fmla="*/ 2434959 h 6858290"/>
              <a:gd name="connsiteX2683" fmla="*/ 1482958 w 12139750"/>
              <a:gd name="connsiteY2683" fmla="*/ 2434939 h 6858290"/>
              <a:gd name="connsiteX2684" fmla="*/ 1527491 w 12139750"/>
              <a:gd name="connsiteY2684" fmla="*/ 2472769 h 6858290"/>
              <a:gd name="connsiteX2685" fmla="*/ 1491245 w 12139750"/>
              <a:gd name="connsiteY2685" fmla="*/ 2537636 h 6858290"/>
              <a:gd name="connsiteX2686" fmla="*/ 1147861 w 12139750"/>
              <a:gd name="connsiteY2686" fmla="*/ 2638743 h 6858290"/>
              <a:gd name="connsiteX2687" fmla="*/ 1082999 w 12139750"/>
              <a:gd name="connsiteY2687" fmla="*/ 2602496 h 6858290"/>
              <a:gd name="connsiteX2688" fmla="*/ 1081092 w 12139750"/>
              <a:gd name="connsiteY2688" fmla="*/ 2587234 h 6858290"/>
              <a:gd name="connsiteX2689" fmla="*/ 1119245 w 12139750"/>
              <a:gd name="connsiteY2689" fmla="*/ 2537636 h 6858290"/>
              <a:gd name="connsiteX2690" fmla="*/ 1462630 w 12139750"/>
              <a:gd name="connsiteY2690" fmla="*/ 2436519 h 6858290"/>
              <a:gd name="connsiteX2691" fmla="*/ 1482958 w 12139750"/>
              <a:gd name="connsiteY2691" fmla="*/ 2434939 h 6858290"/>
              <a:gd name="connsiteX2692" fmla="*/ 4270882 w 12139750"/>
              <a:gd name="connsiteY2692" fmla="*/ 2431445 h 6858290"/>
              <a:gd name="connsiteX2693" fmla="*/ 4339323 w 12139750"/>
              <a:gd name="connsiteY2693" fmla="*/ 2475264 h 6858290"/>
              <a:gd name="connsiteX2694" fmla="*/ 4295596 w 12139750"/>
              <a:gd name="connsiteY2694" fmla="*/ 2543855 h 6858290"/>
              <a:gd name="connsiteX2695" fmla="*/ 3951517 w 12139750"/>
              <a:gd name="connsiteY2695" fmla="*/ 2618134 h 6858290"/>
              <a:gd name="connsiteX2696" fmla="*/ 3883076 w 12139750"/>
              <a:gd name="connsiteY2696" fmla="*/ 2574330 h 6858290"/>
              <a:gd name="connsiteX2697" fmla="*/ 3883076 w 12139750"/>
              <a:gd name="connsiteY2697" fmla="*/ 2562902 h 6858290"/>
              <a:gd name="connsiteX2698" fmla="*/ 3926804 w 12139750"/>
              <a:gd name="connsiteY2698" fmla="*/ 2507657 h 6858290"/>
              <a:gd name="connsiteX2699" fmla="*/ 4270882 w 12139750"/>
              <a:gd name="connsiteY2699" fmla="*/ 2431445 h 6858290"/>
              <a:gd name="connsiteX2700" fmla="*/ 2016607 w 12139750"/>
              <a:gd name="connsiteY2700" fmla="*/ 2431425 h 6858290"/>
              <a:gd name="connsiteX2701" fmla="*/ 2085053 w 12139750"/>
              <a:gd name="connsiteY2701" fmla="*/ 2475241 h 6858290"/>
              <a:gd name="connsiteX2702" fmla="*/ 2041322 w 12139750"/>
              <a:gd name="connsiteY2702" fmla="*/ 2543824 h 6858290"/>
              <a:gd name="connsiteX2703" fmla="*/ 1697222 w 12139750"/>
              <a:gd name="connsiteY2703" fmla="*/ 2618115 h 6858290"/>
              <a:gd name="connsiteX2704" fmla="*/ 1630683 w 12139750"/>
              <a:gd name="connsiteY2704" fmla="*/ 2574302 h 6858290"/>
              <a:gd name="connsiteX2705" fmla="*/ 1628782 w 12139750"/>
              <a:gd name="connsiteY2705" fmla="*/ 2562874 h 6858290"/>
              <a:gd name="connsiteX2706" fmla="*/ 1674409 w 12139750"/>
              <a:gd name="connsiteY2706" fmla="*/ 2507628 h 6858290"/>
              <a:gd name="connsiteX2707" fmla="*/ 2016607 w 12139750"/>
              <a:gd name="connsiteY2707" fmla="*/ 2431425 h 6858290"/>
              <a:gd name="connsiteX2708" fmla="*/ 2799530 w 12139750"/>
              <a:gd name="connsiteY2708" fmla="*/ 2428905 h 6858290"/>
              <a:gd name="connsiteX2709" fmla="*/ 3148601 w 12139750"/>
              <a:gd name="connsiteY2709" fmla="*/ 2428905 h 6858290"/>
              <a:gd name="connsiteX2710" fmla="*/ 3221085 w 12139750"/>
              <a:gd name="connsiteY2710" fmla="*/ 2499561 h 6858290"/>
              <a:gd name="connsiteX2711" fmla="*/ 3148601 w 12139750"/>
              <a:gd name="connsiteY2711" fmla="*/ 2570203 h 6858290"/>
              <a:gd name="connsiteX2712" fmla="*/ 2799530 w 12139750"/>
              <a:gd name="connsiteY2712" fmla="*/ 2570203 h 6858290"/>
              <a:gd name="connsiteX2713" fmla="*/ 2728953 w 12139750"/>
              <a:gd name="connsiteY2713" fmla="*/ 2499561 h 6858290"/>
              <a:gd name="connsiteX2714" fmla="*/ 2799530 w 12139750"/>
              <a:gd name="connsiteY2714" fmla="*/ 2428905 h 6858290"/>
              <a:gd name="connsiteX2715" fmla="*/ 3713474 w 12139750"/>
              <a:gd name="connsiteY2715" fmla="*/ 2424778 h 6858290"/>
              <a:gd name="connsiteX2716" fmla="*/ 3782105 w 12139750"/>
              <a:gd name="connsiteY2716" fmla="*/ 2478123 h 6858290"/>
              <a:gd name="connsiteX2717" fmla="*/ 3730631 w 12139750"/>
              <a:gd name="connsiteY2717" fmla="*/ 2546711 h 6858290"/>
              <a:gd name="connsiteX2718" fmla="*/ 3383699 w 12139750"/>
              <a:gd name="connsiteY2718" fmla="*/ 2598132 h 6858290"/>
              <a:gd name="connsiteX2719" fmla="*/ 3315071 w 12139750"/>
              <a:gd name="connsiteY2719" fmla="*/ 2546711 h 6858290"/>
              <a:gd name="connsiteX2720" fmla="*/ 3313164 w 12139750"/>
              <a:gd name="connsiteY2720" fmla="*/ 2537188 h 6858290"/>
              <a:gd name="connsiteX2721" fmla="*/ 3366541 w 12139750"/>
              <a:gd name="connsiteY2721" fmla="*/ 2476218 h 6858290"/>
              <a:gd name="connsiteX2722" fmla="*/ 3713474 w 12139750"/>
              <a:gd name="connsiteY2722" fmla="*/ 2424778 h 6858290"/>
              <a:gd name="connsiteX2723" fmla="*/ 2578386 w 12139750"/>
              <a:gd name="connsiteY2723" fmla="*/ 2424755 h 6858290"/>
              <a:gd name="connsiteX2724" fmla="*/ 2647013 w 12139750"/>
              <a:gd name="connsiteY2724" fmla="*/ 2478098 h 6858290"/>
              <a:gd name="connsiteX2725" fmla="*/ 2595543 w 12139750"/>
              <a:gd name="connsiteY2725" fmla="*/ 2546678 h 6858290"/>
              <a:gd name="connsiteX2726" fmla="*/ 2248597 w 12139750"/>
              <a:gd name="connsiteY2726" fmla="*/ 2598110 h 6858290"/>
              <a:gd name="connsiteX2727" fmla="*/ 2179970 w 12139750"/>
              <a:gd name="connsiteY2727" fmla="*/ 2546678 h 6858290"/>
              <a:gd name="connsiteX2728" fmla="*/ 2178064 w 12139750"/>
              <a:gd name="connsiteY2728" fmla="*/ 2537153 h 6858290"/>
              <a:gd name="connsiteX2729" fmla="*/ 2231440 w 12139750"/>
              <a:gd name="connsiteY2729" fmla="*/ 2476192 h 6858290"/>
              <a:gd name="connsiteX2730" fmla="*/ 2578386 w 12139750"/>
              <a:gd name="connsiteY2730" fmla="*/ 2424755 h 6858290"/>
              <a:gd name="connsiteX2731" fmla="*/ 9856995 w 12139750"/>
              <a:gd name="connsiteY2731" fmla="*/ 2158848 h 6858290"/>
              <a:gd name="connsiteX2732" fmla="*/ 9865791 w 12139750"/>
              <a:gd name="connsiteY2732" fmla="*/ 2163134 h 6858290"/>
              <a:gd name="connsiteX2733" fmla="*/ 9869594 w 12139750"/>
              <a:gd name="connsiteY2733" fmla="*/ 2172659 h 6858290"/>
              <a:gd name="connsiteX2734" fmla="*/ 9865791 w 12139750"/>
              <a:gd name="connsiteY2734" fmla="*/ 2182184 h 6858290"/>
              <a:gd name="connsiteX2735" fmla="*/ 9536809 w 12139750"/>
              <a:gd name="connsiteY2735" fmla="*/ 2494604 h 6858290"/>
              <a:gd name="connsiteX2736" fmla="*/ 9517792 w 12139750"/>
              <a:gd name="connsiteY2736" fmla="*/ 2494604 h 6858290"/>
              <a:gd name="connsiteX2737" fmla="*/ 9519694 w 12139750"/>
              <a:gd name="connsiteY2737" fmla="*/ 2475555 h 6858290"/>
              <a:gd name="connsiteX2738" fmla="*/ 9846774 w 12139750"/>
              <a:gd name="connsiteY2738" fmla="*/ 2163134 h 6858290"/>
              <a:gd name="connsiteX2739" fmla="*/ 9856995 w 12139750"/>
              <a:gd name="connsiteY2739" fmla="*/ 2158848 h 6858290"/>
              <a:gd name="connsiteX2740" fmla="*/ 9280994 w 12139750"/>
              <a:gd name="connsiteY2740" fmla="*/ 2152757 h 6858290"/>
              <a:gd name="connsiteX2741" fmla="*/ 9292682 w 12139750"/>
              <a:gd name="connsiteY2741" fmla="*/ 2158723 h 6858290"/>
              <a:gd name="connsiteX2742" fmla="*/ 9296499 w 12139750"/>
              <a:gd name="connsiteY2742" fmla="*/ 2170175 h 6858290"/>
              <a:gd name="connsiteX2743" fmla="*/ 9290774 w 12139750"/>
              <a:gd name="connsiteY2743" fmla="*/ 2183535 h 6858290"/>
              <a:gd name="connsiteX2744" fmla="*/ 8960635 w 12139750"/>
              <a:gd name="connsiteY2744" fmla="*/ 2475567 h 6858290"/>
              <a:gd name="connsiteX2745" fmla="*/ 8935827 w 12139750"/>
              <a:gd name="connsiteY2745" fmla="*/ 2473653 h 6858290"/>
              <a:gd name="connsiteX2746" fmla="*/ 8935827 w 12139750"/>
              <a:gd name="connsiteY2746" fmla="*/ 2448839 h 6858290"/>
              <a:gd name="connsiteX2747" fmla="*/ 9267874 w 12139750"/>
              <a:gd name="connsiteY2747" fmla="*/ 2156814 h 6858290"/>
              <a:gd name="connsiteX2748" fmla="*/ 9280994 w 12139750"/>
              <a:gd name="connsiteY2748" fmla="*/ 2152757 h 6858290"/>
              <a:gd name="connsiteX2749" fmla="*/ 10441167 w 12139750"/>
              <a:gd name="connsiteY2749" fmla="*/ 2152737 h 6858290"/>
              <a:gd name="connsiteX2750" fmla="*/ 10452845 w 12139750"/>
              <a:gd name="connsiteY2750" fmla="*/ 2158701 h 6858290"/>
              <a:gd name="connsiteX2751" fmla="*/ 10458565 w 12139750"/>
              <a:gd name="connsiteY2751" fmla="*/ 2170154 h 6858290"/>
              <a:gd name="connsiteX2752" fmla="*/ 10452845 w 12139750"/>
              <a:gd name="connsiteY2752" fmla="*/ 2183515 h 6858290"/>
              <a:gd name="connsiteX2753" fmla="*/ 10121085 w 12139750"/>
              <a:gd name="connsiteY2753" fmla="*/ 2475541 h 6858290"/>
              <a:gd name="connsiteX2754" fmla="*/ 10096299 w 12139750"/>
              <a:gd name="connsiteY2754" fmla="*/ 2473632 h 6858290"/>
              <a:gd name="connsiteX2755" fmla="*/ 10098205 w 12139750"/>
              <a:gd name="connsiteY2755" fmla="*/ 2448819 h 6858290"/>
              <a:gd name="connsiteX2756" fmla="*/ 10428058 w 12139750"/>
              <a:gd name="connsiteY2756" fmla="*/ 2156792 h 6858290"/>
              <a:gd name="connsiteX2757" fmla="*/ 10441167 w 12139750"/>
              <a:gd name="connsiteY2757" fmla="*/ 2152737 h 6858290"/>
              <a:gd name="connsiteX2758" fmla="*/ 8711083 w 12139750"/>
              <a:gd name="connsiteY2758" fmla="*/ 2147846 h 6858290"/>
              <a:gd name="connsiteX2759" fmla="*/ 8725621 w 12139750"/>
              <a:gd name="connsiteY2759" fmla="*/ 2156214 h 6858290"/>
              <a:gd name="connsiteX2760" fmla="*/ 8731341 w 12139750"/>
              <a:gd name="connsiteY2760" fmla="*/ 2169603 h 6858290"/>
              <a:gd name="connsiteX2761" fmla="*/ 8723714 w 12139750"/>
              <a:gd name="connsiteY2761" fmla="*/ 2186815 h 6858290"/>
              <a:gd name="connsiteX2762" fmla="*/ 8390055 w 12139750"/>
              <a:gd name="connsiteY2762" fmla="*/ 2454587 h 6858290"/>
              <a:gd name="connsiteX2763" fmla="*/ 8359549 w 12139750"/>
              <a:gd name="connsiteY2763" fmla="*/ 2450760 h 6858290"/>
              <a:gd name="connsiteX2764" fmla="*/ 8363363 w 12139750"/>
              <a:gd name="connsiteY2764" fmla="*/ 2420157 h 6858290"/>
              <a:gd name="connsiteX2765" fmla="*/ 8695115 w 12139750"/>
              <a:gd name="connsiteY2765" fmla="*/ 2152388 h 6858290"/>
              <a:gd name="connsiteX2766" fmla="*/ 8711083 w 12139750"/>
              <a:gd name="connsiteY2766" fmla="*/ 2147846 h 6858290"/>
              <a:gd name="connsiteX2767" fmla="*/ 11019424 w 12139750"/>
              <a:gd name="connsiteY2767" fmla="*/ 2147822 h 6858290"/>
              <a:gd name="connsiteX2768" fmla="*/ 11033901 w 12139750"/>
              <a:gd name="connsiteY2768" fmla="*/ 2156190 h 6858290"/>
              <a:gd name="connsiteX2769" fmla="*/ 11039597 w 12139750"/>
              <a:gd name="connsiteY2769" fmla="*/ 2169578 h 6858290"/>
              <a:gd name="connsiteX2770" fmla="*/ 11030104 w 12139750"/>
              <a:gd name="connsiteY2770" fmla="*/ 2186792 h 6858290"/>
              <a:gd name="connsiteX2771" fmla="*/ 10699740 w 12139750"/>
              <a:gd name="connsiteY2771" fmla="*/ 2454563 h 6858290"/>
              <a:gd name="connsiteX2772" fmla="*/ 10669362 w 12139750"/>
              <a:gd name="connsiteY2772" fmla="*/ 2450738 h 6858290"/>
              <a:gd name="connsiteX2773" fmla="*/ 10673159 w 12139750"/>
              <a:gd name="connsiteY2773" fmla="*/ 2420136 h 6858290"/>
              <a:gd name="connsiteX2774" fmla="*/ 11003523 w 12139750"/>
              <a:gd name="connsiteY2774" fmla="*/ 2152364 h 6858290"/>
              <a:gd name="connsiteX2775" fmla="*/ 11019424 w 12139750"/>
              <a:gd name="connsiteY2775" fmla="*/ 2147822 h 6858290"/>
              <a:gd name="connsiteX2776" fmla="*/ 8148561 w 12139750"/>
              <a:gd name="connsiteY2776" fmla="*/ 2143310 h 6858290"/>
              <a:gd name="connsiteX2777" fmla="*/ 8165230 w 12139750"/>
              <a:gd name="connsiteY2777" fmla="*/ 2153323 h 6858290"/>
              <a:gd name="connsiteX2778" fmla="*/ 8170945 w 12139750"/>
              <a:gd name="connsiteY2778" fmla="*/ 2168580 h 6858290"/>
              <a:gd name="connsiteX2779" fmla="*/ 8159515 w 12139750"/>
              <a:gd name="connsiteY2779" fmla="*/ 2189556 h 6858290"/>
              <a:gd name="connsiteX2780" fmla="*/ 7826135 w 12139750"/>
              <a:gd name="connsiteY2780" fmla="*/ 2433651 h 6858290"/>
              <a:gd name="connsiteX2781" fmla="*/ 7789940 w 12139750"/>
              <a:gd name="connsiteY2781" fmla="*/ 2427930 h 6858290"/>
              <a:gd name="connsiteX2782" fmla="*/ 7795655 w 12139750"/>
              <a:gd name="connsiteY2782" fmla="*/ 2391692 h 6858290"/>
              <a:gd name="connsiteX2783" fmla="*/ 8129034 w 12139750"/>
              <a:gd name="connsiteY2783" fmla="*/ 2147602 h 6858290"/>
              <a:gd name="connsiteX2784" fmla="*/ 8148561 w 12139750"/>
              <a:gd name="connsiteY2784" fmla="*/ 2143310 h 6858290"/>
              <a:gd name="connsiteX2785" fmla="*/ 11593070 w 12139750"/>
              <a:gd name="connsiteY2785" fmla="*/ 2143308 h 6858290"/>
              <a:gd name="connsiteX2786" fmla="*/ 11610468 w 12139750"/>
              <a:gd name="connsiteY2786" fmla="*/ 2153320 h 6858290"/>
              <a:gd name="connsiteX2787" fmla="*/ 11614281 w 12139750"/>
              <a:gd name="connsiteY2787" fmla="*/ 2168577 h 6858290"/>
              <a:gd name="connsiteX2788" fmla="*/ 11604748 w 12139750"/>
              <a:gd name="connsiteY2788" fmla="*/ 2189556 h 6858290"/>
              <a:gd name="connsiteX2789" fmla="*/ 11271096 w 12139750"/>
              <a:gd name="connsiteY2789" fmla="*/ 2433649 h 6858290"/>
              <a:gd name="connsiteX2790" fmla="*/ 11232964 w 12139750"/>
              <a:gd name="connsiteY2790" fmla="*/ 2427928 h 6858290"/>
              <a:gd name="connsiteX2791" fmla="*/ 11238684 w 12139750"/>
              <a:gd name="connsiteY2791" fmla="*/ 2391689 h 6858290"/>
              <a:gd name="connsiteX2792" fmla="*/ 11574243 w 12139750"/>
              <a:gd name="connsiteY2792" fmla="*/ 2147600 h 6858290"/>
              <a:gd name="connsiteX2793" fmla="*/ 11593070 w 12139750"/>
              <a:gd name="connsiteY2793" fmla="*/ 2143308 h 6858290"/>
              <a:gd name="connsiteX2794" fmla="*/ 12139750 w 12139750"/>
              <a:gd name="connsiteY2794" fmla="*/ 2139967 h 6858290"/>
              <a:gd name="connsiteX2795" fmla="*/ 12139750 w 12139750"/>
              <a:gd name="connsiteY2795" fmla="*/ 2212438 h 6858290"/>
              <a:gd name="connsiteX2796" fmla="*/ 11835489 w 12139750"/>
              <a:gd name="connsiteY2796" fmla="*/ 2414592 h 6858290"/>
              <a:gd name="connsiteX2797" fmla="*/ 11793653 w 12139750"/>
              <a:gd name="connsiteY2797" fmla="*/ 2406965 h 6858290"/>
              <a:gd name="connsiteX2798" fmla="*/ 11801260 w 12139750"/>
              <a:gd name="connsiteY2798" fmla="*/ 2363100 h 6858290"/>
              <a:gd name="connsiteX2799" fmla="*/ 12135947 w 12139750"/>
              <a:gd name="connsiteY2799" fmla="*/ 2141874 h 6858290"/>
              <a:gd name="connsiteX2800" fmla="*/ 12139750 w 12139750"/>
              <a:gd name="connsiteY2800" fmla="*/ 2139967 h 6858290"/>
              <a:gd name="connsiteX2801" fmla="*/ 7591500 w 12139750"/>
              <a:gd name="connsiteY2801" fmla="*/ 2137042 h 6858290"/>
              <a:gd name="connsiteX2802" fmla="*/ 7609598 w 12139750"/>
              <a:gd name="connsiteY2802" fmla="*/ 2151126 h 6858290"/>
              <a:gd name="connsiteX2803" fmla="*/ 7615313 w 12139750"/>
              <a:gd name="connsiteY2803" fmla="*/ 2168310 h 6858290"/>
              <a:gd name="connsiteX2804" fmla="*/ 7601978 w 12139750"/>
              <a:gd name="connsiteY2804" fmla="*/ 2193129 h 6858290"/>
              <a:gd name="connsiteX2805" fmla="*/ 7266693 w 12139750"/>
              <a:gd name="connsiteY2805" fmla="*/ 2414586 h 6858290"/>
              <a:gd name="connsiteX2806" fmla="*/ 7224783 w 12139750"/>
              <a:gd name="connsiteY2806" fmla="*/ 2406948 h 6858290"/>
              <a:gd name="connsiteX2807" fmla="*/ 7232403 w 12139750"/>
              <a:gd name="connsiteY2807" fmla="*/ 2363036 h 6858290"/>
              <a:gd name="connsiteX2808" fmla="*/ 7567687 w 12139750"/>
              <a:gd name="connsiteY2808" fmla="*/ 2141577 h 6858290"/>
              <a:gd name="connsiteX2809" fmla="*/ 7591500 w 12139750"/>
              <a:gd name="connsiteY2809" fmla="*/ 2137042 h 6858290"/>
              <a:gd name="connsiteX2810" fmla="*/ 7042453 w 12139750"/>
              <a:gd name="connsiteY2810" fmla="*/ 2131898 h 6858290"/>
              <a:gd name="connsiteX2811" fmla="*/ 7063473 w 12139750"/>
              <a:gd name="connsiteY2811" fmla="*/ 2148647 h 6858290"/>
              <a:gd name="connsiteX2812" fmla="*/ 7069206 w 12139750"/>
              <a:gd name="connsiteY2812" fmla="*/ 2165871 h 6858290"/>
              <a:gd name="connsiteX2813" fmla="*/ 7052008 w 12139750"/>
              <a:gd name="connsiteY2813" fmla="*/ 2196489 h 6858290"/>
              <a:gd name="connsiteX2814" fmla="*/ 6713777 w 12139750"/>
              <a:gd name="connsiteY2814" fmla="*/ 2395511 h 6858290"/>
              <a:gd name="connsiteX2815" fmla="*/ 6666004 w 12139750"/>
              <a:gd name="connsiteY2815" fmla="*/ 2382111 h 6858290"/>
              <a:gd name="connsiteX2816" fmla="*/ 6679381 w 12139750"/>
              <a:gd name="connsiteY2816" fmla="*/ 2334271 h 6858290"/>
              <a:gd name="connsiteX2817" fmla="*/ 7015700 w 12139750"/>
              <a:gd name="connsiteY2817" fmla="*/ 2135246 h 6858290"/>
              <a:gd name="connsiteX2818" fmla="*/ 7042453 w 12139750"/>
              <a:gd name="connsiteY2818" fmla="*/ 2131898 h 6858290"/>
              <a:gd name="connsiteX2819" fmla="*/ 6500021 w 12139750"/>
              <a:gd name="connsiteY2819" fmla="*/ 2128305 h 6858290"/>
              <a:gd name="connsiteX2820" fmla="*/ 6522150 w 12139750"/>
              <a:gd name="connsiteY2820" fmla="*/ 2147621 h 6858290"/>
              <a:gd name="connsiteX2821" fmla="*/ 6527861 w 12139750"/>
              <a:gd name="connsiteY2821" fmla="*/ 2164788 h 6858290"/>
              <a:gd name="connsiteX2822" fmla="*/ 6506921 w 12139750"/>
              <a:gd name="connsiteY2822" fmla="*/ 2199117 h 6858290"/>
              <a:gd name="connsiteX2823" fmla="*/ 6168083 w 12139750"/>
              <a:gd name="connsiteY2823" fmla="*/ 2374582 h 6858290"/>
              <a:gd name="connsiteX2824" fmla="*/ 6116686 w 12139750"/>
              <a:gd name="connsiteY2824" fmla="*/ 2359325 h 6858290"/>
              <a:gd name="connsiteX2825" fmla="*/ 6131914 w 12139750"/>
              <a:gd name="connsiteY2825" fmla="*/ 2305910 h 6858290"/>
              <a:gd name="connsiteX2826" fmla="*/ 6470753 w 12139750"/>
              <a:gd name="connsiteY2826" fmla="*/ 2130452 h 6858290"/>
              <a:gd name="connsiteX2827" fmla="*/ 6500021 w 12139750"/>
              <a:gd name="connsiteY2827" fmla="*/ 2128305 h 6858290"/>
              <a:gd name="connsiteX2828" fmla="*/ 5959154 w 12139750"/>
              <a:gd name="connsiteY2828" fmla="*/ 2123129 h 6858290"/>
              <a:gd name="connsiteX2829" fmla="*/ 5982710 w 12139750"/>
              <a:gd name="connsiteY2829" fmla="*/ 2145011 h 6858290"/>
              <a:gd name="connsiteX2830" fmla="*/ 5986517 w 12139750"/>
              <a:gd name="connsiteY2830" fmla="*/ 2164036 h 6858290"/>
              <a:gd name="connsiteX2831" fmla="*/ 5961771 w 12139750"/>
              <a:gd name="connsiteY2831" fmla="*/ 2202088 h 6858290"/>
              <a:gd name="connsiteX2832" fmla="*/ 5621030 w 12139750"/>
              <a:gd name="connsiteY2832" fmla="*/ 2354289 h 6858290"/>
              <a:gd name="connsiteX2833" fmla="*/ 5565827 w 12139750"/>
              <a:gd name="connsiteY2833" fmla="*/ 2333361 h 6858290"/>
              <a:gd name="connsiteX2834" fmla="*/ 5586766 w 12139750"/>
              <a:gd name="connsiteY2834" fmla="*/ 2276282 h 6858290"/>
              <a:gd name="connsiteX2835" fmla="*/ 5925602 w 12139750"/>
              <a:gd name="connsiteY2835" fmla="*/ 2124078 h 6858290"/>
              <a:gd name="connsiteX2836" fmla="*/ 5959154 w 12139750"/>
              <a:gd name="connsiteY2836" fmla="*/ 2123129 h 6858290"/>
              <a:gd name="connsiteX2837" fmla="*/ 398983 w 12139750"/>
              <a:gd name="connsiteY2837" fmla="*/ 2123125 h 6858290"/>
              <a:gd name="connsiteX2838" fmla="*/ 423236 w 12139750"/>
              <a:gd name="connsiteY2838" fmla="*/ 2145008 h 6858290"/>
              <a:gd name="connsiteX2839" fmla="*/ 427040 w 12139750"/>
              <a:gd name="connsiteY2839" fmla="*/ 2164035 h 6858290"/>
              <a:gd name="connsiteX2840" fmla="*/ 402312 w 12139750"/>
              <a:gd name="connsiteY2840" fmla="*/ 2202084 h 6858290"/>
              <a:gd name="connsiteX2841" fmla="*/ 61813 w 12139750"/>
              <a:gd name="connsiteY2841" fmla="*/ 2354287 h 6858290"/>
              <a:gd name="connsiteX2842" fmla="*/ 6649 w 12139750"/>
              <a:gd name="connsiteY2842" fmla="*/ 2333359 h 6858290"/>
              <a:gd name="connsiteX2843" fmla="*/ 27573 w 12139750"/>
              <a:gd name="connsiteY2843" fmla="*/ 2276282 h 6858290"/>
              <a:gd name="connsiteX2844" fmla="*/ 366169 w 12139750"/>
              <a:gd name="connsiteY2844" fmla="*/ 2124076 h 6858290"/>
              <a:gd name="connsiteX2845" fmla="*/ 398983 w 12139750"/>
              <a:gd name="connsiteY2845" fmla="*/ 2123125 h 6858290"/>
              <a:gd name="connsiteX2846" fmla="*/ 5396847 w 12139750"/>
              <a:gd name="connsiteY2846" fmla="*/ 2116229 h 6858290"/>
              <a:gd name="connsiteX2847" fmla="*/ 5438191 w 12139750"/>
              <a:gd name="connsiteY2847" fmla="*/ 2145804 h 6858290"/>
              <a:gd name="connsiteX2848" fmla="*/ 5442009 w 12139750"/>
              <a:gd name="connsiteY2848" fmla="*/ 2162858 h 6858290"/>
              <a:gd name="connsiteX2849" fmla="*/ 5411464 w 12139750"/>
              <a:gd name="connsiteY2849" fmla="*/ 2206436 h 6858290"/>
              <a:gd name="connsiteX2850" fmla="*/ 5069727 w 12139750"/>
              <a:gd name="connsiteY2850" fmla="*/ 2335278 h 6858290"/>
              <a:gd name="connsiteX2851" fmla="*/ 5008643 w 12139750"/>
              <a:gd name="connsiteY2851" fmla="*/ 2308745 h 6858290"/>
              <a:gd name="connsiteX2852" fmla="*/ 5037276 w 12139750"/>
              <a:gd name="connsiteY2852" fmla="*/ 2248119 h 6858290"/>
              <a:gd name="connsiteX2853" fmla="*/ 5379009 w 12139750"/>
              <a:gd name="connsiteY2853" fmla="*/ 2119278 h 6858290"/>
              <a:gd name="connsiteX2854" fmla="*/ 5396847 w 12139750"/>
              <a:gd name="connsiteY2854" fmla="*/ 2116229 h 6858290"/>
              <a:gd name="connsiteX2855" fmla="*/ 930370 w 12139750"/>
              <a:gd name="connsiteY2855" fmla="*/ 2116224 h 6858290"/>
              <a:gd name="connsiteX2856" fmla="*/ 972820 w 12139750"/>
              <a:gd name="connsiteY2856" fmla="*/ 2145802 h 6858290"/>
              <a:gd name="connsiteX2857" fmla="*/ 974730 w 12139750"/>
              <a:gd name="connsiteY2857" fmla="*/ 2162856 h 6858290"/>
              <a:gd name="connsiteX2858" fmla="*/ 944162 w 12139750"/>
              <a:gd name="connsiteY2858" fmla="*/ 2206434 h 6858290"/>
              <a:gd name="connsiteX2859" fmla="*/ 602179 w 12139750"/>
              <a:gd name="connsiteY2859" fmla="*/ 2335276 h 6858290"/>
              <a:gd name="connsiteX2860" fmla="*/ 542953 w 12139750"/>
              <a:gd name="connsiteY2860" fmla="*/ 2308745 h 6858290"/>
              <a:gd name="connsiteX2861" fmla="*/ 569700 w 12139750"/>
              <a:gd name="connsiteY2861" fmla="*/ 2248116 h 6858290"/>
              <a:gd name="connsiteX2862" fmla="*/ 911683 w 12139750"/>
              <a:gd name="connsiteY2862" fmla="*/ 2119276 h 6858290"/>
              <a:gd name="connsiteX2863" fmla="*/ 930370 w 12139750"/>
              <a:gd name="connsiteY2863" fmla="*/ 2116224 h 6858290"/>
              <a:gd name="connsiteX2864" fmla="*/ 4845975 w 12139750"/>
              <a:gd name="connsiteY2864" fmla="*/ 2110281 h 6858290"/>
              <a:gd name="connsiteX2865" fmla="*/ 4890814 w 12139750"/>
              <a:gd name="connsiteY2865" fmla="*/ 2147142 h 6858290"/>
              <a:gd name="connsiteX2866" fmla="*/ 4892723 w 12139750"/>
              <a:gd name="connsiteY2866" fmla="*/ 2162340 h 6858290"/>
              <a:gd name="connsiteX2867" fmla="*/ 4856446 w 12139750"/>
              <a:gd name="connsiteY2867" fmla="*/ 2209828 h 6858290"/>
              <a:gd name="connsiteX2868" fmla="*/ 4512822 w 12139750"/>
              <a:gd name="connsiteY2868" fmla="*/ 2316199 h 6858290"/>
              <a:gd name="connsiteX2869" fmla="*/ 4449824 w 12139750"/>
              <a:gd name="connsiteY2869" fmla="*/ 2283899 h 6858290"/>
              <a:gd name="connsiteX2870" fmla="*/ 4482278 w 12139750"/>
              <a:gd name="connsiteY2870" fmla="*/ 2219324 h 6858290"/>
              <a:gd name="connsiteX2871" fmla="*/ 4825899 w 12139750"/>
              <a:gd name="connsiteY2871" fmla="*/ 2112951 h 6858290"/>
              <a:gd name="connsiteX2872" fmla="*/ 4845975 w 12139750"/>
              <a:gd name="connsiteY2872" fmla="*/ 2110281 h 6858290"/>
              <a:gd name="connsiteX2873" fmla="*/ 1482447 w 12139750"/>
              <a:gd name="connsiteY2873" fmla="*/ 2110278 h 6858290"/>
              <a:gd name="connsiteX2874" fmla="*/ 1525280 w 12139750"/>
              <a:gd name="connsiteY2874" fmla="*/ 2147139 h 6858290"/>
              <a:gd name="connsiteX2875" fmla="*/ 1527184 w 12139750"/>
              <a:gd name="connsiteY2875" fmla="*/ 2162337 h 6858290"/>
              <a:gd name="connsiteX2876" fmla="*/ 1492917 w 12139750"/>
              <a:gd name="connsiteY2876" fmla="*/ 2209825 h 6858290"/>
              <a:gd name="connsiteX2877" fmla="*/ 1150255 w 12139750"/>
              <a:gd name="connsiteY2877" fmla="*/ 2316198 h 6858290"/>
              <a:gd name="connsiteX2878" fmla="*/ 1085530 w 12139750"/>
              <a:gd name="connsiteY2878" fmla="*/ 2283899 h 6858290"/>
              <a:gd name="connsiteX2879" fmla="*/ 1119796 w 12139750"/>
              <a:gd name="connsiteY2879" fmla="*/ 2219322 h 6858290"/>
              <a:gd name="connsiteX2880" fmla="*/ 1462458 w 12139750"/>
              <a:gd name="connsiteY2880" fmla="*/ 2112949 h 6858290"/>
              <a:gd name="connsiteX2881" fmla="*/ 1482447 w 12139750"/>
              <a:gd name="connsiteY2881" fmla="*/ 2110278 h 6858290"/>
              <a:gd name="connsiteX2882" fmla="*/ 4292468 w 12139750"/>
              <a:gd name="connsiteY2882" fmla="*/ 2106615 h 6858290"/>
              <a:gd name="connsiteX2883" fmla="*/ 4338674 w 12139750"/>
              <a:gd name="connsiteY2883" fmla="*/ 2147679 h 6858290"/>
              <a:gd name="connsiteX2884" fmla="*/ 4338674 w 12139750"/>
              <a:gd name="connsiteY2884" fmla="*/ 2160953 h 6858290"/>
              <a:gd name="connsiteX2885" fmla="*/ 4296646 w 12139750"/>
              <a:gd name="connsiteY2885" fmla="*/ 2214045 h 6858290"/>
              <a:gd name="connsiteX2886" fmla="*/ 3952805 w 12139750"/>
              <a:gd name="connsiteY2886" fmla="*/ 2297470 h 6858290"/>
              <a:gd name="connsiteX2887" fmla="*/ 3884033 w 12139750"/>
              <a:gd name="connsiteY2887" fmla="*/ 2257656 h 6858290"/>
              <a:gd name="connsiteX2888" fmla="*/ 3926060 w 12139750"/>
              <a:gd name="connsiteY2888" fmla="*/ 2191291 h 6858290"/>
              <a:gd name="connsiteX2889" fmla="*/ 4269902 w 12139750"/>
              <a:gd name="connsiteY2889" fmla="*/ 2107861 h 6858290"/>
              <a:gd name="connsiteX2890" fmla="*/ 4292468 w 12139750"/>
              <a:gd name="connsiteY2890" fmla="*/ 2106615 h 6858290"/>
              <a:gd name="connsiteX2891" fmla="*/ 2038710 w 12139750"/>
              <a:gd name="connsiteY2891" fmla="*/ 2106612 h 6858290"/>
              <a:gd name="connsiteX2892" fmla="*/ 2084082 w 12139750"/>
              <a:gd name="connsiteY2892" fmla="*/ 2147677 h 6858290"/>
              <a:gd name="connsiteX2893" fmla="*/ 2085991 w 12139750"/>
              <a:gd name="connsiteY2893" fmla="*/ 2160951 h 6858290"/>
              <a:gd name="connsiteX2894" fmla="*/ 2043989 w 12139750"/>
              <a:gd name="connsiteY2894" fmla="*/ 2214042 h 6858290"/>
              <a:gd name="connsiteX2895" fmla="*/ 1698467 w 12139750"/>
              <a:gd name="connsiteY2895" fmla="*/ 2297470 h 6858290"/>
              <a:gd name="connsiteX2896" fmla="*/ 1631654 w 12139750"/>
              <a:gd name="connsiteY2896" fmla="*/ 2257654 h 6858290"/>
              <a:gd name="connsiteX2897" fmla="*/ 1671742 w 12139750"/>
              <a:gd name="connsiteY2897" fmla="*/ 2191289 h 6858290"/>
              <a:gd name="connsiteX2898" fmla="*/ 2017264 w 12139750"/>
              <a:gd name="connsiteY2898" fmla="*/ 2107857 h 6858290"/>
              <a:gd name="connsiteX2899" fmla="*/ 2038710 w 12139750"/>
              <a:gd name="connsiteY2899" fmla="*/ 2106612 h 6858290"/>
              <a:gd name="connsiteX2900" fmla="*/ 3734742 w 12139750"/>
              <a:gd name="connsiteY2900" fmla="*/ 2101215 h 6858290"/>
              <a:gd name="connsiteX2901" fmla="*/ 3779871 w 12139750"/>
              <a:gd name="connsiteY2901" fmla="*/ 2149168 h 6858290"/>
              <a:gd name="connsiteX2902" fmla="*/ 3779871 w 12139750"/>
              <a:gd name="connsiteY2902" fmla="*/ 2158693 h 6858290"/>
              <a:gd name="connsiteX2903" fmla="*/ 3732116 w 12139750"/>
              <a:gd name="connsiteY2903" fmla="*/ 2217746 h 6858290"/>
              <a:gd name="connsiteX2904" fmla="*/ 3384469 w 12139750"/>
              <a:gd name="connsiteY2904" fmla="*/ 2278704 h 6858290"/>
              <a:gd name="connsiteX2905" fmla="*/ 3315701 w 12139750"/>
              <a:gd name="connsiteY2905" fmla="*/ 2231081 h 6858290"/>
              <a:gd name="connsiteX2906" fmla="*/ 3363456 w 12139750"/>
              <a:gd name="connsiteY2906" fmla="*/ 2160598 h 6858290"/>
              <a:gd name="connsiteX2907" fmla="*/ 3711103 w 12139750"/>
              <a:gd name="connsiteY2907" fmla="*/ 2101543 h 6858290"/>
              <a:gd name="connsiteX2908" fmla="*/ 3734742 w 12139750"/>
              <a:gd name="connsiteY2908" fmla="*/ 2101215 h 6858290"/>
              <a:gd name="connsiteX2909" fmla="*/ 2601252 w 12139750"/>
              <a:gd name="connsiteY2909" fmla="*/ 2101212 h 6858290"/>
              <a:gd name="connsiteX2910" fmla="*/ 2646380 w 12139750"/>
              <a:gd name="connsiteY2910" fmla="*/ 2149163 h 6858290"/>
              <a:gd name="connsiteX2911" fmla="*/ 2646380 w 12139750"/>
              <a:gd name="connsiteY2911" fmla="*/ 2158690 h 6858290"/>
              <a:gd name="connsiteX2912" fmla="*/ 2596715 w 12139750"/>
              <a:gd name="connsiteY2912" fmla="*/ 2217744 h 6858290"/>
              <a:gd name="connsiteX2913" fmla="*/ 2250972 w 12139750"/>
              <a:gd name="connsiteY2913" fmla="*/ 2278703 h 6858290"/>
              <a:gd name="connsiteX2914" fmla="*/ 2182205 w 12139750"/>
              <a:gd name="connsiteY2914" fmla="*/ 2231079 h 6858290"/>
              <a:gd name="connsiteX2915" fmla="*/ 2229960 w 12139750"/>
              <a:gd name="connsiteY2915" fmla="*/ 2160595 h 6858290"/>
              <a:gd name="connsiteX2916" fmla="*/ 2577613 w 12139750"/>
              <a:gd name="connsiteY2916" fmla="*/ 2101540 h 6858290"/>
              <a:gd name="connsiteX2917" fmla="*/ 2601252 w 12139750"/>
              <a:gd name="connsiteY2917" fmla="*/ 2101212 h 6858290"/>
              <a:gd name="connsiteX2918" fmla="*/ 3141099 w 12139750"/>
              <a:gd name="connsiteY2918" fmla="*/ 2094548 h 6858290"/>
              <a:gd name="connsiteX2919" fmla="*/ 3211539 w 12139750"/>
              <a:gd name="connsiteY2919" fmla="*/ 2151594 h 6858290"/>
              <a:gd name="connsiteX2920" fmla="*/ 3211539 w 12139750"/>
              <a:gd name="connsiteY2920" fmla="*/ 2159200 h 6858290"/>
              <a:gd name="connsiteX2921" fmla="*/ 3156330 w 12139750"/>
              <a:gd name="connsiteY2921" fmla="*/ 2221949 h 6858290"/>
              <a:gd name="connsiteX2922" fmla="*/ 2807941 w 12139750"/>
              <a:gd name="connsiteY2922" fmla="*/ 2259980 h 6858290"/>
              <a:gd name="connsiteX2923" fmla="*/ 2737501 w 12139750"/>
              <a:gd name="connsiteY2923" fmla="*/ 2202934 h 6858290"/>
              <a:gd name="connsiteX2924" fmla="*/ 2794615 w 12139750"/>
              <a:gd name="connsiteY2924" fmla="*/ 2132575 h 6858290"/>
              <a:gd name="connsiteX2925" fmla="*/ 3141099 w 12139750"/>
              <a:gd name="connsiteY2925" fmla="*/ 2094548 h 6858290"/>
              <a:gd name="connsiteX2926" fmla="*/ 9859129 w 12139750"/>
              <a:gd name="connsiteY2926" fmla="*/ 1839997 h 6858290"/>
              <a:gd name="connsiteX2927" fmla="*/ 9870549 w 12139750"/>
              <a:gd name="connsiteY2927" fmla="*/ 1845944 h 6858290"/>
              <a:gd name="connsiteX2928" fmla="*/ 9874356 w 12139750"/>
              <a:gd name="connsiteY2928" fmla="*/ 1857363 h 6858290"/>
              <a:gd name="connsiteX2929" fmla="*/ 9868646 w 12139750"/>
              <a:gd name="connsiteY2929" fmla="*/ 1868782 h 6858290"/>
              <a:gd name="connsiteX2930" fmla="*/ 9539364 w 12139750"/>
              <a:gd name="connsiteY2930" fmla="*/ 2165681 h 6858290"/>
              <a:gd name="connsiteX2931" fmla="*/ 9516524 w 12139750"/>
              <a:gd name="connsiteY2931" fmla="*/ 2165681 h 6858290"/>
              <a:gd name="connsiteX2932" fmla="*/ 9516524 w 12139750"/>
              <a:gd name="connsiteY2932" fmla="*/ 2142843 h 6858290"/>
              <a:gd name="connsiteX2933" fmla="*/ 9847709 w 12139750"/>
              <a:gd name="connsiteY2933" fmla="*/ 1844041 h 6858290"/>
              <a:gd name="connsiteX2934" fmla="*/ 9859129 w 12139750"/>
              <a:gd name="connsiteY2934" fmla="*/ 1839997 h 6858290"/>
              <a:gd name="connsiteX2935" fmla="*/ 9281354 w 12139750"/>
              <a:gd name="connsiteY2935" fmla="*/ 1833512 h 6858290"/>
              <a:gd name="connsiteX2936" fmla="*/ 9293964 w 12139750"/>
              <a:gd name="connsiteY2936" fmla="*/ 1841846 h 6858290"/>
              <a:gd name="connsiteX2937" fmla="*/ 9299674 w 12139750"/>
              <a:gd name="connsiteY2937" fmla="*/ 1853277 h 6858290"/>
              <a:gd name="connsiteX2938" fmla="*/ 9292060 w 12139750"/>
              <a:gd name="connsiteY2938" fmla="*/ 1868517 h 6858290"/>
              <a:gd name="connsiteX2939" fmla="*/ 8960867 w 12139750"/>
              <a:gd name="connsiteY2939" fmla="*/ 2146642 h 6858290"/>
              <a:gd name="connsiteX2940" fmla="*/ 8932316 w 12139750"/>
              <a:gd name="connsiteY2940" fmla="*/ 2144739 h 6858290"/>
              <a:gd name="connsiteX2941" fmla="*/ 8936123 w 12139750"/>
              <a:gd name="connsiteY2941" fmla="*/ 2116162 h 6858290"/>
              <a:gd name="connsiteX2942" fmla="*/ 9267316 w 12139750"/>
              <a:gd name="connsiteY2942" fmla="*/ 1838036 h 6858290"/>
              <a:gd name="connsiteX2943" fmla="*/ 9281354 w 12139750"/>
              <a:gd name="connsiteY2943" fmla="*/ 1833512 h 6858290"/>
              <a:gd name="connsiteX2944" fmla="*/ 10443580 w 12139750"/>
              <a:gd name="connsiteY2944" fmla="*/ 1833487 h 6858290"/>
              <a:gd name="connsiteX2945" fmla="*/ 10457916 w 12139750"/>
              <a:gd name="connsiteY2945" fmla="*/ 1841822 h 6858290"/>
              <a:gd name="connsiteX2946" fmla="*/ 10461739 w 12139750"/>
              <a:gd name="connsiteY2946" fmla="*/ 1853252 h 6858290"/>
              <a:gd name="connsiteX2947" fmla="*/ 10454093 w 12139750"/>
              <a:gd name="connsiteY2947" fmla="*/ 1868492 h 6858290"/>
              <a:gd name="connsiteX2948" fmla="*/ 10121491 w 12139750"/>
              <a:gd name="connsiteY2948" fmla="*/ 2146621 h 6858290"/>
              <a:gd name="connsiteX2949" fmla="*/ 10094730 w 12139750"/>
              <a:gd name="connsiteY2949" fmla="*/ 2144715 h 6858290"/>
              <a:gd name="connsiteX2950" fmla="*/ 10096642 w 12139750"/>
              <a:gd name="connsiteY2950" fmla="*/ 2116141 h 6858290"/>
              <a:gd name="connsiteX2951" fmla="*/ 10429243 w 12139750"/>
              <a:gd name="connsiteY2951" fmla="*/ 1838012 h 6858290"/>
              <a:gd name="connsiteX2952" fmla="*/ 10443580 w 12139750"/>
              <a:gd name="connsiteY2952" fmla="*/ 1833487 h 6858290"/>
              <a:gd name="connsiteX2953" fmla="*/ 8711664 w 12139750"/>
              <a:gd name="connsiteY2953" fmla="*/ 1828739 h 6858290"/>
              <a:gd name="connsiteX2954" fmla="*/ 8727194 w 12139750"/>
              <a:gd name="connsiteY2954" fmla="*/ 1837048 h 6858290"/>
              <a:gd name="connsiteX2955" fmla="*/ 8732928 w 12139750"/>
              <a:gd name="connsiteY2955" fmla="*/ 1852242 h 6858290"/>
              <a:gd name="connsiteX2956" fmla="*/ 8723371 w 12139750"/>
              <a:gd name="connsiteY2956" fmla="*/ 1871234 h 6858290"/>
              <a:gd name="connsiteX2957" fmla="*/ 8390798 w 12139750"/>
              <a:gd name="connsiteY2957" fmla="*/ 2127610 h 6858290"/>
              <a:gd name="connsiteX2958" fmla="*/ 8356393 w 12139750"/>
              <a:gd name="connsiteY2958" fmla="*/ 2123813 h 6858290"/>
              <a:gd name="connsiteX2959" fmla="*/ 8360216 w 12139750"/>
              <a:gd name="connsiteY2959" fmla="*/ 2089634 h 6858290"/>
              <a:gd name="connsiteX2960" fmla="*/ 8694701 w 12139750"/>
              <a:gd name="connsiteY2960" fmla="*/ 1833250 h 6858290"/>
              <a:gd name="connsiteX2961" fmla="*/ 8711664 w 12139750"/>
              <a:gd name="connsiteY2961" fmla="*/ 1828739 h 6858290"/>
              <a:gd name="connsiteX2962" fmla="*/ 11021508 w 12139750"/>
              <a:gd name="connsiteY2962" fmla="*/ 1828712 h 6858290"/>
              <a:gd name="connsiteX2963" fmla="*/ 11037038 w 12139750"/>
              <a:gd name="connsiteY2963" fmla="*/ 1837021 h 6858290"/>
              <a:gd name="connsiteX2964" fmla="*/ 11042772 w 12139750"/>
              <a:gd name="connsiteY2964" fmla="*/ 1852214 h 6858290"/>
              <a:gd name="connsiteX2965" fmla="*/ 11033215 w 12139750"/>
              <a:gd name="connsiteY2965" fmla="*/ 1871206 h 6858290"/>
              <a:gd name="connsiteX2966" fmla="*/ 10698730 w 12139750"/>
              <a:gd name="connsiteY2966" fmla="*/ 2127592 h 6858290"/>
              <a:gd name="connsiteX2967" fmla="*/ 10666237 w 12139750"/>
              <a:gd name="connsiteY2967" fmla="*/ 2123794 h 6858290"/>
              <a:gd name="connsiteX2968" fmla="*/ 10670060 w 12139750"/>
              <a:gd name="connsiteY2968" fmla="*/ 2089609 h 6858290"/>
              <a:gd name="connsiteX2969" fmla="*/ 11004545 w 12139750"/>
              <a:gd name="connsiteY2969" fmla="*/ 1833223 h 6858290"/>
              <a:gd name="connsiteX2970" fmla="*/ 11021508 w 12139750"/>
              <a:gd name="connsiteY2970" fmla="*/ 1828712 h 6858290"/>
              <a:gd name="connsiteX2971" fmla="*/ 8148424 w 12139750"/>
              <a:gd name="connsiteY2971" fmla="*/ 1822231 h 6858290"/>
              <a:gd name="connsiteX2972" fmla="*/ 8166804 w 12139750"/>
              <a:gd name="connsiteY2972" fmla="*/ 1832924 h 6858290"/>
              <a:gd name="connsiteX2973" fmla="*/ 8172533 w 12139750"/>
              <a:gd name="connsiteY2973" fmla="*/ 1850033 h 6858290"/>
              <a:gd name="connsiteX2974" fmla="*/ 8161075 w 12139750"/>
              <a:gd name="connsiteY2974" fmla="*/ 1872844 h 6858290"/>
              <a:gd name="connsiteX2975" fmla="*/ 7824980 w 12139750"/>
              <a:gd name="connsiteY2975" fmla="*/ 2108561 h 6858290"/>
              <a:gd name="connsiteX2976" fmla="*/ 7786788 w 12139750"/>
              <a:gd name="connsiteY2976" fmla="*/ 2100956 h 6858290"/>
              <a:gd name="connsiteX2977" fmla="*/ 7792517 w 12139750"/>
              <a:gd name="connsiteY2977" fmla="*/ 2062938 h 6858290"/>
              <a:gd name="connsiteX2978" fmla="*/ 8128611 w 12139750"/>
              <a:gd name="connsiteY2978" fmla="*/ 1827221 h 6858290"/>
              <a:gd name="connsiteX2979" fmla="*/ 8148424 w 12139750"/>
              <a:gd name="connsiteY2979" fmla="*/ 1822231 h 6858290"/>
              <a:gd name="connsiteX2980" fmla="*/ 11593502 w 12139750"/>
              <a:gd name="connsiteY2980" fmla="*/ 1822227 h 6858290"/>
              <a:gd name="connsiteX2981" fmla="*/ 11612061 w 12139750"/>
              <a:gd name="connsiteY2981" fmla="*/ 1832920 h 6858290"/>
              <a:gd name="connsiteX2982" fmla="*/ 11615868 w 12139750"/>
              <a:gd name="connsiteY2982" fmla="*/ 1850029 h 6858290"/>
              <a:gd name="connsiteX2983" fmla="*/ 11604447 w 12139750"/>
              <a:gd name="connsiteY2983" fmla="*/ 1872840 h 6858290"/>
              <a:gd name="connsiteX2984" fmla="*/ 11271337 w 12139750"/>
              <a:gd name="connsiteY2984" fmla="*/ 2108557 h 6858290"/>
              <a:gd name="connsiteX2985" fmla="*/ 11233267 w 12139750"/>
              <a:gd name="connsiteY2985" fmla="*/ 2100952 h 6858290"/>
              <a:gd name="connsiteX2986" fmla="*/ 11238978 w 12139750"/>
              <a:gd name="connsiteY2986" fmla="*/ 2062934 h 6858290"/>
              <a:gd name="connsiteX2987" fmla="*/ 11572088 w 12139750"/>
              <a:gd name="connsiteY2987" fmla="*/ 1827217 h 6858290"/>
              <a:gd name="connsiteX2988" fmla="*/ 11593502 w 12139750"/>
              <a:gd name="connsiteY2988" fmla="*/ 1822227 h 6858290"/>
              <a:gd name="connsiteX2989" fmla="*/ 12139750 w 12139750"/>
              <a:gd name="connsiteY2989" fmla="*/ 1819296 h 6858290"/>
              <a:gd name="connsiteX2990" fmla="*/ 12139750 w 12139750"/>
              <a:gd name="connsiteY2990" fmla="*/ 1893845 h 6858290"/>
              <a:gd name="connsiteX2991" fmla="*/ 11834405 w 12139750"/>
              <a:gd name="connsiteY2991" fmla="*/ 2090726 h 6858290"/>
              <a:gd name="connsiteX2992" fmla="*/ 11790512 w 12139750"/>
              <a:gd name="connsiteY2992" fmla="*/ 2081169 h 6858290"/>
              <a:gd name="connsiteX2993" fmla="*/ 11800054 w 12139750"/>
              <a:gd name="connsiteY2993" fmla="*/ 2037205 h 6858290"/>
              <a:gd name="connsiteX2994" fmla="*/ 12135933 w 12139750"/>
              <a:gd name="connsiteY2994" fmla="*/ 1821208 h 6858290"/>
              <a:gd name="connsiteX2995" fmla="*/ 12139750 w 12139750"/>
              <a:gd name="connsiteY2995" fmla="*/ 1819296 h 6858290"/>
              <a:gd name="connsiteX2996" fmla="*/ 7591461 w 12139750"/>
              <a:gd name="connsiteY2996" fmla="*/ 1816389 h 6858290"/>
              <a:gd name="connsiteX2997" fmla="*/ 7611195 w 12139750"/>
              <a:gd name="connsiteY2997" fmla="*/ 1830500 h 6858290"/>
              <a:gd name="connsiteX2998" fmla="*/ 7616901 w 12139750"/>
              <a:gd name="connsiteY2998" fmla="*/ 1847721 h 6858290"/>
              <a:gd name="connsiteX2999" fmla="*/ 7601685 w 12139750"/>
              <a:gd name="connsiteY2999" fmla="*/ 1874509 h 6858290"/>
              <a:gd name="connsiteX3000" fmla="*/ 7266927 w 12139750"/>
              <a:gd name="connsiteY3000" fmla="*/ 2090722 h 6858290"/>
              <a:gd name="connsiteX3001" fmla="*/ 7223180 w 12139750"/>
              <a:gd name="connsiteY3001" fmla="*/ 2081155 h 6858290"/>
              <a:gd name="connsiteX3002" fmla="*/ 7232690 w 12139750"/>
              <a:gd name="connsiteY3002" fmla="*/ 2037147 h 6858290"/>
              <a:gd name="connsiteX3003" fmla="*/ 7567448 w 12139750"/>
              <a:gd name="connsiteY3003" fmla="*/ 1820933 h 6858290"/>
              <a:gd name="connsiteX3004" fmla="*/ 7591461 w 12139750"/>
              <a:gd name="connsiteY3004" fmla="*/ 1816389 h 6858290"/>
              <a:gd name="connsiteX3005" fmla="*/ 7042453 w 12139750"/>
              <a:gd name="connsiteY3005" fmla="*/ 1811445 h 6858290"/>
              <a:gd name="connsiteX3006" fmla="*/ 7063473 w 12139750"/>
              <a:gd name="connsiteY3006" fmla="*/ 1827876 h 6858290"/>
              <a:gd name="connsiteX3007" fmla="*/ 7069206 w 12139750"/>
              <a:gd name="connsiteY3007" fmla="*/ 1845021 h 6858290"/>
              <a:gd name="connsiteX3008" fmla="*/ 7052008 w 12139750"/>
              <a:gd name="connsiteY3008" fmla="*/ 1875501 h 6858290"/>
              <a:gd name="connsiteX3009" fmla="*/ 6713777 w 12139750"/>
              <a:gd name="connsiteY3009" fmla="*/ 2071714 h 6858290"/>
              <a:gd name="connsiteX3010" fmla="*/ 6666004 w 12139750"/>
              <a:gd name="connsiteY3010" fmla="*/ 2058379 h 6858290"/>
              <a:gd name="connsiteX3011" fmla="*/ 6679381 w 12139750"/>
              <a:gd name="connsiteY3011" fmla="*/ 2010756 h 6858290"/>
              <a:gd name="connsiteX3012" fmla="*/ 7015700 w 12139750"/>
              <a:gd name="connsiteY3012" fmla="*/ 1816445 h 6858290"/>
              <a:gd name="connsiteX3013" fmla="*/ 7042453 w 12139750"/>
              <a:gd name="connsiteY3013" fmla="*/ 1811445 h 6858290"/>
              <a:gd name="connsiteX3014" fmla="*/ 6499936 w 12139750"/>
              <a:gd name="connsiteY3014" fmla="*/ 1806065 h 6858290"/>
              <a:gd name="connsiteX3015" fmla="*/ 6522132 w 12139750"/>
              <a:gd name="connsiteY3015" fmla="*/ 1825400 h 6858290"/>
              <a:gd name="connsiteX3016" fmla="*/ 6527860 w 12139750"/>
              <a:gd name="connsiteY3016" fmla="*/ 1842587 h 6858290"/>
              <a:gd name="connsiteX3017" fmla="*/ 6506857 w 12139750"/>
              <a:gd name="connsiteY3017" fmla="*/ 1876960 h 6858290"/>
              <a:gd name="connsiteX3018" fmla="*/ 6166999 w 12139750"/>
              <a:gd name="connsiteY3018" fmla="*/ 2052641 h 6858290"/>
              <a:gd name="connsiteX3019" fmla="*/ 6115448 w 12139750"/>
              <a:gd name="connsiteY3019" fmla="*/ 2035456 h 6858290"/>
              <a:gd name="connsiteX3020" fmla="*/ 6130722 w 12139750"/>
              <a:gd name="connsiteY3020" fmla="*/ 1983897 h 6858290"/>
              <a:gd name="connsiteX3021" fmla="*/ 6470580 w 12139750"/>
              <a:gd name="connsiteY3021" fmla="*/ 1808213 h 6858290"/>
              <a:gd name="connsiteX3022" fmla="*/ 6499936 w 12139750"/>
              <a:gd name="connsiteY3022" fmla="*/ 1806065 h 6858290"/>
              <a:gd name="connsiteX3023" fmla="*/ 5958440 w 12139750"/>
              <a:gd name="connsiteY3023" fmla="*/ 1800931 h 6858290"/>
              <a:gd name="connsiteX3024" fmla="*/ 5982710 w 12139750"/>
              <a:gd name="connsiteY3024" fmla="*/ 1822950 h 6858290"/>
              <a:gd name="connsiteX3025" fmla="*/ 5986517 w 12139750"/>
              <a:gd name="connsiteY3025" fmla="*/ 1840183 h 6858290"/>
              <a:gd name="connsiteX3026" fmla="*/ 5961771 w 12139750"/>
              <a:gd name="connsiteY3026" fmla="*/ 1878478 h 6858290"/>
              <a:gd name="connsiteX3027" fmla="*/ 5622934 w 12139750"/>
              <a:gd name="connsiteY3027" fmla="*/ 2033566 h 6858290"/>
              <a:gd name="connsiteX3028" fmla="*/ 5565827 w 12139750"/>
              <a:gd name="connsiteY3028" fmla="*/ 2012506 h 6858290"/>
              <a:gd name="connsiteX3029" fmla="*/ 5586766 w 12139750"/>
              <a:gd name="connsiteY3029" fmla="*/ 1955065 h 6858290"/>
              <a:gd name="connsiteX3030" fmla="*/ 5925602 w 12139750"/>
              <a:gd name="connsiteY3030" fmla="*/ 1801889 h 6858290"/>
              <a:gd name="connsiteX3031" fmla="*/ 5958440 w 12139750"/>
              <a:gd name="connsiteY3031" fmla="*/ 1800931 h 6858290"/>
              <a:gd name="connsiteX3032" fmla="*/ 398962 w 12139750"/>
              <a:gd name="connsiteY3032" fmla="*/ 1800922 h 6858290"/>
              <a:gd name="connsiteX3033" fmla="*/ 423233 w 12139750"/>
              <a:gd name="connsiteY3033" fmla="*/ 1822941 h 6858290"/>
              <a:gd name="connsiteX3034" fmla="*/ 427041 w 12139750"/>
              <a:gd name="connsiteY3034" fmla="*/ 1840174 h 6858290"/>
              <a:gd name="connsiteX3035" fmla="*/ 400390 w 12139750"/>
              <a:gd name="connsiteY3035" fmla="*/ 1878468 h 6858290"/>
              <a:gd name="connsiteX3036" fmla="*/ 61546 w 12139750"/>
              <a:gd name="connsiteY3036" fmla="*/ 2033558 h 6858290"/>
              <a:gd name="connsiteX3037" fmla="*/ 6342 w 12139750"/>
              <a:gd name="connsiteY3037" fmla="*/ 2012496 h 6858290"/>
              <a:gd name="connsiteX3038" fmla="*/ 27281 w 12139750"/>
              <a:gd name="connsiteY3038" fmla="*/ 1955055 h 6858290"/>
              <a:gd name="connsiteX3039" fmla="*/ 366125 w 12139750"/>
              <a:gd name="connsiteY3039" fmla="*/ 1801879 h 6858290"/>
              <a:gd name="connsiteX3040" fmla="*/ 398962 w 12139750"/>
              <a:gd name="connsiteY3040" fmla="*/ 1800922 h 6858290"/>
              <a:gd name="connsiteX3041" fmla="*/ 5395741 w 12139750"/>
              <a:gd name="connsiteY3041" fmla="*/ 1792156 h 6858290"/>
              <a:gd name="connsiteX3042" fmla="*/ 5438189 w 12139750"/>
              <a:gd name="connsiteY3042" fmla="*/ 1822160 h 6858290"/>
              <a:gd name="connsiteX3043" fmla="*/ 5442010 w 12139750"/>
              <a:gd name="connsiteY3043" fmla="*/ 1839306 h 6858290"/>
              <a:gd name="connsiteX3044" fmla="*/ 5411443 w 12139750"/>
              <a:gd name="connsiteY3044" fmla="*/ 1883121 h 6858290"/>
              <a:gd name="connsiteX3045" fmla="*/ 5069457 w 12139750"/>
              <a:gd name="connsiteY3045" fmla="*/ 2014565 h 6858290"/>
              <a:gd name="connsiteX3046" fmla="*/ 5010238 w 12139750"/>
              <a:gd name="connsiteY3046" fmla="*/ 1989801 h 6858290"/>
              <a:gd name="connsiteX3047" fmla="*/ 5036983 w 12139750"/>
              <a:gd name="connsiteY3047" fmla="*/ 1928841 h 6858290"/>
              <a:gd name="connsiteX3048" fmla="*/ 5377054 w 12139750"/>
              <a:gd name="connsiteY3048" fmla="*/ 1795490 h 6858290"/>
              <a:gd name="connsiteX3049" fmla="*/ 5395741 w 12139750"/>
              <a:gd name="connsiteY3049" fmla="*/ 1792156 h 6858290"/>
              <a:gd name="connsiteX3050" fmla="*/ 929266 w 12139750"/>
              <a:gd name="connsiteY3050" fmla="*/ 1792145 h 6858290"/>
              <a:gd name="connsiteX3051" fmla="*/ 970909 w 12139750"/>
              <a:gd name="connsiteY3051" fmla="*/ 1822149 h 6858290"/>
              <a:gd name="connsiteX3052" fmla="*/ 974730 w 12139750"/>
              <a:gd name="connsiteY3052" fmla="*/ 1839294 h 6858290"/>
              <a:gd name="connsiteX3053" fmla="*/ 946072 w 12139750"/>
              <a:gd name="connsiteY3053" fmla="*/ 1883109 h 6858290"/>
              <a:gd name="connsiteX3054" fmla="*/ 604089 w 12139750"/>
              <a:gd name="connsiteY3054" fmla="*/ 2014554 h 6858290"/>
              <a:gd name="connsiteX3055" fmla="*/ 542953 w 12139750"/>
              <a:gd name="connsiteY3055" fmla="*/ 1989789 h 6858290"/>
              <a:gd name="connsiteX3056" fmla="*/ 569700 w 12139750"/>
              <a:gd name="connsiteY3056" fmla="*/ 1928829 h 6858290"/>
              <a:gd name="connsiteX3057" fmla="*/ 911683 w 12139750"/>
              <a:gd name="connsiteY3057" fmla="*/ 1795478 h 6858290"/>
              <a:gd name="connsiteX3058" fmla="*/ 929266 w 12139750"/>
              <a:gd name="connsiteY3058" fmla="*/ 1792145 h 6858290"/>
              <a:gd name="connsiteX3059" fmla="*/ 4845289 w 12139750"/>
              <a:gd name="connsiteY3059" fmla="*/ 1786421 h 6858290"/>
              <a:gd name="connsiteX3060" fmla="*/ 4889233 w 12139750"/>
              <a:gd name="connsiteY3060" fmla="*/ 1819733 h 6858290"/>
              <a:gd name="connsiteX3061" fmla="*/ 4891136 w 12139750"/>
              <a:gd name="connsiteY3061" fmla="*/ 1836927 h 6858290"/>
              <a:gd name="connsiteX3062" fmla="*/ 4856841 w 12139750"/>
              <a:gd name="connsiteY3062" fmla="*/ 1884687 h 6858290"/>
              <a:gd name="connsiteX3063" fmla="*/ 4515848 w 12139750"/>
              <a:gd name="connsiteY3063" fmla="*/ 1997399 h 6858290"/>
              <a:gd name="connsiteX3064" fmla="*/ 4451076 w 12139750"/>
              <a:gd name="connsiteY3064" fmla="*/ 1964923 h 6858290"/>
              <a:gd name="connsiteX3065" fmla="*/ 4483463 w 12139750"/>
              <a:gd name="connsiteY3065" fmla="*/ 1901881 h 6858290"/>
              <a:gd name="connsiteX3066" fmla="*/ 4826355 w 12139750"/>
              <a:gd name="connsiteY3066" fmla="*/ 1789167 h 6858290"/>
              <a:gd name="connsiteX3067" fmla="*/ 4845289 w 12139750"/>
              <a:gd name="connsiteY3067" fmla="*/ 1786421 h 6858290"/>
              <a:gd name="connsiteX3068" fmla="*/ 1480544 w 12139750"/>
              <a:gd name="connsiteY3068" fmla="*/ 1786407 h 6858290"/>
              <a:gd name="connsiteX3069" fmla="*/ 1523376 w 12139750"/>
              <a:gd name="connsiteY3069" fmla="*/ 1819719 h 6858290"/>
              <a:gd name="connsiteX3070" fmla="*/ 1527184 w 12139750"/>
              <a:gd name="connsiteY3070" fmla="*/ 1836913 h 6858290"/>
              <a:gd name="connsiteX3071" fmla="*/ 1492918 w 12139750"/>
              <a:gd name="connsiteY3071" fmla="*/ 1884672 h 6858290"/>
              <a:gd name="connsiteX3072" fmla="*/ 1150255 w 12139750"/>
              <a:gd name="connsiteY3072" fmla="*/ 1997385 h 6858290"/>
              <a:gd name="connsiteX3073" fmla="*/ 1087434 w 12139750"/>
              <a:gd name="connsiteY3073" fmla="*/ 1964908 h 6858290"/>
              <a:gd name="connsiteX3074" fmla="*/ 1119796 w 12139750"/>
              <a:gd name="connsiteY3074" fmla="*/ 1901866 h 6858290"/>
              <a:gd name="connsiteX3075" fmla="*/ 1460555 w 12139750"/>
              <a:gd name="connsiteY3075" fmla="*/ 1789153 h 6858290"/>
              <a:gd name="connsiteX3076" fmla="*/ 1480544 w 12139750"/>
              <a:gd name="connsiteY3076" fmla="*/ 1786407 h 6858290"/>
              <a:gd name="connsiteX3077" fmla="*/ 4289929 w 12139750"/>
              <a:gd name="connsiteY3077" fmla="*/ 1779643 h 6858290"/>
              <a:gd name="connsiteX3078" fmla="*/ 4333596 w 12139750"/>
              <a:gd name="connsiteY3078" fmla="*/ 1819260 h 6858290"/>
              <a:gd name="connsiteX3079" fmla="*/ 4335501 w 12139750"/>
              <a:gd name="connsiteY3079" fmla="*/ 1834591 h 6858290"/>
              <a:gd name="connsiteX3080" fmla="*/ 4295495 w 12139750"/>
              <a:gd name="connsiteY3080" fmla="*/ 1886336 h 6858290"/>
              <a:gd name="connsiteX3081" fmla="*/ 3952611 w 12139750"/>
              <a:gd name="connsiteY3081" fmla="*/ 1978325 h 6858290"/>
              <a:gd name="connsiteX3082" fmla="*/ 3885933 w 12139750"/>
              <a:gd name="connsiteY3082" fmla="*/ 1939996 h 6858290"/>
              <a:gd name="connsiteX3083" fmla="*/ 3924033 w 12139750"/>
              <a:gd name="connsiteY3083" fmla="*/ 1872921 h 6858290"/>
              <a:gd name="connsiteX3084" fmla="*/ 4268824 w 12139750"/>
              <a:gd name="connsiteY3084" fmla="*/ 1780930 h 6858290"/>
              <a:gd name="connsiteX3085" fmla="*/ 4289929 w 12139750"/>
              <a:gd name="connsiteY3085" fmla="*/ 1779643 h 6858290"/>
              <a:gd name="connsiteX3086" fmla="*/ 2035632 w 12139750"/>
              <a:gd name="connsiteY3086" fmla="*/ 1779626 h 6858290"/>
              <a:gd name="connsiteX3087" fmla="*/ 2080910 w 12139750"/>
              <a:gd name="connsiteY3087" fmla="*/ 1819243 h 6858290"/>
              <a:gd name="connsiteX3088" fmla="*/ 2082815 w 12139750"/>
              <a:gd name="connsiteY3088" fmla="*/ 1834574 h 6858290"/>
              <a:gd name="connsiteX3089" fmla="*/ 2042805 w 12139750"/>
              <a:gd name="connsiteY3089" fmla="*/ 1886319 h 6858290"/>
              <a:gd name="connsiteX3090" fmla="*/ 1699901 w 12139750"/>
              <a:gd name="connsiteY3090" fmla="*/ 1978307 h 6858290"/>
              <a:gd name="connsiteX3091" fmla="*/ 1633225 w 12139750"/>
              <a:gd name="connsiteY3091" fmla="*/ 1939979 h 6858290"/>
              <a:gd name="connsiteX3092" fmla="*/ 1671326 w 12139750"/>
              <a:gd name="connsiteY3092" fmla="*/ 1872903 h 6858290"/>
              <a:gd name="connsiteX3093" fmla="*/ 2014230 w 12139750"/>
              <a:gd name="connsiteY3093" fmla="*/ 1780914 h 6858290"/>
              <a:gd name="connsiteX3094" fmla="*/ 2035632 w 12139750"/>
              <a:gd name="connsiteY3094" fmla="*/ 1779626 h 6858290"/>
              <a:gd name="connsiteX3095" fmla="*/ 3732186 w 12139750"/>
              <a:gd name="connsiteY3095" fmla="*/ 1775478 h 6858290"/>
              <a:gd name="connsiteX3096" fmla="*/ 3778299 w 12139750"/>
              <a:gd name="connsiteY3096" fmla="*/ 1820020 h 6858290"/>
              <a:gd name="connsiteX3097" fmla="*/ 3778299 w 12139750"/>
              <a:gd name="connsiteY3097" fmla="*/ 1831468 h 6858290"/>
              <a:gd name="connsiteX3098" fmla="*/ 3732545 w 12139750"/>
              <a:gd name="connsiteY3098" fmla="*/ 1888710 h 6858290"/>
              <a:gd name="connsiteX3099" fmla="*/ 3387514 w 12139750"/>
              <a:gd name="connsiteY3099" fmla="*/ 1959308 h 6858290"/>
              <a:gd name="connsiteX3100" fmla="*/ 3318883 w 12139750"/>
              <a:gd name="connsiteY3100" fmla="*/ 1915423 h 6858290"/>
              <a:gd name="connsiteX3101" fmla="*/ 3364636 w 12139750"/>
              <a:gd name="connsiteY3101" fmla="*/ 1846733 h 6858290"/>
              <a:gd name="connsiteX3102" fmla="*/ 3709668 w 12139750"/>
              <a:gd name="connsiteY3102" fmla="*/ 1776134 h 6858290"/>
              <a:gd name="connsiteX3103" fmla="*/ 3732186 w 12139750"/>
              <a:gd name="connsiteY3103" fmla="*/ 1775478 h 6858290"/>
              <a:gd name="connsiteX3104" fmla="*/ 2597096 w 12139750"/>
              <a:gd name="connsiteY3104" fmla="*/ 1775459 h 6858290"/>
              <a:gd name="connsiteX3105" fmla="*/ 2643205 w 12139750"/>
              <a:gd name="connsiteY3105" fmla="*/ 1820000 h 6858290"/>
              <a:gd name="connsiteX3106" fmla="*/ 2643205 w 12139750"/>
              <a:gd name="connsiteY3106" fmla="*/ 1831449 h 6858290"/>
              <a:gd name="connsiteX3107" fmla="*/ 2597453 w 12139750"/>
              <a:gd name="connsiteY3107" fmla="*/ 1888690 h 6858290"/>
              <a:gd name="connsiteX3108" fmla="*/ 2252409 w 12139750"/>
              <a:gd name="connsiteY3108" fmla="*/ 1959288 h 6858290"/>
              <a:gd name="connsiteX3109" fmla="*/ 2183781 w 12139750"/>
              <a:gd name="connsiteY3109" fmla="*/ 1915403 h 6858290"/>
              <a:gd name="connsiteX3110" fmla="*/ 2229533 w 12139750"/>
              <a:gd name="connsiteY3110" fmla="*/ 1846713 h 6858290"/>
              <a:gd name="connsiteX3111" fmla="*/ 2574577 w 12139750"/>
              <a:gd name="connsiteY3111" fmla="*/ 1776115 h 6858290"/>
              <a:gd name="connsiteX3112" fmla="*/ 2597096 w 12139750"/>
              <a:gd name="connsiteY3112" fmla="*/ 1775459 h 6858290"/>
              <a:gd name="connsiteX3113" fmla="*/ 3139439 w 12139750"/>
              <a:gd name="connsiteY3113" fmla="*/ 1767857 h 6858290"/>
              <a:gd name="connsiteX3114" fmla="*/ 3209972 w 12139750"/>
              <a:gd name="connsiteY3114" fmla="*/ 1819203 h 6858290"/>
              <a:gd name="connsiteX3115" fmla="*/ 3209972 w 12139750"/>
              <a:gd name="connsiteY3115" fmla="*/ 1828711 h 6858290"/>
              <a:gd name="connsiteX3116" fmla="*/ 3156596 w 12139750"/>
              <a:gd name="connsiteY3116" fmla="*/ 1889566 h 6858290"/>
              <a:gd name="connsiteX3117" fmla="*/ 2811555 w 12139750"/>
              <a:gd name="connsiteY3117" fmla="*/ 1939010 h 6858290"/>
              <a:gd name="connsiteX3118" fmla="*/ 2741022 w 12139750"/>
              <a:gd name="connsiteY3118" fmla="*/ 1887665 h 6858290"/>
              <a:gd name="connsiteX3119" fmla="*/ 2792492 w 12139750"/>
              <a:gd name="connsiteY3119" fmla="*/ 1819203 h 6858290"/>
              <a:gd name="connsiteX3120" fmla="*/ 3139439 w 12139750"/>
              <a:gd name="connsiteY3120" fmla="*/ 1767857 h 6858290"/>
              <a:gd name="connsiteX3121" fmla="*/ 9859195 w 12139750"/>
              <a:gd name="connsiteY3121" fmla="*/ 1522734 h 6858290"/>
              <a:gd name="connsiteX3122" fmla="*/ 9871816 w 12139750"/>
              <a:gd name="connsiteY3122" fmla="*/ 1530346 h 6858290"/>
              <a:gd name="connsiteX3123" fmla="*/ 9877531 w 12139750"/>
              <a:gd name="connsiteY3123" fmla="*/ 1541765 h 6858290"/>
              <a:gd name="connsiteX3124" fmla="*/ 9869911 w 12139750"/>
              <a:gd name="connsiteY3124" fmla="*/ 1556990 h 6858290"/>
              <a:gd name="connsiteX3125" fmla="*/ 9538436 w 12139750"/>
              <a:gd name="connsiteY3125" fmla="*/ 1838657 h 6858290"/>
              <a:gd name="connsiteX3126" fmla="*/ 9511766 w 12139750"/>
              <a:gd name="connsiteY3126" fmla="*/ 1836754 h 6858290"/>
              <a:gd name="connsiteX3127" fmla="*/ 9513671 w 12139750"/>
              <a:gd name="connsiteY3127" fmla="*/ 1810110 h 6858290"/>
              <a:gd name="connsiteX3128" fmla="*/ 9845146 w 12139750"/>
              <a:gd name="connsiteY3128" fmla="*/ 1526540 h 6858290"/>
              <a:gd name="connsiteX3129" fmla="*/ 9859195 w 12139750"/>
              <a:gd name="connsiteY3129" fmla="*/ 1522734 h 6858290"/>
              <a:gd name="connsiteX3130" fmla="*/ 9283544 w 12139750"/>
              <a:gd name="connsiteY3130" fmla="*/ 1516005 h 6858290"/>
              <a:gd name="connsiteX3131" fmla="*/ 9299036 w 12139750"/>
              <a:gd name="connsiteY3131" fmla="*/ 1524331 h 6858290"/>
              <a:gd name="connsiteX3132" fmla="*/ 9302849 w 12139750"/>
              <a:gd name="connsiteY3132" fmla="*/ 1537653 h 6858290"/>
              <a:gd name="connsiteX3133" fmla="*/ 9295222 w 12139750"/>
              <a:gd name="connsiteY3133" fmla="*/ 1554780 h 6858290"/>
              <a:gd name="connsiteX3134" fmla="*/ 8961563 w 12139750"/>
              <a:gd name="connsiteY3134" fmla="*/ 1821217 h 6858290"/>
              <a:gd name="connsiteX3135" fmla="*/ 8931057 w 12139750"/>
              <a:gd name="connsiteY3135" fmla="*/ 1817411 h 6858290"/>
              <a:gd name="connsiteX3136" fmla="*/ 8934871 w 12139750"/>
              <a:gd name="connsiteY3136" fmla="*/ 1785058 h 6858290"/>
              <a:gd name="connsiteX3137" fmla="*/ 9266623 w 12139750"/>
              <a:gd name="connsiteY3137" fmla="*/ 1520524 h 6858290"/>
              <a:gd name="connsiteX3138" fmla="*/ 9283544 w 12139750"/>
              <a:gd name="connsiteY3138" fmla="*/ 1516005 h 6858290"/>
              <a:gd name="connsiteX3139" fmla="*/ 10444673 w 12139750"/>
              <a:gd name="connsiteY3139" fmla="*/ 1515983 h 6858290"/>
              <a:gd name="connsiteX3140" fmla="*/ 10459199 w 12139750"/>
              <a:gd name="connsiteY3140" fmla="*/ 1524309 h 6858290"/>
              <a:gd name="connsiteX3141" fmla="*/ 10464914 w 12139750"/>
              <a:gd name="connsiteY3141" fmla="*/ 1537630 h 6858290"/>
              <a:gd name="connsiteX3142" fmla="*/ 10455389 w 12139750"/>
              <a:gd name="connsiteY3142" fmla="*/ 1554759 h 6858290"/>
              <a:gd name="connsiteX3143" fmla="*/ 10123915 w 12139750"/>
              <a:gd name="connsiteY3143" fmla="*/ 1821192 h 6858290"/>
              <a:gd name="connsiteX3144" fmla="*/ 10091529 w 12139750"/>
              <a:gd name="connsiteY3144" fmla="*/ 1817385 h 6858290"/>
              <a:gd name="connsiteX3145" fmla="*/ 10095339 w 12139750"/>
              <a:gd name="connsiteY3145" fmla="*/ 1785033 h 6858290"/>
              <a:gd name="connsiteX3146" fmla="*/ 10428719 w 12139750"/>
              <a:gd name="connsiteY3146" fmla="*/ 1520503 h 6858290"/>
              <a:gd name="connsiteX3147" fmla="*/ 10444673 w 12139750"/>
              <a:gd name="connsiteY3147" fmla="*/ 1515983 h 6858290"/>
              <a:gd name="connsiteX3148" fmla="*/ 8713305 w 12139750"/>
              <a:gd name="connsiteY3148" fmla="*/ 1508547 h 6858290"/>
              <a:gd name="connsiteX3149" fmla="*/ 8730703 w 12139750"/>
              <a:gd name="connsiteY3149" fmla="*/ 1518310 h 6858290"/>
              <a:gd name="connsiteX3150" fmla="*/ 8734516 w 12139750"/>
              <a:gd name="connsiteY3150" fmla="*/ 1533551 h 6858290"/>
              <a:gd name="connsiteX3151" fmla="*/ 8724983 w 12139750"/>
              <a:gd name="connsiteY3151" fmla="*/ 1554506 h 6858290"/>
              <a:gd name="connsiteX3152" fmla="*/ 8391331 w 12139750"/>
              <a:gd name="connsiteY3152" fmla="*/ 1802160 h 6858290"/>
              <a:gd name="connsiteX3153" fmla="*/ 8355106 w 12139750"/>
              <a:gd name="connsiteY3153" fmla="*/ 1796444 h 6858290"/>
              <a:gd name="connsiteX3154" fmla="*/ 8360826 w 12139750"/>
              <a:gd name="connsiteY3154" fmla="*/ 1760249 h 6858290"/>
              <a:gd name="connsiteX3155" fmla="*/ 8694478 w 12139750"/>
              <a:gd name="connsiteY3155" fmla="*/ 1514500 h 6858290"/>
              <a:gd name="connsiteX3156" fmla="*/ 8713305 w 12139750"/>
              <a:gd name="connsiteY3156" fmla="*/ 1508547 h 6858290"/>
              <a:gd name="connsiteX3157" fmla="*/ 11022911 w 12139750"/>
              <a:gd name="connsiteY3157" fmla="*/ 1508523 h 6858290"/>
              <a:gd name="connsiteX3158" fmla="*/ 11038640 w 12139750"/>
              <a:gd name="connsiteY3158" fmla="*/ 1518286 h 6858290"/>
              <a:gd name="connsiteX3159" fmla="*/ 11044360 w 12139750"/>
              <a:gd name="connsiteY3159" fmla="*/ 1533526 h 6858290"/>
              <a:gd name="connsiteX3160" fmla="*/ 11034827 w 12139750"/>
              <a:gd name="connsiteY3160" fmla="*/ 1554481 h 6858290"/>
              <a:gd name="connsiteX3161" fmla="*/ 10701175 w 12139750"/>
              <a:gd name="connsiteY3161" fmla="*/ 1802131 h 6858290"/>
              <a:gd name="connsiteX3162" fmla="*/ 10664950 w 12139750"/>
              <a:gd name="connsiteY3162" fmla="*/ 1796416 h 6858290"/>
              <a:gd name="connsiteX3163" fmla="*/ 10670670 w 12139750"/>
              <a:gd name="connsiteY3163" fmla="*/ 1760221 h 6858290"/>
              <a:gd name="connsiteX3164" fmla="*/ 11004322 w 12139750"/>
              <a:gd name="connsiteY3164" fmla="*/ 1514476 h 6858290"/>
              <a:gd name="connsiteX3165" fmla="*/ 11022911 w 12139750"/>
              <a:gd name="connsiteY3165" fmla="*/ 1508523 h 6858290"/>
              <a:gd name="connsiteX3166" fmla="*/ 8149812 w 12139750"/>
              <a:gd name="connsiteY3166" fmla="*/ 1501800 h 6858290"/>
              <a:gd name="connsiteX3167" fmla="*/ 8168401 w 12139750"/>
              <a:gd name="connsiteY3167" fmla="*/ 1514182 h 6858290"/>
              <a:gd name="connsiteX3168" fmla="*/ 8174121 w 12139750"/>
              <a:gd name="connsiteY3168" fmla="*/ 1531327 h 6858290"/>
              <a:gd name="connsiteX3169" fmla="*/ 8160775 w 12139750"/>
              <a:gd name="connsiteY3169" fmla="*/ 1554187 h 6858290"/>
              <a:gd name="connsiteX3170" fmla="*/ 7825223 w 12139750"/>
              <a:gd name="connsiteY3170" fmla="*/ 1782791 h 6858290"/>
              <a:gd name="connsiteX3171" fmla="*/ 7785185 w 12139750"/>
              <a:gd name="connsiteY3171" fmla="*/ 1775171 h 6858290"/>
              <a:gd name="connsiteX3172" fmla="*/ 7792812 w 12139750"/>
              <a:gd name="connsiteY3172" fmla="*/ 1735166 h 6858290"/>
              <a:gd name="connsiteX3173" fmla="*/ 8128364 w 12139750"/>
              <a:gd name="connsiteY3173" fmla="*/ 1506563 h 6858290"/>
              <a:gd name="connsiteX3174" fmla="*/ 8149812 w 12139750"/>
              <a:gd name="connsiteY3174" fmla="*/ 1501800 h 6858290"/>
              <a:gd name="connsiteX3175" fmla="*/ 11594174 w 12139750"/>
              <a:gd name="connsiteY3175" fmla="*/ 1501795 h 6858290"/>
              <a:gd name="connsiteX3176" fmla="*/ 11613654 w 12139750"/>
              <a:gd name="connsiteY3176" fmla="*/ 1514178 h 6858290"/>
              <a:gd name="connsiteX3177" fmla="*/ 11617455 w 12139750"/>
              <a:gd name="connsiteY3177" fmla="*/ 1531323 h 6858290"/>
              <a:gd name="connsiteX3178" fmla="*/ 11606052 w 12139750"/>
              <a:gd name="connsiteY3178" fmla="*/ 1554183 h 6858290"/>
              <a:gd name="connsiteX3179" fmla="*/ 11271574 w 12139750"/>
              <a:gd name="connsiteY3179" fmla="*/ 1782786 h 6858290"/>
              <a:gd name="connsiteX3180" fmla="*/ 11231664 w 12139750"/>
              <a:gd name="connsiteY3180" fmla="*/ 1775166 h 6858290"/>
              <a:gd name="connsiteX3181" fmla="*/ 11239266 w 12139750"/>
              <a:gd name="connsiteY3181" fmla="*/ 1735161 h 6858290"/>
              <a:gd name="connsiteX3182" fmla="*/ 11571844 w 12139750"/>
              <a:gd name="connsiteY3182" fmla="*/ 1506558 h 6858290"/>
              <a:gd name="connsiteX3183" fmla="*/ 11594174 w 12139750"/>
              <a:gd name="connsiteY3183" fmla="*/ 1501795 h 6858290"/>
              <a:gd name="connsiteX3184" fmla="*/ 12139750 w 12139750"/>
              <a:gd name="connsiteY3184" fmla="*/ 1497031 h 6858290"/>
              <a:gd name="connsiteX3185" fmla="*/ 12139750 w 12139750"/>
              <a:gd name="connsiteY3185" fmla="*/ 1573231 h 6858290"/>
              <a:gd name="connsiteX3186" fmla="*/ 11834677 w 12139750"/>
              <a:gd name="connsiteY3186" fmla="*/ 1763733 h 6858290"/>
              <a:gd name="connsiteX3187" fmla="*/ 11788917 w 12139750"/>
              <a:gd name="connsiteY3187" fmla="*/ 1754208 h 6858290"/>
              <a:gd name="connsiteX3188" fmla="*/ 11800357 w 12139750"/>
              <a:gd name="connsiteY3188" fmla="*/ 1710392 h 6858290"/>
              <a:gd name="connsiteX3189" fmla="*/ 12135937 w 12139750"/>
              <a:gd name="connsiteY3189" fmla="*/ 1498936 h 6858290"/>
              <a:gd name="connsiteX3190" fmla="*/ 12139750 w 12139750"/>
              <a:gd name="connsiteY3190" fmla="*/ 1497031 h 6858290"/>
              <a:gd name="connsiteX3191" fmla="*/ 7592412 w 12139750"/>
              <a:gd name="connsiteY3191" fmla="*/ 1496614 h 6858290"/>
              <a:gd name="connsiteX3192" fmla="*/ 7613097 w 12139750"/>
              <a:gd name="connsiteY3192" fmla="*/ 1511548 h 6858290"/>
              <a:gd name="connsiteX3193" fmla="*/ 7616901 w 12139750"/>
              <a:gd name="connsiteY3193" fmla="*/ 1528616 h 6858290"/>
              <a:gd name="connsiteX3194" fmla="*/ 7601685 w 12139750"/>
              <a:gd name="connsiteY3194" fmla="*/ 1555168 h 6858290"/>
              <a:gd name="connsiteX3195" fmla="*/ 7266927 w 12139750"/>
              <a:gd name="connsiteY3195" fmla="*/ 1763784 h 6858290"/>
              <a:gd name="connsiteX3196" fmla="*/ 7223180 w 12139750"/>
              <a:gd name="connsiteY3196" fmla="*/ 1754301 h 6858290"/>
              <a:gd name="connsiteX3197" fmla="*/ 7232690 w 12139750"/>
              <a:gd name="connsiteY3197" fmla="*/ 1710681 h 6858290"/>
              <a:gd name="connsiteX3198" fmla="*/ 7567448 w 12139750"/>
              <a:gd name="connsiteY3198" fmla="*/ 1500170 h 6858290"/>
              <a:gd name="connsiteX3199" fmla="*/ 7592412 w 12139750"/>
              <a:gd name="connsiteY3199" fmla="*/ 1496614 h 6858290"/>
              <a:gd name="connsiteX3200" fmla="*/ 7043429 w 12139750"/>
              <a:gd name="connsiteY3200" fmla="*/ 1490543 h 6858290"/>
              <a:gd name="connsiteX3201" fmla="*/ 7065387 w 12139750"/>
              <a:gd name="connsiteY3201" fmla="*/ 1507250 h 6858290"/>
              <a:gd name="connsiteX3202" fmla="*/ 7069206 w 12139750"/>
              <a:gd name="connsiteY3202" fmla="*/ 1524435 h 6858290"/>
              <a:gd name="connsiteX3203" fmla="*/ 7052021 w 12139750"/>
              <a:gd name="connsiteY3203" fmla="*/ 1554987 h 6858290"/>
              <a:gd name="connsiteX3204" fmla="*/ 6714055 w 12139750"/>
              <a:gd name="connsiteY3204" fmla="*/ 1747844 h 6858290"/>
              <a:gd name="connsiteX3205" fmla="*/ 6664410 w 12139750"/>
              <a:gd name="connsiteY3205" fmla="*/ 1734477 h 6858290"/>
              <a:gd name="connsiteX3206" fmla="*/ 6677776 w 12139750"/>
              <a:gd name="connsiteY3206" fmla="*/ 1684830 h 6858290"/>
              <a:gd name="connsiteX3207" fmla="*/ 7015742 w 12139750"/>
              <a:gd name="connsiteY3207" fmla="*/ 1493885 h 6858290"/>
              <a:gd name="connsiteX3208" fmla="*/ 7043429 w 12139750"/>
              <a:gd name="connsiteY3208" fmla="*/ 1490543 h 6858290"/>
              <a:gd name="connsiteX3209" fmla="*/ 6500175 w 12139750"/>
              <a:gd name="connsiteY3209" fmla="*/ 1483801 h 6858290"/>
              <a:gd name="connsiteX3210" fmla="*/ 6524041 w 12139750"/>
              <a:gd name="connsiteY3210" fmla="*/ 1503135 h 6858290"/>
              <a:gd name="connsiteX3211" fmla="*/ 6527860 w 12139750"/>
              <a:gd name="connsiteY3211" fmla="*/ 1520321 h 6858290"/>
              <a:gd name="connsiteX3212" fmla="*/ 6506857 w 12139750"/>
              <a:gd name="connsiteY3212" fmla="*/ 1554694 h 6858290"/>
              <a:gd name="connsiteX3213" fmla="*/ 6166999 w 12139750"/>
              <a:gd name="connsiteY3213" fmla="*/ 1728470 h 6858290"/>
              <a:gd name="connsiteX3214" fmla="*/ 6113538 w 12139750"/>
              <a:gd name="connsiteY3214" fmla="*/ 1711284 h 6858290"/>
              <a:gd name="connsiteX3215" fmla="*/ 6130722 w 12139750"/>
              <a:gd name="connsiteY3215" fmla="*/ 1659723 h 6858290"/>
              <a:gd name="connsiteX3216" fmla="*/ 6470580 w 12139750"/>
              <a:gd name="connsiteY3216" fmla="*/ 1485949 h 6858290"/>
              <a:gd name="connsiteX3217" fmla="*/ 6500175 w 12139750"/>
              <a:gd name="connsiteY3217" fmla="*/ 1483801 h 6858290"/>
              <a:gd name="connsiteX3218" fmla="*/ 5958440 w 12139750"/>
              <a:gd name="connsiteY3218" fmla="*/ 1477068 h 6858290"/>
              <a:gd name="connsiteX3219" fmla="*/ 5982710 w 12139750"/>
              <a:gd name="connsiteY3219" fmla="*/ 1499058 h 6858290"/>
              <a:gd name="connsiteX3220" fmla="*/ 5986517 w 12139750"/>
              <a:gd name="connsiteY3220" fmla="*/ 1516267 h 6858290"/>
              <a:gd name="connsiteX3221" fmla="*/ 5961771 w 12139750"/>
              <a:gd name="connsiteY3221" fmla="*/ 1556424 h 6858290"/>
              <a:gd name="connsiteX3222" fmla="*/ 5622934 w 12139750"/>
              <a:gd name="connsiteY3222" fmla="*/ 1711317 h 6858290"/>
              <a:gd name="connsiteX3223" fmla="*/ 5565827 w 12139750"/>
              <a:gd name="connsiteY3223" fmla="*/ 1690282 h 6858290"/>
              <a:gd name="connsiteX3224" fmla="*/ 5586766 w 12139750"/>
              <a:gd name="connsiteY3224" fmla="*/ 1632914 h 6858290"/>
              <a:gd name="connsiteX3225" fmla="*/ 5925602 w 12139750"/>
              <a:gd name="connsiteY3225" fmla="*/ 1478023 h 6858290"/>
              <a:gd name="connsiteX3226" fmla="*/ 5958440 w 12139750"/>
              <a:gd name="connsiteY3226" fmla="*/ 1477068 h 6858290"/>
              <a:gd name="connsiteX3227" fmla="*/ 398249 w 12139750"/>
              <a:gd name="connsiteY3227" fmla="*/ 1477059 h 6858290"/>
              <a:gd name="connsiteX3228" fmla="*/ 423234 w 12139750"/>
              <a:gd name="connsiteY3228" fmla="*/ 1499048 h 6858290"/>
              <a:gd name="connsiteX3229" fmla="*/ 427041 w 12139750"/>
              <a:gd name="connsiteY3229" fmla="*/ 1516259 h 6858290"/>
              <a:gd name="connsiteX3230" fmla="*/ 402294 w 12139750"/>
              <a:gd name="connsiteY3230" fmla="*/ 1556416 h 6858290"/>
              <a:gd name="connsiteX3231" fmla="*/ 61547 w 12139750"/>
              <a:gd name="connsiteY3231" fmla="*/ 1711307 h 6858290"/>
              <a:gd name="connsiteX3232" fmla="*/ 6342 w 12139750"/>
              <a:gd name="connsiteY3232" fmla="*/ 1690272 h 6858290"/>
              <a:gd name="connsiteX3233" fmla="*/ 27282 w 12139750"/>
              <a:gd name="connsiteY3233" fmla="*/ 1632905 h 6858290"/>
              <a:gd name="connsiteX3234" fmla="*/ 366125 w 12139750"/>
              <a:gd name="connsiteY3234" fmla="*/ 1478015 h 6858290"/>
              <a:gd name="connsiteX3235" fmla="*/ 398249 w 12139750"/>
              <a:gd name="connsiteY3235" fmla="*/ 1477059 h 6858290"/>
              <a:gd name="connsiteX3236" fmla="*/ 5394603 w 12139750"/>
              <a:gd name="connsiteY3236" fmla="*/ 1468287 h 6858290"/>
              <a:gd name="connsiteX3237" fmla="*/ 5436931 w 12139750"/>
              <a:gd name="connsiteY3237" fmla="*/ 1498212 h 6858290"/>
              <a:gd name="connsiteX3238" fmla="*/ 5438835 w 12139750"/>
              <a:gd name="connsiteY3238" fmla="*/ 1515311 h 6858290"/>
              <a:gd name="connsiteX3239" fmla="*/ 5410261 w 12139750"/>
              <a:gd name="connsiteY3239" fmla="*/ 1557113 h 6858290"/>
              <a:gd name="connsiteX3240" fmla="*/ 5069259 w 12139750"/>
              <a:gd name="connsiteY3240" fmla="*/ 1693914 h 6858290"/>
              <a:gd name="connsiteX3241" fmla="*/ 5010210 w 12139750"/>
              <a:gd name="connsiteY3241" fmla="*/ 1667314 h 6858290"/>
              <a:gd name="connsiteX3242" fmla="*/ 5036878 w 12139750"/>
              <a:gd name="connsiteY3242" fmla="*/ 1608413 h 6858290"/>
              <a:gd name="connsiteX3243" fmla="*/ 5375971 w 12139750"/>
              <a:gd name="connsiteY3243" fmla="*/ 1471613 h 6858290"/>
              <a:gd name="connsiteX3244" fmla="*/ 5394603 w 12139750"/>
              <a:gd name="connsiteY3244" fmla="*/ 1468287 h 6858290"/>
              <a:gd name="connsiteX3245" fmla="*/ 929397 w 12139750"/>
              <a:gd name="connsiteY3245" fmla="*/ 1468276 h 6858290"/>
              <a:gd name="connsiteX3246" fmla="*/ 970920 w 12139750"/>
              <a:gd name="connsiteY3246" fmla="*/ 1498200 h 6858290"/>
              <a:gd name="connsiteX3247" fmla="*/ 974730 w 12139750"/>
              <a:gd name="connsiteY3247" fmla="*/ 1515301 h 6858290"/>
              <a:gd name="connsiteX3248" fmla="*/ 946155 w 12139750"/>
              <a:gd name="connsiteY3248" fmla="*/ 1557101 h 6858290"/>
              <a:gd name="connsiteX3249" fmla="*/ 605156 w 12139750"/>
              <a:gd name="connsiteY3249" fmla="*/ 1693902 h 6858290"/>
              <a:gd name="connsiteX3250" fmla="*/ 546100 w 12139750"/>
              <a:gd name="connsiteY3250" fmla="*/ 1667301 h 6858290"/>
              <a:gd name="connsiteX3251" fmla="*/ 570866 w 12139750"/>
              <a:gd name="connsiteY3251" fmla="*/ 1608401 h 6858290"/>
              <a:gd name="connsiteX3252" fmla="*/ 911865 w 12139750"/>
              <a:gd name="connsiteY3252" fmla="*/ 1471601 h 6858290"/>
              <a:gd name="connsiteX3253" fmla="*/ 929397 w 12139750"/>
              <a:gd name="connsiteY3253" fmla="*/ 1468276 h 6858290"/>
              <a:gd name="connsiteX3254" fmla="*/ 4844455 w 12139750"/>
              <a:gd name="connsiteY3254" fmla="*/ 1461448 h 6858290"/>
              <a:gd name="connsiteX3255" fmla="*/ 4887327 w 12139750"/>
              <a:gd name="connsiteY3255" fmla="*/ 1493862 h 6858290"/>
              <a:gd name="connsiteX3256" fmla="*/ 4891136 w 12139750"/>
              <a:gd name="connsiteY3256" fmla="*/ 1511006 h 6858290"/>
              <a:gd name="connsiteX3257" fmla="*/ 4856841 w 12139750"/>
              <a:gd name="connsiteY3257" fmla="*/ 1556728 h 6858290"/>
              <a:gd name="connsiteX3258" fmla="*/ 4515848 w 12139750"/>
              <a:gd name="connsiteY3258" fmla="*/ 1674839 h 6858290"/>
              <a:gd name="connsiteX3259" fmla="*/ 4452982 w 12139750"/>
              <a:gd name="connsiteY3259" fmla="*/ 1644358 h 6858290"/>
              <a:gd name="connsiteX3260" fmla="*/ 4483463 w 12139750"/>
              <a:gd name="connsiteY3260" fmla="*/ 1583397 h 6858290"/>
              <a:gd name="connsiteX3261" fmla="*/ 4824451 w 12139750"/>
              <a:gd name="connsiteY3261" fmla="*/ 1463382 h 6858290"/>
              <a:gd name="connsiteX3262" fmla="*/ 4844455 w 12139750"/>
              <a:gd name="connsiteY3262" fmla="*/ 1461448 h 6858290"/>
              <a:gd name="connsiteX3263" fmla="*/ 1479724 w 12139750"/>
              <a:gd name="connsiteY3263" fmla="*/ 1461434 h 6858290"/>
              <a:gd name="connsiteX3264" fmla="*/ 1523689 w 12139750"/>
              <a:gd name="connsiteY3264" fmla="*/ 1493848 h 6858290"/>
              <a:gd name="connsiteX3265" fmla="*/ 1525596 w 12139750"/>
              <a:gd name="connsiteY3265" fmla="*/ 1510993 h 6858290"/>
              <a:gd name="connsiteX3266" fmla="*/ 1493187 w 12139750"/>
              <a:gd name="connsiteY3266" fmla="*/ 1556713 h 6858290"/>
              <a:gd name="connsiteX3267" fmla="*/ 1150039 w 12139750"/>
              <a:gd name="connsiteY3267" fmla="*/ 1674825 h 6858290"/>
              <a:gd name="connsiteX3268" fmla="*/ 1089034 w 12139750"/>
              <a:gd name="connsiteY3268" fmla="*/ 1644344 h 6858290"/>
              <a:gd name="connsiteX3269" fmla="*/ 1117630 w 12139750"/>
              <a:gd name="connsiteY3269" fmla="*/ 1583384 h 6858290"/>
              <a:gd name="connsiteX3270" fmla="*/ 1460779 w 12139750"/>
              <a:gd name="connsiteY3270" fmla="*/ 1463368 h 6858290"/>
              <a:gd name="connsiteX3271" fmla="*/ 1479724 w 12139750"/>
              <a:gd name="connsiteY3271" fmla="*/ 1461434 h 6858290"/>
              <a:gd name="connsiteX3272" fmla="*/ 4287991 w 12139750"/>
              <a:gd name="connsiteY3272" fmla="*/ 1454950 h 6858290"/>
              <a:gd name="connsiteX3273" fmla="*/ 4331689 w 12139750"/>
              <a:gd name="connsiteY3273" fmla="*/ 1491704 h 6858290"/>
              <a:gd name="connsiteX3274" fmla="*/ 4335503 w 12139750"/>
              <a:gd name="connsiteY3274" fmla="*/ 1506966 h 6858290"/>
              <a:gd name="connsiteX3275" fmla="*/ 4297375 w 12139750"/>
              <a:gd name="connsiteY3275" fmla="*/ 1558477 h 6858290"/>
              <a:gd name="connsiteX3276" fmla="*/ 3954251 w 12139750"/>
              <a:gd name="connsiteY3276" fmla="*/ 1657683 h 6858290"/>
              <a:gd name="connsiteX3277" fmla="*/ 3887528 w 12139750"/>
              <a:gd name="connsiteY3277" fmla="*/ 1621435 h 6858290"/>
              <a:gd name="connsiteX3278" fmla="*/ 3923748 w 12139750"/>
              <a:gd name="connsiteY3278" fmla="*/ 1556569 h 6858290"/>
              <a:gd name="connsiteX3279" fmla="*/ 4266872 w 12139750"/>
              <a:gd name="connsiteY3279" fmla="*/ 1457365 h 6858290"/>
              <a:gd name="connsiteX3280" fmla="*/ 4287991 w 12139750"/>
              <a:gd name="connsiteY3280" fmla="*/ 1454950 h 6858290"/>
              <a:gd name="connsiteX3281" fmla="*/ 2034947 w 12139750"/>
              <a:gd name="connsiteY3281" fmla="*/ 1454934 h 6858290"/>
              <a:gd name="connsiteX3282" fmla="*/ 2079328 w 12139750"/>
              <a:gd name="connsiteY3282" fmla="*/ 1491688 h 6858290"/>
              <a:gd name="connsiteX3283" fmla="*/ 2081229 w 12139750"/>
              <a:gd name="connsiteY3283" fmla="*/ 1506950 h 6858290"/>
              <a:gd name="connsiteX3284" fmla="*/ 2043204 w 12139750"/>
              <a:gd name="connsiteY3284" fmla="*/ 1558461 h 6858290"/>
              <a:gd name="connsiteX3285" fmla="*/ 1701020 w 12139750"/>
              <a:gd name="connsiteY3285" fmla="*/ 1657667 h 6858290"/>
              <a:gd name="connsiteX3286" fmla="*/ 1636385 w 12139750"/>
              <a:gd name="connsiteY3286" fmla="*/ 1621418 h 6858290"/>
              <a:gd name="connsiteX3287" fmla="*/ 1672505 w 12139750"/>
              <a:gd name="connsiteY3287" fmla="*/ 1556553 h 6858290"/>
              <a:gd name="connsiteX3288" fmla="*/ 2014689 w 12139750"/>
              <a:gd name="connsiteY3288" fmla="*/ 1457348 h 6858290"/>
              <a:gd name="connsiteX3289" fmla="*/ 2034947 w 12139750"/>
              <a:gd name="connsiteY3289" fmla="*/ 1454934 h 6858290"/>
              <a:gd name="connsiteX3290" fmla="*/ 3729077 w 12139750"/>
              <a:gd name="connsiteY3290" fmla="*/ 1449679 h 6858290"/>
              <a:gd name="connsiteX3291" fmla="*/ 3773220 w 12139750"/>
              <a:gd name="connsiteY3291" fmla="*/ 1490538 h 6858290"/>
              <a:gd name="connsiteX3292" fmla="*/ 3775123 w 12139750"/>
              <a:gd name="connsiteY3292" fmla="*/ 1503831 h 6858290"/>
              <a:gd name="connsiteX3293" fmla="*/ 3733267 w 12139750"/>
              <a:gd name="connsiteY3293" fmla="*/ 1558905 h 6858290"/>
              <a:gd name="connsiteX3294" fmla="*/ 3388949 w 12139750"/>
              <a:gd name="connsiteY3294" fmla="*/ 1638666 h 6858290"/>
              <a:gd name="connsiteX3295" fmla="*/ 3322361 w 12139750"/>
              <a:gd name="connsiteY3295" fmla="*/ 1598786 h 6858290"/>
              <a:gd name="connsiteX3296" fmla="*/ 3362311 w 12139750"/>
              <a:gd name="connsiteY3296" fmla="*/ 1530418 h 6858290"/>
              <a:gd name="connsiteX3297" fmla="*/ 3706634 w 12139750"/>
              <a:gd name="connsiteY3297" fmla="*/ 1450658 h 6858290"/>
              <a:gd name="connsiteX3298" fmla="*/ 3729077 w 12139750"/>
              <a:gd name="connsiteY3298" fmla="*/ 1449679 h 6858290"/>
              <a:gd name="connsiteX3299" fmla="*/ 2595306 w 12139750"/>
              <a:gd name="connsiteY3299" fmla="*/ 1449661 h 6858290"/>
              <a:gd name="connsiteX3300" fmla="*/ 2639715 w 12139750"/>
              <a:gd name="connsiteY3300" fmla="*/ 1490520 h 6858290"/>
              <a:gd name="connsiteX3301" fmla="*/ 2641617 w 12139750"/>
              <a:gd name="connsiteY3301" fmla="*/ 1503814 h 6858290"/>
              <a:gd name="connsiteX3302" fmla="*/ 2597862 w 12139750"/>
              <a:gd name="connsiteY3302" fmla="*/ 1558887 h 6858290"/>
              <a:gd name="connsiteX3303" fmla="*/ 2255431 w 12139750"/>
              <a:gd name="connsiteY3303" fmla="*/ 1638648 h 6858290"/>
              <a:gd name="connsiteX3304" fmla="*/ 2188847 w 12139750"/>
              <a:gd name="connsiteY3304" fmla="*/ 1598767 h 6858290"/>
              <a:gd name="connsiteX3305" fmla="*/ 2228797 w 12139750"/>
              <a:gd name="connsiteY3305" fmla="*/ 1530401 h 6858290"/>
              <a:gd name="connsiteX3306" fmla="*/ 2573131 w 12139750"/>
              <a:gd name="connsiteY3306" fmla="*/ 1450640 h 6858290"/>
              <a:gd name="connsiteX3307" fmla="*/ 2595306 w 12139750"/>
              <a:gd name="connsiteY3307" fmla="*/ 1449661 h 6858290"/>
              <a:gd name="connsiteX3308" fmla="*/ 3137758 w 12139750"/>
              <a:gd name="connsiteY3308" fmla="*/ 1442427 h 6858290"/>
              <a:gd name="connsiteX3309" fmla="*/ 3206474 w 12139750"/>
              <a:gd name="connsiteY3309" fmla="*/ 1490052 h 6858290"/>
              <a:gd name="connsiteX3310" fmla="*/ 3208386 w 12139750"/>
              <a:gd name="connsiteY3310" fmla="*/ 1499576 h 6858290"/>
              <a:gd name="connsiteX3311" fmla="*/ 3158756 w 12139750"/>
              <a:gd name="connsiteY3311" fmla="*/ 1558632 h 6858290"/>
              <a:gd name="connsiteX3312" fmla="*/ 2813246 w 12139750"/>
              <a:gd name="connsiteY3312" fmla="*/ 1621498 h 6858290"/>
              <a:gd name="connsiteX3313" fmla="*/ 2744526 w 12139750"/>
              <a:gd name="connsiteY3313" fmla="*/ 1573872 h 6858290"/>
              <a:gd name="connsiteX3314" fmla="*/ 2792249 w 12139750"/>
              <a:gd name="connsiteY3314" fmla="*/ 1505291 h 6858290"/>
              <a:gd name="connsiteX3315" fmla="*/ 3137758 w 12139750"/>
              <a:gd name="connsiteY3315" fmla="*/ 1442427 h 6858290"/>
              <a:gd name="connsiteX3316" fmla="*/ 9860829 w 12139750"/>
              <a:gd name="connsiteY3316" fmla="*/ 1204612 h 6858290"/>
              <a:gd name="connsiteX3317" fmla="*/ 9875319 w 12139750"/>
              <a:gd name="connsiteY3317" fmla="*/ 1211306 h 6858290"/>
              <a:gd name="connsiteX3318" fmla="*/ 9879119 w 12139750"/>
              <a:gd name="connsiteY3318" fmla="*/ 1226607 h 6858290"/>
              <a:gd name="connsiteX3319" fmla="*/ 9871518 w 12139750"/>
              <a:gd name="connsiteY3319" fmla="*/ 1243820 h 6858290"/>
              <a:gd name="connsiteX3320" fmla="*/ 9540880 w 12139750"/>
              <a:gd name="connsiteY3320" fmla="*/ 1511592 h 6858290"/>
              <a:gd name="connsiteX3321" fmla="*/ 9510477 w 12139750"/>
              <a:gd name="connsiteY3321" fmla="*/ 1509680 h 6858290"/>
              <a:gd name="connsiteX3322" fmla="*/ 9514277 w 12139750"/>
              <a:gd name="connsiteY3322" fmla="*/ 1479077 h 6858290"/>
              <a:gd name="connsiteX3323" fmla="*/ 9844915 w 12139750"/>
              <a:gd name="connsiteY3323" fmla="*/ 1209393 h 6858290"/>
              <a:gd name="connsiteX3324" fmla="*/ 9860829 w 12139750"/>
              <a:gd name="connsiteY3324" fmla="*/ 1204612 h 6858290"/>
              <a:gd name="connsiteX3325" fmla="*/ 9284557 w 12139750"/>
              <a:gd name="connsiteY3325" fmla="*/ 1198509 h 6858290"/>
              <a:gd name="connsiteX3326" fmla="*/ 9300299 w 12139750"/>
              <a:gd name="connsiteY3326" fmla="*/ 1206835 h 6858290"/>
              <a:gd name="connsiteX3327" fmla="*/ 9306023 w 12139750"/>
              <a:gd name="connsiteY3327" fmla="*/ 1222058 h 6858290"/>
              <a:gd name="connsiteX3328" fmla="*/ 9296482 w 12139750"/>
              <a:gd name="connsiteY3328" fmla="*/ 1242988 h 6858290"/>
              <a:gd name="connsiteX3329" fmla="*/ 8962556 w 12139750"/>
              <a:gd name="connsiteY3329" fmla="*/ 1494190 h 6858290"/>
              <a:gd name="connsiteX3330" fmla="*/ 8928209 w 12139750"/>
              <a:gd name="connsiteY3330" fmla="*/ 1490384 h 6858290"/>
              <a:gd name="connsiteX3331" fmla="*/ 8932025 w 12139750"/>
              <a:gd name="connsiteY3331" fmla="*/ 1454228 h 6858290"/>
              <a:gd name="connsiteX3332" fmla="*/ 9265952 w 12139750"/>
              <a:gd name="connsiteY3332" fmla="*/ 1203029 h 6858290"/>
              <a:gd name="connsiteX3333" fmla="*/ 9284557 w 12139750"/>
              <a:gd name="connsiteY3333" fmla="*/ 1198509 h 6858290"/>
              <a:gd name="connsiteX3334" fmla="*/ 10445106 w 12139750"/>
              <a:gd name="connsiteY3334" fmla="*/ 1198483 h 6858290"/>
              <a:gd name="connsiteX3335" fmla="*/ 10460796 w 12139750"/>
              <a:gd name="connsiteY3335" fmla="*/ 1206809 h 6858290"/>
              <a:gd name="connsiteX3336" fmla="*/ 10466502 w 12139750"/>
              <a:gd name="connsiteY3336" fmla="*/ 1222033 h 6858290"/>
              <a:gd name="connsiteX3337" fmla="*/ 10456993 w 12139750"/>
              <a:gd name="connsiteY3337" fmla="*/ 1242967 h 6858290"/>
              <a:gd name="connsiteX3338" fmla="*/ 10124163 w 12139750"/>
              <a:gd name="connsiteY3338" fmla="*/ 1494166 h 6858290"/>
              <a:gd name="connsiteX3339" fmla="*/ 10089930 w 12139750"/>
              <a:gd name="connsiteY3339" fmla="*/ 1490360 h 6858290"/>
              <a:gd name="connsiteX3340" fmla="*/ 10093733 w 12139750"/>
              <a:gd name="connsiteY3340" fmla="*/ 1454203 h 6858290"/>
              <a:gd name="connsiteX3341" fmla="*/ 10426562 w 12139750"/>
              <a:gd name="connsiteY3341" fmla="*/ 1203003 h 6858290"/>
              <a:gd name="connsiteX3342" fmla="*/ 10445106 w 12139750"/>
              <a:gd name="connsiteY3342" fmla="*/ 1198483 h 6858290"/>
              <a:gd name="connsiteX3343" fmla="*/ 8713976 w 12139750"/>
              <a:gd name="connsiteY3343" fmla="*/ 1190406 h 6858290"/>
              <a:gd name="connsiteX3344" fmla="*/ 8732297 w 12139750"/>
              <a:gd name="connsiteY3344" fmla="*/ 1201099 h 6858290"/>
              <a:gd name="connsiteX3345" fmla="*/ 8736104 w 12139750"/>
              <a:gd name="connsiteY3345" fmla="*/ 1218208 h 6858290"/>
              <a:gd name="connsiteX3346" fmla="*/ 8724683 w 12139750"/>
              <a:gd name="connsiteY3346" fmla="*/ 1241015 h 6858290"/>
              <a:gd name="connsiteX3347" fmla="*/ 8391573 w 12139750"/>
              <a:gd name="connsiteY3347" fmla="*/ 1476736 h 6858290"/>
              <a:gd name="connsiteX3348" fmla="*/ 8353503 w 12139750"/>
              <a:gd name="connsiteY3348" fmla="*/ 1469132 h 6858290"/>
              <a:gd name="connsiteX3349" fmla="*/ 8359214 w 12139750"/>
              <a:gd name="connsiteY3349" fmla="*/ 1431112 h 6858290"/>
              <a:gd name="connsiteX3350" fmla="*/ 8694227 w 12139750"/>
              <a:gd name="connsiteY3350" fmla="*/ 1195396 h 6858290"/>
              <a:gd name="connsiteX3351" fmla="*/ 8713976 w 12139750"/>
              <a:gd name="connsiteY3351" fmla="*/ 1190406 h 6858290"/>
              <a:gd name="connsiteX3352" fmla="*/ 11023582 w 12139750"/>
              <a:gd name="connsiteY3352" fmla="*/ 1190378 h 6858290"/>
              <a:gd name="connsiteX3353" fmla="*/ 11042141 w 12139750"/>
              <a:gd name="connsiteY3353" fmla="*/ 1201071 h 6858290"/>
              <a:gd name="connsiteX3354" fmla="*/ 11045948 w 12139750"/>
              <a:gd name="connsiteY3354" fmla="*/ 1218180 h 6858290"/>
              <a:gd name="connsiteX3355" fmla="*/ 11034527 w 12139750"/>
              <a:gd name="connsiteY3355" fmla="*/ 1240991 h 6858290"/>
              <a:gd name="connsiteX3356" fmla="*/ 10701417 w 12139750"/>
              <a:gd name="connsiteY3356" fmla="*/ 1476710 h 6858290"/>
              <a:gd name="connsiteX3357" fmla="*/ 10663347 w 12139750"/>
              <a:gd name="connsiteY3357" fmla="*/ 1469106 h 6858290"/>
              <a:gd name="connsiteX3358" fmla="*/ 10669058 w 12139750"/>
              <a:gd name="connsiteY3358" fmla="*/ 1431087 h 6858290"/>
              <a:gd name="connsiteX3359" fmla="*/ 11002168 w 12139750"/>
              <a:gd name="connsiteY3359" fmla="*/ 1195368 h 6858290"/>
              <a:gd name="connsiteX3360" fmla="*/ 11023582 w 12139750"/>
              <a:gd name="connsiteY3360" fmla="*/ 1190378 h 6858290"/>
              <a:gd name="connsiteX3361" fmla="*/ 8150486 w 12139750"/>
              <a:gd name="connsiteY3361" fmla="*/ 1182942 h 6858290"/>
              <a:gd name="connsiteX3362" fmla="*/ 8169997 w 12139750"/>
              <a:gd name="connsiteY3362" fmla="*/ 1196960 h 6858290"/>
              <a:gd name="connsiteX3363" fmla="*/ 8175708 w 12139750"/>
              <a:gd name="connsiteY3363" fmla="*/ 1212168 h 6858290"/>
              <a:gd name="connsiteX3364" fmla="*/ 8160480 w 12139750"/>
              <a:gd name="connsiteY3364" fmla="*/ 1238776 h 6858290"/>
              <a:gd name="connsiteX3365" fmla="*/ 7825460 w 12139750"/>
              <a:gd name="connsiteY3365" fmla="*/ 1457373 h 6858290"/>
              <a:gd name="connsiteX3366" fmla="*/ 7783582 w 12139750"/>
              <a:gd name="connsiteY3366" fmla="*/ 1449769 h 6858290"/>
              <a:gd name="connsiteX3367" fmla="*/ 7793100 w 12139750"/>
              <a:gd name="connsiteY3367" fmla="*/ 1407952 h 6858290"/>
              <a:gd name="connsiteX3368" fmla="*/ 8128120 w 12139750"/>
              <a:gd name="connsiteY3368" fmla="*/ 1187458 h 6858290"/>
              <a:gd name="connsiteX3369" fmla="*/ 8150486 w 12139750"/>
              <a:gd name="connsiteY3369" fmla="*/ 1182942 h 6858290"/>
              <a:gd name="connsiteX3370" fmla="*/ 11595229 w 12139750"/>
              <a:gd name="connsiteY3370" fmla="*/ 1182937 h 6858290"/>
              <a:gd name="connsiteX3371" fmla="*/ 11613327 w 12139750"/>
              <a:gd name="connsiteY3371" fmla="*/ 1196955 h 6858290"/>
              <a:gd name="connsiteX3372" fmla="*/ 11619042 w 12139750"/>
              <a:gd name="connsiteY3372" fmla="*/ 1212161 h 6858290"/>
              <a:gd name="connsiteX3373" fmla="*/ 11605707 w 12139750"/>
              <a:gd name="connsiteY3373" fmla="*/ 1238770 h 6858290"/>
              <a:gd name="connsiteX3374" fmla="*/ 11270423 w 12139750"/>
              <a:gd name="connsiteY3374" fmla="*/ 1457367 h 6858290"/>
              <a:gd name="connsiteX3375" fmla="*/ 11228512 w 12139750"/>
              <a:gd name="connsiteY3375" fmla="*/ 1449763 h 6858290"/>
              <a:gd name="connsiteX3376" fmla="*/ 11236132 w 12139750"/>
              <a:gd name="connsiteY3376" fmla="*/ 1407946 h 6858290"/>
              <a:gd name="connsiteX3377" fmla="*/ 11571416 w 12139750"/>
              <a:gd name="connsiteY3377" fmla="*/ 1187451 h 6858290"/>
              <a:gd name="connsiteX3378" fmla="*/ 11595229 w 12139750"/>
              <a:gd name="connsiteY3378" fmla="*/ 1182937 h 6858290"/>
              <a:gd name="connsiteX3379" fmla="*/ 12139750 w 12139750"/>
              <a:gd name="connsiteY3379" fmla="*/ 1177944 h 6858290"/>
              <a:gd name="connsiteX3380" fmla="*/ 12139750 w 12139750"/>
              <a:gd name="connsiteY3380" fmla="*/ 1255774 h 6858290"/>
              <a:gd name="connsiteX3381" fmla="*/ 11834677 w 12139750"/>
              <a:gd name="connsiteY3381" fmla="*/ 1439913 h 6858290"/>
              <a:gd name="connsiteX3382" fmla="*/ 11788917 w 12139750"/>
              <a:gd name="connsiteY3382" fmla="*/ 1428524 h 6858290"/>
              <a:gd name="connsiteX3383" fmla="*/ 11798450 w 12139750"/>
              <a:gd name="connsiteY3383" fmla="*/ 1382965 h 6858290"/>
              <a:gd name="connsiteX3384" fmla="*/ 12135937 w 12139750"/>
              <a:gd name="connsiteY3384" fmla="*/ 1179842 h 6858290"/>
              <a:gd name="connsiteX3385" fmla="*/ 12139750 w 12139750"/>
              <a:gd name="connsiteY3385" fmla="*/ 1177944 h 6858290"/>
              <a:gd name="connsiteX3386" fmla="*/ 7594338 w 12139750"/>
              <a:gd name="connsiteY3386" fmla="*/ 1175955 h 6858290"/>
              <a:gd name="connsiteX3387" fmla="*/ 7614356 w 12139750"/>
              <a:gd name="connsiteY3387" fmla="*/ 1190924 h 6858290"/>
              <a:gd name="connsiteX3388" fmla="*/ 7620076 w 12139750"/>
              <a:gd name="connsiteY3388" fmla="*/ 1208030 h 6858290"/>
              <a:gd name="connsiteX3389" fmla="*/ 7604824 w 12139750"/>
              <a:gd name="connsiteY3389" fmla="*/ 1236536 h 6858290"/>
              <a:gd name="connsiteX3390" fmla="*/ 7267372 w 12139750"/>
              <a:gd name="connsiteY3390" fmla="*/ 1439910 h 6858290"/>
              <a:gd name="connsiteX3391" fmla="*/ 7221615 w 12139750"/>
              <a:gd name="connsiteY3391" fmla="*/ 1428505 h 6858290"/>
              <a:gd name="connsiteX3392" fmla="*/ 7233054 w 12139750"/>
              <a:gd name="connsiteY3392" fmla="*/ 1382889 h 6858290"/>
              <a:gd name="connsiteX3393" fmla="*/ 7568600 w 12139750"/>
              <a:gd name="connsiteY3393" fmla="*/ 1179519 h 6858290"/>
              <a:gd name="connsiteX3394" fmla="*/ 7594338 w 12139750"/>
              <a:gd name="connsiteY3394" fmla="*/ 1175955 h 6858290"/>
              <a:gd name="connsiteX3395" fmla="*/ 7043844 w 12139750"/>
              <a:gd name="connsiteY3395" fmla="*/ 1168289 h 6858290"/>
              <a:gd name="connsiteX3396" fmla="*/ 7065070 w 12139750"/>
              <a:gd name="connsiteY3396" fmla="*/ 1185018 h 6858290"/>
              <a:gd name="connsiteX3397" fmla="*/ 7070794 w 12139750"/>
              <a:gd name="connsiteY3397" fmla="*/ 1204137 h 6858290"/>
              <a:gd name="connsiteX3398" fmla="*/ 7051714 w 12139750"/>
              <a:gd name="connsiteY3398" fmla="*/ 1234720 h 6858290"/>
              <a:gd name="connsiteX3399" fmla="*/ 6714009 w 12139750"/>
              <a:gd name="connsiteY3399" fmla="*/ 1423981 h 6858290"/>
              <a:gd name="connsiteX3400" fmla="*/ 6664402 w 12139750"/>
              <a:gd name="connsiteY3400" fmla="*/ 1410601 h 6858290"/>
              <a:gd name="connsiteX3401" fmla="*/ 6677758 w 12139750"/>
              <a:gd name="connsiteY3401" fmla="*/ 1360894 h 6858290"/>
              <a:gd name="connsiteX3402" fmla="*/ 7015463 w 12139750"/>
              <a:gd name="connsiteY3402" fmla="*/ 1171635 h 6858290"/>
              <a:gd name="connsiteX3403" fmla="*/ 7043844 w 12139750"/>
              <a:gd name="connsiteY3403" fmla="*/ 1168289 h 6858290"/>
              <a:gd name="connsiteX3404" fmla="*/ 6500891 w 12139750"/>
              <a:gd name="connsiteY3404" fmla="*/ 1161548 h 6858290"/>
              <a:gd name="connsiteX3405" fmla="*/ 6524041 w 12139750"/>
              <a:gd name="connsiteY3405" fmla="*/ 1180908 h 6858290"/>
              <a:gd name="connsiteX3406" fmla="*/ 6527860 w 12139750"/>
              <a:gd name="connsiteY3406" fmla="*/ 1198115 h 6858290"/>
              <a:gd name="connsiteX3407" fmla="*/ 6506857 w 12139750"/>
              <a:gd name="connsiteY3407" fmla="*/ 1234440 h 6858290"/>
              <a:gd name="connsiteX3408" fmla="*/ 6166999 w 12139750"/>
              <a:gd name="connsiteY3408" fmla="*/ 1406519 h 6858290"/>
              <a:gd name="connsiteX3409" fmla="*/ 6113538 w 12139750"/>
              <a:gd name="connsiteY3409" fmla="*/ 1389310 h 6858290"/>
              <a:gd name="connsiteX3410" fmla="*/ 6130722 w 12139750"/>
              <a:gd name="connsiteY3410" fmla="*/ 1335774 h 6858290"/>
              <a:gd name="connsiteX3411" fmla="*/ 6470580 w 12139750"/>
              <a:gd name="connsiteY3411" fmla="*/ 1163700 h 6858290"/>
              <a:gd name="connsiteX3412" fmla="*/ 6500891 w 12139750"/>
              <a:gd name="connsiteY3412" fmla="*/ 1161548 h 6858290"/>
              <a:gd name="connsiteX3413" fmla="*/ 5957726 w 12139750"/>
              <a:gd name="connsiteY3413" fmla="*/ 1155628 h 6858290"/>
              <a:gd name="connsiteX3414" fmla="*/ 5982710 w 12139750"/>
              <a:gd name="connsiteY3414" fmla="*/ 1178193 h 6858290"/>
              <a:gd name="connsiteX3415" fmla="*/ 5986517 w 12139750"/>
              <a:gd name="connsiteY3415" fmla="*/ 1195296 h 6858290"/>
              <a:gd name="connsiteX3416" fmla="*/ 5961771 w 12139750"/>
              <a:gd name="connsiteY3416" fmla="*/ 1233296 h 6858290"/>
              <a:gd name="connsiteX3417" fmla="*/ 5622934 w 12139750"/>
              <a:gd name="connsiteY3417" fmla="*/ 1389114 h 6858290"/>
              <a:gd name="connsiteX3418" fmla="*/ 5565827 w 12139750"/>
              <a:gd name="connsiteY3418" fmla="*/ 1368212 h 6858290"/>
              <a:gd name="connsiteX3419" fmla="*/ 5586766 w 12139750"/>
              <a:gd name="connsiteY3419" fmla="*/ 1313104 h 6858290"/>
              <a:gd name="connsiteX3420" fmla="*/ 5925602 w 12139750"/>
              <a:gd name="connsiteY3420" fmla="*/ 1157291 h 6858290"/>
              <a:gd name="connsiteX3421" fmla="*/ 5957726 w 12139750"/>
              <a:gd name="connsiteY3421" fmla="*/ 1155628 h 6858290"/>
              <a:gd name="connsiteX3422" fmla="*/ 398307 w 12139750"/>
              <a:gd name="connsiteY3422" fmla="*/ 1155617 h 6858290"/>
              <a:gd name="connsiteX3423" fmla="*/ 421644 w 12139750"/>
              <a:gd name="connsiteY3423" fmla="*/ 1178183 h 6858290"/>
              <a:gd name="connsiteX3424" fmla="*/ 425454 w 12139750"/>
              <a:gd name="connsiteY3424" fmla="*/ 1195284 h 6858290"/>
              <a:gd name="connsiteX3425" fmla="*/ 402594 w 12139750"/>
              <a:gd name="connsiteY3425" fmla="*/ 1233286 h 6858290"/>
              <a:gd name="connsiteX3426" fmla="*/ 61595 w 12139750"/>
              <a:gd name="connsiteY3426" fmla="*/ 1389103 h 6858290"/>
              <a:gd name="connsiteX3427" fmla="*/ 6349 w 12139750"/>
              <a:gd name="connsiteY3427" fmla="*/ 1368201 h 6858290"/>
              <a:gd name="connsiteX3428" fmla="*/ 27304 w 12139750"/>
              <a:gd name="connsiteY3428" fmla="*/ 1313094 h 6858290"/>
              <a:gd name="connsiteX3429" fmla="*/ 366398 w 12139750"/>
              <a:gd name="connsiteY3429" fmla="*/ 1157280 h 6858290"/>
              <a:gd name="connsiteX3430" fmla="*/ 398307 w 12139750"/>
              <a:gd name="connsiteY3430" fmla="*/ 1155617 h 6858290"/>
              <a:gd name="connsiteX3431" fmla="*/ 5393468 w 12139750"/>
              <a:gd name="connsiteY3431" fmla="*/ 1144402 h 6858290"/>
              <a:gd name="connsiteX3432" fmla="*/ 5435021 w 12139750"/>
              <a:gd name="connsiteY3432" fmla="*/ 1172421 h 6858290"/>
              <a:gd name="connsiteX3433" fmla="*/ 5438834 w 12139750"/>
              <a:gd name="connsiteY3433" fmla="*/ 1189500 h 6858290"/>
              <a:gd name="connsiteX3434" fmla="*/ 5410239 w 12139750"/>
              <a:gd name="connsiteY3434" fmla="*/ 1231244 h 6858290"/>
              <a:gd name="connsiteX3435" fmla="*/ 5070896 w 12139750"/>
              <a:gd name="connsiteY3435" fmla="*/ 1371665 h 6858290"/>
              <a:gd name="connsiteX3436" fmla="*/ 5011805 w 12139750"/>
              <a:gd name="connsiteY3436" fmla="*/ 1346995 h 6858290"/>
              <a:gd name="connsiteX3437" fmla="*/ 5036585 w 12139750"/>
              <a:gd name="connsiteY3437" fmla="*/ 1288169 h 6858290"/>
              <a:gd name="connsiteX3438" fmla="*/ 5375924 w 12139750"/>
              <a:gd name="connsiteY3438" fmla="*/ 1147752 h 6858290"/>
              <a:gd name="connsiteX3439" fmla="*/ 5393468 w 12139750"/>
              <a:gd name="connsiteY3439" fmla="*/ 1144402 h 6858290"/>
              <a:gd name="connsiteX3440" fmla="*/ 929385 w 12139750"/>
              <a:gd name="connsiteY3440" fmla="*/ 1144389 h 6858290"/>
              <a:gd name="connsiteX3441" fmla="*/ 969330 w 12139750"/>
              <a:gd name="connsiteY3441" fmla="*/ 1172407 h 6858290"/>
              <a:gd name="connsiteX3442" fmla="*/ 973143 w 12139750"/>
              <a:gd name="connsiteY3442" fmla="*/ 1189486 h 6858290"/>
              <a:gd name="connsiteX3443" fmla="*/ 946453 w 12139750"/>
              <a:gd name="connsiteY3443" fmla="*/ 1231231 h 6858290"/>
              <a:gd name="connsiteX3444" fmla="*/ 605206 w 12139750"/>
              <a:gd name="connsiteY3444" fmla="*/ 1371652 h 6858290"/>
              <a:gd name="connsiteX3445" fmla="*/ 546107 w 12139750"/>
              <a:gd name="connsiteY3445" fmla="*/ 1346983 h 6858290"/>
              <a:gd name="connsiteX3446" fmla="*/ 570891 w 12139750"/>
              <a:gd name="connsiteY3446" fmla="*/ 1288158 h 6858290"/>
              <a:gd name="connsiteX3447" fmla="*/ 912138 w 12139750"/>
              <a:gd name="connsiteY3447" fmla="*/ 1147739 h 6858290"/>
              <a:gd name="connsiteX3448" fmla="*/ 929385 w 12139750"/>
              <a:gd name="connsiteY3448" fmla="*/ 1144389 h 6858290"/>
              <a:gd name="connsiteX3449" fmla="*/ 4842182 w 12139750"/>
              <a:gd name="connsiteY3449" fmla="*/ 1136797 h 6858290"/>
              <a:gd name="connsiteX3450" fmla="*/ 4884159 w 12139750"/>
              <a:gd name="connsiteY3450" fmla="*/ 1168322 h 6858290"/>
              <a:gd name="connsiteX3451" fmla="*/ 4887960 w 12139750"/>
              <a:gd name="connsiteY3451" fmla="*/ 1185422 h 6858290"/>
              <a:gd name="connsiteX3452" fmla="*/ 4855640 w 12139750"/>
              <a:gd name="connsiteY3452" fmla="*/ 1231014 h 6858290"/>
              <a:gd name="connsiteX3453" fmla="*/ 4515378 w 12139750"/>
              <a:gd name="connsiteY3453" fmla="*/ 1354501 h 6858290"/>
              <a:gd name="connsiteX3454" fmla="*/ 4454548 w 12139750"/>
              <a:gd name="connsiteY3454" fmla="*/ 1326004 h 6858290"/>
              <a:gd name="connsiteX3455" fmla="*/ 4483064 w 12139750"/>
              <a:gd name="connsiteY3455" fmla="*/ 1263308 h 6858290"/>
              <a:gd name="connsiteX3456" fmla="*/ 4823320 w 12139750"/>
              <a:gd name="connsiteY3456" fmla="*/ 1139825 h 6858290"/>
              <a:gd name="connsiteX3457" fmla="*/ 4842182 w 12139750"/>
              <a:gd name="connsiteY3457" fmla="*/ 1136797 h 6858290"/>
              <a:gd name="connsiteX3458" fmla="*/ 1478252 w 12139750"/>
              <a:gd name="connsiteY3458" fmla="*/ 1136782 h 6858290"/>
              <a:gd name="connsiteX3459" fmla="*/ 1520519 w 12139750"/>
              <a:gd name="connsiteY3459" fmla="*/ 1168307 h 6858290"/>
              <a:gd name="connsiteX3460" fmla="*/ 1522421 w 12139750"/>
              <a:gd name="connsiteY3460" fmla="*/ 1185406 h 6858290"/>
              <a:gd name="connsiteX3461" fmla="*/ 1491984 w 12139750"/>
              <a:gd name="connsiteY3461" fmla="*/ 1231000 h 6858290"/>
              <a:gd name="connsiteX3462" fmla="*/ 1151475 w 12139750"/>
              <a:gd name="connsiteY3462" fmla="*/ 1354486 h 6858290"/>
              <a:gd name="connsiteX3463" fmla="*/ 1088700 w 12139750"/>
              <a:gd name="connsiteY3463" fmla="*/ 1325989 h 6858290"/>
              <a:gd name="connsiteX3464" fmla="*/ 1117234 w 12139750"/>
              <a:gd name="connsiteY3464" fmla="*/ 1263296 h 6858290"/>
              <a:gd name="connsiteX3465" fmla="*/ 1459646 w 12139750"/>
              <a:gd name="connsiteY3465" fmla="*/ 1139810 h 6858290"/>
              <a:gd name="connsiteX3466" fmla="*/ 1478252 w 12139750"/>
              <a:gd name="connsiteY3466" fmla="*/ 1136782 h 6858290"/>
              <a:gd name="connsiteX3467" fmla="*/ 4287306 w 12139750"/>
              <a:gd name="connsiteY3467" fmla="*/ 1129713 h 6858290"/>
              <a:gd name="connsiteX3468" fmla="*/ 4330110 w 12139750"/>
              <a:gd name="connsiteY3468" fmla="*/ 1165826 h 6858290"/>
              <a:gd name="connsiteX3469" fmla="*/ 4333916 w 12139750"/>
              <a:gd name="connsiteY3469" fmla="*/ 1181045 h 6858290"/>
              <a:gd name="connsiteX3470" fmla="*/ 4297769 w 12139750"/>
              <a:gd name="connsiteY3470" fmla="*/ 1228599 h 6858290"/>
              <a:gd name="connsiteX3471" fmla="*/ 3955366 w 12139750"/>
              <a:gd name="connsiteY3471" fmla="*/ 1337029 h 6858290"/>
              <a:gd name="connsiteX3472" fmla="*/ 3890685 w 12139750"/>
              <a:gd name="connsiteY3472" fmla="*/ 1302787 h 6858290"/>
              <a:gd name="connsiteX3473" fmla="*/ 3924928 w 12139750"/>
              <a:gd name="connsiteY3473" fmla="*/ 1240012 h 6858290"/>
              <a:gd name="connsiteX3474" fmla="*/ 4267331 w 12139750"/>
              <a:gd name="connsiteY3474" fmla="*/ 1131585 h 6858290"/>
              <a:gd name="connsiteX3475" fmla="*/ 4287306 w 12139750"/>
              <a:gd name="connsiteY3475" fmla="*/ 1129713 h 6858290"/>
              <a:gd name="connsiteX3476" fmla="*/ 2033027 w 12139750"/>
              <a:gd name="connsiteY3476" fmla="*/ 1129695 h 6858290"/>
              <a:gd name="connsiteX3477" fmla="*/ 2077738 w 12139750"/>
              <a:gd name="connsiteY3477" fmla="*/ 1165808 h 6858290"/>
              <a:gd name="connsiteX3478" fmla="*/ 2079641 w 12139750"/>
              <a:gd name="connsiteY3478" fmla="*/ 1181027 h 6858290"/>
              <a:gd name="connsiteX3479" fmla="*/ 2043467 w 12139750"/>
              <a:gd name="connsiteY3479" fmla="*/ 1228582 h 6858290"/>
              <a:gd name="connsiteX3480" fmla="*/ 1702708 w 12139750"/>
              <a:gd name="connsiteY3480" fmla="*/ 1337012 h 6858290"/>
              <a:gd name="connsiteX3481" fmla="*/ 1637983 w 12139750"/>
              <a:gd name="connsiteY3481" fmla="*/ 1302771 h 6858290"/>
              <a:gd name="connsiteX3482" fmla="*/ 1670346 w 12139750"/>
              <a:gd name="connsiteY3482" fmla="*/ 1239996 h 6858290"/>
              <a:gd name="connsiteX3483" fmla="*/ 2013008 w 12139750"/>
              <a:gd name="connsiteY3483" fmla="*/ 1131568 h 6858290"/>
              <a:gd name="connsiteX3484" fmla="*/ 2033027 w 12139750"/>
              <a:gd name="connsiteY3484" fmla="*/ 1129695 h 6858290"/>
              <a:gd name="connsiteX3485" fmla="*/ 3726353 w 12139750"/>
              <a:gd name="connsiteY3485" fmla="*/ 1122417 h 6858290"/>
              <a:gd name="connsiteX3486" fmla="*/ 3771630 w 12139750"/>
              <a:gd name="connsiteY3486" fmla="*/ 1162034 h 6858290"/>
              <a:gd name="connsiteX3487" fmla="*/ 3773534 w 12139750"/>
              <a:gd name="connsiteY3487" fmla="*/ 1175449 h 6858290"/>
              <a:gd name="connsiteX3488" fmla="*/ 3733528 w 12139750"/>
              <a:gd name="connsiteY3488" fmla="*/ 1229108 h 6858290"/>
              <a:gd name="connsiteX3489" fmla="*/ 3390637 w 12139750"/>
              <a:gd name="connsiteY3489" fmla="*/ 1321097 h 6858290"/>
              <a:gd name="connsiteX3490" fmla="*/ 3323960 w 12139750"/>
              <a:gd name="connsiteY3490" fmla="*/ 1282766 h 6858290"/>
              <a:gd name="connsiteX3491" fmla="*/ 3362061 w 12139750"/>
              <a:gd name="connsiteY3491" fmla="*/ 1215695 h 6858290"/>
              <a:gd name="connsiteX3492" fmla="*/ 3704951 w 12139750"/>
              <a:gd name="connsiteY3492" fmla="*/ 1123705 h 6858290"/>
              <a:gd name="connsiteX3493" fmla="*/ 3726353 w 12139750"/>
              <a:gd name="connsiteY3493" fmla="*/ 1122417 h 6858290"/>
              <a:gd name="connsiteX3494" fmla="*/ 2592851 w 12139750"/>
              <a:gd name="connsiteY3494" fmla="*/ 1122397 h 6858290"/>
              <a:gd name="connsiteX3495" fmla="*/ 2638126 w 12139750"/>
              <a:gd name="connsiteY3495" fmla="*/ 1162013 h 6858290"/>
              <a:gd name="connsiteX3496" fmla="*/ 2640030 w 12139750"/>
              <a:gd name="connsiteY3496" fmla="*/ 1175429 h 6858290"/>
              <a:gd name="connsiteX3497" fmla="*/ 2600026 w 12139750"/>
              <a:gd name="connsiteY3497" fmla="*/ 1229089 h 6858290"/>
              <a:gd name="connsiteX3498" fmla="*/ 2257121 w 12139750"/>
              <a:gd name="connsiteY3498" fmla="*/ 1321078 h 6858290"/>
              <a:gd name="connsiteX3499" fmla="*/ 2190445 w 12139750"/>
              <a:gd name="connsiteY3499" fmla="*/ 1282749 h 6858290"/>
              <a:gd name="connsiteX3500" fmla="*/ 2228546 w 12139750"/>
              <a:gd name="connsiteY3500" fmla="*/ 1215674 h 6858290"/>
              <a:gd name="connsiteX3501" fmla="*/ 2571449 w 12139750"/>
              <a:gd name="connsiteY3501" fmla="*/ 1123685 h 6858290"/>
              <a:gd name="connsiteX3502" fmla="*/ 2592851 w 12139750"/>
              <a:gd name="connsiteY3502" fmla="*/ 1122397 h 6858290"/>
              <a:gd name="connsiteX3503" fmla="*/ 3157611 w 12139750"/>
              <a:gd name="connsiteY3503" fmla="*/ 1116357 h 6858290"/>
              <a:gd name="connsiteX3504" fmla="*/ 3201722 w 12139750"/>
              <a:gd name="connsiteY3504" fmla="*/ 1159220 h 6858290"/>
              <a:gd name="connsiteX3505" fmla="*/ 3203624 w 12139750"/>
              <a:gd name="connsiteY3505" fmla="*/ 1172555 h 6858290"/>
              <a:gd name="connsiteX3506" fmla="*/ 3159900 w 12139750"/>
              <a:gd name="connsiteY3506" fmla="*/ 1227799 h 6858290"/>
              <a:gd name="connsiteX3507" fmla="*/ 2815797 w 12139750"/>
              <a:gd name="connsiteY3507" fmla="*/ 1303997 h 6858290"/>
              <a:gd name="connsiteX3508" fmla="*/ 2747356 w 12139750"/>
              <a:gd name="connsiteY3508" fmla="*/ 1260182 h 6858290"/>
              <a:gd name="connsiteX3509" fmla="*/ 2791085 w 12139750"/>
              <a:gd name="connsiteY3509" fmla="*/ 1191605 h 6858290"/>
              <a:gd name="connsiteX3510" fmla="*/ 3135184 w 12139750"/>
              <a:gd name="connsiteY3510" fmla="*/ 1117309 h 6858290"/>
              <a:gd name="connsiteX3511" fmla="*/ 3157611 w 12139750"/>
              <a:gd name="connsiteY3511" fmla="*/ 1116357 h 6858290"/>
              <a:gd name="connsiteX3512" fmla="*/ 9862398 w 12139750"/>
              <a:gd name="connsiteY3512" fmla="*/ 887331 h 6858290"/>
              <a:gd name="connsiteX3513" fmla="*/ 9878153 w 12139750"/>
              <a:gd name="connsiteY3513" fmla="*/ 895649 h 6858290"/>
              <a:gd name="connsiteX3514" fmla="*/ 9883882 w 12139750"/>
              <a:gd name="connsiteY3514" fmla="*/ 910857 h 6858290"/>
              <a:gd name="connsiteX3515" fmla="*/ 9874333 w 12139750"/>
              <a:gd name="connsiteY3515" fmla="*/ 929868 h 6858290"/>
              <a:gd name="connsiteX3516" fmla="*/ 9540128 w 12139750"/>
              <a:gd name="connsiteY3516" fmla="*/ 1184614 h 6858290"/>
              <a:gd name="connsiteX3517" fmla="*/ 9505753 w 12139750"/>
              <a:gd name="connsiteY3517" fmla="*/ 1178911 h 6858290"/>
              <a:gd name="connsiteX3518" fmla="*/ 9511482 w 12139750"/>
              <a:gd name="connsiteY3518" fmla="*/ 1144691 h 6858290"/>
              <a:gd name="connsiteX3519" fmla="*/ 9843777 w 12139750"/>
              <a:gd name="connsiteY3519" fmla="*/ 891846 h 6858290"/>
              <a:gd name="connsiteX3520" fmla="*/ 9862398 w 12139750"/>
              <a:gd name="connsiteY3520" fmla="*/ 887331 h 6858290"/>
              <a:gd name="connsiteX3521" fmla="*/ 9285227 w 12139750"/>
              <a:gd name="connsiteY3521" fmla="*/ 879270 h 6858290"/>
              <a:gd name="connsiteX3522" fmla="*/ 9301896 w 12139750"/>
              <a:gd name="connsiteY3522" fmla="*/ 890009 h 6858290"/>
              <a:gd name="connsiteX3523" fmla="*/ 9307611 w 12139750"/>
              <a:gd name="connsiteY3523" fmla="*/ 905281 h 6858290"/>
              <a:gd name="connsiteX3524" fmla="*/ 9296181 w 12139750"/>
              <a:gd name="connsiteY3524" fmla="*/ 928189 h 6858290"/>
              <a:gd name="connsiteX3525" fmla="*/ 8962802 w 12139750"/>
              <a:gd name="connsiteY3525" fmla="*/ 1168731 h 6858290"/>
              <a:gd name="connsiteX3526" fmla="*/ 8924701 w 12139750"/>
              <a:gd name="connsiteY3526" fmla="*/ 1161095 h 6858290"/>
              <a:gd name="connsiteX3527" fmla="*/ 8930416 w 12139750"/>
              <a:gd name="connsiteY3527" fmla="*/ 1124823 h 6858290"/>
              <a:gd name="connsiteX3528" fmla="*/ 9265700 w 12139750"/>
              <a:gd name="connsiteY3528" fmla="*/ 884282 h 6858290"/>
              <a:gd name="connsiteX3529" fmla="*/ 9285227 w 12139750"/>
              <a:gd name="connsiteY3529" fmla="*/ 879270 h 6858290"/>
              <a:gd name="connsiteX3530" fmla="*/ 10445943 w 12139750"/>
              <a:gd name="connsiteY3530" fmla="*/ 879249 h 6858290"/>
              <a:gd name="connsiteX3531" fmla="*/ 10464279 w 12139750"/>
              <a:gd name="connsiteY3531" fmla="*/ 889987 h 6858290"/>
              <a:gd name="connsiteX3532" fmla="*/ 10468089 w 12139750"/>
              <a:gd name="connsiteY3532" fmla="*/ 905259 h 6858290"/>
              <a:gd name="connsiteX3533" fmla="*/ 10458564 w 12139750"/>
              <a:gd name="connsiteY3533" fmla="*/ 928168 h 6858290"/>
              <a:gd name="connsiteX3534" fmla="*/ 10123280 w 12139750"/>
              <a:gd name="connsiteY3534" fmla="*/ 1168705 h 6858290"/>
              <a:gd name="connsiteX3535" fmla="*/ 10087084 w 12139750"/>
              <a:gd name="connsiteY3535" fmla="*/ 1161069 h 6858290"/>
              <a:gd name="connsiteX3536" fmla="*/ 10092799 w 12139750"/>
              <a:gd name="connsiteY3536" fmla="*/ 1124797 h 6858290"/>
              <a:gd name="connsiteX3537" fmla="*/ 10426178 w 12139750"/>
              <a:gd name="connsiteY3537" fmla="*/ 884260 h 6858290"/>
              <a:gd name="connsiteX3538" fmla="*/ 10445943 w 12139750"/>
              <a:gd name="connsiteY3538" fmla="*/ 879249 h 6858290"/>
              <a:gd name="connsiteX3539" fmla="*/ 8716319 w 12139750"/>
              <a:gd name="connsiteY3539" fmla="*/ 870617 h 6858290"/>
              <a:gd name="connsiteX3540" fmla="*/ 8735146 w 12139750"/>
              <a:gd name="connsiteY3540" fmla="*/ 883981 h 6858290"/>
              <a:gd name="connsiteX3541" fmla="*/ 8740866 w 12139750"/>
              <a:gd name="connsiteY3541" fmla="*/ 899254 h 6858290"/>
              <a:gd name="connsiteX3542" fmla="*/ 8727520 w 12139750"/>
              <a:gd name="connsiteY3542" fmla="*/ 924073 h 6858290"/>
              <a:gd name="connsiteX3543" fmla="*/ 8391968 w 12139750"/>
              <a:gd name="connsiteY3543" fmla="*/ 1151267 h 6858290"/>
              <a:gd name="connsiteX3544" fmla="*/ 8351931 w 12139750"/>
              <a:gd name="connsiteY3544" fmla="*/ 1141721 h 6858290"/>
              <a:gd name="connsiteX3545" fmla="*/ 8359557 w 12139750"/>
              <a:gd name="connsiteY3545" fmla="*/ 1101629 h 6858290"/>
              <a:gd name="connsiteX3546" fmla="*/ 8693202 w 12139750"/>
              <a:gd name="connsiteY3546" fmla="*/ 874435 h 6858290"/>
              <a:gd name="connsiteX3547" fmla="*/ 8716319 w 12139750"/>
              <a:gd name="connsiteY3547" fmla="*/ 870617 h 6858290"/>
              <a:gd name="connsiteX3548" fmla="*/ 11024254 w 12139750"/>
              <a:gd name="connsiteY3548" fmla="*/ 870594 h 6858290"/>
              <a:gd name="connsiteX3549" fmla="*/ 11043734 w 12139750"/>
              <a:gd name="connsiteY3549" fmla="*/ 883958 h 6858290"/>
              <a:gd name="connsiteX3550" fmla="*/ 11047535 w 12139750"/>
              <a:gd name="connsiteY3550" fmla="*/ 899231 h 6858290"/>
              <a:gd name="connsiteX3551" fmla="*/ 11036132 w 12139750"/>
              <a:gd name="connsiteY3551" fmla="*/ 924050 h 6858290"/>
              <a:gd name="connsiteX3552" fmla="*/ 10701654 w 12139750"/>
              <a:gd name="connsiteY3552" fmla="*/ 1151239 h 6858290"/>
              <a:gd name="connsiteX3553" fmla="*/ 10659844 w 12139750"/>
              <a:gd name="connsiteY3553" fmla="*/ 1141693 h 6858290"/>
              <a:gd name="connsiteX3554" fmla="*/ 10669346 w 12139750"/>
              <a:gd name="connsiteY3554" fmla="*/ 1101601 h 6858290"/>
              <a:gd name="connsiteX3555" fmla="*/ 11001924 w 12139750"/>
              <a:gd name="connsiteY3555" fmla="*/ 874412 h 6858290"/>
              <a:gd name="connsiteX3556" fmla="*/ 11024254 w 12139750"/>
              <a:gd name="connsiteY3556" fmla="*/ 870594 h 6858290"/>
              <a:gd name="connsiteX3557" fmla="*/ 8152171 w 12139750"/>
              <a:gd name="connsiteY3557" fmla="*/ 862274 h 6858290"/>
              <a:gd name="connsiteX3558" fmla="*/ 8171905 w 12139750"/>
              <a:gd name="connsiteY3558" fmla="*/ 876324 h 6858290"/>
              <a:gd name="connsiteX3559" fmla="*/ 8175709 w 12139750"/>
              <a:gd name="connsiteY3559" fmla="*/ 893468 h 6858290"/>
              <a:gd name="connsiteX3560" fmla="*/ 8162395 w 12139750"/>
              <a:gd name="connsiteY3560" fmla="*/ 920138 h 6858290"/>
              <a:gd name="connsiteX3561" fmla="*/ 7825735 w 12139750"/>
              <a:gd name="connsiteY3561" fmla="*/ 1133503 h 6858290"/>
              <a:gd name="connsiteX3562" fmla="*/ 7781988 w 12139750"/>
              <a:gd name="connsiteY3562" fmla="*/ 1123978 h 6858290"/>
              <a:gd name="connsiteX3563" fmla="*/ 7791498 w 12139750"/>
              <a:gd name="connsiteY3563" fmla="*/ 1078258 h 6858290"/>
              <a:gd name="connsiteX3564" fmla="*/ 8128158 w 12139750"/>
              <a:gd name="connsiteY3564" fmla="*/ 866799 h 6858290"/>
              <a:gd name="connsiteX3565" fmla="*/ 8152171 w 12139750"/>
              <a:gd name="connsiteY3565" fmla="*/ 862274 h 6858290"/>
              <a:gd name="connsiteX3566" fmla="*/ 11596678 w 12139750"/>
              <a:gd name="connsiteY3566" fmla="*/ 862268 h 6858290"/>
              <a:gd name="connsiteX3567" fmla="*/ 11616489 w 12139750"/>
              <a:gd name="connsiteY3567" fmla="*/ 876317 h 6858290"/>
              <a:gd name="connsiteX3568" fmla="*/ 11622218 w 12139750"/>
              <a:gd name="connsiteY3568" fmla="*/ 893462 h 6858290"/>
              <a:gd name="connsiteX3569" fmla="*/ 11606942 w 12139750"/>
              <a:gd name="connsiteY3569" fmla="*/ 920132 h 6858290"/>
              <a:gd name="connsiteX3570" fmla="*/ 11270867 w 12139750"/>
              <a:gd name="connsiteY3570" fmla="*/ 1133497 h 6858290"/>
              <a:gd name="connsiteX3571" fmla="*/ 11226948 w 12139750"/>
              <a:gd name="connsiteY3571" fmla="*/ 1123971 h 6858290"/>
              <a:gd name="connsiteX3572" fmla="*/ 11236495 w 12139750"/>
              <a:gd name="connsiteY3572" fmla="*/ 1078251 h 6858290"/>
              <a:gd name="connsiteX3573" fmla="*/ 11572570 w 12139750"/>
              <a:gd name="connsiteY3573" fmla="*/ 866793 h 6858290"/>
              <a:gd name="connsiteX3574" fmla="*/ 11596678 w 12139750"/>
              <a:gd name="connsiteY3574" fmla="*/ 862268 h 6858290"/>
              <a:gd name="connsiteX3575" fmla="*/ 12139750 w 12139750"/>
              <a:gd name="connsiteY3575" fmla="*/ 857266 h 6858290"/>
              <a:gd name="connsiteX3576" fmla="*/ 12139750 w 12139750"/>
              <a:gd name="connsiteY3576" fmla="*/ 935278 h 6858290"/>
              <a:gd name="connsiteX3577" fmla="*/ 11834946 w 12139750"/>
              <a:gd name="connsiteY3577" fmla="*/ 1116043 h 6858290"/>
              <a:gd name="connsiteX3578" fmla="*/ 11787320 w 12139750"/>
              <a:gd name="connsiteY3578" fmla="*/ 1104626 h 6858290"/>
              <a:gd name="connsiteX3579" fmla="*/ 11798750 w 12139750"/>
              <a:gd name="connsiteY3579" fmla="*/ 1057058 h 6858290"/>
              <a:gd name="connsiteX3580" fmla="*/ 12135940 w 12139750"/>
              <a:gd name="connsiteY3580" fmla="*/ 859168 h 6858290"/>
              <a:gd name="connsiteX3581" fmla="*/ 12139750 w 12139750"/>
              <a:gd name="connsiteY3581" fmla="*/ 857266 h 6858290"/>
              <a:gd name="connsiteX3582" fmla="*/ 7595013 w 12139750"/>
              <a:gd name="connsiteY3582" fmla="*/ 854170 h 6858290"/>
              <a:gd name="connsiteX3583" fmla="*/ 7615952 w 12139750"/>
              <a:gd name="connsiteY3583" fmla="*/ 870582 h 6858290"/>
              <a:gd name="connsiteX3584" fmla="*/ 7621663 w 12139750"/>
              <a:gd name="connsiteY3584" fmla="*/ 887708 h 6858290"/>
              <a:gd name="connsiteX3585" fmla="*/ 7604531 w 12139750"/>
              <a:gd name="connsiteY3585" fmla="*/ 918153 h 6858290"/>
              <a:gd name="connsiteX3586" fmla="*/ 7267601 w 12139750"/>
              <a:gd name="connsiteY3586" fmla="*/ 1116053 h 6858290"/>
              <a:gd name="connsiteX3587" fmla="*/ 7220013 w 12139750"/>
              <a:gd name="connsiteY3587" fmla="*/ 1104635 h 6858290"/>
              <a:gd name="connsiteX3588" fmla="*/ 7233337 w 12139750"/>
              <a:gd name="connsiteY3588" fmla="*/ 1057064 h 6858290"/>
              <a:gd name="connsiteX3589" fmla="*/ 7568363 w 12139750"/>
              <a:gd name="connsiteY3589" fmla="*/ 859165 h 6858290"/>
              <a:gd name="connsiteX3590" fmla="*/ 7595013 w 12139750"/>
              <a:gd name="connsiteY3590" fmla="*/ 854170 h 6858290"/>
              <a:gd name="connsiteX3591" fmla="*/ 7044817 w 12139750"/>
              <a:gd name="connsiteY3591" fmla="*/ 846270 h 6858290"/>
              <a:gd name="connsiteX3592" fmla="*/ 7066980 w 12139750"/>
              <a:gd name="connsiteY3592" fmla="*/ 864693 h 6858290"/>
              <a:gd name="connsiteX3593" fmla="*/ 7070793 w 12139750"/>
              <a:gd name="connsiteY3593" fmla="*/ 881918 h 6858290"/>
              <a:gd name="connsiteX3594" fmla="*/ 7051728 w 12139750"/>
              <a:gd name="connsiteY3594" fmla="*/ 914456 h 6858290"/>
              <a:gd name="connsiteX3595" fmla="*/ 6714282 w 12139750"/>
              <a:gd name="connsiteY3595" fmla="*/ 1100119 h 6858290"/>
              <a:gd name="connsiteX3596" fmla="*/ 6664714 w 12139750"/>
              <a:gd name="connsiteY3596" fmla="*/ 1084808 h 6858290"/>
              <a:gd name="connsiteX3597" fmla="*/ 6678059 w 12139750"/>
              <a:gd name="connsiteY3597" fmla="*/ 1035038 h 6858290"/>
              <a:gd name="connsiteX3598" fmla="*/ 7015505 w 12139750"/>
              <a:gd name="connsiteY3598" fmla="*/ 849380 h 6858290"/>
              <a:gd name="connsiteX3599" fmla="*/ 7044817 w 12139750"/>
              <a:gd name="connsiteY3599" fmla="*/ 846270 h 6858290"/>
              <a:gd name="connsiteX3600" fmla="*/ 6485646 w 12139750"/>
              <a:gd name="connsiteY3600" fmla="*/ 836909 h 6858290"/>
              <a:gd name="connsiteX3601" fmla="*/ 6524041 w 12139750"/>
              <a:gd name="connsiteY3601" fmla="*/ 858929 h 6858290"/>
              <a:gd name="connsiteX3602" fmla="*/ 6527860 w 12139750"/>
              <a:gd name="connsiteY3602" fmla="*/ 876115 h 6858290"/>
              <a:gd name="connsiteX3603" fmla="*/ 6506857 w 12139750"/>
              <a:gd name="connsiteY3603" fmla="*/ 912398 h 6858290"/>
              <a:gd name="connsiteX3604" fmla="*/ 6166999 w 12139750"/>
              <a:gd name="connsiteY3604" fmla="*/ 1082357 h 6858290"/>
              <a:gd name="connsiteX3605" fmla="*/ 6113538 w 12139750"/>
              <a:gd name="connsiteY3605" fmla="*/ 1065171 h 6858290"/>
              <a:gd name="connsiteX3606" fmla="*/ 6130722 w 12139750"/>
              <a:gd name="connsiteY3606" fmla="*/ 1011697 h 6858290"/>
              <a:gd name="connsiteX3607" fmla="*/ 6470580 w 12139750"/>
              <a:gd name="connsiteY3607" fmla="*/ 841743 h 6858290"/>
              <a:gd name="connsiteX3608" fmla="*/ 6485646 w 12139750"/>
              <a:gd name="connsiteY3608" fmla="*/ 836909 h 6858290"/>
              <a:gd name="connsiteX3609" fmla="*/ 5957785 w 12139750"/>
              <a:gd name="connsiteY3609" fmla="*/ 832476 h 6858290"/>
              <a:gd name="connsiteX3610" fmla="*/ 5981121 w 12139750"/>
              <a:gd name="connsiteY3610" fmla="*/ 854301 h 6858290"/>
              <a:gd name="connsiteX3611" fmla="*/ 5984930 w 12139750"/>
              <a:gd name="connsiteY3611" fmla="*/ 871381 h 6858290"/>
              <a:gd name="connsiteX3612" fmla="*/ 5962070 w 12139750"/>
              <a:gd name="connsiteY3612" fmla="*/ 909338 h 6858290"/>
              <a:gd name="connsiteX3613" fmla="*/ 5622984 w 12139750"/>
              <a:gd name="connsiteY3613" fmla="*/ 1066863 h 6858290"/>
              <a:gd name="connsiteX3614" fmla="*/ 5565834 w 12139750"/>
              <a:gd name="connsiteY3614" fmla="*/ 1045982 h 6858290"/>
              <a:gd name="connsiteX3615" fmla="*/ 5586789 w 12139750"/>
              <a:gd name="connsiteY3615" fmla="*/ 990945 h 6858290"/>
              <a:gd name="connsiteX3616" fmla="*/ 5925876 w 12139750"/>
              <a:gd name="connsiteY3616" fmla="*/ 833424 h 6858290"/>
              <a:gd name="connsiteX3617" fmla="*/ 5957785 w 12139750"/>
              <a:gd name="connsiteY3617" fmla="*/ 832476 h 6858290"/>
              <a:gd name="connsiteX3618" fmla="*/ 398307 w 12139750"/>
              <a:gd name="connsiteY3618" fmla="*/ 832466 h 6858290"/>
              <a:gd name="connsiteX3619" fmla="*/ 421644 w 12139750"/>
              <a:gd name="connsiteY3619" fmla="*/ 854291 h 6858290"/>
              <a:gd name="connsiteX3620" fmla="*/ 425454 w 12139750"/>
              <a:gd name="connsiteY3620" fmla="*/ 871371 h 6858290"/>
              <a:gd name="connsiteX3621" fmla="*/ 400689 w 12139750"/>
              <a:gd name="connsiteY3621" fmla="*/ 909328 h 6858290"/>
              <a:gd name="connsiteX3622" fmla="*/ 61595 w 12139750"/>
              <a:gd name="connsiteY3622" fmla="*/ 1066852 h 6858290"/>
              <a:gd name="connsiteX3623" fmla="*/ 6349 w 12139750"/>
              <a:gd name="connsiteY3623" fmla="*/ 1045972 h 6858290"/>
              <a:gd name="connsiteX3624" fmla="*/ 27304 w 12139750"/>
              <a:gd name="connsiteY3624" fmla="*/ 990935 h 6858290"/>
              <a:gd name="connsiteX3625" fmla="*/ 366398 w 12139750"/>
              <a:gd name="connsiteY3625" fmla="*/ 833414 h 6858290"/>
              <a:gd name="connsiteX3626" fmla="*/ 398307 w 12139750"/>
              <a:gd name="connsiteY3626" fmla="*/ 832466 h 6858290"/>
              <a:gd name="connsiteX3627" fmla="*/ 5410477 w 12139750"/>
              <a:gd name="connsiteY3627" fmla="*/ 824774 h 6858290"/>
              <a:gd name="connsiteX3628" fmla="*/ 5435021 w 12139750"/>
              <a:gd name="connsiteY3628" fmla="*/ 848257 h 6858290"/>
              <a:gd name="connsiteX3629" fmla="*/ 5438834 w 12139750"/>
              <a:gd name="connsiteY3629" fmla="*/ 865335 h 6858290"/>
              <a:gd name="connsiteX3630" fmla="*/ 5410239 w 12139750"/>
              <a:gd name="connsiteY3630" fmla="*/ 907081 h 6858290"/>
              <a:gd name="connsiteX3631" fmla="*/ 5070896 w 12139750"/>
              <a:gd name="connsiteY3631" fmla="*/ 1049397 h 6858290"/>
              <a:gd name="connsiteX3632" fmla="*/ 5011805 w 12139750"/>
              <a:gd name="connsiteY3632" fmla="*/ 1024730 h 6858290"/>
              <a:gd name="connsiteX3633" fmla="*/ 5034679 w 12139750"/>
              <a:gd name="connsiteY3633" fmla="*/ 967803 h 6858290"/>
              <a:gd name="connsiteX3634" fmla="*/ 5375924 w 12139750"/>
              <a:gd name="connsiteY3634" fmla="*/ 825486 h 6858290"/>
              <a:gd name="connsiteX3635" fmla="*/ 5410477 w 12139750"/>
              <a:gd name="connsiteY3635" fmla="*/ 824774 h 6858290"/>
              <a:gd name="connsiteX3636" fmla="*/ 944785 w 12139750"/>
              <a:gd name="connsiteY3636" fmla="*/ 824762 h 6858290"/>
              <a:gd name="connsiteX3637" fmla="*/ 969330 w 12139750"/>
              <a:gd name="connsiteY3637" fmla="*/ 848245 h 6858290"/>
              <a:gd name="connsiteX3638" fmla="*/ 973143 w 12139750"/>
              <a:gd name="connsiteY3638" fmla="*/ 865323 h 6858290"/>
              <a:gd name="connsiteX3639" fmla="*/ 946453 w 12139750"/>
              <a:gd name="connsiteY3639" fmla="*/ 907069 h 6858290"/>
              <a:gd name="connsiteX3640" fmla="*/ 605206 w 12139750"/>
              <a:gd name="connsiteY3640" fmla="*/ 1049386 h 6858290"/>
              <a:gd name="connsiteX3641" fmla="*/ 546108 w 12139750"/>
              <a:gd name="connsiteY3641" fmla="*/ 1024718 h 6858290"/>
              <a:gd name="connsiteX3642" fmla="*/ 570891 w 12139750"/>
              <a:gd name="connsiteY3642" fmla="*/ 967791 h 6858290"/>
              <a:gd name="connsiteX3643" fmla="*/ 910231 w 12139750"/>
              <a:gd name="connsiteY3643" fmla="*/ 825474 h 6858290"/>
              <a:gd name="connsiteX3644" fmla="*/ 944785 w 12139750"/>
              <a:gd name="connsiteY3644" fmla="*/ 824762 h 6858290"/>
              <a:gd name="connsiteX3645" fmla="*/ 4842166 w 12139750"/>
              <a:gd name="connsiteY3645" fmla="*/ 812941 h 6858290"/>
              <a:gd name="connsiteX3646" fmla="*/ 4884470 w 12139750"/>
              <a:gd name="connsiteY3646" fmla="*/ 842717 h 6858290"/>
              <a:gd name="connsiteX3647" fmla="*/ 4886374 w 12139750"/>
              <a:gd name="connsiteY3647" fmla="*/ 859885 h 6858290"/>
              <a:gd name="connsiteX3648" fmla="*/ 4855910 w 12139750"/>
              <a:gd name="connsiteY3648" fmla="*/ 903759 h 6858290"/>
              <a:gd name="connsiteX3649" fmla="*/ 4515164 w 12139750"/>
              <a:gd name="connsiteY3649" fmla="*/ 1033473 h 6858290"/>
              <a:gd name="connsiteX3650" fmla="*/ 4454246 w 12139750"/>
              <a:gd name="connsiteY3650" fmla="*/ 1006767 h 6858290"/>
              <a:gd name="connsiteX3651" fmla="*/ 4482801 w 12139750"/>
              <a:gd name="connsiteY3651" fmla="*/ 945725 h 6858290"/>
              <a:gd name="connsiteX3652" fmla="*/ 4823545 w 12139750"/>
              <a:gd name="connsiteY3652" fmla="*/ 816011 h 6858290"/>
              <a:gd name="connsiteX3653" fmla="*/ 4842166 w 12139750"/>
              <a:gd name="connsiteY3653" fmla="*/ 812941 h 6858290"/>
              <a:gd name="connsiteX3654" fmla="*/ 1476350 w 12139750"/>
              <a:gd name="connsiteY3654" fmla="*/ 812927 h 6858290"/>
              <a:gd name="connsiteX3655" fmla="*/ 1518617 w 12139750"/>
              <a:gd name="connsiteY3655" fmla="*/ 842703 h 6858290"/>
              <a:gd name="connsiteX3656" fmla="*/ 1522421 w 12139750"/>
              <a:gd name="connsiteY3656" fmla="*/ 859871 h 6858290"/>
              <a:gd name="connsiteX3657" fmla="*/ 1491985 w 12139750"/>
              <a:gd name="connsiteY3657" fmla="*/ 903745 h 6858290"/>
              <a:gd name="connsiteX3658" fmla="*/ 1151476 w 12139750"/>
              <a:gd name="connsiteY3658" fmla="*/ 1033459 h 6858290"/>
              <a:gd name="connsiteX3659" fmla="*/ 1090602 w 12139750"/>
              <a:gd name="connsiteY3659" fmla="*/ 1006753 h 6858290"/>
              <a:gd name="connsiteX3660" fmla="*/ 1117234 w 12139750"/>
              <a:gd name="connsiteY3660" fmla="*/ 945711 h 6858290"/>
              <a:gd name="connsiteX3661" fmla="*/ 1457743 w 12139750"/>
              <a:gd name="connsiteY3661" fmla="*/ 815997 h 6858290"/>
              <a:gd name="connsiteX3662" fmla="*/ 1476350 w 12139750"/>
              <a:gd name="connsiteY3662" fmla="*/ 812927 h 6858290"/>
              <a:gd name="connsiteX3663" fmla="*/ 4285652 w 12139750"/>
              <a:gd name="connsiteY3663" fmla="*/ 804258 h 6858290"/>
              <a:gd name="connsiteX3664" fmla="*/ 4328516 w 12139750"/>
              <a:gd name="connsiteY3664" fmla="*/ 838596 h 6858290"/>
              <a:gd name="connsiteX3665" fmla="*/ 4332327 w 12139750"/>
              <a:gd name="connsiteY3665" fmla="*/ 853857 h 6858290"/>
              <a:gd name="connsiteX3666" fmla="*/ 4298035 w 12139750"/>
              <a:gd name="connsiteY3666" fmla="*/ 901549 h 6858290"/>
              <a:gd name="connsiteX3667" fmla="*/ 3957057 w 12139750"/>
              <a:gd name="connsiteY3667" fmla="*/ 1017917 h 6858290"/>
              <a:gd name="connsiteX3668" fmla="*/ 3894189 w 12139750"/>
              <a:gd name="connsiteY3668" fmla="*/ 985486 h 6858290"/>
              <a:gd name="connsiteX3669" fmla="*/ 3924669 w 12139750"/>
              <a:gd name="connsiteY3669" fmla="*/ 922533 h 6858290"/>
              <a:gd name="connsiteX3670" fmla="*/ 4265650 w 12139750"/>
              <a:gd name="connsiteY3670" fmla="*/ 806166 h 6858290"/>
              <a:gd name="connsiteX3671" fmla="*/ 4285652 w 12139750"/>
              <a:gd name="connsiteY3671" fmla="*/ 804258 h 6858290"/>
              <a:gd name="connsiteX3672" fmla="*/ 2032209 w 12139750"/>
              <a:gd name="connsiteY3672" fmla="*/ 804242 h 6858290"/>
              <a:gd name="connsiteX3673" fmla="*/ 2076148 w 12139750"/>
              <a:gd name="connsiteY3673" fmla="*/ 838580 h 6858290"/>
              <a:gd name="connsiteX3674" fmla="*/ 2078054 w 12139750"/>
              <a:gd name="connsiteY3674" fmla="*/ 853842 h 6858290"/>
              <a:gd name="connsiteX3675" fmla="*/ 2043759 w 12139750"/>
              <a:gd name="connsiteY3675" fmla="*/ 901533 h 6858290"/>
              <a:gd name="connsiteX3676" fmla="*/ 1702759 w 12139750"/>
              <a:gd name="connsiteY3676" fmla="*/ 1017901 h 6858290"/>
              <a:gd name="connsiteX3677" fmla="*/ 1639894 w 12139750"/>
              <a:gd name="connsiteY3677" fmla="*/ 985471 h 6858290"/>
              <a:gd name="connsiteX3678" fmla="*/ 1670374 w 12139750"/>
              <a:gd name="connsiteY3678" fmla="*/ 922518 h 6858290"/>
              <a:gd name="connsiteX3679" fmla="*/ 2013278 w 12139750"/>
              <a:gd name="connsiteY3679" fmla="*/ 806150 h 6858290"/>
              <a:gd name="connsiteX3680" fmla="*/ 2032209 w 12139750"/>
              <a:gd name="connsiteY3680" fmla="*/ 804242 h 6858290"/>
              <a:gd name="connsiteX3681" fmla="*/ 3725236 w 12139750"/>
              <a:gd name="connsiteY3681" fmla="*/ 796620 h 6858290"/>
              <a:gd name="connsiteX3682" fmla="*/ 3770039 w 12139750"/>
              <a:gd name="connsiteY3682" fmla="*/ 832569 h 6858290"/>
              <a:gd name="connsiteX3683" fmla="*/ 3771948 w 12139750"/>
              <a:gd name="connsiteY3683" fmla="*/ 847831 h 6858290"/>
              <a:gd name="connsiteX3684" fmla="*/ 3733791 w 12139750"/>
              <a:gd name="connsiteY3684" fmla="*/ 897434 h 6858290"/>
              <a:gd name="connsiteX3685" fmla="*/ 3390423 w 12139750"/>
              <a:gd name="connsiteY3685" fmla="*/ 1000454 h 6858290"/>
              <a:gd name="connsiteX3686" fmla="*/ 3325558 w 12139750"/>
              <a:gd name="connsiteY3686" fmla="*/ 964206 h 6858290"/>
              <a:gd name="connsiteX3687" fmla="*/ 3361806 w 12139750"/>
              <a:gd name="connsiteY3687" fmla="*/ 899342 h 6858290"/>
              <a:gd name="connsiteX3688" fmla="*/ 3705177 w 12139750"/>
              <a:gd name="connsiteY3688" fmla="*/ 798229 h 6858290"/>
              <a:gd name="connsiteX3689" fmla="*/ 3725236 w 12139750"/>
              <a:gd name="connsiteY3689" fmla="*/ 796620 h 6858290"/>
              <a:gd name="connsiteX3690" fmla="*/ 2591734 w 12139750"/>
              <a:gd name="connsiteY3690" fmla="*/ 796602 h 6858290"/>
              <a:gd name="connsiteX3691" fmla="*/ 2636535 w 12139750"/>
              <a:gd name="connsiteY3691" fmla="*/ 832551 h 6858290"/>
              <a:gd name="connsiteX3692" fmla="*/ 2638443 w 12139750"/>
              <a:gd name="connsiteY3692" fmla="*/ 847814 h 6858290"/>
              <a:gd name="connsiteX3693" fmla="*/ 2600289 w 12139750"/>
              <a:gd name="connsiteY3693" fmla="*/ 897416 h 6858290"/>
              <a:gd name="connsiteX3694" fmla="*/ 2256905 w 12139750"/>
              <a:gd name="connsiteY3694" fmla="*/ 1000437 h 6858290"/>
              <a:gd name="connsiteX3695" fmla="*/ 2192044 w 12139750"/>
              <a:gd name="connsiteY3695" fmla="*/ 964189 h 6858290"/>
              <a:gd name="connsiteX3696" fmla="*/ 2228290 w 12139750"/>
              <a:gd name="connsiteY3696" fmla="*/ 899324 h 6858290"/>
              <a:gd name="connsiteX3697" fmla="*/ 2571674 w 12139750"/>
              <a:gd name="connsiteY3697" fmla="*/ 798211 h 6858290"/>
              <a:gd name="connsiteX3698" fmla="*/ 2591734 w 12139750"/>
              <a:gd name="connsiteY3698" fmla="*/ 796602 h 6858290"/>
              <a:gd name="connsiteX3699" fmla="*/ 3154890 w 12139750"/>
              <a:gd name="connsiteY3699" fmla="*/ 787711 h 6858290"/>
              <a:gd name="connsiteX3700" fmla="*/ 3200131 w 12139750"/>
              <a:gd name="connsiteY3700" fmla="*/ 828698 h 6858290"/>
              <a:gd name="connsiteX3701" fmla="*/ 3202035 w 12139750"/>
              <a:gd name="connsiteY3701" fmla="*/ 842033 h 6858290"/>
              <a:gd name="connsiteX3702" fmla="*/ 3160155 w 12139750"/>
              <a:gd name="connsiteY3702" fmla="*/ 895372 h 6858290"/>
              <a:gd name="connsiteX3703" fmla="*/ 2817485 w 12139750"/>
              <a:gd name="connsiteY3703" fmla="*/ 983002 h 6858290"/>
              <a:gd name="connsiteX3704" fmla="*/ 2750856 w 12139750"/>
              <a:gd name="connsiteY3704" fmla="*/ 944903 h 6858290"/>
              <a:gd name="connsiteX3705" fmla="*/ 2788932 w 12139750"/>
              <a:gd name="connsiteY3705" fmla="*/ 878228 h 6858290"/>
              <a:gd name="connsiteX3706" fmla="*/ 3133502 w 12139750"/>
              <a:gd name="connsiteY3706" fmla="*/ 788693 h 6858290"/>
              <a:gd name="connsiteX3707" fmla="*/ 3154890 w 12139750"/>
              <a:gd name="connsiteY3707" fmla="*/ 787711 h 6858290"/>
              <a:gd name="connsiteX3708" fmla="*/ 9863739 w 12139750"/>
              <a:gd name="connsiteY3708" fmla="*/ 570068 h 6858290"/>
              <a:gd name="connsiteX3709" fmla="*/ 9881347 w 12139750"/>
              <a:gd name="connsiteY3709" fmla="*/ 580048 h 6858290"/>
              <a:gd name="connsiteX3710" fmla="*/ 9887057 w 12139750"/>
              <a:gd name="connsiteY3710" fmla="*/ 597157 h 6858290"/>
              <a:gd name="connsiteX3711" fmla="*/ 9875636 w 12139750"/>
              <a:gd name="connsiteY3711" fmla="*/ 618067 h 6858290"/>
              <a:gd name="connsiteX3712" fmla="*/ 9540623 w 12139750"/>
              <a:gd name="connsiteY3712" fmla="*/ 857587 h 6858290"/>
              <a:gd name="connsiteX3713" fmla="*/ 9504456 w 12139750"/>
              <a:gd name="connsiteY3713" fmla="*/ 849984 h 6858290"/>
              <a:gd name="connsiteX3714" fmla="*/ 9510167 w 12139750"/>
              <a:gd name="connsiteY3714" fmla="*/ 811965 h 6858290"/>
              <a:gd name="connsiteX3715" fmla="*/ 9843277 w 12139750"/>
              <a:gd name="connsiteY3715" fmla="*/ 574345 h 6858290"/>
              <a:gd name="connsiteX3716" fmla="*/ 9863739 w 12139750"/>
              <a:gd name="connsiteY3716" fmla="*/ 570068 h 6858290"/>
              <a:gd name="connsiteX3717" fmla="*/ 9288066 w 12139750"/>
              <a:gd name="connsiteY3717" fmla="*/ 561743 h 6858290"/>
              <a:gd name="connsiteX3718" fmla="*/ 9306654 w 12139750"/>
              <a:gd name="connsiteY3718" fmla="*/ 574308 h 6858290"/>
              <a:gd name="connsiteX3719" fmla="*/ 9312374 w 12139750"/>
              <a:gd name="connsiteY3719" fmla="*/ 589483 h 6858290"/>
              <a:gd name="connsiteX3720" fmla="*/ 9299028 w 12139750"/>
              <a:gd name="connsiteY3720" fmla="*/ 614140 h 6858290"/>
              <a:gd name="connsiteX3721" fmla="*/ 8963476 w 12139750"/>
              <a:gd name="connsiteY3721" fmla="*/ 839853 h 6858290"/>
              <a:gd name="connsiteX3722" fmla="*/ 8923439 w 12139750"/>
              <a:gd name="connsiteY3722" fmla="*/ 832266 h 6858290"/>
              <a:gd name="connsiteX3723" fmla="*/ 8931065 w 12139750"/>
              <a:gd name="connsiteY3723" fmla="*/ 792434 h 6858290"/>
              <a:gd name="connsiteX3724" fmla="*/ 9266617 w 12139750"/>
              <a:gd name="connsiteY3724" fmla="*/ 564825 h 6858290"/>
              <a:gd name="connsiteX3725" fmla="*/ 9288066 w 12139750"/>
              <a:gd name="connsiteY3725" fmla="*/ 561743 h 6858290"/>
              <a:gd name="connsiteX3726" fmla="*/ 10448544 w 12139750"/>
              <a:gd name="connsiteY3726" fmla="*/ 561719 h 6858290"/>
              <a:gd name="connsiteX3727" fmla="*/ 10467132 w 12139750"/>
              <a:gd name="connsiteY3727" fmla="*/ 574285 h 6858290"/>
              <a:gd name="connsiteX3728" fmla="*/ 10472852 w 12139750"/>
              <a:gd name="connsiteY3728" fmla="*/ 589459 h 6858290"/>
              <a:gd name="connsiteX3729" fmla="*/ 10459506 w 12139750"/>
              <a:gd name="connsiteY3729" fmla="*/ 614117 h 6858290"/>
              <a:gd name="connsiteX3730" fmla="*/ 10123954 w 12139750"/>
              <a:gd name="connsiteY3730" fmla="*/ 839831 h 6858290"/>
              <a:gd name="connsiteX3731" fmla="*/ 10083917 w 12139750"/>
              <a:gd name="connsiteY3731" fmla="*/ 832244 h 6858290"/>
              <a:gd name="connsiteX3732" fmla="*/ 10091543 w 12139750"/>
              <a:gd name="connsiteY3732" fmla="*/ 792412 h 6858290"/>
              <a:gd name="connsiteX3733" fmla="*/ 10427095 w 12139750"/>
              <a:gd name="connsiteY3733" fmla="*/ 564801 h 6858290"/>
              <a:gd name="connsiteX3734" fmla="*/ 10448544 w 12139750"/>
              <a:gd name="connsiteY3734" fmla="*/ 561719 h 6858290"/>
              <a:gd name="connsiteX3735" fmla="*/ 8716914 w 12139750"/>
              <a:gd name="connsiteY3735" fmla="*/ 552708 h 6858290"/>
              <a:gd name="connsiteX3736" fmla="*/ 8736725 w 12139750"/>
              <a:gd name="connsiteY3736" fmla="*/ 566742 h 6858290"/>
              <a:gd name="connsiteX3737" fmla="*/ 8742454 w 12139750"/>
              <a:gd name="connsiteY3737" fmla="*/ 583868 h 6858290"/>
              <a:gd name="connsiteX3738" fmla="*/ 8727178 w 12139750"/>
              <a:gd name="connsiteY3738" fmla="*/ 608605 h 6858290"/>
              <a:gd name="connsiteX3739" fmla="*/ 8391103 w 12139750"/>
              <a:gd name="connsiteY3739" fmla="*/ 825535 h 6858290"/>
              <a:gd name="connsiteX3740" fmla="*/ 8347184 w 12139750"/>
              <a:gd name="connsiteY3740" fmla="*/ 816021 h 6858290"/>
              <a:gd name="connsiteX3741" fmla="*/ 8356731 w 12139750"/>
              <a:gd name="connsiteY3741" fmla="*/ 772254 h 6858290"/>
              <a:gd name="connsiteX3742" fmla="*/ 8692806 w 12139750"/>
              <a:gd name="connsiteY3742" fmla="*/ 557227 h 6858290"/>
              <a:gd name="connsiteX3743" fmla="*/ 8716914 w 12139750"/>
              <a:gd name="connsiteY3743" fmla="*/ 552708 h 6858290"/>
              <a:gd name="connsiteX3744" fmla="*/ 11026758 w 12139750"/>
              <a:gd name="connsiteY3744" fmla="*/ 552682 h 6858290"/>
              <a:gd name="connsiteX3745" fmla="*/ 11046569 w 12139750"/>
              <a:gd name="connsiteY3745" fmla="*/ 566716 h 6858290"/>
              <a:gd name="connsiteX3746" fmla="*/ 11052298 w 12139750"/>
              <a:gd name="connsiteY3746" fmla="*/ 583843 h 6858290"/>
              <a:gd name="connsiteX3747" fmla="*/ 11037022 w 12139750"/>
              <a:gd name="connsiteY3747" fmla="*/ 608580 h 6858290"/>
              <a:gd name="connsiteX3748" fmla="*/ 10700947 w 12139750"/>
              <a:gd name="connsiteY3748" fmla="*/ 825511 h 6858290"/>
              <a:gd name="connsiteX3749" fmla="*/ 10657028 w 12139750"/>
              <a:gd name="connsiteY3749" fmla="*/ 815996 h 6858290"/>
              <a:gd name="connsiteX3750" fmla="*/ 10666575 w 12139750"/>
              <a:gd name="connsiteY3750" fmla="*/ 772230 h 6858290"/>
              <a:gd name="connsiteX3751" fmla="*/ 11002650 w 12139750"/>
              <a:gd name="connsiteY3751" fmla="*/ 557202 h 6858290"/>
              <a:gd name="connsiteX3752" fmla="*/ 11026758 w 12139750"/>
              <a:gd name="connsiteY3752" fmla="*/ 552682 h 6858290"/>
              <a:gd name="connsiteX3753" fmla="*/ 8152845 w 12139750"/>
              <a:gd name="connsiteY3753" fmla="*/ 544127 h 6858290"/>
              <a:gd name="connsiteX3754" fmla="*/ 8173498 w 12139750"/>
              <a:gd name="connsiteY3754" fmla="*/ 559095 h 6858290"/>
              <a:gd name="connsiteX3755" fmla="*/ 8177296 w 12139750"/>
              <a:gd name="connsiteY3755" fmla="*/ 576201 h 6858290"/>
              <a:gd name="connsiteX3756" fmla="*/ 8162103 w 12139750"/>
              <a:gd name="connsiteY3756" fmla="*/ 604711 h 6858290"/>
              <a:gd name="connsiteX3757" fmla="*/ 7825963 w 12139750"/>
              <a:gd name="connsiteY3757" fmla="*/ 808083 h 6858290"/>
              <a:gd name="connsiteX3758" fmla="*/ 7780385 w 12139750"/>
              <a:gd name="connsiteY3758" fmla="*/ 796679 h 6858290"/>
              <a:gd name="connsiteX3759" fmla="*/ 7791780 w 12139750"/>
              <a:gd name="connsiteY3759" fmla="*/ 751063 h 6858290"/>
              <a:gd name="connsiteX3760" fmla="*/ 8127919 w 12139750"/>
              <a:gd name="connsiteY3760" fmla="*/ 547691 h 6858290"/>
              <a:gd name="connsiteX3761" fmla="*/ 8152845 w 12139750"/>
              <a:gd name="connsiteY3761" fmla="*/ 544127 h 6858290"/>
              <a:gd name="connsiteX3762" fmla="*/ 11598067 w 12139750"/>
              <a:gd name="connsiteY3762" fmla="*/ 544120 h 6858290"/>
              <a:gd name="connsiteX3763" fmla="*/ 11618085 w 12139750"/>
              <a:gd name="connsiteY3763" fmla="*/ 559088 h 6858290"/>
              <a:gd name="connsiteX3764" fmla="*/ 11623805 w 12139750"/>
              <a:gd name="connsiteY3764" fmla="*/ 576194 h 6858290"/>
              <a:gd name="connsiteX3765" fmla="*/ 11606646 w 12139750"/>
              <a:gd name="connsiteY3765" fmla="*/ 604704 h 6858290"/>
              <a:gd name="connsiteX3766" fmla="*/ 11271101 w 12139750"/>
              <a:gd name="connsiteY3766" fmla="*/ 808077 h 6858290"/>
              <a:gd name="connsiteX3767" fmla="*/ 11225345 w 12139750"/>
              <a:gd name="connsiteY3767" fmla="*/ 796673 h 6858290"/>
              <a:gd name="connsiteX3768" fmla="*/ 11236784 w 12139750"/>
              <a:gd name="connsiteY3768" fmla="*/ 751056 h 6858290"/>
              <a:gd name="connsiteX3769" fmla="*/ 11572329 w 12139750"/>
              <a:gd name="connsiteY3769" fmla="*/ 547684 h 6858290"/>
              <a:gd name="connsiteX3770" fmla="*/ 11598067 w 12139750"/>
              <a:gd name="connsiteY3770" fmla="*/ 544120 h 6858290"/>
              <a:gd name="connsiteX3771" fmla="*/ 12139750 w 12139750"/>
              <a:gd name="connsiteY3771" fmla="*/ 535003 h 6858290"/>
              <a:gd name="connsiteX3772" fmla="*/ 12139750 w 12139750"/>
              <a:gd name="connsiteY3772" fmla="*/ 616918 h 6858290"/>
              <a:gd name="connsiteX3773" fmla="*/ 11835212 w 12139750"/>
              <a:gd name="connsiteY3773" fmla="*/ 792178 h 6858290"/>
              <a:gd name="connsiteX3774" fmla="*/ 11785725 w 12139750"/>
              <a:gd name="connsiteY3774" fmla="*/ 778843 h 6858290"/>
              <a:gd name="connsiteX3775" fmla="*/ 11799048 w 12139750"/>
              <a:gd name="connsiteY3775" fmla="*/ 729313 h 6858290"/>
              <a:gd name="connsiteX3776" fmla="*/ 12135943 w 12139750"/>
              <a:gd name="connsiteY3776" fmla="*/ 536908 h 6858290"/>
              <a:gd name="connsiteX3777" fmla="*/ 12139750 w 12139750"/>
              <a:gd name="connsiteY3777" fmla="*/ 535003 h 6858290"/>
              <a:gd name="connsiteX3778" fmla="*/ 7595886 w 12139750"/>
              <a:gd name="connsiteY3778" fmla="*/ 534825 h 6858290"/>
              <a:gd name="connsiteX3779" fmla="*/ 7617844 w 12139750"/>
              <a:gd name="connsiteY3779" fmla="*/ 551417 h 6858290"/>
              <a:gd name="connsiteX3780" fmla="*/ 7621663 w 12139750"/>
              <a:gd name="connsiteY3780" fmla="*/ 568482 h 6858290"/>
              <a:gd name="connsiteX3781" fmla="*/ 7604478 w 12139750"/>
              <a:gd name="connsiteY3781" fmla="*/ 600717 h 6858290"/>
              <a:gd name="connsiteX3782" fmla="*/ 7266512 w 12139750"/>
              <a:gd name="connsiteY3782" fmla="*/ 792231 h 6858290"/>
              <a:gd name="connsiteX3783" fmla="*/ 7218776 w 12139750"/>
              <a:gd name="connsiteY3783" fmla="*/ 778957 h 6858290"/>
              <a:gd name="connsiteX3784" fmla="*/ 7230233 w 12139750"/>
              <a:gd name="connsiteY3784" fmla="*/ 729657 h 6858290"/>
              <a:gd name="connsiteX3785" fmla="*/ 7568199 w 12139750"/>
              <a:gd name="connsiteY3785" fmla="*/ 538144 h 6858290"/>
              <a:gd name="connsiteX3786" fmla="*/ 7595886 w 12139750"/>
              <a:gd name="connsiteY3786" fmla="*/ 534825 h 6858290"/>
              <a:gd name="connsiteX3787" fmla="*/ 7044520 w 12139750"/>
              <a:gd name="connsiteY3787" fmla="*/ 526281 h 6858290"/>
              <a:gd name="connsiteX3788" fmla="*/ 7066666 w 12139750"/>
              <a:gd name="connsiteY3788" fmla="*/ 543903 h 6858290"/>
              <a:gd name="connsiteX3789" fmla="*/ 7072381 w 12139750"/>
              <a:gd name="connsiteY3789" fmla="*/ 562953 h 6858290"/>
              <a:gd name="connsiteX3790" fmla="*/ 7051425 w 12139750"/>
              <a:gd name="connsiteY3790" fmla="*/ 595337 h 6858290"/>
              <a:gd name="connsiteX3791" fmla="*/ 6714236 w 12139750"/>
              <a:gd name="connsiteY3791" fmla="*/ 776312 h 6858290"/>
              <a:gd name="connsiteX3792" fmla="*/ 6662800 w 12139750"/>
              <a:gd name="connsiteY3792" fmla="*/ 761072 h 6858290"/>
              <a:gd name="connsiteX3793" fmla="*/ 6678040 w 12139750"/>
              <a:gd name="connsiteY3793" fmla="*/ 709637 h 6858290"/>
              <a:gd name="connsiteX3794" fmla="*/ 7015230 w 12139750"/>
              <a:gd name="connsiteY3794" fmla="*/ 528663 h 6858290"/>
              <a:gd name="connsiteX3795" fmla="*/ 7044520 w 12139750"/>
              <a:gd name="connsiteY3795" fmla="*/ 526281 h 6858290"/>
              <a:gd name="connsiteX3796" fmla="*/ 6500891 w 12139750"/>
              <a:gd name="connsiteY3796" fmla="*/ 517214 h 6858290"/>
              <a:gd name="connsiteX3797" fmla="*/ 6524041 w 12139750"/>
              <a:gd name="connsiteY3797" fmla="*/ 538118 h 6858290"/>
              <a:gd name="connsiteX3798" fmla="*/ 6527860 w 12139750"/>
              <a:gd name="connsiteY3798" fmla="*/ 555221 h 6858290"/>
              <a:gd name="connsiteX3799" fmla="*/ 6506857 w 12139750"/>
              <a:gd name="connsiteY3799" fmla="*/ 591328 h 6858290"/>
              <a:gd name="connsiteX3800" fmla="*/ 6166999 w 12139750"/>
              <a:gd name="connsiteY3800" fmla="*/ 760460 h 6858290"/>
              <a:gd name="connsiteX3801" fmla="*/ 6113538 w 12139750"/>
              <a:gd name="connsiteY3801" fmla="*/ 743357 h 6858290"/>
              <a:gd name="connsiteX3802" fmla="*/ 6130722 w 12139750"/>
              <a:gd name="connsiteY3802" fmla="*/ 690147 h 6858290"/>
              <a:gd name="connsiteX3803" fmla="*/ 6470580 w 12139750"/>
              <a:gd name="connsiteY3803" fmla="*/ 519114 h 6858290"/>
              <a:gd name="connsiteX3804" fmla="*/ 6500891 w 12139750"/>
              <a:gd name="connsiteY3804" fmla="*/ 517214 h 6858290"/>
              <a:gd name="connsiteX3805" fmla="*/ 5942009 w 12139750"/>
              <a:gd name="connsiteY3805" fmla="*/ 506693 h 6858290"/>
              <a:gd name="connsiteX3806" fmla="*/ 5981121 w 12139750"/>
              <a:gd name="connsiteY3806" fmla="*/ 530416 h 6858290"/>
              <a:gd name="connsiteX3807" fmla="*/ 5984930 w 12139750"/>
              <a:gd name="connsiteY3807" fmla="*/ 547475 h 6858290"/>
              <a:gd name="connsiteX3808" fmla="*/ 5962070 w 12139750"/>
              <a:gd name="connsiteY3808" fmla="*/ 585386 h 6858290"/>
              <a:gd name="connsiteX3809" fmla="*/ 5622984 w 12139750"/>
              <a:gd name="connsiteY3809" fmla="*/ 744609 h 6858290"/>
              <a:gd name="connsiteX3810" fmla="*/ 5565834 w 12139750"/>
              <a:gd name="connsiteY3810" fmla="*/ 723759 h 6858290"/>
              <a:gd name="connsiteX3811" fmla="*/ 5586789 w 12139750"/>
              <a:gd name="connsiteY3811" fmla="*/ 668789 h 6858290"/>
              <a:gd name="connsiteX3812" fmla="*/ 5925876 w 12139750"/>
              <a:gd name="connsiteY3812" fmla="*/ 511460 h 6858290"/>
              <a:gd name="connsiteX3813" fmla="*/ 5942009 w 12139750"/>
              <a:gd name="connsiteY3813" fmla="*/ 506693 h 6858290"/>
              <a:gd name="connsiteX3814" fmla="*/ 382532 w 12139750"/>
              <a:gd name="connsiteY3814" fmla="*/ 506681 h 6858290"/>
              <a:gd name="connsiteX3815" fmla="*/ 421644 w 12139750"/>
              <a:gd name="connsiteY3815" fmla="*/ 530405 h 6858290"/>
              <a:gd name="connsiteX3816" fmla="*/ 425454 w 12139750"/>
              <a:gd name="connsiteY3816" fmla="*/ 547464 h 6858290"/>
              <a:gd name="connsiteX3817" fmla="*/ 400689 w 12139750"/>
              <a:gd name="connsiteY3817" fmla="*/ 585374 h 6858290"/>
              <a:gd name="connsiteX3818" fmla="*/ 61595 w 12139750"/>
              <a:gd name="connsiteY3818" fmla="*/ 744598 h 6858290"/>
              <a:gd name="connsiteX3819" fmla="*/ 6349 w 12139750"/>
              <a:gd name="connsiteY3819" fmla="*/ 723747 h 6858290"/>
              <a:gd name="connsiteX3820" fmla="*/ 27304 w 12139750"/>
              <a:gd name="connsiteY3820" fmla="*/ 668777 h 6858290"/>
              <a:gd name="connsiteX3821" fmla="*/ 366399 w 12139750"/>
              <a:gd name="connsiteY3821" fmla="*/ 511449 h 6858290"/>
              <a:gd name="connsiteX3822" fmla="*/ 382532 w 12139750"/>
              <a:gd name="connsiteY3822" fmla="*/ 506681 h 6858290"/>
              <a:gd name="connsiteX3823" fmla="*/ 5409823 w 12139750"/>
              <a:gd name="connsiteY3823" fmla="*/ 500973 h 6858290"/>
              <a:gd name="connsiteX3824" fmla="*/ 5433432 w 12139750"/>
              <a:gd name="connsiteY3824" fmla="*/ 524577 h 6858290"/>
              <a:gd name="connsiteX3825" fmla="*/ 5437247 w 12139750"/>
              <a:gd name="connsiteY3825" fmla="*/ 541744 h 6858290"/>
              <a:gd name="connsiteX3826" fmla="*/ 5410538 w 12139750"/>
              <a:gd name="connsiteY3826" fmla="*/ 581801 h 6858290"/>
              <a:gd name="connsiteX3827" fmla="*/ 5070947 w 12139750"/>
              <a:gd name="connsiteY3827" fmla="*/ 728676 h 6858290"/>
              <a:gd name="connsiteX3828" fmla="*/ 5011811 w 12139750"/>
              <a:gd name="connsiteY3828" fmla="*/ 705786 h 6858290"/>
              <a:gd name="connsiteX3829" fmla="*/ 5034702 w 12139750"/>
              <a:gd name="connsiteY3829" fmla="*/ 648562 h 6858290"/>
              <a:gd name="connsiteX3830" fmla="*/ 5376198 w 12139750"/>
              <a:gd name="connsiteY3830" fmla="*/ 501688 h 6858290"/>
              <a:gd name="connsiteX3831" fmla="*/ 5409823 w 12139750"/>
              <a:gd name="connsiteY3831" fmla="*/ 500973 h 6858290"/>
              <a:gd name="connsiteX3832" fmla="*/ 943575 w 12139750"/>
              <a:gd name="connsiteY3832" fmla="*/ 500959 h 6858290"/>
              <a:gd name="connsiteX3833" fmla="*/ 968066 w 12139750"/>
              <a:gd name="connsiteY3833" fmla="*/ 524564 h 6858290"/>
              <a:gd name="connsiteX3834" fmla="*/ 969968 w 12139750"/>
              <a:gd name="connsiteY3834" fmla="*/ 541731 h 6858290"/>
              <a:gd name="connsiteX3835" fmla="*/ 945239 w 12139750"/>
              <a:gd name="connsiteY3835" fmla="*/ 581788 h 6858290"/>
              <a:gd name="connsiteX3836" fmla="*/ 604741 w 12139750"/>
              <a:gd name="connsiteY3836" fmla="*/ 728662 h 6858290"/>
              <a:gd name="connsiteX3837" fmla="*/ 547674 w 12139750"/>
              <a:gd name="connsiteY3837" fmla="*/ 705773 h 6858290"/>
              <a:gd name="connsiteX3838" fmla="*/ 570501 w 12139750"/>
              <a:gd name="connsiteY3838" fmla="*/ 648549 h 6858290"/>
              <a:gd name="connsiteX3839" fmla="*/ 909097 w 12139750"/>
              <a:gd name="connsiteY3839" fmla="*/ 501674 h 6858290"/>
              <a:gd name="connsiteX3840" fmla="*/ 943575 w 12139750"/>
              <a:gd name="connsiteY3840" fmla="*/ 500959 h 6858290"/>
              <a:gd name="connsiteX3841" fmla="*/ 4841065 w 12139750"/>
              <a:gd name="connsiteY3841" fmla="*/ 488779 h 6858290"/>
              <a:gd name="connsiteX3842" fmla="*/ 4882567 w 12139750"/>
              <a:gd name="connsiteY3842" fmla="*/ 516870 h 6858290"/>
              <a:gd name="connsiteX3843" fmla="*/ 4886374 w 12139750"/>
              <a:gd name="connsiteY3843" fmla="*/ 533993 h 6858290"/>
              <a:gd name="connsiteX3844" fmla="*/ 4855910 w 12139750"/>
              <a:gd name="connsiteY3844" fmla="*/ 577749 h 6858290"/>
              <a:gd name="connsiteX3845" fmla="*/ 4517066 w 12139750"/>
              <a:gd name="connsiteY3845" fmla="*/ 712825 h 6858290"/>
              <a:gd name="connsiteX3846" fmla="*/ 4456150 w 12139750"/>
              <a:gd name="connsiteY3846" fmla="*/ 686191 h 6858290"/>
              <a:gd name="connsiteX3847" fmla="*/ 4482801 w 12139750"/>
              <a:gd name="connsiteY3847" fmla="*/ 627214 h 6858290"/>
              <a:gd name="connsiteX3848" fmla="*/ 4823545 w 12139750"/>
              <a:gd name="connsiteY3848" fmla="*/ 492138 h 6858290"/>
              <a:gd name="connsiteX3849" fmla="*/ 4841065 w 12139750"/>
              <a:gd name="connsiteY3849" fmla="*/ 488779 h 6858290"/>
              <a:gd name="connsiteX3850" fmla="*/ 1475768 w 12139750"/>
              <a:gd name="connsiteY3850" fmla="*/ 488763 h 6858290"/>
              <a:gd name="connsiteX3851" fmla="*/ 1517023 w 12139750"/>
              <a:gd name="connsiteY3851" fmla="*/ 516854 h 6858290"/>
              <a:gd name="connsiteX3852" fmla="*/ 1520833 w 12139750"/>
              <a:gd name="connsiteY3852" fmla="*/ 533977 h 6858290"/>
              <a:gd name="connsiteX3853" fmla="*/ 1492258 w 12139750"/>
              <a:gd name="connsiteY3853" fmla="*/ 577734 h 6858290"/>
              <a:gd name="connsiteX3854" fmla="*/ 1151259 w 12139750"/>
              <a:gd name="connsiteY3854" fmla="*/ 712810 h 6858290"/>
              <a:gd name="connsiteX3855" fmla="*/ 1092203 w 12139750"/>
              <a:gd name="connsiteY3855" fmla="*/ 686175 h 6858290"/>
              <a:gd name="connsiteX3856" fmla="*/ 1116969 w 12139750"/>
              <a:gd name="connsiteY3856" fmla="*/ 627198 h 6858290"/>
              <a:gd name="connsiteX3857" fmla="*/ 1457968 w 12139750"/>
              <a:gd name="connsiteY3857" fmla="*/ 492122 h 6858290"/>
              <a:gd name="connsiteX3858" fmla="*/ 1475768 w 12139750"/>
              <a:gd name="connsiteY3858" fmla="*/ 488763 h 6858290"/>
              <a:gd name="connsiteX3859" fmla="*/ 4284536 w 12139750"/>
              <a:gd name="connsiteY3859" fmla="*/ 479572 h 6858290"/>
              <a:gd name="connsiteX3860" fmla="*/ 4326924 w 12139750"/>
              <a:gd name="connsiteY3860" fmla="*/ 511096 h 6858290"/>
              <a:gd name="connsiteX3861" fmla="*/ 4330740 w 12139750"/>
              <a:gd name="connsiteY3861" fmla="*/ 528194 h 6858290"/>
              <a:gd name="connsiteX3862" fmla="*/ 4298306 w 12139750"/>
              <a:gd name="connsiteY3862" fmla="*/ 571889 h 6858290"/>
              <a:gd name="connsiteX3863" fmla="*/ 3956840 w 12139750"/>
              <a:gd name="connsiteY3863" fmla="*/ 695376 h 6858290"/>
              <a:gd name="connsiteX3864" fmla="*/ 3895789 w 12139750"/>
              <a:gd name="connsiteY3864" fmla="*/ 666879 h 6858290"/>
              <a:gd name="connsiteX3865" fmla="*/ 3924406 w 12139750"/>
              <a:gd name="connsiteY3865" fmla="*/ 606085 h 6858290"/>
              <a:gd name="connsiteX3866" fmla="*/ 4265875 w 12139750"/>
              <a:gd name="connsiteY3866" fmla="*/ 482599 h 6858290"/>
              <a:gd name="connsiteX3867" fmla="*/ 4284536 w 12139750"/>
              <a:gd name="connsiteY3867" fmla="*/ 479572 h 6858290"/>
              <a:gd name="connsiteX3868" fmla="*/ 2030557 w 12139750"/>
              <a:gd name="connsiteY3868" fmla="*/ 479554 h 6858290"/>
              <a:gd name="connsiteX3869" fmla="*/ 2074559 w 12139750"/>
              <a:gd name="connsiteY3869" fmla="*/ 511078 h 6858290"/>
              <a:gd name="connsiteX3870" fmla="*/ 2076467 w 12139750"/>
              <a:gd name="connsiteY3870" fmla="*/ 528177 h 6858290"/>
              <a:gd name="connsiteX3871" fmla="*/ 2045938 w 12139750"/>
              <a:gd name="connsiteY3871" fmla="*/ 571872 h 6858290"/>
              <a:gd name="connsiteX3872" fmla="*/ 1702543 w 12139750"/>
              <a:gd name="connsiteY3872" fmla="*/ 695358 h 6858290"/>
              <a:gd name="connsiteX3873" fmla="*/ 1641495 w 12139750"/>
              <a:gd name="connsiteY3873" fmla="*/ 666862 h 6858290"/>
              <a:gd name="connsiteX3874" fmla="*/ 1670112 w 12139750"/>
              <a:gd name="connsiteY3874" fmla="*/ 606068 h 6858290"/>
              <a:gd name="connsiteX3875" fmla="*/ 2011599 w 12139750"/>
              <a:gd name="connsiteY3875" fmla="*/ 482582 h 6858290"/>
              <a:gd name="connsiteX3876" fmla="*/ 2030557 w 12139750"/>
              <a:gd name="connsiteY3876" fmla="*/ 479554 h 6858290"/>
              <a:gd name="connsiteX3877" fmla="*/ 3723552 w 12139750"/>
              <a:gd name="connsiteY3877" fmla="*/ 470402 h 6858290"/>
              <a:gd name="connsiteX3878" fmla="*/ 3766538 w 12139750"/>
              <a:gd name="connsiteY3878" fmla="*/ 505544 h 6858290"/>
              <a:gd name="connsiteX3879" fmla="*/ 3770360 w 12139750"/>
              <a:gd name="connsiteY3879" fmla="*/ 520805 h 6858290"/>
              <a:gd name="connsiteX3880" fmla="*/ 3734060 w 12139750"/>
              <a:gd name="connsiteY3880" fmla="*/ 568497 h 6858290"/>
              <a:gd name="connsiteX3881" fmla="*/ 3392112 w 12139750"/>
              <a:gd name="connsiteY3881" fmla="*/ 681049 h 6858290"/>
              <a:gd name="connsiteX3882" fmla="*/ 3329066 w 12139750"/>
              <a:gd name="connsiteY3882" fmla="*/ 648619 h 6858290"/>
              <a:gd name="connsiteX3883" fmla="*/ 3359633 w 12139750"/>
              <a:gd name="connsiteY3883" fmla="*/ 585666 h 6858290"/>
              <a:gd name="connsiteX3884" fmla="*/ 3703492 w 12139750"/>
              <a:gd name="connsiteY3884" fmla="*/ 473114 h 6858290"/>
              <a:gd name="connsiteX3885" fmla="*/ 3723552 w 12139750"/>
              <a:gd name="connsiteY3885" fmla="*/ 470402 h 6858290"/>
              <a:gd name="connsiteX3886" fmla="*/ 2590051 w 12139750"/>
              <a:gd name="connsiteY3886" fmla="*/ 470381 h 6858290"/>
              <a:gd name="connsiteX3887" fmla="*/ 2633035 w 12139750"/>
              <a:gd name="connsiteY3887" fmla="*/ 505524 h 6858290"/>
              <a:gd name="connsiteX3888" fmla="*/ 2636856 w 12139750"/>
              <a:gd name="connsiteY3888" fmla="*/ 520785 h 6858290"/>
              <a:gd name="connsiteX3889" fmla="*/ 2600558 w 12139750"/>
              <a:gd name="connsiteY3889" fmla="*/ 568477 h 6858290"/>
              <a:gd name="connsiteX3890" fmla="*/ 2258596 w 12139750"/>
              <a:gd name="connsiteY3890" fmla="*/ 681030 h 6858290"/>
              <a:gd name="connsiteX3891" fmla="*/ 2195553 w 12139750"/>
              <a:gd name="connsiteY3891" fmla="*/ 648599 h 6858290"/>
              <a:gd name="connsiteX3892" fmla="*/ 2226119 w 12139750"/>
              <a:gd name="connsiteY3892" fmla="*/ 585646 h 6858290"/>
              <a:gd name="connsiteX3893" fmla="*/ 2569992 w 12139750"/>
              <a:gd name="connsiteY3893" fmla="*/ 473094 h 6858290"/>
              <a:gd name="connsiteX3894" fmla="*/ 2590051 w 12139750"/>
              <a:gd name="connsiteY3894" fmla="*/ 470381 h 6858290"/>
              <a:gd name="connsiteX3895" fmla="*/ 3153226 w 12139750"/>
              <a:gd name="connsiteY3895" fmla="*/ 461689 h 6858290"/>
              <a:gd name="connsiteX3896" fmla="*/ 3196954 w 12139750"/>
              <a:gd name="connsiteY3896" fmla="*/ 499516 h 6858290"/>
              <a:gd name="connsiteX3897" fmla="*/ 3198860 w 12139750"/>
              <a:gd name="connsiteY3897" fmla="*/ 512871 h 6858290"/>
              <a:gd name="connsiteX3898" fmla="*/ 3162616 w 12139750"/>
              <a:gd name="connsiteY3898" fmla="*/ 564381 h 6858290"/>
              <a:gd name="connsiteX3899" fmla="*/ 2819228 w 12139750"/>
              <a:gd name="connsiteY3899" fmla="*/ 665493 h 6858290"/>
              <a:gd name="connsiteX3900" fmla="*/ 2754367 w 12139750"/>
              <a:gd name="connsiteY3900" fmla="*/ 629246 h 6858290"/>
              <a:gd name="connsiteX3901" fmla="*/ 2788705 w 12139750"/>
              <a:gd name="connsiteY3901" fmla="*/ 564381 h 6858290"/>
              <a:gd name="connsiteX3902" fmla="*/ 3132091 w 12139750"/>
              <a:gd name="connsiteY3902" fmla="*/ 463269 h 6858290"/>
              <a:gd name="connsiteX3903" fmla="*/ 3153226 w 12139750"/>
              <a:gd name="connsiteY3903" fmla="*/ 461689 h 6858290"/>
              <a:gd name="connsiteX3904" fmla="*/ 9865382 w 12139750"/>
              <a:gd name="connsiteY3904" fmla="*/ 251073 h 6858290"/>
              <a:gd name="connsiteX3905" fmla="*/ 9884846 w 12139750"/>
              <a:gd name="connsiteY3905" fmla="*/ 265137 h 6858290"/>
              <a:gd name="connsiteX3906" fmla="*/ 9888644 w 12139750"/>
              <a:gd name="connsiteY3906" fmla="*/ 280394 h 6858290"/>
              <a:gd name="connsiteX3907" fmla="*/ 9875351 w 12139750"/>
              <a:gd name="connsiteY3907" fmla="*/ 305186 h 6858290"/>
              <a:gd name="connsiteX3908" fmla="*/ 9543036 w 12139750"/>
              <a:gd name="connsiteY3908" fmla="*/ 530219 h 6858290"/>
              <a:gd name="connsiteX3909" fmla="*/ 9501259 w 12139750"/>
              <a:gd name="connsiteY3909" fmla="*/ 520684 h 6858290"/>
              <a:gd name="connsiteX3910" fmla="*/ 9508855 w 12139750"/>
              <a:gd name="connsiteY3910" fmla="*/ 480636 h 6858290"/>
              <a:gd name="connsiteX3911" fmla="*/ 9843069 w 12139750"/>
              <a:gd name="connsiteY3911" fmla="*/ 255602 h 6858290"/>
              <a:gd name="connsiteX3912" fmla="*/ 9865382 w 12139750"/>
              <a:gd name="connsiteY3912" fmla="*/ 251073 h 6858290"/>
              <a:gd name="connsiteX3913" fmla="*/ 9288660 w 12139750"/>
              <a:gd name="connsiteY3913" fmla="*/ 242274 h 6858290"/>
              <a:gd name="connsiteX3914" fmla="*/ 9308232 w 12139750"/>
              <a:gd name="connsiteY3914" fmla="*/ 255594 h 6858290"/>
              <a:gd name="connsiteX3915" fmla="*/ 9313961 w 12139750"/>
              <a:gd name="connsiteY3915" fmla="*/ 272720 h 6858290"/>
              <a:gd name="connsiteX3916" fmla="*/ 9298685 w 12139750"/>
              <a:gd name="connsiteY3916" fmla="*/ 299361 h 6858290"/>
              <a:gd name="connsiteX3917" fmla="*/ 8962610 w 12139750"/>
              <a:gd name="connsiteY3917" fmla="*/ 514388 h 6858290"/>
              <a:gd name="connsiteX3918" fmla="*/ 8918691 w 12139750"/>
              <a:gd name="connsiteY3918" fmla="*/ 504873 h 6858290"/>
              <a:gd name="connsiteX3919" fmla="*/ 8928238 w 12139750"/>
              <a:gd name="connsiteY3919" fmla="*/ 461107 h 6858290"/>
              <a:gd name="connsiteX3920" fmla="*/ 9266223 w 12139750"/>
              <a:gd name="connsiteY3920" fmla="*/ 246080 h 6858290"/>
              <a:gd name="connsiteX3921" fmla="*/ 9288660 w 12139750"/>
              <a:gd name="connsiteY3921" fmla="*/ 242274 h 6858290"/>
              <a:gd name="connsiteX3922" fmla="*/ 10450170 w 12139750"/>
              <a:gd name="connsiteY3922" fmla="*/ 242248 h 6858290"/>
              <a:gd name="connsiteX3923" fmla="*/ 10470633 w 12139750"/>
              <a:gd name="connsiteY3923" fmla="*/ 255569 h 6858290"/>
              <a:gd name="connsiteX3924" fmla="*/ 10474440 w 12139750"/>
              <a:gd name="connsiteY3924" fmla="*/ 272695 h 6858290"/>
              <a:gd name="connsiteX3925" fmla="*/ 10461115 w 12139750"/>
              <a:gd name="connsiteY3925" fmla="*/ 299335 h 6858290"/>
              <a:gd name="connsiteX3926" fmla="*/ 10124192 w 12139750"/>
              <a:gd name="connsiteY3926" fmla="*/ 514363 h 6858290"/>
              <a:gd name="connsiteX3927" fmla="*/ 10082315 w 12139750"/>
              <a:gd name="connsiteY3927" fmla="*/ 504848 h 6858290"/>
              <a:gd name="connsiteX3928" fmla="*/ 10091832 w 12139750"/>
              <a:gd name="connsiteY3928" fmla="*/ 461082 h 6858290"/>
              <a:gd name="connsiteX3929" fmla="*/ 10426852 w 12139750"/>
              <a:gd name="connsiteY3929" fmla="*/ 246054 h 6858290"/>
              <a:gd name="connsiteX3930" fmla="*/ 10450170 w 12139750"/>
              <a:gd name="connsiteY3930" fmla="*/ 242248 h 6858290"/>
              <a:gd name="connsiteX3931" fmla="*/ 8718303 w 12139750"/>
              <a:gd name="connsiteY3931" fmla="*/ 233007 h 6858290"/>
              <a:gd name="connsiteX3932" fmla="*/ 8738321 w 12139750"/>
              <a:gd name="connsiteY3932" fmla="*/ 248042 h 6858290"/>
              <a:gd name="connsiteX3933" fmla="*/ 8744041 w 12139750"/>
              <a:gd name="connsiteY3933" fmla="*/ 265226 h 6858290"/>
              <a:gd name="connsiteX3934" fmla="*/ 8728789 w 12139750"/>
              <a:gd name="connsiteY3934" fmla="*/ 293865 h 6858290"/>
              <a:gd name="connsiteX3935" fmla="*/ 8391337 w 12139750"/>
              <a:gd name="connsiteY3935" fmla="*/ 500068 h 6858290"/>
              <a:gd name="connsiteX3936" fmla="*/ 8345581 w 12139750"/>
              <a:gd name="connsiteY3936" fmla="*/ 488612 h 6858290"/>
              <a:gd name="connsiteX3937" fmla="*/ 8357020 w 12139750"/>
              <a:gd name="connsiteY3937" fmla="*/ 442790 h 6858290"/>
              <a:gd name="connsiteX3938" fmla="*/ 8692565 w 12139750"/>
              <a:gd name="connsiteY3938" fmla="*/ 236587 h 6858290"/>
              <a:gd name="connsiteX3939" fmla="*/ 8718303 w 12139750"/>
              <a:gd name="connsiteY3939" fmla="*/ 233007 h 6858290"/>
              <a:gd name="connsiteX3940" fmla="*/ 11027432 w 12139750"/>
              <a:gd name="connsiteY3940" fmla="*/ 232979 h 6858290"/>
              <a:gd name="connsiteX3941" fmla="*/ 11048165 w 12139750"/>
              <a:gd name="connsiteY3941" fmla="*/ 248015 h 6858290"/>
              <a:gd name="connsiteX3942" fmla="*/ 11053885 w 12139750"/>
              <a:gd name="connsiteY3942" fmla="*/ 265198 h 6858290"/>
              <a:gd name="connsiteX3943" fmla="*/ 11036726 w 12139750"/>
              <a:gd name="connsiteY3943" fmla="*/ 293838 h 6858290"/>
              <a:gd name="connsiteX3944" fmla="*/ 10701181 w 12139750"/>
              <a:gd name="connsiteY3944" fmla="*/ 500041 h 6858290"/>
              <a:gd name="connsiteX3945" fmla="*/ 10655425 w 12139750"/>
              <a:gd name="connsiteY3945" fmla="*/ 488585 h 6858290"/>
              <a:gd name="connsiteX3946" fmla="*/ 10666864 w 12139750"/>
              <a:gd name="connsiteY3946" fmla="*/ 442762 h 6858290"/>
              <a:gd name="connsiteX3947" fmla="*/ 11002409 w 12139750"/>
              <a:gd name="connsiteY3947" fmla="*/ 236559 h 6858290"/>
              <a:gd name="connsiteX3948" fmla="*/ 11027432 w 12139750"/>
              <a:gd name="connsiteY3948" fmla="*/ 232979 h 6858290"/>
              <a:gd name="connsiteX3949" fmla="*/ 8154912 w 12139750"/>
              <a:gd name="connsiteY3949" fmla="*/ 223468 h 6858290"/>
              <a:gd name="connsiteX3950" fmla="*/ 8176649 w 12139750"/>
              <a:gd name="connsiteY3950" fmla="*/ 238470 h 6858290"/>
              <a:gd name="connsiteX3951" fmla="*/ 8180471 w 12139750"/>
              <a:gd name="connsiteY3951" fmla="*/ 257520 h 6858290"/>
              <a:gd name="connsiteX3952" fmla="*/ 8163273 w 12139750"/>
              <a:gd name="connsiteY3952" fmla="*/ 288000 h 6858290"/>
              <a:gd name="connsiteX3953" fmla="*/ 7825042 w 12139750"/>
              <a:gd name="connsiteY3953" fmla="*/ 484214 h 6858290"/>
              <a:gd name="connsiteX3954" fmla="*/ 7777269 w 12139750"/>
              <a:gd name="connsiteY3954" fmla="*/ 470879 h 6858290"/>
              <a:gd name="connsiteX3955" fmla="*/ 7790646 w 12139750"/>
              <a:gd name="connsiteY3955" fmla="*/ 423255 h 6858290"/>
              <a:gd name="connsiteX3956" fmla="*/ 8128876 w 12139750"/>
              <a:gd name="connsiteY3956" fmla="*/ 227040 h 6858290"/>
              <a:gd name="connsiteX3957" fmla="*/ 8154912 w 12139750"/>
              <a:gd name="connsiteY3957" fmla="*/ 223468 h 6858290"/>
              <a:gd name="connsiteX3958" fmla="*/ 11598743 w 12139750"/>
              <a:gd name="connsiteY3958" fmla="*/ 223460 h 6858290"/>
              <a:gd name="connsiteX3959" fmla="*/ 11619682 w 12139750"/>
              <a:gd name="connsiteY3959" fmla="*/ 238461 h 6858290"/>
              <a:gd name="connsiteX3960" fmla="*/ 11625393 w 12139750"/>
              <a:gd name="connsiteY3960" fmla="*/ 257511 h 6858290"/>
              <a:gd name="connsiteX3961" fmla="*/ 11608261 w 12139750"/>
              <a:gd name="connsiteY3961" fmla="*/ 287991 h 6858290"/>
              <a:gd name="connsiteX3962" fmla="*/ 11271332 w 12139750"/>
              <a:gd name="connsiteY3962" fmla="*/ 484206 h 6858290"/>
              <a:gd name="connsiteX3963" fmla="*/ 11223743 w 12139750"/>
              <a:gd name="connsiteY3963" fmla="*/ 470871 h 6858290"/>
              <a:gd name="connsiteX3964" fmla="*/ 11237068 w 12139750"/>
              <a:gd name="connsiteY3964" fmla="*/ 423246 h 6858290"/>
              <a:gd name="connsiteX3965" fmla="*/ 11572093 w 12139750"/>
              <a:gd name="connsiteY3965" fmla="*/ 227031 h 6858290"/>
              <a:gd name="connsiteX3966" fmla="*/ 11598743 w 12139750"/>
              <a:gd name="connsiteY3966" fmla="*/ 223460 h 6858290"/>
              <a:gd name="connsiteX3967" fmla="*/ 12139750 w 12139750"/>
              <a:gd name="connsiteY3967" fmla="*/ 215916 h 6858290"/>
              <a:gd name="connsiteX3968" fmla="*/ 12139750 w 12139750"/>
              <a:gd name="connsiteY3968" fmla="*/ 297535 h 6858290"/>
              <a:gd name="connsiteX3969" fmla="*/ 11835475 w 12139750"/>
              <a:gd name="connsiteY3969" fmla="*/ 466465 h 6858290"/>
              <a:gd name="connsiteX3970" fmla="*/ 11784129 w 12139750"/>
              <a:gd name="connsiteY3970" fmla="*/ 453179 h 6858290"/>
              <a:gd name="connsiteX3971" fmla="*/ 11799342 w 12139750"/>
              <a:gd name="connsiteY3971" fmla="*/ 403828 h 6858290"/>
              <a:gd name="connsiteX3972" fmla="*/ 12135947 w 12139750"/>
              <a:gd name="connsiteY3972" fmla="*/ 217814 h 6858290"/>
              <a:gd name="connsiteX3973" fmla="*/ 12139750 w 12139750"/>
              <a:gd name="connsiteY3973" fmla="*/ 215916 h 6858290"/>
              <a:gd name="connsiteX3974" fmla="*/ 7596540 w 12139750"/>
              <a:gd name="connsiteY3974" fmla="*/ 214167 h 6858290"/>
              <a:gd name="connsiteX3975" fmla="*/ 7619435 w 12139750"/>
              <a:gd name="connsiteY3975" fmla="*/ 230796 h 6858290"/>
              <a:gd name="connsiteX3976" fmla="*/ 7623251 w 12139750"/>
              <a:gd name="connsiteY3976" fmla="*/ 247901 h 6858290"/>
              <a:gd name="connsiteX3977" fmla="*/ 7604171 w 12139750"/>
              <a:gd name="connsiteY3977" fmla="*/ 280210 h 6858290"/>
              <a:gd name="connsiteX3978" fmla="*/ 7266466 w 12139750"/>
              <a:gd name="connsiteY3978" fmla="*/ 466461 h 6858290"/>
              <a:gd name="connsiteX3979" fmla="*/ 7216859 w 12139750"/>
              <a:gd name="connsiteY3979" fmla="*/ 453158 h 6858290"/>
              <a:gd name="connsiteX3980" fmla="*/ 7230215 w 12139750"/>
              <a:gd name="connsiteY3980" fmla="*/ 403744 h 6858290"/>
              <a:gd name="connsiteX3981" fmla="*/ 7567920 w 12139750"/>
              <a:gd name="connsiteY3981" fmla="*/ 217493 h 6858290"/>
              <a:gd name="connsiteX3982" fmla="*/ 7596540 w 12139750"/>
              <a:gd name="connsiteY3982" fmla="*/ 214167 h 6858290"/>
              <a:gd name="connsiteX3983" fmla="*/ 7044758 w 12139750"/>
              <a:gd name="connsiteY3983" fmla="*/ 204259 h 6858290"/>
              <a:gd name="connsiteX3984" fmla="*/ 7068571 w 12139750"/>
              <a:gd name="connsiteY3984" fmla="*/ 223547 h 6858290"/>
              <a:gd name="connsiteX3985" fmla="*/ 7072381 w 12139750"/>
              <a:gd name="connsiteY3985" fmla="*/ 240692 h 6858290"/>
              <a:gd name="connsiteX3986" fmla="*/ 7051425 w 12139750"/>
              <a:gd name="connsiteY3986" fmla="*/ 274982 h 6858290"/>
              <a:gd name="connsiteX3987" fmla="*/ 6714236 w 12139750"/>
              <a:gd name="connsiteY3987" fmla="*/ 452146 h 6858290"/>
              <a:gd name="connsiteX3988" fmla="*/ 6662800 w 12139750"/>
              <a:gd name="connsiteY3988" fmla="*/ 436906 h 6858290"/>
              <a:gd name="connsiteX3989" fmla="*/ 6678040 w 12139750"/>
              <a:gd name="connsiteY3989" fmla="*/ 385472 h 6858290"/>
              <a:gd name="connsiteX3990" fmla="*/ 7015230 w 12139750"/>
              <a:gd name="connsiteY3990" fmla="*/ 206402 h 6858290"/>
              <a:gd name="connsiteX3991" fmla="*/ 7044758 w 12139750"/>
              <a:gd name="connsiteY3991" fmla="*/ 204259 h 6858290"/>
              <a:gd name="connsiteX3992" fmla="*/ 6500891 w 12139750"/>
              <a:gd name="connsiteY3992" fmla="*/ 194963 h 6858290"/>
              <a:gd name="connsiteX3993" fmla="*/ 6524041 w 12139750"/>
              <a:gd name="connsiteY3993" fmla="*/ 215892 h 6858290"/>
              <a:gd name="connsiteX3994" fmla="*/ 6527860 w 12139750"/>
              <a:gd name="connsiteY3994" fmla="*/ 233016 h 6858290"/>
              <a:gd name="connsiteX3995" fmla="*/ 6506857 w 12139750"/>
              <a:gd name="connsiteY3995" fmla="*/ 269166 h 6858290"/>
              <a:gd name="connsiteX3996" fmla="*/ 6166999 w 12139750"/>
              <a:gd name="connsiteY3996" fmla="*/ 436601 h 6858290"/>
              <a:gd name="connsiteX3997" fmla="*/ 6113538 w 12139750"/>
              <a:gd name="connsiteY3997" fmla="*/ 419477 h 6858290"/>
              <a:gd name="connsiteX3998" fmla="*/ 6130722 w 12139750"/>
              <a:gd name="connsiteY3998" fmla="*/ 366202 h 6858290"/>
              <a:gd name="connsiteX3999" fmla="*/ 6470580 w 12139750"/>
              <a:gd name="connsiteY3999" fmla="*/ 196865 h 6858290"/>
              <a:gd name="connsiteX4000" fmla="*/ 6500891 w 12139750"/>
              <a:gd name="connsiteY4000" fmla="*/ 194963 h 6858290"/>
              <a:gd name="connsiteX4001" fmla="*/ 5957785 w 12139750"/>
              <a:gd name="connsiteY4001" fmla="*/ 186367 h 6858290"/>
              <a:gd name="connsiteX4002" fmla="*/ 5981121 w 12139750"/>
              <a:gd name="connsiteY4002" fmla="*/ 208192 h 6858290"/>
              <a:gd name="connsiteX4003" fmla="*/ 5984930 w 12139750"/>
              <a:gd name="connsiteY4003" fmla="*/ 225273 h 6858290"/>
              <a:gd name="connsiteX4004" fmla="*/ 5962070 w 12139750"/>
              <a:gd name="connsiteY4004" fmla="*/ 263230 h 6858290"/>
              <a:gd name="connsiteX4005" fmla="*/ 5622984 w 12139750"/>
              <a:gd name="connsiteY4005" fmla="*/ 420750 h 6858290"/>
              <a:gd name="connsiteX4006" fmla="*/ 5567739 w 12139750"/>
              <a:gd name="connsiteY4006" fmla="*/ 401772 h 6858290"/>
              <a:gd name="connsiteX4007" fmla="*/ 5586789 w 12139750"/>
              <a:gd name="connsiteY4007" fmla="*/ 346734 h 6858290"/>
              <a:gd name="connsiteX4008" fmla="*/ 5925876 w 12139750"/>
              <a:gd name="connsiteY4008" fmla="*/ 187316 h 6858290"/>
              <a:gd name="connsiteX4009" fmla="*/ 5957785 w 12139750"/>
              <a:gd name="connsiteY4009" fmla="*/ 186367 h 6858290"/>
              <a:gd name="connsiteX4010" fmla="*/ 398308 w 12139750"/>
              <a:gd name="connsiteY4010" fmla="*/ 186354 h 6858290"/>
              <a:gd name="connsiteX4011" fmla="*/ 421644 w 12139750"/>
              <a:gd name="connsiteY4011" fmla="*/ 208179 h 6858290"/>
              <a:gd name="connsiteX4012" fmla="*/ 425454 w 12139750"/>
              <a:gd name="connsiteY4012" fmla="*/ 225260 h 6858290"/>
              <a:gd name="connsiteX4013" fmla="*/ 400689 w 12139750"/>
              <a:gd name="connsiteY4013" fmla="*/ 263217 h 6858290"/>
              <a:gd name="connsiteX4014" fmla="*/ 61595 w 12139750"/>
              <a:gd name="connsiteY4014" fmla="*/ 420738 h 6858290"/>
              <a:gd name="connsiteX4015" fmla="*/ 6349 w 12139750"/>
              <a:gd name="connsiteY4015" fmla="*/ 401759 h 6858290"/>
              <a:gd name="connsiteX4016" fmla="*/ 27305 w 12139750"/>
              <a:gd name="connsiteY4016" fmla="*/ 346722 h 6858290"/>
              <a:gd name="connsiteX4017" fmla="*/ 366399 w 12139750"/>
              <a:gd name="connsiteY4017" fmla="*/ 187303 h 6858290"/>
              <a:gd name="connsiteX4018" fmla="*/ 398308 w 12139750"/>
              <a:gd name="connsiteY4018" fmla="*/ 186354 h 6858290"/>
              <a:gd name="connsiteX4019" fmla="*/ 5409190 w 12139750"/>
              <a:gd name="connsiteY4019" fmla="*/ 176874 h 6858290"/>
              <a:gd name="connsiteX4020" fmla="*/ 5433443 w 12139750"/>
              <a:gd name="connsiteY4020" fmla="*/ 198782 h 6858290"/>
              <a:gd name="connsiteX4021" fmla="*/ 5437247 w 12139750"/>
              <a:gd name="connsiteY4021" fmla="*/ 217832 h 6858290"/>
              <a:gd name="connsiteX4022" fmla="*/ 5410617 w 12139750"/>
              <a:gd name="connsiteY4022" fmla="*/ 255932 h 6858290"/>
              <a:gd name="connsiteX4023" fmla="*/ 5072018 w 12139750"/>
              <a:gd name="connsiteY4023" fmla="*/ 406426 h 6858290"/>
              <a:gd name="connsiteX4024" fmla="*/ 5014959 w 12139750"/>
              <a:gd name="connsiteY4024" fmla="*/ 385471 h 6858290"/>
              <a:gd name="connsiteX4025" fmla="*/ 5035880 w 12139750"/>
              <a:gd name="connsiteY4025" fmla="*/ 328321 h 6858290"/>
              <a:gd name="connsiteX4026" fmla="*/ 5376377 w 12139750"/>
              <a:gd name="connsiteY4026" fmla="*/ 177827 h 6858290"/>
              <a:gd name="connsiteX4027" fmla="*/ 5409190 w 12139750"/>
              <a:gd name="connsiteY4027" fmla="*/ 176874 h 6858290"/>
              <a:gd name="connsiteX4028" fmla="*/ 942624 w 12139750"/>
              <a:gd name="connsiteY4028" fmla="*/ 176859 h 6858290"/>
              <a:gd name="connsiteX4029" fmla="*/ 966164 w 12139750"/>
              <a:gd name="connsiteY4029" fmla="*/ 198766 h 6858290"/>
              <a:gd name="connsiteX4030" fmla="*/ 969968 w 12139750"/>
              <a:gd name="connsiteY4030" fmla="*/ 217816 h 6858290"/>
              <a:gd name="connsiteX4031" fmla="*/ 945239 w 12139750"/>
              <a:gd name="connsiteY4031" fmla="*/ 255916 h 6858290"/>
              <a:gd name="connsiteX4032" fmla="*/ 604741 w 12139750"/>
              <a:gd name="connsiteY4032" fmla="*/ 406411 h 6858290"/>
              <a:gd name="connsiteX4033" fmla="*/ 547674 w 12139750"/>
              <a:gd name="connsiteY4033" fmla="*/ 385456 h 6858290"/>
              <a:gd name="connsiteX4034" fmla="*/ 570501 w 12139750"/>
              <a:gd name="connsiteY4034" fmla="*/ 328306 h 6858290"/>
              <a:gd name="connsiteX4035" fmla="*/ 909097 w 12139750"/>
              <a:gd name="connsiteY4035" fmla="*/ 177812 h 6858290"/>
              <a:gd name="connsiteX4036" fmla="*/ 942624 w 12139750"/>
              <a:gd name="connsiteY4036" fmla="*/ 176859 h 6858290"/>
              <a:gd name="connsiteX4037" fmla="*/ 4856424 w 12139750"/>
              <a:gd name="connsiteY4037" fmla="*/ 167564 h 6858290"/>
              <a:gd name="connsiteX4038" fmla="*/ 4880972 w 12139750"/>
              <a:gd name="connsiteY4038" fmla="*/ 191077 h 6858290"/>
              <a:gd name="connsiteX4039" fmla="*/ 4884784 w 12139750"/>
              <a:gd name="connsiteY4039" fmla="*/ 208176 h 6858290"/>
              <a:gd name="connsiteX4040" fmla="*/ 4856185 w 12139750"/>
              <a:gd name="connsiteY4040" fmla="*/ 249976 h 6858290"/>
              <a:gd name="connsiteX4041" fmla="*/ 4516850 w 12139750"/>
              <a:gd name="connsiteY4041" fmla="*/ 390576 h 6858290"/>
              <a:gd name="connsiteX4042" fmla="*/ 4457750 w 12139750"/>
              <a:gd name="connsiteY4042" fmla="*/ 367776 h 6858290"/>
              <a:gd name="connsiteX4043" fmla="*/ 4482534 w 12139750"/>
              <a:gd name="connsiteY4043" fmla="*/ 308876 h 6858290"/>
              <a:gd name="connsiteX4044" fmla="*/ 4821864 w 12139750"/>
              <a:gd name="connsiteY4044" fmla="*/ 168277 h 6858290"/>
              <a:gd name="connsiteX4045" fmla="*/ 4856424 w 12139750"/>
              <a:gd name="connsiteY4045" fmla="*/ 167564 h 6858290"/>
              <a:gd name="connsiteX4046" fmla="*/ 1492476 w 12139750"/>
              <a:gd name="connsiteY4046" fmla="*/ 167547 h 6858290"/>
              <a:gd name="connsiteX4047" fmla="*/ 1517021 w 12139750"/>
              <a:gd name="connsiteY4047" fmla="*/ 191059 h 6858290"/>
              <a:gd name="connsiteX4048" fmla="*/ 1520833 w 12139750"/>
              <a:gd name="connsiteY4048" fmla="*/ 208159 h 6858290"/>
              <a:gd name="connsiteX4049" fmla="*/ 1492238 w 12139750"/>
              <a:gd name="connsiteY4049" fmla="*/ 249959 h 6858290"/>
              <a:gd name="connsiteX4050" fmla="*/ 1150990 w 12139750"/>
              <a:gd name="connsiteY4050" fmla="*/ 390559 h 6858290"/>
              <a:gd name="connsiteX4051" fmla="*/ 1093798 w 12139750"/>
              <a:gd name="connsiteY4051" fmla="*/ 367759 h 6858290"/>
              <a:gd name="connsiteX4052" fmla="*/ 1116675 w 12139750"/>
              <a:gd name="connsiteY4052" fmla="*/ 308859 h 6858290"/>
              <a:gd name="connsiteX4053" fmla="*/ 1457922 w 12139750"/>
              <a:gd name="connsiteY4053" fmla="*/ 168259 h 6858290"/>
              <a:gd name="connsiteX4054" fmla="*/ 1492476 w 12139750"/>
              <a:gd name="connsiteY4054" fmla="*/ 167547 h 6858290"/>
              <a:gd name="connsiteX4055" fmla="*/ 4266102 w 12139750"/>
              <a:gd name="connsiteY4055" fmla="*/ 156882 h 6858290"/>
              <a:gd name="connsiteX4056" fmla="*/ 4325330 w 12139750"/>
              <a:gd name="connsiteY4056" fmla="*/ 183588 h 6858290"/>
              <a:gd name="connsiteX4057" fmla="*/ 4329151 w 12139750"/>
              <a:gd name="connsiteY4057" fmla="*/ 200756 h 6858290"/>
              <a:gd name="connsiteX4058" fmla="*/ 4298582 w 12139750"/>
              <a:gd name="connsiteY4058" fmla="*/ 244630 h 6858290"/>
              <a:gd name="connsiteX4059" fmla="*/ 3956617 w 12139750"/>
              <a:gd name="connsiteY4059" fmla="*/ 376251 h 6858290"/>
              <a:gd name="connsiteX4060" fmla="*/ 3897391 w 12139750"/>
              <a:gd name="connsiteY4060" fmla="*/ 349546 h 6858290"/>
              <a:gd name="connsiteX4061" fmla="*/ 3924139 w 12139750"/>
              <a:gd name="connsiteY4061" fmla="*/ 290411 h 6858290"/>
              <a:gd name="connsiteX4062" fmla="*/ 4266102 w 12139750"/>
              <a:gd name="connsiteY4062" fmla="*/ 156882 h 6858290"/>
              <a:gd name="connsiteX4063" fmla="*/ 2010467 w 12139750"/>
              <a:gd name="connsiteY4063" fmla="*/ 156862 h 6858290"/>
              <a:gd name="connsiteX4064" fmla="*/ 2071388 w 12139750"/>
              <a:gd name="connsiteY4064" fmla="*/ 183568 h 6858290"/>
              <a:gd name="connsiteX4065" fmla="*/ 2073292 w 12139750"/>
              <a:gd name="connsiteY4065" fmla="*/ 200736 h 6858290"/>
              <a:gd name="connsiteX4066" fmla="*/ 2044733 w 12139750"/>
              <a:gd name="connsiteY4066" fmla="*/ 244610 h 6858290"/>
              <a:gd name="connsiteX4067" fmla="*/ 1703979 w 12139750"/>
              <a:gd name="connsiteY4067" fmla="*/ 376232 h 6858290"/>
              <a:gd name="connsiteX4068" fmla="*/ 1643062 w 12139750"/>
              <a:gd name="connsiteY4068" fmla="*/ 349526 h 6858290"/>
              <a:gd name="connsiteX4069" fmla="*/ 1669713 w 12139750"/>
              <a:gd name="connsiteY4069" fmla="*/ 290392 h 6858290"/>
              <a:gd name="connsiteX4070" fmla="*/ 2010467 w 12139750"/>
              <a:gd name="connsiteY4070" fmla="*/ 156862 h 6858290"/>
              <a:gd name="connsiteX4071" fmla="*/ 3720656 w 12139750"/>
              <a:gd name="connsiteY4071" fmla="*/ 144611 h 6858290"/>
              <a:gd name="connsiteX4072" fmla="*/ 3763698 w 12139750"/>
              <a:gd name="connsiteY4072" fmla="*/ 176135 h 6858290"/>
              <a:gd name="connsiteX4073" fmla="*/ 3765599 w 12139750"/>
              <a:gd name="connsiteY4073" fmla="*/ 193233 h 6858290"/>
              <a:gd name="connsiteX4074" fmla="*/ 3735180 w 12139750"/>
              <a:gd name="connsiteY4074" fmla="*/ 238828 h 6858290"/>
              <a:gd name="connsiteX4075" fmla="*/ 3393028 w 12139750"/>
              <a:gd name="connsiteY4075" fmla="*/ 360415 h 6858290"/>
              <a:gd name="connsiteX4076" fmla="*/ 3332195 w 12139750"/>
              <a:gd name="connsiteY4076" fmla="*/ 331918 h 6858290"/>
              <a:gd name="connsiteX4077" fmla="*/ 3360708 w 12139750"/>
              <a:gd name="connsiteY4077" fmla="*/ 271125 h 6858290"/>
              <a:gd name="connsiteX4078" fmla="*/ 3700964 w 12139750"/>
              <a:gd name="connsiteY4078" fmla="*/ 147639 h 6858290"/>
              <a:gd name="connsiteX4079" fmla="*/ 3720656 w 12139750"/>
              <a:gd name="connsiteY4079" fmla="*/ 144611 h 6858290"/>
              <a:gd name="connsiteX4080" fmla="*/ 2586993 w 12139750"/>
              <a:gd name="connsiteY4080" fmla="*/ 144589 h 6858290"/>
              <a:gd name="connsiteX4081" fmla="*/ 2630185 w 12139750"/>
              <a:gd name="connsiteY4081" fmla="*/ 176114 h 6858290"/>
              <a:gd name="connsiteX4082" fmla="*/ 2632093 w 12139750"/>
              <a:gd name="connsiteY4082" fmla="*/ 193212 h 6858290"/>
              <a:gd name="connsiteX4083" fmla="*/ 2601569 w 12139750"/>
              <a:gd name="connsiteY4083" fmla="*/ 238807 h 6858290"/>
              <a:gd name="connsiteX4084" fmla="*/ 2258175 w 12139750"/>
              <a:gd name="connsiteY4084" fmla="*/ 360394 h 6858290"/>
              <a:gd name="connsiteX4085" fmla="*/ 2197127 w 12139750"/>
              <a:gd name="connsiteY4085" fmla="*/ 331897 h 6858290"/>
              <a:gd name="connsiteX4086" fmla="*/ 2225743 w 12139750"/>
              <a:gd name="connsiteY4086" fmla="*/ 271103 h 6858290"/>
              <a:gd name="connsiteX4087" fmla="*/ 2567230 w 12139750"/>
              <a:gd name="connsiteY4087" fmla="*/ 147617 h 6858290"/>
              <a:gd name="connsiteX4088" fmla="*/ 2586993 w 12139750"/>
              <a:gd name="connsiteY4088" fmla="*/ 144589 h 6858290"/>
              <a:gd name="connsiteX4089" fmla="*/ 3149047 w 12139750"/>
              <a:gd name="connsiteY4089" fmla="*/ 135364 h 6858290"/>
              <a:gd name="connsiteX4090" fmla="*/ 3191878 w 12139750"/>
              <a:gd name="connsiteY4090" fmla="*/ 168396 h 6858290"/>
              <a:gd name="connsiteX4091" fmla="*/ 3195685 w 12139750"/>
              <a:gd name="connsiteY4091" fmla="*/ 185444 h 6858290"/>
              <a:gd name="connsiteX4092" fmla="*/ 3161420 w 12139750"/>
              <a:gd name="connsiteY4092" fmla="*/ 232802 h 6858290"/>
              <a:gd name="connsiteX4093" fmla="*/ 2818756 w 12139750"/>
              <a:gd name="connsiteY4093" fmla="*/ 344567 h 6858290"/>
              <a:gd name="connsiteX4094" fmla="*/ 2755934 w 12139750"/>
              <a:gd name="connsiteY4094" fmla="*/ 314258 h 6858290"/>
              <a:gd name="connsiteX4095" fmla="*/ 2788299 w 12139750"/>
              <a:gd name="connsiteY4095" fmla="*/ 249851 h 6858290"/>
              <a:gd name="connsiteX4096" fmla="*/ 3129056 w 12139750"/>
              <a:gd name="connsiteY4096" fmla="*/ 138087 h 6858290"/>
              <a:gd name="connsiteX4097" fmla="*/ 3149047 w 12139750"/>
              <a:gd name="connsiteY4097" fmla="*/ 135364 h 6858290"/>
              <a:gd name="connsiteX4098" fmla="*/ 9144187 w 12139750"/>
              <a:gd name="connsiteY4098" fmla="*/ 30 h 6858290"/>
              <a:gd name="connsiteX4099" fmla="*/ 9275861 w 12139750"/>
              <a:gd name="connsiteY4099" fmla="*/ 30 h 6858290"/>
              <a:gd name="connsiteX4100" fmla="*/ 8962897 w 12139750"/>
              <a:gd name="connsiteY4100" fmla="*/ 187323 h 6858290"/>
              <a:gd name="connsiteX4101" fmla="*/ 8917098 w 12139750"/>
              <a:gd name="connsiteY4101" fmla="*/ 175856 h 6858290"/>
              <a:gd name="connsiteX4102" fmla="*/ 8928547 w 12139750"/>
              <a:gd name="connsiteY4102" fmla="*/ 129989 h 6858290"/>
              <a:gd name="connsiteX4103" fmla="*/ 9144187 w 12139750"/>
              <a:gd name="connsiteY4103" fmla="*/ 30 h 6858290"/>
              <a:gd name="connsiteX4104" fmla="*/ 8549535 w 12139750"/>
              <a:gd name="connsiteY4104" fmla="*/ 29 h 6858290"/>
              <a:gd name="connsiteX4105" fmla="*/ 8688477 w 12139750"/>
              <a:gd name="connsiteY4105" fmla="*/ 29 h 6858290"/>
              <a:gd name="connsiteX4106" fmla="*/ 8391560 w 12139750"/>
              <a:gd name="connsiteY4106" fmla="*/ 173083 h 6858290"/>
              <a:gd name="connsiteX4107" fmla="*/ 8343977 w 12139750"/>
              <a:gd name="connsiteY4107" fmla="*/ 159771 h 6858290"/>
              <a:gd name="connsiteX4108" fmla="*/ 8357300 w 12139750"/>
              <a:gd name="connsiteY4108" fmla="*/ 112230 h 6858290"/>
              <a:gd name="connsiteX4109" fmla="*/ 8549535 w 12139750"/>
              <a:gd name="connsiteY4109" fmla="*/ 29 h 6858290"/>
              <a:gd name="connsiteX4110" fmla="*/ 7958714 w 12139750"/>
              <a:gd name="connsiteY4110" fmla="*/ 29 h 6858290"/>
              <a:gd name="connsiteX4111" fmla="*/ 8107445 w 12139750"/>
              <a:gd name="connsiteY4111" fmla="*/ 29 h 6858290"/>
              <a:gd name="connsiteX4112" fmla="*/ 7825239 w 12139750"/>
              <a:gd name="connsiteY4112" fmla="*/ 158743 h 6858290"/>
              <a:gd name="connsiteX4113" fmla="*/ 7775662 w 12139750"/>
              <a:gd name="connsiteY4113" fmla="*/ 145357 h 6858290"/>
              <a:gd name="connsiteX4114" fmla="*/ 7790916 w 12139750"/>
              <a:gd name="connsiteY4114" fmla="*/ 95640 h 6858290"/>
              <a:gd name="connsiteX4115" fmla="*/ 7958714 w 12139750"/>
              <a:gd name="connsiteY4115" fmla="*/ 29 h 6858290"/>
              <a:gd name="connsiteX4116" fmla="*/ 7373861 w 12139750"/>
              <a:gd name="connsiteY4116" fmla="*/ 29 h 6858290"/>
              <a:gd name="connsiteX4117" fmla="*/ 7534349 w 12139750"/>
              <a:gd name="connsiteY4117" fmla="*/ 29 h 6858290"/>
              <a:gd name="connsiteX4118" fmla="*/ 7266870 w 12139750"/>
              <a:gd name="connsiteY4118" fmla="*/ 142904 h 6858290"/>
              <a:gd name="connsiteX4119" fmla="*/ 7215285 w 12139750"/>
              <a:gd name="connsiteY4119" fmla="*/ 127664 h 6858290"/>
              <a:gd name="connsiteX4120" fmla="*/ 7230569 w 12139750"/>
              <a:gd name="connsiteY4120" fmla="*/ 76229 h 6858290"/>
              <a:gd name="connsiteX4121" fmla="*/ 7373861 w 12139750"/>
              <a:gd name="connsiteY4121" fmla="*/ 29 h 6858290"/>
              <a:gd name="connsiteX4122" fmla="*/ 6792947 w 12139750"/>
              <a:gd name="connsiteY4122" fmla="*/ 29 h 6858290"/>
              <a:gd name="connsiteX4123" fmla="*/ 6962841 w 12139750"/>
              <a:gd name="connsiteY4123" fmla="*/ 29 h 6858290"/>
              <a:gd name="connsiteX4124" fmla="*/ 6714681 w 12139750"/>
              <a:gd name="connsiteY4124" fmla="*/ 130160 h 6858290"/>
              <a:gd name="connsiteX4125" fmla="*/ 6661231 w 12139750"/>
              <a:gd name="connsiteY4125" fmla="*/ 112937 h 6858290"/>
              <a:gd name="connsiteX4126" fmla="*/ 6678412 w 12139750"/>
              <a:gd name="connsiteY4126" fmla="*/ 59354 h 6858290"/>
              <a:gd name="connsiteX4127" fmla="*/ 6792947 w 12139750"/>
              <a:gd name="connsiteY4127" fmla="*/ 29 h 6858290"/>
              <a:gd name="connsiteX4128" fmla="*/ 6214724 w 12139750"/>
              <a:gd name="connsiteY4128" fmla="*/ 29 h 6858290"/>
              <a:gd name="connsiteX4129" fmla="*/ 6396096 w 12139750"/>
              <a:gd name="connsiteY4129" fmla="*/ 29 h 6858290"/>
              <a:gd name="connsiteX4130" fmla="*/ 6166995 w 12139750"/>
              <a:gd name="connsiteY4130" fmla="*/ 114329 h 6858290"/>
              <a:gd name="connsiteX4131" fmla="*/ 6113538 w 12139750"/>
              <a:gd name="connsiteY4131" fmla="*/ 95279 h 6858290"/>
              <a:gd name="connsiteX4132" fmla="*/ 6130720 w 12139750"/>
              <a:gd name="connsiteY4132" fmla="*/ 41939 h 6858290"/>
              <a:gd name="connsiteX4133" fmla="*/ 6214724 w 12139750"/>
              <a:gd name="connsiteY4133" fmla="*/ 29 h 6858290"/>
              <a:gd name="connsiteX4134" fmla="*/ 5637626 w 12139750"/>
              <a:gd name="connsiteY4134" fmla="*/ 29 h 6858290"/>
              <a:gd name="connsiteX4135" fmla="*/ 5829356 w 12139750"/>
              <a:gd name="connsiteY4135" fmla="*/ 29 h 6858290"/>
              <a:gd name="connsiteX4136" fmla="*/ 5622440 w 12139750"/>
              <a:gd name="connsiteY4136" fmla="*/ 99958 h 6858290"/>
              <a:gd name="connsiteX4137" fmla="*/ 5567388 w 12139750"/>
              <a:gd name="connsiteY4137" fmla="*/ 80741 h 6858290"/>
              <a:gd name="connsiteX4138" fmla="*/ 5586371 w 12139750"/>
              <a:gd name="connsiteY4138" fmla="*/ 25011 h 6858290"/>
              <a:gd name="connsiteX4139" fmla="*/ 5637626 w 12139750"/>
              <a:gd name="connsiteY4139" fmla="*/ 29 h 6858290"/>
              <a:gd name="connsiteX4140" fmla="*/ 5050992 w 12139750"/>
              <a:gd name="connsiteY4140" fmla="*/ 29 h 6858290"/>
              <a:gd name="connsiteX4141" fmla="*/ 5257856 w 12139750"/>
              <a:gd name="connsiteY4141" fmla="*/ 29 h 6858290"/>
              <a:gd name="connsiteX4142" fmla="*/ 5071866 w 12139750"/>
              <a:gd name="connsiteY4142" fmla="*/ 83849 h 6858290"/>
              <a:gd name="connsiteX4143" fmla="*/ 5014937 w 12139750"/>
              <a:gd name="connsiteY4143" fmla="*/ 62894 h 6858290"/>
              <a:gd name="connsiteX4144" fmla="*/ 5037708 w 12139750"/>
              <a:gd name="connsiteY4144" fmla="*/ 7649 h 6858290"/>
              <a:gd name="connsiteX4145" fmla="*/ 5050992 w 12139750"/>
              <a:gd name="connsiteY4145" fmla="*/ 29 h 6858290"/>
              <a:gd name="connsiteX4146" fmla="*/ 4468136 w 12139750"/>
              <a:gd name="connsiteY4146" fmla="*/ 29 h 6858290"/>
              <a:gd name="connsiteX4147" fmla="*/ 4678410 w 12139750"/>
              <a:gd name="connsiteY4147" fmla="*/ 29 h 6858290"/>
              <a:gd name="connsiteX4148" fmla="*/ 4517392 w 12139750"/>
              <a:gd name="connsiteY4148" fmla="*/ 71353 h 6858290"/>
              <a:gd name="connsiteX4149" fmla="*/ 4460559 w 12139750"/>
              <a:gd name="connsiteY4149" fmla="*/ 48221 h 6858290"/>
              <a:gd name="connsiteX4150" fmla="*/ 4468136 w 12139750"/>
              <a:gd name="connsiteY4150" fmla="*/ 29 h 6858290"/>
              <a:gd name="connsiteX4151" fmla="*/ 3898002 w 12139750"/>
              <a:gd name="connsiteY4151" fmla="*/ 29 h 6858290"/>
              <a:gd name="connsiteX4152" fmla="*/ 4092634 w 12139750"/>
              <a:gd name="connsiteY4152" fmla="*/ 29 h 6858290"/>
              <a:gd name="connsiteX4153" fmla="*/ 3959065 w 12139750"/>
              <a:gd name="connsiteY4153" fmla="*/ 55545 h 6858290"/>
              <a:gd name="connsiteX4154" fmla="*/ 3899912 w 12139750"/>
              <a:gd name="connsiteY4154" fmla="*/ 30658 h 6858290"/>
              <a:gd name="connsiteX4155" fmla="*/ 3898002 w 12139750"/>
              <a:gd name="connsiteY4155" fmla="*/ 29 h 6858290"/>
              <a:gd name="connsiteX4156" fmla="*/ 3332212 w 12139750"/>
              <a:gd name="connsiteY4156" fmla="*/ 29 h 6858290"/>
              <a:gd name="connsiteX4157" fmla="*/ 3497315 w 12139750"/>
              <a:gd name="connsiteY4157" fmla="*/ 29 h 6858290"/>
              <a:gd name="connsiteX4158" fmla="*/ 3394843 w 12139750"/>
              <a:gd name="connsiteY4158" fmla="*/ 41670 h 6858290"/>
              <a:gd name="connsiteX4159" fmla="*/ 3334111 w 12139750"/>
              <a:gd name="connsiteY4159" fmla="*/ 15171 h 6858290"/>
              <a:gd name="connsiteX4160" fmla="*/ 3332212 w 12139750"/>
              <a:gd name="connsiteY4160" fmla="*/ 29 h 6858290"/>
              <a:gd name="connsiteX4161" fmla="*/ 2760703 w 12139750"/>
              <a:gd name="connsiteY4161" fmla="*/ 28 h 6858290"/>
              <a:gd name="connsiteX4162" fmla="*/ 2890880 w 12139750"/>
              <a:gd name="connsiteY4162" fmla="*/ 28 h 6858290"/>
              <a:gd name="connsiteX4163" fmla="*/ 2821076 w 12139750"/>
              <a:gd name="connsiteY4163" fmla="*/ 27192 h 6858290"/>
              <a:gd name="connsiteX4164" fmla="*/ 2760703 w 12139750"/>
              <a:gd name="connsiteY4164" fmla="*/ 28 h 6858290"/>
              <a:gd name="connsiteX4165" fmla="*/ 11404328 w 12139750"/>
              <a:gd name="connsiteY4165" fmla="*/ 19 h 6858290"/>
              <a:gd name="connsiteX4166" fmla="*/ 11552367 w 12139750"/>
              <a:gd name="connsiteY4166" fmla="*/ 19 h 6858290"/>
              <a:gd name="connsiteX4167" fmla="*/ 11271473 w 12139750"/>
              <a:gd name="connsiteY4167" fmla="*/ 158733 h 6858290"/>
              <a:gd name="connsiteX4168" fmla="*/ 11222127 w 12139750"/>
              <a:gd name="connsiteY4168" fmla="*/ 145347 h 6858290"/>
              <a:gd name="connsiteX4169" fmla="*/ 11235412 w 12139750"/>
              <a:gd name="connsiteY4169" fmla="*/ 95630 h 6858290"/>
              <a:gd name="connsiteX4170" fmla="*/ 11404328 w 12139750"/>
              <a:gd name="connsiteY4170" fmla="*/ 19 h 6858290"/>
              <a:gd name="connsiteX4171" fmla="*/ 11942099 w 12139750"/>
              <a:gd name="connsiteY4171" fmla="*/ 17 h 6858290"/>
              <a:gd name="connsiteX4172" fmla="*/ 12100062 w 12139750"/>
              <a:gd name="connsiteY4172" fmla="*/ 17 h 6858290"/>
              <a:gd name="connsiteX4173" fmla="*/ 11835521 w 12139750"/>
              <a:gd name="connsiteY4173" fmla="*/ 142892 h 6858290"/>
              <a:gd name="connsiteX4174" fmla="*/ 11784136 w 12139750"/>
              <a:gd name="connsiteY4174" fmla="*/ 127652 h 6858290"/>
              <a:gd name="connsiteX4175" fmla="*/ 11799361 w 12139750"/>
              <a:gd name="connsiteY4175" fmla="*/ 76217 h 6858290"/>
              <a:gd name="connsiteX4176" fmla="*/ 11942099 w 12139750"/>
              <a:gd name="connsiteY4176" fmla="*/ 17 h 6858290"/>
              <a:gd name="connsiteX4177" fmla="*/ 76928 w 12139750"/>
              <a:gd name="connsiteY4177" fmla="*/ 14 h 6858290"/>
              <a:gd name="connsiteX4178" fmla="*/ 271465 w 12139750"/>
              <a:gd name="connsiteY4178" fmla="*/ 14 h 6858290"/>
              <a:gd name="connsiteX4179" fmla="*/ 63577 w 12139750"/>
              <a:gd name="connsiteY4179" fmla="*/ 99944 h 6858290"/>
              <a:gd name="connsiteX4180" fmla="*/ 8268 w 12139750"/>
              <a:gd name="connsiteY4180" fmla="*/ 80727 h 6858290"/>
              <a:gd name="connsiteX4181" fmla="*/ 27340 w 12139750"/>
              <a:gd name="connsiteY4181" fmla="*/ 24997 h 6858290"/>
              <a:gd name="connsiteX4182" fmla="*/ 76928 w 12139750"/>
              <a:gd name="connsiteY4182" fmla="*/ 14 h 6858290"/>
              <a:gd name="connsiteX4183" fmla="*/ 583733 w 12139750"/>
              <a:gd name="connsiteY4183" fmla="*/ 12 h 6858290"/>
              <a:gd name="connsiteX4184" fmla="*/ 792167 w 12139750"/>
              <a:gd name="connsiteY4184" fmla="*/ 12 h 6858290"/>
              <a:gd name="connsiteX4185" fmla="*/ 604767 w 12139750"/>
              <a:gd name="connsiteY4185" fmla="*/ 83832 h 6858290"/>
              <a:gd name="connsiteX4186" fmla="*/ 549312 w 12139750"/>
              <a:gd name="connsiteY4186" fmla="*/ 62877 h 6858290"/>
              <a:gd name="connsiteX4187" fmla="*/ 570347 w 12139750"/>
              <a:gd name="connsiteY4187" fmla="*/ 7632 h 6858290"/>
              <a:gd name="connsiteX4188" fmla="*/ 583733 w 12139750"/>
              <a:gd name="connsiteY4188" fmla="*/ 12 h 6858290"/>
              <a:gd name="connsiteX4189" fmla="*/ 1102307 w 12139750"/>
              <a:gd name="connsiteY4189" fmla="*/ 10 h 6858290"/>
              <a:gd name="connsiteX4190" fmla="*/ 1312869 w 12139750"/>
              <a:gd name="connsiteY4190" fmla="*/ 10 h 6858290"/>
              <a:gd name="connsiteX4191" fmla="*/ 1153525 w 12139750"/>
              <a:gd name="connsiteY4191" fmla="*/ 71334 h 6858290"/>
              <a:gd name="connsiteX4192" fmla="*/ 1094719 w 12139750"/>
              <a:gd name="connsiteY4192" fmla="*/ 48202 h 6858290"/>
              <a:gd name="connsiteX4193" fmla="*/ 1102307 w 12139750"/>
              <a:gd name="connsiteY4193" fmla="*/ 10 h 6858290"/>
              <a:gd name="connsiteX4194" fmla="*/ 1643393 w 12139750"/>
              <a:gd name="connsiteY4194" fmla="*/ 7 h 6858290"/>
              <a:gd name="connsiteX4195" fmla="*/ 1838335 w 12139750"/>
              <a:gd name="connsiteY4195" fmla="*/ 7 h 6858290"/>
              <a:gd name="connsiteX4196" fmla="*/ 1704551 w 12139750"/>
              <a:gd name="connsiteY4196" fmla="*/ 55524 h 6858290"/>
              <a:gd name="connsiteX4197" fmla="*/ 1645304 w 12139750"/>
              <a:gd name="connsiteY4197" fmla="*/ 30637 h 6858290"/>
              <a:gd name="connsiteX4198" fmla="*/ 1643393 w 12139750"/>
              <a:gd name="connsiteY4198" fmla="*/ 7 h 6858290"/>
              <a:gd name="connsiteX4199" fmla="*/ 2197113 w 12139750"/>
              <a:gd name="connsiteY4199" fmla="*/ 5 h 6858290"/>
              <a:gd name="connsiteX4200" fmla="*/ 2363803 w 12139750"/>
              <a:gd name="connsiteY4200" fmla="*/ 5 h 6858290"/>
              <a:gd name="connsiteX4201" fmla="*/ 2260341 w 12139750"/>
              <a:gd name="connsiteY4201" fmla="*/ 41647 h 6858290"/>
              <a:gd name="connsiteX4202" fmla="*/ 2199030 w 12139750"/>
              <a:gd name="connsiteY4202" fmla="*/ 15147 h 6858290"/>
              <a:gd name="connsiteX4203" fmla="*/ 2197113 w 12139750"/>
              <a:gd name="connsiteY4203" fmla="*/ 5 h 6858290"/>
              <a:gd name="connsiteX4204" fmla="*/ 9742488 w 12139750"/>
              <a:gd name="connsiteY4204" fmla="*/ 4 h 6858290"/>
              <a:gd name="connsiteX4205" fmla="*/ 9866419 w 12139750"/>
              <a:gd name="connsiteY4205" fmla="*/ 4 h 6858290"/>
              <a:gd name="connsiteX4206" fmla="*/ 9542293 w 12139750"/>
              <a:gd name="connsiteY4206" fmla="*/ 201631 h 6858290"/>
              <a:gd name="connsiteX4207" fmla="*/ 9496534 w 12139750"/>
              <a:gd name="connsiteY4207" fmla="*/ 192120 h 6858290"/>
              <a:gd name="connsiteX4208" fmla="*/ 9507974 w 12139750"/>
              <a:gd name="connsiteY4208" fmla="*/ 146469 h 6858290"/>
              <a:gd name="connsiteX4209" fmla="*/ 9742488 w 12139750"/>
              <a:gd name="connsiteY4209" fmla="*/ 4 h 6858290"/>
              <a:gd name="connsiteX4210" fmla="*/ 10304665 w 12139750"/>
              <a:gd name="connsiteY4210" fmla="*/ 2 h 6858290"/>
              <a:gd name="connsiteX4211" fmla="*/ 10436339 w 12139750"/>
              <a:gd name="connsiteY4211" fmla="*/ 2 h 6858290"/>
              <a:gd name="connsiteX4212" fmla="*/ 10125283 w 12139750"/>
              <a:gd name="connsiteY4212" fmla="*/ 187296 h 6858290"/>
              <a:gd name="connsiteX4213" fmla="*/ 10077576 w 12139750"/>
              <a:gd name="connsiteY4213" fmla="*/ 175829 h 6858290"/>
              <a:gd name="connsiteX4214" fmla="*/ 10089025 w 12139750"/>
              <a:gd name="connsiteY4214" fmla="*/ 129961 h 6858290"/>
              <a:gd name="connsiteX4215" fmla="*/ 10304665 w 12139750"/>
              <a:gd name="connsiteY4215" fmla="*/ 2 h 6858290"/>
              <a:gd name="connsiteX4216" fmla="*/ 10857477 w 12139750"/>
              <a:gd name="connsiteY4216" fmla="*/ 0 h 6858290"/>
              <a:gd name="connsiteX4217" fmla="*/ 10998322 w 12139750"/>
              <a:gd name="connsiteY4217" fmla="*/ 0 h 6858290"/>
              <a:gd name="connsiteX4218" fmla="*/ 10701405 w 12139750"/>
              <a:gd name="connsiteY4218" fmla="*/ 173054 h 6858290"/>
              <a:gd name="connsiteX4219" fmla="*/ 10653822 w 12139750"/>
              <a:gd name="connsiteY4219" fmla="*/ 159742 h 6858290"/>
              <a:gd name="connsiteX4220" fmla="*/ 10665241 w 12139750"/>
              <a:gd name="connsiteY4220" fmla="*/ 112200 h 6858290"/>
              <a:gd name="connsiteX4221" fmla="*/ 10857477 w 12139750"/>
              <a:gd name="connsiteY4221" fmla="*/ 0 h 6858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</a:cxnLst>
            <a:rect l="l" t="t" r="r" b="b"/>
            <a:pathLst>
              <a:path w="12139750" h="6858290">
                <a:moveTo>
                  <a:pt x="9863865" y="6730848"/>
                </a:moveTo>
                <a:cubicBezTo>
                  <a:pt x="9882230" y="6731206"/>
                  <a:pt x="9898990" y="6742279"/>
                  <a:pt x="9906123" y="6760852"/>
                </a:cubicBezTo>
                <a:cubicBezTo>
                  <a:pt x="9915632" y="6783712"/>
                  <a:pt x="9904221" y="6810382"/>
                  <a:pt x="9879496" y="6819907"/>
                </a:cubicBezTo>
                <a:cubicBezTo>
                  <a:pt x="9879496" y="6819907"/>
                  <a:pt x="9879496" y="6819907"/>
                  <a:pt x="9782500" y="6858007"/>
                </a:cubicBezTo>
                <a:cubicBezTo>
                  <a:pt x="9782500" y="6858007"/>
                  <a:pt x="9782500" y="6858007"/>
                  <a:pt x="9531452" y="6858007"/>
                </a:cubicBezTo>
                <a:cubicBezTo>
                  <a:pt x="9531452" y="6858007"/>
                  <a:pt x="9531452" y="6858007"/>
                  <a:pt x="9845262" y="6734182"/>
                </a:cubicBezTo>
                <a:cubicBezTo>
                  <a:pt x="9851443" y="6731801"/>
                  <a:pt x="9857743" y="6730729"/>
                  <a:pt x="9863865" y="6730848"/>
                </a:cubicBezTo>
                <a:close/>
                <a:moveTo>
                  <a:pt x="10445577" y="6718092"/>
                </a:moveTo>
                <a:cubicBezTo>
                  <a:pt x="10463182" y="6718359"/>
                  <a:pt x="10479983" y="6729028"/>
                  <a:pt x="10487132" y="6746099"/>
                </a:cubicBezTo>
                <a:cubicBezTo>
                  <a:pt x="10496665" y="6768860"/>
                  <a:pt x="10485226" y="6795414"/>
                  <a:pt x="10462348" y="6804898"/>
                </a:cubicBezTo>
                <a:cubicBezTo>
                  <a:pt x="10462348" y="6804898"/>
                  <a:pt x="10462348" y="6804898"/>
                  <a:pt x="10328892" y="6858007"/>
                </a:cubicBezTo>
                <a:cubicBezTo>
                  <a:pt x="10328892" y="6858007"/>
                  <a:pt x="10328892" y="6858007"/>
                  <a:pt x="10088672" y="6858007"/>
                </a:cubicBezTo>
                <a:cubicBezTo>
                  <a:pt x="10088672" y="6858007"/>
                  <a:pt x="10088672" y="6858007"/>
                  <a:pt x="10428031" y="6721441"/>
                </a:cubicBezTo>
                <a:cubicBezTo>
                  <a:pt x="10433751" y="6719070"/>
                  <a:pt x="10439708" y="6718003"/>
                  <a:pt x="10445577" y="6718092"/>
                </a:cubicBezTo>
                <a:close/>
                <a:moveTo>
                  <a:pt x="9285099" y="6718092"/>
                </a:moveTo>
                <a:cubicBezTo>
                  <a:pt x="9302704" y="6718359"/>
                  <a:pt x="9319505" y="6729028"/>
                  <a:pt x="9326654" y="6746099"/>
                </a:cubicBezTo>
                <a:cubicBezTo>
                  <a:pt x="9336187" y="6768860"/>
                  <a:pt x="9324748" y="6795414"/>
                  <a:pt x="9301870" y="6804898"/>
                </a:cubicBezTo>
                <a:cubicBezTo>
                  <a:pt x="9301870" y="6804898"/>
                  <a:pt x="9301870" y="6804898"/>
                  <a:pt x="9168414" y="6858007"/>
                </a:cubicBezTo>
                <a:cubicBezTo>
                  <a:pt x="9168414" y="6858007"/>
                  <a:pt x="9168414" y="6858007"/>
                  <a:pt x="8928194" y="6858007"/>
                </a:cubicBezTo>
                <a:cubicBezTo>
                  <a:pt x="8928194" y="6858007"/>
                  <a:pt x="8928194" y="6858007"/>
                  <a:pt x="9267553" y="6721441"/>
                </a:cubicBezTo>
                <a:cubicBezTo>
                  <a:pt x="9273273" y="6719070"/>
                  <a:pt x="9279230" y="6718003"/>
                  <a:pt x="9285099" y="6718092"/>
                </a:cubicBezTo>
                <a:close/>
                <a:moveTo>
                  <a:pt x="11021925" y="6702243"/>
                </a:moveTo>
                <a:cubicBezTo>
                  <a:pt x="11039503" y="6702511"/>
                  <a:pt x="11056279" y="6713227"/>
                  <a:pt x="11063417" y="6730372"/>
                </a:cubicBezTo>
                <a:cubicBezTo>
                  <a:pt x="11072935" y="6753232"/>
                  <a:pt x="11061513" y="6779902"/>
                  <a:pt x="11038670" y="6789427"/>
                </a:cubicBezTo>
                <a:cubicBezTo>
                  <a:pt x="11038670" y="6789427"/>
                  <a:pt x="11038670" y="6789427"/>
                  <a:pt x="10873058" y="6858007"/>
                </a:cubicBezTo>
                <a:cubicBezTo>
                  <a:pt x="10873058" y="6858007"/>
                  <a:pt x="10873058" y="6858007"/>
                  <a:pt x="10652242" y="6858007"/>
                </a:cubicBezTo>
                <a:cubicBezTo>
                  <a:pt x="10656049" y="6854197"/>
                  <a:pt x="10659856" y="6852292"/>
                  <a:pt x="10665567" y="6850387"/>
                </a:cubicBezTo>
                <a:cubicBezTo>
                  <a:pt x="10665567" y="6850387"/>
                  <a:pt x="10665567" y="6850387"/>
                  <a:pt x="11004406" y="6705607"/>
                </a:cubicBezTo>
                <a:cubicBezTo>
                  <a:pt x="11010117" y="6703225"/>
                  <a:pt x="11016065" y="6702154"/>
                  <a:pt x="11021925" y="6702243"/>
                </a:cubicBezTo>
                <a:close/>
                <a:moveTo>
                  <a:pt x="8712081" y="6702243"/>
                </a:moveTo>
                <a:cubicBezTo>
                  <a:pt x="8729659" y="6702511"/>
                  <a:pt x="8746435" y="6713227"/>
                  <a:pt x="8753573" y="6730372"/>
                </a:cubicBezTo>
                <a:cubicBezTo>
                  <a:pt x="8763091" y="6753232"/>
                  <a:pt x="8753573" y="6779902"/>
                  <a:pt x="8730730" y="6789427"/>
                </a:cubicBezTo>
                <a:cubicBezTo>
                  <a:pt x="8730730" y="6789427"/>
                  <a:pt x="8730730" y="6789427"/>
                  <a:pt x="8565118" y="6858007"/>
                </a:cubicBezTo>
                <a:cubicBezTo>
                  <a:pt x="8565118" y="6858007"/>
                  <a:pt x="8565118" y="6858007"/>
                  <a:pt x="8342398" y="6858007"/>
                </a:cubicBezTo>
                <a:cubicBezTo>
                  <a:pt x="8346205" y="6854197"/>
                  <a:pt x="8350012" y="6852292"/>
                  <a:pt x="8355723" y="6850387"/>
                </a:cubicBezTo>
                <a:cubicBezTo>
                  <a:pt x="8355723" y="6850387"/>
                  <a:pt x="8355723" y="6850387"/>
                  <a:pt x="8694562" y="6705607"/>
                </a:cubicBezTo>
                <a:cubicBezTo>
                  <a:pt x="8700273" y="6703226"/>
                  <a:pt x="8706221" y="6702154"/>
                  <a:pt x="8712081" y="6702243"/>
                </a:cubicBezTo>
                <a:close/>
                <a:moveTo>
                  <a:pt x="11608144" y="6692160"/>
                </a:moveTo>
                <a:cubicBezTo>
                  <a:pt x="11618391" y="6696194"/>
                  <a:pt x="11626970" y="6704261"/>
                  <a:pt x="11631736" y="6715650"/>
                </a:cubicBezTo>
                <a:cubicBezTo>
                  <a:pt x="11641268" y="6738427"/>
                  <a:pt x="11631736" y="6763102"/>
                  <a:pt x="11608858" y="6772593"/>
                </a:cubicBezTo>
                <a:cubicBezTo>
                  <a:pt x="11608858" y="6772593"/>
                  <a:pt x="11608858" y="6772593"/>
                  <a:pt x="11412495" y="6858007"/>
                </a:cubicBezTo>
                <a:cubicBezTo>
                  <a:pt x="11412495" y="6858007"/>
                  <a:pt x="11412495" y="6858007"/>
                  <a:pt x="11214225" y="6858007"/>
                </a:cubicBezTo>
                <a:cubicBezTo>
                  <a:pt x="11219944" y="6850415"/>
                  <a:pt x="11225664" y="6844721"/>
                  <a:pt x="11235196" y="6840924"/>
                </a:cubicBezTo>
                <a:cubicBezTo>
                  <a:pt x="11235196" y="6840924"/>
                  <a:pt x="11235196" y="6840924"/>
                  <a:pt x="11574543" y="6692872"/>
                </a:cubicBezTo>
                <a:cubicBezTo>
                  <a:pt x="11585981" y="6688127"/>
                  <a:pt x="11597897" y="6688127"/>
                  <a:pt x="11608144" y="6692160"/>
                </a:cubicBezTo>
                <a:close/>
                <a:moveTo>
                  <a:pt x="8162632" y="6692160"/>
                </a:moveTo>
                <a:cubicBezTo>
                  <a:pt x="8173079" y="6696194"/>
                  <a:pt x="8182101" y="6704261"/>
                  <a:pt x="8186849" y="6715650"/>
                </a:cubicBezTo>
                <a:cubicBezTo>
                  <a:pt x="8196346" y="6738427"/>
                  <a:pt x="8186849" y="6763102"/>
                  <a:pt x="8164057" y="6772593"/>
                </a:cubicBezTo>
                <a:cubicBezTo>
                  <a:pt x="8164057" y="6772593"/>
                  <a:pt x="8164057" y="6772593"/>
                  <a:pt x="7966524" y="6858007"/>
                </a:cubicBezTo>
                <a:cubicBezTo>
                  <a:pt x="7966524" y="6858007"/>
                  <a:pt x="7966524" y="6858007"/>
                  <a:pt x="7770890" y="6858007"/>
                </a:cubicBezTo>
                <a:cubicBezTo>
                  <a:pt x="7774688" y="6850415"/>
                  <a:pt x="7782286" y="6844721"/>
                  <a:pt x="7789883" y="6840924"/>
                </a:cubicBezTo>
                <a:cubicBezTo>
                  <a:pt x="7789883" y="6840924"/>
                  <a:pt x="7789883" y="6840924"/>
                  <a:pt x="8129868" y="6692872"/>
                </a:cubicBezTo>
                <a:cubicBezTo>
                  <a:pt x="8140315" y="6688127"/>
                  <a:pt x="8152186" y="6688127"/>
                  <a:pt x="8162632" y="6692160"/>
                </a:cubicBezTo>
                <a:close/>
                <a:moveTo>
                  <a:pt x="7602161" y="6677681"/>
                </a:moveTo>
                <a:cubicBezTo>
                  <a:pt x="7612631" y="6681497"/>
                  <a:pt x="7621673" y="6689130"/>
                  <a:pt x="7626432" y="6699625"/>
                </a:cubicBezTo>
                <a:cubicBezTo>
                  <a:pt x="7635950" y="6720616"/>
                  <a:pt x="7626432" y="6747331"/>
                  <a:pt x="7605492" y="6756872"/>
                </a:cubicBezTo>
                <a:cubicBezTo>
                  <a:pt x="7605492" y="6756872"/>
                  <a:pt x="7605492" y="6756872"/>
                  <a:pt x="7378961" y="6858007"/>
                </a:cubicBezTo>
                <a:cubicBezTo>
                  <a:pt x="7378961" y="6858007"/>
                  <a:pt x="7378961" y="6858007"/>
                  <a:pt x="7205732" y="6858007"/>
                </a:cubicBezTo>
                <a:cubicBezTo>
                  <a:pt x="7209539" y="6846558"/>
                  <a:pt x="7219057" y="6837017"/>
                  <a:pt x="7230479" y="6831292"/>
                </a:cubicBezTo>
                <a:cubicBezTo>
                  <a:pt x="7230479" y="6831292"/>
                  <a:pt x="7230479" y="6831292"/>
                  <a:pt x="7569323" y="6678635"/>
                </a:cubicBezTo>
                <a:cubicBezTo>
                  <a:pt x="7579793" y="6673864"/>
                  <a:pt x="7591691" y="6673864"/>
                  <a:pt x="7602161" y="6677681"/>
                </a:cubicBezTo>
                <a:close/>
                <a:moveTo>
                  <a:pt x="12139750" y="6677032"/>
                </a:moveTo>
                <a:cubicBezTo>
                  <a:pt x="12139750" y="6677032"/>
                  <a:pt x="12139750" y="6677032"/>
                  <a:pt x="12139750" y="6770377"/>
                </a:cubicBezTo>
                <a:cubicBezTo>
                  <a:pt x="12139750" y="6770377"/>
                  <a:pt x="12139750" y="6770377"/>
                  <a:pt x="12139750" y="6858007"/>
                </a:cubicBezTo>
                <a:cubicBezTo>
                  <a:pt x="12139750" y="6858007"/>
                  <a:pt x="12139750" y="6858007"/>
                  <a:pt x="11945775" y="6858007"/>
                </a:cubicBezTo>
                <a:cubicBezTo>
                  <a:pt x="11945775" y="6858007"/>
                  <a:pt x="11945775" y="6858007"/>
                  <a:pt x="11774620" y="6858007"/>
                </a:cubicBezTo>
                <a:cubicBezTo>
                  <a:pt x="11778423" y="6846577"/>
                  <a:pt x="11786030" y="6837052"/>
                  <a:pt x="11797441" y="6831337"/>
                </a:cubicBezTo>
                <a:lnTo>
                  <a:pt x="12137848" y="6678937"/>
                </a:lnTo>
                <a:cubicBezTo>
                  <a:pt x="12137848" y="6678937"/>
                  <a:pt x="12139750" y="6677032"/>
                  <a:pt x="12139750" y="6677032"/>
                </a:cubicBezTo>
                <a:close/>
                <a:moveTo>
                  <a:pt x="7049044" y="6663353"/>
                </a:moveTo>
                <a:cubicBezTo>
                  <a:pt x="7059045" y="6667151"/>
                  <a:pt x="7067618" y="6674747"/>
                  <a:pt x="7072381" y="6685192"/>
                </a:cubicBezTo>
                <a:cubicBezTo>
                  <a:pt x="7081906" y="6706082"/>
                  <a:pt x="7074286" y="6730770"/>
                  <a:pt x="7051425" y="6742164"/>
                </a:cubicBezTo>
                <a:cubicBezTo>
                  <a:pt x="7051425" y="6742164"/>
                  <a:pt x="7051425" y="6742164"/>
                  <a:pt x="6798057" y="6858007"/>
                </a:cubicBezTo>
                <a:cubicBezTo>
                  <a:pt x="6798057" y="6858007"/>
                  <a:pt x="6798057" y="6858007"/>
                  <a:pt x="6653275" y="6858007"/>
                </a:cubicBezTo>
                <a:cubicBezTo>
                  <a:pt x="6653275" y="6842815"/>
                  <a:pt x="6662800" y="6829521"/>
                  <a:pt x="6678040" y="6821925"/>
                </a:cubicBezTo>
                <a:cubicBezTo>
                  <a:pt x="6678040" y="6821925"/>
                  <a:pt x="6678040" y="6821925"/>
                  <a:pt x="7017135" y="6664302"/>
                </a:cubicBezTo>
                <a:cubicBezTo>
                  <a:pt x="7027613" y="6659555"/>
                  <a:pt x="7039043" y="6659555"/>
                  <a:pt x="7049044" y="6663353"/>
                </a:cubicBezTo>
                <a:close/>
                <a:moveTo>
                  <a:pt x="6502912" y="6648865"/>
                </a:moveTo>
                <a:cubicBezTo>
                  <a:pt x="6512921" y="6652443"/>
                  <a:pt x="6521500" y="6659597"/>
                  <a:pt x="6526266" y="6669136"/>
                </a:cubicBezTo>
                <a:cubicBezTo>
                  <a:pt x="6535798" y="6690121"/>
                  <a:pt x="6528172" y="6714923"/>
                  <a:pt x="6507201" y="6724462"/>
                </a:cubicBezTo>
                <a:cubicBezTo>
                  <a:pt x="6507201" y="6724462"/>
                  <a:pt x="6507201" y="6724462"/>
                  <a:pt x="6226954" y="6858007"/>
                </a:cubicBezTo>
                <a:cubicBezTo>
                  <a:pt x="6226954" y="6858007"/>
                  <a:pt x="6226954" y="6858007"/>
                  <a:pt x="6108755" y="6858007"/>
                </a:cubicBezTo>
                <a:cubicBezTo>
                  <a:pt x="6108755" y="6856099"/>
                  <a:pt x="6108755" y="6852284"/>
                  <a:pt x="6108755" y="6850376"/>
                </a:cubicBezTo>
                <a:cubicBezTo>
                  <a:pt x="6108755" y="6835114"/>
                  <a:pt x="6118287" y="6819851"/>
                  <a:pt x="6131632" y="6812220"/>
                </a:cubicBezTo>
                <a:cubicBezTo>
                  <a:pt x="6131632" y="6812220"/>
                  <a:pt x="6131632" y="6812220"/>
                  <a:pt x="6470979" y="6650058"/>
                </a:cubicBezTo>
                <a:cubicBezTo>
                  <a:pt x="6481464" y="6645288"/>
                  <a:pt x="6492903" y="6645288"/>
                  <a:pt x="6502912" y="6648865"/>
                </a:cubicBezTo>
                <a:close/>
                <a:moveTo>
                  <a:pt x="5955433" y="6635428"/>
                </a:moveTo>
                <a:cubicBezTo>
                  <a:pt x="5965210" y="6638757"/>
                  <a:pt x="5973796" y="6645891"/>
                  <a:pt x="5978564" y="6656354"/>
                </a:cubicBezTo>
                <a:cubicBezTo>
                  <a:pt x="5988105" y="6675378"/>
                  <a:pt x="5980473" y="6700109"/>
                  <a:pt x="5961395" y="6709621"/>
                </a:cubicBezTo>
                <a:cubicBezTo>
                  <a:pt x="5961395" y="6709621"/>
                  <a:pt x="5961395" y="6709621"/>
                  <a:pt x="5656142" y="6858007"/>
                </a:cubicBezTo>
                <a:cubicBezTo>
                  <a:pt x="5656142" y="6858007"/>
                  <a:pt x="5656142" y="6858007"/>
                  <a:pt x="5568382" y="6858007"/>
                </a:cubicBezTo>
                <a:cubicBezTo>
                  <a:pt x="5568382" y="6858007"/>
                  <a:pt x="5568382" y="6858007"/>
                  <a:pt x="5566474" y="6858007"/>
                </a:cubicBezTo>
                <a:cubicBezTo>
                  <a:pt x="5564566" y="6852300"/>
                  <a:pt x="5562658" y="6844691"/>
                  <a:pt x="5562658" y="6838983"/>
                </a:cubicBezTo>
                <a:cubicBezTo>
                  <a:pt x="5562658" y="6823764"/>
                  <a:pt x="5572198" y="6810448"/>
                  <a:pt x="5585552" y="6802838"/>
                </a:cubicBezTo>
                <a:cubicBezTo>
                  <a:pt x="5585552" y="6802838"/>
                  <a:pt x="5585552" y="6802838"/>
                  <a:pt x="5925146" y="6637331"/>
                </a:cubicBezTo>
                <a:cubicBezTo>
                  <a:pt x="5934685" y="6632575"/>
                  <a:pt x="5945655" y="6632099"/>
                  <a:pt x="5955433" y="6635428"/>
                </a:cubicBezTo>
                <a:close/>
                <a:moveTo>
                  <a:pt x="396081" y="6635428"/>
                </a:moveTo>
                <a:cubicBezTo>
                  <a:pt x="405822" y="6638757"/>
                  <a:pt x="414376" y="6645891"/>
                  <a:pt x="419128" y="6656354"/>
                </a:cubicBezTo>
                <a:cubicBezTo>
                  <a:pt x="428631" y="6675378"/>
                  <a:pt x="421028" y="6700109"/>
                  <a:pt x="400120" y="6709621"/>
                </a:cubicBezTo>
                <a:cubicBezTo>
                  <a:pt x="400120" y="6709621"/>
                  <a:pt x="400120" y="6709621"/>
                  <a:pt x="97901" y="6858007"/>
                </a:cubicBezTo>
                <a:cubicBezTo>
                  <a:pt x="97901" y="6858007"/>
                  <a:pt x="97901" y="6858007"/>
                  <a:pt x="10466" y="6858007"/>
                </a:cubicBezTo>
                <a:cubicBezTo>
                  <a:pt x="10466" y="6858007"/>
                  <a:pt x="8566" y="6858007"/>
                  <a:pt x="8566" y="6858007"/>
                </a:cubicBezTo>
                <a:cubicBezTo>
                  <a:pt x="6665" y="6852300"/>
                  <a:pt x="4764" y="6844691"/>
                  <a:pt x="4764" y="6838983"/>
                </a:cubicBezTo>
                <a:cubicBezTo>
                  <a:pt x="4764" y="6823764"/>
                  <a:pt x="12367" y="6810448"/>
                  <a:pt x="27573" y="6802838"/>
                </a:cubicBezTo>
                <a:cubicBezTo>
                  <a:pt x="27573" y="6802838"/>
                  <a:pt x="27573" y="6802838"/>
                  <a:pt x="365906" y="6637331"/>
                </a:cubicBezTo>
                <a:cubicBezTo>
                  <a:pt x="375410" y="6632575"/>
                  <a:pt x="386339" y="6632099"/>
                  <a:pt x="396081" y="6635428"/>
                </a:cubicBezTo>
                <a:close/>
                <a:moveTo>
                  <a:pt x="5405387" y="6619812"/>
                </a:moveTo>
                <a:cubicBezTo>
                  <a:pt x="5414897" y="6622912"/>
                  <a:pt x="5422982" y="6630065"/>
                  <a:pt x="5427736" y="6640556"/>
                </a:cubicBezTo>
                <a:cubicBezTo>
                  <a:pt x="5437247" y="6659630"/>
                  <a:pt x="5429640" y="6682520"/>
                  <a:pt x="5410617" y="6693965"/>
                </a:cubicBezTo>
                <a:cubicBezTo>
                  <a:pt x="5410617" y="6693965"/>
                  <a:pt x="5410617" y="6693965"/>
                  <a:pt x="5083442" y="6858007"/>
                </a:cubicBezTo>
                <a:cubicBezTo>
                  <a:pt x="5083442" y="6858007"/>
                  <a:pt x="5083442" y="6858007"/>
                  <a:pt x="5028286" y="6858007"/>
                </a:cubicBezTo>
                <a:cubicBezTo>
                  <a:pt x="5024482" y="6856100"/>
                  <a:pt x="5022579" y="6852285"/>
                  <a:pt x="5020677" y="6846562"/>
                </a:cubicBezTo>
                <a:cubicBezTo>
                  <a:pt x="5016874" y="6840840"/>
                  <a:pt x="5014971" y="6835118"/>
                  <a:pt x="5014971" y="6829395"/>
                </a:cubicBezTo>
                <a:cubicBezTo>
                  <a:pt x="5014971" y="6814136"/>
                  <a:pt x="5024482" y="6800783"/>
                  <a:pt x="5037795" y="6793153"/>
                </a:cubicBezTo>
                <a:cubicBezTo>
                  <a:pt x="5037795" y="6793153"/>
                  <a:pt x="5037795" y="6793153"/>
                  <a:pt x="5374477" y="6623389"/>
                </a:cubicBezTo>
                <a:cubicBezTo>
                  <a:pt x="5384938" y="6617666"/>
                  <a:pt x="5395876" y="6616713"/>
                  <a:pt x="5405387" y="6619812"/>
                </a:cubicBezTo>
                <a:close/>
                <a:moveTo>
                  <a:pt x="939733" y="6619812"/>
                </a:moveTo>
                <a:cubicBezTo>
                  <a:pt x="949279" y="6622912"/>
                  <a:pt x="957871" y="6630065"/>
                  <a:pt x="963599" y="6640556"/>
                </a:cubicBezTo>
                <a:cubicBezTo>
                  <a:pt x="973146" y="6659630"/>
                  <a:pt x="965509" y="6682520"/>
                  <a:pt x="944506" y="6693965"/>
                </a:cubicBezTo>
                <a:cubicBezTo>
                  <a:pt x="944506" y="6693965"/>
                  <a:pt x="944506" y="6693965"/>
                  <a:pt x="618014" y="6858007"/>
                </a:cubicBezTo>
                <a:cubicBezTo>
                  <a:pt x="618014" y="6858007"/>
                  <a:pt x="618014" y="6858007"/>
                  <a:pt x="562644" y="6858007"/>
                </a:cubicBezTo>
                <a:cubicBezTo>
                  <a:pt x="558825" y="6856100"/>
                  <a:pt x="555007" y="6852285"/>
                  <a:pt x="553097" y="6846562"/>
                </a:cubicBezTo>
                <a:cubicBezTo>
                  <a:pt x="549279" y="6840840"/>
                  <a:pt x="549279" y="6835118"/>
                  <a:pt x="549279" y="6829395"/>
                </a:cubicBezTo>
                <a:cubicBezTo>
                  <a:pt x="549279" y="6814136"/>
                  <a:pt x="556916" y="6800783"/>
                  <a:pt x="570281" y="6793153"/>
                </a:cubicBezTo>
                <a:cubicBezTo>
                  <a:pt x="570281" y="6793153"/>
                  <a:pt x="570281" y="6793153"/>
                  <a:pt x="910138" y="6623389"/>
                </a:cubicBezTo>
                <a:cubicBezTo>
                  <a:pt x="919685" y="6617666"/>
                  <a:pt x="930186" y="6616712"/>
                  <a:pt x="939733" y="6619812"/>
                </a:cubicBezTo>
                <a:close/>
                <a:moveTo>
                  <a:pt x="4850594" y="6606634"/>
                </a:moveTo>
                <a:cubicBezTo>
                  <a:pt x="4860350" y="6609734"/>
                  <a:pt x="4868920" y="6616409"/>
                  <a:pt x="4873677" y="6625946"/>
                </a:cubicBezTo>
                <a:cubicBezTo>
                  <a:pt x="4883197" y="6645019"/>
                  <a:pt x="4875583" y="6667906"/>
                  <a:pt x="4856543" y="6677443"/>
                </a:cubicBezTo>
                <a:cubicBezTo>
                  <a:pt x="4856543" y="6677443"/>
                  <a:pt x="4856543" y="6677443"/>
                  <a:pt x="4519613" y="6852914"/>
                </a:cubicBezTo>
                <a:cubicBezTo>
                  <a:pt x="4500580" y="6864357"/>
                  <a:pt x="4477736" y="6856728"/>
                  <a:pt x="4466313" y="6837655"/>
                </a:cubicBezTo>
                <a:cubicBezTo>
                  <a:pt x="4464410" y="6831933"/>
                  <a:pt x="4462507" y="6824304"/>
                  <a:pt x="4462507" y="6818582"/>
                </a:cubicBezTo>
                <a:cubicBezTo>
                  <a:pt x="4462507" y="6805231"/>
                  <a:pt x="4470121" y="6791880"/>
                  <a:pt x="4483447" y="6784251"/>
                </a:cubicBezTo>
                <a:cubicBezTo>
                  <a:pt x="4483447" y="6784251"/>
                  <a:pt x="4483447" y="6784251"/>
                  <a:pt x="4820372" y="6608780"/>
                </a:cubicBezTo>
                <a:cubicBezTo>
                  <a:pt x="4829889" y="6604012"/>
                  <a:pt x="4840835" y="6603535"/>
                  <a:pt x="4850594" y="6606634"/>
                </a:cubicBezTo>
                <a:close/>
                <a:moveTo>
                  <a:pt x="1485698" y="6606634"/>
                </a:moveTo>
                <a:cubicBezTo>
                  <a:pt x="1494978" y="6609734"/>
                  <a:pt x="1503069" y="6616409"/>
                  <a:pt x="1507827" y="6625946"/>
                </a:cubicBezTo>
                <a:cubicBezTo>
                  <a:pt x="1519249" y="6645019"/>
                  <a:pt x="1511635" y="6667906"/>
                  <a:pt x="1492599" y="6677443"/>
                </a:cubicBezTo>
                <a:cubicBezTo>
                  <a:pt x="1492599" y="6677443"/>
                  <a:pt x="1492599" y="6677443"/>
                  <a:pt x="1153761" y="6852914"/>
                </a:cubicBezTo>
                <a:cubicBezTo>
                  <a:pt x="1134725" y="6864357"/>
                  <a:pt x="1111882" y="6856728"/>
                  <a:pt x="1102364" y="6837655"/>
                </a:cubicBezTo>
                <a:cubicBezTo>
                  <a:pt x="1098557" y="6831933"/>
                  <a:pt x="1098557" y="6824304"/>
                  <a:pt x="1098557" y="6818582"/>
                </a:cubicBezTo>
                <a:cubicBezTo>
                  <a:pt x="1098557" y="6805231"/>
                  <a:pt x="1106171" y="6791880"/>
                  <a:pt x="1119496" y="6784251"/>
                </a:cubicBezTo>
                <a:cubicBezTo>
                  <a:pt x="1119496" y="6784251"/>
                  <a:pt x="1119496" y="6784251"/>
                  <a:pt x="1456431" y="6608780"/>
                </a:cubicBezTo>
                <a:cubicBezTo>
                  <a:pt x="1465948" y="6604012"/>
                  <a:pt x="1476418" y="6603535"/>
                  <a:pt x="1485698" y="6606634"/>
                </a:cubicBezTo>
                <a:close/>
                <a:moveTo>
                  <a:pt x="4291129" y="6592973"/>
                </a:moveTo>
                <a:cubicBezTo>
                  <a:pt x="4300416" y="6595593"/>
                  <a:pt x="4308514" y="6601784"/>
                  <a:pt x="4313276" y="6611309"/>
                </a:cubicBezTo>
                <a:cubicBezTo>
                  <a:pt x="4322801" y="6630359"/>
                  <a:pt x="4317086" y="6653219"/>
                  <a:pt x="4298035" y="6662744"/>
                </a:cubicBezTo>
                <a:cubicBezTo>
                  <a:pt x="4298035" y="6662744"/>
                  <a:pt x="4298035" y="6662744"/>
                  <a:pt x="3960866" y="6841814"/>
                </a:cubicBezTo>
                <a:cubicBezTo>
                  <a:pt x="3941817" y="6853244"/>
                  <a:pt x="3918955" y="6845624"/>
                  <a:pt x="3909430" y="6826574"/>
                </a:cubicBezTo>
                <a:cubicBezTo>
                  <a:pt x="3905620" y="6820859"/>
                  <a:pt x="3903713" y="6815144"/>
                  <a:pt x="3903713" y="6809429"/>
                </a:cubicBezTo>
                <a:cubicBezTo>
                  <a:pt x="3903713" y="6796094"/>
                  <a:pt x="3911334" y="6782759"/>
                  <a:pt x="3924671" y="6775139"/>
                </a:cubicBezTo>
                <a:cubicBezTo>
                  <a:pt x="3924671" y="6775139"/>
                  <a:pt x="3924671" y="6775139"/>
                  <a:pt x="4261838" y="6596069"/>
                </a:cubicBezTo>
                <a:cubicBezTo>
                  <a:pt x="4271364" y="6591306"/>
                  <a:pt x="4281843" y="6590354"/>
                  <a:pt x="4291129" y="6592973"/>
                </a:cubicBezTo>
                <a:close/>
                <a:moveTo>
                  <a:pt x="2037015" y="6592973"/>
                </a:moveTo>
                <a:cubicBezTo>
                  <a:pt x="2046302" y="6595592"/>
                  <a:pt x="2054881" y="6601784"/>
                  <a:pt x="2060595" y="6611309"/>
                </a:cubicBezTo>
                <a:cubicBezTo>
                  <a:pt x="2070120" y="6630359"/>
                  <a:pt x="2062500" y="6653219"/>
                  <a:pt x="2043444" y="6662744"/>
                </a:cubicBezTo>
                <a:cubicBezTo>
                  <a:pt x="2043444" y="6662744"/>
                  <a:pt x="2043444" y="6662744"/>
                  <a:pt x="1706255" y="6841814"/>
                </a:cubicBezTo>
                <a:cubicBezTo>
                  <a:pt x="1687205" y="6853244"/>
                  <a:pt x="1664344" y="6845624"/>
                  <a:pt x="1654819" y="6826574"/>
                </a:cubicBezTo>
                <a:cubicBezTo>
                  <a:pt x="1652914" y="6820859"/>
                  <a:pt x="1651009" y="6815144"/>
                  <a:pt x="1651009" y="6809429"/>
                </a:cubicBezTo>
                <a:cubicBezTo>
                  <a:pt x="1651009" y="6796094"/>
                  <a:pt x="1658629" y="6782759"/>
                  <a:pt x="1670059" y="6775139"/>
                </a:cubicBezTo>
                <a:cubicBezTo>
                  <a:pt x="1670059" y="6775139"/>
                  <a:pt x="1670059" y="6775139"/>
                  <a:pt x="2009154" y="6596069"/>
                </a:cubicBezTo>
                <a:cubicBezTo>
                  <a:pt x="2017726" y="6591306"/>
                  <a:pt x="2027728" y="6590354"/>
                  <a:pt x="2037015" y="6592973"/>
                </a:cubicBezTo>
                <a:close/>
                <a:moveTo>
                  <a:pt x="3727789" y="6578033"/>
                </a:moveTo>
                <a:cubicBezTo>
                  <a:pt x="3736844" y="6580647"/>
                  <a:pt x="3744949" y="6586823"/>
                  <a:pt x="3749716" y="6595376"/>
                </a:cubicBezTo>
                <a:cubicBezTo>
                  <a:pt x="3759247" y="6614381"/>
                  <a:pt x="3753527" y="6635287"/>
                  <a:pt x="3734462" y="6646690"/>
                </a:cubicBezTo>
                <a:cubicBezTo>
                  <a:pt x="3734462" y="6646690"/>
                  <a:pt x="3734462" y="6646690"/>
                  <a:pt x="3397032" y="6831042"/>
                </a:cubicBezTo>
                <a:cubicBezTo>
                  <a:pt x="3379870" y="6840544"/>
                  <a:pt x="3356992" y="6832942"/>
                  <a:pt x="3347462" y="6815837"/>
                </a:cubicBezTo>
                <a:cubicBezTo>
                  <a:pt x="3343646" y="6810136"/>
                  <a:pt x="3341741" y="6804434"/>
                  <a:pt x="3341741" y="6798733"/>
                </a:cubicBezTo>
                <a:cubicBezTo>
                  <a:pt x="3341741" y="6785429"/>
                  <a:pt x="3349366" y="6772125"/>
                  <a:pt x="3362712" y="6764523"/>
                </a:cubicBezTo>
                <a:cubicBezTo>
                  <a:pt x="3362712" y="6764523"/>
                  <a:pt x="3362712" y="6764523"/>
                  <a:pt x="3700143" y="6582072"/>
                </a:cubicBezTo>
                <a:cubicBezTo>
                  <a:pt x="3708723" y="6576370"/>
                  <a:pt x="3718732" y="6575420"/>
                  <a:pt x="3727789" y="6578033"/>
                </a:cubicBezTo>
                <a:close/>
                <a:moveTo>
                  <a:pt x="2592701" y="6578033"/>
                </a:moveTo>
                <a:cubicBezTo>
                  <a:pt x="2601757" y="6580646"/>
                  <a:pt x="2609859" y="6586823"/>
                  <a:pt x="2614625" y="6595376"/>
                </a:cubicBezTo>
                <a:cubicBezTo>
                  <a:pt x="2624159" y="6614381"/>
                  <a:pt x="2618439" y="6635287"/>
                  <a:pt x="2599374" y="6646690"/>
                </a:cubicBezTo>
                <a:cubicBezTo>
                  <a:pt x="2599374" y="6646690"/>
                  <a:pt x="2599374" y="6646690"/>
                  <a:pt x="2261929" y="6831042"/>
                </a:cubicBezTo>
                <a:cubicBezTo>
                  <a:pt x="2244770" y="6840544"/>
                  <a:pt x="2221893" y="6832942"/>
                  <a:pt x="2212361" y="6815837"/>
                </a:cubicBezTo>
                <a:cubicBezTo>
                  <a:pt x="2208547" y="6810136"/>
                  <a:pt x="2206641" y="6804434"/>
                  <a:pt x="2206641" y="6798733"/>
                </a:cubicBezTo>
                <a:cubicBezTo>
                  <a:pt x="2206641" y="6785429"/>
                  <a:pt x="2214267" y="6772125"/>
                  <a:pt x="2225706" y="6764523"/>
                </a:cubicBezTo>
                <a:cubicBezTo>
                  <a:pt x="2225706" y="6764523"/>
                  <a:pt x="2225706" y="6764523"/>
                  <a:pt x="2565057" y="6582072"/>
                </a:cubicBezTo>
                <a:cubicBezTo>
                  <a:pt x="2573636" y="6576370"/>
                  <a:pt x="2583648" y="6575420"/>
                  <a:pt x="2592701" y="6578033"/>
                </a:cubicBezTo>
                <a:close/>
                <a:moveTo>
                  <a:pt x="3153211" y="6564138"/>
                </a:moveTo>
                <a:cubicBezTo>
                  <a:pt x="3162241" y="6566511"/>
                  <a:pt x="3170320" y="6572206"/>
                  <a:pt x="3175070" y="6580749"/>
                </a:cubicBezTo>
                <a:cubicBezTo>
                  <a:pt x="3184574" y="6599732"/>
                  <a:pt x="3178873" y="6620614"/>
                  <a:pt x="3161766" y="6630106"/>
                </a:cubicBezTo>
                <a:cubicBezTo>
                  <a:pt x="3161766" y="6630106"/>
                  <a:pt x="3161766" y="6630106"/>
                  <a:pt x="2825350" y="6819941"/>
                </a:cubicBezTo>
                <a:cubicBezTo>
                  <a:pt x="2808242" y="6829432"/>
                  <a:pt x="2785433" y="6823737"/>
                  <a:pt x="2775931" y="6804754"/>
                </a:cubicBezTo>
                <a:cubicBezTo>
                  <a:pt x="2772130" y="6799059"/>
                  <a:pt x="2770229" y="6793364"/>
                  <a:pt x="2770229" y="6787669"/>
                </a:cubicBezTo>
                <a:cubicBezTo>
                  <a:pt x="2770229" y="6774380"/>
                  <a:pt x="2777831" y="6762990"/>
                  <a:pt x="2789236" y="6757295"/>
                </a:cubicBezTo>
                <a:cubicBezTo>
                  <a:pt x="2789236" y="6757295"/>
                  <a:pt x="2789236" y="6757295"/>
                  <a:pt x="3125653" y="6567460"/>
                </a:cubicBezTo>
                <a:cubicBezTo>
                  <a:pt x="3134208" y="6562715"/>
                  <a:pt x="3144185" y="6561765"/>
                  <a:pt x="3153211" y="6564138"/>
                </a:cubicBezTo>
                <a:close/>
                <a:moveTo>
                  <a:pt x="9862101" y="6403755"/>
                </a:moveTo>
                <a:cubicBezTo>
                  <a:pt x="9878927" y="6403933"/>
                  <a:pt x="9895752" y="6414278"/>
                  <a:pt x="9902911" y="6429975"/>
                </a:cubicBezTo>
                <a:cubicBezTo>
                  <a:pt x="9912457" y="6452806"/>
                  <a:pt x="9902911" y="6477539"/>
                  <a:pt x="9880000" y="6487052"/>
                </a:cubicBezTo>
                <a:lnTo>
                  <a:pt x="9540159" y="6637356"/>
                </a:lnTo>
                <a:cubicBezTo>
                  <a:pt x="9517248" y="6646869"/>
                  <a:pt x="9492429" y="6635453"/>
                  <a:pt x="9482882" y="6614525"/>
                </a:cubicBezTo>
                <a:cubicBezTo>
                  <a:pt x="9479064" y="6608817"/>
                  <a:pt x="9479064" y="6603109"/>
                  <a:pt x="9479064" y="6597402"/>
                </a:cubicBezTo>
                <a:cubicBezTo>
                  <a:pt x="9479064" y="6580278"/>
                  <a:pt x="9488610" y="6565058"/>
                  <a:pt x="9505793" y="6557447"/>
                </a:cubicBezTo>
                <a:cubicBezTo>
                  <a:pt x="9505793" y="6557447"/>
                  <a:pt x="9505793" y="6557447"/>
                  <a:pt x="9845634" y="6407144"/>
                </a:cubicBezTo>
                <a:cubicBezTo>
                  <a:pt x="9850884" y="6404766"/>
                  <a:pt x="9856493" y="6403695"/>
                  <a:pt x="9862101" y="6403755"/>
                </a:cubicBezTo>
                <a:close/>
                <a:moveTo>
                  <a:pt x="10444609" y="6390314"/>
                </a:moveTo>
                <a:cubicBezTo>
                  <a:pt x="10460837" y="6389686"/>
                  <a:pt x="10476531" y="6400097"/>
                  <a:pt x="10483665" y="6415894"/>
                </a:cubicBezTo>
                <a:cubicBezTo>
                  <a:pt x="10495078" y="6436955"/>
                  <a:pt x="10483665" y="6463761"/>
                  <a:pt x="10462740" y="6473334"/>
                </a:cubicBezTo>
                <a:cubicBezTo>
                  <a:pt x="10462740" y="6473334"/>
                  <a:pt x="10462740" y="6473334"/>
                  <a:pt x="10124143" y="6624595"/>
                </a:cubicBezTo>
                <a:cubicBezTo>
                  <a:pt x="10101317" y="6634169"/>
                  <a:pt x="10076588" y="6624595"/>
                  <a:pt x="10067076" y="6603534"/>
                </a:cubicBezTo>
                <a:cubicBezTo>
                  <a:pt x="10065174" y="6597790"/>
                  <a:pt x="10063272" y="6592045"/>
                  <a:pt x="10063272" y="6586301"/>
                </a:cubicBezTo>
                <a:cubicBezTo>
                  <a:pt x="10063272" y="6569069"/>
                  <a:pt x="10072783" y="6553752"/>
                  <a:pt x="10088001" y="6546093"/>
                </a:cubicBezTo>
                <a:cubicBezTo>
                  <a:pt x="10088001" y="6546093"/>
                  <a:pt x="10088001" y="6546093"/>
                  <a:pt x="10428500" y="6394832"/>
                </a:cubicBezTo>
                <a:cubicBezTo>
                  <a:pt x="10433731" y="6391960"/>
                  <a:pt x="10439200" y="6390524"/>
                  <a:pt x="10444609" y="6390314"/>
                </a:cubicBezTo>
                <a:close/>
                <a:moveTo>
                  <a:pt x="9283606" y="6390314"/>
                </a:moveTo>
                <a:cubicBezTo>
                  <a:pt x="9300650" y="6389686"/>
                  <a:pt x="9316354" y="6400097"/>
                  <a:pt x="9323493" y="6415894"/>
                </a:cubicBezTo>
                <a:cubicBezTo>
                  <a:pt x="9333011" y="6436955"/>
                  <a:pt x="9323493" y="6463761"/>
                  <a:pt x="9302553" y="6473334"/>
                </a:cubicBezTo>
                <a:cubicBezTo>
                  <a:pt x="9302553" y="6473334"/>
                  <a:pt x="9302553" y="6473334"/>
                  <a:pt x="8961805" y="6624595"/>
                </a:cubicBezTo>
                <a:cubicBezTo>
                  <a:pt x="8940865" y="6634169"/>
                  <a:pt x="8916118" y="6624595"/>
                  <a:pt x="8906600" y="6603534"/>
                </a:cubicBezTo>
                <a:cubicBezTo>
                  <a:pt x="8902793" y="6597790"/>
                  <a:pt x="8902793" y="6592045"/>
                  <a:pt x="8902793" y="6586301"/>
                </a:cubicBezTo>
                <a:cubicBezTo>
                  <a:pt x="8902793" y="6569069"/>
                  <a:pt x="8912311" y="6553752"/>
                  <a:pt x="8927540" y="6546093"/>
                </a:cubicBezTo>
                <a:cubicBezTo>
                  <a:pt x="8927540" y="6546093"/>
                  <a:pt x="8927540" y="6546093"/>
                  <a:pt x="9266384" y="6394832"/>
                </a:cubicBezTo>
                <a:cubicBezTo>
                  <a:pt x="9272095" y="6391960"/>
                  <a:pt x="9277925" y="6390524"/>
                  <a:pt x="9283606" y="6390314"/>
                </a:cubicBezTo>
                <a:close/>
                <a:moveTo>
                  <a:pt x="11020686" y="6377294"/>
                </a:moveTo>
                <a:cubicBezTo>
                  <a:pt x="11037076" y="6376226"/>
                  <a:pt x="11053197" y="6385845"/>
                  <a:pt x="11061795" y="6402947"/>
                </a:cubicBezTo>
                <a:cubicBezTo>
                  <a:pt x="11071348" y="6423849"/>
                  <a:pt x="11061795" y="6448552"/>
                  <a:pt x="11038867" y="6458052"/>
                </a:cubicBezTo>
                <a:cubicBezTo>
                  <a:pt x="11038867" y="6458052"/>
                  <a:pt x="11038867" y="6458052"/>
                  <a:pt x="10698772" y="6611968"/>
                </a:cubicBezTo>
                <a:cubicBezTo>
                  <a:pt x="10677755" y="6621469"/>
                  <a:pt x="10652917" y="6611968"/>
                  <a:pt x="10643363" y="6591066"/>
                </a:cubicBezTo>
                <a:cubicBezTo>
                  <a:pt x="10639542" y="6585365"/>
                  <a:pt x="10639542" y="6579665"/>
                  <a:pt x="10639542" y="6573964"/>
                </a:cubicBezTo>
                <a:cubicBezTo>
                  <a:pt x="10639542" y="6556862"/>
                  <a:pt x="10647185" y="6541661"/>
                  <a:pt x="10664380" y="6534060"/>
                </a:cubicBezTo>
                <a:cubicBezTo>
                  <a:pt x="10664380" y="6534060"/>
                  <a:pt x="10664380" y="6534060"/>
                  <a:pt x="11004475" y="6382045"/>
                </a:cubicBezTo>
                <a:cubicBezTo>
                  <a:pt x="11009729" y="6379195"/>
                  <a:pt x="11015222" y="6377651"/>
                  <a:pt x="11020686" y="6377294"/>
                </a:cubicBezTo>
                <a:close/>
                <a:moveTo>
                  <a:pt x="8711110" y="6377294"/>
                </a:moveTo>
                <a:cubicBezTo>
                  <a:pt x="8727948" y="6376226"/>
                  <a:pt x="8744786" y="6385845"/>
                  <a:pt x="8751951" y="6402947"/>
                </a:cubicBezTo>
                <a:cubicBezTo>
                  <a:pt x="8761504" y="6423849"/>
                  <a:pt x="8751951" y="6448552"/>
                  <a:pt x="8730934" y="6458052"/>
                </a:cubicBezTo>
                <a:cubicBezTo>
                  <a:pt x="8730934" y="6458052"/>
                  <a:pt x="8730934" y="6458052"/>
                  <a:pt x="8388928" y="6611968"/>
                </a:cubicBezTo>
                <a:cubicBezTo>
                  <a:pt x="8367911" y="6621469"/>
                  <a:pt x="8343073" y="6611968"/>
                  <a:pt x="8333519" y="6591066"/>
                </a:cubicBezTo>
                <a:cubicBezTo>
                  <a:pt x="8329698" y="6585365"/>
                  <a:pt x="8329698" y="6579665"/>
                  <a:pt x="8329698" y="6573964"/>
                </a:cubicBezTo>
                <a:cubicBezTo>
                  <a:pt x="8329698" y="6556862"/>
                  <a:pt x="8339251" y="6541661"/>
                  <a:pt x="8354536" y="6534060"/>
                </a:cubicBezTo>
                <a:cubicBezTo>
                  <a:pt x="8354536" y="6534060"/>
                  <a:pt x="8354536" y="6534060"/>
                  <a:pt x="8694631" y="6382045"/>
                </a:cubicBezTo>
                <a:cubicBezTo>
                  <a:pt x="8699885" y="6379195"/>
                  <a:pt x="8705498" y="6377651"/>
                  <a:pt x="8711110" y="6377294"/>
                </a:cubicBezTo>
                <a:close/>
                <a:moveTo>
                  <a:pt x="8145353" y="6364557"/>
                </a:moveTo>
                <a:cubicBezTo>
                  <a:pt x="8162396" y="6363400"/>
                  <a:pt x="8178101" y="6372652"/>
                  <a:pt x="8185240" y="6388309"/>
                </a:cubicBezTo>
                <a:cubicBezTo>
                  <a:pt x="8194758" y="6411083"/>
                  <a:pt x="8185240" y="6435755"/>
                  <a:pt x="8164300" y="6445244"/>
                </a:cubicBezTo>
                <a:cubicBezTo>
                  <a:pt x="8164300" y="6445244"/>
                  <a:pt x="8164300" y="6445244"/>
                  <a:pt x="7825456" y="6600868"/>
                </a:cubicBezTo>
                <a:cubicBezTo>
                  <a:pt x="7804516" y="6610357"/>
                  <a:pt x="7779769" y="6600868"/>
                  <a:pt x="7768347" y="6579991"/>
                </a:cubicBezTo>
                <a:cubicBezTo>
                  <a:pt x="7766443" y="6574298"/>
                  <a:pt x="7764540" y="6568604"/>
                  <a:pt x="7764540" y="6562911"/>
                </a:cubicBezTo>
                <a:cubicBezTo>
                  <a:pt x="7764540" y="6545830"/>
                  <a:pt x="7774058" y="6530647"/>
                  <a:pt x="7789287" y="6523056"/>
                </a:cubicBezTo>
                <a:cubicBezTo>
                  <a:pt x="7789287" y="6523056"/>
                  <a:pt x="7789287" y="6523056"/>
                  <a:pt x="8128131" y="6369331"/>
                </a:cubicBezTo>
                <a:cubicBezTo>
                  <a:pt x="8133842" y="6366484"/>
                  <a:pt x="8139672" y="6364942"/>
                  <a:pt x="8145353" y="6364557"/>
                </a:cubicBezTo>
                <a:close/>
                <a:moveTo>
                  <a:pt x="11589455" y="6364556"/>
                </a:moveTo>
                <a:cubicBezTo>
                  <a:pt x="11605707" y="6363400"/>
                  <a:pt x="11621424" y="6372652"/>
                  <a:pt x="11628568" y="6388309"/>
                </a:cubicBezTo>
                <a:cubicBezTo>
                  <a:pt x="11638093" y="6411083"/>
                  <a:pt x="11630473" y="6435755"/>
                  <a:pt x="11607613" y="6445244"/>
                </a:cubicBezTo>
                <a:cubicBezTo>
                  <a:pt x="11607613" y="6445244"/>
                  <a:pt x="11607613" y="6445244"/>
                  <a:pt x="11268518" y="6600868"/>
                </a:cubicBezTo>
                <a:cubicBezTo>
                  <a:pt x="11247563" y="6610357"/>
                  <a:pt x="11222797" y="6600868"/>
                  <a:pt x="11213272" y="6579991"/>
                </a:cubicBezTo>
                <a:cubicBezTo>
                  <a:pt x="11211367" y="6574298"/>
                  <a:pt x="11209462" y="6568604"/>
                  <a:pt x="11209462" y="6562911"/>
                </a:cubicBezTo>
                <a:cubicBezTo>
                  <a:pt x="11209462" y="6545830"/>
                  <a:pt x="11218987" y="6530647"/>
                  <a:pt x="11234227" y="6523056"/>
                </a:cubicBezTo>
                <a:cubicBezTo>
                  <a:pt x="11234227" y="6523056"/>
                  <a:pt x="11234227" y="6523056"/>
                  <a:pt x="11573322" y="6369331"/>
                </a:cubicBezTo>
                <a:cubicBezTo>
                  <a:pt x="11578561" y="6366484"/>
                  <a:pt x="11584038" y="6364942"/>
                  <a:pt x="11589455" y="6364556"/>
                </a:cubicBezTo>
                <a:close/>
                <a:moveTo>
                  <a:pt x="12139750" y="6353181"/>
                </a:moveTo>
                <a:cubicBezTo>
                  <a:pt x="12139750" y="6353181"/>
                  <a:pt x="12139750" y="6353181"/>
                  <a:pt x="12139750" y="6444739"/>
                </a:cubicBezTo>
                <a:cubicBezTo>
                  <a:pt x="12139750" y="6444739"/>
                  <a:pt x="12139750" y="6444739"/>
                  <a:pt x="11833573" y="6587799"/>
                </a:cubicBezTo>
                <a:cubicBezTo>
                  <a:pt x="11812654" y="6599244"/>
                  <a:pt x="11787932" y="6589706"/>
                  <a:pt x="11778423" y="6568724"/>
                </a:cubicBezTo>
                <a:cubicBezTo>
                  <a:pt x="11774620" y="6563002"/>
                  <a:pt x="11774620" y="6557280"/>
                  <a:pt x="11774620" y="6551557"/>
                </a:cubicBezTo>
                <a:cubicBezTo>
                  <a:pt x="11774620" y="6534390"/>
                  <a:pt x="11782227" y="6519130"/>
                  <a:pt x="11797441" y="6513408"/>
                </a:cubicBezTo>
                <a:lnTo>
                  <a:pt x="12135947" y="6355088"/>
                </a:lnTo>
                <a:cubicBezTo>
                  <a:pt x="12137848" y="6353181"/>
                  <a:pt x="12139750" y="6353181"/>
                  <a:pt x="12139750" y="6353181"/>
                </a:cubicBezTo>
                <a:close/>
                <a:moveTo>
                  <a:pt x="7585725" y="6350302"/>
                </a:moveTo>
                <a:cubicBezTo>
                  <a:pt x="7601977" y="6349140"/>
                  <a:pt x="7617694" y="6358438"/>
                  <a:pt x="7624838" y="6374174"/>
                </a:cubicBezTo>
                <a:cubicBezTo>
                  <a:pt x="7634363" y="6395155"/>
                  <a:pt x="7624838" y="6419951"/>
                  <a:pt x="7605787" y="6429488"/>
                </a:cubicBezTo>
                <a:cubicBezTo>
                  <a:pt x="7605787" y="6429488"/>
                  <a:pt x="7605787" y="6429488"/>
                  <a:pt x="7264788" y="6587800"/>
                </a:cubicBezTo>
                <a:cubicBezTo>
                  <a:pt x="7243832" y="6599244"/>
                  <a:pt x="7219067" y="6589707"/>
                  <a:pt x="7209542" y="6568726"/>
                </a:cubicBezTo>
                <a:cubicBezTo>
                  <a:pt x="7207637" y="6563004"/>
                  <a:pt x="7205732" y="6557282"/>
                  <a:pt x="7205732" y="6551559"/>
                </a:cubicBezTo>
                <a:cubicBezTo>
                  <a:pt x="7205732" y="6534393"/>
                  <a:pt x="7215257" y="6519134"/>
                  <a:pt x="7230497" y="6513412"/>
                </a:cubicBezTo>
                <a:cubicBezTo>
                  <a:pt x="7230497" y="6513412"/>
                  <a:pt x="7230497" y="6513412"/>
                  <a:pt x="7569592" y="6355100"/>
                </a:cubicBezTo>
                <a:cubicBezTo>
                  <a:pt x="7574831" y="6352239"/>
                  <a:pt x="7580308" y="6350689"/>
                  <a:pt x="7585725" y="6350302"/>
                </a:cubicBezTo>
                <a:close/>
                <a:moveTo>
                  <a:pt x="7049044" y="6340183"/>
                </a:moveTo>
                <a:cubicBezTo>
                  <a:pt x="7059045" y="6343525"/>
                  <a:pt x="7067618" y="6350687"/>
                  <a:pt x="7072381" y="6361190"/>
                </a:cubicBezTo>
                <a:cubicBezTo>
                  <a:pt x="7081906" y="6382198"/>
                  <a:pt x="7072381" y="6407025"/>
                  <a:pt x="7051425" y="6416574"/>
                </a:cubicBezTo>
                <a:cubicBezTo>
                  <a:pt x="7051425" y="6416574"/>
                  <a:pt x="7051425" y="6416574"/>
                  <a:pt x="6714236" y="6576995"/>
                </a:cubicBezTo>
                <a:cubicBezTo>
                  <a:pt x="6693280" y="6586544"/>
                  <a:pt x="6668515" y="6578905"/>
                  <a:pt x="6658990" y="6557897"/>
                </a:cubicBezTo>
                <a:cubicBezTo>
                  <a:pt x="6655180" y="6552168"/>
                  <a:pt x="6653275" y="6546438"/>
                  <a:pt x="6653275" y="6540709"/>
                </a:cubicBezTo>
                <a:cubicBezTo>
                  <a:pt x="6653275" y="6523521"/>
                  <a:pt x="6662800" y="6510153"/>
                  <a:pt x="6678040" y="6502514"/>
                </a:cubicBezTo>
                <a:cubicBezTo>
                  <a:pt x="6678040" y="6502514"/>
                  <a:pt x="6678040" y="6502514"/>
                  <a:pt x="7017135" y="6342093"/>
                </a:cubicBezTo>
                <a:cubicBezTo>
                  <a:pt x="7027612" y="6337318"/>
                  <a:pt x="7039043" y="6336841"/>
                  <a:pt x="7049044" y="6340183"/>
                </a:cubicBezTo>
                <a:close/>
                <a:moveTo>
                  <a:pt x="6502912" y="6327426"/>
                </a:moveTo>
                <a:cubicBezTo>
                  <a:pt x="6512921" y="6330743"/>
                  <a:pt x="6521500" y="6337851"/>
                  <a:pt x="6526266" y="6348277"/>
                </a:cubicBezTo>
                <a:cubicBezTo>
                  <a:pt x="6535798" y="6367232"/>
                  <a:pt x="6528172" y="6391874"/>
                  <a:pt x="6507201" y="6401351"/>
                </a:cubicBezTo>
                <a:cubicBezTo>
                  <a:pt x="6507201" y="6401351"/>
                  <a:pt x="6507201" y="6401351"/>
                  <a:pt x="6167854" y="6564366"/>
                </a:cubicBezTo>
                <a:cubicBezTo>
                  <a:pt x="6146884" y="6573844"/>
                  <a:pt x="6122100" y="6566262"/>
                  <a:pt x="6112568" y="6545411"/>
                </a:cubicBezTo>
                <a:cubicBezTo>
                  <a:pt x="6110661" y="6539724"/>
                  <a:pt x="6108755" y="6534038"/>
                  <a:pt x="6108755" y="6528351"/>
                </a:cubicBezTo>
                <a:cubicBezTo>
                  <a:pt x="6108755" y="6513187"/>
                  <a:pt x="6118287" y="6498023"/>
                  <a:pt x="6131632" y="6490441"/>
                </a:cubicBezTo>
                <a:cubicBezTo>
                  <a:pt x="6131632" y="6490441"/>
                  <a:pt x="6131632" y="6490441"/>
                  <a:pt x="6470979" y="6329321"/>
                </a:cubicBezTo>
                <a:cubicBezTo>
                  <a:pt x="6481464" y="6324583"/>
                  <a:pt x="6492903" y="6324109"/>
                  <a:pt x="6502912" y="6327426"/>
                </a:cubicBezTo>
                <a:close/>
                <a:moveTo>
                  <a:pt x="5955853" y="6313176"/>
                </a:moveTo>
                <a:cubicBezTo>
                  <a:pt x="5965384" y="6316510"/>
                  <a:pt x="5973487" y="6323653"/>
                  <a:pt x="5978253" y="6334131"/>
                </a:cubicBezTo>
                <a:cubicBezTo>
                  <a:pt x="5989691" y="6353181"/>
                  <a:pt x="5980159" y="6377946"/>
                  <a:pt x="5961095" y="6387471"/>
                </a:cubicBezTo>
                <a:cubicBezTo>
                  <a:pt x="5961095" y="6387471"/>
                  <a:pt x="5961095" y="6387471"/>
                  <a:pt x="5621756" y="6553206"/>
                </a:cubicBezTo>
                <a:cubicBezTo>
                  <a:pt x="5600786" y="6562731"/>
                  <a:pt x="5576002" y="6553206"/>
                  <a:pt x="5566471" y="6534156"/>
                </a:cubicBezTo>
                <a:cubicBezTo>
                  <a:pt x="5564565" y="6528441"/>
                  <a:pt x="5562658" y="6522726"/>
                  <a:pt x="5562658" y="6517011"/>
                </a:cubicBezTo>
                <a:cubicBezTo>
                  <a:pt x="5562658" y="6501771"/>
                  <a:pt x="5572190" y="6486531"/>
                  <a:pt x="5585535" y="6478911"/>
                </a:cubicBezTo>
                <a:cubicBezTo>
                  <a:pt x="5585535" y="6478911"/>
                  <a:pt x="5585535" y="6478911"/>
                  <a:pt x="5924874" y="6315081"/>
                </a:cubicBezTo>
                <a:cubicBezTo>
                  <a:pt x="5935360" y="6310318"/>
                  <a:pt x="5946321" y="6309842"/>
                  <a:pt x="5955853" y="6313176"/>
                </a:cubicBezTo>
                <a:close/>
                <a:moveTo>
                  <a:pt x="396081" y="6313176"/>
                </a:moveTo>
                <a:cubicBezTo>
                  <a:pt x="405822" y="6316509"/>
                  <a:pt x="414375" y="6323653"/>
                  <a:pt x="419127" y="6334131"/>
                </a:cubicBezTo>
                <a:cubicBezTo>
                  <a:pt x="428631" y="6353181"/>
                  <a:pt x="421028" y="6377946"/>
                  <a:pt x="400120" y="6387471"/>
                </a:cubicBezTo>
                <a:cubicBezTo>
                  <a:pt x="400120" y="6387471"/>
                  <a:pt x="400120" y="6387471"/>
                  <a:pt x="63687" y="6553206"/>
                </a:cubicBezTo>
                <a:cubicBezTo>
                  <a:pt x="42779" y="6562731"/>
                  <a:pt x="18069" y="6553206"/>
                  <a:pt x="8565" y="6534156"/>
                </a:cubicBezTo>
                <a:cubicBezTo>
                  <a:pt x="6665" y="6528441"/>
                  <a:pt x="4764" y="6522726"/>
                  <a:pt x="4764" y="6517011"/>
                </a:cubicBezTo>
                <a:cubicBezTo>
                  <a:pt x="4764" y="6501771"/>
                  <a:pt x="12367" y="6486531"/>
                  <a:pt x="27573" y="6478911"/>
                </a:cubicBezTo>
                <a:cubicBezTo>
                  <a:pt x="27573" y="6478911"/>
                  <a:pt x="27573" y="6478911"/>
                  <a:pt x="365906" y="6315081"/>
                </a:cubicBezTo>
                <a:cubicBezTo>
                  <a:pt x="375410" y="6310318"/>
                  <a:pt x="386339" y="6309842"/>
                  <a:pt x="396081" y="6313176"/>
                </a:cubicBezTo>
                <a:close/>
                <a:moveTo>
                  <a:pt x="5405334" y="6300229"/>
                </a:moveTo>
                <a:cubicBezTo>
                  <a:pt x="5415075" y="6303320"/>
                  <a:pt x="5423628" y="6309980"/>
                  <a:pt x="5429330" y="6319493"/>
                </a:cubicBezTo>
                <a:cubicBezTo>
                  <a:pt x="5438834" y="6340422"/>
                  <a:pt x="5431231" y="6363255"/>
                  <a:pt x="5410323" y="6372768"/>
                </a:cubicBezTo>
                <a:cubicBezTo>
                  <a:pt x="5410323" y="6372768"/>
                  <a:pt x="5410323" y="6372768"/>
                  <a:pt x="5071988" y="6540203"/>
                </a:cubicBezTo>
                <a:cubicBezTo>
                  <a:pt x="5052982" y="6551619"/>
                  <a:pt x="5028275" y="6542105"/>
                  <a:pt x="5018774" y="6523079"/>
                </a:cubicBezTo>
                <a:cubicBezTo>
                  <a:pt x="5016874" y="6517371"/>
                  <a:pt x="5014971" y="6511663"/>
                  <a:pt x="5014971" y="6505955"/>
                </a:cubicBezTo>
                <a:cubicBezTo>
                  <a:pt x="5014971" y="6490733"/>
                  <a:pt x="5022573" y="6475512"/>
                  <a:pt x="5037777" y="6469804"/>
                </a:cubicBezTo>
                <a:cubicBezTo>
                  <a:pt x="5037777" y="6469804"/>
                  <a:pt x="5037777" y="6469804"/>
                  <a:pt x="5374210" y="6302369"/>
                </a:cubicBezTo>
                <a:cubicBezTo>
                  <a:pt x="5384664" y="6297613"/>
                  <a:pt x="5395594" y="6297137"/>
                  <a:pt x="5405334" y="6300229"/>
                </a:cubicBezTo>
                <a:close/>
                <a:moveTo>
                  <a:pt x="940474" y="6300229"/>
                </a:moveTo>
                <a:cubicBezTo>
                  <a:pt x="950252" y="6303320"/>
                  <a:pt x="958837" y="6309980"/>
                  <a:pt x="963607" y="6319493"/>
                </a:cubicBezTo>
                <a:cubicBezTo>
                  <a:pt x="973146" y="6340422"/>
                  <a:pt x="965515" y="6363255"/>
                  <a:pt x="944529" y="6372768"/>
                </a:cubicBezTo>
                <a:cubicBezTo>
                  <a:pt x="944529" y="6372768"/>
                  <a:pt x="944529" y="6372768"/>
                  <a:pt x="606835" y="6540203"/>
                </a:cubicBezTo>
                <a:cubicBezTo>
                  <a:pt x="585849" y="6551619"/>
                  <a:pt x="562954" y="6542105"/>
                  <a:pt x="551507" y="6523079"/>
                </a:cubicBezTo>
                <a:cubicBezTo>
                  <a:pt x="549599" y="6517371"/>
                  <a:pt x="547691" y="6511663"/>
                  <a:pt x="547691" y="6505955"/>
                </a:cubicBezTo>
                <a:cubicBezTo>
                  <a:pt x="547691" y="6490733"/>
                  <a:pt x="557231" y="6475512"/>
                  <a:pt x="570586" y="6469804"/>
                </a:cubicBezTo>
                <a:cubicBezTo>
                  <a:pt x="570586" y="6469804"/>
                  <a:pt x="570586" y="6469804"/>
                  <a:pt x="910187" y="6302369"/>
                </a:cubicBezTo>
                <a:cubicBezTo>
                  <a:pt x="919726" y="6297613"/>
                  <a:pt x="930696" y="6297137"/>
                  <a:pt x="940474" y="6300229"/>
                </a:cubicBezTo>
                <a:close/>
                <a:moveTo>
                  <a:pt x="4851394" y="6285987"/>
                </a:moveTo>
                <a:cubicBezTo>
                  <a:pt x="4860934" y="6289098"/>
                  <a:pt x="4869520" y="6295798"/>
                  <a:pt x="4875244" y="6305369"/>
                </a:cubicBezTo>
                <a:cubicBezTo>
                  <a:pt x="4884787" y="6324513"/>
                  <a:pt x="4877154" y="6349399"/>
                  <a:pt x="4856163" y="6358971"/>
                </a:cubicBezTo>
                <a:cubicBezTo>
                  <a:pt x="4856163" y="6358971"/>
                  <a:pt x="4856163" y="6358971"/>
                  <a:pt x="4518476" y="6529347"/>
                </a:cubicBezTo>
                <a:cubicBezTo>
                  <a:pt x="4497490" y="6538919"/>
                  <a:pt x="4474595" y="6531261"/>
                  <a:pt x="4465055" y="6512118"/>
                </a:cubicBezTo>
                <a:cubicBezTo>
                  <a:pt x="4461240" y="6506375"/>
                  <a:pt x="4459332" y="6500632"/>
                  <a:pt x="4459332" y="6494889"/>
                </a:cubicBezTo>
                <a:cubicBezTo>
                  <a:pt x="4459332" y="6479574"/>
                  <a:pt x="4468872" y="6466174"/>
                  <a:pt x="4482226" y="6458517"/>
                </a:cubicBezTo>
                <a:cubicBezTo>
                  <a:pt x="4482226" y="6458517"/>
                  <a:pt x="4482226" y="6458517"/>
                  <a:pt x="4821817" y="6288140"/>
                </a:cubicBezTo>
                <a:cubicBezTo>
                  <a:pt x="4831356" y="6283355"/>
                  <a:pt x="4841852" y="6282876"/>
                  <a:pt x="4851394" y="6285987"/>
                </a:cubicBezTo>
                <a:close/>
                <a:moveTo>
                  <a:pt x="1486674" y="6285987"/>
                </a:moveTo>
                <a:cubicBezTo>
                  <a:pt x="1496423" y="6289098"/>
                  <a:pt x="1504982" y="6295798"/>
                  <a:pt x="1509738" y="6305369"/>
                </a:cubicBezTo>
                <a:cubicBezTo>
                  <a:pt x="1519249" y="6324513"/>
                  <a:pt x="1511640" y="6349399"/>
                  <a:pt x="1492618" y="6358971"/>
                </a:cubicBezTo>
                <a:cubicBezTo>
                  <a:pt x="1492618" y="6358971"/>
                  <a:pt x="1492618" y="6358971"/>
                  <a:pt x="1154033" y="6529347"/>
                </a:cubicBezTo>
                <a:cubicBezTo>
                  <a:pt x="1135012" y="6538919"/>
                  <a:pt x="1110284" y="6531261"/>
                  <a:pt x="1100773" y="6512118"/>
                </a:cubicBezTo>
                <a:cubicBezTo>
                  <a:pt x="1098871" y="6506375"/>
                  <a:pt x="1096968" y="6500632"/>
                  <a:pt x="1096968" y="6494889"/>
                </a:cubicBezTo>
                <a:cubicBezTo>
                  <a:pt x="1096968" y="6479574"/>
                  <a:pt x="1104577" y="6466174"/>
                  <a:pt x="1117892" y="6458517"/>
                </a:cubicBezTo>
                <a:cubicBezTo>
                  <a:pt x="1117892" y="6458517"/>
                  <a:pt x="1117892" y="6458517"/>
                  <a:pt x="1456477" y="6288140"/>
                </a:cubicBezTo>
                <a:cubicBezTo>
                  <a:pt x="1465988" y="6283355"/>
                  <a:pt x="1476926" y="6282876"/>
                  <a:pt x="1486674" y="6285987"/>
                </a:cubicBezTo>
                <a:close/>
                <a:moveTo>
                  <a:pt x="4292528" y="6273233"/>
                </a:moveTo>
                <a:cubicBezTo>
                  <a:pt x="4302038" y="6276321"/>
                  <a:pt x="4310122" y="6282972"/>
                  <a:pt x="4314879" y="6292474"/>
                </a:cubicBezTo>
                <a:cubicBezTo>
                  <a:pt x="4324390" y="6311478"/>
                  <a:pt x="4316781" y="6334282"/>
                  <a:pt x="4297758" y="6345684"/>
                </a:cubicBezTo>
                <a:cubicBezTo>
                  <a:pt x="4297758" y="6345684"/>
                  <a:pt x="4297758" y="6345684"/>
                  <a:pt x="3961098" y="6516717"/>
                </a:cubicBezTo>
                <a:cubicBezTo>
                  <a:pt x="3940171" y="6526219"/>
                  <a:pt x="3917345" y="6518617"/>
                  <a:pt x="3907833" y="6499614"/>
                </a:cubicBezTo>
                <a:cubicBezTo>
                  <a:pt x="3904029" y="6493913"/>
                  <a:pt x="3902127" y="6488211"/>
                  <a:pt x="3902127" y="6482510"/>
                </a:cubicBezTo>
                <a:cubicBezTo>
                  <a:pt x="3902127" y="6467307"/>
                  <a:pt x="3911637" y="6454005"/>
                  <a:pt x="3924953" y="6446403"/>
                </a:cubicBezTo>
                <a:cubicBezTo>
                  <a:pt x="3924953" y="6446403"/>
                  <a:pt x="3924953" y="6446403"/>
                  <a:pt x="4261616" y="6275371"/>
                </a:cubicBezTo>
                <a:cubicBezTo>
                  <a:pt x="4272079" y="6270620"/>
                  <a:pt x="4283017" y="6270145"/>
                  <a:pt x="4292528" y="6273233"/>
                </a:cubicBezTo>
                <a:close/>
                <a:moveTo>
                  <a:pt x="2038415" y="6273233"/>
                </a:moveTo>
                <a:cubicBezTo>
                  <a:pt x="2047931" y="6276321"/>
                  <a:pt x="2056491" y="6282972"/>
                  <a:pt x="2062198" y="6292474"/>
                </a:cubicBezTo>
                <a:cubicBezTo>
                  <a:pt x="2071708" y="6311478"/>
                  <a:pt x="2064099" y="6334282"/>
                  <a:pt x="2045072" y="6345684"/>
                </a:cubicBezTo>
                <a:cubicBezTo>
                  <a:pt x="2045072" y="6345684"/>
                  <a:pt x="2045072" y="6345684"/>
                  <a:pt x="1706487" y="6516717"/>
                </a:cubicBezTo>
                <a:cubicBezTo>
                  <a:pt x="1687465" y="6526219"/>
                  <a:pt x="1662737" y="6518617"/>
                  <a:pt x="1653226" y="6499614"/>
                </a:cubicBezTo>
                <a:cubicBezTo>
                  <a:pt x="1651324" y="6493913"/>
                  <a:pt x="1649422" y="6488211"/>
                  <a:pt x="1649422" y="6482510"/>
                </a:cubicBezTo>
                <a:cubicBezTo>
                  <a:pt x="1649422" y="6467307"/>
                  <a:pt x="1657031" y="6454005"/>
                  <a:pt x="1670346" y="6446403"/>
                </a:cubicBezTo>
                <a:cubicBezTo>
                  <a:pt x="1670346" y="6446403"/>
                  <a:pt x="1670346" y="6446403"/>
                  <a:pt x="2008931" y="6275371"/>
                </a:cubicBezTo>
                <a:cubicBezTo>
                  <a:pt x="2018442" y="6270620"/>
                  <a:pt x="2028904" y="6270145"/>
                  <a:pt x="2038415" y="6273233"/>
                </a:cubicBezTo>
                <a:close/>
                <a:moveTo>
                  <a:pt x="3729186" y="6260524"/>
                </a:moveTo>
                <a:cubicBezTo>
                  <a:pt x="3738467" y="6263608"/>
                  <a:pt x="3746557" y="6270252"/>
                  <a:pt x="3751317" y="6279742"/>
                </a:cubicBezTo>
                <a:cubicBezTo>
                  <a:pt x="3760836" y="6298723"/>
                  <a:pt x="3755126" y="6321500"/>
                  <a:pt x="3736088" y="6330991"/>
                </a:cubicBezTo>
                <a:cubicBezTo>
                  <a:pt x="3736088" y="6330991"/>
                  <a:pt x="3736088" y="6330991"/>
                  <a:pt x="3397264" y="6505616"/>
                </a:cubicBezTo>
                <a:cubicBezTo>
                  <a:pt x="3378225" y="6515107"/>
                  <a:pt x="3355383" y="6507514"/>
                  <a:pt x="3345866" y="6488533"/>
                </a:cubicBezTo>
                <a:cubicBezTo>
                  <a:pt x="3342057" y="6482839"/>
                  <a:pt x="3340155" y="6477145"/>
                  <a:pt x="3340155" y="6469552"/>
                </a:cubicBezTo>
                <a:cubicBezTo>
                  <a:pt x="3340155" y="6456266"/>
                  <a:pt x="3347765" y="6442979"/>
                  <a:pt x="3361094" y="6435386"/>
                </a:cubicBezTo>
                <a:cubicBezTo>
                  <a:pt x="3361094" y="6435386"/>
                  <a:pt x="3361094" y="6435386"/>
                  <a:pt x="3699919" y="6262659"/>
                </a:cubicBezTo>
                <a:cubicBezTo>
                  <a:pt x="3709437" y="6257914"/>
                  <a:pt x="3719905" y="6257440"/>
                  <a:pt x="3729186" y="6260524"/>
                </a:cubicBezTo>
                <a:close/>
                <a:moveTo>
                  <a:pt x="2595567" y="6260524"/>
                </a:moveTo>
                <a:cubicBezTo>
                  <a:pt x="2604884" y="6263608"/>
                  <a:pt x="2613003" y="6270252"/>
                  <a:pt x="2617780" y="6279742"/>
                </a:cubicBezTo>
                <a:cubicBezTo>
                  <a:pt x="2627334" y="6298723"/>
                  <a:pt x="2621601" y="6321500"/>
                  <a:pt x="2600583" y="6330991"/>
                </a:cubicBezTo>
                <a:cubicBezTo>
                  <a:pt x="2600583" y="6330991"/>
                  <a:pt x="2600583" y="6330991"/>
                  <a:pt x="2262377" y="6505616"/>
                </a:cubicBezTo>
                <a:cubicBezTo>
                  <a:pt x="2243270" y="6515107"/>
                  <a:pt x="2220340" y="6507514"/>
                  <a:pt x="2210786" y="6488533"/>
                </a:cubicBezTo>
                <a:cubicBezTo>
                  <a:pt x="2206965" y="6482839"/>
                  <a:pt x="2205054" y="6477145"/>
                  <a:pt x="2205054" y="6469552"/>
                </a:cubicBezTo>
                <a:cubicBezTo>
                  <a:pt x="2205054" y="6456266"/>
                  <a:pt x="2212697" y="6442979"/>
                  <a:pt x="2226073" y="6435386"/>
                </a:cubicBezTo>
                <a:cubicBezTo>
                  <a:pt x="2226073" y="6435386"/>
                  <a:pt x="2226073" y="6435386"/>
                  <a:pt x="2566189" y="6262659"/>
                </a:cubicBezTo>
                <a:cubicBezTo>
                  <a:pt x="2575743" y="6257914"/>
                  <a:pt x="2586252" y="6257440"/>
                  <a:pt x="2595567" y="6260524"/>
                </a:cubicBezTo>
                <a:close/>
                <a:moveTo>
                  <a:pt x="3155659" y="6245326"/>
                </a:moveTo>
                <a:cubicBezTo>
                  <a:pt x="3164974" y="6247952"/>
                  <a:pt x="3173095" y="6254158"/>
                  <a:pt x="3177874" y="6263706"/>
                </a:cubicBezTo>
                <a:cubicBezTo>
                  <a:pt x="3189337" y="6282802"/>
                  <a:pt x="3181694" y="6305717"/>
                  <a:pt x="3162585" y="6317174"/>
                </a:cubicBezTo>
                <a:cubicBezTo>
                  <a:pt x="3162585" y="6317174"/>
                  <a:pt x="3162585" y="6317174"/>
                  <a:pt x="2822468" y="6492858"/>
                </a:cubicBezTo>
                <a:cubicBezTo>
                  <a:pt x="2805269" y="6502406"/>
                  <a:pt x="2780431" y="6496677"/>
                  <a:pt x="2770875" y="6477581"/>
                </a:cubicBezTo>
                <a:cubicBezTo>
                  <a:pt x="2768965" y="6471852"/>
                  <a:pt x="2767055" y="6466123"/>
                  <a:pt x="2767055" y="6458485"/>
                </a:cubicBezTo>
                <a:cubicBezTo>
                  <a:pt x="2767055" y="6445118"/>
                  <a:pt x="2774698" y="6431751"/>
                  <a:pt x="2788072" y="6426022"/>
                </a:cubicBezTo>
                <a:cubicBezTo>
                  <a:pt x="2788072" y="6426022"/>
                  <a:pt x="2788072" y="6426022"/>
                  <a:pt x="3126282" y="6248429"/>
                </a:cubicBezTo>
                <a:cubicBezTo>
                  <a:pt x="3135836" y="6243655"/>
                  <a:pt x="3146345" y="6242700"/>
                  <a:pt x="3155659" y="6245326"/>
                </a:cubicBezTo>
                <a:close/>
                <a:moveTo>
                  <a:pt x="9874931" y="6079814"/>
                </a:moveTo>
                <a:cubicBezTo>
                  <a:pt x="9884902" y="6083147"/>
                  <a:pt x="9893449" y="6090291"/>
                  <a:pt x="9898198" y="6100769"/>
                </a:cubicBezTo>
                <a:cubicBezTo>
                  <a:pt x="9907695" y="6119819"/>
                  <a:pt x="9900098" y="6144584"/>
                  <a:pt x="9879205" y="6154109"/>
                </a:cubicBezTo>
                <a:cubicBezTo>
                  <a:pt x="9879205" y="6154109"/>
                  <a:pt x="9879205" y="6154109"/>
                  <a:pt x="9541119" y="6319844"/>
                </a:cubicBezTo>
                <a:cubicBezTo>
                  <a:pt x="9522126" y="6329369"/>
                  <a:pt x="9497434" y="6319844"/>
                  <a:pt x="9487937" y="6300794"/>
                </a:cubicBezTo>
                <a:cubicBezTo>
                  <a:pt x="9484138" y="6295079"/>
                  <a:pt x="9482239" y="6287459"/>
                  <a:pt x="9482239" y="6281744"/>
                </a:cubicBezTo>
                <a:cubicBezTo>
                  <a:pt x="9482239" y="6266504"/>
                  <a:pt x="9491736" y="6253169"/>
                  <a:pt x="9506931" y="6245549"/>
                </a:cubicBezTo>
                <a:cubicBezTo>
                  <a:pt x="9506931" y="6245549"/>
                  <a:pt x="9506931" y="6245549"/>
                  <a:pt x="9843117" y="6081719"/>
                </a:cubicBezTo>
                <a:cubicBezTo>
                  <a:pt x="9853564" y="6076956"/>
                  <a:pt x="9864959" y="6076480"/>
                  <a:pt x="9874931" y="6079814"/>
                </a:cubicBezTo>
                <a:close/>
                <a:moveTo>
                  <a:pt x="10459016" y="6066240"/>
                </a:moveTo>
                <a:cubicBezTo>
                  <a:pt x="10469025" y="6069812"/>
                  <a:pt x="10477604" y="6076956"/>
                  <a:pt x="10482370" y="6086481"/>
                </a:cubicBezTo>
                <a:cubicBezTo>
                  <a:pt x="10491902" y="6107436"/>
                  <a:pt x="10484276" y="6132201"/>
                  <a:pt x="10463305" y="6141726"/>
                </a:cubicBezTo>
                <a:cubicBezTo>
                  <a:pt x="10463305" y="6141726"/>
                  <a:pt x="10463305" y="6141726"/>
                  <a:pt x="10123959" y="6305556"/>
                </a:cubicBezTo>
                <a:cubicBezTo>
                  <a:pt x="10102988" y="6315081"/>
                  <a:pt x="10080111" y="6307461"/>
                  <a:pt x="10068672" y="6286506"/>
                </a:cubicBezTo>
                <a:cubicBezTo>
                  <a:pt x="10066765" y="6280791"/>
                  <a:pt x="10064859" y="6275076"/>
                  <a:pt x="10064859" y="6269361"/>
                </a:cubicBezTo>
                <a:cubicBezTo>
                  <a:pt x="10064859" y="6254121"/>
                  <a:pt x="10074391" y="6238881"/>
                  <a:pt x="10087736" y="6231261"/>
                </a:cubicBezTo>
                <a:cubicBezTo>
                  <a:pt x="10087736" y="6231261"/>
                  <a:pt x="10087736" y="6231261"/>
                  <a:pt x="10427083" y="6067431"/>
                </a:cubicBezTo>
                <a:cubicBezTo>
                  <a:pt x="10437569" y="6062668"/>
                  <a:pt x="10449007" y="6062668"/>
                  <a:pt x="10459016" y="6066240"/>
                </a:cubicBezTo>
                <a:close/>
                <a:moveTo>
                  <a:pt x="9297823" y="6066240"/>
                </a:moveTo>
                <a:cubicBezTo>
                  <a:pt x="9307594" y="6069812"/>
                  <a:pt x="9316172" y="6076956"/>
                  <a:pt x="9321892" y="6086481"/>
                </a:cubicBezTo>
                <a:cubicBezTo>
                  <a:pt x="9331424" y="6107436"/>
                  <a:pt x="9321892" y="6132201"/>
                  <a:pt x="9302827" y="6141726"/>
                </a:cubicBezTo>
                <a:cubicBezTo>
                  <a:pt x="9302827" y="6141726"/>
                  <a:pt x="9302827" y="6141726"/>
                  <a:pt x="8963481" y="6305556"/>
                </a:cubicBezTo>
                <a:cubicBezTo>
                  <a:pt x="8942510" y="6315081"/>
                  <a:pt x="8917726" y="6307461"/>
                  <a:pt x="8908194" y="6286506"/>
                </a:cubicBezTo>
                <a:cubicBezTo>
                  <a:pt x="8906287" y="6280791"/>
                  <a:pt x="8904381" y="6275076"/>
                  <a:pt x="8904381" y="6269361"/>
                </a:cubicBezTo>
                <a:cubicBezTo>
                  <a:pt x="8904381" y="6254121"/>
                  <a:pt x="8912007" y="6238881"/>
                  <a:pt x="8927258" y="6231261"/>
                </a:cubicBezTo>
                <a:cubicBezTo>
                  <a:pt x="8927258" y="6231261"/>
                  <a:pt x="8927258" y="6231261"/>
                  <a:pt x="9266605" y="6067431"/>
                </a:cubicBezTo>
                <a:cubicBezTo>
                  <a:pt x="9277091" y="6062668"/>
                  <a:pt x="9288053" y="6062668"/>
                  <a:pt x="9297823" y="6066240"/>
                </a:cubicBezTo>
                <a:close/>
                <a:moveTo>
                  <a:pt x="11018858" y="6051844"/>
                </a:moveTo>
                <a:cubicBezTo>
                  <a:pt x="11034272" y="6050683"/>
                  <a:pt x="11049953" y="6059970"/>
                  <a:pt x="11057081" y="6075686"/>
                </a:cubicBezTo>
                <a:cubicBezTo>
                  <a:pt x="11066585" y="6094736"/>
                  <a:pt x="11058982" y="6119501"/>
                  <a:pt x="11038074" y="6129026"/>
                </a:cubicBezTo>
                <a:cubicBezTo>
                  <a:pt x="11038074" y="6129026"/>
                  <a:pt x="11038074" y="6129026"/>
                  <a:pt x="10699740" y="6292856"/>
                </a:cubicBezTo>
                <a:cubicBezTo>
                  <a:pt x="10680732" y="6302381"/>
                  <a:pt x="10656022" y="6294761"/>
                  <a:pt x="10646519" y="6273806"/>
                </a:cubicBezTo>
                <a:cubicBezTo>
                  <a:pt x="10642717" y="6268091"/>
                  <a:pt x="10642717" y="6262376"/>
                  <a:pt x="10642717" y="6256661"/>
                </a:cubicBezTo>
                <a:cubicBezTo>
                  <a:pt x="10642717" y="6241421"/>
                  <a:pt x="10650320" y="6226181"/>
                  <a:pt x="10665526" y="6220466"/>
                </a:cubicBezTo>
                <a:cubicBezTo>
                  <a:pt x="10665526" y="6220466"/>
                  <a:pt x="10665526" y="6220466"/>
                  <a:pt x="11003860" y="6056636"/>
                </a:cubicBezTo>
                <a:cubicBezTo>
                  <a:pt x="11008612" y="6053778"/>
                  <a:pt x="11013720" y="6052230"/>
                  <a:pt x="11018858" y="6051844"/>
                </a:cubicBezTo>
                <a:close/>
                <a:moveTo>
                  <a:pt x="8710944" y="6051843"/>
                </a:moveTo>
                <a:cubicBezTo>
                  <a:pt x="8726672" y="6050683"/>
                  <a:pt x="8741328" y="6059970"/>
                  <a:pt x="8748477" y="6075686"/>
                </a:cubicBezTo>
                <a:cubicBezTo>
                  <a:pt x="8759916" y="6094736"/>
                  <a:pt x="8750384" y="6119501"/>
                  <a:pt x="8731319" y="6129026"/>
                </a:cubicBezTo>
                <a:cubicBezTo>
                  <a:pt x="8731319" y="6129026"/>
                  <a:pt x="8731319" y="6129026"/>
                  <a:pt x="8391973" y="6292856"/>
                </a:cubicBezTo>
                <a:cubicBezTo>
                  <a:pt x="8371002" y="6302381"/>
                  <a:pt x="8346218" y="6294761"/>
                  <a:pt x="8336686" y="6273806"/>
                </a:cubicBezTo>
                <a:cubicBezTo>
                  <a:pt x="8334779" y="6268091"/>
                  <a:pt x="8332873" y="6262376"/>
                  <a:pt x="8332873" y="6256661"/>
                </a:cubicBezTo>
                <a:cubicBezTo>
                  <a:pt x="8332873" y="6241421"/>
                  <a:pt x="8340499" y="6226181"/>
                  <a:pt x="8355750" y="6220466"/>
                </a:cubicBezTo>
                <a:cubicBezTo>
                  <a:pt x="8355750" y="6220466"/>
                  <a:pt x="8355750" y="6220466"/>
                  <a:pt x="8695097" y="6056636"/>
                </a:cubicBezTo>
                <a:cubicBezTo>
                  <a:pt x="8700340" y="6053778"/>
                  <a:pt x="8705702" y="6052230"/>
                  <a:pt x="8710944" y="6051843"/>
                </a:cubicBezTo>
                <a:close/>
                <a:moveTo>
                  <a:pt x="11603954" y="6041714"/>
                </a:moveTo>
                <a:cubicBezTo>
                  <a:pt x="11613696" y="6045048"/>
                  <a:pt x="11622249" y="6052191"/>
                  <a:pt x="11627001" y="6062669"/>
                </a:cubicBezTo>
                <a:cubicBezTo>
                  <a:pt x="11636505" y="6083624"/>
                  <a:pt x="11628902" y="6106484"/>
                  <a:pt x="11607994" y="6117914"/>
                </a:cubicBezTo>
                <a:cubicBezTo>
                  <a:pt x="11607994" y="6117914"/>
                  <a:pt x="11607994" y="6117914"/>
                  <a:pt x="11271560" y="6281744"/>
                </a:cubicBezTo>
                <a:cubicBezTo>
                  <a:pt x="11250652" y="6291269"/>
                  <a:pt x="11225942" y="6281744"/>
                  <a:pt x="11216439" y="6262694"/>
                </a:cubicBezTo>
                <a:cubicBezTo>
                  <a:pt x="11212637" y="6256979"/>
                  <a:pt x="11212637" y="6251264"/>
                  <a:pt x="11212637" y="6243644"/>
                </a:cubicBezTo>
                <a:cubicBezTo>
                  <a:pt x="11212637" y="6228404"/>
                  <a:pt x="11220240" y="6215069"/>
                  <a:pt x="11235446" y="6207449"/>
                </a:cubicBezTo>
                <a:cubicBezTo>
                  <a:pt x="11235446" y="6207449"/>
                  <a:pt x="11235446" y="6207449"/>
                  <a:pt x="11573780" y="6043619"/>
                </a:cubicBezTo>
                <a:cubicBezTo>
                  <a:pt x="11583284" y="6038856"/>
                  <a:pt x="11594213" y="6038380"/>
                  <a:pt x="11603954" y="6041714"/>
                </a:cubicBezTo>
                <a:close/>
                <a:moveTo>
                  <a:pt x="8160285" y="6041714"/>
                </a:moveTo>
                <a:cubicBezTo>
                  <a:pt x="8170293" y="6045048"/>
                  <a:pt x="8178872" y="6052191"/>
                  <a:pt x="8183639" y="6062669"/>
                </a:cubicBezTo>
                <a:cubicBezTo>
                  <a:pt x="8193171" y="6083624"/>
                  <a:pt x="8183639" y="6106484"/>
                  <a:pt x="8164574" y="6117914"/>
                </a:cubicBezTo>
                <a:cubicBezTo>
                  <a:pt x="8164574" y="6117914"/>
                  <a:pt x="8164574" y="6117914"/>
                  <a:pt x="7825227" y="6281744"/>
                </a:cubicBezTo>
                <a:cubicBezTo>
                  <a:pt x="7804257" y="6291269"/>
                  <a:pt x="7781379" y="6281744"/>
                  <a:pt x="7769941" y="6262694"/>
                </a:cubicBezTo>
                <a:cubicBezTo>
                  <a:pt x="7768034" y="6256979"/>
                  <a:pt x="7766128" y="6251264"/>
                  <a:pt x="7766128" y="6243644"/>
                </a:cubicBezTo>
                <a:cubicBezTo>
                  <a:pt x="7766128" y="6228404"/>
                  <a:pt x="7775660" y="6215069"/>
                  <a:pt x="7789005" y="6207449"/>
                </a:cubicBezTo>
                <a:cubicBezTo>
                  <a:pt x="7789005" y="6207449"/>
                  <a:pt x="7789005" y="6207449"/>
                  <a:pt x="8128352" y="6043619"/>
                </a:cubicBezTo>
                <a:cubicBezTo>
                  <a:pt x="8138837" y="6038856"/>
                  <a:pt x="8150276" y="6038380"/>
                  <a:pt x="8160285" y="6041714"/>
                </a:cubicBezTo>
                <a:close/>
                <a:moveTo>
                  <a:pt x="12135947" y="6029331"/>
                </a:moveTo>
                <a:cubicBezTo>
                  <a:pt x="12137848" y="6029331"/>
                  <a:pt x="12139750" y="6029331"/>
                  <a:pt x="12139750" y="6029331"/>
                </a:cubicBezTo>
                <a:cubicBezTo>
                  <a:pt x="12139750" y="6029331"/>
                  <a:pt x="12139750" y="6029331"/>
                  <a:pt x="12139750" y="6118866"/>
                </a:cubicBezTo>
                <a:cubicBezTo>
                  <a:pt x="12139750" y="6118866"/>
                  <a:pt x="12139750" y="6118866"/>
                  <a:pt x="11833573" y="6267456"/>
                </a:cubicBezTo>
                <a:cubicBezTo>
                  <a:pt x="11814556" y="6276981"/>
                  <a:pt x="11789834" y="6269361"/>
                  <a:pt x="11780325" y="6248406"/>
                </a:cubicBezTo>
                <a:cubicBezTo>
                  <a:pt x="11776522" y="6242691"/>
                  <a:pt x="11774620" y="6236976"/>
                  <a:pt x="11774620" y="6231261"/>
                </a:cubicBezTo>
                <a:cubicBezTo>
                  <a:pt x="11774620" y="6216021"/>
                  <a:pt x="11784129" y="6200781"/>
                  <a:pt x="11797441" y="6195066"/>
                </a:cubicBezTo>
                <a:close/>
                <a:moveTo>
                  <a:pt x="7599808" y="6028140"/>
                </a:moveTo>
                <a:cubicBezTo>
                  <a:pt x="7609579" y="6031712"/>
                  <a:pt x="7618158" y="6038856"/>
                  <a:pt x="7622924" y="6048381"/>
                </a:cubicBezTo>
                <a:cubicBezTo>
                  <a:pt x="7634363" y="6069336"/>
                  <a:pt x="7624831" y="6094101"/>
                  <a:pt x="7603860" y="6103626"/>
                </a:cubicBezTo>
                <a:cubicBezTo>
                  <a:pt x="7603860" y="6103626"/>
                  <a:pt x="7603860" y="6103626"/>
                  <a:pt x="7266419" y="6267456"/>
                </a:cubicBezTo>
                <a:cubicBezTo>
                  <a:pt x="7245449" y="6276981"/>
                  <a:pt x="7220665" y="6269361"/>
                  <a:pt x="7211133" y="6248406"/>
                </a:cubicBezTo>
                <a:cubicBezTo>
                  <a:pt x="7209226" y="6242691"/>
                  <a:pt x="7207320" y="6236976"/>
                  <a:pt x="7207320" y="6231261"/>
                </a:cubicBezTo>
                <a:cubicBezTo>
                  <a:pt x="7207320" y="6216021"/>
                  <a:pt x="7214946" y="6200781"/>
                  <a:pt x="7230197" y="6195066"/>
                </a:cubicBezTo>
                <a:cubicBezTo>
                  <a:pt x="7230197" y="6195066"/>
                  <a:pt x="7230197" y="6195066"/>
                  <a:pt x="7569544" y="6029331"/>
                </a:cubicBezTo>
                <a:cubicBezTo>
                  <a:pt x="7579076" y="6024568"/>
                  <a:pt x="7590038" y="6024568"/>
                  <a:pt x="7599808" y="6028140"/>
                </a:cubicBezTo>
                <a:close/>
                <a:moveTo>
                  <a:pt x="7047350" y="6016314"/>
                </a:moveTo>
                <a:cubicBezTo>
                  <a:pt x="7057121" y="6019648"/>
                  <a:pt x="7065700" y="6026791"/>
                  <a:pt x="7070466" y="6037269"/>
                </a:cubicBezTo>
                <a:cubicBezTo>
                  <a:pt x="7081905" y="6056319"/>
                  <a:pt x="7072373" y="6081084"/>
                  <a:pt x="7051402" y="6090609"/>
                </a:cubicBezTo>
                <a:cubicBezTo>
                  <a:pt x="7051402" y="6090609"/>
                  <a:pt x="7051402" y="6090609"/>
                  <a:pt x="6713961" y="6254439"/>
                </a:cubicBezTo>
                <a:cubicBezTo>
                  <a:pt x="6692991" y="6265869"/>
                  <a:pt x="6668207" y="6256344"/>
                  <a:pt x="6658675" y="6235389"/>
                </a:cubicBezTo>
                <a:cubicBezTo>
                  <a:pt x="6656768" y="6229674"/>
                  <a:pt x="6654862" y="6223959"/>
                  <a:pt x="6654862" y="6218244"/>
                </a:cubicBezTo>
                <a:cubicBezTo>
                  <a:pt x="6654862" y="6203004"/>
                  <a:pt x="6662488" y="6189669"/>
                  <a:pt x="6677739" y="6182049"/>
                </a:cubicBezTo>
                <a:cubicBezTo>
                  <a:pt x="6677739" y="6182049"/>
                  <a:pt x="6677739" y="6182049"/>
                  <a:pt x="7017086" y="6018219"/>
                </a:cubicBezTo>
                <a:cubicBezTo>
                  <a:pt x="7026618" y="6013456"/>
                  <a:pt x="7037580" y="6012980"/>
                  <a:pt x="7047350" y="6016314"/>
                </a:cubicBezTo>
                <a:close/>
                <a:moveTo>
                  <a:pt x="6502912" y="6003613"/>
                </a:moveTo>
                <a:cubicBezTo>
                  <a:pt x="6512921" y="6006947"/>
                  <a:pt x="6521500" y="6014090"/>
                  <a:pt x="6526266" y="6024568"/>
                </a:cubicBezTo>
                <a:cubicBezTo>
                  <a:pt x="6535798" y="6045523"/>
                  <a:pt x="6526266" y="6070288"/>
                  <a:pt x="6507201" y="6079813"/>
                </a:cubicBezTo>
                <a:cubicBezTo>
                  <a:pt x="6507201" y="6079813"/>
                  <a:pt x="6507201" y="6079813"/>
                  <a:pt x="6167854" y="6243643"/>
                </a:cubicBezTo>
                <a:cubicBezTo>
                  <a:pt x="6146884" y="6253168"/>
                  <a:pt x="6124006" y="6243643"/>
                  <a:pt x="6112568" y="6224593"/>
                </a:cubicBezTo>
                <a:cubicBezTo>
                  <a:pt x="6110661" y="6218878"/>
                  <a:pt x="6108755" y="6213163"/>
                  <a:pt x="6108755" y="6207448"/>
                </a:cubicBezTo>
                <a:cubicBezTo>
                  <a:pt x="6108755" y="6192208"/>
                  <a:pt x="6118287" y="6176968"/>
                  <a:pt x="6131632" y="6169348"/>
                </a:cubicBezTo>
                <a:cubicBezTo>
                  <a:pt x="6131632" y="6169348"/>
                  <a:pt x="6131632" y="6169348"/>
                  <a:pt x="6470979" y="6005518"/>
                </a:cubicBezTo>
                <a:cubicBezTo>
                  <a:pt x="6481464" y="6000755"/>
                  <a:pt x="6492903" y="6000279"/>
                  <a:pt x="6502912" y="6003613"/>
                </a:cubicBezTo>
                <a:close/>
                <a:moveTo>
                  <a:pt x="5940751" y="5988314"/>
                </a:moveTo>
                <a:cubicBezTo>
                  <a:pt x="5956567" y="5987064"/>
                  <a:pt x="5971580" y="5995993"/>
                  <a:pt x="5980159" y="6010281"/>
                </a:cubicBezTo>
                <a:cubicBezTo>
                  <a:pt x="5989691" y="6031236"/>
                  <a:pt x="5980159" y="6056001"/>
                  <a:pt x="5961095" y="6065526"/>
                </a:cubicBezTo>
                <a:cubicBezTo>
                  <a:pt x="5961095" y="6065526"/>
                  <a:pt x="5961095" y="6065526"/>
                  <a:pt x="5621756" y="6229356"/>
                </a:cubicBezTo>
                <a:cubicBezTo>
                  <a:pt x="5600786" y="6238881"/>
                  <a:pt x="5576002" y="6231261"/>
                  <a:pt x="5566471" y="6210306"/>
                </a:cubicBezTo>
                <a:cubicBezTo>
                  <a:pt x="5564565" y="6204591"/>
                  <a:pt x="5562658" y="6198876"/>
                  <a:pt x="5562658" y="6193161"/>
                </a:cubicBezTo>
                <a:cubicBezTo>
                  <a:pt x="5562658" y="6177921"/>
                  <a:pt x="5570284" y="6162681"/>
                  <a:pt x="5585535" y="6156966"/>
                </a:cubicBezTo>
                <a:cubicBezTo>
                  <a:pt x="5585535" y="6156966"/>
                  <a:pt x="5585535" y="6156966"/>
                  <a:pt x="5924874" y="5993136"/>
                </a:cubicBezTo>
                <a:cubicBezTo>
                  <a:pt x="5930116" y="5990278"/>
                  <a:pt x="5935479" y="5988730"/>
                  <a:pt x="5940751" y="5988314"/>
                </a:cubicBezTo>
                <a:close/>
                <a:moveTo>
                  <a:pt x="380904" y="5988314"/>
                </a:moveTo>
                <a:cubicBezTo>
                  <a:pt x="396318" y="5987064"/>
                  <a:pt x="411999" y="5995993"/>
                  <a:pt x="419127" y="6010281"/>
                </a:cubicBezTo>
                <a:cubicBezTo>
                  <a:pt x="428631" y="6031236"/>
                  <a:pt x="421028" y="6056001"/>
                  <a:pt x="400120" y="6065526"/>
                </a:cubicBezTo>
                <a:cubicBezTo>
                  <a:pt x="400120" y="6065526"/>
                  <a:pt x="400120" y="6065526"/>
                  <a:pt x="63687" y="6229356"/>
                </a:cubicBezTo>
                <a:cubicBezTo>
                  <a:pt x="42779" y="6238881"/>
                  <a:pt x="18069" y="6231261"/>
                  <a:pt x="8565" y="6210306"/>
                </a:cubicBezTo>
                <a:cubicBezTo>
                  <a:pt x="6664" y="6204591"/>
                  <a:pt x="4764" y="6198876"/>
                  <a:pt x="4764" y="6193161"/>
                </a:cubicBezTo>
                <a:cubicBezTo>
                  <a:pt x="4764" y="6177921"/>
                  <a:pt x="12367" y="6162681"/>
                  <a:pt x="27573" y="6156966"/>
                </a:cubicBezTo>
                <a:cubicBezTo>
                  <a:pt x="27573" y="6156966"/>
                  <a:pt x="27573" y="6156966"/>
                  <a:pt x="365906" y="5993136"/>
                </a:cubicBezTo>
                <a:cubicBezTo>
                  <a:pt x="370658" y="5990278"/>
                  <a:pt x="375766" y="5988730"/>
                  <a:pt x="380904" y="5988314"/>
                </a:cubicBezTo>
                <a:close/>
                <a:moveTo>
                  <a:pt x="5406285" y="5978213"/>
                </a:moveTo>
                <a:cubicBezTo>
                  <a:pt x="5416026" y="5981547"/>
                  <a:pt x="5424579" y="5988690"/>
                  <a:pt x="5429330" y="5999168"/>
                </a:cubicBezTo>
                <a:cubicBezTo>
                  <a:pt x="5438834" y="6018218"/>
                  <a:pt x="5431231" y="6042983"/>
                  <a:pt x="5410323" y="6052508"/>
                </a:cubicBezTo>
                <a:cubicBezTo>
                  <a:pt x="5410323" y="6052508"/>
                  <a:pt x="5410323" y="6052508"/>
                  <a:pt x="5071988" y="6218243"/>
                </a:cubicBezTo>
                <a:cubicBezTo>
                  <a:pt x="5052982" y="6227768"/>
                  <a:pt x="5028275" y="6218243"/>
                  <a:pt x="5018774" y="6199193"/>
                </a:cubicBezTo>
                <a:cubicBezTo>
                  <a:pt x="5014971" y="6193478"/>
                  <a:pt x="5014971" y="6185858"/>
                  <a:pt x="5014971" y="6180143"/>
                </a:cubicBezTo>
                <a:cubicBezTo>
                  <a:pt x="5014971" y="6164903"/>
                  <a:pt x="5022573" y="6151568"/>
                  <a:pt x="5037777" y="6143948"/>
                </a:cubicBezTo>
                <a:cubicBezTo>
                  <a:pt x="5037777" y="6143948"/>
                  <a:pt x="5037777" y="6143948"/>
                  <a:pt x="5376110" y="5980118"/>
                </a:cubicBezTo>
                <a:cubicBezTo>
                  <a:pt x="5385614" y="5975355"/>
                  <a:pt x="5396543" y="5974879"/>
                  <a:pt x="5406285" y="5978213"/>
                </a:cubicBezTo>
                <a:close/>
                <a:moveTo>
                  <a:pt x="940179" y="5978213"/>
                </a:moveTo>
                <a:cubicBezTo>
                  <a:pt x="949950" y="5981546"/>
                  <a:pt x="958529" y="5988690"/>
                  <a:pt x="963295" y="5999168"/>
                </a:cubicBezTo>
                <a:cubicBezTo>
                  <a:pt x="974733" y="6018218"/>
                  <a:pt x="965201" y="6042983"/>
                  <a:pt x="944230" y="6052508"/>
                </a:cubicBezTo>
                <a:cubicBezTo>
                  <a:pt x="944230" y="6052508"/>
                  <a:pt x="944230" y="6052508"/>
                  <a:pt x="606791" y="6218243"/>
                </a:cubicBezTo>
                <a:cubicBezTo>
                  <a:pt x="585820" y="6227768"/>
                  <a:pt x="561036" y="6218243"/>
                  <a:pt x="551504" y="6199193"/>
                </a:cubicBezTo>
                <a:cubicBezTo>
                  <a:pt x="549598" y="6193478"/>
                  <a:pt x="547691" y="6185858"/>
                  <a:pt x="547691" y="6180143"/>
                </a:cubicBezTo>
                <a:cubicBezTo>
                  <a:pt x="547691" y="6164903"/>
                  <a:pt x="555317" y="6151568"/>
                  <a:pt x="570568" y="6143948"/>
                </a:cubicBezTo>
                <a:cubicBezTo>
                  <a:pt x="570568" y="6143948"/>
                  <a:pt x="570568" y="6143948"/>
                  <a:pt x="909915" y="5980118"/>
                </a:cubicBezTo>
                <a:cubicBezTo>
                  <a:pt x="919447" y="5975355"/>
                  <a:pt x="930409" y="5974879"/>
                  <a:pt x="940179" y="5978213"/>
                </a:cubicBezTo>
                <a:close/>
                <a:moveTo>
                  <a:pt x="4852108" y="5966227"/>
                </a:moveTo>
                <a:cubicBezTo>
                  <a:pt x="4861887" y="5969799"/>
                  <a:pt x="4870476" y="5976943"/>
                  <a:pt x="4875244" y="5986468"/>
                </a:cubicBezTo>
                <a:cubicBezTo>
                  <a:pt x="4884787" y="6007423"/>
                  <a:pt x="4877154" y="6032188"/>
                  <a:pt x="4856163" y="6041713"/>
                </a:cubicBezTo>
                <a:cubicBezTo>
                  <a:pt x="4856163" y="6041713"/>
                  <a:pt x="4856163" y="6041713"/>
                  <a:pt x="4516568" y="6205543"/>
                </a:cubicBezTo>
                <a:cubicBezTo>
                  <a:pt x="4497490" y="6215068"/>
                  <a:pt x="4472687" y="6207448"/>
                  <a:pt x="4463147" y="6186493"/>
                </a:cubicBezTo>
                <a:cubicBezTo>
                  <a:pt x="4459332" y="6180778"/>
                  <a:pt x="4459332" y="6175063"/>
                  <a:pt x="4459332" y="6169348"/>
                </a:cubicBezTo>
                <a:cubicBezTo>
                  <a:pt x="4459332" y="6154108"/>
                  <a:pt x="4466963" y="6138868"/>
                  <a:pt x="4482226" y="6131248"/>
                </a:cubicBezTo>
                <a:cubicBezTo>
                  <a:pt x="4482226" y="6131248"/>
                  <a:pt x="4482226" y="6131248"/>
                  <a:pt x="4821817" y="5967418"/>
                </a:cubicBezTo>
                <a:cubicBezTo>
                  <a:pt x="4831356" y="5962655"/>
                  <a:pt x="4842330" y="5962655"/>
                  <a:pt x="4852108" y="5966227"/>
                </a:cubicBezTo>
                <a:close/>
                <a:moveTo>
                  <a:pt x="1487950" y="5966227"/>
                </a:moveTo>
                <a:cubicBezTo>
                  <a:pt x="1497958" y="5969799"/>
                  <a:pt x="1506537" y="5976943"/>
                  <a:pt x="1511303" y="5986468"/>
                </a:cubicBezTo>
                <a:cubicBezTo>
                  <a:pt x="1520836" y="6007423"/>
                  <a:pt x="1513210" y="6032188"/>
                  <a:pt x="1492239" y="6041713"/>
                </a:cubicBezTo>
                <a:cubicBezTo>
                  <a:pt x="1492239" y="6041713"/>
                  <a:pt x="1492239" y="6041713"/>
                  <a:pt x="1152893" y="6205543"/>
                </a:cubicBezTo>
                <a:cubicBezTo>
                  <a:pt x="1131922" y="6215068"/>
                  <a:pt x="1109045" y="6207448"/>
                  <a:pt x="1097606" y="6186493"/>
                </a:cubicBezTo>
                <a:cubicBezTo>
                  <a:pt x="1095700" y="6180778"/>
                  <a:pt x="1093793" y="6175063"/>
                  <a:pt x="1093793" y="6169348"/>
                </a:cubicBezTo>
                <a:cubicBezTo>
                  <a:pt x="1093793" y="6154108"/>
                  <a:pt x="1103326" y="6138868"/>
                  <a:pt x="1116671" y="6131248"/>
                </a:cubicBezTo>
                <a:cubicBezTo>
                  <a:pt x="1116671" y="6131248"/>
                  <a:pt x="1116671" y="6131248"/>
                  <a:pt x="1456017" y="5967418"/>
                </a:cubicBezTo>
                <a:cubicBezTo>
                  <a:pt x="1466502" y="5962655"/>
                  <a:pt x="1477941" y="5962655"/>
                  <a:pt x="1487950" y="5966227"/>
                </a:cubicBezTo>
                <a:close/>
                <a:moveTo>
                  <a:pt x="4293425" y="5952822"/>
                </a:moveTo>
                <a:cubicBezTo>
                  <a:pt x="4303167" y="5956160"/>
                  <a:pt x="4311721" y="5963313"/>
                  <a:pt x="4316472" y="5973803"/>
                </a:cubicBezTo>
                <a:cubicBezTo>
                  <a:pt x="4325976" y="5992877"/>
                  <a:pt x="4318373" y="6017673"/>
                  <a:pt x="4297464" y="6027210"/>
                </a:cubicBezTo>
                <a:cubicBezTo>
                  <a:pt x="4297464" y="6027210"/>
                  <a:pt x="4297464" y="6027210"/>
                  <a:pt x="3959151" y="6191244"/>
                </a:cubicBezTo>
                <a:cubicBezTo>
                  <a:pt x="3940145" y="6200781"/>
                  <a:pt x="3915434" y="6193151"/>
                  <a:pt x="3905930" y="6172170"/>
                </a:cubicBezTo>
                <a:cubicBezTo>
                  <a:pt x="3902127" y="6166448"/>
                  <a:pt x="3902127" y="6160726"/>
                  <a:pt x="3902127" y="6155004"/>
                </a:cubicBezTo>
                <a:cubicBezTo>
                  <a:pt x="3902127" y="6139745"/>
                  <a:pt x="3909730" y="6124486"/>
                  <a:pt x="3924936" y="6118764"/>
                </a:cubicBezTo>
                <a:cubicBezTo>
                  <a:pt x="3924936" y="6118764"/>
                  <a:pt x="3924936" y="6118764"/>
                  <a:pt x="4263250" y="5954730"/>
                </a:cubicBezTo>
                <a:cubicBezTo>
                  <a:pt x="4272754" y="5949961"/>
                  <a:pt x="4283684" y="5949484"/>
                  <a:pt x="4293425" y="5952822"/>
                </a:cubicBezTo>
                <a:close/>
                <a:moveTo>
                  <a:pt x="2039813" y="5952822"/>
                </a:moveTo>
                <a:cubicBezTo>
                  <a:pt x="2049553" y="5956160"/>
                  <a:pt x="2058100" y="5963313"/>
                  <a:pt x="2063798" y="5973803"/>
                </a:cubicBezTo>
                <a:cubicBezTo>
                  <a:pt x="2073295" y="5992877"/>
                  <a:pt x="2063798" y="6017673"/>
                  <a:pt x="2044799" y="6027210"/>
                </a:cubicBezTo>
                <a:cubicBezTo>
                  <a:pt x="2044799" y="6027210"/>
                  <a:pt x="2044799" y="6027210"/>
                  <a:pt x="1706714" y="6191244"/>
                </a:cubicBezTo>
                <a:cubicBezTo>
                  <a:pt x="1685821" y="6200781"/>
                  <a:pt x="1661129" y="6193151"/>
                  <a:pt x="1651633" y="6172170"/>
                </a:cubicBezTo>
                <a:cubicBezTo>
                  <a:pt x="1649733" y="6166448"/>
                  <a:pt x="1647834" y="6160726"/>
                  <a:pt x="1647834" y="6155004"/>
                </a:cubicBezTo>
                <a:cubicBezTo>
                  <a:pt x="1647834" y="6139745"/>
                  <a:pt x="1655431" y="6124486"/>
                  <a:pt x="1670626" y="6118764"/>
                </a:cubicBezTo>
                <a:cubicBezTo>
                  <a:pt x="1670626" y="6118764"/>
                  <a:pt x="1670626" y="6118764"/>
                  <a:pt x="2008712" y="5954730"/>
                </a:cubicBezTo>
                <a:cubicBezTo>
                  <a:pt x="2019158" y="5949961"/>
                  <a:pt x="2030079" y="5949484"/>
                  <a:pt x="2039813" y="5952822"/>
                </a:cubicBezTo>
                <a:close/>
                <a:moveTo>
                  <a:pt x="3730408" y="5940113"/>
                </a:moveTo>
                <a:cubicBezTo>
                  <a:pt x="3740180" y="5943447"/>
                  <a:pt x="3748757" y="5950590"/>
                  <a:pt x="3754477" y="5961068"/>
                </a:cubicBezTo>
                <a:cubicBezTo>
                  <a:pt x="3764010" y="5982023"/>
                  <a:pt x="3754477" y="6004883"/>
                  <a:pt x="3735413" y="6016313"/>
                </a:cubicBezTo>
                <a:cubicBezTo>
                  <a:pt x="3735413" y="6016313"/>
                  <a:pt x="3735413" y="6016313"/>
                  <a:pt x="3396080" y="6180143"/>
                </a:cubicBezTo>
                <a:cubicBezTo>
                  <a:pt x="3375107" y="6189668"/>
                  <a:pt x="3350323" y="6180143"/>
                  <a:pt x="3340791" y="6161093"/>
                </a:cubicBezTo>
                <a:cubicBezTo>
                  <a:pt x="3338885" y="6155378"/>
                  <a:pt x="3336980" y="6149663"/>
                  <a:pt x="3336980" y="6142043"/>
                </a:cubicBezTo>
                <a:cubicBezTo>
                  <a:pt x="3336980" y="6126803"/>
                  <a:pt x="3346510" y="6113468"/>
                  <a:pt x="3359854" y="6105848"/>
                </a:cubicBezTo>
                <a:cubicBezTo>
                  <a:pt x="3359854" y="6105848"/>
                  <a:pt x="3359854" y="6105848"/>
                  <a:pt x="3699190" y="5942018"/>
                </a:cubicBezTo>
                <a:cubicBezTo>
                  <a:pt x="3709676" y="5937255"/>
                  <a:pt x="3720634" y="5936779"/>
                  <a:pt x="3730408" y="5940113"/>
                </a:cubicBezTo>
                <a:close/>
                <a:moveTo>
                  <a:pt x="2596907" y="5940113"/>
                </a:moveTo>
                <a:cubicBezTo>
                  <a:pt x="2606677" y="5943447"/>
                  <a:pt x="2615256" y="5950590"/>
                  <a:pt x="2620976" y="5961068"/>
                </a:cubicBezTo>
                <a:cubicBezTo>
                  <a:pt x="2630508" y="5982023"/>
                  <a:pt x="2620976" y="6004883"/>
                  <a:pt x="2601911" y="6016313"/>
                </a:cubicBezTo>
                <a:cubicBezTo>
                  <a:pt x="2601911" y="6016313"/>
                  <a:pt x="2601911" y="6016313"/>
                  <a:pt x="2262565" y="6180143"/>
                </a:cubicBezTo>
                <a:cubicBezTo>
                  <a:pt x="2241595" y="6189668"/>
                  <a:pt x="2216811" y="6180143"/>
                  <a:pt x="2207278" y="6161093"/>
                </a:cubicBezTo>
                <a:cubicBezTo>
                  <a:pt x="2205372" y="6155378"/>
                  <a:pt x="2203466" y="6149663"/>
                  <a:pt x="2203466" y="6142043"/>
                </a:cubicBezTo>
                <a:cubicBezTo>
                  <a:pt x="2203466" y="6126803"/>
                  <a:pt x="2211091" y="6113468"/>
                  <a:pt x="2226343" y="6105848"/>
                </a:cubicBezTo>
                <a:cubicBezTo>
                  <a:pt x="2226343" y="6105848"/>
                  <a:pt x="2226343" y="6105848"/>
                  <a:pt x="2565688" y="5942018"/>
                </a:cubicBezTo>
                <a:cubicBezTo>
                  <a:pt x="2576174" y="5937255"/>
                  <a:pt x="2587136" y="5936779"/>
                  <a:pt x="2596907" y="5940113"/>
                </a:cubicBezTo>
                <a:close/>
                <a:moveTo>
                  <a:pt x="3158038" y="5928127"/>
                </a:moveTo>
                <a:cubicBezTo>
                  <a:pt x="3168046" y="5931699"/>
                  <a:pt x="3176626" y="5938843"/>
                  <a:pt x="3181392" y="5948368"/>
                </a:cubicBezTo>
                <a:cubicBezTo>
                  <a:pt x="3190924" y="5969323"/>
                  <a:pt x="3183299" y="5994088"/>
                  <a:pt x="3162325" y="6003613"/>
                </a:cubicBezTo>
                <a:cubicBezTo>
                  <a:pt x="3162325" y="6003613"/>
                  <a:pt x="3162325" y="6003613"/>
                  <a:pt x="2822979" y="6167443"/>
                </a:cubicBezTo>
                <a:cubicBezTo>
                  <a:pt x="2803913" y="6176968"/>
                  <a:pt x="2779131" y="6169348"/>
                  <a:pt x="2769598" y="6148393"/>
                </a:cubicBezTo>
                <a:cubicBezTo>
                  <a:pt x="2765784" y="6142678"/>
                  <a:pt x="2763878" y="6136963"/>
                  <a:pt x="2763878" y="6131248"/>
                </a:cubicBezTo>
                <a:cubicBezTo>
                  <a:pt x="2763878" y="6116008"/>
                  <a:pt x="2773410" y="6100768"/>
                  <a:pt x="2788667" y="6093148"/>
                </a:cubicBezTo>
                <a:cubicBezTo>
                  <a:pt x="2788667" y="6093148"/>
                  <a:pt x="2788667" y="6093148"/>
                  <a:pt x="3126105" y="5929318"/>
                </a:cubicBezTo>
                <a:cubicBezTo>
                  <a:pt x="3136591" y="5924555"/>
                  <a:pt x="3148030" y="5924555"/>
                  <a:pt x="3158038" y="5928127"/>
                </a:cubicBezTo>
                <a:close/>
                <a:moveTo>
                  <a:pt x="9872849" y="5750963"/>
                </a:moveTo>
                <a:cubicBezTo>
                  <a:pt x="9882136" y="5754058"/>
                  <a:pt x="9890233" y="5760726"/>
                  <a:pt x="9894995" y="5770251"/>
                </a:cubicBezTo>
                <a:cubicBezTo>
                  <a:pt x="9904520" y="5787396"/>
                  <a:pt x="9898805" y="5810256"/>
                  <a:pt x="9879755" y="5821686"/>
                </a:cubicBezTo>
                <a:cubicBezTo>
                  <a:pt x="9879755" y="5821686"/>
                  <a:pt x="9879755" y="5821686"/>
                  <a:pt x="9542565" y="6000756"/>
                </a:cubicBezTo>
                <a:cubicBezTo>
                  <a:pt x="9523515" y="6010281"/>
                  <a:pt x="9500654" y="6002661"/>
                  <a:pt x="9489224" y="5983611"/>
                </a:cubicBezTo>
                <a:cubicBezTo>
                  <a:pt x="9487319" y="5977896"/>
                  <a:pt x="9485414" y="5972181"/>
                  <a:pt x="9485414" y="5966466"/>
                </a:cubicBezTo>
                <a:cubicBezTo>
                  <a:pt x="9485414" y="5953131"/>
                  <a:pt x="9493034" y="5939796"/>
                  <a:pt x="9506369" y="5932176"/>
                </a:cubicBezTo>
                <a:cubicBezTo>
                  <a:pt x="9506369" y="5932176"/>
                  <a:pt x="9506369" y="5932176"/>
                  <a:pt x="9843559" y="5753106"/>
                </a:cubicBezTo>
                <a:cubicBezTo>
                  <a:pt x="9853084" y="5748343"/>
                  <a:pt x="9863562" y="5747867"/>
                  <a:pt x="9872849" y="5750963"/>
                </a:cubicBezTo>
                <a:close/>
                <a:moveTo>
                  <a:pt x="10455469" y="5739858"/>
                </a:moveTo>
                <a:cubicBezTo>
                  <a:pt x="10464756" y="5742958"/>
                  <a:pt x="10472852" y="5749633"/>
                  <a:pt x="10477615" y="5759170"/>
                </a:cubicBezTo>
                <a:cubicBezTo>
                  <a:pt x="10487140" y="5776335"/>
                  <a:pt x="10481425" y="5801130"/>
                  <a:pt x="10462375" y="5810667"/>
                </a:cubicBezTo>
                <a:cubicBezTo>
                  <a:pt x="10462375" y="5810667"/>
                  <a:pt x="10462375" y="5810667"/>
                  <a:pt x="10123280" y="5988044"/>
                </a:cubicBezTo>
                <a:cubicBezTo>
                  <a:pt x="10104230" y="5997581"/>
                  <a:pt x="10081369" y="5989952"/>
                  <a:pt x="10071844" y="5970879"/>
                </a:cubicBezTo>
                <a:cubicBezTo>
                  <a:pt x="10068034" y="5965157"/>
                  <a:pt x="10068034" y="5959435"/>
                  <a:pt x="10068034" y="5953713"/>
                </a:cubicBezTo>
                <a:cubicBezTo>
                  <a:pt x="10068034" y="5938455"/>
                  <a:pt x="10075654" y="5925104"/>
                  <a:pt x="10088989" y="5919382"/>
                </a:cubicBezTo>
                <a:cubicBezTo>
                  <a:pt x="10088989" y="5919382"/>
                  <a:pt x="10088989" y="5919382"/>
                  <a:pt x="10426179" y="5742004"/>
                </a:cubicBezTo>
                <a:cubicBezTo>
                  <a:pt x="10435704" y="5737236"/>
                  <a:pt x="10446182" y="5736759"/>
                  <a:pt x="10455469" y="5739858"/>
                </a:cubicBezTo>
                <a:close/>
                <a:moveTo>
                  <a:pt x="9295014" y="5739858"/>
                </a:moveTo>
                <a:cubicBezTo>
                  <a:pt x="9304294" y="5742958"/>
                  <a:pt x="9312384" y="5749633"/>
                  <a:pt x="9317143" y="5759170"/>
                </a:cubicBezTo>
                <a:cubicBezTo>
                  <a:pt x="9326661" y="5776335"/>
                  <a:pt x="9319047" y="5801130"/>
                  <a:pt x="9300011" y="5810667"/>
                </a:cubicBezTo>
                <a:cubicBezTo>
                  <a:pt x="9300011" y="5810667"/>
                  <a:pt x="9300011" y="5810667"/>
                  <a:pt x="8963076" y="5988044"/>
                </a:cubicBezTo>
                <a:cubicBezTo>
                  <a:pt x="8944040" y="5997581"/>
                  <a:pt x="8921197" y="5989952"/>
                  <a:pt x="8911679" y="5970879"/>
                </a:cubicBezTo>
                <a:cubicBezTo>
                  <a:pt x="8907872" y="5965157"/>
                  <a:pt x="8905968" y="5959435"/>
                  <a:pt x="8905968" y="5953713"/>
                </a:cubicBezTo>
                <a:cubicBezTo>
                  <a:pt x="8905968" y="5938455"/>
                  <a:pt x="8913582" y="5925104"/>
                  <a:pt x="8926907" y="5919382"/>
                </a:cubicBezTo>
                <a:cubicBezTo>
                  <a:pt x="8926907" y="5919382"/>
                  <a:pt x="8926907" y="5919382"/>
                  <a:pt x="9265746" y="5742004"/>
                </a:cubicBezTo>
                <a:cubicBezTo>
                  <a:pt x="9275264" y="5737236"/>
                  <a:pt x="9285734" y="5736759"/>
                  <a:pt x="9295014" y="5739858"/>
                </a:cubicBezTo>
                <a:close/>
                <a:moveTo>
                  <a:pt x="11032399" y="5727762"/>
                </a:moveTo>
                <a:cubicBezTo>
                  <a:pt x="11042155" y="5730372"/>
                  <a:pt x="11050721" y="5736541"/>
                  <a:pt x="11055480" y="5746031"/>
                </a:cubicBezTo>
                <a:cubicBezTo>
                  <a:pt x="11064998" y="5766910"/>
                  <a:pt x="11057384" y="5789687"/>
                  <a:pt x="11038348" y="5799178"/>
                </a:cubicBezTo>
                <a:cubicBezTo>
                  <a:pt x="11038348" y="5799178"/>
                  <a:pt x="11038348" y="5799178"/>
                  <a:pt x="10701413" y="5973803"/>
                </a:cubicBezTo>
                <a:cubicBezTo>
                  <a:pt x="10682377" y="5983294"/>
                  <a:pt x="10657630" y="5975701"/>
                  <a:pt x="10648112" y="5956720"/>
                </a:cubicBezTo>
                <a:cubicBezTo>
                  <a:pt x="10646209" y="5951026"/>
                  <a:pt x="10644305" y="5945332"/>
                  <a:pt x="10644305" y="5937739"/>
                </a:cubicBezTo>
                <a:cubicBezTo>
                  <a:pt x="10644305" y="5924453"/>
                  <a:pt x="10651919" y="5911166"/>
                  <a:pt x="10665244" y="5903573"/>
                </a:cubicBezTo>
                <a:cubicBezTo>
                  <a:pt x="10665244" y="5903573"/>
                  <a:pt x="10665244" y="5903573"/>
                  <a:pt x="11002180" y="5730846"/>
                </a:cubicBezTo>
                <a:cubicBezTo>
                  <a:pt x="11011697" y="5726101"/>
                  <a:pt x="11022643" y="5725152"/>
                  <a:pt x="11032399" y="5727762"/>
                </a:cubicBezTo>
                <a:close/>
                <a:moveTo>
                  <a:pt x="8723506" y="5727762"/>
                </a:moveTo>
                <a:cubicBezTo>
                  <a:pt x="8732786" y="5730372"/>
                  <a:pt x="8740876" y="5736541"/>
                  <a:pt x="8745635" y="5746031"/>
                </a:cubicBezTo>
                <a:cubicBezTo>
                  <a:pt x="8755153" y="5766910"/>
                  <a:pt x="8747539" y="5789687"/>
                  <a:pt x="8728503" y="5799178"/>
                </a:cubicBezTo>
                <a:cubicBezTo>
                  <a:pt x="8728503" y="5799178"/>
                  <a:pt x="8728503" y="5799178"/>
                  <a:pt x="8391568" y="5973803"/>
                </a:cubicBezTo>
                <a:cubicBezTo>
                  <a:pt x="8372532" y="5983294"/>
                  <a:pt x="8349689" y="5975701"/>
                  <a:pt x="8338267" y="5956720"/>
                </a:cubicBezTo>
                <a:cubicBezTo>
                  <a:pt x="8336363" y="5951026"/>
                  <a:pt x="8334460" y="5945332"/>
                  <a:pt x="8334460" y="5937739"/>
                </a:cubicBezTo>
                <a:cubicBezTo>
                  <a:pt x="8334460" y="5924453"/>
                  <a:pt x="8342074" y="5911166"/>
                  <a:pt x="8355399" y="5903573"/>
                </a:cubicBezTo>
                <a:cubicBezTo>
                  <a:pt x="8355399" y="5903573"/>
                  <a:pt x="8355399" y="5903573"/>
                  <a:pt x="8694238" y="5730846"/>
                </a:cubicBezTo>
                <a:cubicBezTo>
                  <a:pt x="8703756" y="5726101"/>
                  <a:pt x="8714226" y="5725152"/>
                  <a:pt x="8723506" y="5727762"/>
                </a:cubicBezTo>
                <a:close/>
                <a:moveTo>
                  <a:pt x="11603271" y="5714468"/>
                </a:moveTo>
                <a:cubicBezTo>
                  <a:pt x="11612551" y="5717571"/>
                  <a:pt x="11620641" y="5724254"/>
                  <a:pt x="11625400" y="5733802"/>
                </a:cubicBezTo>
                <a:cubicBezTo>
                  <a:pt x="11634918" y="5754808"/>
                  <a:pt x="11627304" y="5777723"/>
                  <a:pt x="11608268" y="5787271"/>
                </a:cubicBezTo>
                <a:cubicBezTo>
                  <a:pt x="11608268" y="5787271"/>
                  <a:pt x="11608268" y="5787271"/>
                  <a:pt x="11271333" y="5961045"/>
                </a:cubicBezTo>
                <a:cubicBezTo>
                  <a:pt x="11252297" y="5970593"/>
                  <a:pt x="11227550" y="5962954"/>
                  <a:pt x="11218032" y="5941949"/>
                </a:cubicBezTo>
                <a:cubicBezTo>
                  <a:pt x="11214225" y="5936220"/>
                  <a:pt x="11214225" y="5930491"/>
                  <a:pt x="11214225" y="5924762"/>
                </a:cubicBezTo>
                <a:cubicBezTo>
                  <a:pt x="11214225" y="5911395"/>
                  <a:pt x="11221839" y="5896118"/>
                  <a:pt x="11235164" y="5890389"/>
                </a:cubicBezTo>
                <a:cubicBezTo>
                  <a:pt x="11235164" y="5890389"/>
                  <a:pt x="11235164" y="5890389"/>
                  <a:pt x="11574003" y="5716616"/>
                </a:cubicBezTo>
                <a:cubicBezTo>
                  <a:pt x="11583521" y="5711842"/>
                  <a:pt x="11593991" y="5711364"/>
                  <a:pt x="11603271" y="5714468"/>
                </a:cubicBezTo>
                <a:close/>
                <a:moveTo>
                  <a:pt x="8158886" y="5714468"/>
                </a:moveTo>
                <a:cubicBezTo>
                  <a:pt x="8168671" y="5717571"/>
                  <a:pt x="8177263" y="5724254"/>
                  <a:pt x="8182036" y="5733802"/>
                </a:cubicBezTo>
                <a:cubicBezTo>
                  <a:pt x="8191583" y="5754808"/>
                  <a:pt x="8183946" y="5777723"/>
                  <a:pt x="8164852" y="5787271"/>
                </a:cubicBezTo>
                <a:cubicBezTo>
                  <a:pt x="8164852" y="5787271"/>
                  <a:pt x="8164852" y="5787271"/>
                  <a:pt x="7824994" y="5961045"/>
                </a:cubicBezTo>
                <a:cubicBezTo>
                  <a:pt x="7805901" y="5970593"/>
                  <a:pt x="7782989" y="5962954"/>
                  <a:pt x="7771533" y="5941949"/>
                </a:cubicBezTo>
                <a:cubicBezTo>
                  <a:pt x="7769624" y="5936220"/>
                  <a:pt x="7767715" y="5930491"/>
                  <a:pt x="7767715" y="5924762"/>
                </a:cubicBezTo>
                <a:cubicBezTo>
                  <a:pt x="7767715" y="5911395"/>
                  <a:pt x="7775352" y="5896118"/>
                  <a:pt x="7788717" y="5890389"/>
                </a:cubicBezTo>
                <a:cubicBezTo>
                  <a:pt x="7788717" y="5890389"/>
                  <a:pt x="7788717" y="5890389"/>
                  <a:pt x="8128575" y="5716616"/>
                </a:cubicBezTo>
                <a:cubicBezTo>
                  <a:pt x="8138122" y="5711842"/>
                  <a:pt x="8149101" y="5711364"/>
                  <a:pt x="8158886" y="5714468"/>
                </a:cubicBezTo>
                <a:close/>
                <a:moveTo>
                  <a:pt x="12139750" y="5703893"/>
                </a:moveTo>
                <a:cubicBezTo>
                  <a:pt x="12139750" y="5703893"/>
                  <a:pt x="12139750" y="5703893"/>
                  <a:pt x="12139750" y="5793652"/>
                </a:cubicBezTo>
                <a:cubicBezTo>
                  <a:pt x="12139750" y="5793652"/>
                  <a:pt x="12139750" y="5793652"/>
                  <a:pt x="11833309" y="5948344"/>
                </a:cubicBezTo>
                <a:cubicBezTo>
                  <a:pt x="11814275" y="5957893"/>
                  <a:pt x="11789532" y="5950254"/>
                  <a:pt x="11780015" y="5929246"/>
                </a:cubicBezTo>
                <a:cubicBezTo>
                  <a:pt x="11778111" y="5923517"/>
                  <a:pt x="11776208" y="5917787"/>
                  <a:pt x="11776208" y="5912058"/>
                </a:cubicBezTo>
                <a:cubicBezTo>
                  <a:pt x="11776208" y="5896780"/>
                  <a:pt x="11783821" y="5883412"/>
                  <a:pt x="11799048" y="5875772"/>
                </a:cubicBezTo>
                <a:lnTo>
                  <a:pt x="12135943" y="5705803"/>
                </a:lnTo>
                <a:cubicBezTo>
                  <a:pt x="12137847" y="5705803"/>
                  <a:pt x="12139750" y="5705803"/>
                  <a:pt x="12139750" y="5703893"/>
                </a:cubicBezTo>
                <a:close/>
                <a:moveTo>
                  <a:pt x="7600201" y="5703365"/>
                </a:moveTo>
                <a:cubicBezTo>
                  <a:pt x="7609950" y="5706472"/>
                  <a:pt x="7618509" y="5713164"/>
                  <a:pt x="7623265" y="5722723"/>
                </a:cubicBezTo>
                <a:cubicBezTo>
                  <a:pt x="7632776" y="5743755"/>
                  <a:pt x="7625167" y="5766698"/>
                  <a:pt x="7604243" y="5776258"/>
                </a:cubicBezTo>
                <a:cubicBezTo>
                  <a:pt x="7604243" y="5776258"/>
                  <a:pt x="7604243" y="5776258"/>
                  <a:pt x="7267560" y="5948334"/>
                </a:cubicBezTo>
                <a:cubicBezTo>
                  <a:pt x="7246636" y="5957894"/>
                  <a:pt x="7223810" y="5950246"/>
                  <a:pt x="7214299" y="5929214"/>
                </a:cubicBezTo>
                <a:cubicBezTo>
                  <a:pt x="7210495" y="5923479"/>
                  <a:pt x="7210495" y="5917743"/>
                  <a:pt x="7210495" y="5912007"/>
                </a:cubicBezTo>
                <a:cubicBezTo>
                  <a:pt x="7210495" y="5896711"/>
                  <a:pt x="7218103" y="5883327"/>
                  <a:pt x="7231419" y="5875680"/>
                </a:cubicBezTo>
                <a:cubicBezTo>
                  <a:pt x="7231419" y="5875680"/>
                  <a:pt x="7231419" y="5875680"/>
                  <a:pt x="7570004" y="5705516"/>
                </a:cubicBezTo>
                <a:cubicBezTo>
                  <a:pt x="7579515" y="5700736"/>
                  <a:pt x="7590452" y="5700258"/>
                  <a:pt x="7600201" y="5703365"/>
                </a:cubicBezTo>
                <a:close/>
                <a:moveTo>
                  <a:pt x="7047645" y="5692216"/>
                </a:moveTo>
                <a:cubicBezTo>
                  <a:pt x="7057423" y="5695307"/>
                  <a:pt x="7066008" y="5701967"/>
                  <a:pt x="7070778" y="5711480"/>
                </a:cubicBezTo>
                <a:cubicBezTo>
                  <a:pt x="7080318" y="5732409"/>
                  <a:pt x="7072686" y="5757144"/>
                  <a:pt x="7051700" y="5766658"/>
                </a:cubicBezTo>
                <a:cubicBezTo>
                  <a:pt x="7051700" y="5766658"/>
                  <a:pt x="7051700" y="5766658"/>
                  <a:pt x="6714006" y="5934092"/>
                </a:cubicBezTo>
                <a:cubicBezTo>
                  <a:pt x="6693019" y="5943606"/>
                  <a:pt x="6670125" y="5934092"/>
                  <a:pt x="6658677" y="5915066"/>
                </a:cubicBezTo>
                <a:cubicBezTo>
                  <a:pt x="6656770" y="5909358"/>
                  <a:pt x="6654862" y="5903650"/>
                  <a:pt x="6654862" y="5897942"/>
                </a:cubicBezTo>
                <a:cubicBezTo>
                  <a:pt x="6654862" y="5882720"/>
                  <a:pt x="6664401" y="5867499"/>
                  <a:pt x="6677756" y="5861791"/>
                </a:cubicBezTo>
                <a:cubicBezTo>
                  <a:pt x="6677756" y="5861791"/>
                  <a:pt x="6677756" y="5861791"/>
                  <a:pt x="7017358" y="5694356"/>
                </a:cubicBezTo>
                <a:cubicBezTo>
                  <a:pt x="7026897" y="5689600"/>
                  <a:pt x="7037868" y="5689124"/>
                  <a:pt x="7047645" y="5692216"/>
                </a:cubicBezTo>
                <a:close/>
                <a:moveTo>
                  <a:pt x="6486856" y="5678743"/>
                </a:moveTo>
                <a:cubicBezTo>
                  <a:pt x="6502673" y="5677494"/>
                  <a:pt x="6517687" y="5686413"/>
                  <a:pt x="6526266" y="5700683"/>
                </a:cubicBezTo>
                <a:cubicBezTo>
                  <a:pt x="6535798" y="5721612"/>
                  <a:pt x="6526266" y="5746347"/>
                  <a:pt x="6507201" y="5755860"/>
                </a:cubicBezTo>
                <a:cubicBezTo>
                  <a:pt x="6507201" y="5755860"/>
                  <a:pt x="6507201" y="5755860"/>
                  <a:pt x="6167854" y="5921392"/>
                </a:cubicBezTo>
                <a:cubicBezTo>
                  <a:pt x="6146884" y="5930906"/>
                  <a:pt x="6124006" y="5921392"/>
                  <a:pt x="6114474" y="5902366"/>
                </a:cubicBezTo>
                <a:cubicBezTo>
                  <a:pt x="6110661" y="5896658"/>
                  <a:pt x="6108755" y="5890950"/>
                  <a:pt x="6108755" y="5883339"/>
                </a:cubicBezTo>
                <a:cubicBezTo>
                  <a:pt x="6108755" y="5870020"/>
                  <a:pt x="6118287" y="5854799"/>
                  <a:pt x="6131632" y="5847188"/>
                </a:cubicBezTo>
                <a:cubicBezTo>
                  <a:pt x="6131632" y="5847188"/>
                  <a:pt x="6131632" y="5847188"/>
                  <a:pt x="6470979" y="5683559"/>
                </a:cubicBezTo>
                <a:cubicBezTo>
                  <a:pt x="6476221" y="5680705"/>
                  <a:pt x="6481583" y="5679159"/>
                  <a:pt x="6486856" y="5678743"/>
                </a:cubicBezTo>
                <a:close/>
                <a:moveTo>
                  <a:pt x="5956806" y="5667777"/>
                </a:moveTo>
                <a:cubicBezTo>
                  <a:pt x="5966814" y="5671349"/>
                  <a:pt x="5975394" y="5678493"/>
                  <a:pt x="5980159" y="5688018"/>
                </a:cubicBezTo>
                <a:cubicBezTo>
                  <a:pt x="5989691" y="5708973"/>
                  <a:pt x="5980159" y="5733738"/>
                  <a:pt x="5961095" y="5743263"/>
                </a:cubicBezTo>
                <a:cubicBezTo>
                  <a:pt x="5961095" y="5743263"/>
                  <a:pt x="5961095" y="5743263"/>
                  <a:pt x="5621756" y="5907093"/>
                </a:cubicBezTo>
                <a:cubicBezTo>
                  <a:pt x="5600786" y="5916618"/>
                  <a:pt x="5576002" y="5907093"/>
                  <a:pt x="5566471" y="5888043"/>
                </a:cubicBezTo>
                <a:cubicBezTo>
                  <a:pt x="5564565" y="5882328"/>
                  <a:pt x="5562658" y="5874708"/>
                  <a:pt x="5562658" y="5868993"/>
                </a:cubicBezTo>
                <a:cubicBezTo>
                  <a:pt x="5562658" y="5853753"/>
                  <a:pt x="5570284" y="5840418"/>
                  <a:pt x="5585535" y="5832798"/>
                </a:cubicBezTo>
                <a:cubicBezTo>
                  <a:pt x="5585535" y="5832798"/>
                  <a:pt x="5585535" y="5832798"/>
                  <a:pt x="5924874" y="5668968"/>
                </a:cubicBezTo>
                <a:cubicBezTo>
                  <a:pt x="5935360" y="5664205"/>
                  <a:pt x="5946797" y="5664205"/>
                  <a:pt x="5956806" y="5667777"/>
                </a:cubicBezTo>
                <a:close/>
                <a:moveTo>
                  <a:pt x="397251" y="5667777"/>
                </a:moveTo>
                <a:cubicBezTo>
                  <a:pt x="407022" y="5671349"/>
                  <a:pt x="415601" y="5678493"/>
                  <a:pt x="420367" y="5688018"/>
                </a:cubicBezTo>
                <a:cubicBezTo>
                  <a:pt x="431806" y="5708973"/>
                  <a:pt x="422273" y="5733738"/>
                  <a:pt x="401303" y="5743263"/>
                </a:cubicBezTo>
                <a:cubicBezTo>
                  <a:pt x="401303" y="5743263"/>
                  <a:pt x="401303" y="5743263"/>
                  <a:pt x="63863" y="5907093"/>
                </a:cubicBezTo>
                <a:cubicBezTo>
                  <a:pt x="42892" y="5916618"/>
                  <a:pt x="18109" y="5907093"/>
                  <a:pt x="8576" y="5888043"/>
                </a:cubicBezTo>
                <a:cubicBezTo>
                  <a:pt x="4764" y="5882328"/>
                  <a:pt x="4764" y="5874708"/>
                  <a:pt x="4764" y="5868993"/>
                </a:cubicBezTo>
                <a:cubicBezTo>
                  <a:pt x="4764" y="5853753"/>
                  <a:pt x="12389" y="5840418"/>
                  <a:pt x="27641" y="5832798"/>
                </a:cubicBezTo>
                <a:cubicBezTo>
                  <a:pt x="27641" y="5832798"/>
                  <a:pt x="27641" y="5832798"/>
                  <a:pt x="366987" y="5668968"/>
                </a:cubicBezTo>
                <a:cubicBezTo>
                  <a:pt x="376519" y="5664205"/>
                  <a:pt x="387481" y="5664205"/>
                  <a:pt x="397251" y="5667777"/>
                </a:cubicBezTo>
                <a:close/>
                <a:moveTo>
                  <a:pt x="5407592" y="5656676"/>
                </a:moveTo>
                <a:cubicBezTo>
                  <a:pt x="5417631" y="5660252"/>
                  <a:pt x="5426713" y="5667405"/>
                  <a:pt x="5432449" y="5676941"/>
                </a:cubicBezTo>
                <a:cubicBezTo>
                  <a:pt x="5442009" y="5697922"/>
                  <a:pt x="5432449" y="5722718"/>
                  <a:pt x="5411416" y="5732255"/>
                </a:cubicBezTo>
                <a:cubicBezTo>
                  <a:pt x="5411416" y="5732255"/>
                  <a:pt x="5411416" y="5732255"/>
                  <a:pt x="5071064" y="5894382"/>
                </a:cubicBezTo>
                <a:cubicBezTo>
                  <a:pt x="5050034" y="5903919"/>
                  <a:pt x="5025180" y="5894382"/>
                  <a:pt x="5015621" y="5873401"/>
                </a:cubicBezTo>
                <a:cubicBezTo>
                  <a:pt x="5013709" y="5867679"/>
                  <a:pt x="5011797" y="5861957"/>
                  <a:pt x="5011797" y="5856234"/>
                </a:cubicBezTo>
                <a:cubicBezTo>
                  <a:pt x="5011797" y="5840975"/>
                  <a:pt x="5021356" y="5825716"/>
                  <a:pt x="5036651" y="5818087"/>
                </a:cubicBezTo>
                <a:cubicBezTo>
                  <a:pt x="5036651" y="5818087"/>
                  <a:pt x="5036651" y="5818087"/>
                  <a:pt x="5377000" y="5657868"/>
                </a:cubicBezTo>
                <a:cubicBezTo>
                  <a:pt x="5386560" y="5653099"/>
                  <a:pt x="5397554" y="5653099"/>
                  <a:pt x="5407592" y="5656676"/>
                </a:cubicBezTo>
                <a:close/>
                <a:moveTo>
                  <a:pt x="941847" y="5656676"/>
                </a:moveTo>
                <a:cubicBezTo>
                  <a:pt x="951856" y="5660252"/>
                  <a:pt x="960435" y="5667405"/>
                  <a:pt x="965201" y="5676941"/>
                </a:cubicBezTo>
                <a:cubicBezTo>
                  <a:pt x="974733" y="5697922"/>
                  <a:pt x="965201" y="5722718"/>
                  <a:pt x="946137" y="5732255"/>
                </a:cubicBezTo>
                <a:cubicBezTo>
                  <a:pt x="946137" y="5732255"/>
                  <a:pt x="946137" y="5732255"/>
                  <a:pt x="606791" y="5894382"/>
                </a:cubicBezTo>
                <a:cubicBezTo>
                  <a:pt x="585820" y="5903919"/>
                  <a:pt x="561036" y="5894382"/>
                  <a:pt x="551504" y="5873401"/>
                </a:cubicBezTo>
                <a:cubicBezTo>
                  <a:pt x="547691" y="5867679"/>
                  <a:pt x="547691" y="5861957"/>
                  <a:pt x="547691" y="5856234"/>
                </a:cubicBezTo>
                <a:cubicBezTo>
                  <a:pt x="547691" y="5840975"/>
                  <a:pt x="555317" y="5825716"/>
                  <a:pt x="570568" y="5818087"/>
                </a:cubicBezTo>
                <a:cubicBezTo>
                  <a:pt x="570568" y="5818087"/>
                  <a:pt x="570568" y="5818087"/>
                  <a:pt x="909914" y="5657868"/>
                </a:cubicBezTo>
                <a:cubicBezTo>
                  <a:pt x="920400" y="5653099"/>
                  <a:pt x="931838" y="5653099"/>
                  <a:pt x="941847" y="5656676"/>
                </a:cubicBezTo>
                <a:close/>
                <a:moveTo>
                  <a:pt x="4853506" y="5644857"/>
                </a:moveTo>
                <a:cubicBezTo>
                  <a:pt x="4863510" y="5648199"/>
                  <a:pt x="4872082" y="5655361"/>
                  <a:pt x="4876848" y="5665864"/>
                </a:cubicBezTo>
                <a:cubicBezTo>
                  <a:pt x="4886374" y="5686872"/>
                  <a:pt x="4876848" y="5711699"/>
                  <a:pt x="4855887" y="5723158"/>
                </a:cubicBezTo>
                <a:cubicBezTo>
                  <a:pt x="4855887" y="5723158"/>
                  <a:pt x="4855887" y="5723158"/>
                  <a:pt x="4516801" y="5881669"/>
                </a:cubicBezTo>
                <a:cubicBezTo>
                  <a:pt x="4495844" y="5891218"/>
                  <a:pt x="4471079" y="5881669"/>
                  <a:pt x="4461553" y="5860661"/>
                </a:cubicBezTo>
                <a:cubicBezTo>
                  <a:pt x="4459649" y="5854932"/>
                  <a:pt x="4457744" y="5849203"/>
                  <a:pt x="4457744" y="5843473"/>
                </a:cubicBezTo>
                <a:cubicBezTo>
                  <a:pt x="4457744" y="5828195"/>
                  <a:pt x="4467269" y="5812917"/>
                  <a:pt x="4482509" y="5805278"/>
                </a:cubicBezTo>
                <a:cubicBezTo>
                  <a:pt x="4482509" y="5805278"/>
                  <a:pt x="4482509" y="5805278"/>
                  <a:pt x="4821592" y="5646767"/>
                </a:cubicBezTo>
                <a:cubicBezTo>
                  <a:pt x="4832070" y="5641992"/>
                  <a:pt x="4843502" y="5641515"/>
                  <a:pt x="4853506" y="5644857"/>
                </a:cubicBezTo>
                <a:close/>
                <a:moveTo>
                  <a:pt x="1487895" y="5644857"/>
                </a:moveTo>
                <a:cubicBezTo>
                  <a:pt x="1498134" y="5648199"/>
                  <a:pt x="1507183" y="5655361"/>
                  <a:pt x="1512898" y="5665864"/>
                </a:cubicBezTo>
                <a:cubicBezTo>
                  <a:pt x="1522423" y="5686872"/>
                  <a:pt x="1512898" y="5711699"/>
                  <a:pt x="1491943" y="5723158"/>
                </a:cubicBezTo>
                <a:cubicBezTo>
                  <a:pt x="1491943" y="5723158"/>
                  <a:pt x="1491943" y="5723158"/>
                  <a:pt x="1152849" y="5881669"/>
                </a:cubicBezTo>
                <a:cubicBezTo>
                  <a:pt x="1131894" y="5891218"/>
                  <a:pt x="1107128" y="5881669"/>
                  <a:pt x="1097603" y="5860661"/>
                </a:cubicBezTo>
                <a:cubicBezTo>
                  <a:pt x="1093793" y="5854932"/>
                  <a:pt x="1093793" y="5849203"/>
                  <a:pt x="1093793" y="5843473"/>
                </a:cubicBezTo>
                <a:cubicBezTo>
                  <a:pt x="1093793" y="5828195"/>
                  <a:pt x="1101413" y="5812917"/>
                  <a:pt x="1116653" y="5805278"/>
                </a:cubicBezTo>
                <a:cubicBezTo>
                  <a:pt x="1116653" y="5805278"/>
                  <a:pt x="1116653" y="5805278"/>
                  <a:pt x="1455747" y="5646767"/>
                </a:cubicBezTo>
                <a:cubicBezTo>
                  <a:pt x="1466225" y="5641992"/>
                  <a:pt x="1477655" y="5641515"/>
                  <a:pt x="1487895" y="5644857"/>
                </a:cubicBezTo>
                <a:close/>
                <a:moveTo>
                  <a:pt x="4280333" y="5631131"/>
                </a:moveTo>
                <a:cubicBezTo>
                  <a:pt x="4296645" y="5629974"/>
                  <a:pt x="4312420" y="5639226"/>
                  <a:pt x="4319591" y="5654883"/>
                </a:cubicBezTo>
                <a:cubicBezTo>
                  <a:pt x="4329151" y="5677657"/>
                  <a:pt x="4319591" y="5702329"/>
                  <a:pt x="4298557" y="5711818"/>
                </a:cubicBezTo>
                <a:cubicBezTo>
                  <a:pt x="4298557" y="5711818"/>
                  <a:pt x="4298557" y="5711818"/>
                  <a:pt x="3958229" y="5867442"/>
                </a:cubicBezTo>
                <a:cubicBezTo>
                  <a:pt x="3937196" y="5876931"/>
                  <a:pt x="3912337" y="5867442"/>
                  <a:pt x="3902776" y="5846565"/>
                </a:cubicBezTo>
                <a:cubicBezTo>
                  <a:pt x="3898954" y="5840872"/>
                  <a:pt x="3898954" y="5835178"/>
                  <a:pt x="3898954" y="5829485"/>
                </a:cubicBezTo>
                <a:cubicBezTo>
                  <a:pt x="3898954" y="5812404"/>
                  <a:pt x="3906600" y="5797221"/>
                  <a:pt x="3923810" y="5789630"/>
                </a:cubicBezTo>
                <a:cubicBezTo>
                  <a:pt x="3923810" y="5789630"/>
                  <a:pt x="3923810" y="5789630"/>
                  <a:pt x="4264139" y="5635905"/>
                </a:cubicBezTo>
                <a:cubicBezTo>
                  <a:pt x="4269397" y="5633058"/>
                  <a:pt x="4274895" y="5631516"/>
                  <a:pt x="4280333" y="5631131"/>
                </a:cubicBezTo>
                <a:close/>
                <a:moveTo>
                  <a:pt x="2025802" y="5631130"/>
                </a:moveTo>
                <a:cubicBezTo>
                  <a:pt x="2042192" y="5629974"/>
                  <a:pt x="2058318" y="5639226"/>
                  <a:pt x="2066916" y="5654883"/>
                </a:cubicBezTo>
                <a:cubicBezTo>
                  <a:pt x="2076469" y="5677657"/>
                  <a:pt x="2066916" y="5702329"/>
                  <a:pt x="2045894" y="5711818"/>
                </a:cubicBezTo>
                <a:cubicBezTo>
                  <a:pt x="2045894" y="5711818"/>
                  <a:pt x="2045894" y="5711818"/>
                  <a:pt x="1705799" y="5867442"/>
                </a:cubicBezTo>
                <a:cubicBezTo>
                  <a:pt x="1682871" y="5876931"/>
                  <a:pt x="1658033" y="5867442"/>
                  <a:pt x="1648480" y="5846565"/>
                </a:cubicBezTo>
                <a:cubicBezTo>
                  <a:pt x="1646569" y="5840872"/>
                  <a:pt x="1644659" y="5835178"/>
                  <a:pt x="1644659" y="5829485"/>
                </a:cubicBezTo>
                <a:cubicBezTo>
                  <a:pt x="1644659" y="5812404"/>
                  <a:pt x="1654212" y="5797221"/>
                  <a:pt x="1669497" y="5789630"/>
                </a:cubicBezTo>
                <a:cubicBezTo>
                  <a:pt x="1669497" y="5789630"/>
                  <a:pt x="1669497" y="5789630"/>
                  <a:pt x="2009592" y="5635905"/>
                </a:cubicBezTo>
                <a:cubicBezTo>
                  <a:pt x="2014846" y="5633058"/>
                  <a:pt x="2020339" y="5631516"/>
                  <a:pt x="2025802" y="5631130"/>
                </a:cubicBezTo>
                <a:close/>
                <a:moveTo>
                  <a:pt x="3732521" y="5620423"/>
                </a:moveTo>
                <a:cubicBezTo>
                  <a:pt x="3742753" y="5624247"/>
                  <a:pt x="3751320" y="5631896"/>
                  <a:pt x="3756078" y="5642413"/>
                </a:cubicBezTo>
                <a:cubicBezTo>
                  <a:pt x="3765599" y="5665360"/>
                  <a:pt x="3756078" y="5690219"/>
                  <a:pt x="3735138" y="5699780"/>
                </a:cubicBezTo>
                <a:cubicBezTo>
                  <a:pt x="3735138" y="5699780"/>
                  <a:pt x="3735138" y="5699780"/>
                  <a:pt x="3396308" y="5854670"/>
                </a:cubicBezTo>
                <a:cubicBezTo>
                  <a:pt x="3373464" y="5864231"/>
                  <a:pt x="3348715" y="5854670"/>
                  <a:pt x="3339199" y="5833635"/>
                </a:cubicBezTo>
                <a:cubicBezTo>
                  <a:pt x="3337292" y="5827899"/>
                  <a:pt x="3335390" y="5820250"/>
                  <a:pt x="3335390" y="5814513"/>
                </a:cubicBezTo>
                <a:cubicBezTo>
                  <a:pt x="3335390" y="5799215"/>
                  <a:pt x="3344907" y="5783918"/>
                  <a:pt x="3360135" y="5776269"/>
                </a:cubicBezTo>
                <a:cubicBezTo>
                  <a:pt x="3360135" y="5776269"/>
                  <a:pt x="3360135" y="5776269"/>
                  <a:pt x="3698967" y="5621379"/>
                </a:cubicBezTo>
                <a:cubicBezTo>
                  <a:pt x="3710391" y="5616598"/>
                  <a:pt x="3722287" y="5616598"/>
                  <a:pt x="3732521" y="5620423"/>
                </a:cubicBezTo>
                <a:close/>
                <a:moveTo>
                  <a:pt x="2598306" y="5620423"/>
                </a:moveTo>
                <a:cubicBezTo>
                  <a:pt x="2608777" y="5624247"/>
                  <a:pt x="2617819" y="5631896"/>
                  <a:pt x="2622577" y="5642413"/>
                </a:cubicBezTo>
                <a:cubicBezTo>
                  <a:pt x="2632096" y="5665360"/>
                  <a:pt x="2622577" y="5690219"/>
                  <a:pt x="2601638" y="5699780"/>
                </a:cubicBezTo>
                <a:cubicBezTo>
                  <a:pt x="2601638" y="5699780"/>
                  <a:pt x="2601638" y="5699780"/>
                  <a:pt x="2262794" y="5854670"/>
                </a:cubicBezTo>
                <a:cubicBezTo>
                  <a:pt x="2239951" y="5864231"/>
                  <a:pt x="2215204" y="5854670"/>
                  <a:pt x="2205686" y="5833635"/>
                </a:cubicBezTo>
                <a:cubicBezTo>
                  <a:pt x="2203782" y="5827899"/>
                  <a:pt x="2201879" y="5820250"/>
                  <a:pt x="2201879" y="5814513"/>
                </a:cubicBezTo>
                <a:cubicBezTo>
                  <a:pt x="2201879" y="5799215"/>
                  <a:pt x="2211397" y="5783918"/>
                  <a:pt x="2226626" y="5776269"/>
                </a:cubicBezTo>
                <a:cubicBezTo>
                  <a:pt x="2226626" y="5776269"/>
                  <a:pt x="2226626" y="5776269"/>
                  <a:pt x="2565468" y="5621379"/>
                </a:cubicBezTo>
                <a:cubicBezTo>
                  <a:pt x="2575938" y="5616598"/>
                  <a:pt x="2587837" y="5616598"/>
                  <a:pt x="2598306" y="5620423"/>
                </a:cubicBezTo>
                <a:close/>
                <a:moveTo>
                  <a:pt x="3160334" y="5609267"/>
                </a:moveTo>
                <a:cubicBezTo>
                  <a:pt x="3170798" y="5613073"/>
                  <a:pt x="3179834" y="5620683"/>
                  <a:pt x="3184589" y="5631147"/>
                </a:cubicBezTo>
                <a:cubicBezTo>
                  <a:pt x="3194099" y="5653978"/>
                  <a:pt x="3184589" y="5678712"/>
                  <a:pt x="3161758" y="5688224"/>
                </a:cubicBezTo>
                <a:cubicBezTo>
                  <a:pt x="3161758" y="5688224"/>
                  <a:pt x="3161758" y="5688224"/>
                  <a:pt x="2823162" y="5840431"/>
                </a:cubicBezTo>
                <a:cubicBezTo>
                  <a:pt x="2800335" y="5849944"/>
                  <a:pt x="2775607" y="5840431"/>
                  <a:pt x="2766094" y="5817600"/>
                </a:cubicBezTo>
                <a:cubicBezTo>
                  <a:pt x="2764193" y="5811892"/>
                  <a:pt x="2762292" y="5806184"/>
                  <a:pt x="2762292" y="5800477"/>
                </a:cubicBezTo>
                <a:cubicBezTo>
                  <a:pt x="2762292" y="5783353"/>
                  <a:pt x="2771803" y="5768133"/>
                  <a:pt x="2787018" y="5760522"/>
                </a:cubicBezTo>
                <a:cubicBezTo>
                  <a:pt x="2787018" y="5760522"/>
                  <a:pt x="2787018" y="5760522"/>
                  <a:pt x="3127521" y="5610219"/>
                </a:cubicBezTo>
                <a:cubicBezTo>
                  <a:pt x="3137983" y="5605462"/>
                  <a:pt x="3149871" y="5605462"/>
                  <a:pt x="3160334" y="5609267"/>
                </a:cubicBezTo>
                <a:close/>
                <a:moveTo>
                  <a:pt x="9870771" y="5423698"/>
                </a:moveTo>
                <a:cubicBezTo>
                  <a:pt x="9879370" y="5426080"/>
                  <a:pt x="9887013" y="5431795"/>
                  <a:pt x="9891790" y="5439415"/>
                </a:cubicBezTo>
                <a:cubicBezTo>
                  <a:pt x="9901345" y="5456560"/>
                  <a:pt x="9895612" y="5479420"/>
                  <a:pt x="9878414" y="5488945"/>
                </a:cubicBezTo>
                <a:cubicBezTo>
                  <a:pt x="9878414" y="5488945"/>
                  <a:pt x="9878414" y="5488945"/>
                  <a:pt x="9542094" y="5683255"/>
                </a:cubicBezTo>
                <a:cubicBezTo>
                  <a:pt x="9524896" y="5692780"/>
                  <a:pt x="9501965" y="5687065"/>
                  <a:pt x="9492411" y="5669920"/>
                </a:cubicBezTo>
                <a:cubicBezTo>
                  <a:pt x="9490500" y="5664205"/>
                  <a:pt x="9488589" y="5658490"/>
                  <a:pt x="9488589" y="5650870"/>
                </a:cubicBezTo>
                <a:cubicBezTo>
                  <a:pt x="9488589" y="5639440"/>
                  <a:pt x="9494322" y="5628010"/>
                  <a:pt x="9505787" y="5620390"/>
                </a:cubicBezTo>
                <a:cubicBezTo>
                  <a:pt x="9505787" y="5620390"/>
                  <a:pt x="9505787" y="5620390"/>
                  <a:pt x="9844018" y="5427985"/>
                </a:cubicBezTo>
                <a:cubicBezTo>
                  <a:pt x="9852617" y="5422270"/>
                  <a:pt x="9862172" y="5421317"/>
                  <a:pt x="9870771" y="5423698"/>
                </a:cubicBezTo>
                <a:close/>
                <a:moveTo>
                  <a:pt x="10454072" y="5413206"/>
                </a:moveTo>
                <a:cubicBezTo>
                  <a:pt x="10463135" y="5415582"/>
                  <a:pt x="10471244" y="5421284"/>
                  <a:pt x="10476013" y="5429836"/>
                </a:cubicBezTo>
                <a:cubicBezTo>
                  <a:pt x="10485553" y="5446941"/>
                  <a:pt x="10479829" y="5469747"/>
                  <a:pt x="10460750" y="5479250"/>
                </a:cubicBezTo>
                <a:cubicBezTo>
                  <a:pt x="10460750" y="5479250"/>
                  <a:pt x="10460750" y="5479250"/>
                  <a:pt x="10123044" y="5667402"/>
                </a:cubicBezTo>
                <a:cubicBezTo>
                  <a:pt x="10105873" y="5676905"/>
                  <a:pt x="10084886" y="5671203"/>
                  <a:pt x="10075346" y="5654098"/>
                </a:cubicBezTo>
                <a:cubicBezTo>
                  <a:pt x="10071530" y="5648397"/>
                  <a:pt x="10069622" y="5642695"/>
                  <a:pt x="10069622" y="5636994"/>
                </a:cubicBezTo>
                <a:cubicBezTo>
                  <a:pt x="10069622" y="5623690"/>
                  <a:pt x="10077254" y="5610386"/>
                  <a:pt x="10088701" y="5604685"/>
                </a:cubicBezTo>
                <a:cubicBezTo>
                  <a:pt x="10088701" y="5604685"/>
                  <a:pt x="10088701" y="5604685"/>
                  <a:pt x="10426407" y="5416532"/>
                </a:cubicBezTo>
                <a:cubicBezTo>
                  <a:pt x="10434993" y="5411781"/>
                  <a:pt x="10445009" y="5410831"/>
                  <a:pt x="10454072" y="5413206"/>
                </a:cubicBezTo>
                <a:close/>
                <a:moveTo>
                  <a:pt x="9292639" y="5413206"/>
                </a:moveTo>
                <a:cubicBezTo>
                  <a:pt x="9301225" y="5415582"/>
                  <a:pt x="9308857" y="5421284"/>
                  <a:pt x="9313626" y="5429836"/>
                </a:cubicBezTo>
                <a:cubicBezTo>
                  <a:pt x="9325074" y="5446941"/>
                  <a:pt x="9317442" y="5469747"/>
                  <a:pt x="9300271" y="5479250"/>
                </a:cubicBezTo>
                <a:cubicBezTo>
                  <a:pt x="9300271" y="5479250"/>
                  <a:pt x="9300271" y="5479250"/>
                  <a:pt x="8962565" y="5667402"/>
                </a:cubicBezTo>
                <a:cubicBezTo>
                  <a:pt x="8945394" y="5676905"/>
                  <a:pt x="8922499" y="5671203"/>
                  <a:pt x="8912959" y="5654098"/>
                </a:cubicBezTo>
                <a:cubicBezTo>
                  <a:pt x="8911051" y="5648397"/>
                  <a:pt x="8909143" y="5642695"/>
                  <a:pt x="8909143" y="5636994"/>
                </a:cubicBezTo>
                <a:cubicBezTo>
                  <a:pt x="8909143" y="5623690"/>
                  <a:pt x="8914867" y="5610386"/>
                  <a:pt x="8928222" y="5604685"/>
                </a:cubicBezTo>
                <a:cubicBezTo>
                  <a:pt x="8928222" y="5604685"/>
                  <a:pt x="8928222" y="5604685"/>
                  <a:pt x="9265928" y="5416532"/>
                </a:cubicBezTo>
                <a:cubicBezTo>
                  <a:pt x="9274513" y="5411781"/>
                  <a:pt x="9284053" y="5410831"/>
                  <a:pt x="9292639" y="5413206"/>
                </a:cubicBezTo>
                <a:close/>
                <a:moveTo>
                  <a:pt x="11031715" y="5402102"/>
                </a:moveTo>
                <a:cubicBezTo>
                  <a:pt x="11041009" y="5404480"/>
                  <a:pt x="11049111" y="5410188"/>
                  <a:pt x="11053878" y="5418751"/>
                </a:cubicBezTo>
                <a:cubicBezTo>
                  <a:pt x="11063410" y="5437778"/>
                  <a:pt x="11055784" y="5460611"/>
                  <a:pt x="11038626" y="5470125"/>
                </a:cubicBezTo>
                <a:cubicBezTo>
                  <a:pt x="11038626" y="5470125"/>
                  <a:pt x="11038626" y="5470125"/>
                  <a:pt x="10701180" y="5654692"/>
                </a:cubicBezTo>
                <a:cubicBezTo>
                  <a:pt x="10682115" y="5664206"/>
                  <a:pt x="10661144" y="5658498"/>
                  <a:pt x="10649705" y="5639470"/>
                </a:cubicBezTo>
                <a:cubicBezTo>
                  <a:pt x="10647798" y="5633762"/>
                  <a:pt x="10645892" y="5628053"/>
                  <a:pt x="10645892" y="5622345"/>
                </a:cubicBezTo>
                <a:cubicBezTo>
                  <a:pt x="10645892" y="5609026"/>
                  <a:pt x="10653518" y="5595707"/>
                  <a:pt x="10664957" y="5589998"/>
                </a:cubicBezTo>
                <a:cubicBezTo>
                  <a:pt x="10664957" y="5589998"/>
                  <a:pt x="10664957" y="5589998"/>
                  <a:pt x="11002403" y="5405432"/>
                </a:cubicBezTo>
                <a:cubicBezTo>
                  <a:pt x="11011936" y="5400675"/>
                  <a:pt x="11022421" y="5399723"/>
                  <a:pt x="11031715" y="5402102"/>
                </a:cubicBezTo>
                <a:close/>
                <a:moveTo>
                  <a:pt x="8722109" y="5402102"/>
                </a:moveTo>
                <a:cubicBezTo>
                  <a:pt x="8731165" y="5404480"/>
                  <a:pt x="8739268" y="5410189"/>
                  <a:pt x="8744034" y="5418751"/>
                </a:cubicBezTo>
                <a:cubicBezTo>
                  <a:pt x="8753566" y="5437778"/>
                  <a:pt x="8747847" y="5460611"/>
                  <a:pt x="8728782" y="5470125"/>
                </a:cubicBezTo>
                <a:cubicBezTo>
                  <a:pt x="8728782" y="5470125"/>
                  <a:pt x="8728782" y="5470125"/>
                  <a:pt x="8391336" y="5654692"/>
                </a:cubicBezTo>
                <a:cubicBezTo>
                  <a:pt x="8374177" y="5664206"/>
                  <a:pt x="8351300" y="5658498"/>
                  <a:pt x="8341767" y="5639470"/>
                </a:cubicBezTo>
                <a:cubicBezTo>
                  <a:pt x="8337954" y="5633762"/>
                  <a:pt x="8336048" y="5628053"/>
                  <a:pt x="8336048" y="5622345"/>
                </a:cubicBezTo>
                <a:cubicBezTo>
                  <a:pt x="8336048" y="5609026"/>
                  <a:pt x="8343674" y="5595707"/>
                  <a:pt x="8355113" y="5589998"/>
                </a:cubicBezTo>
                <a:cubicBezTo>
                  <a:pt x="8355113" y="5589998"/>
                  <a:pt x="8355113" y="5589998"/>
                  <a:pt x="8694465" y="5405432"/>
                </a:cubicBezTo>
                <a:cubicBezTo>
                  <a:pt x="8703044" y="5400675"/>
                  <a:pt x="8713053" y="5399723"/>
                  <a:pt x="8722109" y="5402102"/>
                </a:cubicBezTo>
                <a:close/>
                <a:moveTo>
                  <a:pt x="11601635" y="5389647"/>
                </a:moveTo>
                <a:cubicBezTo>
                  <a:pt x="11610929" y="5392266"/>
                  <a:pt x="11619032" y="5398458"/>
                  <a:pt x="11623798" y="5407983"/>
                </a:cubicBezTo>
                <a:cubicBezTo>
                  <a:pt x="11633330" y="5427033"/>
                  <a:pt x="11627611" y="5449893"/>
                  <a:pt x="11608546" y="5459418"/>
                </a:cubicBezTo>
                <a:cubicBezTo>
                  <a:pt x="11608546" y="5459418"/>
                  <a:pt x="11608546" y="5459418"/>
                  <a:pt x="11271100" y="5638488"/>
                </a:cubicBezTo>
                <a:cubicBezTo>
                  <a:pt x="11252035" y="5649918"/>
                  <a:pt x="11229157" y="5642298"/>
                  <a:pt x="11219625" y="5623248"/>
                </a:cubicBezTo>
                <a:cubicBezTo>
                  <a:pt x="11215812" y="5617533"/>
                  <a:pt x="11215812" y="5611818"/>
                  <a:pt x="11215812" y="5606103"/>
                </a:cubicBezTo>
                <a:cubicBezTo>
                  <a:pt x="11215812" y="5592768"/>
                  <a:pt x="11221531" y="5579433"/>
                  <a:pt x="11234877" y="5571813"/>
                </a:cubicBezTo>
                <a:cubicBezTo>
                  <a:pt x="11234877" y="5571813"/>
                  <a:pt x="11234877" y="5571813"/>
                  <a:pt x="11572323" y="5392743"/>
                </a:cubicBezTo>
                <a:cubicBezTo>
                  <a:pt x="11581856" y="5387980"/>
                  <a:pt x="11592341" y="5387028"/>
                  <a:pt x="11601635" y="5389647"/>
                </a:cubicBezTo>
                <a:close/>
                <a:moveTo>
                  <a:pt x="8158325" y="5389647"/>
                </a:moveTo>
                <a:cubicBezTo>
                  <a:pt x="8167612" y="5392267"/>
                  <a:pt x="8175708" y="5398458"/>
                  <a:pt x="8180471" y="5407983"/>
                </a:cubicBezTo>
                <a:cubicBezTo>
                  <a:pt x="8189996" y="5427033"/>
                  <a:pt x="8182376" y="5449893"/>
                  <a:pt x="8165230" y="5459418"/>
                </a:cubicBezTo>
                <a:cubicBezTo>
                  <a:pt x="8165230" y="5459418"/>
                  <a:pt x="8165230" y="5459418"/>
                  <a:pt x="7826136" y="5638488"/>
                </a:cubicBezTo>
                <a:cubicBezTo>
                  <a:pt x="7808990" y="5649918"/>
                  <a:pt x="7786130" y="5642298"/>
                  <a:pt x="7774700" y="5623248"/>
                </a:cubicBezTo>
                <a:cubicBezTo>
                  <a:pt x="7772795" y="5617533"/>
                  <a:pt x="7770890" y="5611818"/>
                  <a:pt x="7770890" y="5606103"/>
                </a:cubicBezTo>
                <a:cubicBezTo>
                  <a:pt x="7770890" y="5592768"/>
                  <a:pt x="7778510" y="5579433"/>
                  <a:pt x="7791845" y="5571813"/>
                </a:cubicBezTo>
                <a:cubicBezTo>
                  <a:pt x="7791845" y="5571813"/>
                  <a:pt x="7791845" y="5571813"/>
                  <a:pt x="8129035" y="5392743"/>
                </a:cubicBezTo>
                <a:cubicBezTo>
                  <a:pt x="8138560" y="5387980"/>
                  <a:pt x="8149038" y="5387028"/>
                  <a:pt x="8158325" y="5389647"/>
                </a:cubicBezTo>
                <a:close/>
                <a:moveTo>
                  <a:pt x="12139750" y="5380043"/>
                </a:moveTo>
                <a:cubicBezTo>
                  <a:pt x="12139750" y="5380043"/>
                  <a:pt x="12139750" y="5380043"/>
                  <a:pt x="12139750" y="5467782"/>
                </a:cubicBezTo>
                <a:cubicBezTo>
                  <a:pt x="12139750" y="5467782"/>
                  <a:pt x="12139750" y="5467782"/>
                  <a:pt x="11833041" y="5626094"/>
                </a:cubicBezTo>
                <a:cubicBezTo>
                  <a:pt x="11813990" y="5635631"/>
                  <a:pt x="11791130" y="5628001"/>
                  <a:pt x="11781605" y="5608928"/>
                </a:cubicBezTo>
                <a:cubicBezTo>
                  <a:pt x="11777795" y="5603205"/>
                  <a:pt x="11777795" y="5597483"/>
                  <a:pt x="11777795" y="5591761"/>
                </a:cubicBezTo>
                <a:cubicBezTo>
                  <a:pt x="11777795" y="5578410"/>
                  <a:pt x="11785415" y="5565058"/>
                  <a:pt x="11798750" y="5557428"/>
                </a:cubicBezTo>
                <a:lnTo>
                  <a:pt x="12135940" y="5381950"/>
                </a:lnTo>
                <a:cubicBezTo>
                  <a:pt x="12137845" y="5381950"/>
                  <a:pt x="12139750" y="5380043"/>
                  <a:pt x="12139750" y="5380043"/>
                </a:cubicBezTo>
                <a:close/>
                <a:moveTo>
                  <a:pt x="7599540" y="5379505"/>
                </a:moveTo>
                <a:cubicBezTo>
                  <a:pt x="7608821" y="5382608"/>
                  <a:pt x="7616911" y="5389291"/>
                  <a:pt x="7621670" y="5398839"/>
                </a:cubicBezTo>
                <a:cubicBezTo>
                  <a:pt x="7631188" y="5417935"/>
                  <a:pt x="7623573" y="5440850"/>
                  <a:pt x="7604538" y="5450398"/>
                </a:cubicBezTo>
                <a:cubicBezTo>
                  <a:pt x="7604538" y="5450398"/>
                  <a:pt x="7604538" y="5450398"/>
                  <a:pt x="7267602" y="5626082"/>
                </a:cubicBezTo>
                <a:cubicBezTo>
                  <a:pt x="7248567" y="5635630"/>
                  <a:pt x="7225723" y="5627991"/>
                  <a:pt x="7214302" y="5608895"/>
                </a:cubicBezTo>
                <a:cubicBezTo>
                  <a:pt x="7212398" y="5603167"/>
                  <a:pt x="7210495" y="5597438"/>
                  <a:pt x="7210495" y="5591709"/>
                </a:cubicBezTo>
                <a:cubicBezTo>
                  <a:pt x="7210495" y="5578342"/>
                  <a:pt x="7218109" y="5564975"/>
                  <a:pt x="7231434" y="5557336"/>
                </a:cubicBezTo>
                <a:cubicBezTo>
                  <a:pt x="7231434" y="5557336"/>
                  <a:pt x="7231434" y="5557336"/>
                  <a:pt x="7570273" y="5381653"/>
                </a:cubicBezTo>
                <a:cubicBezTo>
                  <a:pt x="7579791" y="5376879"/>
                  <a:pt x="7590261" y="5376401"/>
                  <a:pt x="7599540" y="5379505"/>
                </a:cubicBezTo>
                <a:close/>
                <a:moveTo>
                  <a:pt x="7046905" y="5368357"/>
                </a:moveTo>
                <a:cubicBezTo>
                  <a:pt x="7056451" y="5371445"/>
                  <a:pt x="7065043" y="5378096"/>
                  <a:pt x="7070771" y="5387598"/>
                </a:cubicBezTo>
                <a:cubicBezTo>
                  <a:pt x="7080318" y="5406602"/>
                  <a:pt x="7072681" y="5431306"/>
                  <a:pt x="7051678" y="5440808"/>
                </a:cubicBezTo>
                <a:cubicBezTo>
                  <a:pt x="7051678" y="5440808"/>
                  <a:pt x="7051678" y="5440808"/>
                  <a:pt x="6713729" y="5611841"/>
                </a:cubicBezTo>
                <a:cubicBezTo>
                  <a:pt x="6694636" y="5621343"/>
                  <a:pt x="6669815" y="5613741"/>
                  <a:pt x="6660268" y="5594738"/>
                </a:cubicBezTo>
                <a:cubicBezTo>
                  <a:pt x="6656450" y="5589037"/>
                  <a:pt x="6656450" y="5581435"/>
                  <a:pt x="6656450" y="5575734"/>
                </a:cubicBezTo>
                <a:cubicBezTo>
                  <a:pt x="6656450" y="5562431"/>
                  <a:pt x="6664087" y="5547229"/>
                  <a:pt x="6677452" y="5541527"/>
                </a:cubicBezTo>
                <a:cubicBezTo>
                  <a:pt x="6677452" y="5541527"/>
                  <a:pt x="6677452" y="5541527"/>
                  <a:pt x="7017310" y="5370495"/>
                </a:cubicBezTo>
                <a:cubicBezTo>
                  <a:pt x="7026857" y="5365744"/>
                  <a:pt x="7037358" y="5365269"/>
                  <a:pt x="7046905" y="5368357"/>
                </a:cubicBezTo>
                <a:close/>
                <a:moveTo>
                  <a:pt x="6501958" y="5357490"/>
                </a:moveTo>
                <a:cubicBezTo>
                  <a:pt x="6511491" y="5360820"/>
                  <a:pt x="6519593" y="5367955"/>
                  <a:pt x="6524359" y="5378420"/>
                </a:cubicBezTo>
                <a:cubicBezTo>
                  <a:pt x="6535798" y="5397446"/>
                  <a:pt x="6526266" y="5422181"/>
                  <a:pt x="6507201" y="5431695"/>
                </a:cubicBezTo>
                <a:cubicBezTo>
                  <a:pt x="6507201" y="5431695"/>
                  <a:pt x="6507201" y="5431695"/>
                  <a:pt x="6167854" y="5597227"/>
                </a:cubicBezTo>
                <a:cubicBezTo>
                  <a:pt x="6148790" y="5608643"/>
                  <a:pt x="6124006" y="5599129"/>
                  <a:pt x="6114474" y="5580103"/>
                </a:cubicBezTo>
                <a:cubicBezTo>
                  <a:pt x="6110661" y="5574395"/>
                  <a:pt x="6108755" y="5568687"/>
                  <a:pt x="6108755" y="5561076"/>
                </a:cubicBezTo>
                <a:cubicBezTo>
                  <a:pt x="6108755" y="5547757"/>
                  <a:pt x="6118287" y="5532536"/>
                  <a:pt x="6131632" y="5524925"/>
                </a:cubicBezTo>
                <a:cubicBezTo>
                  <a:pt x="6131632" y="5524925"/>
                  <a:pt x="6131632" y="5524925"/>
                  <a:pt x="6470979" y="5359393"/>
                </a:cubicBezTo>
                <a:cubicBezTo>
                  <a:pt x="6481464" y="5354637"/>
                  <a:pt x="6492426" y="5354161"/>
                  <a:pt x="6501958" y="5357490"/>
                </a:cubicBezTo>
                <a:close/>
                <a:moveTo>
                  <a:pt x="5956806" y="5347061"/>
                </a:moveTo>
                <a:cubicBezTo>
                  <a:pt x="5966814" y="5350615"/>
                  <a:pt x="5975394" y="5357723"/>
                  <a:pt x="5980159" y="5367201"/>
                </a:cubicBezTo>
                <a:cubicBezTo>
                  <a:pt x="5989691" y="5388051"/>
                  <a:pt x="5980159" y="5412693"/>
                  <a:pt x="5961095" y="5422171"/>
                </a:cubicBezTo>
                <a:cubicBezTo>
                  <a:pt x="5961095" y="5422171"/>
                  <a:pt x="5961095" y="5422171"/>
                  <a:pt x="5621756" y="5583290"/>
                </a:cubicBezTo>
                <a:cubicBezTo>
                  <a:pt x="5600786" y="5592768"/>
                  <a:pt x="5576002" y="5585186"/>
                  <a:pt x="5566471" y="5564335"/>
                </a:cubicBezTo>
                <a:cubicBezTo>
                  <a:pt x="5562658" y="5558648"/>
                  <a:pt x="5562658" y="5552962"/>
                  <a:pt x="5562658" y="5547275"/>
                </a:cubicBezTo>
                <a:cubicBezTo>
                  <a:pt x="5562658" y="5532111"/>
                  <a:pt x="5570284" y="5516947"/>
                  <a:pt x="5585535" y="5509365"/>
                </a:cubicBezTo>
                <a:cubicBezTo>
                  <a:pt x="5585535" y="5509365"/>
                  <a:pt x="5585535" y="5509365"/>
                  <a:pt x="5924874" y="5348245"/>
                </a:cubicBezTo>
                <a:cubicBezTo>
                  <a:pt x="5935360" y="5343507"/>
                  <a:pt x="5946797" y="5343507"/>
                  <a:pt x="5956806" y="5347061"/>
                </a:cubicBezTo>
                <a:close/>
                <a:moveTo>
                  <a:pt x="398204" y="5347061"/>
                </a:moveTo>
                <a:cubicBezTo>
                  <a:pt x="407975" y="5350615"/>
                  <a:pt x="416554" y="5357723"/>
                  <a:pt x="422273" y="5367201"/>
                </a:cubicBezTo>
                <a:cubicBezTo>
                  <a:pt x="431805" y="5388051"/>
                  <a:pt x="422273" y="5412693"/>
                  <a:pt x="401302" y="5422171"/>
                </a:cubicBezTo>
                <a:cubicBezTo>
                  <a:pt x="401302" y="5422171"/>
                  <a:pt x="401302" y="5422171"/>
                  <a:pt x="63863" y="5583290"/>
                </a:cubicBezTo>
                <a:cubicBezTo>
                  <a:pt x="42892" y="5592768"/>
                  <a:pt x="18108" y="5585186"/>
                  <a:pt x="8576" y="5564335"/>
                </a:cubicBezTo>
                <a:cubicBezTo>
                  <a:pt x="4763" y="5558648"/>
                  <a:pt x="4763" y="5552962"/>
                  <a:pt x="4763" y="5547275"/>
                </a:cubicBezTo>
                <a:cubicBezTo>
                  <a:pt x="4763" y="5532111"/>
                  <a:pt x="12389" y="5516947"/>
                  <a:pt x="27641" y="5509365"/>
                </a:cubicBezTo>
                <a:cubicBezTo>
                  <a:pt x="27641" y="5509365"/>
                  <a:pt x="27641" y="5509365"/>
                  <a:pt x="366986" y="5348245"/>
                </a:cubicBezTo>
                <a:cubicBezTo>
                  <a:pt x="377472" y="5343507"/>
                  <a:pt x="388434" y="5343507"/>
                  <a:pt x="398204" y="5347061"/>
                </a:cubicBezTo>
                <a:close/>
                <a:moveTo>
                  <a:pt x="5409026" y="5334662"/>
                </a:moveTo>
                <a:cubicBezTo>
                  <a:pt x="5419064" y="5338481"/>
                  <a:pt x="5427669" y="5346121"/>
                  <a:pt x="5432449" y="5356624"/>
                </a:cubicBezTo>
                <a:cubicBezTo>
                  <a:pt x="5442009" y="5377632"/>
                  <a:pt x="5432449" y="5402459"/>
                  <a:pt x="5411416" y="5412008"/>
                </a:cubicBezTo>
                <a:cubicBezTo>
                  <a:pt x="5411416" y="5412008"/>
                  <a:pt x="5411416" y="5412008"/>
                  <a:pt x="5071064" y="5570519"/>
                </a:cubicBezTo>
                <a:cubicBezTo>
                  <a:pt x="5050034" y="5580068"/>
                  <a:pt x="5025180" y="5570519"/>
                  <a:pt x="5015621" y="5549511"/>
                </a:cubicBezTo>
                <a:cubicBezTo>
                  <a:pt x="5011797" y="5543782"/>
                  <a:pt x="5011797" y="5538053"/>
                  <a:pt x="5011797" y="5532323"/>
                </a:cubicBezTo>
                <a:cubicBezTo>
                  <a:pt x="5011797" y="5515135"/>
                  <a:pt x="5021356" y="5499857"/>
                  <a:pt x="5036651" y="5494128"/>
                </a:cubicBezTo>
                <a:cubicBezTo>
                  <a:pt x="5036651" y="5494128"/>
                  <a:pt x="5036651" y="5494128"/>
                  <a:pt x="5377000" y="5335617"/>
                </a:cubicBezTo>
                <a:cubicBezTo>
                  <a:pt x="5387517" y="5330842"/>
                  <a:pt x="5398989" y="5330842"/>
                  <a:pt x="5409026" y="5334662"/>
                </a:cubicBezTo>
                <a:close/>
                <a:moveTo>
                  <a:pt x="941871" y="5334662"/>
                </a:moveTo>
                <a:cubicBezTo>
                  <a:pt x="951873" y="5338481"/>
                  <a:pt x="960445" y="5346121"/>
                  <a:pt x="965208" y="5356624"/>
                </a:cubicBezTo>
                <a:cubicBezTo>
                  <a:pt x="974733" y="5377632"/>
                  <a:pt x="967113" y="5402459"/>
                  <a:pt x="946158" y="5412008"/>
                </a:cubicBezTo>
                <a:cubicBezTo>
                  <a:pt x="946158" y="5412008"/>
                  <a:pt x="946158" y="5412008"/>
                  <a:pt x="605159" y="5570519"/>
                </a:cubicBezTo>
                <a:cubicBezTo>
                  <a:pt x="584203" y="5580068"/>
                  <a:pt x="559438" y="5570519"/>
                  <a:pt x="549913" y="5549511"/>
                </a:cubicBezTo>
                <a:cubicBezTo>
                  <a:pt x="548008" y="5543782"/>
                  <a:pt x="546103" y="5538053"/>
                  <a:pt x="546103" y="5532323"/>
                </a:cubicBezTo>
                <a:cubicBezTo>
                  <a:pt x="546103" y="5515135"/>
                  <a:pt x="555628" y="5499857"/>
                  <a:pt x="570868" y="5494128"/>
                </a:cubicBezTo>
                <a:cubicBezTo>
                  <a:pt x="570868" y="5494128"/>
                  <a:pt x="570868" y="5494128"/>
                  <a:pt x="909962" y="5335617"/>
                </a:cubicBezTo>
                <a:cubicBezTo>
                  <a:pt x="920440" y="5330842"/>
                  <a:pt x="931870" y="5330842"/>
                  <a:pt x="941871" y="5334662"/>
                </a:cubicBezTo>
                <a:close/>
                <a:moveTo>
                  <a:pt x="4854192" y="5323799"/>
                </a:moveTo>
                <a:cubicBezTo>
                  <a:pt x="4864655" y="5327862"/>
                  <a:pt x="4873694" y="5335989"/>
                  <a:pt x="4878449" y="5347462"/>
                </a:cubicBezTo>
                <a:cubicBezTo>
                  <a:pt x="4887960" y="5368497"/>
                  <a:pt x="4878449" y="5393356"/>
                  <a:pt x="4855618" y="5402917"/>
                </a:cubicBezTo>
                <a:cubicBezTo>
                  <a:pt x="4855618" y="5402917"/>
                  <a:pt x="4855618" y="5402917"/>
                  <a:pt x="4517026" y="5555894"/>
                </a:cubicBezTo>
                <a:cubicBezTo>
                  <a:pt x="4496103" y="5567368"/>
                  <a:pt x="4471375" y="5557807"/>
                  <a:pt x="4459961" y="5534860"/>
                </a:cubicBezTo>
                <a:cubicBezTo>
                  <a:pt x="4458059" y="5529123"/>
                  <a:pt x="4456156" y="5523387"/>
                  <a:pt x="4456156" y="5517650"/>
                </a:cubicBezTo>
                <a:cubicBezTo>
                  <a:pt x="4456156" y="5500440"/>
                  <a:pt x="4465668" y="5485142"/>
                  <a:pt x="4482788" y="5477493"/>
                </a:cubicBezTo>
                <a:cubicBezTo>
                  <a:pt x="4482788" y="5477493"/>
                  <a:pt x="4482788" y="5477493"/>
                  <a:pt x="4821374" y="5324516"/>
                </a:cubicBezTo>
                <a:cubicBezTo>
                  <a:pt x="4831837" y="5319735"/>
                  <a:pt x="4843727" y="5319735"/>
                  <a:pt x="4854192" y="5323799"/>
                </a:cubicBezTo>
                <a:close/>
                <a:moveTo>
                  <a:pt x="1489585" y="5323799"/>
                </a:moveTo>
                <a:cubicBezTo>
                  <a:pt x="1499579" y="5327862"/>
                  <a:pt x="1508145" y="5335989"/>
                  <a:pt x="1512904" y="5347462"/>
                </a:cubicBezTo>
                <a:cubicBezTo>
                  <a:pt x="1522422" y="5368497"/>
                  <a:pt x="1512904" y="5393356"/>
                  <a:pt x="1491964" y="5402917"/>
                </a:cubicBezTo>
                <a:cubicBezTo>
                  <a:pt x="1491964" y="5402917"/>
                  <a:pt x="1491964" y="5402917"/>
                  <a:pt x="1153121" y="5555894"/>
                </a:cubicBezTo>
                <a:cubicBezTo>
                  <a:pt x="1130277" y="5567368"/>
                  <a:pt x="1105530" y="5557807"/>
                  <a:pt x="1096012" y="5534860"/>
                </a:cubicBezTo>
                <a:cubicBezTo>
                  <a:pt x="1094109" y="5529123"/>
                  <a:pt x="1092205" y="5523387"/>
                  <a:pt x="1092205" y="5517650"/>
                </a:cubicBezTo>
                <a:cubicBezTo>
                  <a:pt x="1092205" y="5500440"/>
                  <a:pt x="1101723" y="5485142"/>
                  <a:pt x="1116952" y="5477493"/>
                </a:cubicBezTo>
                <a:cubicBezTo>
                  <a:pt x="1116952" y="5477493"/>
                  <a:pt x="1116952" y="5477493"/>
                  <a:pt x="1457699" y="5324516"/>
                </a:cubicBezTo>
                <a:cubicBezTo>
                  <a:pt x="1468169" y="5319735"/>
                  <a:pt x="1479591" y="5319735"/>
                  <a:pt x="1489585" y="5323799"/>
                </a:cubicBezTo>
                <a:close/>
                <a:moveTo>
                  <a:pt x="4281187" y="5309975"/>
                </a:moveTo>
                <a:cubicBezTo>
                  <a:pt x="4298281" y="5310153"/>
                  <a:pt x="4314032" y="5320512"/>
                  <a:pt x="4321192" y="5336228"/>
                </a:cubicBezTo>
                <a:cubicBezTo>
                  <a:pt x="4330738" y="5359088"/>
                  <a:pt x="4321192" y="5383853"/>
                  <a:pt x="4298280" y="5395283"/>
                </a:cubicBezTo>
                <a:cubicBezTo>
                  <a:pt x="4298280" y="5395283"/>
                  <a:pt x="4298280" y="5395283"/>
                  <a:pt x="3958460" y="5541968"/>
                </a:cubicBezTo>
                <a:cubicBezTo>
                  <a:pt x="3935548" y="5551493"/>
                  <a:pt x="3910731" y="5541968"/>
                  <a:pt x="3901184" y="5519108"/>
                </a:cubicBezTo>
                <a:cubicBezTo>
                  <a:pt x="3897365" y="5513393"/>
                  <a:pt x="3897365" y="5507678"/>
                  <a:pt x="3897365" y="5501963"/>
                </a:cubicBezTo>
                <a:cubicBezTo>
                  <a:pt x="3897365" y="5484818"/>
                  <a:pt x="3906911" y="5469578"/>
                  <a:pt x="3924093" y="5461958"/>
                </a:cubicBezTo>
                <a:cubicBezTo>
                  <a:pt x="3924093" y="5461958"/>
                  <a:pt x="3924093" y="5461958"/>
                  <a:pt x="4263914" y="5313368"/>
                </a:cubicBezTo>
                <a:cubicBezTo>
                  <a:pt x="4269641" y="5310987"/>
                  <a:pt x="4275489" y="5309915"/>
                  <a:pt x="4281187" y="5309975"/>
                </a:cubicBezTo>
                <a:close/>
                <a:moveTo>
                  <a:pt x="2026929" y="5309974"/>
                </a:moveTo>
                <a:cubicBezTo>
                  <a:pt x="2044546" y="5310153"/>
                  <a:pt x="2061364" y="5320511"/>
                  <a:pt x="2068518" y="5336228"/>
                </a:cubicBezTo>
                <a:cubicBezTo>
                  <a:pt x="2078057" y="5359088"/>
                  <a:pt x="2066610" y="5383853"/>
                  <a:pt x="2045619" y="5395283"/>
                </a:cubicBezTo>
                <a:cubicBezTo>
                  <a:pt x="2045619" y="5395283"/>
                  <a:pt x="2045619" y="5395283"/>
                  <a:pt x="1704121" y="5541968"/>
                </a:cubicBezTo>
                <a:cubicBezTo>
                  <a:pt x="1683136" y="5551493"/>
                  <a:pt x="1656426" y="5541968"/>
                  <a:pt x="1646887" y="5519108"/>
                </a:cubicBezTo>
                <a:cubicBezTo>
                  <a:pt x="1644979" y="5513393"/>
                  <a:pt x="1643071" y="5507678"/>
                  <a:pt x="1643071" y="5501963"/>
                </a:cubicBezTo>
                <a:cubicBezTo>
                  <a:pt x="1643071" y="5484818"/>
                  <a:pt x="1652611" y="5469578"/>
                  <a:pt x="1669781" y="5461958"/>
                </a:cubicBezTo>
                <a:cubicBezTo>
                  <a:pt x="1669781" y="5461958"/>
                  <a:pt x="1669781" y="5461958"/>
                  <a:pt x="2009371" y="5313368"/>
                </a:cubicBezTo>
                <a:cubicBezTo>
                  <a:pt x="2015094" y="5310986"/>
                  <a:pt x="2021056" y="5309915"/>
                  <a:pt x="2026929" y="5309974"/>
                </a:cubicBezTo>
                <a:close/>
                <a:moveTo>
                  <a:pt x="3719258" y="5298899"/>
                </a:moveTo>
                <a:cubicBezTo>
                  <a:pt x="3736337" y="5299168"/>
                  <a:pt x="3752079" y="5309897"/>
                  <a:pt x="3759237" y="5327064"/>
                </a:cubicBezTo>
                <a:cubicBezTo>
                  <a:pt x="3768773" y="5349954"/>
                  <a:pt x="3759237" y="5376658"/>
                  <a:pt x="3736337" y="5386196"/>
                </a:cubicBezTo>
                <a:cubicBezTo>
                  <a:pt x="3736337" y="5386196"/>
                  <a:pt x="3736337" y="5386196"/>
                  <a:pt x="3394855" y="5529255"/>
                </a:cubicBezTo>
                <a:cubicBezTo>
                  <a:pt x="3371961" y="5538793"/>
                  <a:pt x="3347159" y="5527348"/>
                  <a:pt x="3337618" y="5504458"/>
                </a:cubicBezTo>
                <a:cubicBezTo>
                  <a:pt x="3333804" y="5498736"/>
                  <a:pt x="3333804" y="5493014"/>
                  <a:pt x="3333804" y="5487291"/>
                </a:cubicBezTo>
                <a:cubicBezTo>
                  <a:pt x="3333804" y="5470124"/>
                  <a:pt x="3343341" y="5454864"/>
                  <a:pt x="3360513" y="5447234"/>
                </a:cubicBezTo>
                <a:cubicBezTo>
                  <a:pt x="3360513" y="5447234"/>
                  <a:pt x="3360513" y="5447234"/>
                  <a:pt x="3701998" y="5302267"/>
                </a:cubicBezTo>
                <a:cubicBezTo>
                  <a:pt x="3707719" y="5299883"/>
                  <a:pt x="3713565" y="5298810"/>
                  <a:pt x="3719258" y="5298899"/>
                </a:cubicBezTo>
                <a:close/>
                <a:moveTo>
                  <a:pt x="2583547" y="5298899"/>
                </a:moveTo>
                <a:cubicBezTo>
                  <a:pt x="2600298" y="5299168"/>
                  <a:pt x="2617050" y="5309897"/>
                  <a:pt x="2624178" y="5327064"/>
                </a:cubicBezTo>
                <a:cubicBezTo>
                  <a:pt x="2633683" y="5349954"/>
                  <a:pt x="2624178" y="5376658"/>
                  <a:pt x="2601368" y="5386196"/>
                </a:cubicBezTo>
                <a:cubicBezTo>
                  <a:pt x="2601368" y="5386196"/>
                  <a:pt x="2601368" y="5386196"/>
                  <a:pt x="2261117" y="5529255"/>
                </a:cubicBezTo>
                <a:cubicBezTo>
                  <a:pt x="2238307" y="5538793"/>
                  <a:pt x="2213596" y="5527348"/>
                  <a:pt x="2204092" y="5504458"/>
                </a:cubicBezTo>
                <a:cubicBezTo>
                  <a:pt x="2200290" y="5498736"/>
                  <a:pt x="2200290" y="5493014"/>
                  <a:pt x="2200290" y="5487291"/>
                </a:cubicBezTo>
                <a:cubicBezTo>
                  <a:pt x="2200290" y="5470124"/>
                  <a:pt x="2209795" y="5454864"/>
                  <a:pt x="2226902" y="5447234"/>
                </a:cubicBezTo>
                <a:cubicBezTo>
                  <a:pt x="2226902" y="5447234"/>
                  <a:pt x="2226902" y="5447234"/>
                  <a:pt x="2567153" y="5302267"/>
                </a:cubicBezTo>
                <a:cubicBezTo>
                  <a:pt x="2572380" y="5299883"/>
                  <a:pt x="2577964" y="5298810"/>
                  <a:pt x="2583547" y="5298899"/>
                </a:cubicBezTo>
                <a:close/>
                <a:moveTo>
                  <a:pt x="3161733" y="5292230"/>
                </a:moveTo>
                <a:cubicBezTo>
                  <a:pt x="3172419" y="5296505"/>
                  <a:pt x="3181443" y="5305055"/>
                  <a:pt x="3186188" y="5317405"/>
                </a:cubicBezTo>
                <a:cubicBezTo>
                  <a:pt x="3195686" y="5340205"/>
                  <a:pt x="3184290" y="5366805"/>
                  <a:pt x="3161495" y="5376305"/>
                </a:cubicBezTo>
                <a:cubicBezTo>
                  <a:pt x="3161495" y="5376305"/>
                  <a:pt x="3161495" y="5376305"/>
                  <a:pt x="2821486" y="5515005"/>
                </a:cubicBezTo>
                <a:cubicBezTo>
                  <a:pt x="2798692" y="5524505"/>
                  <a:pt x="2772100" y="5513105"/>
                  <a:pt x="2762604" y="5488405"/>
                </a:cubicBezTo>
                <a:cubicBezTo>
                  <a:pt x="2760705" y="5484605"/>
                  <a:pt x="2760705" y="5477005"/>
                  <a:pt x="2760705" y="5471305"/>
                </a:cubicBezTo>
                <a:cubicBezTo>
                  <a:pt x="2760705" y="5454205"/>
                  <a:pt x="2770200" y="5437105"/>
                  <a:pt x="2787298" y="5429505"/>
                </a:cubicBezTo>
                <a:cubicBezTo>
                  <a:pt x="2787298" y="5429505"/>
                  <a:pt x="2787298" y="5429505"/>
                  <a:pt x="3127305" y="5292705"/>
                </a:cubicBezTo>
                <a:cubicBezTo>
                  <a:pt x="3138701" y="5287955"/>
                  <a:pt x="3151049" y="5287955"/>
                  <a:pt x="3161733" y="5292230"/>
                </a:cubicBezTo>
                <a:close/>
                <a:moveTo>
                  <a:pt x="9868289" y="5096095"/>
                </a:moveTo>
                <a:cubicBezTo>
                  <a:pt x="9876611" y="5097754"/>
                  <a:pt x="9884219" y="5102496"/>
                  <a:pt x="9888974" y="5110082"/>
                </a:cubicBezTo>
                <a:cubicBezTo>
                  <a:pt x="9896582" y="5125253"/>
                  <a:pt x="9892778" y="5146115"/>
                  <a:pt x="9877562" y="5155597"/>
                </a:cubicBezTo>
                <a:cubicBezTo>
                  <a:pt x="9877562" y="5155597"/>
                  <a:pt x="9877562" y="5155597"/>
                  <a:pt x="9542804" y="5364209"/>
                </a:cubicBezTo>
                <a:cubicBezTo>
                  <a:pt x="9527588" y="5373692"/>
                  <a:pt x="9506665" y="5368002"/>
                  <a:pt x="9497155" y="5352831"/>
                </a:cubicBezTo>
                <a:cubicBezTo>
                  <a:pt x="9493351" y="5347141"/>
                  <a:pt x="9493351" y="5341452"/>
                  <a:pt x="9493351" y="5335762"/>
                </a:cubicBezTo>
                <a:cubicBezTo>
                  <a:pt x="9493351" y="5324383"/>
                  <a:pt x="9497155" y="5314901"/>
                  <a:pt x="9508567" y="5307315"/>
                </a:cubicBezTo>
                <a:cubicBezTo>
                  <a:pt x="9508567" y="5307315"/>
                  <a:pt x="9508567" y="5307315"/>
                  <a:pt x="9843325" y="5100599"/>
                </a:cubicBezTo>
                <a:cubicBezTo>
                  <a:pt x="9850933" y="5095858"/>
                  <a:pt x="9859968" y="5094436"/>
                  <a:pt x="9868289" y="5096095"/>
                </a:cubicBezTo>
                <a:close/>
                <a:moveTo>
                  <a:pt x="10452111" y="5084390"/>
                </a:moveTo>
                <a:cubicBezTo>
                  <a:pt x="10460452" y="5086541"/>
                  <a:pt x="10468078" y="5091797"/>
                  <a:pt x="10472844" y="5099443"/>
                </a:cubicBezTo>
                <a:cubicBezTo>
                  <a:pt x="10482377" y="5116646"/>
                  <a:pt x="10476657" y="5137673"/>
                  <a:pt x="10461405" y="5147230"/>
                </a:cubicBezTo>
                <a:cubicBezTo>
                  <a:pt x="10461405" y="5147230"/>
                  <a:pt x="10461405" y="5147230"/>
                  <a:pt x="10125860" y="5349847"/>
                </a:cubicBezTo>
                <a:cubicBezTo>
                  <a:pt x="10108701" y="5359405"/>
                  <a:pt x="10087730" y="5353670"/>
                  <a:pt x="10078197" y="5338378"/>
                </a:cubicBezTo>
                <a:cubicBezTo>
                  <a:pt x="10074384" y="5332644"/>
                  <a:pt x="10074384" y="5326910"/>
                  <a:pt x="10074384" y="5321175"/>
                </a:cubicBezTo>
                <a:cubicBezTo>
                  <a:pt x="10074384" y="5309706"/>
                  <a:pt x="10080104" y="5298237"/>
                  <a:pt x="10089636" y="5290591"/>
                </a:cubicBezTo>
                <a:cubicBezTo>
                  <a:pt x="10089636" y="5290591"/>
                  <a:pt x="10089636" y="5290591"/>
                  <a:pt x="10427088" y="5087974"/>
                </a:cubicBezTo>
                <a:cubicBezTo>
                  <a:pt x="10434714" y="5083196"/>
                  <a:pt x="10443770" y="5082240"/>
                  <a:pt x="10452111" y="5084390"/>
                </a:cubicBezTo>
                <a:close/>
                <a:moveTo>
                  <a:pt x="9291418" y="5084390"/>
                </a:moveTo>
                <a:cubicBezTo>
                  <a:pt x="9299991" y="5086541"/>
                  <a:pt x="9307611" y="5091797"/>
                  <a:pt x="9312374" y="5099443"/>
                </a:cubicBezTo>
                <a:cubicBezTo>
                  <a:pt x="9321899" y="5116646"/>
                  <a:pt x="9316184" y="5137673"/>
                  <a:pt x="9300944" y="5147230"/>
                </a:cubicBezTo>
                <a:cubicBezTo>
                  <a:pt x="9300944" y="5147230"/>
                  <a:pt x="9300944" y="5147230"/>
                  <a:pt x="8963754" y="5349847"/>
                </a:cubicBezTo>
                <a:cubicBezTo>
                  <a:pt x="8948514" y="5359405"/>
                  <a:pt x="8927558" y="5353670"/>
                  <a:pt x="8918033" y="5338378"/>
                </a:cubicBezTo>
                <a:cubicBezTo>
                  <a:pt x="8914223" y="5332644"/>
                  <a:pt x="8912318" y="5326910"/>
                  <a:pt x="8912318" y="5321175"/>
                </a:cubicBezTo>
                <a:cubicBezTo>
                  <a:pt x="8912318" y="5309706"/>
                  <a:pt x="8918033" y="5298237"/>
                  <a:pt x="8929463" y="5290591"/>
                </a:cubicBezTo>
                <a:cubicBezTo>
                  <a:pt x="8929463" y="5290591"/>
                  <a:pt x="8929463" y="5290591"/>
                  <a:pt x="9264748" y="5087974"/>
                </a:cubicBezTo>
                <a:cubicBezTo>
                  <a:pt x="9273321" y="5083196"/>
                  <a:pt x="9282846" y="5082240"/>
                  <a:pt x="9291418" y="5084390"/>
                </a:cubicBezTo>
                <a:close/>
                <a:moveTo>
                  <a:pt x="11029363" y="5075090"/>
                </a:moveTo>
                <a:cubicBezTo>
                  <a:pt x="11037955" y="5077474"/>
                  <a:pt x="11045593" y="5083196"/>
                  <a:pt x="11050366" y="5091778"/>
                </a:cubicBezTo>
                <a:cubicBezTo>
                  <a:pt x="11061823" y="5107036"/>
                  <a:pt x="11056095" y="5129922"/>
                  <a:pt x="11038910" y="5139458"/>
                </a:cubicBezTo>
                <a:cubicBezTo>
                  <a:pt x="11038910" y="5139458"/>
                  <a:pt x="11038910" y="5139458"/>
                  <a:pt x="10700944" y="5333994"/>
                </a:cubicBezTo>
                <a:cubicBezTo>
                  <a:pt x="10683759" y="5343530"/>
                  <a:pt x="10662755" y="5337808"/>
                  <a:pt x="10653208" y="5320643"/>
                </a:cubicBezTo>
                <a:cubicBezTo>
                  <a:pt x="10649389" y="5314922"/>
                  <a:pt x="10647480" y="5309200"/>
                  <a:pt x="10647480" y="5303478"/>
                </a:cubicBezTo>
                <a:cubicBezTo>
                  <a:pt x="10647480" y="5292035"/>
                  <a:pt x="10655118" y="5280592"/>
                  <a:pt x="10664665" y="5272963"/>
                </a:cubicBezTo>
                <a:cubicBezTo>
                  <a:pt x="10664665" y="5272963"/>
                  <a:pt x="10664665" y="5272963"/>
                  <a:pt x="11002631" y="5078428"/>
                </a:cubicBezTo>
                <a:cubicBezTo>
                  <a:pt x="11011223" y="5073660"/>
                  <a:pt x="11020770" y="5072706"/>
                  <a:pt x="11029363" y="5075090"/>
                </a:cubicBezTo>
                <a:close/>
                <a:moveTo>
                  <a:pt x="8719756" y="5075090"/>
                </a:moveTo>
                <a:cubicBezTo>
                  <a:pt x="8728587" y="5077474"/>
                  <a:pt x="8736703" y="5083196"/>
                  <a:pt x="8742431" y="5091778"/>
                </a:cubicBezTo>
                <a:cubicBezTo>
                  <a:pt x="8751978" y="5107036"/>
                  <a:pt x="8746250" y="5129922"/>
                  <a:pt x="8729065" y="5139458"/>
                </a:cubicBezTo>
                <a:cubicBezTo>
                  <a:pt x="8729065" y="5139458"/>
                  <a:pt x="8729065" y="5139458"/>
                  <a:pt x="8391099" y="5333994"/>
                </a:cubicBezTo>
                <a:cubicBezTo>
                  <a:pt x="8373914" y="5343530"/>
                  <a:pt x="8352910" y="5337808"/>
                  <a:pt x="8343363" y="5320643"/>
                </a:cubicBezTo>
                <a:cubicBezTo>
                  <a:pt x="8339544" y="5314922"/>
                  <a:pt x="8337635" y="5309200"/>
                  <a:pt x="8337635" y="5303478"/>
                </a:cubicBezTo>
                <a:cubicBezTo>
                  <a:pt x="8337635" y="5292035"/>
                  <a:pt x="8345273" y="5280592"/>
                  <a:pt x="8356729" y="5272963"/>
                </a:cubicBezTo>
                <a:cubicBezTo>
                  <a:pt x="8356729" y="5272963"/>
                  <a:pt x="8356729" y="5272963"/>
                  <a:pt x="8692786" y="5078428"/>
                </a:cubicBezTo>
                <a:cubicBezTo>
                  <a:pt x="8701379" y="5073660"/>
                  <a:pt x="8710925" y="5072706"/>
                  <a:pt x="8719756" y="5075090"/>
                </a:cubicBezTo>
                <a:close/>
                <a:moveTo>
                  <a:pt x="11600954" y="5064224"/>
                </a:moveTo>
                <a:cubicBezTo>
                  <a:pt x="11609785" y="5066850"/>
                  <a:pt x="11617423" y="5073055"/>
                  <a:pt x="11622196" y="5082602"/>
                </a:cubicBezTo>
                <a:cubicBezTo>
                  <a:pt x="11631743" y="5099787"/>
                  <a:pt x="11626015" y="5120791"/>
                  <a:pt x="11608830" y="5132248"/>
                </a:cubicBezTo>
                <a:cubicBezTo>
                  <a:pt x="11608830" y="5132248"/>
                  <a:pt x="11608830" y="5132248"/>
                  <a:pt x="11270864" y="5319373"/>
                </a:cubicBezTo>
                <a:cubicBezTo>
                  <a:pt x="11253679" y="5330830"/>
                  <a:pt x="11230766" y="5323192"/>
                  <a:pt x="11221219" y="5306007"/>
                </a:cubicBezTo>
                <a:cubicBezTo>
                  <a:pt x="11217400" y="5300279"/>
                  <a:pt x="11217400" y="5294550"/>
                  <a:pt x="11217400" y="5288822"/>
                </a:cubicBezTo>
                <a:cubicBezTo>
                  <a:pt x="11217400" y="5275456"/>
                  <a:pt x="11223128" y="5262090"/>
                  <a:pt x="11234585" y="5256362"/>
                </a:cubicBezTo>
                <a:cubicBezTo>
                  <a:pt x="11234585" y="5256362"/>
                  <a:pt x="11234585" y="5256362"/>
                  <a:pt x="11572551" y="5067327"/>
                </a:cubicBezTo>
                <a:cubicBezTo>
                  <a:pt x="11582098" y="5062553"/>
                  <a:pt x="11592123" y="5061599"/>
                  <a:pt x="11600954" y="5064224"/>
                </a:cubicBezTo>
                <a:close/>
                <a:moveTo>
                  <a:pt x="8155460" y="5064224"/>
                </a:moveTo>
                <a:cubicBezTo>
                  <a:pt x="8164488" y="5066850"/>
                  <a:pt x="8172566" y="5073055"/>
                  <a:pt x="8177317" y="5082602"/>
                </a:cubicBezTo>
                <a:cubicBezTo>
                  <a:pt x="8186821" y="5099787"/>
                  <a:pt x="8181119" y="5120791"/>
                  <a:pt x="8162112" y="5132248"/>
                </a:cubicBezTo>
                <a:cubicBezTo>
                  <a:pt x="8162112" y="5132248"/>
                  <a:pt x="8162112" y="5132248"/>
                  <a:pt x="7825696" y="5319373"/>
                </a:cubicBezTo>
                <a:cubicBezTo>
                  <a:pt x="7808590" y="5330830"/>
                  <a:pt x="7787683" y="5323192"/>
                  <a:pt x="7776279" y="5306007"/>
                </a:cubicBezTo>
                <a:cubicBezTo>
                  <a:pt x="7774378" y="5300279"/>
                  <a:pt x="7772478" y="5294550"/>
                  <a:pt x="7772478" y="5288822"/>
                </a:cubicBezTo>
                <a:cubicBezTo>
                  <a:pt x="7772478" y="5275456"/>
                  <a:pt x="7780080" y="5262090"/>
                  <a:pt x="7791484" y="5256362"/>
                </a:cubicBezTo>
                <a:cubicBezTo>
                  <a:pt x="7791484" y="5256362"/>
                  <a:pt x="7791484" y="5256362"/>
                  <a:pt x="8127900" y="5067327"/>
                </a:cubicBezTo>
                <a:cubicBezTo>
                  <a:pt x="8136453" y="5062553"/>
                  <a:pt x="8146432" y="5061599"/>
                  <a:pt x="8155460" y="5064224"/>
                </a:cubicBezTo>
                <a:close/>
                <a:moveTo>
                  <a:pt x="12139750" y="5056192"/>
                </a:moveTo>
                <a:cubicBezTo>
                  <a:pt x="12139750" y="5056192"/>
                  <a:pt x="12139750" y="5056192"/>
                  <a:pt x="12139750" y="5139909"/>
                </a:cubicBezTo>
                <a:cubicBezTo>
                  <a:pt x="12139750" y="5139909"/>
                  <a:pt x="12139750" y="5139909"/>
                  <a:pt x="11834946" y="5305441"/>
                </a:cubicBezTo>
                <a:cubicBezTo>
                  <a:pt x="11815896" y="5314955"/>
                  <a:pt x="11793035" y="5307344"/>
                  <a:pt x="11783510" y="5290220"/>
                </a:cubicBezTo>
                <a:cubicBezTo>
                  <a:pt x="11779700" y="5284512"/>
                  <a:pt x="11777795" y="5276901"/>
                  <a:pt x="11777795" y="5271193"/>
                </a:cubicBezTo>
                <a:cubicBezTo>
                  <a:pt x="11777795" y="5257875"/>
                  <a:pt x="11785415" y="5244556"/>
                  <a:pt x="11798750" y="5238848"/>
                </a:cubicBezTo>
                <a:lnTo>
                  <a:pt x="12135940" y="5058094"/>
                </a:lnTo>
                <a:cubicBezTo>
                  <a:pt x="12137845" y="5056192"/>
                  <a:pt x="12137845" y="5056192"/>
                  <a:pt x="12139750" y="5056192"/>
                </a:cubicBezTo>
                <a:close/>
                <a:moveTo>
                  <a:pt x="7597906" y="5054684"/>
                </a:moveTo>
                <a:cubicBezTo>
                  <a:pt x="7607199" y="5057304"/>
                  <a:pt x="7615302" y="5063495"/>
                  <a:pt x="7620068" y="5073020"/>
                </a:cubicBezTo>
                <a:cubicBezTo>
                  <a:pt x="7629601" y="5090165"/>
                  <a:pt x="7623881" y="5113025"/>
                  <a:pt x="7604817" y="5124455"/>
                </a:cubicBezTo>
                <a:cubicBezTo>
                  <a:pt x="7604817" y="5124455"/>
                  <a:pt x="7604817" y="5124455"/>
                  <a:pt x="7267371" y="5305430"/>
                </a:cubicBezTo>
                <a:cubicBezTo>
                  <a:pt x="7248306" y="5314955"/>
                  <a:pt x="7225428" y="5307335"/>
                  <a:pt x="7215896" y="5290190"/>
                </a:cubicBezTo>
                <a:cubicBezTo>
                  <a:pt x="7213989" y="5284475"/>
                  <a:pt x="7212083" y="5276855"/>
                  <a:pt x="7212083" y="5271140"/>
                </a:cubicBezTo>
                <a:cubicBezTo>
                  <a:pt x="7212083" y="5257805"/>
                  <a:pt x="7219709" y="5244470"/>
                  <a:pt x="7231147" y="5238755"/>
                </a:cubicBezTo>
                <a:cubicBezTo>
                  <a:pt x="7231147" y="5238755"/>
                  <a:pt x="7231147" y="5238755"/>
                  <a:pt x="7568594" y="5057780"/>
                </a:cubicBezTo>
                <a:cubicBezTo>
                  <a:pt x="7578126" y="5053017"/>
                  <a:pt x="7588611" y="5052065"/>
                  <a:pt x="7597906" y="5054684"/>
                </a:cubicBezTo>
                <a:close/>
                <a:moveTo>
                  <a:pt x="7046964" y="5044542"/>
                </a:moveTo>
                <a:cubicBezTo>
                  <a:pt x="7056279" y="5047645"/>
                  <a:pt x="7064400" y="5054328"/>
                  <a:pt x="7069177" y="5063876"/>
                </a:cubicBezTo>
                <a:cubicBezTo>
                  <a:pt x="7078731" y="5082972"/>
                  <a:pt x="7071088" y="5105887"/>
                  <a:pt x="7051980" y="5115435"/>
                </a:cubicBezTo>
                <a:cubicBezTo>
                  <a:pt x="7051980" y="5115435"/>
                  <a:pt x="7051980" y="5115435"/>
                  <a:pt x="6713773" y="5291119"/>
                </a:cubicBezTo>
                <a:cubicBezTo>
                  <a:pt x="6694665" y="5300667"/>
                  <a:pt x="6669825" y="5293028"/>
                  <a:pt x="6660271" y="5273932"/>
                </a:cubicBezTo>
                <a:cubicBezTo>
                  <a:pt x="6658361" y="5268204"/>
                  <a:pt x="6656450" y="5262475"/>
                  <a:pt x="6656450" y="5256746"/>
                </a:cubicBezTo>
                <a:cubicBezTo>
                  <a:pt x="6656450" y="5241469"/>
                  <a:pt x="6664093" y="5228102"/>
                  <a:pt x="6677468" y="5222373"/>
                </a:cubicBezTo>
                <a:cubicBezTo>
                  <a:pt x="6677468" y="5222373"/>
                  <a:pt x="6677468" y="5222373"/>
                  <a:pt x="7017586" y="5046690"/>
                </a:cubicBezTo>
                <a:cubicBezTo>
                  <a:pt x="7027140" y="5041916"/>
                  <a:pt x="7037649" y="5041438"/>
                  <a:pt x="7046964" y="5044542"/>
                </a:cubicBezTo>
                <a:close/>
                <a:moveTo>
                  <a:pt x="6485663" y="5032630"/>
                </a:moveTo>
                <a:cubicBezTo>
                  <a:pt x="6501356" y="5031381"/>
                  <a:pt x="6515979" y="5040300"/>
                  <a:pt x="6523112" y="5054570"/>
                </a:cubicBezTo>
                <a:cubicBezTo>
                  <a:pt x="6532623" y="5075499"/>
                  <a:pt x="6525014" y="5098331"/>
                  <a:pt x="6505992" y="5107845"/>
                </a:cubicBezTo>
                <a:cubicBezTo>
                  <a:pt x="6505992" y="5107845"/>
                  <a:pt x="6505992" y="5107845"/>
                  <a:pt x="6167407" y="5275279"/>
                </a:cubicBezTo>
                <a:cubicBezTo>
                  <a:pt x="6148385" y="5284793"/>
                  <a:pt x="6123657" y="5277182"/>
                  <a:pt x="6114146" y="5258155"/>
                </a:cubicBezTo>
                <a:cubicBezTo>
                  <a:pt x="6110342" y="5252447"/>
                  <a:pt x="6110342" y="5246739"/>
                  <a:pt x="6110342" y="5239129"/>
                </a:cubicBezTo>
                <a:cubicBezTo>
                  <a:pt x="6110342" y="5225810"/>
                  <a:pt x="6117950" y="5210589"/>
                  <a:pt x="6131266" y="5202978"/>
                </a:cubicBezTo>
                <a:cubicBezTo>
                  <a:pt x="6131266" y="5202978"/>
                  <a:pt x="6131266" y="5202978"/>
                  <a:pt x="6469851" y="5037446"/>
                </a:cubicBezTo>
                <a:cubicBezTo>
                  <a:pt x="6475082" y="5034592"/>
                  <a:pt x="6480432" y="5033046"/>
                  <a:pt x="6485663" y="5032630"/>
                </a:cubicBezTo>
                <a:close/>
                <a:moveTo>
                  <a:pt x="5956806" y="5024850"/>
                </a:moveTo>
                <a:cubicBezTo>
                  <a:pt x="5966814" y="5028426"/>
                  <a:pt x="5975394" y="5035579"/>
                  <a:pt x="5980159" y="5045115"/>
                </a:cubicBezTo>
                <a:cubicBezTo>
                  <a:pt x="5989691" y="5066096"/>
                  <a:pt x="5980159" y="5090892"/>
                  <a:pt x="5961095" y="5100429"/>
                </a:cubicBezTo>
                <a:cubicBezTo>
                  <a:pt x="5961095" y="5100429"/>
                  <a:pt x="5961095" y="5100429"/>
                  <a:pt x="5621756" y="5262556"/>
                </a:cubicBezTo>
                <a:cubicBezTo>
                  <a:pt x="5600786" y="5272093"/>
                  <a:pt x="5576002" y="5262556"/>
                  <a:pt x="5566471" y="5241575"/>
                </a:cubicBezTo>
                <a:cubicBezTo>
                  <a:pt x="5562658" y="5235853"/>
                  <a:pt x="5562658" y="5230131"/>
                  <a:pt x="5562658" y="5224408"/>
                </a:cubicBezTo>
                <a:cubicBezTo>
                  <a:pt x="5562658" y="5209149"/>
                  <a:pt x="5570284" y="5193890"/>
                  <a:pt x="5585535" y="5186261"/>
                </a:cubicBezTo>
                <a:cubicBezTo>
                  <a:pt x="5585535" y="5186261"/>
                  <a:pt x="5585535" y="5186261"/>
                  <a:pt x="5924874" y="5026042"/>
                </a:cubicBezTo>
                <a:cubicBezTo>
                  <a:pt x="5935360" y="5021273"/>
                  <a:pt x="5946797" y="5021273"/>
                  <a:pt x="5956806" y="5024850"/>
                </a:cubicBezTo>
                <a:close/>
                <a:moveTo>
                  <a:pt x="398945" y="5024850"/>
                </a:moveTo>
                <a:cubicBezTo>
                  <a:pt x="408946" y="5028426"/>
                  <a:pt x="417519" y="5035578"/>
                  <a:pt x="422281" y="5045115"/>
                </a:cubicBezTo>
                <a:cubicBezTo>
                  <a:pt x="431806" y="5066096"/>
                  <a:pt x="422281" y="5090892"/>
                  <a:pt x="401326" y="5100429"/>
                </a:cubicBezTo>
                <a:cubicBezTo>
                  <a:pt x="401326" y="5100429"/>
                  <a:pt x="401326" y="5100429"/>
                  <a:pt x="62232" y="5262556"/>
                </a:cubicBezTo>
                <a:cubicBezTo>
                  <a:pt x="43182" y="5272093"/>
                  <a:pt x="18416" y="5262556"/>
                  <a:pt x="8891" y="5241575"/>
                </a:cubicBezTo>
                <a:cubicBezTo>
                  <a:pt x="5081" y="5235853"/>
                  <a:pt x="3176" y="5230131"/>
                  <a:pt x="3176" y="5224408"/>
                </a:cubicBezTo>
                <a:cubicBezTo>
                  <a:pt x="3176" y="5209149"/>
                  <a:pt x="12701" y="5193890"/>
                  <a:pt x="27941" y="5186261"/>
                </a:cubicBezTo>
                <a:cubicBezTo>
                  <a:pt x="27941" y="5186261"/>
                  <a:pt x="27941" y="5186261"/>
                  <a:pt x="367036" y="5026042"/>
                </a:cubicBezTo>
                <a:cubicBezTo>
                  <a:pt x="377513" y="5021273"/>
                  <a:pt x="388943" y="5021273"/>
                  <a:pt x="398945" y="5024850"/>
                </a:cubicBezTo>
                <a:close/>
                <a:moveTo>
                  <a:pt x="5409053" y="5014180"/>
                </a:moveTo>
                <a:cubicBezTo>
                  <a:pt x="5419083" y="5018218"/>
                  <a:pt x="5427680" y="5026294"/>
                  <a:pt x="5432458" y="5037695"/>
                </a:cubicBezTo>
                <a:cubicBezTo>
                  <a:pt x="5442010" y="5058597"/>
                  <a:pt x="5434368" y="5083300"/>
                  <a:pt x="5411440" y="5092800"/>
                </a:cubicBezTo>
                <a:cubicBezTo>
                  <a:pt x="5411440" y="5092800"/>
                  <a:pt x="5411440" y="5092800"/>
                  <a:pt x="5071343" y="5246716"/>
                </a:cubicBezTo>
                <a:cubicBezTo>
                  <a:pt x="5050328" y="5256217"/>
                  <a:pt x="5025493" y="5246716"/>
                  <a:pt x="5014031" y="5225814"/>
                </a:cubicBezTo>
                <a:cubicBezTo>
                  <a:pt x="5012120" y="5220113"/>
                  <a:pt x="5010210" y="5214413"/>
                  <a:pt x="5010210" y="5208712"/>
                </a:cubicBezTo>
                <a:cubicBezTo>
                  <a:pt x="5010210" y="5191610"/>
                  <a:pt x="5019762" y="5176409"/>
                  <a:pt x="5036956" y="5168808"/>
                </a:cubicBezTo>
                <a:cubicBezTo>
                  <a:pt x="5036956" y="5168808"/>
                  <a:pt x="5036956" y="5168808"/>
                  <a:pt x="5377049" y="5014893"/>
                </a:cubicBezTo>
                <a:cubicBezTo>
                  <a:pt x="5387557" y="5010142"/>
                  <a:pt x="5399022" y="5010142"/>
                  <a:pt x="5409053" y="5014180"/>
                </a:cubicBezTo>
                <a:close/>
                <a:moveTo>
                  <a:pt x="942531" y="5014180"/>
                </a:moveTo>
                <a:cubicBezTo>
                  <a:pt x="953001" y="5018218"/>
                  <a:pt x="962043" y="5026294"/>
                  <a:pt x="966802" y="5037695"/>
                </a:cubicBezTo>
                <a:cubicBezTo>
                  <a:pt x="976320" y="5058597"/>
                  <a:pt x="966802" y="5083300"/>
                  <a:pt x="945862" y="5092800"/>
                </a:cubicBezTo>
                <a:cubicBezTo>
                  <a:pt x="945862" y="5092800"/>
                  <a:pt x="945862" y="5092800"/>
                  <a:pt x="605115" y="5246716"/>
                </a:cubicBezTo>
                <a:cubicBezTo>
                  <a:pt x="584175" y="5256217"/>
                  <a:pt x="559428" y="5246716"/>
                  <a:pt x="549910" y="5225814"/>
                </a:cubicBezTo>
                <a:cubicBezTo>
                  <a:pt x="546103" y="5220113"/>
                  <a:pt x="546103" y="5214413"/>
                  <a:pt x="546103" y="5208712"/>
                </a:cubicBezTo>
                <a:cubicBezTo>
                  <a:pt x="546103" y="5191610"/>
                  <a:pt x="555621" y="5176409"/>
                  <a:pt x="570850" y="5168808"/>
                </a:cubicBezTo>
                <a:cubicBezTo>
                  <a:pt x="570850" y="5168808"/>
                  <a:pt x="570850" y="5168808"/>
                  <a:pt x="909693" y="5014893"/>
                </a:cubicBezTo>
                <a:cubicBezTo>
                  <a:pt x="920163" y="5010142"/>
                  <a:pt x="932061" y="5010142"/>
                  <a:pt x="942531" y="5014180"/>
                </a:cubicBezTo>
                <a:close/>
                <a:moveTo>
                  <a:pt x="4856076" y="5004632"/>
                </a:moveTo>
                <a:cubicBezTo>
                  <a:pt x="4866333" y="5008659"/>
                  <a:pt x="4874919" y="5016714"/>
                  <a:pt x="4879688" y="5028084"/>
                </a:cubicBezTo>
                <a:cubicBezTo>
                  <a:pt x="4891136" y="5050826"/>
                  <a:pt x="4879688" y="5075463"/>
                  <a:pt x="4856791" y="5084939"/>
                </a:cubicBezTo>
                <a:cubicBezTo>
                  <a:pt x="4856791" y="5084939"/>
                  <a:pt x="4856791" y="5084939"/>
                  <a:pt x="4517208" y="5230866"/>
                </a:cubicBezTo>
                <a:cubicBezTo>
                  <a:pt x="4494314" y="5240342"/>
                  <a:pt x="4469511" y="5230866"/>
                  <a:pt x="4459972" y="5208124"/>
                </a:cubicBezTo>
                <a:cubicBezTo>
                  <a:pt x="4456156" y="5202439"/>
                  <a:pt x="4456156" y="5196753"/>
                  <a:pt x="4456156" y="5191068"/>
                </a:cubicBezTo>
                <a:cubicBezTo>
                  <a:pt x="4456156" y="5174011"/>
                  <a:pt x="4465696" y="5158850"/>
                  <a:pt x="4482867" y="5151269"/>
                </a:cubicBezTo>
                <a:cubicBezTo>
                  <a:pt x="4482867" y="5151269"/>
                  <a:pt x="4482867" y="5151269"/>
                  <a:pt x="4822445" y="5005343"/>
                </a:cubicBezTo>
                <a:cubicBezTo>
                  <a:pt x="4833893" y="5000605"/>
                  <a:pt x="4845820" y="5000605"/>
                  <a:pt x="4856076" y="5004632"/>
                </a:cubicBezTo>
                <a:close/>
                <a:moveTo>
                  <a:pt x="1491734" y="5004632"/>
                </a:moveTo>
                <a:cubicBezTo>
                  <a:pt x="1502228" y="5008659"/>
                  <a:pt x="1511290" y="5016713"/>
                  <a:pt x="1516059" y="5028084"/>
                </a:cubicBezTo>
                <a:cubicBezTo>
                  <a:pt x="1525598" y="5050826"/>
                  <a:pt x="1516059" y="5075463"/>
                  <a:pt x="1493165" y="5084939"/>
                </a:cubicBezTo>
                <a:cubicBezTo>
                  <a:pt x="1493165" y="5084939"/>
                  <a:pt x="1493165" y="5084939"/>
                  <a:pt x="1153575" y="5230866"/>
                </a:cubicBezTo>
                <a:cubicBezTo>
                  <a:pt x="1130682" y="5240342"/>
                  <a:pt x="1103972" y="5230866"/>
                  <a:pt x="1094433" y="5208124"/>
                </a:cubicBezTo>
                <a:cubicBezTo>
                  <a:pt x="1092526" y="5202439"/>
                  <a:pt x="1090618" y="5196753"/>
                  <a:pt x="1090618" y="5191068"/>
                </a:cubicBezTo>
                <a:cubicBezTo>
                  <a:pt x="1090618" y="5174011"/>
                  <a:pt x="1102065" y="5158850"/>
                  <a:pt x="1117327" y="5151269"/>
                </a:cubicBezTo>
                <a:cubicBezTo>
                  <a:pt x="1117327" y="5151269"/>
                  <a:pt x="1117327" y="5151269"/>
                  <a:pt x="1458825" y="5005343"/>
                </a:cubicBezTo>
                <a:cubicBezTo>
                  <a:pt x="1469318" y="5000605"/>
                  <a:pt x="1481242" y="5000605"/>
                  <a:pt x="1491734" y="5004632"/>
                </a:cubicBezTo>
                <a:close/>
                <a:moveTo>
                  <a:pt x="4281239" y="4989344"/>
                </a:moveTo>
                <a:cubicBezTo>
                  <a:pt x="4298844" y="4989613"/>
                  <a:pt x="4315645" y="5000357"/>
                  <a:pt x="4322794" y="5017546"/>
                </a:cubicBezTo>
                <a:cubicBezTo>
                  <a:pt x="4332327" y="5040466"/>
                  <a:pt x="4320887" y="5067205"/>
                  <a:pt x="4298010" y="5076755"/>
                </a:cubicBezTo>
                <a:cubicBezTo>
                  <a:pt x="4298010" y="5076755"/>
                  <a:pt x="4298010" y="5076755"/>
                  <a:pt x="3958691" y="5218092"/>
                </a:cubicBezTo>
                <a:cubicBezTo>
                  <a:pt x="3933908" y="5227642"/>
                  <a:pt x="3909123" y="5216182"/>
                  <a:pt x="3899590" y="5193262"/>
                </a:cubicBezTo>
                <a:cubicBezTo>
                  <a:pt x="3895779" y="5187533"/>
                  <a:pt x="3895779" y="5181803"/>
                  <a:pt x="3895779" y="5176073"/>
                </a:cubicBezTo>
                <a:cubicBezTo>
                  <a:pt x="3895779" y="5156973"/>
                  <a:pt x="3905309" y="5141694"/>
                  <a:pt x="3924374" y="5134054"/>
                </a:cubicBezTo>
                <a:cubicBezTo>
                  <a:pt x="3924374" y="5134054"/>
                  <a:pt x="3924374" y="5134054"/>
                  <a:pt x="4263694" y="4992717"/>
                </a:cubicBezTo>
                <a:cubicBezTo>
                  <a:pt x="4269413" y="4990329"/>
                  <a:pt x="4275371" y="4989255"/>
                  <a:pt x="4281239" y="4989344"/>
                </a:cubicBezTo>
                <a:close/>
                <a:moveTo>
                  <a:pt x="2028590" y="4989344"/>
                </a:moveTo>
                <a:cubicBezTo>
                  <a:pt x="2046182" y="4989613"/>
                  <a:pt x="2062975" y="5000357"/>
                  <a:pt x="2070119" y="5017546"/>
                </a:cubicBezTo>
                <a:cubicBezTo>
                  <a:pt x="2079644" y="5040466"/>
                  <a:pt x="2068214" y="5067205"/>
                  <a:pt x="2045349" y="5076755"/>
                </a:cubicBezTo>
                <a:cubicBezTo>
                  <a:pt x="2045349" y="5076755"/>
                  <a:pt x="2045349" y="5076755"/>
                  <a:pt x="1704349" y="5218092"/>
                </a:cubicBezTo>
                <a:cubicBezTo>
                  <a:pt x="1681489" y="5227642"/>
                  <a:pt x="1654818" y="5216182"/>
                  <a:pt x="1645293" y="5193262"/>
                </a:cubicBezTo>
                <a:cubicBezTo>
                  <a:pt x="1643388" y="5187533"/>
                  <a:pt x="1641483" y="5181803"/>
                  <a:pt x="1641483" y="5176073"/>
                </a:cubicBezTo>
                <a:cubicBezTo>
                  <a:pt x="1641483" y="5156973"/>
                  <a:pt x="1652914" y="5141694"/>
                  <a:pt x="1670059" y="5134054"/>
                </a:cubicBezTo>
                <a:cubicBezTo>
                  <a:pt x="1670059" y="5134054"/>
                  <a:pt x="1670059" y="5134054"/>
                  <a:pt x="2011058" y="4992717"/>
                </a:cubicBezTo>
                <a:cubicBezTo>
                  <a:pt x="2016773" y="4990329"/>
                  <a:pt x="2022726" y="4989255"/>
                  <a:pt x="2028590" y="4989344"/>
                </a:cubicBezTo>
                <a:close/>
                <a:moveTo>
                  <a:pt x="3720408" y="4979833"/>
                </a:moveTo>
                <a:cubicBezTo>
                  <a:pt x="3738808" y="4980190"/>
                  <a:pt x="3755595" y="4991263"/>
                  <a:pt x="3762739" y="5009837"/>
                </a:cubicBezTo>
                <a:cubicBezTo>
                  <a:pt x="3770360" y="5032697"/>
                  <a:pt x="3758930" y="5059367"/>
                  <a:pt x="3736068" y="5068892"/>
                </a:cubicBezTo>
                <a:cubicBezTo>
                  <a:pt x="3736068" y="5068892"/>
                  <a:pt x="3736068" y="5068892"/>
                  <a:pt x="3395084" y="5202242"/>
                </a:cubicBezTo>
                <a:cubicBezTo>
                  <a:pt x="3370317" y="5211767"/>
                  <a:pt x="3343646" y="5200337"/>
                  <a:pt x="3334121" y="5175572"/>
                </a:cubicBezTo>
                <a:cubicBezTo>
                  <a:pt x="3332215" y="5169857"/>
                  <a:pt x="3332215" y="5164142"/>
                  <a:pt x="3332215" y="5158427"/>
                </a:cubicBezTo>
                <a:cubicBezTo>
                  <a:pt x="3332215" y="5141282"/>
                  <a:pt x="3343646" y="5122232"/>
                  <a:pt x="3360792" y="5116517"/>
                </a:cubicBezTo>
                <a:cubicBezTo>
                  <a:pt x="3360792" y="5116517"/>
                  <a:pt x="3360792" y="5116517"/>
                  <a:pt x="3701777" y="4983167"/>
                </a:cubicBezTo>
                <a:cubicBezTo>
                  <a:pt x="3707968" y="4980786"/>
                  <a:pt x="3714280" y="4979714"/>
                  <a:pt x="3720408" y="4979833"/>
                </a:cubicBezTo>
                <a:close/>
                <a:moveTo>
                  <a:pt x="2585923" y="4979833"/>
                </a:moveTo>
                <a:cubicBezTo>
                  <a:pt x="2604117" y="4980190"/>
                  <a:pt x="2622040" y="4991263"/>
                  <a:pt x="2629210" y="5009837"/>
                </a:cubicBezTo>
                <a:cubicBezTo>
                  <a:pt x="2636858" y="5032697"/>
                  <a:pt x="2625387" y="5059367"/>
                  <a:pt x="2602444" y="5068892"/>
                </a:cubicBezTo>
                <a:cubicBezTo>
                  <a:pt x="2602444" y="5068892"/>
                  <a:pt x="2602444" y="5068892"/>
                  <a:pt x="2260209" y="5202242"/>
                </a:cubicBezTo>
                <a:cubicBezTo>
                  <a:pt x="2235354" y="5211767"/>
                  <a:pt x="2208587" y="5200337"/>
                  <a:pt x="2199027" y="5175572"/>
                </a:cubicBezTo>
                <a:cubicBezTo>
                  <a:pt x="2197115" y="5169857"/>
                  <a:pt x="2197115" y="5164142"/>
                  <a:pt x="2197115" y="5158427"/>
                </a:cubicBezTo>
                <a:cubicBezTo>
                  <a:pt x="2197115" y="5141282"/>
                  <a:pt x="2206675" y="5122232"/>
                  <a:pt x="2225794" y="5116517"/>
                </a:cubicBezTo>
                <a:cubicBezTo>
                  <a:pt x="2225794" y="5116517"/>
                  <a:pt x="2225794" y="5116517"/>
                  <a:pt x="2568028" y="4983167"/>
                </a:cubicBezTo>
                <a:cubicBezTo>
                  <a:pt x="2573764" y="4980785"/>
                  <a:pt x="2579859" y="4979714"/>
                  <a:pt x="2585923" y="4979833"/>
                </a:cubicBezTo>
                <a:close/>
                <a:moveTo>
                  <a:pt x="3148522" y="4969036"/>
                </a:moveTo>
                <a:cubicBezTo>
                  <a:pt x="3166945" y="4969932"/>
                  <a:pt x="3183758" y="4982109"/>
                  <a:pt x="3190913" y="5000733"/>
                </a:cubicBezTo>
                <a:cubicBezTo>
                  <a:pt x="3200448" y="5025565"/>
                  <a:pt x="3187095" y="5052307"/>
                  <a:pt x="3162293" y="5061858"/>
                </a:cubicBezTo>
                <a:cubicBezTo>
                  <a:pt x="3162293" y="5061858"/>
                  <a:pt x="3162293" y="5061858"/>
                  <a:pt x="2820804" y="5187929"/>
                </a:cubicBezTo>
                <a:cubicBezTo>
                  <a:pt x="2796003" y="5197480"/>
                  <a:pt x="2769296" y="5184109"/>
                  <a:pt x="2759756" y="5161187"/>
                </a:cubicBezTo>
                <a:cubicBezTo>
                  <a:pt x="2757847" y="5155456"/>
                  <a:pt x="2755940" y="5149726"/>
                  <a:pt x="2755940" y="5143995"/>
                </a:cubicBezTo>
                <a:cubicBezTo>
                  <a:pt x="2755940" y="5124894"/>
                  <a:pt x="2767388" y="5105792"/>
                  <a:pt x="2788374" y="5098151"/>
                </a:cubicBezTo>
                <a:cubicBezTo>
                  <a:pt x="2788374" y="5098151"/>
                  <a:pt x="2788374" y="5098151"/>
                  <a:pt x="3129862" y="4972081"/>
                </a:cubicBezTo>
                <a:cubicBezTo>
                  <a:pt x="3136060" y="4969693"/>
                  <a:pt x="3142382" y="4968738"/>
                  <a:pt x="3148522" y="4969036"/>
                </a:cubicBezTo>
                <a:close/>
                <a:moveTo>
                  <a:pt x="9865943" y="4767278"/>
                </a:moveTo>
                <a:cubicBezTo>
                  <a:pt x="9873563" y="4768710"/>
                  <a:pt x="9880706" y="4773005"/>
                  <a:pt x="9885469" y="4779687"/>
                </a:cubicBezTo>
                <a:cubicBezTo>
                  <a:pt x="9894994" y="4794960"/>
                  <a:pt x="9891184" y="4812143"/>
                  <a:pt x="9875944" y="4821688"/>
                </a:cubicBezTo>
                <a:cubicBezTo>
                  <a:pt x="9875944" y="4821688"/>
                  <a:pt x="9875944" y="4821688"/>
                  <a:pt x="9542565" y="5046968"/>
                </a:cubicBezTo>
                <a:cubicBezTo>
                  <a:pt x="9527324" y="5054605"/>
                  <a:pt x="9510179" y="5052696"/>
                  <a:pt x="9500654" y="5037422"/>
                </a:cubicBezTo>
                <a:cubicBezTo>
                  <a:pt x="9496844" y="5033604"/>
                  <a:pt x="9494939" y="5027877"/>
                  <a:pt x="9494939" y="5022149"/>
                </a:cubicBezTo>
                <a:cubicBezTo>
                  <a:pt x="9494939" y="5012603"/>
                  <a:pt x="9500654" y="5003058"/>
                  <a:pt x="9508274" y="4997330"/>
                </a:cubicBezTo>
                <a:cubicBezTo>
                  <a:pt x="9508274" y="4997330"/>
                  <a:pt x="9508274" y="4997330"/>
                  <a:pt x="9843558" y="4772051"/>
                </a:cubicBezTo>
                <a:cubicBezTo>
                  <a:pt x="9850226" y="4767278"/>
                  <a:pt x="9858322" y="4765846"/>
                  <a:pt x="9865943" y="4767278"/>
                </a:cubicBezTo>
                <a:close/>
                <a:moveTo>
                  <a:pt x="10450715" y="4757980"/>
                </a:moveTo>
                <a:cubicBezTo>
                  <a:pt x="10458830" y="4759647"/>
                  <a:pt x="10466468" y="4764410"/>
                  <a:pt x="10471242" y="4772030"/>
                </a:cubicBezTo>
                <a:cubicBezTo>
                  <a:pt x="10480790" y="4787270"/>
                  <a:pt x="10475061" y="4806320"/>
                  <a:pt x="10461695" y="4815845"/>
                </a:cubicBezTo>
                <a:cubicBezTo>
                  <a:pt x="10461695" y="4815845"/>
                  <a:pt x="10461695" y="4815845"/>
                  <a:pt x="10125619" y="5029205"/>
                </a:cubicBezTo>
                <a:cubicBezTo>
                  <a:pt x="10110343" y="5038730"/>
                  <a:pt x="10091248" y="5034920"/>
                  <a:pt x="10081701" y="5019680"/>
                </a:cubicBezTo>
                <a:cubicBezTo>
                  <a:pt x="10077882" y="5015870"/>
                  <a:pt x="10075972" y="5010155"/>
                  <a:pt x="10075972" y="5004440"/>
                </a:cubicBezTo>
                <a:cubicBezTo>
                  <a:pt x="10075972" y="4993010"/>
                  <a:pt x="10081701" y="4983485"/>
                  <a:pt x="10091248" y="4977770"/>
                </a:cubicBezTo>
                <a:cubicBezTo>
                  <a:pt x="10091248" y="4977770"/>
                  <a:pt x="10091248" y="4977770"/>
                  <a:pt x="10427323" y="4762505"/>
                </a:cubicBezTo>
                <a:cubicBezTo>
                  <a:pt x="10434006" y="4757742"/>
                  <a:pt x="10442599" y="4756314"/>
                  <a:pt x="10450715" y="4757980"/>
                </a:cubicBezTo>
                <a:close/>
                <a:moveTo>
                  <a:pt x="9287869" y="4757980"/>
                </a:moveTo>
                <a:cubicBezTo>
                  <a:pt x="9295722" y="4759647"/>
                  <a:pt x="9302860" y="4764410"/>
                  <a:pt x="9307618" y="4772030"/>
                </a:cubicBezTo>
                <a:cubicBezTo>
                  <a:pt x="9317136" y="4787270"/>
                  <a:pt x="9313329" y="4806320"/>
                  <a:pt x="9298101" y="4815845"/>
                </a:cubicBezTo>
                <a:cubicBezTo>
                  <a:pt x="9298101" y="4815845"/>
                  <a:pt x="9298101" y="4815845"/>
                  <a:pt x="8963081" y="5029205"/>
                </a:cubicBezTo>
                <a:cubicBezTo>
                  <a:pt x="8949756" y="5038730"/>
                  <a:pt x="8928818" y="5034920"/>
                  <a:pt x="8919300" y="5019680"/>
                </a:cubicBezTo>
                <a:cubicBezTo>
                  <a:pt x="8917397" y="5015870"/>
                  <a:pt x="8915493" y="5010155"/>
                  <a:pt x="8915493" y="5004440"/>
                </a:cubicBezTo>
                <a:cubicBezTo>
                  <a:pt x="8915493" y="4993010"/>
                  <a:pt x="8919300" y="4983485"/>
                  <a:pt x="8928818" y="4977770"/>
                </a:cubicBezTo>
                <a:cubicBezTo>
                  <a:pt x="8928818" y="4977770"/>
                  <a:pt x="8928818" y="4977770"/>
                  <a:pt x="9263837" y="4762505"/>
                </a:cubicBezTo>
                <a:cubicBezTo>
                  <a:pt x="9271451" y="4757742"/>
                  <a:pt x="9280018" y="4756314"/>
                  <a:pt x="9287869" y="4757980"/>
                </a:cubicBezTo>
                <a:close/>
                <a:moveTo>
                  <a:pt x="11026794" y="4748711"/>
                </a:moveTo>
                <a:cubicBezTo>
                  <a:pt x="11035135" y="4750623"/>
                  <a:pt x="11042761" y="4755879"/>
                  <a:pt x="11047527" y="4764481"/>
                </a:cubicBezTo>
                <a:cubicBezTo>
                  <a:pt x="11057060" y="4779773"/>
                  <a:pt x="11053247" y="4800799"/>
                  <a:pt x="11036088" y="4810357"/>
                </a:cubicBezTo>
                <a:cubicBezTo>
                  <a:pt x="11036088" y="4810357"/>
                  <a:pt x="11036088" y="4810357"/>
                  <a:pt x="10700543" y="5014885"/>
                </a:cubicBezTo>
                <a:cubicBezTo>
                  <a:pt x="10685291" y="5024443"/>
                  <a:pt x="10664319" y="5020620"/>
                  <a:pt x="10654787" y="5005328"/>
                </a:cubicBezTo>
                <a:cubicBezTo>
                  <a:pt x="10650974" y="4999593"/>
                  <a:pt x="10649067" y="4993859"/>
                  <a:pt x="10649067" y="4988125"/>
                </a:cubicBezTo>
                <a:cubicBezTo>
                  <a:pt x="10649067" y="4976656"/>
                  <a:pt x="10654787" y="4965187"/>
                  <a:pt x="10666226" y="4959452"/>
                </a:cubicBezTo>
                <a:cubicBezTo>
                  <a:pt x="10666226" y="4959452"/>
                  <a:pt x="10666226" y="4959452"/>
                  <a:pt x="11001771" y="4753012"/>
                </a:cubicBezTo>
                <a:cubicBezTo>
                  <a:pt x="11009397" y="4748234"/>
                  <a:pt x="11018453" y="4746800"/>
                  <a:pt x="11026794" y="4748711"/>
                </a:cubicBezTo>
                <a:close/>
                <a:moveTo>
                  <a:pt x="8717757" y="4748711"/>
                </a:moveTo>
                <a:cubicBezTo>
                  <a:pt x="8725834" y="4750623"/>
                  <a:pt x="8732961" y="4755880"/>
                  <a:pt x="8737713" y="4764481"/>
                </a:cubicBezTo>
                <a:cubicBezTo>
                  <a:pt x="8747216" y="4779773"/>
                  <a:pt x="8743415" y="4800799"/>
                  <a:pt x="8728210" y="4810357"/>
                </a:cubicBezTo>
                <a:cubicBezTo>
                  <a:pt x="8728210" y="4810357"/>
                  <a:pt x="8728210" y="4810357"/>
                  <a:pt x="8391812" y="5014885"/>
                </a:cubicBezTo>
                <a:cubicBezTo>
                  <a:pt x="8376608" y="5024443"/>
                  <a:pt x="8355702" y="5020620"/>
                  <a:pt x="8346199" y="5005328"/>
                </a:cubicBezTo>
                <a:cubicBezTo>
                  <a:pt x="8342398" y="4999593"/>
                  <a:pt x="8342398" y="4993859"/>
                  <a:pt x="8342398" y="4988125"/>
                </a:cubicBezTo>
                <a:cubicBezTo>
                  <a:pt x="8342398" y="4976656"/>
                  <a:pt x="8348100" y="4965187"/>
                  <a:pt x="8357602" y="4959452"/>
                </a:cubicBezTo>
                <a:cubicBezTo>
                  <a:pt x="8357602" y="4959452"/>
                  <a:pt x="8357602" y="4959452"/>
                  <a:pt x="8692100" y="4753012"/>
                </a:cubicBezTo>
                <a:cubicBezTo>
                  <a:pt x="8700653" y="4748234"/>
                  <a:pt x="8709680" y="4746800"/>
                  <a:pt x="8717757" y="4748711"/>
                </a:cubicBezTo>
                <a:close/>
                <a:moveTo>
                  <a:pt x="11598111" y="4739890"/>
                </a:moveTo>
                <a:cubicBezTo>
                  <a:pt x="11606677" y="4742035"/>
                  <a:pt x="11614291" y="4747280"/>
                  <a:pt x="11619050" y="4754909"/>
                </a:cubicBezTo>
                <a:cubicBezTo>
                  <a:pt x="11628568" y="4772074"/>
                  <a:pt x="11622857" y="4793053"/>
                  <a:pt x="11607629" y="4802589"/>
                </a:cubicBezTo>
                <a:cubicBezTo>
                  <a:pt x="11607629" y="4802589"/>
                  <a:pt x="11607629" y="4802589"/>
                  <a:pt x="11270700" y="4999032"/>
                </a:cubicBezTo>
                <a:cubicBezTo>
                  <a:pt x="11253568" y="5008568"/>
                  <a:pt x="11232628" y="5002846"/>
                  <a:pt x="11223111" y="4987588"/>
                </a:cubicBezTo>
                <a:cubicBezTo>
                  <a:pt x="11219304" y="4981867"/>
                  <a:pt x="11217400" y="4976145"/>
                  <a:pt x="11217400" y="4968516"/>
                </a:cubicBezTo>
                <a:cubicBezTo>
                  <a:pt x="11217400" y="4957073"/>
                  <a:pt x="11225014" y="4945630"/>
                  <a:pt x="11236436" y="4939908"/>
                </a:cubicBezTo>
                <a:cubicBezTo>
                  <a:pt x="11236436" y="4939908"/>
                  <a:pt x="11236436" y="4939908"/>
                  <a:pt x="11571461" y="4743466"/>
                </a:cubicBezTo>
                <a:cubicBezTo>
                  <a:pt x="11580027" y="4738698"/>
                  <a:pt x="11589545" y="4737744"/>
                  <a:pt x="11598111" y="4739890"/>
                </a:cubicBezTo>
                <a:close/>
                <a:moveTo>
                  <a:pt x="8154062" y="4739890"/>
                </a:moveTo>
                <a:cubicBezTo>
                  <a:pt x="8162866" y="4742035"/>
                  <a:pt x="8170956" y="4747280"/>
                  <a:pt x="8175715" y="4754909"/>
                </a:cubicBezTo>
                <a:cubicBezTo>
                  <a:pt x="8185233" y="4772074"/>
                  <a:pt x="8179522" y="4793053"/>
                  <a:pt x="8162390" y="4802589"/>
                </a:cubicBezTo>
                <a:cubicBezTo>
                  <a:pt x="8162390" y="4802589"/>
                  <a:pt x="8162390" y="4802589"/>
                  <a:pt x="7825461" y="4999032"/>
                </a:cubicBezTo>
                <a:cubicBezTo>
                  <a:pt x="7810232" y="5008568"/>
                  <a:pt x="7787390" y="5002846"/>
                  <a:pt x="7777872" y="4987588"/>
                </a:cubicBezTo>
                <a:cubicBezTo>
                  <a:pt x="7775968" y="4981867"/>
                  <a:pt x="7774065" y="4976145"/>
                  <a:pt x="7774065" y="4968516"/>
                </a:cubicBezTo>
                <a:cubicBezTo>
                  <a:pt x="7774065" y="4957073"/>
                  <a:pt x="7779775" y="4945630"/>
                  <a:pt x="7791197" y="4939908"/>
                </a:cubicBezTo>
                <a:cubicBezTo>
                  <a:pt x="7791197" y="4939908"/>
                  <a:pt x="7791197" y="4939908"/>
                  <a:pt x="8128126" y="4743466"/>
                </a:cubicBezTo>
                <a:cubicBezTo>
                  <a:pt x="8135740" y="4738698"/>
                  <a:pt x="8145258" y="4737744"/>
                  <a:pt x="8154062" y="4739890"/>
                </a:cubicBezTo>
                <a:close/>
                <a:moveTo>
                  <a:pt x="12135937" y="4732342"/>
                </a:moveTo>
                <a:cubicBezTo>
                  <a:pt x="12137843" y="4732342"/>
                  <a:pt x="12137843" y="4732342"/>
                  <a:pt x="12139750" y="4732342"/>
                </a:cubicBezTo>
                <a:cubicBezTo>
                  <a:pt x="12139750" y="4732342"/>
                  <a:pt x="12139750" y="4732342"/>
                  <a:pt x="12139750" y="4814057"/>
                </a:cubicBezTo>
                <a:cubicBezTo>
                  <a:pt x="12139750" y="4814057"/>
                  <a:pt x="12139750" y="4814057"/>
                  <a:pt x="11834677" y="4983190"/>
                </a:cubicBezTo>
                <a:cubicBezTo>
                  <a:pt x="11815610" y="4992692"/>
                  <a:pt x="11794637" y="4986991"/>
                  <a:pt x="11783196" y="4969887"/>
                </a:cubicBezTo>
                <a:cubicBezTo>
                  <a:pt x="11781290" y="4964186"/>
                  <a:pt x="11779383" y="4958485"/>
                  <a:pt x="11779383" y="4950884"/>
                </a:cubicBezTo>
                <a:cubicBezTo>
                  <a:pt x="11779383" y="4939482"/>
                  <a:pt x="11787010" y="4926179"/>
                  <a:pt x="11798450" y="4920478"/>
                </a:cubicBezTo>
                <a:close/>
                <a:moveTo>
                  <a:pt x="7597191" y="4729944"/>
                </a:moveTo>
                <a:cubicBezTo>
                  <a:pt x="7606246" y="4732795"/>
                  <a:pt x="7614349" y="4738971"/>
                  <a:pt x="7620068" y="4747524"/>
                </a:cubicBezTo>
                <a:cubicBezTo>
                  <a:pt x="7629601" y="4764628"/>
                  <a:pt x="7621975" y="4787435"/>
                  <a:pt x="7604817" y="4796937"/>
                </a:cubicBezTo>
                <a:cubicBezTo>
                  <a:pt x="7604817" y="4796937"/>
                  <a:pt x="7604817" y="4796937"/>
                  <a:pt x="7267371" y="4983189"/>
                </a:cubicBezTo>
                <a:cubicBezTo>
                  <a:pt x="7250212" y="4992692"/>
                  <a:pt x="7227335" y="4986990"/>
                  <a:pt x="7217802" y="4969885"/>
                </a:cubicBezTo>
                <a:cubicBezTo>
                  <a:pt x="7213989" y="4964184"/>
                  <a:pt x="7212083" y="4958482"/>
                  <a:pt x="7212083" y="4950880"/>
                </a:cubicBezTo>
                <a:cubicBezTo>
                  <a:pt x="7212083" y="4939477"/>
                  <a:pt x="7219709" y="4926173"/>
                  <a:pt x="7231147" y="4920472"/>
                </a:cubicBezTo>
                <a:cubicBezTo>
                  <a:pt x="7231147" y="4920472"/>
                  <a:pt x="7231147" y="4920472"/>
                  <a:pt x="7568594" y="4732319"/>
                </a:cubicBezTo>
                <a:cubicBezTo>
                  <a:pt x="7578126" y="4727568"/>
                  <a:pt x="7588135" y="4727093"/>
                  <a:pt x="7597191" y="4729944"/>
                </a:cubicBezTo>
                <a:close/>
                <a:moveTo>
                  <a:pt x="7045531" y="4720682"/>
                </a:moveTo>
                <a:cubicBezTo>
                  <a:pt x="7054846" y="4723782"/>
                  <a:pt x="7063445" y="4730457"/>
                  <a:pt x="7069177" y="4739994"/>
                </a:cubicBezTo>
                <a:cubicBezTo>
                  <a:pt x="7078731" y="4759067"/>
                  <a:pt x="7071088" y="4781954"/>
                  <a:pt x="7051980" y="4791491"/>
                </a:cubicBezTo>
                <a:cubicBezTo>
                  <a:pt x="7051980" y="4791491"/>
                  <a:pt x="7051980" y="4791491"/>
                  <a:pt x="6713773" y="4968868"/>
                </a:cubicBezTo>
                <a:cubicBezTo>
                  <a:pt x="6694665" y="4978405"/>
                  <a:pt x="6671736" y="4972683"/>
                  <a:pt x="6662182" y="4953610"/>
                </a:cubicBezTo>
                <a:cubicBezTo>
                  <a:pt x="6658361" y="4947888"/>
                  <a:pt x="6656450" y="4942166"/>
                  <a:pt x="6656450" y="4934537"/>
                </a:cubicBezTo>
                <a:cubicBezTo>
                  <a:pt x="6656450" y="4921186"/>
                  <a:pt x="6664093" y="4907835"/>
                  <a:pt x="6677468" y="4902113"/>
                </a:cubicBezTo>
                <a:cubicBezTo>
                  <a:pt x="6677468" y="4902113"/>
                  <a:pt x="6677468" y="4902113"/>
                  <a:pt x="7017586" y="4722828"/>
                </a:cubicBezTo>
                <a:cubicBezTo>
                  <a:pt x="7026184" y="4718060"/>
                  <a:pt x="7036216" y="4717583"/>
                  <a:pt x="7045531" y="4720682"/>
                </a:cubicBezTo>
                <a:close/>
                <a:moveTo>
                  <a:pt x="6500048" y="4711377"/>
                </a:moveTo>
                <a:cubicBezTo>
                  <a:pt x="6509797" y="4714707"/>
                  <a:pt x="6518357" y="4721842"/>
                  <a:pt x="6523112" y="4732307"/>
                </a:cubicBezTo>
                <a:cubicBezTo>
                  <a:pt x="6532623" y="4751333"/>
                  <a:pt x="6525014" y="4774166"/>
                  <a:pt x="6505992" y="4785582"/>
                </a:cubicBezTo>
                <a:cubicBezTo>
                  <a:pt x="6505992" y="4785582"/>
                  <a:pt x="6505992" y="4785582"/>
                  <a:pt x="6167407" y="4953016"/>
                </a:cubicBezTo>
                <a:cubicBezTo>
                  <a:pt x="6148385" y="4962530"/>
                  <a:pt x="6123657" y="4954919"/>
                  <a:pt x="6114146" y="4935892"/>
                </a:cubicBezTo>
                <a:cubicBezTo>
                  <a:pt x="6110342" y="4930184"/>
                  <a:pt x="6110342" y="4924476"/>
                  <a:pt x="6110342" y="4916866"/>
                </a:cubicBezTo>
                <a:cubicBezTo>
                  <a:pt x="6110342" y="4903547"/>
                  <a:pt x="6117950" y="4888326"/>
                  <a:pt x="6131266" y="4882618"/>
                </a:cubicBezTo>
                <a:cubicBezTo>
                  <a:pt x="6131266" y="4882618"/>
                  <a:pt x="6131266" y="4882618"/>
                  <a:pt x="6469851" y="4713280"/>
                </a:cubicBezTo>
                <a:cubicBezTo>
                  <a:pt x="6479362" y="4708524"/>
                  <a:pt x="6490300" y="4708048"/>
                  <a:pt x="6500048" y="4711377"/>
                </a:cubicBezTo>
                <a:close/>
                <a:moveTo>
                  <a:pt x="5956806" y="4701881"/>
                </a:moveTo>
                <a:cubicBezTo>
                  <a:pt x="5966814" y="4705223"/>
                  <a:pt x="5975394" y="4712385"/>
                  <a:pt x="5980159" y="4722888"/>
                </a:cubicBezTo>
                <a:cubicBezTo>
                  <a:pt x="5989691" y="4743896"/>
                  <a:pt x="5982065" y="4768723"/>
                  <a:pt x="5961095" y="4778272"/>
                </a:cubicBezTo>
                <a:cubicBezTo>
                  <a:pt x="5961095" y="4778272"/>
                  <a:pt x="5961095" y="4778272"/>
                  <a:pt x="5621756" y="4938693"/>
                </a:cubicBezTo>
                <a:cubicBezTo>
                  <a:pt x="5600786" y="4948242"/>
                  <a:pt x="5576002" y="4940603"/>
                  <a:pt x="5566471" y="4919595"/>
                </a:cubicBezTo>
                <a:cubicBezTo>
                  <a:pt x="5562658" y="4913866"/>
                  <a:pt x="5562658" y="4906227"/>
                  <a:pt x="5562658" y="4900497"/>
                </a:cubicBezTo>
                <a:cubicBezTo>
                  <a:pt x="5562658" y="4885219"/>
                  <a:pt x="5570284" y="4869941"/>
                  <a:pt x="5585535" y="4864212"/>
                </a:cubicBezTo>
                <a:cubicBezTo>
                  <a:pt x="5585535" y="4864212"/>
                  <a:pt x="5585535" y="4864212"/>
                  <a:pt x="5924874" y="4703791"/>
                </a:cubicBezTo>
                <a:cubicBezTo>
                  <a:pt x="5935360" y="4699016"/>
                  <a:pt x="5946797" y="4698539"/>
                  <a:pt x="5956806" y="4701881"/>
                </a:cubicBezTo>
                <a:close/>
                <a:moveTo>
                  <a:pt x="398944" y="4701881"/>
                </a:moveTo>
                <a:cubicBezTo>
                  <a:pt x="408946" y="4705223"/>
                  <a:pt x="417518" y="4712385"/>
                  <a:pt x="422281" y="4722888"/>
                </a:cubicBezTo>
                <a:cubicBezTo>
                  <a:pt x="431806" y="4743896"/>
                  <a:pt x="422281" y="4768723"/>
                  <a:pt x="401326" y="4778272"/>
                </a:cubicBezTo>
                <a:cubicBezTo>
                  <a:pt x="401326" y="4778272"/>
                  <a:pt x="401326" y="4778272"/>
                  <a:pt x="62232" y="4938693"/>
                </a:cubicBezTo>
                <a:cubicBezTo>
                  <a:pt x="43181" y="4948242"/>
                  <a:pt x="16511" y="4940603"/>
                  <a:pt x="6986" y="4919595"/>
                </a:cubicBezTo>
                <a:cubicBezTo>
                  <a:pt x="5081" y="4913866"/>
                  <a:pt x="3176" y="4906227"/>
                  <a:pt x="3176" y="4900497"/>
                </a:cubicBezTo>
                <a:cubicBezTo>
                  <a:pt x="3176" y="4885219"/>
                  <a:pt x="12701" y="4869941"/>
                  <a:pt x="27941" y="4864212"/>
                </a:cubicBezTo>
                <a:cubicBezTo>
                  <a:pt x="27941" y="4864212"/>
                  <a:pt x="27941" y="4864212"/>
                  <a:pt x="367035" y="4703791"/>
                </a:cubicBezTo>
                <a:cubicBezTo>
                  <a:pt x="377513" y="4699016"/>
                  <a:pt x="388943" y="4698539"/>
                  <a:pt x="398944" y="4701881"/>
                </a:cubicBezTo>
                <a:close/>
                <a:moveTo>
                  <a:pt x="5409709" y="4693289"/>
                </a:moveTo>
                <a:cubicBezTo>
                  <a:pt x="5420209" y="4697099"/>
                  <a:pt x="5429278" y="4704719"/>
                  <a:pt x="5434051" y="4715197"/>
                </a:cubicBezTo>
                <a:cubicBezTo>
                  <a:pt x="5443597" y="4738057"/>
                  <a:pt x="5434051" y="4762822"/>
                  <a:pt x="5411140" y="4772347"/>
                </a:cubicBezTo>
                <a:cubicBezTo>
                  <a:pt x="5411140" y="4772347"/>
                  <a:pt x="5411140" y="4772347"/>
                  <a:pt x="5071297" y="4922842"/>
                </a:cubicBezTo>
                <a:cubicBezTo>
                  <a:pt x="5048391" y="4932367"/>
                  <a:pt x="5023574" y="4922842"/>
                  <a:pt x="5014028" y="4901887"/>
                </a:cubicBezTo>
                <a:cubicBezTo>
                  <a:pt x="5012119" y="4894267"/>
                  <a:pt x="5010210" y="4888552"/>
                  <a:pt x="5010210" y="4882837"/>
                </a:cubicBezTo>
                <a:cubicBezTo>
                  <a:pt x="5010210" y="4867597"/>
                  <a:pt x="5019755" y="4850452"/>
                  <a:pt x="5036935" y="4842832"/>
                </a:cubicBezTo>
                <a:cubicBezTo>
                  <a:pt x="5036935" y="4842832"/>
                  <a:pt x="5036935" y="4842832"/>
                  <a:pt x="5376776" y="4694242"/>
                </a:cubicBezTo>
                <a:cubicBezTo>
                  <a:pt x="5387276" y="4689479"/>
                  <a:pt x="5399209" y="4689479"/>
                  <a:pt x="5409709" y="4693289"/>
                </a:cubicBezTo>
                <a:close/>
                <a:moveTo>
                  <a:pt x="943147" y="4693289"/>
                </a:moveTo>
                <a:cubicBezTo>
                  <a:pt x="953409" y="4697099"/>
                  <a:pt x="962000" y="4704719"/>
                  <a:pt x="966774" y="4715197"/>
                </a:cubicBezTo>
                <a:cubicBezTo>
                  <a:pt x="976320" y="4738057"/>
                  <a:pt x="966774" y="4762822"/>
                  <a:pt x="945772" y="4772347"/>
                </a:cubicBezTo>
                <a:cubicBezTo>
                  <a:pt x="945772" y="4772347"/>
                  <a:pt x="945772" y="4772347"/>
                  <a:pt x="604023" y="4922842"/>
                </a:cubicBezTo>
                <a:cubicBezTo>
                  <a:pt x="583021" y="4932367"/>
                  <a:pt x="556292" y="4922842"/>
                  <a:pt x="546746" y="4901887"/>
                </a:cubicBezTo>
                <a:cubicBezTo>
                  <a:pt x="544837" y="4894267"/>
                  <a:pt x="542928" y="4888552"/>
                  <a:pt x="542928" y="4882837"/>
                </a:cubicBezTo>
                <a:cubicBezTo>
                  <a:pt x="542928" y="4867597"/>
                  <a:pt x="552474" y="4850452"/>
                  <a:pt x="569657" y="4842832"/>
                </a:cubicBezTo>
                <a:cubicBezTo>
                  <a:pt x="569657" y="4842832"/>
                  <a:pt x="569657" y="4842832"/>
                  <a:pt x="909497" y="4694242"/>
                </a:cubicBezTo>
                <a:cubicBezTo>
                  <a:pt x="920952" y="4689479"/>
                  <a:pt x="932885" y="4689479"/>
                  <a:pt x="943147" y="4693289"/>
                </a:cubicBezTo>
                <a:close/>
                <a:moveTo>
                  <a:pt x="4840043" y="4679741"/>
                </a:moveTo>
                <a:cubicBezTo>
                  <a:pt x="4857649" y="4680008"/>
                  <a:pt x="4874453" y="4690682"/>
                  <a:pt x="4881602" y="4707760"/>
                </a:cubicBezTo>
                <a:cubicBezTo>
                  <a:pt x="4891136" y="4730531"/>
                  <a:pt x="4879696" y="4757097"/>
                  <a:pt x="4856815" y="4766584"/>
                </a:cubicBezTo>
                <a:cubicBezTo>
                  <a:pt x="4856815" y="4766584"/>
                  <a:pt x="4856815" y="4766584"/>
                  <a:pt x="4517479" y="4907004"/>
                </a:cubicBezTo>
                <a:cubicBezTo>
                  <a:pt x="4494604" y="4916492"/>
                  <a:pt x="4467914" y="4905106"/>
                  <a:pt x="4458382" y="4882336"/>
                </a:cubicBezTo>
                <a:cubicBezTo>
                  <a:pt x="4456475" y="4876643"/>
                  <a:pt x="4454569" y="4870950"/>
                  <a:pt x="4454569" y="4865258"/>
                </a:cubicBezTo>
                <a:cubicBezTo>
                  <a:pt x="4454569" y="4848180"/>
                  <a:pt x="4466007" y="4831101"/>
                  <a:pt x="4483164" y="4823511"/>
                </a:cubicBezTo>
                <a:cubicBezTo>
                  <a:pt x="4483164" y="4823511"/>
                  <a:pt x="4483164" y="4823511"/>
                  <a:pt x="4822495" y="4683092"/>
                </a:cubicBezTo>
                <a:cubicBezTo>
                  <a:pt x="4828213" y="4680720"/>
                  <a:pt x="4834174" y="4679652"/>
                  <a:pt x="4840043" y="4679741"/>
                </a:cubicBezTo>
                <a:close/>
                <a:moveTo>
                  <a:pt x="1476099" y="4679741"/>
                </a:moveTo>
                <a:cubicBezTo>
                  <a:pt x="1493704" y="4680008"/>
                  <a:pt x="1510504" y="4690682"/>
                  <a:pt x="1517653" y="4707760"/>
                </a:cubicBezTo>
                <a:cubicBezTo>
                  <a:pt x="1527185" y="4730531"/>
                  <a:pt x="1515746" y="4757097"/>
                  <a:pt x="1492870" y="4766584"/>
                </a:cubicBezTo>
                <a:cubicBezTo>
                  <a:pt x="1492870" y="4766584"/>
                  <a:pt x="1492870" y="4766584"/>
                  <a:pt x="1151623" y="4907004"/>
                </a:cubicBezTo>
                <a:cubicBezTo>
                  <a:pt x="1128746" y="4916492"/>
                  <a:pt x="1102056" y="4905106"/>
                  <a:pt x="1094430" y="4882336"/>
                </a:cubicBezTo>
                <a:cubicBezTo>
                  <a:pt x="1090618" y="4876643"/>
                  <a:pt x="1090618" y="4870950"/>
                  <a:pt x="1090618" y="4865258"/>
                </a:cubicBezTo>
                <a:cubicBezTo>
                  <a:pt x="1090618" y="4848180"/>
                  <a:pt x="1100150" y="4831101"/>
                  <a:pt x="1117307" y="4823511"/>
                </a:cubicBezTo>
                <a:cubicBezTo>
                  <a:pt x="1117307" y="4823511"/>
                  <a:pt x="1117307" y="4823511"/>
                  <a:pt x="1458554" y="4683092"/>
                </a:cubicBezTo>
                <a:cubicBezTo>
                  <a:pt x="1464273" y="4680720"/>
                  <a:pt x="1470231" y="4679652"/>
                  <a:pt x="1476099" y="4679741"/>
                </a:cubicBezTo>
                <a:close/>
                <a:moveTo>
                  <a:pt x="4282901" y="4670538"/>
                </a:moveTo>
                <a:cubicBezTo>
                  <a:pt x="4300482" y="4671342"/>
                  <a:pt x="4317257" y="4683129"/>
                  <a:pt x="4324395" y="4700274"/>
                </a:cubicBezTo>
                <a:cubicBezTo>
                  <a:pt x="4333916" y="4725039"/>
                  <a:pt x="4322492" y="4751709"/>
                  <a:pt x="4297744" y="4761234"/>
                </a:cubicBezTo>
                <a:cubicBezTo>
                  <a:pt x="4297744" y="4761234"/>
                  <a:pt x="4297744" y="4761234"/>
                  <a:pt x="3957011" y="4892679"/>
                </a:cubicBezTo>
                <a:cubicBezTo>
                  <a:pt x="3934167" y="4902204"/>
                  <a:pt x="3907513" y="4890774"/>
                  <a:pt x="3897996" y="4866009"/>
                </a:cubicBezTo>
                <a:cubicBezTo>
                  <a:pt x="3896095" y="4860294"/>
                  <a:pt x="3894189" y="4854579"/>
                  <a:pt x="3894189" y="4848864"/>
                </a:cubicBezTo>
                <a:cubicBezTo>
                  <a:pt x="3894189" y="4829814"/>
                  <a:pt x="3905611" y="4812669"/>
                  <a:pt x="3924649" y="4805049"/>
                </a:cubicBezTo>
                <a:cubicBezTo>
                  <a:pt x="3924649" y="4805049"/>
                  <a:pt x="3924649" y="4805049"/>
                  <a:pt x="4265381" y="4673604"/>
                </a:cubicBezTo>
                <a:cubicBezTo>
                  <a:pt x="4271092" y="4671223"/>
                  <a:pt x="4277042" y="4670270"/>
                  <a:pt x="4282901" y="4670538"/>
                </a:cubicBezTo>
                <a:close/>
                <a:moveTo>
                  <a:pt x="2029448" y="4670538"/>
                </a:moveTo>
                <a:cubicBezTo>
                  <a:pt x="2047822" y="4671342"/>
                  <a:pt x="2064586" y="4683129"/>
                  <a:pt x="2071719" y="4700274"/>
                </a:cubicBezTo>
                <a:cubicBezTo>
                  <a:pt x="2081231" y="4725039"/>
                  <a:pt x="2067915" y="4751709"/>
                  <a:pt x="2045082" y="4761234"/>
                </a:cubicBezTo>
                <a:cubicBezTo>
                  <a:pt x="2045082" y="4761234"/>
                  <a:pt x="2045082" y="4761234"/>
                  <a:pt x="1704573" y="4892679"/>
                </a:cubicBezTo>
                <a:cubicBezTo>
                  <a:pt x="1679843" y="4902204"/>
                  <a:pt x="1653211" y="4890774"/>
                  <a:pt x="1643700" y="4866009"/>
                </a:cubicBezTo>
                <a:cubicBezTo>
                  <a:pt x="1641797" y="4860294"/>
                  <a:pt x="1639895" y="4854579"/>
                  <a:pt x="1639895" y="4848864"/>
                </a:cubicBezTo>
                <a:cubicBezTo>
                  <a:pt x="1639895" y="4829814"/>
                  <a:pt x="1651309" y="4812669"/>
                  <a:pt x="1670332" y="4805049"/>
                </a:cubicBezTo>
                <a:cubicBezTo>
                  <a:pt x="1670332" y="4805049"/>
                  <a:pt x="1670332" y="4805049"/>
                  <a:pt x="2010841" y="4673604"/>
                </a:cubicBezTo>
                <a:cubicBezTo>
                  <a:pt x="2017024" y="4671223"/>
                  <a:pt x="2023325" y="4670270"/>
                  <a:pt x="2029448" y="4670538"/>
                </a:cubicBezTo>
                <a:close/>
                <a:moveTo>
                  <a:pt x="3720839" y="4661025"/>
                </a:moveTo>
                <a:cubicBezTo>
                  <a:pt x="3740053" y="4661915"/>
                  <a:pt x="3756855" y="4674027"/>
                  <a:pt x="3764003" y="4692550"/>
                </a:cubicBezTo>
                <a:cubicBezTo>
                  <a:pt x="3773538" y="4717247"/>
                  <a:pt x="3760192" y="4745744"/>
                  <a:pt x="3735407" y="4755243"/>
                </a:cubicBezTo>
                <a:cubicBezTo>
                  <a:pt x="3735407" y="4755243"/>
                  <a:pt x="3735407" y="4755243"/>
                  <a:pt x="3392273" y="4876830"/>
                </a:cubicBezTo>
                <a:cubicBezTo>
                  <a:pt x="3367488" y="4886329"/>
                  <a:pt x="3340798" y="4873030"/>
                  <a:pt x="3331265" y="4848333"/>
                </a:cubicBezTo>
                <a:cubicBezTo>
                  <a:pt x="3329361" y="4842633"/>
                  <a:pt x="3327453" y="4836934"/>
                  <a:pt x="3327453" y="4831235"/>
                </a:cubicBezTo>
                <a:cubicBezTo>
                  <a:pt x="3327453" y="4812237"/>
                  <a:pt x="3340798" y="4793239"/>
                  <a:pt x="3359861" y="4785640"/>
                </a:cubicBezTo>
                <a:cubicBezTo>
                  <a:pt x="3359861" y="4785640"/>
                  <a:pt x="3359861" y="4785640"/>
                  <a:pt x="3701092" y="4664053"/>
                </a:cubicBezTo>
                <a:cubicBezTo>
                  <a:pt x="3707764" y="4661678"/>
                  <a:pt x="3714436" y="4660728"/>
                  <a:pt x="3720839" y="4661025"/>
                </a:cubicBezTo>
                <a:close/>
                <a:moveTo>
                  <a:pt x="2587339" y="4661025"/>
                </a:moveTo>
                <a:cubicBezTo>
                  <a:pt x="2606552" y="4661915"/>
                  <a:pt x="2623352" y="4674027"/>
                  <a:pt x="2630501" y="4692550"/>
                </a:cubicBezTo>
                <a:cubicBezTo>
                  <a:pt x="2640033" y="4717247"/>
                  <a:pt x="2626688" y="4745744"/>
                  <a:pt x="2601905" y="4755243"/>
                </a:cubicBezTo>
                <a:cubicBezTo>
                  <a:pt x="2601905" y="4755243"/>
                  <a:pt x="2601905" y="4755243"/>
                  <a:pt x="2258757" y="4876830"/>
                </a:cubicBezTo>
                <a:cubicBezTo>
                  <a:pt x="2233974" y="4886329"/>
                  <a:pt x="2207285" y="4873030"/>
                  <a:pt x="2197753" y="4848333"/>
                </a:cubicBezTo>
                <a:cubicBezTo>
                  <a:pt x="2195847" y="4842633"/>
                  <a:pt x="2193940" y="4836934"/>
                  <a:pt x="2193940" y="4831235"/>
                </a:cubicBezTo>
                <a:cubicBezTo>
                  <a:pt x="2193940" y="4812237"/>
                  <a:pt x="2207285" y="4793239"/>
                  <a:pt x="2226348" y="4785640"/>
                </a:cubicBezTo>
                <a:cubicBezTo>
                  <a:pt x="2226348" y="4785640"/>
                  <a:pt x="2226348" y="4785640"/>
                  <a:pt x="2567590" y="4664053"/>
                </a:cubicBezTo>
                <a:cubicBezTo>
                  <a:pt x="2574263" y="4661678"/>
                  <a:pt x="2580935" y="4660728"/>
                  <a:pt x="2587339" y="4661025"/>
                </a:cubicBezTo>
                <a:close/>
                <a:moveTo>
                  <a:pt x="3149675" y="4651825"/>
                </a:moveTo>
                <a:cubicBezTo>
                  <a:pt x="3169412" y="4653256"/>
                  <a:pt x="3187273" y="4666490"/>
                  <a:pt x="3194414" y="4685090"/>
                </a:cubicBezTo>
                <a:cubicBezTo>
                  <a:pt x="3202035" y="4711797"/>
                  <a:pt x="3188702" y="4740412"/>
                  <a:pt x="3162027" y="4748043"/>
                </a:cubicBezTo>
                <a:cubicBezTo>
                  <a:pt x="3162027" y="4748043"/>
                  <a:pt x="3162027" y="4748043"/>
                  <a:pt x="2819126" y="4862503"/>
                </a:cubicBezTo>
                <a:cubicBezTo>
                  <a:pt x="2794360" y="4872042"/>
                  <a:pt x="2765783" y="4856780"/>
                  <a:pt x="2756258" y="4830073"/>
                </a:cubicBezTo>
                <a:cubicBezTo>
                  <a:pt x="2754353" y="4826258"/>
                  <a:pt x="2754353" y="4820535"/>
                  <a:pt x="2754353" y="4814812"/>
                </a:cubicBezTo>
                <a:cubicBezTo>
                  <a:pt x="2754353" y="4793827"/>
                  <a:pt x="2767688" y="4774750"/>
                  <a:pt x="2788646" y="4767120"/>
                </a:cubicBezTo>
                <a:cubicBezTo>
                  <a:pt x="2788646" y="4767120"/>
                  <a:pt x="2788646" y="4767120"/>
                  <a:pt x="3129644" y="4654567"/>
                </a:cubicBezTo>
                <a:cubicBezTo>
                  <a:pt x="3136311" y="4652183"/>
                  <a:pt x="3143098" y="4651348"/>
                  <a:pt x="3149675" y="4651825"/>
                </a:cubicBezTo>
                <a:close/>
                <a:moveTo>
                  <a:pt x="9864585" y="4440631"/>
                </a:moveTo>
                <a:cubicBezTo>
                  <a:pt x="9871274" y="4441819"/>
                  <a:pt x="9877485" y="4445621"/>
                  <a:pt x="9882263" y="4452274"/>
                </a:cubicBezTo>
                <a:cubicBezTo>
                  <a:pt x="9891819" y="4463680"/>
                  <a:pt x="9887997" y="4480789"/>
                  <a:pt x="9876530" y="4488393"/>
                </a:cubicBezTo>
                <a:cubicBezTo>
                  <a:pt x="9876530" y="4488393"/>
                  <a:pt x="9876530" y="4488393"/>
                  <a:pt x="9540160" y="4727913"/>
                </a:cubicBezTo>
                <a:cubicBezTo>
                  <a:pt x="9528693" y="4735517"/>
                  <a:pt x="9511492" y="4733616"/>
                  <a:pt x="9503848" y="4720309"/>
                </a:cubicBezTo>
                <a:cubicBezTo>
                  <a:pt x="9500025" y="4716507"/>
                  <a:pt x="9498114" y="4710804"/>
                  <a:pt x="9498114" y="4705101"/>
                </a:cubicBezTo>
                <a:cubicBezTo>
                  <a:pt x="9498114" y="4697498"/>
                  <a:pt x="9501936" y="4687993"/>
                  <a:pt x="9509581" y="4684191"/>
                </a:cubicBezTo>
                <a:cubicBezTo>
                  <a:pt x="9509581" y="4684191"/>
                  <a:pt x="9509581" y="4684191"/>
                  <a:pt x="9844039" y="4444671"/>
                </a:cubicBezTo>
                <a:cubicBezTo>
                  <a:pt x="9850729" y="4440869"/>
                  <a:pt x="9857896" y="4439443"/>
                  <a:pt x="9864585" y="4440631"/>
                </a:cubicBezTo>
                <a:close/>
                <a:moveTo>
                  <a:pt x="10447906" y="4432309"/>
                </a:moveTo>
                <a:cubicBezTo>
                  <a:pt x="10455055" y="4433740"/>
                  <a:pt x="10461728" y="4438030"/>
                  <a:pt x="10466494" y="4444705"/>
                </a:cubicBezTo>
                <a:cubicBezTo>
                  <a:pt x="10476027" y="4458055"/>
                  <a:pt x="10472214" y="4475218"/>
                  <a:pt x="10458868" y="4484754"/>
                </a:cubicBezTo>
                <a:cubicBezTo>
                  <a:pt x="10458868" y="4484754"/>
                  <a:pt x="10458868" y="4484754"/>
                  <a:pt x="10123316" y="4711694"/>
                </a:cubicBezTo>
                <a:cubicBezTo>
                  <a:pt x="10109970" y="4721230"/>
                  <a:pt x="10092811" y="4717416"/>
                  <a:pt x="10083279" y="4704066"/>
                </a:cubicBezTo>
                <a:cubicBezTo>
                  <a:pt x="10079466" y="4698345"/>
                  <a:pt x="10077559" y="4692624"/>
                  <a:pt x="10077559" y="4686903"/>
                </a:cubicBezTo>
                <a:cubicBezTo>
                  <a:pt x="10077559" y="4679274"/>
                  <a:pt x="10083279" y="4669739"/>
                  <a:pt x="10090905" y="4664018"/>
                </a:cubicBezTo>
                <a:cubicBezTo>
                  <a:pt x="10090905" y="4664018"/>
                  <a:pt x="10090905" y="4664018"/>
                  <a:pt x="10426457" y="4437077"/>
                </a:cubicBezTo>
                <a:cubicBezTo>
                  <a:pt x="10433130" y="4432310"/>
                  <a:pt x="10440756" y="4430879"/>
                  <a:pt x="10447906" y="4432309"/>
                </a:cubicBezTo>
                <a:close/>
                <a:moveTo>
                  <a:pt x="9287428" y="4432309"/>
                </a:moveTo>
                <a:cubicBezTo>
                  <a:pt x="9294577" y="4433740"/>
                  <a:pt x="9301250" y="4438031"/>
                  <a:pt x="9306016" y="4444705"/>
                </a:cubicBezTo>
                <a:cubicBezTo>
                  <a:pt x="9315549" y="4458055"/>
                  <a:pt x="9311736" y="4475218"/>
                  <a:pt x="9298390" y="4484754"/>
                </a:cubicBezTo>
                <a:cubicBezTo>
                  <a:pt x="9298390" y="4484754"/>
                  <a:pt x="9298390" y="4484754"/>
                  <a:pt x="8962838" y="4711694"/>
                </a:cubicBezTo>
                <a:cubicBezTo>
                  <a:pt x="8949492" y="4721230"/>
                  <a:pt x="8932333" y="4717416"/>
                  <a:pt x="8922801" y="4704066"/>
                </a:cubicBezTo>
                <a:cubicBezTo>
                  <a:pt x="8918988" y="4698345"/>
                  <a:pt x="8917081" y="4692624"/>
                  <a:pt x="8917081" y="4686903"/>
                </a:cubicBezTo>
                <a:cubicBezTo>
                  <a:pt x="8917081" y="4679274"/>
                  <a:pt x="8922801" y="4669739"/>
                  <a:pt x="8930427" y="4664018"/>
                </a:cubicBezTo>
                <a:cubicBezTo>
                  <a:pt x="8930427" y="4664018"/>
                  <a:pt x="8930427" y="4664018"/>
                  <a:pt x="9265979" y="4437077"/>
                </a:cubicBezTo>
                <a:cubicBezTo>
                  <a:pt x="9272652" y="4432310"/>
                  <a:pt x="9280278" y="4430879"/>
                  <a:pt x="9287428" y="4432309"/>
                </a:cubicBezTo>
                <a:close/>
                <a:moveTo>
                  <a:pt x="11026206" y="4423012"/>
                </a:moveTo>
                <a:cubicBezTo>
                  <a:pt x="11034058" y="4424677"/>
                  <a:pt x="11041196" y="4429434"/>
                  <a:pt x="11045955" y="4437046"/>
                </a:cubicBezTo>
                <a:cubicBezTo>
                  <a:pt x="11055473" y="4450366"/>
                  <a:pt x="11051666" y="4471298"/>
                  <a:pt x="11036438" y="4478910"/>
                </a:cubicBezTo>
                <a:cubicBezTo>
                  <a:pt x="11036438" y="4478910"/>
                  <a:pt x="11036438" y="4478910"/>
                  <a:pt x="10701418" y="4695840"/>
                </a:cubicBezTo>
                <a:cubicBezTo>
                  <a:pt x="10686190" y="4705355"/>
                  <a:pt x="10667155" y="4699646"/>
                  <a:pt x="10657637" y="4686326"/>
                </a:cubicBezTo>
                <a:cubicBezTo>
                  <a:pt x="10653830" y="4680617"/>
                  <a:pt x="10653830" y="4674908"/>
                  <a:pt x="10653830" y="4669200"/>
                </a:cubicBezTo>
                <a:cubicBezTo>
                  <a:pt x="10653830" y="4657782"/>
                  <a:pt x="10657637" y="4648268"/>
                  <a:pt x="10667155" y="4642559"/>
                </a:cubicBezTo>
                <a:cubicBezTo>
                  <a:pt x="10667155" y="4642559"/>
                  <a:pt x="10667155" y="4642559"/>
                  <a:pt x="11002174" y="4427531"/>
                </a:cubicBezTo>
                <a:cubicBezTo>
                  <a:pt x="11009789" y="4422774"/>
                  <a:pt x="11018354" y="4421347"/>
                  <a:pt x="11026206" y="4423012"/>
                </a:cubicBezTo>
                <a:close/>
                <a:moveTo>
                  <a:pt x="8716363" y="4423012"/>
                </a:moveTo>
                <a:cubicBezTo>
                  <a:pt x="8724214" y="4424677"/>
                  <a:pt x="8731352" y="4429434"/>
                  <a:pt x="8736111" y="4437046"/>
                </a:cubicBezTo>
                <a:cubicBezTo>
                  <a:pt x="8745629" y="4450366"/>
                  <a:pt x="8741822" y="4471298"/>
                  <a:pt x="8726594" y="4478910"/>
                </a:cubicBezTo>
                <a:cubicBezTo>
                  <a:pt x="8726594" y="4478910"/>
                  <a:pt x="8726594" y="4478910"/>
                  <a:pt x="8391574" y="4695840"/>
                </a:cubicBezTo>
                <a:cubicBezTo>
                  <a:pt x="8378249" y="4705355"/>
                  <a:pt x="8357311" y="4699646"/>
                  <a:pt x="8347793" y="4686326"/>
                </a:cubicBezTo>
                <a:cubicBezTo>
                  <a:pt x="8345890" y="4680617"/>
                  <a:pt x="8343986" y="4674908"/>
                  <a:pt x="8343986" y="4669200"/>
                </a:cubicBezTo>
                <a:cubicBezTo>
                  <a:pt x="8343986" y="4657782"/>
                  <a:pt x="8347793" y="4648268"/>
                  <a:pt x="8357311" y="4642559"/>
                </a:cubicBezTo>
                <a:cubicBezTo>
                  <a:pt x="8357311" y="4642559"/>
                  <a:pt x="8357311" y="4642559"/>
                  <a:pt x="8692330" y="4427531"/>
                </a:cubicBezTo>
                <a:cubicBezTo>
                  <a:pt x="8699945" y="4422774"/>
                  <a:pt x="8708511" y="4421347"/>
                  <a:pt x="8716363" y="4423012"/>
                </a:cubicBezTo>
                <a:close/>
                <a:moveTo>
                  <a:pt x="11596714" y="4414431"/>
                </a:moveTo>
                <a:cubicBezTo>
                  <a:pt x="11605055" y="4416570"/>
                  <a:pt x="11612681" y="4421797"/>
                  <a:pt x="11617447" y="4429399"/>
                </a:cubicBezTo>
                <a:cubicBezTo>
                  <a:pt x="11626980" y="4444605"/>
                  <a:pt x="11623167" y="4465512"/>
                  <a:pt x="11606008" y="4475016"/>
                </a:cubicBezTo>
                <a:cubicBezTo>
                  <a:pt x="11606008" y="4475016"/>
                  <a:pt x="11606008" y="4475016"/>
                  <a:pt x="11270463" y="4678388"/>
                </a:cubicBezTo>
                <a:cubicBezTo>
                  <a:pt x="11255211" y="4687892"/>
                  <a:pt x="11234239" y="4684090"/>
                  <a:pt x="11224707" y="4666984"/>
                </a:cubicBezTo>
                <a:cubicBezTo>
                  <a:pt x="11220894" y="4663183"/>
                  <a:pt x="11218987" y="4655580"/>
                  <a:pt x="11218987" y="4649878"/>
                </a:cubicBezTo>
                <a:cubicBezTo>
                  <a:pt x="11218987" y="4638474"/>
                  <a:pt x="11224707" y="4628971"/>
                  <a:pt x="11236146" y="4621368"/>
                </a:cubicBezTo>
                <a:cubicBezTo>
                  <a:pt x="11236146" y="4621368"/>
                  <a:pt x="11236146" y="4621368"/>
                  <a:pt x="11571691" y="4417995"/>
                </a:cubicBezTo>
                <a:cubicBezTo>
                  <a:pt x="11579317" y="4413244"/>
                  <a:pt x="11588373" y="4412293"/>
                  <a:pt x="11596714" y="4414431"/>
                </a:cubicBezTo>
                <a:close/>
                <a:moveTo>
                  <a:pt x="8153380" y="4414431"/>
                </a:moveTo>
                <a:cubicBezTo>
                  <a:pt x="8161721" y="4416570"/>
                  <a:pt x="8169347" y="4421797"/>
                  <a:pt x="8174113" y="4429399"/>
                </a:cubicBezTo>
                <a:cubicBezTo>
                  <a:pt x="8183646" y="4444605"/>
                  <a:pt x="8177926" y="4465512"/>
                  <a:pt x="8162674" y="4475016"/>
                </a:cubicBezTo>
                <a:cubicBezTo>
                  <a:pt x="8162674" y="4475016"/>
                  <a:pt x="8162674" y="4475016"/>
                  <a:pt x="7825222" y="4678388"/>
                </a:cubicBezTo>
                <a:cubicBezTo>
                  <a:pt x="7809970" y="4687892"/>
                  <a:pt x="7788998" y="4684090"/>
                  <a:pt x="7779466" y="4666984"/>
                </a:cubicBezTo>
                <a:cubicBezTo>
                  <a:pt x="7777559" y="4663183"/>
                  <a:pt x="7775653" y="4655580"/>
                  <a:pt x="7775653" y="4649878"/>
                </a:cubicBezTo>
                <a:cubicBezTo>
                  <a:pt x="7775653" y="4638474"/>
                  <a:pt x="7781372" y="4628971"/>
                  <a:pt x="7790905" y="4621368"/>
                </a:cubicBezTo>
                <a:cubicBezTo>
                  <a:pt x="7790905" y="4621368"/>
                  <a:pt x="7790905" y="4621368"/>
                  <a:pt x="8128357" y="4417995"/>
                </a:cubicBezTo>
                <a:cubicBezTo>
                  <a:pt x="8135983" y="4413244"/>
                  <a:pt x="8145039" y="4412293"/>
                  <a:pt x="8153380" y="4414431"/>
                </a:cubicBezTo>
                <a:close/>
                <a:moveTo>
                  <a:pt x="12139750" y="4406904"/>
                </a:moveTo>
                <a:cubicBezTo>
                  <a:pt x="12139750" y="4406904"/>
                  <a:pt x="12139750" y="4406904"/>
                  <a:pt x="12139750" y="4488819"/>
                </a:cubicBezTo>
                <a:cubicBezTo>
                  <a:pt x="12139750" y="4488819"/>
                  <a:pt x="12139750" y="4488819"/>
                  <a:pt x="11834405" y="4664079"/>
                </a:cubicBezTo>
                <a:cubicBezTo>
                  <a:pt x="11817230" y="4673604"/>
                  <a:pt x="11794329" y="4667889"/>
                  <a:pt x="11784787" y="4650744"/>
                </a:cubicBezTo>
                <a:cubicBezTo>
                  <a:pt x="11780970" y="4645029"/>
                  <a:pt x="11780970" y="4639314"/>
                  <a:pt x="11780970" y="4633599"/>
                </a:cubicBezTo>
                <a:cubicBezTo>
                  <a:pt x="11780970" y="4620264"/>
                  <a:pt x="11786695" y="4608834"/>
                  <a:pt x="11798146" y="4601214"/>
                </a:cubicBezTo>
                <a:lnTo>
                  <a:pt x="12135933" y="4408809"/>
                </a:lnTo>
                <a:cubicBezTo>
                  <a:pt x="12137842" y="4408809"/>
                  <a:pt x="12137842" y="4408809"/>
                  <a:pt x="12139750" y="4406904"/>
                </a:cubicBezTo>
                <a:close/>
                <a:moveTo>
                  <a:pt x="7595041" y="4405165"/>
                </a:moveTo>
                <a:cubicBezTo>
                  <a:pt x="7604076" y="4407549"/>
                  <a:pt x="7612160" y="4413271"/>
                  <a:pt x="7616915" y="4421853"/>
                </a:cubicBezTo>
                <a:cubicBezTo>
                  <a:pt x="7626426" y="4439018"/>
                  <a:pt x="7620719" y="4461905"/>
                  <a:pt x="7603601" y="4471441"/>
                </a:cubicBezTo>
                <a:cubicBezTo>
                  <a:pt x="7603601" y="4471441"/>
                  <a:pt x="7603601" y="4471441"/>
                  <a:pt x="7266929" y="4664069"/>
                </a:cubicBezTo>
                <a:cubicBezTo>
                  <a:pt x="7249810" y="4673605"/>
                  <a:pt x="7228887" y="4667883"/>
                  <a:pt x="7219376" y="4650718"/>
                </a:cubicBezTo>
                <a:cubicBezTo>
                  <a:pt x="7215572" y="4644997"/>
                  <a:pt x="7213670" y="4639275"/>
                  <a:pt x="7213670" y="4633553"/>
                </a:cubicBezTo>
                <a:cubicBezTo>
                  <a:pt x="7213670" y="4620203"/>
                  <a:pt x="7219376" y="4608760"/>
                  <a:pt x="7230789" y="4601131"/>
                </a:cubicBezTo>
                <a:cubicBezTo>
                  <a:pt x="7230789" y="4601131"/>
                  <a:pt x="7230789" y="4601131"/>
                  <a:pt x="7567461" y="4408503"/>
                </a:cubicBezTo>
                <a:cubicBezTo>
                  <a:pt x="7576020" y="4403735"/>
                  <a:pt x="7586006" y="4402781"/>
                  <a:pt x="7595041" y="4405165"/>
                </a:cubicBezTo>
                <a:close/>
                <a:moveTo>
                  <a:pt x="7045447" y="4396577"/>
                </a:moveTo>
                <a:cubicBezTo>
                  <a:pt x="7054741" y="4399431"/>
                  <a:pt x="7062844" y="4405615"/>
                  <a:pt x="7067610" y="4414178"/>
                </a:cubicBezTo>
                <a:cubicBezTo>
                  <a:pt x="7077143" y="4433205"/>
                  <a:pt x="7071423" y="4456038"/>
                  <a:pt x="7052359" y="4465552"/>
                </a:cubicBezTo>
                <a:cubicBezTo>
                  <a:pt x="7052359" y="4465552"/>
                  <a:pt x="7052359" y="4465552"/>
                  <a:pt x="6714913" y="4646313"/>
                </a:cubicBezTo>
                <a:cubicBezTo>
                  <a:pt x="6695848" y="4657730"/>
                  <a:pt x="6672970" y="4650119"/>
                  <a:pt x="6663438" y="4631091"/>
                </a:cubicBezTo>
                <a:cubicBezTo>
                  <a:pt x="6661531" y="4625383"/>
                  <a:pt x="6659625" y="4619675"/>
                  <a:pt x="6659625" y="4613966"/>
                </a:cubicBezTo>
                <a:cubicBezTo>
                  <a:pt x="6659625" y="4600647"/>
                  <a:pt x="6667251" y="4587328"/>
                  <a:pt x="6678689" y="4581620"/>
                </a:cubicBezTo>
                <a:cubicBezTo>
                  <a:pt x="6678689" y="4581620"/>
                  <a:pt x="6678689" y="4581620"/>
                  <a:pt x="7016136" y="4398956"/>
                </a:cubicBezTo>
                <a:cubicBezTo>
                  <a:pt x="7025668" y="4394199"/>
                  <a:pt x="7036153" y="4393723"/>
                  <a:pt x="7045447" y="4396577"/>
                </a:cubicBezTo>
                <a:close/>
                <a:moveTo>
                  <a:pt x="6484860" y="4386509"/>
                </a:moveTo>
                <a:cubicBezTo>
                  <a:pt x="6500286" y="4385262"/>
                  <a:pt x="6515979" y="4394170"/>
                  <a:pt x="6523112" y="4408422"/>
                </a:cubicBezTo>
                <a:cubicBezTo>
                  <a:pt x="6532623" y="4427426"/>
                  <a:pt x="6525014" y="4452131"/>
                  <a:pt x="6505992" y="4461632"/>
                </a:cubicBezTo>
                <a:cubicBezTo>
                  <a:pt x="6505992" y="4461632"/>
                  <a:pt x="6505992" y="4461632"/>
                  <a:pt x="6167407" y="4630765"/>
                </a:cubicBezTo>
                <a:cubicBezTo>
                  <a:pt x="6148385" y="4640267"/>
                  <a:pt x="6123657" y="4632665"/>
                  <a:pt x="6114146" y="4613662"/>
                </a:cubicBezTo>
                <a:cubicBezTo>
                  <a:pt x="6112244" y="4607961"/>
                  <a:pt x="6110342" y="4600359"/>
                  <a:pt x="6110342" y="4594658"/>
                </a:cubicBezTo>
                <a:cubicBezTo>
                  <a:pt x="6110342" y="4581355"/>
                  <a:pt x="6117950" y="4566153"/>
                  <a:pt x="6131266" y="4560451"/>
                </a:cubicBezTo>
                <a:cubicBezTo>
                  <a:pt x="6131266" y="4560451"/>
                  <a:pt x="6131266" y="4560451"/>
                  <a:pt x="6469851" y="4391319"/>
                </a:cubicBezTo>
                <a:cubicBezTo>
                  <a:pt x="6474607" y="4388468"/>
                  <a:pt x="6479719" y="4386924"/>
                  <a:pt x="6484860" y="4386509"/>
                </a:cubicBezTo>
                <a:close/>
                <a:moveTo>
                  <a:pt x="5956833" y="4379618"/>
                </a:moveTo>
                <a:cubicBezTo>
                  <a:pt x="5966832" y="4382960"/>
                  <a:pt x="5975405" y="4390122"/>
                  <a:pt x="5980168" y="4400625"/>
                </a:cubicBezTo>
                <a:cubicBezTo>
                  <a:pt x="5989692" y="4421633"/>
                  <a:pt x="5982072" y="4446460"/>
                  <a:pt x="5961117" y="4456009"/>
                </a:cubicBezTo>
                <a:cubicBezTo>
                  <a:pt x="5961117" y="4456009"/>
                  <a:pt x="5961117" y="4456009"/>
                  <a:pt x="5622030" y="4616430"/>
                </a:cubicBezTo>
                <a:cubicBezTo>
                  <a:pt x="5601076" y="4625979"/>
                  <a:pt x="5576311" y="4616430"/>
                  <a:pt x="5564881" y="4595422"/>
                </a:cubicBezTo>
                <a:cubicBezTo>
                  <a:pt x="5562977" y="4589693"/>
                  <a:pt x="5561071" y="4583964"/>
                  <a:pt x="5561071" y="4578234"/>
                </a:cubicBezTo>
                <a:cubicBezTo>
                  <a:pt x="5561071" y="4561046"/>
                  <a:pt x="5570596" y="4547678"/>
                  <a:pt x="5585836" y="4540039"/>
                </a:cubicBezTo>
                <a:cubicBezTo>
                  <a:pt x="5585836" y="4540039"/>
                  <a:pt x="5585836" y="4540039"/>
                  <a:pt x="5924922" y="4381528"/>
                </a:cubicBezTo>
                <a:cubicBezTo>
                  <a:pt x="5935400" y="4376753"/>
                  <a:pt x="5946830" y="4376276"/>
                  <a:pt x="5956833" y="4379618"/>
                </a:cubicBezTo>
                <a:close/>
                <a:moveTo>
                  <a:pt x="398944" y="4379618"/>
                </a:moveTo>
                <a:cubicBezTo>
                  <a:pt x="408946" y="4382960"/>
                  <a:pt x="417518" y="4390121"/>
                  <a:pt x="422281" y="4400625"/>
                </a:cubicBezTo>
                <a:cubicBezTo>
                  <a:pt x="431806" y="4421633"/>
                  <a:pt x="422281" y="4446460"/>
                  <a:pt x="401326" y="4456009"/>
                </a:cubicBezTo>
                <a:cubicBezTo>
                  <a:pt x="401326" y="4456009"/>
                  <a:pt x="401326" y="4456009"/>
                  <a:pt x="62232" y="4616430"/>
                </a:cubicBezTo>
                <a:cubicBezTo>
                  <a:pt x="41276" y="4625979"/>
                  <a:pt x="16511" y="4616430"/>
                  <a:pt x="6986" y="4595422"/>
                </a:cubicBezTo>
                <a:cubicBezTo>
                  <a:pt x="5081" y="4589693"/>
                  <a:pt x="3176" y="4583964"/>
                  <a:pt x="3176" y="4578234"/>
                </a:cubicBezTo>
                <a:cubicBezTo>
                  <a:pt x="3176" y="4561046"/>
                  <a:pt x="12701" y="4547678"/>
                  <a:pt x="27941" y="4540039"/>
                </a:cubicBezTo>
                <a:cubicBezTo>
                  <a:pt x="27941" y="4540039"/>
                  <a:pt x="27941" y="4540039"/>
                  <a:pt x="367035" y="4381528"/>
                </a:cubicBezTo>
                <a:cubicBezTo>
                  <a:pt x="377513" y="4376753"/>
                  <a:pt x="388943" y="4376276"/>
                  <a:pt x="398944" y="4379618"/>
                </a:cubicBezTo>
                <a:close/>
                <a:moveTo>
                  <a:pt x="5410426" y="4371276"/>
                </a:moveTo>
                <a:cubicBezTo>
                  <a:pt x="5420686" y="4375329"/>
                  <a:pt x="5429278" y="4383436"/>
                  <a:pt x="5434051" y="4394881"/>
                </a:cubicBezTo>
                <a:cubicBezTo>
                  <a:pt x="5443597" y="4415863"/>
                  <a:pt x="5434051" y="4442567"/>
                  <a:pt x="5411140" y="4452105"/>
                </a:cubicBezTo>
                <a:cubicBezTo>
                  <a:pt x="5411140" y="4452105"/>
                  <a:pt x="5411140" y="4452105"/>
                  <a:pt x="5071297" y="4598979"/>
                </a:cubicBezTo>
                <a:cubicBezTo>
                  <a:pt x="5048391" y="4608517"/>
                  <a:pt x="5023574" y="4598979"/>
                  <a:pt x="5014028" y="4576090"/>
                </a:cubicBezTo>
                <a:cubicBezTo>
                  <a:pt x="5010210" y="4570367"/>
                  <a:pt x="5010210" y="4564645"/>
                  <a:pt x="5010210" y="4558923"/>
                </a:cubicBezTo>
                <a:cubicBezTo>
                  <a:pt x="5010210" y="4541755"/>
                  <a:pt x="5019755" y="4526496"/>
                  <a:pt x="5036935" y="4518866"/>
                </a:cubicBezTo>
                <a:cubicBezTo>
                  <a:pt x="5036935" y="4518866"/>
                  <a:pt x="5036935" y="4518866"/>
                  <a:pt x="5376776" y="4371991"/>
                </a:cubicBezTo>
                <a:cubicBezTo>
                  <a:pt x="5388231" y="4367223"/>
                  <a:pt x="5400164" y="4367223"/>
                  <a:pt x="5410426" y="4371276"/>
                </a:cubicBezTo>
                <a:close/>
                <a:moveTo>
                  <a:pt x="943805" y="4371276"/>
                </a:moveTo>
                <a:cubicBezTo>
                  <a:pt x="954537" y="4375329"/>
                  <a:pt x="963599" y="4383436"/>
                  <a:pt x="968368" y="4394881"/>
                </a:cubicBezTo>
                <a:cubicBezTo>
                  <a:pt x="977908" y="4415863"/>
                  <a:pt x="966461" y="4442567"/>
                  <a:pt x="945475" y="4452105"/>
                </a:cubicBezTo>
                <a:cubicBezTo>
                  <a:pt x="945475" y="4452105"/>
                  <a:pt x="945475" y="4452105"/>
                  <a:pt x="603977" y="4598979"/>
                </a:cubicBezTo>
                <a:cubicBezTo>
                  <a:pt x="581084" y="4608517"/>
                  <a:pt x="556282" y="4598979"/>
                  <a:pt x="546743" y="4576090"/>
                </a:cubicBezTo>
                <a:cubicBezTo>
                  <a:pt x="544835" y="4570367"/>
                  <a:pt x="542927" y="4564645"/>
                  <a:pt x="542927" y="4558923"/>
                </a:cubicBezTo>
                <a:cubicBezTo>
                  <a:pt x="542927" y="4541755"/>
                  <a:pt x="552466" y="4526496"/>
                  <a:pt x="569637" y="4518866"/>
                </a:cubicBezTo>
                <a:cubicBezTo>
                  <a:pt x="569637" y="4518866"/>
                  <a:pt x="569637" y="4518866"/>
                  <a:pt x="909226" y="4371991"/>
                </a:cubicBezTo>
                <a:cubicBezTo>
                  <a:pt x="920673" y="4367223"/>
                  <a:pt x="933074" y="4367223"/>
                  <a:pt x="943805" y="4371276"/>
                </a:cubicBezTo>
                <a:close/>
                <a:moveTo>
                  <a:pt x="4841668" y="4359082"/>
                </a:moveTo>
                <a:cubicBezTo>
                  <a:pt x="4859264" y="4359350"/>
                  <a:pt x="4876053" y="4370051"/>
                  <a:pt x="4883197" y="4387173"/>
                </a:cubicBezTo>
                <a:cubicBezTo>
                  <a:pt x="4892723" y="4411906"/>
                  <a:pt x="4881294" y="4438541"/>
                  <a:pt x="4856524" y="4448053"/>
                </a:cubicBezTo>
                <a:cubicBezTo>
                  <a:pt x="4856524" y="4448053"/>
                  <a:pt x="4856524" y="4448053"/>
                  <a:pt x="4517434" y="4583129"/>
                </a:cubicBezTo>
                <a:cubicBezTo>
                  <a:pt x="4492670" y="4592642"/>
                  <a:pt x="4465999" y="4581227"/>
                  <a:pt x="4456473" y="4556495"/>
                </a:cubicBezTo>
                <a:cubicBezTo>
                  <a:pt x="4454569" y="4550787"/>
                  <a:pt x="4454569" y="4545080"/>
                  <a:pt x="4454569" y="4539372"/>
                </a:cubicBezTo>
                <a:cubicBezTo>
                  <a:pt x="4454569" y="4522250"/>
                  <a:pt x="4464094" y="4505127"/>
                  <a:pt x="4483145" y="4497518"/>
                </a:cubicBezTo>
                <a:cubicBezTo>
                  <a:pt x="4483145" y="4497518"/>
                  <a:pt x="4483145" y="4497518"/>
                  <a:pt x="4824132" y="4362441"/>
                </a:cubicBezTo>
                <a:cubicBezTo>
                  <a:pt x="4829847" y="4360063"/>
                  <a:pt x="4835802" y="4358993"/>
                  <a:pt x="4841668" y="4359082"/>
                </a:cubicBezTo>
                <a:close/>
                <a:moveTo>
                  <a:pt x="1477208" y="4359082"/>
                </a:moveTo>
                <a:cubicBezTo>
                  <a:pt x="1495514" y="4359350"/>
                  <a:pt x="1511945" y="4370051"/>
                  <a:pt x="1517660" y="4387173"/>
                </a:cubicBezTo>
                <a:cubicBezTo>
                  <a:pt x="1527185" y="4411906"/>
                  <a:pt x="1515755" y="4438541"/>
                  <a:pt x="1492894" y="4448053"/>
                </a:cubicBezTo>
                <a:cubicBezTo>
                  <a:pt x="1492894" y="4448053"/>
                  <a:pt x="1492894" y="4448053"/>
                  <a:pt x="1151895" y="4583129"/>
                </a:cubicBezTo>
                <a:cubicBezTo>
                  <a:pt x="1129035" y="4592642"/>
                  <a:pt x="1102365" y="4581227"/>
                  <a:pt x="1092840" y="4556495"/>
                </a:cubicBezTo>
                <a:cubicBezTo>
                  <a:pt x="1090934" y="4550787"/>
                  <a:pt x="1089029" y="4545080"/>
                  <a:pt x="1089029" y="4539372"/>
                </a:cubicBezTo>
                <a:cubicBezTo>
                  <a:pt x="1089029" y="4522250"/>
                  <a:pt x="1100460" y="4505127"/>
                  <a:pt x="1117605" y="4497518"/>
                </a:cubicBezTo>
                <a:cubicBezTo>
                  <a:pt x="1117605" y="4497518"/>
                  <a:pt x="1117605" y="4497518"/>
                  <a:pt x="1458604" y="4362441"/>
                </a:cubicBezTo>
                <a:cubicBezTo>
                  <a:pt x="1464795" y="4360063"/>
                  <a:pt x="1471106" y="4358993"/>
                  <a:pt x="1477208" y="4359082"/>
                </a:cubicBezTo>
                <a:close/>
                <a:moveTo>
                  <a:pt x="4284027" y="4349919"/>
                </a:moveTo>
                <a:cubicBezTo>
                  <a:pt x="4302829" y="4350816"/>
                  <a:pt x="4320295" y="4363010"/>
                  <a:pt x="4325998" y="4381660"/>
                </a:cubicBezTo>
                <a:cubicBezTo>
                  <a:pt x="4335503" y="4406527"/>
                  <a:pt x="4322195" y="4435219"/>
                  <a:pt x="4297483" y="4442870"/>
                </a:cubicBezTo>
                <a:cubicBezTo>
                  <a:pt x="4297483" y="4442870"/>
                  <a:pt x="4297483" y="4442870"/>
                  <a:pt x="3957235" y="4569116"/>
                </a:cubicBezTo>
                <a:cubicBezTo>
                  <a:pt x="3932522" y="4576767"/>
                  <a:pt x="3904008" y="4565290"/>
                  <a:pt x="3896403" y="4538511"/>
                </a:cubicBezTo>
                <a:cubicBezTo>
                  <a:pt x="3894503" y="4534685"/>
                  <a:pt x="3892602" y="4528946"/>
                  <a:pt x="3892602" y="4523208"/>
                </a:cubicBezTo>
                <a:cubicBezTo>
                  <a:pt x="3892602" y="4502167"/>
                  <a:pt x="3904008" y="4484952"/>
                  <a:pt x="3924918" y="4477301"/>
                </a:cubicBezTo>
                <a:cubicBezTo>
                  <a:pt x="3924918" y="4477301"/>
                  <a:pt x="3924918" y="4477301"/>
                  <a:pt x="4265165" y="4352968"/>
                </a:cubicBezTo>
                <a:cubicBezTo>
                  <a:pt x="4271344" y="4350577"/>
                  <a:pt x="4277760" y="4349620"/>
                  <a:pt x="4284027" y="4349919"/>
                </a:cubicBezTo>
                <a:close/>
                <a:moveTo>
                  <a:pt x="2029782" y="4349919"/>
                </a:moveTo>
                <a:cubicBezTo>
                  <a:pt x="2048677" y="4350816"/>
                  <a:pt x="2066499" y="4363010"/>
                  <a:pt x="2073629" y="4381660"/>
                </a:cubicBezTo>
                <a:cubicBezTo>
                  <a:pt x="2081232" y="4406527"/>
                  <a:pt x="2069826" y="4435219"/>
                  <a:pt x="2045109" y="4442870"/>
                </a:cubicBezTo>
                <a:cubicBezTo>
                  <a:pt x="2045109" y="4442870"/>
                  <a:pt x="2045109" y="4442870"/>
                  <a:pt x="1702940" y="4569116"/>
                </a:cubicBezTo>
                <a:cubicBezTo>
                  <a:pt x="1678228" y="4576767"/>
                  <a:pt x="1651615" y="4565290"/>
                  <a:pt x="1642110" y="4538511"/>
                </a:cubicBezTo>
                <a:cubicBezTo>
                  <a:pt x="1640209" y="4534685"/>
                  <a:pt x="1638308" y="4528946"/>
                  <a:pt x="1638308" y="4523208"/>
                </a:cubicBezTo>
                <a:cubicBezTo>
                  <a:pt x="1638308" y="4502167"/>
                  <a:pt x="1651615" y="4484952"/>
                  <a:pt x="1670624" y="4477301"/>
                </a:cubicBezTo>
                <a:cubicBezTo>
                  <a:pt x="1670624" y="4477301"/>
                  <a:pt x="1670624" y="4477301"/>
                  <a:pt x="2010892" y="4352968"/>
                </a:cubicBezTo>
                <a:cubicBezTo>
                  <a:pt x="2017070" y="4350577"/>
                  <a:pt x="2023486" y="4349620"/>
                  <a:pt x="2029782" y="4349919"/>
                </a:cubicBezTo>
                <a:close/>
                <a:moveTo>
                  <a:pt x="3722769" y="4341198"/>
                </a:moveTo>
                <a:cubicBezTo>
                  <a:pt x="3742403" y="4342989"/>
                  <a:pt x="3759894" y="4355526"/>
                  <a:pt x="3765602" y="4375585"/>
                </a:cubicBezTo>
                <a:cubicBezTo>
                  <a:pt x="3775123" y="4402330"/>
                  <a:pt x="3759894" y="4430986"/>
                  <a:pt x="3733240" y="4438627"/>
                </a:cubicBezTo>
                <a:cubicBezTo>
                  <a:pt x="3733240" y="4438627"/>
                  <a:pt x="3733240" y="4438627"/>
                  <a:pt x="3392498" y="4551340"/>
                </a:cubicBezTo>
                <a:cubicBezTo>
                  <a:pt x="3365843" y="4560892"/>
                  <a:pt x="3337287" y="4545609"/>
                  <a:pt x="3329674" y="4518863"/>
                </a:cubicBezTo>
                <a:cubicBezTo>
                  <a:pt x="3327768" y="4515043"/>
                  <a:pt x="3325864" y="4509311"/>
                  <a:pt x="3325864" y="4503580"/>
                </a:cubicBezTo>
                <a:cubicBezTo>
                  <a:pt x="3325864" y="4482566"/>
                  <a:pt x="3339192" y="4463462"/>
                  <a:pt x="3360130" y="4455821"/>
                </a:cubicBezTo>
                <a:cubicBezTo>
                  <a:pt x="3360130" y="4455821"/>
                  <a:pt x="3360130" y="4455821"/>
                  <a:pt x="3702782" y="4343108"/>
                </a:cubicBezTo>
                <a:cubicBezTo>
                  <a:pt x="3709444" y="4341198"/>
                  <a:pt x="3716226" y="4340601"/>
                  <a:pt x="3722769" y="4341198"/>
                </a:cubicBezTo>
                <a:close/>
                <a:moveTo>
                  <a:pt x="2589270" y="4341198"/>
                </a:moveTo>
                <a:cubicBezTo>
                  <a:pt x="2608901" y="4342989"/>
                  <a:pt x="2626391" y="4355526"/>
                  <a:pt x="2632103" y="4375585"/>
                </a:cubicBezTo>
                <a:cubicBezTo>
                  <a:pt x="2641621" y="4402330"/>
                  <a:pt x="2626391" y="4430986"/>
                  <a:pt x="2599739" y="4438627"/>
                </a:cubicBezTo>
                <a:cubicBezTo>
                  <a:pt x="2599739" y="4438627"/>
                  <a:pt x="2599739" y="4438627"/>
                  <a:pt x="2258981" y="4551340"/>
                </a:cubicBezTo>
                <a:cubicBezTo>
                  <a:pt x="2232330" y="4560892"/>
                  <a:pt x="2203775" y="4545609"/>
                  <a:pt x="2196160" y="4518863"/>
                </a:cubicBezTo>
                <a:cubicBezTo>
                  <a:pt x="2194257" y="4515043"/>
                  <a:pt x="2192353" y="4509311"/>
                  <a:pt x="2192353" y="4503580"/>
                </a:cubicBezTo>
                <a:cubicBezTo>
                  <a:pt x="2192353" y="4482566"/>
                  <a:pt x="2205679" y="4463462"/>
                  <a:pt x="2226618" y="4455821"/>
                </a:cubicBezTo>
                <a:cubicBezTo>
                  <a:pt x="2226618" y="4455821"/>
                  <a:pt x="2226618" y="4455821"/>
                  <a:pt x="2569281" y="4343108"/>
                </a:cubicBezTo>
                <a:cubicBezTo>
                  <a:pt x="2575943" y="4341198"/>
                  <a:pt x="2582725" y="4340601"/>
                  <a:pt x="2589270" y="4341198"/>
                </a:cubicBezTo>
                <a:close/>
                <a:moveTo>
                  <a:pt x="3152169" y="4331993"/>
                </a:moveTo>
                <a:cubicBezTo>
                  <a:pt x="3172559" y="4334408"/>
                  <a:pt x="3190013" y="4348358"/>
                  <a:pt x="3195709" y="4369821"/>
                </a:cubicBezTo>
                <a:cubicBezTo>
                  <a:pt x="3205209" y="4396530"/>
                  <a:pt x="3188113" y="4427055"/>
                  <a:pt x="3161515" y="4434686"/>
                </a:cubicBezTo>
                <a:cubicBezTo>
                  <a:pt x="3161515" y="4434686"/>
                  <a:pt x="3161515" y="4434686"/>
                  <a:pt x="2819566" y="4535799"/>
                </a:cubicBezTo>
                <a:cubicBezTo>
                  <a:pt x="2791073" y="4543430"/>
                  <a:pt x="2762578" y="4528167"/>
                  <a:pt x="2753078" y="4499551"/>
                </a:cubicBezTo>
                <a:cubicBezTo>
                  <a:pt x="2753078" y="4495735"/>
                  <a:pt x="2751179" y="4490012"/>
                  <a:pt x="2751179" y="4486196"/>
                </a:cubicBezTo>
                <a:cubicBezTo>
                  <a:pt x="2751179" y="4463303"/>
                  <a:pt x="2766377" y="4442317"/>
                  <a:pt x="2789170" y="4434686"/>
                </a:cubicBezTo>
                <a:cubicBezTo>
                  <a:pt x="2789170" y="4434686"/>
                  <a:pt x="2789170" y="4434686"/>
                  <a:pt x="3131122" y="4333573"/>
                </a:cubicBezTo>
                <a:cubicBezTo>
                  <a:pt x="3138245" y="4331665"/>
                  <a:pt x="3145370" y="4331188"/>
                  <a:pt x="3152169" y="4331993"/>
                </a:cubicBezTo>
                <a:close/>
                <a:moveTo>
                  <a:pt x="9861856" y="4113368"/>
                </a:moveTo>
                <a:cubicBezTo>
                  <a:pt x="9868037" y="4114318"/>
                  <a:pt x="9873743" y="4117645"/>
                  <a:pt x="9877547" y="4123348"/>
                </a:cubicBezTo>
                <a:cubicBezTo>
                  <a:pt x="9887056" y="4132854"/>
                  <a:pt x="9885154" y="4149964"/>
                  <a:pt x="9873743" y="4157568"/>
                </a:cubicBezTo>
                <a:cubicBezTo>
                  <a:pt x="9873743" y="4157568"/>
                  <a:pt x="9873743" y="4157568"/>
                  <a:pt x="9540914" y="4410411"/>
                </a:cubicBezTo>
                <a:cubicBezTo>
                  <a:pt x="9531404" y="4418016"/>
                  <a:pt x="9516189" y="4416115"/>
                  <a:pt x="9506680" y="4404708"/>
                </a:cubicBezTo>
                <a:cubicBezTo>
                  <a:pt x="9502876" y="4400906"/>
                  <a:pt x="9502876" y="4395203"/>
                  <a:pt x="9502876" y="4391401"/>
                </a:cubicBezTo>
                <a:cubicBezTo>
                  <a:pt x="9502876" y="4383796"/>
                  <a:pt x="9504778" y="4376192"/>
                  <a:pt x="9512385" y="4370489"/>
                </a:cubicBezTo>
                <a:cubicBezTo>
                  <a:pt x="9512385" y="4370489"/>
                  <a:pt x="9512385" y="4370489"/>
                  <a:pt x="9843313" y="4117645"/>
                </a:cubicBezTo>
                <a:cubicBezTo>
                  <a:pt x="9849018" y="4113843"/>
                  <a:pt x="9855675" y="4112417"/>
                  <a:pt x="9861856" y="4113368"/>
                </a:cubicBezTo>
                <a:close/>
                <a:moveTo>
                  <a:pt x="10446896" y="4105427"/>
                </a:moveTo>
                <a:cubicBezTo>
                  <a:pt x="10453802" y="4106377"/>
                  <a:pt x="10460470" y="4109700"/>
                  <a:pt x="10465232" y="4115397"/>
                </a:cubicBezTo>
                <a:cubicBezTo>
                  <a:pt x="10472852" y="4128690"/>
                  <a:pt x="10470947" y="4145780"/>
                  <a:pt x="10459517" y="4153376"/>
                </a:cubicBezTo>
                <a:cubicBezTo>
                  <a:pt x="10459517" y="4153376"/>
                  <a:pt x="10459517" y="4153376"/>
                  <a:pt x="10124233" y="4392647"/>
                </a:cubicBezTo>
                <a:cubicBezTo>
                  <a:pt x="10112802" y="4402142"/>
                  <a:pt x="10095657" y="4398344"/>
                  <a:pt x="10088037" y="4386950"/>
                </a:cubicBezTo>
                <a:cubicBezTo>
                  <a:pt x="10084227" y="4381253"/>
                  <a:pt x="10082322" y="4375556"/>
                  <a:pt x="10082322" y="4369859"/>
                </a:cubicBezTo>
                <a:cubicBezTo>
                  <a:pt x="10082322" y="4362263"/>
                  <a:pt x="10086132" y="4354667"/>
                  <a:pt x="10093752" y="4348970"/>
                </a:cubicBezTo>
                <a:cubicBezTo>
                  <a:pt x="10093752" y="4348970"/>
                  <a:pt x="10093752" y="4348970"/>
                  <a:pt x="10427131" y="4109700"/>
                </a:cubicBezTo>
                <a:cubicBezTo>
                  <a:pt x="10432846" y="4105902"/>
                  <a:pt x="10439990" y="4104478"/>
                  <a:pt x="10446896" y="4105427"/>
                </a:cubicBezTo>
                <a:close/>
                <a:moveTo>
                  <a:pt x="9286179" y="4105427"/>
                </a:moveTo>
                <a:cubicBezTo>
                  <a:pt x="9292847" y="4106377"/>
                  <a:pt x="9299038" y="4109700"/>
                  <a:pt x="9302848" y="4115397"/>
                </a:cubicBezTo>
                <a:cubicBezTo>
                  <a:pt x="9312373" y="4128690"/>
                  <a:pt x="9310468" y="4145780"/>
                  <a:pt x="9297133" y="4153376"/>
                </a:cubicBezTo>
                <a:cubicBezTo>
                  <a:pt x="9297133" y="4153376"/>
                  <a:pt x="9297133" y="4153376"/>
                  <a:pt x="8963754" y="4392647"/>
                </a:cubicBezTo>
                <a:cubicBezTo>
                  <a:pt x="8952323" y="4402142"/>
                  <a:pt x="8935178" y="4398344"/>
                  <a:pt x="8925653" y="4386950"/>
                </a:cubicBezTo>
                <a:cubicBezTo>
                  <a:pt x="8921843" y="4381253"/>
                  <a:pt x="8921843" y="4375556"/>
                  <a:pt x="8921843" y="4369859"/>
                </a:cubicBezTo>
                <a:cubicBezTo>
                  <a:pt x="8921843" y="4362263"/>
                  <a:pt x="8925653" y="4354667"/>
                  <a:pt x="8931368" y="4348970"/>
                </a:cubicBezTo>
                <a:cubicBezTo>
                  <a:pt x="8931368" y="4348970"/>
                  <a:pt x="8931368" y="4348970"/>
                  <a:pt x="9266652" y="4109700"/>
                </a:cubicBezTo>
                <a:cubicBezTo>
                  <a:pt x="9272368" y="4105902"/>
                  <a:pt x="9279512" y="4104478"/>
                  <a:pt x="9286179" y="4105427"/>
                </a:cubicBezTo>
                <a:close/>
                <a:moveTo>
                  <a:pt x="11024810" y="4097347"/>
                </a:moveTo>
                <a:cubicBezTo>
                  <a:pt x="11032437" y="4098777"/>
                  <a:pt x="11039586" y="4103068"/>
                  <a:pt x="11044352" y="4109742"/>
                </a:cubicBezTo>
                <a:cubicBezTo>
                  <a:pt x="11053885" y="4123092"/>
                  <a:pt x="11050072" y="4142163"/>
                  <a:pt x="11036726" y="4149791"/>
                </a:cubicBezTo>
                <a:cubicBezTo>
                  <a:pt x="11036726" y="4149791"/>
                  <a:pt x="11036726" y="4149791"/>
                  <a:pt x="10701174" y="4376731"/>
                </a:cubicBezTo>
                <a:cubicBezTo>
                  <a:pt x="10687828" y="4386267"/>
                  <a:pt x="10668763" y="4382453"/>
                  <a:pt x="10659230" y="4369103"/>
                </a:cubicBezTo>
                <a:cubicBezTo>
                  <a:pt x="10657324" y="4363382"/>
                  <a:pt x="10655417" y="4357661"/>
                  <a:pt x="10655417" y="4351940"/>
                </a:cubicBezTo>
                <a:cubicBezTo>
                  <a:pt x="10655417" y="4342404"/>
                  <a:pt x="10659230" y="4332869"/>
                  <a:pt x="10668763" y="4327148"/>
                </a:cubicBezTo>
                <a:cubicBezTo>
                  <a:pt x="10668763" y="4327148"/>
                  <a:pt x="10668763" y="4327148"/>
                  <a:pt x="11002408" y="4102114"/>
                </a:cubicBezTo>
                <a:cubicBezTo>
                  <a:pt x="11009081" y="4097346"/>
                  <a:pt x="11017184" y="4095916"/>
                  <a:pt x="11024810" y="4097347"/>
                </a:cubicBezTo>
                <a:close/>
                <a:moveTo>
                  <a:pt x="8715681" y="4097347"/>
                </a:moveTo>
                <a:cubicBezTo>
                  <a:pt x="8723069" y="4098777"/>
                  <a:pt x="8729742" y="4103068"/>
                  <a:pt x="8734508" y="4109742"/>
                </a:cubicBezTo>
                <a:cubicBezTo>
                  <a:pt x="8744041" y="4123092"/>
                  <a:pt x="8740228" y="4142163"/>
                  <a:pt x="8726882" y="4149791"/>
                </a:cubicBezTo>
                <a:cubicBezTo>
                  <a:pt x="8726882" y="4149791"/>
                  <a:pt x="8726882" y="4149791"/>
                  <a:pt x="8391330" y="4376731"/>
                </a:cubicBezTo>
                <a:cubicBezTo>
                  <a:pt x="8377984" y="4386267"/>
                  <a:pt x="8358919" y="4382453"/>
                  <a:pt x="8351293" y="4369103"/>
                </a:cubicBezTo>
                <a:cubicBezTo>
                  <a:pt x="8347480" y="4363382"/>
                  <a:pt x="8345573" y="4357661"/>
                  <a:pt x="8345573" y="4351940"/>
                </a:cubicBezTo>
                <a:cubicBezTo>
                  <a:pt x="8345573" y="4342404"/>
                  <a:pt x="8349386" y="4332869"/>
                  <a:pt x="8358919" y="4327148"/>
                </a:cubicBezTo>
                <a:cubicBezTo>
                  <a:pt x="8358919" y="4327148"/>
                  <a:pt x="8358919" y="4327148"/>
                  <a:pt x="8692564" y="4102114"/>
                </a:cubicBezTo>
                <a:cubicBezTo>
                  <a:pt x="8700190" y="4097347"/>
                  <a:pt x="8708293" y="4095916"/>
                  <a:pt x="8715681" y="4097347"/>
                </a:cubicBezTo>
                <a:close/>
                <a:moveTo>
                  <a:pt x="11596149" y="4089007"/>
                </a:moveTo>
                <a:cubicBezTo>
                  <a:pt x="11603995" y="4091150"/>
                  <a:pt x="11611128" y="4096389"/>
                  <a:pt x="11615883" y="4104009"/>
                </a:cubicBezTo>
                <a:cubicBezTo>
                  <a:pt x="11625393" y="4117344"/>
                  <a:pt x="11621589" y="4138299"/>
                  <a:pt x="11606373" y="4147824"/>
                </a:cubicBezTo>
                <a:cubicBezTo>
                  <a:pt x="11606373" y="4147824"/>
                  <a:pt x="11606373" y="4147824"/>
                  <a:pt x="11271615" y="4359279"/>
                </a:cubicBezTo>
                <a:cubicBezTo>
                  <a:pt x="11256399" y="4368804"/>
                  <a:pt x="11237378" y="4364994"/>
                  <a:pt x="11227868" y="4349754"/>
                </a:cubicBezTo>
                <a:cubicBezTo>
                  <a:pt x="11224064" y="4344039"/>
                  <a:pt x="11222162" y="4338324"/>
                  <a:pt x="11222162" y="4332609"/>
                </a:cubicBezTo>
                <a:cubicBezTo>
                  <a:pt x="11222162" y="4321179"/>
                  <a:pt x="11227868" y="4311654"/>
                  <a:pt x="11237378" y="4305939"/>
                </a:cubicBezTo>
                <a:cubicBezTo>
                  <a:pt x="11237378" y="4305939"/>
                  <a:pt x="11237378" y="4305939"/>
                  <a:pt x="11572136" y="4092579"/>
                </a:cubicBezTo>
                <a:cubicBezTo>
                  <a:pt x="11579744" y="4087816"/>
                  <a:pt x="11588303" y="4086864"/>
                  <a:pt x="11596149" y="4089007"/>
                </a:cubicBezTo>
                <a:close/>
                <a:moveTo>
                  <a:pt x="8152699" y="4089007"/>
                </a:moveTo>
                <a:cubicBezTo>
                  <a:pt x="8160576" y="4091150"/>
                  <a:pt x="8167736" y="4096389"/>
                  <a:pt x="8172510" y="4104009"/>
                </a:cubicBezTo>
                <a:cubicBezTo>
                  <a:pt x="8182058" y="4117344"/>
                  <a:pt x="8176329" y="4138299"/>
                  <a:pt x="8162963" y="4147824"/>
                </a:cubicBezTo>
                <a:cubicBezTo>
                  <a:pt x="8162963" y="4147824"/>
                  <a:pt x="8162963" y="4147824"/>
                  <a:pt x="7824978" y="4359279"/>
                </a:cubicBezTo>
                <a:cubicBezTo>
                  <a:pt x="7811611" y="4368804"/>
                  <a:pt x="7790606" y="4364994"/>
                  <a:pt x="7781059" y="4349754"/>
                </a:cubicBezTo>
                <a:cubicBezTo>
                  <a:pt x="7779149" y="4344039"/>
                  <a:pt x="7777240" y="4338324"/>
                  <a:pt x="7777240" y="4332609"/>
                </a:cubicBezTo>
                <a:cubicBezTo>
                  <a:pt x="7777240" y="4321179"/>
                  <a:pt x="7781059" y="4311654"/>
                  <a:pt x="7792516" y="4305939"/>
                </a:cubicBezTo>
                <a:cubicBezTo>
                  <a:pt x="7792516" y="4305939"/>
                  <a:pt x="7792516" y="4305939"/>
                  <a:pt x="8128591" y="4092579"/>
                </a:cubicBezTo>
                <a:cubicBezTo>
                  <a:pt x="8136229" y="4087816"/>
                  <a:pt x="8144822" y="4086864"/>
                  <a:pt x="8152699" y="4089007"/>
                </a:cubicBezTo>
                <a:close/>
                <a:moveTo>
                  <a:pt x="12139750" y="4083054"/>
                </a:moveTo>
                <a:cubicBezTo>
                  <a:pt x="12139750" y="4083054"/>
                  <a:pt x="12139750" y="4083054"/>
                  <a:pt x="12139750" y="4162969"/>
                </a:cubicBezTo>
                <a:cubicBezTo>
                  <a:pt x="12139750" y="4162969"/>
                  <a:pt x="12139750" y="4162969"/>
                  <a:pt x="11834405" y="4341828"/>
                </a:cubicBezTo>
                <a:cubicBezTo>
                  <a:pt x="11817230" y="4351342"/>
                  <a:pt x="11796237" y="4347536"/>
                  <a:pt x="11786695" y="4330411"/>
                </a:cubicBezTo>
                <a:cubicBezTo>
                  <a:pt x="11782878" y="4324703"/>
                  <a:pt x="11780970" y="4318995"/>
                  <a:pt x="11780970" y="4313287"/>
                </a:cubicBezTo>
                <a:cubicBezTo>
                  <a:pt x="11780970" y="4301870"/>
                  <a:pt x="11788604" y="4290454"/>
                  <a:pt x="11798146" y="4282843"/>
                </a:cubicBezTo>
                <a:lnTo>
                  <a:pt x="12135933" y="4084957"/>
                </a:lnTo>
                <a:cubicBezTo>
                  <a:pt x="12137842" y="4084957"/>
                  <a:pt x="12137842" y="4083054"/>
                  <a:pt x="12139750" y="4083054"/>
                </a:cubicBezTo>
                <a:close/>
                <a:moveTo>
                  <a:pt x="7594358" y="4081069"/>
                </a:moveTo>
                <a:cubicBezTo>
                  <a:pt x="7602931" y="4083212"/>
                  <a:pt x="7610551" y="4088451"/>
                  <a:pt x="7615314" y="4096071"/>
                </a:cubicBezTo>
                <a:cubicBezTo>
                  <a:pt x="7624839" y="4113216"/>
                  <a:pt x="7619124" y="4134171"/>
                  <a:pt x="7603883" y="4143696"/>
                </a:cubicBezTo>
                <a:cubicBezTo>
                  <a:pt x="7603883" y="4143696"/>
                  <a:pt x="7603883" y="4143696"/>
                  <a:pt x="7266694" y="4341816"/>
                </a:cubicBezTo>
                <a:cubicBezTo>
                  <a:pt x="7249548" y="4351341"/>
                  <a:pt x="7228593" y="4347531"/>
                  <a:pt x="7219068" y="4330386"/>
                </a:cubicBezTo>
                <a:cubicBezTo>
                  <a:pt x="7217163" y="4324671"/>
                  <a:pt x="7215258" y="4318956"/>
                  <a:pt x="7215258" y="4313241"/>
                </a:cubicBezTo>
                <a:cubicBezTo>
                  <a:pt x="7215258" y="4301811"/>
                  <a:pt x="7220973" y="4290381"/>
                  <a:pt x="7232403" y="4282761"/>
                </a:cubicBezTo>
                <a:cubicBezTo>
                  <a:pt x="7232403" y="4282761"/>
                  <a:pt x="7232403" y="4282761"/>
                  <a:pt x="7567688" y="4084641"/>
                </a:cubicBezTo>
                <a:cubicBezTo>
                  <a:pt x="7576260" y="4079878"/>
                  <a:pt x="7585786" y="4078926"/>
                  <a:pt x="7594358" y="4081069"/>
                </a:cubicBezTo>
                <a:close/>
                <a:moveTo>
                  <a:pt x="7045448" y="4072718"/>
                </a:moveTo>
                <a:cubicBezTo>
                  <a:pt x="7054741" y="4075569"/>
                  <a:pt x="7062844" y="4081745"/>
                  <a:pt x="7067610" y="4090298"/>
                </a:cubicBezTo>
                <a:cubicBezTo>
                  <a:pt x="7077143" y="4109303"/>
                  <a:pt x="7069517" y="4130209"/>
                  <a:pt x="7052359" y="4141612"/>
                </a:cubicBezTo>
                <a:cubicBezTo>
                  <a:pt x="7052359" y="4141612"/>
                  <a:pt x="7052359" y="4141612"/>
                  <a:pt x="6714913" y="4325963"/>
                </a:cubicBezTo>
                <a:cubicBezTo>
                  <a:pt x="6697754" y="4335466"/>
                  <a:pt x="6674877" y="4327864"/>
                  <a:pt x="6665344" y="4310759"/>
                </a:cubicBezTo>
                <a:cubicBezTo>
                  <a:pt x="6661531" y="4305057"/>
                  <a:pt x="6659625" y="4299356"/>
                  <a:pt x="6659625" y="4293654"/>
                </a:cubicBezTo>
                <a:cubicBezTo>
                  <a:pt x="6659625" y="4280350"/>
                  <a:pt x="6667251" y="4267047"/>
                  <a:pt x="6678689" y="4259445"/>
                </a:cubicBezTo>
                <a:cubicBezTo>
                  <a:pt x="6678689" y="4259445"/>
                  <a:pt x="6678689" y="4259445"/>
                  <a:pt x="7016136" y="4075094"/>
                </a:cubicBezTo>
                <a:cubicBezTo>
                  <a:pt x="7025668" y="4070342"/>
                  <a:pt x="7036154" y="4069867"/>
                  <a:pt x="7045448" y="4072718"/>
                </a:cubicBezTo>
                <a:close/>
                <a:moveTo>
                  <a:pt x="6500048" y="4065063"/>
                </a:moveTo>
                <a:cubicBezTo>
                  <a:pt x="6509797" y="4068170"/>
                  <a:pt x="6518356" y="4074862"/>
                  <a:pt x="6523112" y="4084421"/>
                </a:cubicBezTo>
                <a:cubicBezTo>
                  <a:pt x="6532623" y="4103541"/>
                  <a:pt x="6525014" y="4128396"/>
                  <a:pt x="6505992" y="4137956"/>
                </a:cubicBezTo>
                <a:cubicBezTo>
                  <a:pt x="6505992" y="4137956"/>
                  <a:pt x="6505992" y="4137956"/>
                  <a:pt x="6167407" y="4310032"/>
                </a:cubicBezTo>
                <a:cubicBezTo>
                  <a:pt x="6148385" y="4319592"/>
                  <a:pt x="6123657" y="4311944"/>
                  <a:pt x="6114146" y="4292824"/>
                </a:cubicBezTo>
                <a:cubicBezTo>
                  <a:pt x="6112244" y="4287089"/>
                  <a:pt x="6110342" y="4279441"/>
                  <a:pt x="6110342" y="4273705"/>
                </a:cubicBezTo>
                <a:cubicBezTo>
                  <a:pt x="6110342" y="4260321"/>
                  <a:pt x="6117950" y="4245025"/>
                  <a:pt x="6131266" y="4239290"/>
                </a:cubicBezTo>
                <a:cubicBezTo>
                  <a:pt x="6131266" y="4239290"/>
                  <a:pt x="6131266" y="4239290"/>
                  <a:pt x="6469851" y="4067214"/>
                </a:cubicBezTo>
                <a:cubicBezTo>
                  <a:pt x="6479362" y="4062434"/>
                  <a:pt x="6490299" y="4061956"/>
                  <a:pt x="6500048" y="4065063"/>
                </a:cubicBezTo>
                <a:close/>
                <a:moveTo>
                  <a:pt x="5941056" y="4054783"/>
                </a:moveTo>
                <a:cubicBezTo>
                  <a:pt x="5957307" y="4053619"/>
                  <a:pt x="5973023" y="4062930"/>
                  <a:pt x="5980168" y="4078685"/>
                </a:cubicBezTo>
                <a:cubicBezTo>
                  <a:pt x="5989692" y="4099693"/>
                  <a:pt x="5982072" y="4124520"/>
                  <a:pt x="5961117" y="4135978"/>
                </a:cubicBezTo>
                <a:cubicBezTo>
                  <a:pt x="5961117" y="4135978"/>
                  <a:pt x="5961117" y="4135978"/>
                  <a:pt x="5622030" y="4292580"/>
                </a:cubicBezTo>
                <a:cubicBezTo>
                  <a:pt x="5601076" y="4302129"/>
                  <a:pt x="5574406" y="4292580"/>
                  <a:pt x="5564881" y="4271572"/>
                </a:cubicBezTo>
                <a:cubicBezTo>
                  <a:pt x="5562977" y="4265843"/>
                  <a:pt x="5561071" y="4260114"/>
                  <a:pt x="5561071" y="4254384"/>
                </a:cubicBezTo>
                <a:cubicBezTo>
                  <a:pt x="5561071" y="4239106"/>
                  <a:pt x="5570596" y="4223828"/>
                  <a:pt x="5585836" y="4216189"/>
                </a:cubicBezTo>
                <a:cubicBezTo>
                  <a:pt x="5585836" y="4216189"/>
                  <a:pt x="5585836" y="4216189"/>
                  <a:pt x="5924922" y="4059588"/>
                </a:cubicBezTo>
                <a:cubicBezTo>
                  <a:pt x="5930162" y="4056723"/>
                  <a:pt x="5935639" y="4055171"/>
                  <a:pt x="5941056" y="4054783"/>
                </a:cubicBezTo>
                <a:close/>
                <a:moveTo>
                  <a:pt x="383168" y="4054783"/>
                </a:moveTo>
                <a:cubicBezTo>
                  <a:pt x="399420" y="4053619"/>
                  <a:pt x="415137" y="4062930"/>
                  <a:pt x="422281" y="4078685"/>
                </a:cubicBezTo>
                <a:cubicBezTo>
                  <a:pt x="431806" y="4099693"/>
                  <a:pt x="424186" y="4124520"/>
                  <a:pt x="401325" y="4135978"/>
                </a:cubicBezTo>
                <a:cubicBezTo>
                  <a:pt x="401325" y="4135978"/>
                  <a:pt x="401325" y="4135978"/>
                  <a:pt x="62231" y="4292580"/>
                </a:cubicBezTo>
                <a:cubicBezTo>
                  <a:pt x="41276" y="4302129"/>
                  <a:pt x="16511" y="4292580"/>
                  <a:pt x="6986" y="4271572"/>
                </a:cubicBezTo>
                <a:cubicBezTo>
                  <a:pt x="5081" y="4265843"/>
                  <a:pt x="3176" y="4260114"/>
                  <a:pt x="3176" y="4254384"/>
                </a:cubicBezTo>
                <a:cubicBezTo>
                  <a:pt x="3176" y="4239106"/>
                  <a:pt x="12701" y="4223828"/>
                  <a:pt x="27941" y="4216189"/>
                </a:cubicBezTo>
                <a:cubicBezTo>
                  <a:pt x="27941" y="4216189"/>
                  <a:pt x="27941" y="4216189"/>
                  <a:pt x="367035" y="4059588"/>
                </a:cubicBezTo>
                <a:cubicBezTo>
                  <a:pt x="372274" y="4056723"/>
                  <a:pt x="377751" y="4055171"/>
                  <a:pt x="383168" y="4054783"/>
                </a:cubicBezTo>
                <a:close/>
                <a:moveTo>
                  <a:pt x="5394099" y="4046339"/>
                </a:moveTo>
                <a:cubicBezTo>
                  <a:pt x="5411704" y="4046518"/>
                  <a:pt x="5428503" y="4056903"/>
                  <a:pt x="5435652" y="4072660"/>
                </a:cubicBezTo>
                <a:cubicBezTo>
                  <a:pt x="5445184" y="4095580"/>
                  <a:pt x="5433745" y="4122319"/>
                  <a:pt x="5410870" y="4131869"/>
                </a:cubicBezTo>
                <a:cubicBezTo>
                  <a:pt x="5410870" y="4131869"/>
                  <a:pt x="5410870" y="4131869"/>
                  <a:pt x="5071527" y="4275116"/>
                </a:cubicBezTo>
                <a:cubicBezTo>
                  <a:pt x="5048652" y="4284666"/>
                  <a:pt x="5021965" y="4275116"/>
                  <a:pt x="5012435" y="4252196"/>
                </a:cubicBezTo>
                <a:cubicBezTo>
                  <a:pt x="5010529" y="4246467"/>
                  <a:pt x="5008623" y="4240737"/>
                  <a:pt x="5008623" y="4235007"/>
                </a:cubicBezTo>
                <a:cubicBezTo>
                  <a:pt x="5008623" y="4217817"/>
                  <a:pt x="5020059" y="4200627"/>
                  <a:pt x="5037215" y="4192988"/>
                </a:cubicBezTo>
                <a:cubicBezTo>
                  <a:pt x="5037215" y="4192988"/>
                  <a:pt x="5037215" y="4192988"/>
                  <a:pt x="5376554" y="4049741"/>
                </a:cubicBezTo>
                <a:cubicBezTo>
                  <a:pt x="5382274" y="4047353"/>
                  <a:pt x="5388231" y="4046279"/>
                  <a:pt x="5394099" y="4046339"/>
                </a:cubicBezTo>
                <a:close/>
                <a:moveTo>
                  <a:pt x="926784" y="4046338"/>
                </a:moveTo>
                <a:cubicBezTo>
                  <a:pt x="944402" y="4046518"/>
                  <a:pt x="961214" y="4056903"/>
                  <a:pt x="968368" y="4072660"/>
                </a:cubicBezTo>
                <a:cubicBezTo>
                  <a:pt x="977907" y="4095580"/>
                  <a:pt x="966460" y="4122319"/>
                  <a:pt x="945475" y="4131869"/>
                </a:cubicBezTo>
                <a:cubicBezTo>
                  <a:pt x="945475" y="4131869"/>
                  <a:pt x="945475" y="4131869"/>
                  <a:pt x="603977" y="4275116"/>
                </a:cubicBezTo>
                <a:cubicBezTo>
                  <a:pt x="581083" y="4284666"/>
                  <a:pt x="554374" y="4275116"/>
                  <a:pt x="544835" y="4252196"/>
                </a:cubicBezTo>
                <a:cubicBezTo>
                  <a:pt x="542927" y="4246467"/>
                  <a:pt x="542927" y="4240737"/>
                  <a:pt x="542927" y="4235007"/>
                </a:cubicBezTo>
                <a:cubicBezTo>
                  <a:pt x="542927" y="4217817"/>
                  <a:pt x="552466" y="4200627"/>
                  <a:pt x="569637" y="4192988"/>
                </a:cubicBezTo>
                <a:cubicBezTo>
                  <a:pt x="569637" y="4192988"/>
                  <a:pt x="569637" y="4192988"/>
                  <a:pt x="909226" y="4049741"/>
                </a:cubicBezTo>
                <a:cubicBezTo>
                  <a:pt x="914950" y="4047353"/>
                  <a:pt x="920912" y="4046279"/>
                  <a:pt x="926784" y="4046338"/>
                </a:cubicBezTo>
                <a:close/>
                <a:moveTo>
                  <a:pt x="4823918" y="4041420"/>
                </a:moveTo>
                <a:cubicBezTo>
                  <a:pt x="4848651" y="4033841"/>
                  <a:pt x="4875286" y="4045209"/>
                  <a:pt x="4884801" y="4069841"/>
                </a:cubicBezTo>
                <a:cubicBezTo>
                  <a:pt x="4894313" y="4092578"/>
                  <a:pt x="4880994" y="4121000"/>
                  <a:pt x="4856260" y="4130474"/>
                </a:cubicBezTo>
                <a:cubicBezTo>
                  <a:pt x="4856260" y="4130474"/>
                  <a:pt x="4856260" y="4130474"/>
                  <a:pt x="4515756" y="4259317"/>
                </a:cubicBezTo>
                <a:cubicBezTo>
                  <a:pt x="4492930" y="4268791"/>
                  <a:pt x="4464395" y="4255527"/>
                  <a:pt x="4454884" y="4230896"/>
                </a:cubicBezTo>
                <a:cubicBezTo>
                  <a:pt x="4452982" y="4225211"/>
                  <a:pt x="4452982" y="4219527"/>
                  <a:pt x="4452982" y="4215738"/>
                </a:cubicBezTo>
                <a:cubicBezTo>
                  <a:pt x="4452982" y="4196790"/>
                  <a:pt x="4464395" y="4177842"/>
                  <a:pt x="4483418" y="4170263"/>
                </a:cubicBezTo>
                <a:cubicBezTo>
                  <a:pt x="4483418" y="4170263"/>
                  <a:pt x="4483418" y="4170263"/>
                  <a:pt x="4823918" y="4041420"/>
                </a:cubicBezTo>
                <a:close/>
                <a:moveTo>
                  <a:pt x="1458388" y="4041420"/>
                </a:moveTo>
                <a:cubicBezTo>
                  <a:pt x="1483118" y="4033841"/>
                  <a:pt x="1509750" y="4045209"/>
                  <a:pt x="1519261" y="4069841"/>
                </a:cubicBezTo>
                <a:cubicBezTo>
                  <a:pt x="1528773" y="4092578"/>
                  <a:pt x="1517359" y="4121000"/>
                  <a:pt x="1492629" y="4130474"/>
                </a:cubicBezTo>
                <a:cubicBezTo>
                  <a:pt x="1492629" y="4130474"/>
                  <a:pt x="1492629" y="4130474"/>
                  <a:pt x="1152120" y="4259317"/>
                </a:cubicBezTo>
                <a:cubicBezTo>
                  <a:pt x="1127390" y="4268791"/>
                  <a:pt x="1100758" y="4255527"/>
                  <a:pt x="1091247" y="4230896"/>
                </a:cubicBezTo>
                <a:cubicBezTo>
                  <a:pt x="1089345" y="4225211"/>
                  <a:pt x="1087442" y="4219527"/>
                  <a:pt x="1087442" y="4215738"/>
                </a:cubicBezTo>
                <a:cubicBezTo>
                  <a:pt x="1087442" y="4196790"/>
                  <a:pt x="1098856" y="4177842"/>
                  <a:pt x="1117879" y="4170263"/>
                </a:cubicBezTo>
                <a:cubicBezTo>
                  <a:pt x="1117879" y="4170263"/>
                  <a:pt x="1117879" y="4170263"/>
                  <a:pt x="1458388" y="4041420"/>
                </a:cubicBezTo>
                <a:close/>
                <a:moveTo>
                  <a:pt x="4286101" y="4031102"/>
                </a:moveTo>
                <a:cubicBezTo>
                  <a:pt x="4305817" y="4032531"/>
                  <a:pt x="4323382" y="4045747"/>
                  <a:pt x="4329117" y="4064321"/>
                </a:cubicBezTo>
                <a:cubicBezTo>
                  <a:pt x="4338676" y="4090991"/>
                  <a:pt x="4325294" y="4119566"/>
                  <a:pt x="4298528" y="4127186"/>
                </a:cubicBezTo>
                <a:cubicBezTo>
                  <a:pt x="4298528" y="4127186"/>
                  <a:pt x="4298528" y="4127186"/>
                  <a:pt x="3956340" y="4243391"/>
                </a:cubicBezTo>
                <a:cubicBezTo>
                  <a:pt x="3929573" y="4252916"/>
                  <a:pt x="3900897" y="4237676"/>
                  <a:pt x="3893251" y="4212911"/>
                </a:cubicBezTo>
                <a:cubicBezTo>
                  <a:pt x="3891337" y="4207196"/>
                  <a:pt x="3889424" y="4201481"/>
                  <a:pt x="3889424" y="4195766"/>
                </a:cubicBezTo>
                <a:cubicBezTo>
                  <a:pt x="3889424" y="4174811"/>
                  <a:pt x="3902811" y="4155761"/>
                  <a:pt x="3923839" y="4150046"/>
                </a:cubicBezTo>
                <a:cubicBezTo>
                  <a:pt x="3923839" y="4150046"/>
                  <a:pt x="3923839" y="4150046"/>
                  <a:pt x="4266028" y="4033841"/>
                </a:cubicBezTo>
                <a:cubicBezTo>
                  <a:pt x="4272718" y="4031460"/>
                  <a:pt x="4279529" y="4030626"/>
                  <a:pt x="4286101" y="4031102"/>
                </a:cubicBezTo>
                <a:close/>
                <a:moveTo>
                  <a:pt x="2031406" y="4031102"/>
                </a:moveTo>
                <a:cubicBezTo>
                  <a:pt x="2050288" y="4032531"/>
                  <a:pt x="2068096" y="4045747"/>
                  <a:pt x="2075219" y="4064321"/>
                </a:cubicBezTo>
                <a:cubicBezTo>
                  <a:pt x="2082819" y="4090991"/>
                  <a:pt x="2069521" y="4119566"/>
                  <a:pt x="2042922" y="4127186"/>
                </a:cubicBezTo>
                <a:cubicBezTo>
                  <a:pt x="2042922" y="4127186"/>
                  <a:pt x="2042922" y="4127186"/>
                  <a:pt x="1702894" y="4243391"/>
                </a:cubicBezTo>
                <a:cubicBezTo>
                  <a:pt x="1676300" y="4252916"/>
                  <a:pt x="1649705" y="4237676"/>
                  <a:pt x="1640208" y="4212911"/>
                </a:cubicBezTo>
                <a:cubicBezTo>
                  <a:pt x="1638308" y="4207196"/>
                  <a:pt x="1638308" y="4201481"/>
                  <a:pt x="1638308" y="4195766"/>
                </a:cubicBezTo>
                <a:cubicBezTo>
                  <a:pt x="1638308" y="4174811"/>
                  <a:pt x="1649705" y="4155761"/>
                  <a:pt x="1670601" y="4150046"/>
                </a:cubicBezTo>
                <a:cubicBezTo>
                  <a:pt x="1670601" y="4150046"/>
                  <a:pt x="1670601" y="4150046"/>
                  <a:pt x="2012528" y="4033841"/>
                </a:cubicBezTo>
                <a:cubicBezTo>
                  <a:pt x="2018702" y="4031460"/>
                  <a:pt x="2025113" y="4030626"/>
                  <a:pt x="2031406" y="4031102"/>
                </a:cubicBezTo>
                <a:close/>
                <a:moveTo>
                  <a:pt x="3725864" y="4022421"/>
                </a:moveTo>
                <a:cubicBezTo>
                  <a:pt x="3745629" y="4024832"/>
                  <a:pt x="3763515" y="4038763"/>
                  <a:pt x="3770669" y="4060194"/>
                </a:cubicBezTo>
                <a:cubicBezTo>
                  <a:pt x="3778299" y="4086864"/>
                  <a:pt x="3763037" y="4115439"/>
                  <a:pt x="3734420" y="4124964"/>
                </a:cubicBezTo>
                <a:cubicBezTo>
                  <a:pt x="3734420" y="4124964"/>
                  <a:pt x="3734420" y="4124964"/>
                  <a:pt x="3391048" y="4225929"/>
                </a:cubicBezTo>
                <a:cubicBezTo>
                  <a:pt x="3364339" y="4235454"/>
                  <a:pt x="3335725" y="4218309"/>
                  <a:pt x="3326184" y="4191639"/>
                </a:cubicBezTo>
                <a:cubicBezTo>
                  <a:pt x="3326184" y="4185924"/>
                  <a:pt x="3324277" y="4182114"/>
                  <a:pt x="3324277" y="4176399"/>
                </a:cubicBezTo>
                <a:cubicBezTo>
                  <a:pt x="3324277" y="4153539"/>
                  <a:pt x="3339540" y="4132584"/>
                  <a:pt x="3362432" y="4126869"/>
                </a:cubicBezTo>
                <a:cubicBezTo>
                  <a:pt x="3362432" y="4126869"/>
                  <a:pt x="3362432" y="4126869"/>
                  <a:pt x="3705804" y="4023999"/>
                </a:cubicBezTo>
                <a:cubicBezTo>
                  <a:pt x="3712480" y="4022094"/>
                  <a:pt x="3719276" y="4021618"/>
                  <a:pt x="3725864" y="4022421"/>
                </a:cubicBezTo>
                <a:close/>
                <a:moveTo>
                  <a:pt x="2590959" y="4022421"/>
                </a:moveTo>
                <a:cubicBezTo>
                  <a:pt x="2610652" y="4024832"/>
                  <a:pt x="2628475" y="4038763"/>
                  <a:pt x="2635603" y="4060194"/>
                </a:cubicBezTo>
                <a:cubicBezTo>
                  <a:pt x="2643208" y="4086864"/>
                  <a:pt x="2627999" y="4115439"/>
                  <a:pt x="2599484" y="4124964"/>
                </a:cubicBezTo>
                <a:cubicBezTo>
                  <a:pt x="2599484" y="4124964"/>
                  <a:pt x="2599484" y="4124964"/>
                  <a:pt x="2257300" y="4225929"/>
                </a:cubicBezTo>
                <a:cubicBezTo>
                  <a:pt x="2230686" y="4235454"/>
                  <a:pt x="2202171" y="4218309"/>
                  <a:pt x="2192666" y="4191639"/>
                </a:cubicBezTo>
                <a:cubicBezTo>
                  <a:pt x="2190765" y="4185924"/>
                  <a:pt x="2190765" y="4182114"/>
                  <a:pt x="2190765" y="4176399"/>
                </a:cubicBezTo>
                <a:cubicBezTo>
                  <a:pt x="2190765" y="4153539"/>
                  <a:pt x="2205972" y="4132584"/>
                  <a:pt x="2228785" y="4126869"/>
                </a:cubicBezTo>
                <a:cubicBezTo>
                  <a:pt x="2228785" y="4126869"/>
                  <a:pt x="2228785" y="4126869"/>
                  <a:pt x="2570968" y="4023999"/>
                </a:cubicBezTo>
                <a:cubicBezTo>
                  <a:pt x="2577622" y="4022094"/>
                  <a:pt x="2584395" y="4021618"/>
                  <a:pt x="2590959" y="4022421"/>
                </a:cubicBezTo>
                <a:close/>
                <a:moveTo>
                  <a:pt x="3155344" y="4014781"/>
                </a:moveTo>
                <a:cubicBezTo>
                  <a:pt x="3176388" y="4017728"/>
                  <a:pt x="3195015" y="4032730"/>
                  <a:pt x="3200742" y="4054161"/>
                </a:cubicBezTo>
                <a:cubicBezTo>
                  <a:pt x="3208384" y="4084641"/>
                  <a:pt x="3189282" y="4113216"/>
                  <a:pt x="3160626" y="4120836"/>
                </a:cubicBezTo>
                <a:cubicBezTo>
                  <a:pt x="3160626" y="4120836"/>
                  <a:pt x="3160626" y="4120836"/>
                  <a:pt x="2816772" y="4210371"/>
                </a:cubicBezTo>
                <a:cubicBezTo>
                  <a:pt x="2786207" y="4217991"/>
                  <a:pt x="2757555" y="4198941"/>
                  <a:pt x="2749914" y="4170366"/>
                </a:cubicBezTo>
                <a:cubicBezTo>
                  <a:pt x="2748002" y="4166556"/>
                  <a:pt x="2748002" y="4160841"/>
                  <a:pt x="2748002" y="4157031"/>
                </a:cubicBezTo>
                <a:cubicBezTo>
                  <a:pt x="2748002" y="4132266"/>
                  <a:pt x="2765195" y="4109406"/>
                  <a:pt x="2788116" y="4103691"/>
                </a:cubicBezTo>
                <a:cubicBezTo>
                  <a:pt x="2788116" y="4103691"/>
                  <a:pt x="2788116" y="4103691"/>
                  <a:pt x="3133885" y="4016061"/>
                </a:cubicBezTo>
                <a:cubicBezTo>
                  <a:pt x="3141047" y="4014156"/>
                  <a:pt x="3148330" y="4013799"/>
                  <a:pt x="3155344" y="4014781"/>
                </a:cubicBezTo>
                <a:close/>
                <a:moveTo>
                  <a:pt x="9861718" y="3784929"/>
                </a:moveTo>
                <a:cubicBezTo>
                  <a:pt x="9867199" y="3785407"/>
                  <a:pt x="9872442" y="3787798"/>
                  <a:pt x="9876256" y="3792579"/>
                </a:cubicBezTo>
                <a:cubicBezTo>
                  <a:pt x="9883882" y="3802142"/>
                  <a:pt x="9881975" y="3815531"/>
                  <a:pt x="9872442" y="3823182"/>
                </a:cubicBezTo>
                <a:cubicBezTo>
                  <a:pt x="9872442" y="3823182"/>
                  <a:pt x="9872442" y="3823182"/>
                  <a:pt x="9540690" y="4092865"/>
                </a:cubicBezTo>
                <a:cubicBezTo>
                  <a:pt x="9531157" y="4100516"/>
                  <a:pt x="9517810" y="4098603"/>
                  <a:pt x="9510184" y="4089040"/>
                </a:cubicBezTo>
                <a:cubicBezTo>
                  <a:pt x="9506371" y="4085215"/>
                  <a:pt x="9504464" y="4081389"/>
                  <a:pt x="9504464" y="4075651"/>
                </a:cubicBezTo>
                <a:cubicBezTo>
                  <a:pt x="9504464" y="4069913"/>
                  <a:pt x="9508277" y="4064175"/>
                  <a:pt x="9513997" y="4058438"/>
                </a:cubicBezTo>
                <a:cubicBezTo>
                  <a:pt x="9513997" y="4058438"/>
                  <a:pt x="9513997" y="4058438"/>
                  <a:pt x="9845750" y="3788754"/>
                </a:cubicBezTo>
                <a:cubicBezTo>
                  <a:pt x="9850517" y="3785885"/>
                  <a:pt x="9856236" y="3784450"/>
                  <a:pt x="9861718" y="3784929"/>
                </a:cubicBezTo>
                <a:close/>
                <a:moveTo>
                  <a:pt x="10445981" y="3777074"/>
                </a:moveTo>
                <a:cubicBezTo>
                  <a:pt x="10452183" y="3777790"/>
                  <a:pt x="10457907" y="3781135"/>
                  <a:pt x="10461723" y="3786867"/>
                </a:cubicBezTo>
                <a:cubicBezTo>
                  <a:pt x="10471264" y="3798332"/>
                  <a:pt x="10469356" y="3813619"/>
                  <a:pt x="10457907" y="3821263"/>
                </a:cubicBezTo>
                <a:cubicBezTo>
                  <a:pt x="10457907" y="3821263"/>
                  <a:pt x="10457907" y="3821263"/>
                  <a:pt x="10123980" y="4075410"/>
                </a:cubicBezTo>
                <a:cubicBezTo>
                  <a:pt x="10112531" y="4083054"/>
                  <a:pt x="10097266" y="4081143"/>
                  <a:pt x="10089633" y="4069678"/>
                </a:cubicBezTo>
                <a:cubicBezTo>
                  <a:pt x="10085817" y="4065856"/>
                  <a:pt x="10083909" y="4060123"/>
                  <a:pt x="10083909" y="4054391"/>
                </a:cubicBezTo>
                <a:cubicBezTo>
                  <a:pt x="10083909" y="4048658"/>
                  <a:pt x="10087725" y="4041014"/>
                  <a:pt x="10093450" y="4035282"/>
                </a:cubicBezTo>
                <a:cubicBezTo>
                  <a:pt x="10093450" y="4035282"/>
                  <a:pt x="10093450" y="4035282"/>
                  <a:pt x="10427376" y="3783045"/>
                </a:cubicBezTo>
                <a:cubicBezTo>
                  <a:pt x="10433101" y="3778268"/>
                  <a:pt x="10439779" y="3776357"/>
                  <a:pt x="10445981" y="3777074"/>
                </a:cubicBezTo>
                <a:close/>
                <a:moveTo>
                  <a:pt x="9284313" y="3777074"/>
                </a:moveTo>
                <a:cubicBezTo>
                  <a:pt x="9290494" y="3777790"/>
                  <a:pt x="9296199" y="3781135"/>
                  <a:pt x="9300003" y="3786867"/>
                </a:cubicBezTo>
                <a:cubicBezTo>
                  <a:pt x="9307611" y="3798332"/>
                  <a:pt x="9305709" y="3813619"/>
                  <a:pt x="9296200" y="3821263"/>
                </a:cubicBezTo>
                <a:cubicBezTo>
                  <a:pt x="9296200" y="3821263"/>
                  <a:pt x="9296200" y="3821263"/>
                  <a:pt x="8963371" y="4075410"/>
                </a:cubicBezTo>
                <a:cubicBezTo>
                  <a:pt x="8951959" y="4083054"/>
                  <a:pt x="8936744" y="4081143"/>
                  <a:pt x="8929137" y="4069678"/>
                </a:cubicBezTo>
                <a:cubicBezTo>
                  <a:pt x="8925333" y="4065856"/>
                  <a:pt x="8923431" y="4060123"/>
                  <a:pt x="8923431" y="4054391"/>
                </a:cubicBezTo>
                <a:cubicBezTo>
                  <a:pt x="8923431" y="4048658"/>
                  <a:pt x="8927235" y="4041014"/>
                  <a:pt x="8932940" y="4035282"/>
                </a:cubicBezTo>
                <a:cubicBezTo>
                  <a:pt x="8932940" y="4035282"/>
                  <a:pt x="8932940" y="4035282"/>
                  <a:pt x="9265770" y="3783045"/>
                </a:cubicBezTo>
                <a:cubicBezTo>
                  <a:pt x="9271476" y="3778268"/>
                  <a:pt x="9278132" y="3776357"/>
                  <a:pt x="9284313" y="3777074"/>
                </a:cubicBezTo>
                <a:close/>
                <a:moveTo>
                  <a:pt x="8714826" y="3771656"/>
                </a:moveTo>
                <a:cubicBezTo>
                  <a:pt x="8721754" y="3772844"/>
                  <a:pt x="8728443" y="3776646"/>
                  <a:pt x="8733221" y="3782349"/>
                </a:cubicBezTo>
                <a:cubicBezTo>
                  <a:pt x="8740866" y="3795655"/>
                  <a:pt x="8738955" y="3812764"/>
                  <a:pt x="8725576" y="3820368"/>
                </a:cubicBezTo>
                <a:cubicBezTo>
                  <a:pt x="8725576" y="3820368"/>
                  <a:pt x="8725576" y="3820368"/>
                  <a:pt x="8391118" y="4056086"/>
                </a:cubicBezTo>
                <a:cubicBezTo>
                  <a:pt x="8377740" y="4065591"/>
                  <a:pt x="8360539" y="4063690"/>
                  <a:pt x="8352895" y="4050383"/>
                </a:cubicBezTo>
                <a:cubicBezTo>
                  <a:pt x="8349072" y="4044680"/>
                  <a:pt x="8347161" y="4040878"/>
                  <a:pt x="8347161" y="4035176"/>
                </a:cubicBezTo>
                <a:cubicBezTo>
                  <a:pt x="8347161" y="4025671"/>
                  <a:pt x="8350983" y="4018067"/>
                  <a:pt x="8358628" y="4012364"/>
                </a:cubicBezTo>
                <a:cubicBezTo>
                  <a:pt x="8358628" y="4012364"/>
                  <a:pt x="8358628" y="4012364"/>
                  <a:pt x="8694997" y="3776646"/>
                </a:cubicBezTo>
                <a:cubicBezTo>
                  <a:pt x="8700731" y="3771893"/>
                  <a:pt x="8707898" y="3770468"/>
                  <a:pt x="8714826" y="3771656"/>
                </a:cubicBezTo>
                <a:close/>
                <a:moveTo>
                  <a:pt x="11022950" y="3771656"/>
                </a:moveTo>
                <a:cubicBezTo>
                  <a:pt x="11030088" y="3772844"/>
                  <a:pt x="11036751" y="3776646"/>
                  <a:pt x="11041509" y="3782349"/>
                </a:cubicBezTo>
                <a:cubicBezTo>
                  <a:pt x="11049123" y="3795655"/>
                  <a:pt x="11047220" y="3812764"/>
                  <a:pt x="11033895" y="3820368"/>
                </a:cubicBezTo>
                <a:cubicBezTo>
                  <a:pt x="11033895" y="3820368"/>
                  <a:pt x="11033895" y="3820368"/>
                  <a:pt x="10700785" y="4056086"/>
                </a:cubicBezTo>
                <a:cubicBezTo>
                  <a:pt x="10687461" y="4065591"/>
                  <a:pt x="10670329" y="4063690"/>
                  <a:pt x="10662715" y="4050383"/>
                </a:cubicBezTo>
                <a:cubicBezTo>
                  <a:pt x="10658908" y="4044680"/>
                  <a:pt x="10657005" y="4040878"/>
                  <a:pt x="10657005" y="4035176"/>
                </a:cubicBezTo>
                <a:cubicBezTo>
                  <a:pt x="10657005" y="4025671"/>
                  <a:pt x="10660812" y="4018067"/>
                  <a:pt x="10668426" y="4012364"/>
                </a:cubicBezTo>
                <a:cubicBezTo>
                  <a:pt x="10668426" y="4012364"/>
                  <a:pt x="10668426" y="4012364"/>
                  <a:pt x="11001536" y="3776646"/>
                </a:cubicBezTo>
                <a:cubicBezTo>
                  <a:pt x="11008198" y="3771893"/>
                  <a:pt x="11015812" y="3770468"/>
                  <a:pt x="11022950" y="3771656"/>
                </a:cubicBezTo>
                <a:close/>
                <a:moveTo>
                  <a:pt x="8151418" y="3763955"/>
                </a:moveTo>
                <a:cubicBezTo>
                  <a:pt x="8159038" y="3765381"/>
                  <a:pt x="8166182" y="3769658"/>
                  <a:pt x="8170945" y="3776310"/>
                </a:cubicBezTo>
                <a:cubicBezTo>
                  <a:pt x="8180470" y="3791517"/>
                  <a:pt x="8176660" y="3810525"/>
                  <a:pt x="8161420" y="3820029"/>
                </a:cubicBezTo>
                <a:cubicBezTo>
                  <a:pt x="8161420" y="3820029"/>
                  <a:pt x="8161420" y="3820029"/>
                  <a:pt x="7826135" y="4038624"/>
                </a:cubicBezTo>
                <a:cubicBezTo>
                  <a:pt x="7812800" y="4048128"/>
                  <a:pt x="7793750" y="4044326"/>
                  <a:pt x="7784225" y="4031020"/>
                </a:cubicBezTo>
                <a:cubicBezTo>
                  <a:pt x="7780415" y="4025318"/>
                  <a:pt x="7780415" y="4019616"/>
                  <a:pt x="7780415" y="4013913"/>
                </a:cubicBezTo>
                <a:cubicBezTo>
                  <a:pt x="7780415" y="4004409"/>
                  <a:pt x="7784225" y="3993004"/>
                  <a:pt x="7793750" y="3987302"/>
                </a:cubicBezTo>
                <a:cubicBezTo>
                  <a:pt x="7793750" y="3987302"/>
                  <a:pt x="7793750" y="3987302"/>
                  <a:pt x="8129034" y="3768707"/>
                </a:cubicBezTo>
                <a:cubicBezTo>
                  <a:pt x="8135702" y="3763955"/>
                  <a:pt x="8143798" y="3762529"/>
                  <a:pt x="8151418" y="3763955"/>
                </a:cubicBezTo>
                <a:close/>
                <a:moveTo>
                  <a:pt x="11596182" y="3763955"/>
                </a:moveTo>
                <a:cubicBezTo>
                  <a:pt x="11603803" y="3765381"/>
                  <a:pt x="11610470" y="3769658"/>
                  <a:pt x="11614280" y="3776310"/>
                </a:cubicBezTo>
                <a:cubicBezTo>
                  <a:pt x="11623805" y="3791517"/>
                  <a:pt x="11619995" y="3810525"/>
                  <a:pt x="11606660" y="3820029"/>
                </a:cubicBezTo>
                <a:cubicBezTo>
                  <a:pt x="11606660" y="3820029"/>
                  <a:pt x="11606660" y="3820029"/>
                  <a:pt x="11271376" y="4038624"/>
                </a:cubicBezTo>
                <a:cubicBezTo>
                  <a:pt x="11258040" y="4048128"/>
                  <a:pt x="11238990" y="4044326"/>
                  <a:pt x="11229465" y="4031020"/>
                </a:cubicBezTo>
                <a:cubicBezTo>
                  <a:pt x="11225655" y="4025318"/>
                  <a:pt x="11223750" y="4019616"/>
                  <a:pt x="11223750" y="4013913"/>
                </a:cubicBezTo>
                <a:cubicBezTo>
                  <a:pt x="11223750" y="4004409"/>
                  <a:pt x="11229465" y="3993004"/>
                  <a:pt x="11237085" y="3987302"/>
                </a:cubicBezTo>
                <a:cubicBezTo>
                  <a:pt x="11237085" y="3987302"/>
                  <a:pt x="11237085" y="3987302"/>
                  <a:pt x="11572369" y="3768707"/>
                </a:cubicBezTo>
                <a:cubicBezTo>
                  <a:pt x="11579990" y="3763955"/>
                  <a:pt x="11588562" y="3762529"/>
                  <a:pt x="11596182" y="3763955"/>
                </a:cubicBezTo>
                <a:close/>
                <a:moveTo>
                  <a:pt x="12139750" y="3759203"/>
                </a:moveTo>
                <a:cubicBezTo>
                  <a:pt x="12139750" y="3759203"/>
                  <a:pt x="12139750" y="3759203"/>
                  <a:pt x="12139750" y="3835137"/>
                </a:cubicBezTo>
                <a:cubicBezTo>
                  <a:pt x="12139750" y="3835137"/>
                  <a:pt x="12139750" y="3835137"/>
                  <a:pt x="11835489" y="4021174"/>
                </a:cubicBezTo>
                <a:cubicBezTo>
                  <a:pt x="11818374" y="4030666"/>
                  <a:pt x="11799358" y="4024971"/>
                  <a:pt x="11789850" y="4009784"/>
                </a:cubicBezTo>
                <a:cubicBezTo>
                  <a:pt x="11786047" y="4004089"/>
                  <a:pt x="11784145" y="3998394"/>
                  <a:pt x="11784145" y="3992699"/>
                </a:cubicBezTo>
                <a:cubicBezTo>
                  <a:pt x="11784145" y="3981309"/>
                  <a:pt x="11789850" y="3969919"/>
                  <a:pt x="11799358" y="3964224"/>
                </a:cubicBezTo>
                <a:lnTo>
                  <a:pt x="12135947" y="3761101"/>
                </a:lnTo>
                <a:cubicBezTo>
                  <a:pt x="12137848" y="3759203"/>
                  <a:pt x="12137848" y="3759203"/>
                  <a:pt x="12139750" y="3759203"/>
                </a:cubicBezTo>
                <a:close/>
                <a:moveTo>
                  <a:pt x="7593700" y="3756493"/>
                </a:moveTo>
                <a:cubicBezTo>
                  <a:pt x="7601803" y="3758393"/>
                  <a:pt x="7608952" y="3763620"/>
                  <a:pt x="7613718" y="3772173"/>
                </a:cubicBezTo>
                <a:cubicBezTo>
                  <a:pt x="7623251" y="3787379"/>
                  <a:pt x="7619438" y="3808286"/>
                  <a:pt x="7604186" y="3817790"/>
                </a:cubicBezTo>
                <a:cubicBezTo>
                  <a:pt x="7604186" y="3817790"/>
                  <a:pt x="7604186" y="3817790"/>
                  <a:pt x="7266734" y="4021162"/>
                </a:cubicBezTo>
                <a:cubicBezTo>
                  <a:pt x="7251481" y="4030666"/>
                  <a:pt x="7230510" y="4024964"/>
                  <a:pt x="7220977" y="4009758"/>
                </a:cubicBezTo>
                <a:cubicBezTo>
                  <a:pt x="7217164" y="4004056"/>
                  <a:pt x="7215258" y="3998354"/>
                  <a:pt x="7215258" y="3992652"/>
                </a:cubicBezTo>
                <a:cubicBezTo>
                  <a:pt x="7215258" y="3981248"/>
                  <a:pt x="7220977" y="3969844"/>
                  <a:pt x="7232416" y="3964142"/>
                </a:cubicBezTo>
                <a:cubicBezTo>
                  <a:pt x="7232416" y="3964142"/>
                  <a:pt x="7232416" y="3964142"/>
                  <a:pt x="7567962" y="3760769"/>
                </a:cubicBezTo>
                <a:cubicBezTo>
                  <a:pt x="7576541" y="3756018"/>
                  <a:pt x="7585597" y="3754592"/>
                  <a:pt x="7593700" y="3756493"/>
                </a:cubicBezTo>
                <a:close/>
                <a:moveTo>
                  <a:pt x="7044469" y="3749140"/>
                </a:moveTo>
                <a:cubicBezTo>
                  <a:pt x="7053293" y="3751765"/>
                  <a:pt x="7060925" y="3757971"/>
                  <a:pt x="7065695" y="3766564"/>
                </a:cubicBezTo>
                <a:cubicBezTo>
                  <a:pt x="7077143" y="3783749"/>
                  <a:pt x="7069511" y="3806662"/>
                  <a:pt x="7052340" y="3816209"/>
                </a:cubicBezTo>
                <a:cubicBezTo>
                  <a:pt x="7052340" y="3816209"/>
                  <a:pt x="7052340" y="3816209"/>
                  <a:pt x="6714634" y="4005244"/>
                </a:cubicBezTo>
                <a:cubicBezTo>
                  <a:pt x="6697463" y="4014791"/>
                  <a:pt x="6674567" y="4009063"/>
                  <a:pt x="6665028" y="3989968"/>
                </a:cubicBezTo>
                <a:cubicBezTo>
                  <a:pt x="6661212" y="3984240"/>
                  <a:pt x="6661212" y="3978511"/>
                  <a:pt x="6661212" y="3972783"/>
                </a:cubicBezTo>
                <a:cubicBezTo>
                  <a:pt x="6661212" y="3959417"/>
                  <a:pt x="6666936" y="3947960"/>
                  <a:pt x="6678383" y="3940323"/>
                </a:cubicBezTo>
                <a:cubicBezTo>
                  <a:pt x="6678383" y="3940323"/>
                  <a:pt x="6678383" y="3940323"/>
                  <a:pt x="7016089" y="3753198"/>
                </a:cubicBezTo>
                <a:cubicBezTo>
                  <a:pt x="7025629" y="3747469"/>
                  <a:pt x="7035645" y="3746515"/>
                  <a:pt x="7044469" y="3749140"/>
                </a:cubicBezTo>
                <a:close/>
                <a:moveTo>
                  <a:pt x="6500048" y="3741441"/>
                </a:moveTo>
                <a:cubicBezTo>
                  <a:pt x="6509797" y="3744783"/>
                  <a:pt x="6518356" y="3751944"/>
                  <a:pt x="6523112" y="3762447"/>
                </a:cubicBezTo>
                <a:cubicBezTo>
                  <a:pt x="6532623" y="3781543"/>
                  <a:pt x="6525014" y="3804458"/>
                  <a:pt x="6505992" y="3814006"/>
                </a:cubicBezTo>
                <a:cubicBezTo>
                  <a:pt x="6505992" y="3814006"/>
                  <a:pt x="6505992" y="3814006"/>
                  <a:pt x="6167407" y="3987780"/>
                </a:cubicBezTo>
                <a:cubicBezTo>
                  <a:pt x="6148385" y="3997328"/>
                  <a:pt x="6125559" y="3989689"/>
                  <a:pt x="6114146" y="3970593"/>
                </a:cubicBezTo>
                <a:cubicBezTo>
                  <a:pt x="6112244" y="3964865"/>
                  <a:pt x="6110342" y="3957226"/>
                  <a:pt x="6110342" y="3951497"/>
                </a:cubicBezTo>
                <a:cubicBezTo>
                  <a:pt x="6110342" y="3938130"/>
                  <a:pt x="6117950" y="3922853"/>
                  <a:pt x="6131266" y="3917125"/>
                </a:cubicBezTo>
                <a:cubicBezTo>
                  <a:pt x="6131266" y="3917125"/>
                  <a:pt x="6131266" y="3917125"/>
                  <a:pt x="6469851" y="3743351"/>
                </a:cubicBezTo>
                <a:cubicBezTo>
                  <a:pt x="6479362" y="3738577"/>
                  <a:pt x="6490300" y="3738100"/>
                  <a:pt x="6500048" y="3741441"/>
                </a:cubicBezTo>
                <a:close/>
                <a:moveTo>
                  <a:pt x="5958237" y="3734460"/>
                </a:moveTo>
                <a:cubicBezTo>
                  <a:pt x="5968507" y="3738279"/>
                  <a:pt x="5977583" y="3745919"/>
                  <a:pt x="5983314" y="3756422"/>
                </a:cubicBezTo>
                <a:cubicBezTo>
                  <a:pt x="5992867" y="3777430"/>
                  <a:pt x="5983314" y="3804167"/>
                  <a:pt x="5962297" y="3813715"/>
                </a:cubicBezTo>
                <a:cubicBezTo>
                  <a:pt x="5962297" y="3813715"/>
                  <a:pt x="5962297" y="3813715"/>
                  <a:pt x="5622211" y="3970317"/>
                </a:cubicBezTo>
                <a:cubicBezTo>
                  <a:pt x="5599283" y="3979866"/>
                  <a:pt x="5574446" y="3970317"/>
                  <a:pt x="5564892" y="3949309"/>
                </a:cubicBezTo>
                <a:cubicBezTo>
                  <a:pt x="5562981" y="3943580"/>
                  <a:pt x="5561071" y="3935941"/>
                  <a:pt x="5561071" y="3930212"/>
                </a:cubicBezTo>
                <a:cubicBezTo>
                  <a:pt x="5561071" y="3914934"/>
                  <a:pt x="5570624" y="3899655"/>
                  <a:pt x="5585909" y="3892016"/>
                </a:cubicBezTo>
                <a:cubicBezTo>
                  <a:pt x="5585909" y="3892016"/>
                  <a:pt x="5585909" y="3892016"/>
                  <a:pt x="5925996" y="3735415"/>
                </a:cubicBezTo>
                <a:cubicBezTo>
                  <a:pt x="5936505" y="3730640"/>
                  <a:pt x="5947969" y="3730640"/>
                  <a:pt x="5958237" y="3734460"/>
                </a:cubicBezTo>
                <a:close/>
                <a:moveTo>
                  <a:pt x="398944" y="3734460"/>
                </a:moveTo>
                <a:cubicBezTo>
                  <a:pt x="408945" y="3738279"/>
                  <a:pt x="417518" y="3745919"/>
                  <a:pt x="422280" y="3756422"/>
                </a:cubicBezTo>
                <a:cubicBezTo>
                  <a:pt x="431805" y="3777430"/>
                  <a:pt x="424185" y="3804167"/>
                  <a:pt x="401325" y="3813715"/>
                </a:cubicBezTo>
                <a:cubicBezTo>
                  <a:pt x="401325" y="3813715"/>
                  <a:pt x="401325" y="3813715"/>
                  <a:pt x="62231" y="3970317"/>
                </a:cubicBezTo>
                <a:cubicBezTo>
                  <a:pt x="41276" y="3979866"/>
                  <a:pt x="16511" y="3970317"/>
                  <a:pt x="6985" y="3949309"/>
                </a:cubicBezTo>
                <a:cubicBezTo>
                  <a:pt x="5080" y="3943580"/>
                  <a:pt x="3175" y="3935941"/>
                  <a:pt x="3175" y="3930212"/>
                </a:cubicBezTo>
                <a:cubicBezTo>
                  <a:pt x="3175" y="3914934"/>
                  <a:pt x="12701" y="3899655"/>
                  <a:pt x="27941" y="3892016"/>
                </a:cubicBezTo>
                <a:cubicBezTo>
                  <a:pt x="27941" y="3892016"/>
                  <a:pt x="27941" y="3892016"/>
                  <a:pt x="367035" y="3735415"/>
                </a:cubicBezTo>
                <a:cubicBezTo>
                  <a:pt x="377512" y="3730640"/>
                  <a:pt x="388942" y="3730640"/>
                  <a:pt x="398944" y="3734460"/>
                </a:cubicBezTo>
                <a:close/>
                <a:moveTo>
                  <a:pt x="5394099" y="3725661"/>
                </a:moveTo>
                <a:cubicBezTo>
                  <a:pt x="5411704" y="3725928"/>
                  <a:pt x="5428503" y="3736616"/>
                  <a:pt x="5435652" y="3753716"/>
                </a:cubicBezTo>
                <a:cubicBezTo>
                  <a:pt x="5445184" y="3776516"/>
                  <a:pt x="5433745" y="3803116"/>
                  <a:pt x="5410870" y="3812616"/>
                </a:cubicBezTo>
                <a:cubicBezTo>
                  <a:pt x="5410870" y="3812616"/>
                  <a:pt x="5410870" y="3812616"/>
                  <a:pt x="5071527" y="3951316"/>
                </a:cubicBezTo>
                <a:cubicBezTo>
                  <a:pt x="5046746" y="3960816"/>
                  <a:pt x="5021965" y="3951316"/>
                  <a:pt x="5012435" y="3928516"/>
                </a:cubicBezTo>
                <a:cubicBezTo>
                  <a:pt x="5008623" y="3922816"/>
                  <a:pt x="5008623" y="3917116"/>
                  <a:pt x="5008623" y="3911416"/>
                </a:cubicBezTo>
                <a:cubicBezTo>
                  <a:pt x="5008623" y="3892416"/>
                  <a:pt x="5018153" y="3875316"/>
                  <a:pt x="5037215" y="3869616"/>
                </a:cubicBezTo>
                <a:cubicBezTo>
                  <a:pt x="5037215" y="3869616"/>
                  <a:pt x="5037215" y="3869616"/>
                  <a:pt x="5376554" y="3729016"/>
                </a:cubicBezTo>
                <a:cubicBezTo>
                  <a:pt x="5382274" y="3726641"/>
                  <a:pt x="5388231" y="3725572"/>
                  <a:pt x="5394099" y="3725661"/>
                </a:cubicBezTo>
                <a:close/>
                <a:moveTo>
                  <a:pt x="927625" y="3725661"/>
                </a:moveTo>
                <a:cubicBezTo>
                  <a:pt x="945497" y="3725928"/>
                  <a:pt x="961225" y="3736616"/>
                  <a:pt x="968374" y="3753716"/>
                </a:cubicBezTo>
                <a:cubicBezTo>
                  <a:pt x="977906" y="3776516"/>
                  <a:pt x="968374" y="3803116"/>
                  <a:pt x="945497" y="3812616"/>
                </a:cubicBezTo>
                <a:cubicBezTo>
                  <a:pt x="945497" y="3812616"/>
                  <a:pt x="945497" y="3812616"/>
                  <a:pt x="604250" y="3951316"/>
                </a:cubicBezTo>
                <a:cubicBezTo>
                  <a:pt x="581374" y="3960816"/>
                  <a:pt x="554684" y="3951316"/>
                  <a:pt x="545152" y="3928516"/>
                </a:cubicBezTo>
                <a:cubicBezTo>
                  <a:pt x="543246" y="3922816"/>
                  <a:pt x="541339" y="3917116"/>
                  <a:pt x="541339" y="3911416"/>
                </a:cubicBezTo>
                <a:cubicBezTo>
                  <a:pt x="541339" y="3892416"/>
                  <a:pt x="552778" y="3875316"/>
                  <a:pt x="569935" y="3869616"/>
                </a:cubicBezTo>
                <a:cubicBezTo>
                  <a:pt x="569935" y="3869616"/>
                  <a:pt x="569935" y="3869616"/>
                  <a:pt x="909276" y="3729016"/>
                </a:cubicBezTo>
                <a:cubicBezTo>
                  <a:pt x="915471" y="3726641"/>
                  <a:pt x="921667" y="3725572"/>
                  <a:pt x="927625" y="3725661"/>
                </a:cubicBezTo>
                <a:close/>
                <a:moveTo>
                  <a:pt x="4842646" y="3718049"/>
                </a:moveTo>
                <a:cubicBezTo>
                  <a:pt x="4861517" y="3718940"/>
                  <a:pt x="4879049" y="3731051"/>
                  <a:pt x="4884773" y="3749574"/>
                </a:cubicBezTo>
                <a:cubicBezTo>
                  <a:pt x="4894313" y="3774271"/>
                  <a:pt x="4880958" y="3802768"/>
                  <a:pt x="4856151" y="3810367"/>
                </a:cubicBezTo>
                <a:cubicBezTo>
                  <a:pt x="4856151" y="3810367"/>
                  <a:pt x="4856151" y="3810367"/>
                  <a:pt x="4514670" y="3933854"/>
                </a:cubicBezTo>
                <a:cubicBezTo>
                  <a:pt x="4489871" y="3943353"/>
                  <a:pt x="4463161" y="3930054"/>
                  <a:pt x="4453622" y="3905357"/>
                </a:cubicBezTo>
                <a:cubicBezTo>
                  <a:pt x="4451715" y="3901557"/>
                  <a:pt x="4449806" y="3895858"/>
                  <a:pt x="4449806" y="3890159"/>
                </a:cubicBezTo>
                <a:cubicBezTo>
                  <a:pt x="4449806" y="3869261"/>
                  <a:pt x="4463161" y="3852163"/>
                  <a:pt x="4482239" y="3844564"/>
                </a:cubicBezTo>
                <a:cubicBezTo>
                  <a:pt x="4482239" y="3844564"/>
                  <a:pt x="4482239" y="3844564"/>
                  <a:pt x="4823715" y="3721077"/>
                </a:cubicBezTo>
                <a:cubicBezTo>
                  <a:pt x="4829917" y="3718702"/>
                  <a:pt x="4836355" y="3717752"/>
                  <a:pt x="4842646" y="3718049"/>
                </a:cubicBezTo>
                <a:close/>
                <a:moveTo>
                  <a:pt x="1478619" y="3718049"/>
                </a:moveTo>
                <a:cubicBezTo>
                  <a:pt x="1496975" y="3718940"/>
                  <a:pt x="1513727" y="3731051"/>
                  <a:pt x="1520856" y="3749574"/>
                </a:cubicBezTo>
                <a:cubicBezTo>
                  <a:pt x="1530361" y="3774271"/>
                  <a:pt x="1517054" y="3802768"/>
                  <a:pt x="1492342" y="3810367"/>
                </a:cubicBezTo>
                <a:cubicBezTo>
                  <a:pt x="1492342" y="3810367"/>
                  <a:pt x="1492342" y="3810367"/>
                  <a:pt x="1152074" y="3933854"/>
                </a:cubicBezTo>
                <a:cubicBezTo>
                  <a:pt x="1127362" y="3943353"/>
                  <a:pt x="1098848" y="3930054"/>
                  <a:pt x="1089343" y="3905357"/>
                </a:cubicBezTo>
                <a:cubicBezTo>
                  <a:pt x="1087442" y="3901557"/>
                  <a:pt x="1087442" y="3895858"/>
                  <a:pt x="1087442" y="3890159"/>
                </a:cubicBezTo>
                <a:cubicBezTo>
                  <a:pt x="1087442" y="3869261"/>
                  <a:pt x="1098848" y="3852163"/>
                  <a:pt x="1117857" y="3844564"/>
                </a:cubicBezTo>
                <a:cubicBezTo>
                  <a:pt x="1117857" y="3844564"/>
                  <a:pt x="1117857" y="3844564"/>
                  <a:pt x="1460026" y="3721077"/>
                </a:cubicBezTo>
                <a:cubicBezTo>
                  <a:pt x="1466204" y="3718702"/>
                  <a:pt x="1472501" y="3717752"/>
                  <a:pt x="1478619" y="3718049"/>
                </a:cubicBezTo>
                <a:close/>
                <a:moveTo>
                  <a:pt x="2033482" y="3710438"/>
                </a:moveTo>
                <a:cubicBezTo>
                  <a:pt x="2053278" y="3711952"/>
                  <a:pt x="2071188" y="3725486"/>
                  <a:pt x="2078351" y="3745431"/>
                </a:cubicBezTo>
                <a:cubicBezTo>
                  <a:pt x="2085994" y="3772025"/>
                  <a:pt x="2070710" y="3800519"/>
                  <a:pt x="2043960" y="3810017"/>
                </a:cubicBezTo>
                <a:cubicBezTo>
                  <a:pt x="2043960" y="3810017"/>
                  <a:pt x="2043960" y="3810017"/>
                  <a:pt x="1701997" y="3916393"/>
                </a:cubicBezTo>
                <a:cubicBezTo>
                  <a:pt x="1673341" y="3925891"/>
                  <a:pt x="1644685" y="3910694"/>
                  <a:pt x="1637043" y="3884100"/>
                </a:cubicBezTo>
                <a:cubicBezTo>
                  <a:pt x="1635133" y="3878402"/>
                  <a:pt x="1635133" y="3874602"/>
                  <a:pt x="1635133" y="3868904"/>
                </a:cubicBezTo>
                <a:cubicBezTo>
                  <a:pt x="1635133" y="3846109"/>
                  <a:pt x="1648506" y="3827113"/>
                  <a:pt x="1669520" y="3819515"/>
                </a:cubicBezTo>
                <a:cubicBezTo>
                  <a:pt x="1669520" y="3819515"/>
                  <a:pt x="1669520" y="3819515"/>
                  <a:pt x="2013393" y="3713139"/>
                </a:cubicBezTo>
                <a:cubicBezTo>
                  <a:pt x="2020079" y="3710764"/>
                  <a:pt x="2026885" y="3709933"/>
                  <a:pt x="2033482" y="3710438"/>
                </a:cubicBezTo>
                <a:close/>
                <a:moveTo>
                  <a:pt x="4287765" y="3710438"/>
                </a:moveTo>
                <a:cubicBezTo>
                  <a:pt x="4307452" y="3711952"/>
                  <a:pt x="4324991" y="3725486"/>
                  <a:pt x="4330719" y="3745431"/>
                </a:cubicBezTo>
                <a:cubicBezTo>
                  <a:pt x="4340265" y="3772025"/>
                  <a:pt x="4324991" y="3800519"/>
                  <a:pt x="4298265" y="3810017"/>
                </a:cubicBezTo>
                <a:cubicBezTo>
                  <a:pt x="4298265" y="3810017"/>
                  <a:pt x="4298265" y="3810017"/>
                  <a:pt x="3954657" y="3916393"/>
                </a:cubicBezTo>
                <a:cubicBezTo>
                  <a:pt x="3927929" y="3925891"/>
                  <a:pt x="3899294" y="3910694"/>
                  <a:pt x="3891656" y="3884100"/>
                </a:cubicBezTo>
                <a:cubicBezTo>
                  <a:pt x="3889749" y="3878402"/>
                  <a:pt x="3887840" y="3874602"/>
                  <a:pt x="3887840" y="3868904"/>
                </a:cubicBezTo>
                <a:cubicBezTo>
                  <a:pt x="3887840" y="3846109"/>
                  <a:pt x="3903113" y="3827113"/>
                  <a:pt x="3924112" y="3819515"/>
                </a:cubicBezTo>
                <a:cubicBezTo>
                  <a:pt x="3924112" y="3819515"/>
                  <a:pt x="3924112" y="3819515"/>
                  <a:pt x="4267719" y="3713139"/>
                </a:cubicBezTo>
                <a:cubicBezTo>
                  <a:pt x="4274401" y="3710764"/>
                  <a:pt x="4281202" y="3709933"/>
                  <a:pt x="4287765" y="3710438"/>
                </a:cubicBezTo>
                <a:close/>
                <a:moveTo>
                  <a:pt x="3726989" y="3702866"/>
                </a:moveTo>
                <a:cubicBezTo>
                  <a:pt x="3747976" y="3705095"/>
                  <a:pt x="3766549" y="3720431"/>
                  <a:pt x="3772266" y="3743256"/>
                </a:cubicBezTo>
                <a:cubicBezTo>
                  <a:pt x="3779885" y="3771789"/>
                  <a:pt x="3762739" y="3800321"/>
                  <a:pt x="3734163" y="3807929"/>
                </a:cubicBezTo>
                <a:cubicBezTo>
                  <a:pt x="3734163" y="3807929"/>
                  <a:pt x="3734163" y="3807929"/>
                  <a:pt x="3391274" y="3899232"/>
                </a:cubicBezTo>
                <a:cubicBezTo>
                  <a:pt x="3360792" y="3906841"/>
                  <a:pt x="3332215" y="3889722"/>
                  <a:pt x="3324595" y="3861189"/>
                </a:cubicBezTo>
                <a:cubicBezTo>
                  <a:pt x="3322691" y="3857385"/>
                  <a:pt x="3322691" y="3851679"/>
                  <a:pt x="3322691" y="3847874"/>
                </a:cubicBezTo>
                <a:cubicBezTo>
                  <a:pt x="3322691" y="3823147"/>
                  <a:pt x="3337931" y="3802223"/>
                  <a:pt x="3362695" y="3796517"/>
                </a:cubicBezTo>
                <a:cubicBezTo>
                  <a:pt x="3362695" y="3796517"/>
                  <a:pt x="3362695" y="3796517"/>
                  <a:pt x="3705588" y="3705214"/>
                </a:cubicBezTo>
                <a:cubicBezTo>
                  <a:pt x="3712732" y="3702836"/>
                  <a:pt x="3719992" y="3702123"/>
                  <a:pt x="3726989" y="3702866"/>
                </a:cubicBezTo>
                <a:close/>
                <a:moveTo>
                  <a:pt x="2593304" y="3702866"/>
                </a:moveTo>
                <a:cubicBezTo>
                  <a:pt x="2614363" y="3705095"/>
                  <a:pt x="2633002" y="3720431"/>
                  <a:pt x="2638736" y="3743256"/>
                </a:cubicBezTo>
                <a:cubicBezTo>
                  <a:pt x="2646382" y="3771789"/>
                  <a:pt x="2629177" y="3800321"/>
                  <a:pt x="2600503" y="3807929"/>
                </a:cubicBezTo>
                <a:cubicBezTo>
                  <a:pt x="2600503" y="3807929"/>
                  <a:pt x="2600503" y="3807929"/>
                  <a:pt x="2256408" y="3899232"/>
                </a:cubicBezTo>
                <a:cubicBezTo>
                  <a:pt x="2225822" y="3906841"/>
                  <a:pt x="2197147" y="3889722"/>
                  <a:pt x="2189501" y="3861189"/>
                </a:cubicBezTo>
                <a:cubicBezTo>
                  <a:pt x="2187590" y="3857385"/>
                  <a:pt x="2187590" y="3851679"/>
                  <a:pt x="2187590" y="3847874"/>
                </a:cubicBezTo>
                <a:cubicBezTo>
                  <a:pt x="2187590" y="3823147"/>
                  <a:pt x="2202883" y="3802223"/>
                  <a:pt x="2227734" y="3796517"/>
                </a:cubicBezTo>
                <a:cubicBezTo>
                  <a:pt x="2227734" y="3796517"/>
                  <a:pt x="2227734" y="3796517"/>
                  <a:pt x="2571828" y="3705214"/>
                </a:cubicBezTo>
                <a:cubicBezTo>
                  <a:pt x="2578997" y="3702836"/>
                  <a:pt x="2586285" y="3702123"/>
                  <a:pt x="2593304" y="3702866"/>
                </a:cubicBezTo>
                <a:close/>
                <a:moveTo>
                  <a:pt x="3135575" y="3696656"/>
                </a:moveTo>
                <a:cubicBezTo>
                  <a:pt x="3166097" y="3690941"/>
                  <a:pt x="3196619" y="3709991"/>
                  <a:pt x="3202342" y="3740471"/>
                </a:cubicBezTo>
                <a:cubicBezTo>
                  <a:pt x="3209972" y="3770951"/>
                  <a:pt x="3190898" y="3801431"/>
                  <a:pt x="3160373" y="3809051"/>
                </a:cubicBezTo>
                <a:cubicBezTo>
                  <a:pt x="3160373" y="3809051"/>
                  <a:pt x="3160373" y="3809051"/>
                  <a:pt x="2815092" y="3883346"/>
                </a:cubicBezTo>
                <a:cubicBezTo>
                  <a:pt x="2784567" y="3890966"/>
                  <a:pt x="2754047" y="3871916"/>
                  <a:pt x="2746418" y="3841436"/>
                </a:cubicBezTo>
                <a:cubicBezTo>
                  <a:pt x="2746418" y="3835721"/>
                  <a:pt x="2746418" y="3831911"/>
                  <a:pt x="2746418" y="3828101"/>
                </a:cubicBezTo>
                <a:cubicBezTo>
                  <a:pt x="2746418" y="3801431"/>
                  <a:pt x="2763583" y="3778571"/>
                  <a:pt x="2790295" y="3772856"/>
                </a:cubicBezTo>
                <a:cubicBezTo>
                  <a:pt x="2790295" y="3772856"/>
                  <a:pt x="2790295" y="3772856"/>
                  <a:pt x="3135575" y="3696656"/>
                </a:cubicBezTo>
                <a:close/>
                <a:moveTo>
                  <a:pt x="9858878" y="3457894"/>
                </a:moveTo>
                <a:cubicBezTo>
                  <a:pt x="9863879" y="3458370"/>
                  <a:pt x="9868642" y="3460749"/>
                  <a:pt x="9871499" y="3465507"/>
                </a:cubicBezTo>
                <a:cubicBezTo>
                  <a:pt x="9879119" y="3473119"/>
                  <a:pt x="9877214" y="3484538"/>
                  <a:pt x="9869594" y="3492151"/>
                </a:cubicBezTo>
                <a:cubicBezTo>
                  <a:pt x="9869594" y="3492151"/>
                  <a:pt x="9869594" y="3492151"/>
                  <a:pt x="9538119" y="3773816"/>
                </a:cubicBezTo>
                <a:cubicBezTo>
                  <a:pt x="9530499" y="3781429"/>
                  <a:pt x="9519069" y="3781429"/>
                  <a:pt x="9511449" y="3771913"/>
                </a:cubicBezTo>
                <a:cubicBezTo>
                  <a:pt x="9509544" y="3768107"/>
                  <a:pt x="9507639" y="3764301"/>
                  <a:pt x="9507639" y="3760494"/>
                </a:cubicBezTo>
                <a:cubicBezTo>
                  <a:pt x="9507639" y="3754785"/>
                  <a:pt x="9509544" y="3749075"/>
                  <a:pt x="9513354" y="3745269"/>
                </a:cubicBezTo>
                <a:cubicBezTo>
                  <a:pt x="9513354" y="3745269"/>
                  <a:pt x="9513354" y="3745269"/>
                  <a:pt x="9844829" y="3461700"/>
                </a:cubicBezTo>
                <a:cubicBezTo>
                  <a:pt x="9848639" y="3458846"/>
                  <a:pt x="9853878" y="3457418"/>
                  <a:pt x="9858878" y="3457894"/>
                </a:cubicBezTo>
                <a:close/>
                <a:moveTo>
                  <a:pt x="10444338" y="3451145"/>
                </a:moveTo>
                <a:cubicBezTo>
                  <a:pt x="10449819" y="3451859"/>
                  <a:pt x="10455062" y="3454714"/>
                  <a:pt x="10458876" y="3459471"/>
                </a:cubicBezTo>
                <a:cubicBezTo>
                  <a:pt x="10466502" y="3468987"/>
                  <a:pt x="10464595" y="3482308"/>
                  <a:pt x="10455062" y="3489921"/>
                </a:cubicBezTo>
                <a:cubicBezTo>
                  <a:pt x="10455062" y="3489921"/>
                  <a:pt x="10455062" y="3489921"/>
                  <a:pt x="10123310" y="3756353"/>
                </a:cubicBezTo>
                <a:cubicBezTo>
                  <a:pt x="10113777" y="3763966"/>
                  <a:pt x="10098524" y="3762063"/>
                  <a:pt x="10090897" y="3752547"/>
                </a:cubicBezTo>
                <a:cubicBezTo>
                  <a:pt x="10088991" y="3748741"/>
                  <a:pt x="10087084" y="3743032"/>
                  <a:pt x="10087084" y="3737323"/>
                </a:cubicBezTo>
                <a:cubicBezTo>
                  <a:pt x="10087084" y="3731613"/>
                  <a:pt x="10088991" y="3725904"/>
                  <a:pt x="10094710" y="3720195"/>
                </a:cubicBezTo>
                <a:cubicBezTo>
                  <a:pt x="10094710" y="3720195"/>
                  <a:pt x="10094710" y="3720195"/>
                  <a:pt x="10428370" y="3455665"/>
                </a:cubicBezTo>
                <a:cubicBezTo>
                  <a:pt x="10433136" y="3451859"/>
                  <a:pt x="10438856" y="3450432"/>
                  <a:pt x="10444338" y="3451145"/>
                </a:cubicBezTo>
                <a:close/>
                <a:moveTo>
                  <a:pt x="9282925" y="3451145"/>
                </a:moveTo>
                <a:cubicBezTo>
                  <a:pt x="9288878" y="3451859"/>
                  <a:pt x="9294593" y="3454714"/>
                  <a:pt x="9298403" y="3459471"/>
                </a:cubicBezTo>
                <a:cubicBezTo>
                  <a:pt x="9306023" y="3468987"/>
                  <a:pt x="9304118" y="3482308"/>
                  <a:pt x="9294593" y="3489921"/>
                </a:cubicBezTo>
                <a:cubicBezTo>
                  <a:pt x="9294593" y="3489921"/>
                  <a:pt x="9294593" y="3489921"/>
                  <a:pt x="8961213" y="3756353"/>
                </a:cubicBezTo>
                <a:cubicBezTo>
                  <a:pt x="8951688" y="3763966"/>
                  <a:pt x="8938353" y="3762063"/>
                  <a:pt x="8930733" y="3752547"/>
                </a:cubicBezTo>
                <a:cubicBezTo>
                  <a:pt x="8926923" y="3748741"/>
                  <a:pt x="8925018" y="3743032"/>
                  <a:pt x="8925018" y="3737323"/>
                </a:cubicBezTo>
                <a:cubicBezTo>
                  <a:pt x="8925018" y="3731613"/>
                  <a:pt x="8928828" y="3725904"/>
                  <a:pt x="8934543" y="3720195"/>
                </a:cubicBezTo>
                <a:cubicBezTo>
                  <a:pt x="8934543" y="3720195"/>
                  <a:pt x="8934543" y="3720195"/>
                  <a:pt x="9266017" y="3455665"/>
                </a:cubicBezTo>
                <a:cubicBezTo>
                  <a:pt x="9270780" y="3451859"/>
                  <a:pt x="9276971" y="3450432"/>
                  <a:pt x="9282925" y="3451145"/>
                </a:cubicBezTo>
                <a:close/>
                <a:moveTo>
                  <a:pt x="8712667" y="3443688"/>
                </a:moveTo>
                <a:cubicBezTo>
                  <a:pt x="8719102" y="3444402"/>
                  <a:pt x="8725299" y="3447736"/>
                  <a:pt x="8730065" y="3453451"/>
                </a:cubicBezTo>
                <a:cubicBezTo>
                  <a:pt x="8737691" y="3464881"/>
                  <a:pt x="8735784" y="3482026"/>
                  <a:pt x="8724345" y="3489646"/>
                </a:cubicBezTo>
                <a:cubicBezTo>
                  <a:pt x="8724345" y="3489646"/>
                  <a:pt x="8724345" y="3489646"/>
                  <a:pt x="8390693" y="3737296"/>
                </a:cubicBezTo>
                <a:cubicBezTo>
                  <a:pt x="8379253" y="3744916"/>
                  <a:pt x="8362094" y="3743011"/>
                  <a:pt x="8354468" y="3731581"/>
                </a:cubicBezTo>
                <a:cubicBezTo>
                  <a:pt x="8350655" y="3727771"/>
                  <a:pt x="8348748" y="3722056"/>
                  <a:pt x="8348748" y="3716341"/>
                </a:cubicBezTo>
                <a:cubicBezTo>
                  <a:pt x="8348748" y="3708721"/>
                  <a:pt x="8352561" y="3701101"/>
                  <a:pt x="8360188" y="3695386"/>
                </a:cubicBezTo>
                <a:cubicBezTo>
                  <a:pt x="8360188" y="3695386"/>
                  <a:pt x="8360188" y="3695386"/>
                  <a:pt x="8693840" y="3449641"/>
                </a:cubicBezTo>
                <a:cubicBezTo>
                  <a:pt x="8699560" y="3444878"/>
                  <a:pt x="8706233" y="3442973"/>
                  <a:pt x="8712667" y="3443688"/>
                </a:cubicBezTo>
                <a:close/>
                <a:moveTo>
                  <a:pt x="11022273" y="3443688"/>
                </a:moveTo>
                <a:cubicBezTo>
                  <a:pt x="11028469" y="3444402"/>
                  <a:pt x="11034189" y="3447736"/>
                  <a:pt x="11038002" y="3453451"/>
                </a:cubicBezTo>
                <a:cubicBezTo>
                  <a:pt x="11047535" y="3464881"/>
                  <a:pt x="11045628" y="3482026"/>
                  <a:pt x="11034189" y="3489646"/>
                </a:cubicBezTo>
                <a:cubicBezTo>
                  <a:pt x="11034189" y="3489646"/>
                  <a:pt x="11034189" y="3489646"/>
                  <a:pt x="10700537" y="3737296"/>
                </a:cubicBezTo>
                <a:cubicBezTo>
                  <a:pt x="10689097" y="3744916"/>
                  <a:pt x="10671938" y="3743011"/>
                  <a:pt x="10664312" y="3731581"/>
                </a:cubicBezTo>
                <a:cubicBezTo>
                  <a:pt x="10660499" y="3727771"/>
                  <a:pt x="10658592" y="3722056"/>
                  <a:pt x="10658592" y="3716341"/>
                </a:cubicBezTo>
                <a:cubicBezTo>
                  <a:pt x="10658592" y="3708721"/>
                  <a:pt x="10662405" y="3701101"/>
                  <a:pt x="10670032" y="3695386"/>
                </a:cubicBezTo>
                <a:cubicBezTo>
                  <a:pt x="10670032" y="3695386"/>
                  <a:pt x="10670032" y="3695386"/>
                  <a:pt x="11003684" y="3449641"/>
                </a:cubicBezTo>
                <a:cubicBezTo>
                  <a:pt x="11009404" y="3444878"/>
                  <a:pt x="11016077" y="3442973"/>
                  <a:pt x="11022273" y="3443688"/>
                </a:cubicBezTo>
                <a:close/>
                <a:moveTo>
                  <a:pt x="11595028" y="3438528"/>
                </a:moveTo>
                <a:cubicBezTo>
                  <a:pt x="11602660" y="3439957"/>
                  <a:pt x="11609816" y="3444243"/>
                  <a:pt x="11614586" y="3450911"/>
                </a:cubicBezTo>
                <a:cubicBezTo>
                  <a:pt x="11622218" y="3464246"/>
                  <a:pt x="11620310" y="3483296"/>
                  <a:pt x="11606953" y="3490916"/>
                </a:cubicBezTo>
                <a:cubicBezTo>
                  <a:pt x="11606953" y="3490916"/>
                  <a:pt x="11606953" y="3490916"/>
                  <a:pt x="11271132" y="3719516"/>
                </a:cubicBezTo>
                <a:cubicBezTo>
                  <a:pt x="11257775" y="3729041"/>
                  <a:pt x="11238695" y="3725231"/>
                  <a:pt x="11231062" y="3711896"/>
                </a:cubicBezTo>
                <a:cubicBezTo>
                  <a:pt x="11227246" y="3706181"/>
                  <a:pt x="11225338" y="3700466"/>
                  <a:pt x="11225338" y="3696656"/>
                </a:cubicBezTo>
                <a:cubicBezTo>
                  <a:pt x="11225338" y="3687131"/>
                  <a:pt x="11229154" y="3677606"/>
                  <a:pt x="11238695" y="3671891"/>
                </a:cubicBezTo>
                <a:cubicBezTo>
                  <a:pt x="11238695" y="3671891"/>
                  <a:pt x="11238695" y="3671891"/>
                  <a:pt x="11572608" y="3443291"/>
                </a:cubicBezTo>
                <a:cubicBezTo>
                  <a:pt x="11579286" y="3438528"/>
                  <a:pt x="11587396" y="3437100"/>
                  <a:pt x="11595028" y="3438528"/>
                </a:cubicBezTo>
                <a:close/>
                <a:moveTo>
                  <a:pt x="8149264" y="3438528"/>
                </a:moveTo>
                <a:cubicBezTo>
                  <a:pt x="8156391" y="3439957"/>
                  <a:pt x="8163042" y="3444243"/>
                  <a:pt x="8167794" y="3450911"/>
                </a:cubicBezTo>
                <a:cubicBezTo>
                  <a:pt x="8177296" y="3464246"/>
                  <a:pt x="8173495" y="3483296"/>
                  <a:pt x="8160192" y="3490916"/>
                </a:cubicBezTo>
                <a:cubicBezTo>
                  <a:pt x="8160192" y="3490916"/>
                  <a:pt x="8160192" y="3490916"/>
                  <a:pt x="7825713" y="3719516"/>
                </a:cubicBezTo>
                <a:cubicBezTo>
                  <a:pt x="7812410" y="3729041"/>
                  <a:pt x="7795306" y="3725231"/>
                  <a:pt x="7785804" y="3711896"/>
                </a:cubicBezTo>
                <a:cubicBezTo>
                  <a:pt x="7782003" y="3706181"/>
                  <a:pt x="7782003" y="3700466"/>
                  <a:pt x="7782003" y="3696656"/>
                </a:cubicBezTo>
                <a:cubicBezTo>
                  <a:pt x="7782003" y="3687131"/>
                  <a:pt x="7785804" y="3677606"/>
                  <a:pt x="7793405" y="3671891"/>
                </a:cubicBezTo>
                <a:cubicBezTo>
                  <a:pt x="7793405" y="3671891"/>
                  <a:pt x="7793405" y="3671891"/>
                  <a:pt x="8127884" y="3443291"/>
                </a:cubicBezTo>
                <a:cubicBezTo>
                  <a:pt x="8134536" y="3438528"/>
                  <a:pt x="8142137" y="3437100"/>
                  <a:pt x="8149264" y="3438528"/>
                </a:cubicBezTo>
                <a:close/>
                <a:moveTo>
                  <a:pt x="12139750" y="3433766"/>
                </a:moveTo>
                <a:cubicBezTo>
                  <a:pt x="12139750" y="3433766"/>
                  <a:pt x="12139750" y="3433766"/>
                  <a:pt x="12139750" y="3509879"/>
                </a:cubicBezTo>
                <a:cubicBezTo>
                  <a:pt x="12139750" y="3509879"/>
                  <a:pt x="12139750" y="3509879"/>
                  <a:pt x="11835219" y="3702065"/>
                </a:cubicBezTo>
                <a:cubicBezTo>
                  <a:pt x="11819993" y="3711579"/>
                  <a:pt x="11799056" y="3705870"/>
                  <a:pt x="11789540" y="3690648"/>
                </a:cubicBezTo>
                <a:cubicBezTo>
                  <a:pt x="11785733" y="3684939"/>
                  <a:pt x="11785733" y="3679231"/>
                  <a:pt x="11785733" y="3673522"/>
                </a:cubicBezTo>
                <a:cubicBezTo>
                  <a:pt x="11785733" y="3662105"/>
                  <a:pt x="11789540" y="3652591"/>
                  <a:pt x="11800960" y="3646883"/>
                </a:cubicBezTo>
                <a:lnTo>
                  <a:pt x="12135943" y="3435669"/>
                </a:lnTo>
                <a:cubicBezTo>
                  <a:pt x="12137847" y="3435669"/>
                  <a:pt x="12137847" y="3435669"/>
                  <a:pt x="12139750" y="3433766"/>
                </a:cubicBezTo>
                <a:close/>
                <a:moveTo>
                  <a:pt x="7592961" y="3431781"/>
                </a:moveTo>
                <a:cubicBezTo>
                  <a:pt x="7601309" y="3433924"/>
                  <a:pt x="7608941" y="3439163"/>
                  <a:pt x="7613711" y="3446783"/>
                </a:cubicBezTo>
                <a:cubicBezTo>
                  <a:pt x="7623251" y="3462023"/>
                  <a:pt x="7617527" y="3481073"/>
                  <a:pt x="7602263" y="3490598"/>
                </a:cubicBezTo>
                <a:cubicBezTo>
                  <a:pt x="7602263" y="3490598"/>
                  <a:pt x="7602263" y="3490598"/>
                  <a:pt x="7266453" y="3702053"/>
                </a:cubicBezTo>
                <a:cubicBezTo>
                  <a:pt x="7251189" y="3711578"/>
                  <a:pt x="7232109" y="3705863"/>
                  <a:pt x="7222569" y="3690623"/>
                </a:cubicBezTo>
                <a:cubicBezTo>
                  <a:pt x="7218753" y="3684908"/>
                  <a:pt x="7216845" y="3679193"/>
                  <a:pt x="7216845" y="3673478"/>
                </a:cubicBezTo>
                <a:cubicBezTo>
                  <a:pt x="7216845" y="3662048"/>
                  <a:pt x="7222569" y="3652523"/>
                  <a:pt x="7232109" y="3646808"/>
                </a:cubicBezTo>
                <a:cubicBezTo>
                  <a:pt x="7232109" y="3646808"/>
                  <a:pt x="7232109" y="3646808"/>
                  <a:pt x="7567918" y="3435353"/>
                </a:cubicBezTo>
                <a:cubicBezTo>
                  <a:pt x="7575551" y="3430590"/>
                  <a:pt x="7584614" y="3429638"/>
                  <a:pt x="7592961" y="3431781"/>
                </a:cubicBezTo>
                <a:close/>
                <a:moveTo>
                  <a:pt x="7042583" y="3425684"/>
                </a:moveTo>
                <a:cubicBezTo>
                  <a:pt x="7051618" y="3428071"/>
                  <a:pt x="7059702" y="3433799"/>
                  <a:pt x="7064457" y="3442391"/>
                </a:cubicBezTo>
                <a:cubicBezTo>
                  <a:pt x="7073968" y="3459576"/>
                  <a:pt x="7068261" y="3480580"/>
                  <a:pt x="7051143" y="3490127"/>
                </a:cubicBezTo>
                <a:cubicBezTo>
                  <a:pt x="7051143" y="3490127"/>
                  <a:pt x="7051143" y="3490127"/>
                  <a:pt x="6714471" y="3682981"/>
                </a:cubicBezTo>
                <a:cubicBezTo>
                  <a:pt x="6697352" y="3692528"/>
                  <a:pt x="6676429" y="3686800"/>
                  <a:pt x="6665016" y="3669615"/>
                </a:cubicBezTo>
                <a:cubicBezTo>
                  <a:pt x="6663114" y="3663886"/>
                  <a:pt x="6661212" y="3658158"/>
                  <a:pt x="6661212" y="3652430"/>
                </a:cubicBezTo>
                <a:cubicBezTo>
                  <a:pt x="6661212" y="3639064"/>
                  <a:pt x="6666918" y="3627607"/>
                  <a:pt x="6678331" y="3619969"/>
                </a:cubicBezTo>
                <a:cubicBezTo>
                  <a:pt x="6678331" y="3619969"/>
                  <a:pt x="6678331" y="3619969"/>
                  <a:pt x="7015003" y="3429025"/>
                </a:cubicBezTo>
                <a:cubicBezTo>
                  <a:pt x="7023562" y="3424254"/>
                  <a:pt x="7033548" y="3423297"/>
                  <a:pt x="7042583" y="3425684"/>
                </a:cubicBezTo>
                <a:close/>
                <a:moveTo>
                  <a:pt x="6499335" y="3418940"/>
                </a:moveTo>
                <a:cubicBezTo>
                  <a:pt x="6508845" y="3422044"/>
                  <a:pt x="6517405" y="3428727"/>
                  <a:pt x="6523112" y="3438274"/>
                </a:cubicBezTo>
                <a:cubicBezTo>
                  <a:pt x="6532623" y="3457370"/>
                  <a:pt x="6525014" y="3480286"/>
                  <a:pt x="6505992" y="3491743"/>
                </a:cubicBezTo>
                <a:cubicBezTo>
                  <a:pt x="6505992" y="3491743"/>
                  <a:pt x="6505992" y="3491743"/>
                  <a:pt x="6167407" y="3663607"/>
                </a:cubicBezTo>
                <a:cubicBezTo>
                  <a:pt x="6148385" y="3675065"/>
                  <a:pt x="6125559" y="3667426"/>
                  <a:pt x="6116048" y="3648330"/>
                </a:cubicBezTo>
                <a:cubicBezTo>
                  <a:pt x="6112244" y="3642602"/>
                  <a:pt x="6110342" y="3634963"/>
                  <a:pt x="6110342" y="3629234"/>
                </a:cubicBezTo>
                <a:cubicBezTo>
                  <a:pt x="6110342" y="3615867"/>
                  <a:pt x="6117950" y="3602500"/>
                  <a:pt x="6131266" y="3594862"/>
                </a:cubicBezTo>
                <a:cubicBezTo>
                  <a:pt x="6131266" y="3594862"/>
                  <a:pt x="6131266" y="3594862"/>
                  <a:pt x="6469851" y="3421090"/>
                </a:cubicBezTo>
                <a:cubicBezTo>
                  <a:pt x="6479362" y="3416316"/>
                  <a:pt x="6489824" y="3415839"/>
                  <a:pt x="6499335" y="3418940"/>
                </a:cubicBezTo>
                <a:close/>
                <a:moveTo>
                  <a:pt x="5958954" y="3413743"/>
                </a:moveTo>
                <a:cubicBezTo>
                  <a:pt x="5969462" y="3417542"/>
                  <a:pt x="5978538" y="3425142"/>
                  <a:pt x="5983314" y="3435593"/>
                </a:cubicBezTo>
                <a:cubicBezTo>
                  <a:pt x="5992867" y="3456495"/>
                  <a:pt x="5983314" y="3483098"/>
                  <a:pt x="5962297" y="3492599"/>
                </a:cubicBezTo>
                <a:cubicBezTo>
                  <a:pt x="5962297" y="3492599"/>
                  <a:pt x="5962297" y="3492599"/>
                  <a:pt x="5622211" y="3646514"/>
                </a:cubicBezTo>
                <a:cubicBezTo>
                  <a:pt x="5599283" y="3656015"/>
                  <a:pt x="5574446" y="3646514"/>
                  <a:pt x="5564892" y="3625612"/>
                </a:cubicBezTo>
                <a:cubicBezTo>
                  <a:pt x="5562981" y="3619911"/>
                  <a:pt x="5561071" y="3614211"/>
                  <a:pt x="5561071" y="3608510"/>
                </a:cubicBezTo>
                <a:cubicBezTo>
                  <a:pt x="5561071" y="3591408"/>
                  <a:pt x="5570624" y="3576207"/>
                  <a:pt x="5585909" y="3568606"/>
                </a:cubicBezTo>
                <a:cubicBezTo>
                  <a:pt x="5585909" y="3568606"/>
                  <a:pt x="5585909" y="3568606"/>
                  <a:pt x="5925996" y="3414692"/>
                </a:cubicBezTo>
                <a:cubicBezTo>
                  <a:pt x="5936505" y="3409944"/>
                  <a:pt x="5948446" y="3409944"/>
                  <a:pt x="5958954" y="3413743"/>
                </a:cubicBezTo>
                <a:close/>
                <a:moveTo>
                  <a:pt x="398651" y="3413741"/>
                </a:moveTo>
                <a:cubicBezTo>
                  <a:pt x="408645" y="3417542"/>
                  <a:pt x="417211" y="3425142"/>
                  <a:pt x="421971" y="3435593"/>
                </a:cubicBezTo>
                <a:cubicBezTo>
                  <a:pt x="433392" y="3456495"/>
                  <a:pt x="423874" y="3483098"/>
                  <a:pt x="401031" y="3492599"/>
                </a:cubicBezTo>
                <a:cubicBezTo>
                  <a:pt x="401031" y="3492599"/>
                  <a:pt x="401031" y="3492599"/>
                  <a:pt x="62187" y="3646514"/>
                </a:cubicBezTo>
                <a:cubicBezTo>
                  <a:pt x="41248" y="3656015"/>
                  <a:pt x="16501" y="3646514"/>
                  <a:pt x="6983" y="3625612"/>
                </a:cubicBezTo>
                <a:cubicBezTo>
                  <a:pt x="3175" y="3619911"/>
                  <a:pt x="3175" y="3614211"/>
                  <a:pt x="3175" y="3608510"/>
                </a:cubicBezTo>
                <a:cubicBezTo>
                  <a:pt x="3175" y="3591408"/>
                  <a:pt x="12693" y="3576207"/>
                  <a:pt x="27922" y="3568606"/>
                </a:cubicBezTo>
                <a:cubicBezTo>
                  <a:pt x="27922" y="3568606"/>
                  <a:pt x="27922" y="3568606"/>
                  <a:pt x="366766" y="3414692"/>
                </a:cubicBezTo>
                <a:cubicBezTo>
                  <a:pt x="377236" y="3409942"/>
                  <a:pt x="388657" y="3409942"/>
                  <a:pt x="398651" y="3413741"/>
                </a:cubicBezTo>
                <a:close/>
                <a:moveTo>
                  <a:pt x="5394959" y="3403430"/>
                </a:moveTo>
                <a:cubicBezTo>
                  <a:pt x="5413341" y="3403787"/>
                  <a:pt x="5430116" y="3414829"/>
                  <a:pt x="5437255" y="3433353"/>
                </a:cubicBezTo>
                <a:cubicBezTo>
                  <a:pt x="5446773" y="3456153"/>
                  <a:pt x="5435351" y="3482753"/>
                  <a:pt x="5410604" y="3492253"/>
                </a:cubicBezTo>
                <a:cubicBezTo>
                  <a:pt x="5410604" y="3492253"/>
                  <a:pt x="5410604" y="3492253"/>
                  <a:pt x="5069849" y="3629053"/>
                </a:cubicBezTo>
                <a:cubicBezTo>
                  <a:pt x="5047007" y="3638553"/>
                  <a:pt x="5020359" y="3627153"/>
                  <a:pt x="5010842" y="3602453"/>
                </a:cubicBezTo>
                <a:cubicBezTo>
                  <a:pt x="5008938" y="3596753"/>
                  <a:pt x="5007035" y="3591053"/>
                  <a:pt x="5007035" y="3585353"/>
                </a:cubicBezTo>
                <a:cubicBezTo>
                  <a:pt x="5007035" y="3568253"/>
                  <a:pt x="5018456" y="3551153"/>
                  <a:pt x="5037491" y="3543553"/>
                </a:cubicBezTo>
                <a:cubicBezTo>
                  <a:pt x="5037491" y="3543553"/>
                  <a:pt x="5037491" y="3543553"/>
                  <a:pt x="5376340" y="3406755"/>
                </a:cubicBezTo>
                <a:cubicBezTo>
                  <a:pt x="5382526" y="3404382"/>
                  <a:pt x="5388832" y="3403312"/>
                  <a:pt x="5394959" y="3403430"/>
                </a:cubicBezTo>
                <a:close/>
                <a:moveTo>
                  <a:pt x="928445" y="3403428"/>
                </a:moveTo>
                <a:cubicBezTo>
                  <a:pt x="946037" y="3403784"/>
                  <a:pt x="962825" y="3414829"/>
                  <a:pt x="969969" y="3433353"/>
                </a:cubicBezTo>
                <a:cubicBezTo>
                  <a:pt x="979494" y="3456153"/>
                  <a:pt x="968064" y="3482753"/>
                  <a:pt x="945204" y="3492253"/>
                </a:cubicBezTo>
                <a:cubicBezTo>
                  <a:pt x="945204" y="3492253"/>
                  <a:pt x="945204" y="3492253"/>
                  <a:pt x="604205" y="3629053"/>
                </a:cubicBezTo>
                <a:cubicBezTo>
                  <a:pt x="579439" y="3638553"/>
                  <a:pt x="552769" y="3627153"/>
                  <a:pt x="543244" y="3602453"/>
                </a:cubicBezTo>
                <a:cubicBezTo>
                  <a:pt x="541339" y="3596753"/>
                  <a:pt x="541339" y="3591053"/>
                  <a:pt x="541339" y="3585353"/>
                </a:cubicBezTo>
                <a:cubicBezTo>
                  <a:pt x="541339" y="3568253"/>
                  <a:pt x="550864" y="3551153"/>
                  <a:pt x="569914" y="3543553"/>
                </a:cubicBezTo>
                <a:cubicBezTo>
                  <a:pt x="569914" y="3543553"/>
                  <a:pt x="569914" y="3543553"/>
                  <a:pt x="910913" y="3406753"/>
                </a:cubicBezTo>
                <a:cubicBezTo>
                  <a:pt x="916628" y="3404380"/>
                  <a:pt x="922581" y="3403309"/>
                  <a:pt x="928445" y="3403428"/>
                </a:cubicBezTo>
                <a:close/>
                <a:moveTo>
                  <a:pt x="4843466" y="3396591"/>
                </a:moveTo>
                <a:cubicBezTo>
                  <a:pt x="4863129" y="3398289"/>
                  <a:pt x="4880646" y="3410433"/>
                  <a:pt x="4886368" y="3429004"/>
                </a:cubicBezTo>
                <a:cubicBezTo>
                  <a:pt x="4895902" y="3455673"/>
                  <a:pt x="4882555" y="3484248"/>
                  <a:pt x="4855860" y="3491868"/>
                </a:cubicBezTo>
                <a:cubicBezTo>
                  <a:pt x="4855860" y="3491868"/>
                  <a:pt x="4855860" y="3491868"/>
                  <a:pt x="4514625" y="3609978"/>
                </a:cubicBezTo>
                <a:cubicBezTo>
                  <a:pt x="4487935" y="3619503"/>
                  <a:pt x="4461245" y="3606168"/>
                  <a:pt x="4451713" y="3579498"/>
                </a:cubicBezTo>
                <a:cubicBezTo>
                  <a:pt x="4449806" y="3575688"/>
                  <a:pt x="4449806" y="3569973"/>
                  <a:pt x="4449806" y="3564258"/>
                </a:cubicBezTo>
                <a:cubicBezTo>
                  <a:pt x="4449806" y="3543303"/>
                  <a:pt x="4461245" y="3524253"/>
                  <a:pt x="4482216" y="3518538"/>
                </a:cubicBezTo>
                <a:cubicBezTo>
                  <a:pt x="4482216" y="3518538"/>
                  <a:pt x="4482216" y="3518538"/>
                  <a:pt x="4823448" y="3398526"/>
                </a:cubicBezTo>
                <a:cubicBezTo>
                  <a:pt x="4830120" y="3396621"/>
                  <a:pt x="4836914" y="3396026"/>
                  <a:pt x="4843466" y="3396591"/>
                </a:cubicBezTo>
                <a:close/>
                <a:moveTo>
                  <a:pt x="1478769" y="3396589"/>
                </a:moveTo>
                <a:cubicBezTo>
                  <a:pt x="1497714" y="3398285"/>
                  <a:pt x="1515586" y="3410431"/>
                  <a:pt x="1522735" y="3429004"/>
                </a:cubicBezTo>
                <a:cubicBezTo>
                  <a:pt x="1530360" y="3455673"/>
                  <a:pt x="1517016" y="3484248"/>
                  <a:pt x="1492233" y="3491868"/>
                </a:cubicBezTo>
                <a:cubicBezTo>
                  <a:pt x="1492233" y="3491868"/>
                  <a:pt x="1492233" y="3491868"/>
                  <a:pt x="1149084" y="3609978"/>
                </a:cubicBezTo>
                <a:cubicBezTo>
                  <a:pt x="1124301" y="3619503"/>
                  <a:pt x="1095705" y="3606168"/>
                  <a:pt x="1088080" y="3579498"/>
                </a:cubicBezTo>
                <a:cubicBezTo>
                  <a:pt x="1086173" y="3575688"/>
                  <a:pt x="1084267" y="3569973"/>
                  <a:pt x="1084267" y="3564258"/>
                </a:cubicBezTo>
                <a:cubicBezTo>
                  <a:pt x="1084267" y="3543303"/>
                  <a:pt x="1097612" y="3524253"/>
                  <a:pt x="1116676" y="3518538"/>
                </a:cubicBezTo>
                <a:cubicBezTo>
                  <a:pt x="1116676" y="3518538"/>
                  <a:pt x="1116676" y="3518538"/>
                  <a:pt x="1459824" y="3398524"/>
                </a:cubicBezTo>
                <a:cubicBezTo>
                  <a:pt x="1466020" y="3396619"/>
                  <a:pt x="1472454" y="3396023"/>
                  <a:pt x="1478769" y="3396589"/>
                </a:cubicBezTo>
                <a:close/>
                <a:moveTo>
                  <a:pt x="4288621" y="3390094"/>
                </a:moveTo>
                <a:cubicBezTo>
                  <a:pt x="4309086" y="3392150"/>
                  <a:pt x="4326601" y="3406815"/>
                  <a:pt x="4332319" y="3426845"/>
                </a:cubicBezTo>
                <a:cubicBezTo>
                  <a:pt x="4341852" y="3455461"/>
                  <a:pt x="4324695" y="3484078"/>
                  <a:pt x="4298005" y="3491709"/>
                </a:cubicBezTo>
                <a:cubicBezTo>
                  <a:pt x="4298005" y="3491709"/>
                  <a:pt x="4298005" y="3491709"/>
                  <a:pt x="3954880" y="3592822"/>
                </a:cubicBezTo>
                <a:cubicBezTo>
                  <a:pt x="3926284" y="3600453"/>
                  <a:pt x="3897689" y="3585191"/>
                  <a:pt x="3888158" y="3556574"/>
                </a:cubicBezTo>
                <a:cubicBezTo>
                  <a:pt x="3888158" y="3552758"/>
                  <a:pt x="3886250" y="3547035"/>
                  <a:pt x="3886250" y="3541311"/>
                </a:cubicBezTo>
                <a:cubicBezTo>
                  <a:pt x="3886250" y="3518418"/>
                  <a:pt x="3901502" y="3497432"/>
                  <a:pt x="3924377" y="3491709"/>
                </a:cubicBezTo>
                <a:cubicBezTo>
                  <a:pt x="3924377" y="3491709"/>
                  <a:pt x="3924377" y="3491709"/>
                  <a:pt x="4267501" y="3392508"/>
                </a:cubicBezTo>
                <a:cubicBezTo>
                  <a:pt x="4274651" y="3390124"/>
                  <a:pt x="4281800" y="3389407"/>
                  <a:pt x="4288621" y="3390094"/>
                </a:cubicBezTo>
                <a:close/>
                <a:moveTo>
                  <a:pt x="2035412" y="3390091"/>
                </a:moveTo>
                <a:cubicBezTo>
                  <a:pt x="2055626" y="3392148"/>
                  <a:pt x="2074226" y="3406813"/>
                  <a:pt x="2079949" y="3426845"/>
                </a:cubicBezTo>
                <a:cubicBezTo>
                  <a:pt x="2087581" y="3455461"/>
                  <a:pt x="2072317" y="3484078"/>
                  <a:pt x="2043698" y="3491709"/>
                </a:cubicBezTo>
                <a:cubicBezTo>
                  <a:pt x="2043698" y="3491709"/>
                  <a:pt x="2043698" y="3491709"/>
                  <a:pt x="1700314" y="3592822"/>
                </a:cubicBezTo>
                <a:cubicBezTo>
                  <a:pt x="1671698" y="3600453"/>
                  <a:pt x="1643083" y="3585191"/>
                  <a:pt x="1635452" y="3556574"/>
                </a:cubicBezTo>
                <a:cubicBezTo>
                  <a:pt x="1633545" y="3552758"/>
                  <a:pt x="1633545" y="3547035"/>
                  <a:pt x="1633545" y="3541311"/>
                </a:cubicBezTo>
                <a:cubicBezTo>
                  <a:pt x="1633545" y="3518418"/>
                  <a:pt x="1648806" y="3497432"/>
                  <a:pt x="1671698" y="3491709"/>
                </a:cubicBezTo>
                <a:cubicBezTo>
                  <a:pt x="1671698" y="3491709"/>
                  <a:pt x="1671698" y="3491709"/>
                  <a:pt x="2015083" y="3392506"/>
                </a:cubicBezTo>
                <a:cubicBezTo>
                  <a:pt x="2021760" y="3390122"/>
                  <a:pt x="2028675" y="3389405"/>
                  <a:pt x="2035412" y="3390091"/>
                </a:cubicBezTo>
                <a:close/>
                <a:moveTo>
                  <a:pt x="3729541" y="3384855"/>
                </a:moveTo>
                <a:cubicBezTo>
                  <a:pt x="3751289" y="3388416"/>
                  <a:pt x="3769540" y="3404794"/>
                  <a:pt x="3773836" y="3427580"/>
                </a:cubicBezTo>
                <a:cubicBezTo>
                  <a:pt x="3781474" y="3456065"/>
                  <a:pt x="3762384" y="3486450"/>
                  <a:pt x="3733748" y="3494046"/>
                </a:cubicBezTo>
                <a:cubicBezTo>
                  <a:pt x="3733748" y="3494046"/>
                  <a:pt x="3733748" y="3494046"/>
                  <a:pt x="3388242" y="3575706"/>
                </a:cubicBezTo>
                <a:cubicBezTo>
                  <a:pt x="3357694" y="3581403"/>
                  <a:pt x="3327150" y="3564311"/>
                  <a:pt x="3321424" y="3533926"/>
                </a:cubicBezTo>
                <a:cubicBezTo>
                  <a:pt x="3319515" y="3528229"/>
                  <a:pt x="3319515" y="3524431"/>
                  <a:pt x="3319515" y="3520633"/>
                </a:cubicBezTo>
                <a:cubicBezTo>
                  <a:pt x="3319515" y="3495945"/>
                  <a:pt x="3336696" y="3473156"/>
                  <a:pt x="3361512" y="3465560"/>
                </a:cubicBezTo>
                <a:cubicBezTo>
                  <a:pt x="3361512" y="3465560"/>
                  <a:pt x="3361512" y="3465560"/>
                  <a:pt x="3707021" y="3385804"/>
                </a:cubicBezTo>
                <a:cubicBezTo>
                  <a:pt x="3714657" y="3383908"/>
                  <a:pt x="3722292" y="3383666"/>
                  <a:pt x="3729541" y="3384855"/>
                </a:cubicBezTo>
                <a:close/>
                <a:moveTo>
                  <a:pt x="2596040" y="3384850"/>
                </a:moveTo>
                <a:cubicBezTo>
                  <a:pt x="2617785" y="3388411"/>
                  <a:pt x="2636040" y="3404792"/>
                  <a:pt x="2640334" y="3427579"/>
                </a:cubicBezTo>
                <a:cubicBezTo>
                  <a:pt x="2647970" y="3456065"/>
                  <a:pt x="2628881" y="3486450"/>
                  <a:pt x="2598338" y="3494046"/>
                </a:cubicBezTo>
                <a:cubicBezTo>
                  <a:pt x="2598338" y="3494046"/>
                  <a:pt x="2598338" y="3494046"/>
                  <a:pt x="2254725" y="3575706"/>
                </a:cubicBezTo>
                <a:cubicBezTo>
                  <a:pt x="2224181" y="3581403"/>
                  <a:pt x="2193638" y="3564311"/>
                  <a:pt x="2187911" y="3533926"/>
                </a:cubicBezTo>
                <a:cubicBezTo>
                  <a:pt x="2186002" y="3528229"/>
                  <a:pt x="2186002" y="3524431"/>
                  <a:pt x="2186002" y="3520633"/>
                </a:cubicBezTo>
                <a:cubicBezTo>
                  <a:pt x="2186002" y="3495945"/>
                  <a:pt x="2203183" y="3473156"/>
                  <a:pt x="2227999" y="3465560"/>
                </a:cubicBezTo>
                <a:cubicBezTo>
                  <a:pt x="2227999" y="3465560"/>
                  <a:pt x="2227999" y="3465560"/>
                  <a:pt x="2573520" y="3385799"/>
                </a:cubicBezTo>
                <a:cubicBezTo>
                  <a:pt x="2581156" y="3383901"/>
                  <a:pt x="2588792" y="3383664"/>
                  <a:pt x="2596040" y="3384850"/>
                </a:cubicBezTo>
                <a:close/>
                <a:moveTo>
                  <a:pt x="3137316" y="3377575"/>
                </a:moveTo>
                <a:cubicBezTo>
                  <a:pt x="3169680" y="3371862"/>
                  <a:pt x="3200139" y="3392811"/>
                  <a:pt x="3205849" y="3425194"/>
                </a:cubicBezTo>
                <a:cubicBezTo>
                  <a:pt x="3211557" y="3457578"/>
                  <a:pt x="3190620" y="3488058"/>
                  <a:pt x="3158257" y="3493773"/>
                </a:cubicBezTo>
                <a:cubicBezTo>
                  <a:pt x="3158257" y="3493773"/>
                  <a:pt x="3158257" y="3493773"/>
                  <a:pt x="2813680" y="3556638"/>
                </a:cubicBezTo>
                <a:cubicBezTo>
                  <a:pt x="2781314" y="3562353"/>
                  <a:pt x="2750856" y="3541398"/>
                  <a:pt x="2745145" y="3509013"/>
                </a:cubicBezTo>
                <a:cubicBezTo>
                  <a:pt x="2743240" y="3505203"/>
                  <a:pt x="2743240" y="3501393"/>
                  <a:pt x="2743240" y="3497583"/>
                </a:cubicBezTo>
                <a:cubicBezTo>
                  <a:pt x="2743240" y="3470913"/>
                  <a:pt x="2764181" y="3446148"/>
                  <a:pt x="2792741" y="3440433"/>
                </a:cubicBezTo>
                <a:cubicBezTo>
                  <a:pt x="2792741" y="3440433"/>
                  <a:pt x="2792741" y="3440433"/>
                  <a:pt x="3137316" y="3377575"/>
                </a:cubicBezTo>
                <a:close/>
                <a:moveTo>
                  <a:pt x="9858814" y="3131368"/>
                </a:moveTo>
                <a:cubicBezTo>
                  <a:pt x="9863096" y="3131843"/>
                  <a:pt x="9867379" y="3133750"/>
                  <a:pt x="9870234" y="3136605"/>
                </a:cubicBezTo>
                <a:cubicBezTo>
                  <a:pt x="9875944" y="3144217"/>
                  <a:pt x="9875944" y="3153731"/>
                  <a:pt x="9868331" y="3159443"/>
                </a:cubicBezTo>
                <a:cubicBezTo>
                  <a:pt x="9868331" y="3159443"/>
                  <a:pt x="9868331" y="3159443"/>
                  <a:pt x="9539049" y="3458218"/>
                </a:cubicBezTo>
                <a:cubicBezTo>
                  <a:pt x="9531436" y="3463928"/>
                  <a:pt x="9521919" y="3463928"/>
                  <a:pt x="9516209" y="3456315"/>
                </a:cubicBezTo>
                <a:cubicBezTo>
                  <a:pt x="9512402" y="3452509"/>
                  <a:pt x="9512402" y="3448702"/>
                  <a:pt x="9512402" y="3444896"/>
                </a:cubicBezTo>
                <a:cubicBezTo>
                  <a:pt x="9512402" y="3441089"/>
                  <a:pt x="9514305" y="3437283"/>
                  <a:pt x="9516209" y="3433477"/>
                </a:cubicBezTo>
                <a:cubicBezTo>
                  <a:pt x="9516209" y="3433477"/>
                  <a:pt x="9516209" y="3433477"/>
                  <a:pt x="9847394" y="3134702"/>
                </a:cubicBezTo>
                <a:cubicBezTo>
                  <a:pt x="9850249" y="3131843"/>
                  <a:pt x="9854531" y="3130893"/>
                  <a:pt x="9858814" y="3131368"/>
                </a:cubicBezTo>
                <a:close/>
                <a:moveTo>
                  <a:pt x="9282539" y="3124787"/>
                </a:moveTo>
                <a:cubicBezTo>
                  <a:pt x="9287557" y="3125026"/>
                  <a:pt x="9292336" y="3127409"/>
                  <a:pt x="9295203" y="3132178"/>
                </a:cubicBezTo>
                <a:cubicBezTo>
                  <a:pt x="9302849" y="3139803"/>
                  <a:pt x="9302849" y="3153152"/>
                  <a:pt x="9293291" y="3160778"/>
                </a:cubicBezTo>
                <a:cubicBezTo>
                  <a:pt x="9293291" y="3160778"/>
                  <a:pt x="9293291" y="3160778"/>
                  <a:pt x="8960690" y="3437250"/>
                </a:cubicBezTo>
                <a:cubicBezTo>
                  <a:pt x="8953044" y="3444878"/>
                  <a:pt x="8939663" y="3444878"/>
                  <a:pt x="8932017" y="3435343"/>
                </a:cubicBezTo>
                <a:cubicBezTo>
                  <a:pt x="8930106" y="3431530"/>
                  <a:pt x="8928194" y="3427717"/>
                  <a:pt x="8928194" y="3421997"/>
                </a:cubicBezTo>
                <a:cubicBezTo>
                  <a:pt x="8928194" y="3416276"/>
                  <a:pt x="8930106" y="3410556"/>
                  <a:pt x="8935840" y="3406743"/>
                </a:cubicBezTo>
                <a:cubicBezTo>
                  <a:pt x="8935840" y="3406743"/>
                  <a:pt x="8935840" y="3406743"/>
                  <a:pt x="9268442" y="3130267"/>
                </a:cubicBezTo>
                <a:cubicBezTo>
                  <a:pt x="9272265" y="3126457"/>
                  <a:pt x="9277521" y="3124549"/>
                  <a:pt x="9282539" y="3124787"/>
                </a:cubicBezTo>
                <a:close/>
                <a:moveTo>
                  <a:pt x="10443256" y="3124763"/>
                </a:moveTo>
                <a:cubicBezTo>
                  <a:pt x="10448513" y="3125001"/>
                  <a:pt x="10453769" y="3127385"/>
                  <a:pt x="10457592" y="3132152"/>
                </a:cubicBezTo>
                <a:cubicBezTo>
                  <a:pt x="10463327" y="3139780"/>
                  <a:pt x="10463327" y="3153129"/>
                  <a:pt x="10453769" y="3160755"/>
                </a:cubicBezTo>
                <a:cubicBezTo>
                  <a:pt x="10453769" y="3160755"/>
                  <a:pt x="10453769" y="3160755"/>
                  <a:pt x="10121168" y="3437250"/>
                </a:cubicBezTo>
                <a:cubicBezTo>
                  <a:pt x="10113522" y="3444878"/>
                  <a:pt x="10100141" y="3444878"/>
                  <a:pt x="10094407" y="3435343"/>
                </a:cubicBezTo>
                <a:cubicBezTo>
                  <a:pt x="10090584" y="3431530"/>
                  <a:pt x="10088672" y="3427716"/>
                  <a:pt x="10088672" y="3421995"/>
                </a:cubicBezTo>
                <a:cubicBezTo>
                  <a:pt x="10088672" y="3416275"/>
                  <a:pt x="10090584" y="3410554"/>
                  <a:pt x="10096318" y="3406741"/>
                </a:cubicBezTo>
                <a:cubicBezTo>
                  <a:pt x="10096318" y="3406741"/>
                  <a:pt x="10096318" y="3406741"/>
                  <a:pt x="10428920" y="3130246"/>
                </a:cubicBezTo>
                <a:cubicBezTo>
                  <a:pt x="10432743" y="3126432"/>
                  <a:pt x="10438000" y="3124526"/>
                  <a:pt x="10443256" y="3124763"/>
                </a:cubicBezTo>
                <a:close/>
                <a:moveTo>
                  <a:pt x="8711378" y="3118284"/>
                </a:moveTo>
                <a:cubicBezTo>
                  <a:pt x="8717559" y="3118999"/>
                  <a:pt x="8723740" y="3122341"/>
                  <a:pt x="8728495" y="3128067"/>
                </a:cubicBezTo>
                <a:cubicBezTo>
                  <a:pt x="8736103" y="3137612"/>
                  <a:pt x="8734201" y="3152882"/>
                  <a:pt x="8722790" y="3160517"/>
                </a:cubicBezTo>
                <a:cubicBezTo>
                  <a:pt x="8722790" y="3160517"/>
                  <a:pt x="8722790" y="3160517"/>
                  <a:pt x="8391863" y="3418193"/>
                </a:cubicBezTo>
                <a:cubicBezTo>
                  <a:pt x="8380451" y="3425828"/>
                  <a:pt x="8365236" y="3423921"/>
                  <a:pt x="8357629" y="3414376"/>
                </a:cubicBezTo>
                <a:cubicBezTo>
                  <a:pt x="8353825" y="3410558"/>
                  <a:pt x="8351923" y="3404833"/>
                  <a:pt x="8351923" y="3399106"/>
                </a:cubicBezTo>
                <a:cubicBezTo>
                  <a:pt x="8351923" y="3393381"/>
                  <a:pt x="8355727" y="3385745"/>
                  <a:pt x="8361432" y="3380018"/>
                </a:cubicBezTo>
                <a:cubicBezTo>
                  <a:pt x="8361432" y="3380018"/>
                  <a:pt x="8361432" y="3380018"/>
                  <a:pt x="8694262" y="3124249"/>
                </a:cubicBezTo>
                <a:cubicBezTo>
                  <a:pt x="8699016" y="3119478"/>
                  <a:pt x="8705197" y="3117568"/>
                  <a:pt x="8711378" y="3118284"/>
                </a:cubicBezTo>
                <a:close/>
                <a:moveTo>
                  <a:pt x="11020985" y="3118259"/>
                </a:moveTo>
                <a:cubicBezTo>
                  <a:pt x="11026928" y="3118974"/>
                  <a:pt x="11032634" y="3122314"/>
                  <a:pt x="11036438" y="3128041"/>
                </a:cubicBezTo>
                <a:cubicBezTo>
                  <a:pt x="11045947" y="3137586"/>
                  <a:pt x="11044045" y="3152857"/>
                  <a:pt x="11032634" y="3160492"/>
                </a:cubicBezTo>
                <a:cubicBezTo>
                  <a:pt x="11032634" y="3160492"/>
                  <a:pt x="11032634" y="3160492"/>
                  <a:pt x="10699805" y="3418193"/>
                </a:cubicBezTo>
                <a:cubicBezTo>
                  <a:pt x="10690295" y="3425828"/>
                  <a:pt x="10675080" y="3423919"/>
                  <a:pt x="10667473" y="3414376"/>
                </a:cubicBezTo>
                <a:cubicBezTo>
                  <a:pt x="10663669" y="3410558"/>
                  <a:pt x="10661767" y="3404831"/>
                  <a:pt x="10661767" y="3399103"/>
                </a:cubicBezTo>
                <a:cubicBezTo>
                  <a:pt x="10661767" y="3393378"/>
                  <a:pt x="10665571" y="3385741"/>
                  <a:pt x="10671276" y="3380016"/>
                </a:cubicBezTo>
                <a:cubicBezTo>
                  <a:pt x="10671276" y="3380016"/>
                  <a:pt x="10671276" y="3380016"/>
                  <a:pt x="11004106" y="3124224"/>
                </a:cubicBezTo>
                <a:cubicBezTo>
                  <a:pt x="11008861" y="3119452"/>
                  <a:pt x="11015042" y="3117542"/>
                  <a:pt x="11020985" y="3118259"/>
                </a:cubicBezTo>
                <a:close/>
                <a:moveTo>
                  <a:pt x="8147892" y="3113506"/>
                </a:moveTo>
                <a:cubicBezTo>
                  <a:pt x="8154786" y="3114695"/>
                  <a:pt x="8161443" y="3118496"/>
                  <a:pt x="8166198" y="3125150"/>
                </a:cubicBezTo>
                <a:cubicBezTo>
                  <a:pt x="8175708" y="3136556"/>
                  <a:pt x="8171904" y="3153664"/>
                  <a:pt x="8160492" y="3163167"/>
                </a:cubicBezTo>
                <a:cubicBezTo>
                  <a:pt x="8160492" y="3163167"/>
                  <a:pt x="8160492" y="3163167"/>
                  <a:pt x="7825748" y="3398864"/>
                </a:cubicBezTo>
                <a:cubicBezTo>
                  <a:pt x="7814336" y="3408367"/>
                  <a:pt x="7797218" y="3404566"/>
                  <a:pt x="7787709" y="3393162"/>
                </a:cubicBezTo>
                <a:cubicBezTo>
                  <a:pt x="7783905" y="3387458"/>
                  <a:pt x="7782003" y="3381761"/>
                  <a:pt x="7782003" y="3376054"/>
                </a:cubicBezTo>
                <a:cubicBezTo>
                  <a:pt x="7782003" y="3368454"/>
                  <a:pt x="7787709" y="3358953"/>
                  <a:pt x="7795316" y="3353251"/>
                </a:cubicBezTo>
                <a:cubicBezTo>
                  <a:pt x="7795316" y="3353251"/>
                  <a:pt x="7795316" y="3353251"/>
                  <a:pt x="8128159" y="3117545"/>
                </a:cubicBezTo>
                <a:cubicBezTo>
                  <a:pt x="8133865" y="3113743"/>
                  <a:pt x="8140997" y="3112319"/>
                  <a:pt x="8147892" y="3113506"/>
                </a:cubicBezTo>
                <a:close/>
                <a:moveTo>
                  <a:pt x="11592870" y="3113497"/>
                </a:moveTo>
                <a:cubicBezTo>
                  <a:pt x="11600008" y="3114686"/>
                  <a:pt x="11606670" y="3118487"/>
                  <a:pt x="11611429" y="3125143"/>
                </a:cubicBezTo>
                <a:cubicBezTo>
                  <a:pt x="11619043" y="3136547"/>
                  <a:pt x="11617140" y="3153655"/>
                  <a:pt x="11603815" y="3163160"/>
                </a:cubicBezTo>
                <a:cubicBezTo>
                  <a:pt x="11603815" y="3163160"/>
                  <a:pt x="11603815" y="3163160"/>
                  <a:pt x="11270705" y="3398861"/>
                </a:cubicBezTo>
                <a:cubicBezTo>
                  <a:pt x="11257381" y="3408367"/>
                  <a:pt x="11240249" y="3404564"/>
                  <a:pt x="11232635" y="3393157"/>
                </a:cubicBezTo>
                <a:cubicBezTo>
                  <a:pt x="11228828" y="3387458"/>
                  <a:pt x="11226925" y="3381753"/>
                  <a:pt x="11226925" y="3376052"/>
                </a:cubicBezTo>
                <a:cubicBezTo>
                  <a:pt x="11226925" y="3368451"/>
                  <a:pt x="11230732" y="3358948"/>
                  <a:pt x="11238346" y="3353249"/>
                </a:cubicBezTo>
                <a:cubicBezTo>
                  <a:pt x="11238346" y="3353249"/>
                  <a:pt x="11238346" y="3353249"/>
                  <a:pt x="11571456" y="3117537"/>
                </a:cubicBezTo>
                <a:cubicBezTo>
                  <a:pt x="11578118" y="3113734"/>
                  <a:pt x="11585732" y="3112310"/>
                  <a:pt x="11592870" y="3113497"/>
                </a:cubicBezTo>
                <a:close/>
                <a:moveTo>
                  <a:pt x="12139750" y="3109931"/>
                </a:moveTo>
                <a:cubicBezTo>
                  <a:pt x="12139750" y="3109931"/>
                  <a:pt x="12139750" y="3109931"/>
                  <a:pt x="12139750" y="3184058"/>
                </a:cubicBezTo>
                <a:cubicBezTo>
                  <a:pt x="12139750" y="3184058"/>
                  <a:pt x="12139750" y="3184058"/>
                  <a:pt x="11835219" y="3379813"/>
                </a:cubicBezTo>
                <a:cubicBezTo>
                  <a:pt x="11819993" y="3389317"/>
                  <a:pt x="11800960" y="3385515"/>
                  <a:pt x="11791443" y="3370310"/>
                </a:cubicBezTo>
                <a:cubicBezTo>
                  <a:pt x="11787636" y="3364613"/>
                  <a:pt x="11785733" y="3358911"/>
                  <a:pt x="11785733" y="3353211"/>
                </a:cubicBezTo>
                <a:cubicBezTo>
                  <a:pt x="11785733" y="3343708"/>
                  <a:pt x="11791443" y="3334207"/>
                  <a:pt x="11800960" y="3326605"/>
                </a:cubicBezTo>
                <a:lnTo>
                  <a:pt x="12135943" y="3111832"/>
                </a:lnTo>
                <a:cubicBezTo>
                  <a:pt x="12137847" y="3111832"/>
                  <a:pt x="12137847" y="3109931"/>
                  <a:pt x="12139750" y="3109931"/>
                </a:cubicBezTo>
                <a:close/>
                <a:moveTo>
                  <a:pt x="7592396" y="3107000"/>
                </a:moveTo>
                <a:cubicBezTo>
                  <a:pt x="7600248" y="3108665"/>
                  <a:pt x="7607387" y="3113422"/>
                  <a:pt x="7612145" y="3121034"/>
                </a:cubicBezTo>
                <a:cubicBezTo>
                  <a:pt x="7621663" y="3136258"/>
                  <a:pt x="7617856" y="3155285"/>
                  <a:pt x="7602628" y="3164800"/>
                </a:cubicBezTo>
                <a:cubicBezTo>
                  <a:pt x="7602628" y="3164800"/>
                  <a:pt x="7602628" y="3164800"/>
                  <a:pt x="7267608" y="3379811"/>
                </a:cubicBezTo>
                <a:cubicBezTo>
                  <a:pt x="7252380" y="3389319"/>
                  <a:pt x="7233344" y="3385513"/>
                  <a:pt x="7223827" y="3370294"/>
                </a:cubicBezTo>
                <a:cubicBezTo>
                  <a:pt x="7221923" y="3364590"/>
                  <a:pt x="7220020" y="3358885"/>
                  <a:pt x="7220020" y="3353176"/>
                </a:cubicBezTo>
                <a:cubicBezTo>
                  <a:pt x="7220020" y="3343664"/>
                  <a:pt x="7223827" y="3334150"/>
                  <a:pt x="7233344" y="3326538"/>
                </a:cubicBezTo>
                <a:cubicBezTo>
                  <a:pt x="7233344" y="3326538"/>
                  <a:pt x="7233344" y="3326538"/>
                  <a:pt x="7568364" y="3111519"/>
                </a:cubicBezTo>
                <a:cubicBezTo>
                  <a:pt x="7575978" y="3106762"/>
                  <a:pt x="7584544" y="3105336"/>
                  <a:pt x="7592396" y="3107000"/>
                </a:cubicBezTo>
                <a:close/>
                <a:moveTo>
                  <a:pt x="7041870" y="3101853"/>
                </a:moveTo>
                <a:cubicBezTo>
                  <a:pt x="7050667" y="3104238"/>
                  <a:pt x="7058751" y="3109959"/>
                  <a:pt x="7064457" y="3118540"/>
                </a:cubicBezTo>
                <a:cubicBezTo>
                  <a:pt x="7073968" y="3133799"/>
                  <a:pt x="7068261" y="3156686"/>
                  <a:pt x="7051143" y="3166221"/>
                </a:cubicBezTo>
                <a:cubicBezTo>
                  <a:pt x="7051143" y="3166221"/>
                  <a:pt x="7051143" y="3166221"/>
                  <a:pt x="6714471" y="3360742"/>
                </a:cubicBezTo>
                <a:cubicBezTo>
                  <a:pt x="6697352" y="3370275"/>
                  <a:pt x="6676429" y="3364552"/>
                  <a:pt x="6666918" y="3347395"/>
                </a:cubicBezTo>
                <a:cubicBezTo>
                  <a:pt x="6663114" y="3343582"/>
                  <a:pt x="6661212" y="3335952"/>
                  <a:pt x="6661212" y="3330234"/>
                </a:cubicBezTo>
                <a:cubicBezTo>
                  <a:pt x="6661212" y="3318789"/>
                  <a:pt x="6668820" y="3307347"/>
                  <a:pt x="6680233" y="3299719"/>
                </a:cubicBezTo>
                <a:cubicBezTo>
                  <a:pt x="6680233" y="3299719"/>
                  <a:pt x="6680233" y="3299719"/>
                  <a:pt x="7015003" y="3105192"/>
                </a:cubicBezTo>
                <a:cubicBezTo>
                  <a:pt x="7023562" y="3100423"/>
                  <a:pt x="7033073" y="3099471"/>
                  <a:pt x="7041870" y="3101853"/>
                </a:cubicBezTo>
                <a:close/>
                <a:moveTo>
                  <a:pt x="6499097" y="3095115"/>
                </a:moveTo>
                <a:cubicBezTo>
                  <a:pt x="6508370" y="3098221"/>
                  <a:pt x="6516454" y="3104903"/>
                  <a:pt x="6521210" y="3114451"/>
                </a:cubicBezTo>
                <a:cubicBezTo>
                  <a:pt x="6532623" y="3133548"/>
                  <a:pt x="6525014" y="3158370"/>
                  <a:pt x="6505992" y="3167917"/>
                </a:cubicBezTo>
                <a:cubicBezTo>
                  <a:pt x="6505992" y="3167917"/>
                  <a:pt x="6505992" y="3167917"/>
                  <a:pt x="6167407" y="3341686"/>
                </a:cubicBezTo>
                <a:cubicBezTo>
                  <a:pt x="6148385" y="3351232"/>
                  <a:pt x="6125559" y="3345501"/>
                  <a:pt x="6116048" y="3326407"/>
                </a:cubicBezTo>
                <a:cubicBezTo>
                  <a:pt x="6112244" y="3320680"/>
                  <a:pt x="6110342" y="3313042"/>
                  <a:pt x="6110342" y="3307313"/>
                </a:cubicBezTo>
                <a:cubicBezTo>
                  <a:pt x="6110342" y="3293947"/>
                  <a:pt x="6117950" y="3280583"/>
                  <a:pt x="6131266" y="3272944"/>
                </a:cubicBezTo>
                <a:cubicBezTo>
                  <a:pt x="6131266" y="3272944"/>
                  <a:pt x="6131266" y="3272944"/>
                  <a:pt x="6469851" y="3097266"/>
                </a:cubicBezTo>
                <a:cubicBezTo>
                  <a:pt x="6479362" y="3092490"/>
                  <a:pt x="6489824" y="3092013"/>
                  <a:pt x="6499097" y="3095115"/>
                </a:cubicBezTo>
                <a:close/>
                <a:moveTo>
                  <a:pt x="5958954" y="3091506"/>
                </a:moveTo>
                <a:cubicBezTo>
                  <a:pt x="5969462" y="3095305"/>
                  <a:pt x="5978538" y="3102907"/>
                  <a:pt x="5983314" y="3113357"/>
                </a:cubicBezTo>
                <a:cubicBezTo>
                  <a:pt x="5992867" y="3134260"/>
                  <a:pt x="5983314" y="3160862"/>
                  <a:pt x="5962297" y="3170362"/>
                </a:cubicBezTo>
                <a:cubicBezTo>
                  <a:pt x="5962297" y="3170362"/>
                  <a:pt x="5962297" y="3170362"/>
                  <a:pt x="5620299" y="3324270"/>
                </a:cubicBezTo>
                <a:cubicBezTo>
                  <a:pt x="5599283" y="3333770"/>
                  <a:pt x="5574446" y="3324270"/>
                  <a:pt x="5564892" y="3301471"/>
                </a:cubicBezTo>
                <a:cubicBezTo>
                  <a:pt x="5562981" y="3295771"/>
                  <a:pt x="5561071" y="3290071"/>
                  <a:pt x="5561071" y="3284371"/>
                </a:cubicBezTo>
                <a:cubicBezTo>
                  <a:pt x="5561071" y="3269170"/>
                  <a:pt x="5570624" y="3252068"/>
                  <a:pt x="5585909" y="3246366"/>
                </a:cubicBezTo>
                <a:cubicBezTo>
                  <a:pt x="5585909" y="3246366"/>
                  <a:pt x="5585909" y="3246366"/>
                  <a:pt x="5925996" y="3092457"/>
                </a:cubicBezTo>
                <a:cubicBezTo>
                  <a:pt x="5936505" y="3087707"/>
                  <a:pt x="5948446" y="3087707"/>
                  <a:pt x="5958954" y="3091506"/>
                </a:cubicBezTo>
                <a:close/>
                <a:moveTo>
                  <a:pt x="399603" y="3091494"/>
                </a:moveTo>
                <a:cubicBezTo>
                  <a:pt x="410073" y="3095293"/>
                  <a:pt x="419115" y="3102895"/>
                  <a:pt x="423874" y="3113346"/>
                </a:cubicBezTo>
                <a:cubicBezTo>
                  <a:pt x="433392" y="3134248"/>
                  <a:pt x="423874" y="3160850"/>
                  <a:pt x="401031" y="3170351"/>
                </a:cubicBezTo>
                <a:cubicBezTo>
                  <a:pt x="401031" y="3170351"/>
                  <a:pt x="401031" y="3170351"/>
                  <a:pt x="62187" y="3324262"/>
                </a:cubicBezTo>
                <a:cubicBezTo>
                  <a:pt x="41247" y="3333763"/>
                  <a:pt x="16500" y="3324262"/>
                  <a:pt x="6982" y="3301463"/>
                </a:cubicBezTo>
                <a:cubicBezTo>
                  <a:pt x="3175" y="3295761"/>
                  <a:pt x="3175" y="3290060"/>
                  <a:pt x="3175" y="3284360"/>
                </a:cubicBezTo>
                <a:cubicBezTo>
                  <a:pt x="3175" y="3269158"/>
                  <a:pt x="12693" y="3252058"/>
                  <a:pt x="27922" y="3246356"/>
                </a:cubicBezTo>
                <a:cubicBezTo>
                  <a:pt x="27922" y="3246356"/>
                  <a:pt x="27922" y="3246356"/>
                  <a:pt x="366766" y="3092445"/>
                </a:cubicBezTo>
                <a:cubicBezTo>
                  <a:pt x="377235" y="3087693"/>
                  <a:pt x="389133" y="3087693"/>
                  <a:pt x="399603" y="3091494"/>
                </a:cubicBezTo>
                <a:close/>
                <a:moveTo>
                  <a:pt x="5376340" y="3084226"/>
                </a:moveTo>
                <a:cubicBezTo>
                  <a:pt x="5401086" y="3076607"/>
                  <a:pt x="5427737" y="3088035"/>
                  <a:pt x="5437255" y="3110894"/>
                </a:cubicBezTo>
                <a:cubicBezTo>
                  <a:pt x="5446773" y="3135660"/>
                  <a:pt x="5435351" y="3162329"/>
                  <a:pt x="5410604" y="3171854"/>
                </a:cubicBezTo>
                <a:cubicBezTo>
                  <a:pt x="5410604" y="3171854"/>
                  <a:pt x="5410604" y="3171854"/>
                  <a:pt x="5069849" y="3305199"/>
                </a:cubicBezTo>
                <a:cubicBezTo>
                  <a:pt x="5047007" y="3314722"/>
                  <a:pt x="5020359" y="3301389"/>
                  <a:pt x="5010842" y="3278532"/>
                </a:cubicBezTo>
                <a:cubicBezTo>
                  <a:pt x="5008938" y="3272817"/>
                  <a:pt x="5007035" y="3267100"/>
                  <a:pt x="5007035" y="3261388"/>
                </a:cubicBezTo>
                <a:cubicBezTo>
                  <a:pt x="5007035" y="3242335"/>
                  <a:pt x="5018456" y="3225192"/>
                  <a:pt x="5037491" y="3217574"/>
                </a:cubicBezTo>
                <a:cubicBezTo>
                  <a:pt x="5037491" y="3217574"/>
                  <a:pt x="5037491" y="3217574"/>
                  <a:pt x="5376340" y="3084226"/>
                </a:cubicBezTo>
                <a:close/>
                <a:moveTo>
                  <a:pt x="910964" y="3084210"/>
                </a:moveTo>
                <a:cubicBezTo>
                  <a:pt x="933807" y="3076591"/>
                  <a:pt x="960458" y="3088021"/>
                  <a:pt x="969977" y="3110879"/>
                </a:cubicBezTo>
                <a:cubicBezTo>
                  <a:pt x="979495" y="3135646"/>
                  <a:pt x="968073" y="3162315"/>
                  <a:pt x="945229" y="3171840"/>
                </a:cubicBezTo>
                <a:cubicBezTo>
                  <a:pt x="945229" y="3171840"/>
                  <a:pt x="945229" y="3171840"/>
                  <a:pt x="604476" y="3305187"/>
                </a:cubicBezTo>
                <a:cubicBezTo>
                  <a:pt x="579728" y="3314712"/>
                  <a:pt x="553077" y="3301377"/>
                  <a:pt x="543559" y="3278518"/>
                </a:cubicBezTo>
                <a:cubicBezTo>
                  <a:pt x="541655" y="3272803"/>
                  <a:pt x="539752" y="3267088"/>
                  <a:pt x="539752" y="3261374"/>
                </a:cubicBezTo>
                <a:cubicBezTo>
                  <a:pt x="539752" y="3242322"/>
                  <a:pt x="551174" y="3225178"/>
                  <a:pt x="570210" y="3217559"/>
                </a:cubicBezTo>
                <a:cubicBezTo>
                  <a:pt x="570210" y="3217559"/>
                  <a:pt x="570210" y="3217559"/>
                  <a:pt x="910964" y="3084210"/>
                </a:cubicBezTo>
                <a:close/>
                <a:moveTo>
                  <a:pt x="4845142" y="3075495"/>
                </a:moveTo>
                <a:cubicBezTo>
                  <a:pt x="4864343" y="3077015"/>
                  <a:pt x="4881136" y="3090605"/>
                  <a:pt x="4888280" y="3110635"/>
                </a:cubicBezTo>
                <a:cubicBezTo>
                  <a:pt x="4895899" y="3137344"/>
                  <a:pt x="4882564" y="3165956"/>
                  <a:pt x="4855887" y="3173587"/>
                </a:cubicBezTo>
                <a:cubicBezTo>
                  <a:pt x="4855887" y="3173587"/>
                  <a:pt x="4855887" y="3173587"/>
                  <a:pt x="4514895" y="3286137"/>
                </a:cubicBezTo>
                <a:cubicBezTo>
                  <a:pt x="4488224" y="3295674"/>
                  <a:pt x="4459649" y="3280415"/>
                  <a:pt x="4450123" y="3253707"/>
                </a:cubicBezTo>
                <a:cubicBezTo>
                  <a:pt x="4448218" y="3249892"/>
                  <a:pt x="4448218" y="3244167"/>
                  <a:pt x="4448218" y="3238443"/>
                </a:cubicBezTo>
                <a:cubicBezTo>
                  <a:pt x="4448218" y="3217462"/>
                  <a:pt x="4461553" y="3198385"/>
                  <a:pt x="4482509" y="3190757"/>
                </a:cubicBezTo>
                <a:cubicBezTo>
                  <a:pt x="4482509" y="3190757"/>
                  <a:pt x="4482509" y="3190757"/>
                  <a:pt x="4825402" y="3078206"/>
                </a:cubicBezTo>
                <a:cubicBezTo>
                  <a:pt x="4832070" y="3075822"/>
                  <a:pt x="4838739" y="3074988"/>
                  <a:pt x="4845142" y="3075495"/>
                </a:cubicBezTo>
                <a:close/>
                <a:moveTo>
                  <a:pt x="1479596" y="3075477"/>
                </a:moveTo>
                <a:cubicBezTo>
                  <a:pt x="1499228" y="3076996"/>
                  <a:pt x="1516718" y="3090589"/>
                  <a:pt x="1522429" y="3110619"/>
                </a:cubicBezTo>
                <a:cubicBezTo>
                  <a:pt x="1531947" y="3137326"/>
                  <a:pt x="1516718" y="3165940"/>
                  <a:pt x="1491970" y="3173573"/>
                </a:cubicBezTo>
                <a:cubicBezTo>
                  <a:pt x="1491970" y="3173573"/>
                  <a:pt x="1491970" y="3173573"/>
                  <a:pt x="1149308" y="3286122"/>
                </a:cubicBezTo>
                <a:cubicBezTo>
                  <a:pt x="1122656" y="3295661"/>
                  <a:pt x="1094101" y="3280401"/>
                  <a:pt x="1086486" y="3253693"/>
                </a:cubicBezTo>
                <a:cubicBezTo>
                  <a:pt x="1084582" y="3249877"/>
                  <a:pt x="1082679" y="3244153"/>
                  <a:pt x="1082679" y="3238431"/>
                </a:cubicBezTo>
                <a:cubicBezTo>
                  <a:pt x="1082679" y="3217446"/>
                  <a:pt x="1097908" y="3198371"/>
                  <a:pt x="1118849" y="3190741"/>
                </a:cubicBezTo>
                <a:cubicBezTo>
                  <a:pt x="1118849" y="3190741"/>
                  <a:pt x="1118849" y="3190741"/>
                  <a:pt x="1459607" y="3078189"/>
                </a:cubicBezTo>
                <a:cubicBezTo>
                  <a:pt x="1466270" y="3075805"/>
                  <a:pt x="1473052" y="3074970"/>
                  <a:pt x="1479596" y="3075477"/>
                </a:cubicBezTo>
                <a:close/>
                <a:moveTo>
                  <a:pt x="4290284" y="3070235"/>
                </a:moveTo>
                <a:cubicBezTo>
                  <a:pt x="4310719" y="3073178"/>
                  <a:pt x="4328210" y="3088158"/>
                  <a:pt x="4333922" y="3109556"/>
                </a:cubicBezTo>
                <a:cubicBezTo>
                  <a:pt x="4343439" y="3139992"/>
                  <a:pt x="4326306" y="3168522"/>
                  <a:pt x="4295845" y="3176127"/>
                </a:cubicBezTo>
                <a:cubicBezTo>
                  <a:pt x="4295845" y="3176127"/>
                  <a:pt x="4295845" y="3176127"/>
                  <a:pt x="3953197" y="3267431"/>
                </a:cubicBezTo>
                <a:cubicBezTo>
                  <a:pt x="3924642" y="3275041"/>
                  <a:pt x="3894183" y="3257921"/>
                  <a:pt x="3886567" y="3229387"/>
                </a:cubicBezTo>
                <a:cubicBezTo>
                  <a:pt x="3886567" y="3225583"/>
                  <a:pt x="3884664" y="3219877"/>
                  <a:pt x="3884664" y="3216076"/>
                </a:cubicBezTo>
                <a:cubicBezTo>
                  <a:pt x="3884664" y="3191346"/>
                  <a:pt x="3901798" y="3170425"/>
                  <a:pt x="3924642" y="3164719"/>
                </a:cubicBezTo>
                <a:cubicBezTo>
                  <a:pt x="3924642" y="3164719"/>
                  <a:pt x="3924642" y="3164719"/>
                  <a:pt x="4269194" y="3071515"/>
                </a:cubicBezTo>
                <a:cubicBezTo>
                  <a:pt x="4276332" y="3069612"/>
                  <a:pt x="4283472" y="3069256"/>
                  <a:pt x="4290284" y="3070235"/>
                </a:cubicBezTo>
                <a:close/>
                <a:moveTo>
                  <a:pt x="2036269" y="3070217"/>
                </a:moveTo>
                <a:cubicBezTo>
                  <a:pt x="2057258" y="3073159"/>
                  <a:pt x="2075832" y="3088139"/>
                  <a:pt x="2081548" y="3109537"/>
                </a:cubicBezTo>
                <a:cubicBezTo>
                  <a:pt x="2089168" y="3139971"/>
                  <a:pt x="2072023" y="3168504"/>
                  <a:pt x="2043443" y="3176111"/>
                </a:cubicBezTo>
                <a:cubicBezTo>
                  <a:pt x="2043443" y="3176111"/>
                  <a:pt x="2043443" y="3176111"/>
                  <a:pt x="1700538" y="3267414"/>
                </a:cubicBezTo>
                <a:cubicBezTo>
                  <a:pt x="1670058" y="3275023"/>
                  <a:pt x="1641482" y="3257903"/>
                  <a:pt x="1633862" y="3229371"/>
                </a:cubicBezTo>
                <a:cubicBezTo>
                  <a:pt x="1631957" y="3225567"/>
                  <a:pt x="1631957" y="3219860"/>
                  <a:pt x="1631957" y="3216056"/>
                </a:cubicBezTo>
                <a:cubicBezTo>
                  <a:pt x="1631957" y="3191330"/>
                  <a:pt x="1647198" y="3170406"/>
                  <a:pt x="1671963" y="3164700"/>
                </a:cubicBezTo>
                <a:cubicBezTo>
                  <a:pt x="1671963" y="3164700"/>
                  <a:pt x="1671963" y="3164700"/>
                  <a:pt x="2014867" y="3071495"/>
                </a:cubicBezTo>
                <a:cubicBezTo>
                  <a:pt x="2022011" y="3069593"/>
                  <a:pt x="2029274" y="3069235"/>
                  <a:pt x="2036269" y="3070217"/>
                </a:cubicBezTo>
                <a:close/>
                <a:moveTo>
                  <a:pt x="3731231" y="3064531"/>
                </a:moveTo>
                <a:cubicBezTo>
                  <a:pt x="3753036" y="3068647"/>
                  <a:pt x="3771624" y="3086176"/>
                  <a:pt x="3777343" y="3109072"/>
                </a:cubicBezTo>
                <a:cubicBezTo>
                  <a:pt x="3783062" y="3141509"/>
                  <a:pt x="3762092" y="3172037"/>
                  <a:pt x="3731589" y="3177762"/>
                </a:cubicBezTo>
                <a:cubicBezTo>
                  <a:pt x="3731589" y="3177762"/>
                  <a:pt x="3731589" y="3177762"/>
                  <a:pt x="3386557" y="3250263"/>
                </a:cubicBezTo>
                <a:cubicBezTo>
                  <a:pt x="3356055" y="3255990"/>
                  <a:pt x="3325554" y="3234997"/>
                  <a:pt x="3317928" y="3204472"/>
                </a:cubicBezTo>
                <a:cubicBezTo>
                  <a:pt x="3317928" y="3200656"/>
                  <a:pt x="3317928" y="3196839"/>
                  <a:pt x="3317928" y="3193023"/>
                </a:cubicBezTo>
                <a:cubicBezTo>
                  <a:pt x="3317928" y="3166312"/>
                  <a:pt x="3335085" y="3141509"/>
                  <a:pt x="3363681" y="3135786"/>
                </a:cubicBezTo>
                <a:cubicBezTo>
                  <a:pt x="3363681" y="3135786"/>
                  <a:pt x="3363681" y="3135786"/>
                  <a:pt x="3708711" y="3065187"/>
                </a:cubicBezTo>
                <a:cubicBezTo>
                  <a:pt x="3716336" y="3063280"/>
                  <a:pt x="3723963" y="3063162"/>
                  <a:pt x="3731231" y="3064531"/>
                </a:cubicBezTo>
                <a:close/>
                <a:moveTo>
                  <a:pt x="2597728" y="3064510"/>
                </a:moveTo>
                <a:cubicBezTo>
                  <a:pt x="2619532" y="3068625"/>
                  <a:pt x="2638119" y="3086155"/>
                  <a:pt x="2643838" y="3109051"/>
                </a:cubicBezTo>
                <a:cubicBezTo>
                  <a:pt x="2649557" y="3141488"/>
                  <a:pt x="2628587" y="3172016"/>
                  <a:pt x="2598086" y="3177742"/>
                </a:cubicBezTo>
                <a:cubicBezTo>
                  <a:pt x="2598086" y="3177742"/>
                  <a:pt x="2598086" y="3177742"/>
                  <a:pt x="2253042" y="3250246"/>
                </a:cubicBezTo>
                <a:cubicBezTo>
                  <a:pt x="2222541" y="3255971"/>
                  <a:pt x="2192040" y="3234980"/>
                  <a:pt x="2184414" y="3204454"/>
                </a:cubicBezTo>
                <a:cubicBezTo>
                  <a:pt x="2184414" y="3200638"/>
                  <a:pt x="2184414" y="3196822"/>
                  <a:pt x="2184414" y="3193005"/>
                </a:cubicBezTo>
                <a:cubicBezTo>
                  <a:pt x="2184414" y="3166294"/>
                  <a:pt x="2201571" y="3141488"/>
                  <a:pt x="2230166" y="3135765"/>
                </a:cubicBezTo>
                <a:cubicBezTo>
                  <a:pt x="2230166" y="3135765"/>
                  <a:pt x="2230166" y="3135765"/>
                  <a:pt x="2575210" y="3065166"/>
                </a:cubicBezTo>
                <a:cubicBezTo>
                  <a:pt x="2582837" y="3063257"/>
                  <a:pt x="2590461" y="3063137"/>
                  <a:pt x="2597728" y="3064510"/>
                </a:cubicBezTo>
                <a:close/>
                <a:moveTo>
                  <a:pt x="3139002" y="3058190"/>
                </a:moveTo>
                <a:cubicBezTo>
                  <a:pt x="3173224" y="3054380"/>
                  <a:pt x="3203641" y="3077240"/>
                  <a:pt x="3209344" y="3111529"/>
                </a:cubicBezTo>
                <a:cubicBezTo>
                  <a:pt x="3213145" y="3143914"/>
                  <a:pt x="3190332" y="3176299"/>
                  <a:pt x="3156112" y="3180110"/>
                </a:cubicBezTo>
                <a:cubicBezTo>
                  <a:pt x="3156112" y="3180110"/>
                  <a:pt x="3156112" y="3180110"/>
                  <a:pt x="2811996" y="3231537"/>
                </a:cubicBezTo>
                <a:cubicBezTo>
                  <a:pt x="2777776" y="3235349"/>
                  <a:pt x="2747356" y="3212495"/>
                  <a:pt x="2741653" y="3180110"/>
                </a:cubicBezTo>
                <a:cubicBezTo>
                  <a:pt x="2741653" y="3176299"/>
                  <a:pt x="2741653" y="3172487"/>
                  <a:pt x="2741653" y="3170583"/>
                </a:cubicBezTo>
                <a:cubicBezTo>
                  <a:pt x="2741653" y="3140106"/>
                  <a:pt x="2762567" y="3113436"/>
                  <a:pt x="2792985" y="3109626"/>
                </a:cubicBezTo>
                <a:cubicBezTo>
                  <a:pt x="2792985" y="3109626"/>
                  <a:pt x="2792985" y="3109626"/>
                  <a:pt x="3139002" y="3058190"/>
                </a:cubicBezTo>
                <a:close/>
                <a:moveTo>
                  <a:pt x="9858217" y="2803158"/>
                </a:moveTo>
                <a:cubicBezTo>
                  <a:pt x="9861796" y="2803398"/>
                  <a:pt x="9865135" y="2804823"/>
                  <a:pt x="9867044" y="2807683"/>
                </a:cubicBezTo>
                <a:cubicBezTo>
                  <a:pt x="9872769" y="2811493"/>
                  <a:pt x="9872769" y="2821017"/>
                  <a:pt x="9867044" y="2826731"/>
                </a:cubicBezTo>
                <a:cubicBezTo>
                  <a:pt x="9867044" y="2826731"/>
                  <a:pt x="9867044" y="2826731"/>
                  <a:pt x="9536890" y="3139152"/>
                </a:cubicBezTo>
                <a:cubicBezTo>
                  <a:pt x="9533073" y="3144866"/>
                  <a:pt x="9523531" y="3144866"/>
                  <a:pt x="9517806" y="3139152"/>
                </a:cubicBezTo>
                <a:cubicBezTo>
                  <a:pt x="9515897" y="3137247"/>
                  <a:pt x="9513989" y="3133436"/>
                  <a:pt x="9513989" y="3129628"/>
                </a:cubicBezTo>
                <a:cubicBezTo>
                  <a:pt x="9513989" y="3125817"/>
                  <a:pt x="9515897" y="3122007"/>
                  <a:pt x="9519714" y="3120101"/>
                </a:cubicBezTo>
                <a:cubicBezTo>
                  <a:pt x="9519714" y="3120101"/>
                  <a:pt x="9519714" y="3120101"/>
                  <a:pt x="9847960" y="2805777"/>
                </a:cubicBezTo>
                <a:cubicBezTo>
                  <a:pt x="9850823" y="2803873"/>
                  <a:pt x="9854639" y="2802920"/>
                  <a:pt x="9858217" y="2803158"/>
                </a:cubicBezTo>
                <a:close/>
                <a:moveTo>
                  <a:pt x="9280452" y="2798866"/>
                </a:moveTo>
                <a:cubicBezTo>
                  <a:pt x="9284961" y="2799103"/>
                  <a:pt x="9289232" y="2801005"/>
                  <a:pt x="9292080" y="2804804"/>
                </a:cubicBezTo>
                <a:cubicBezTo>
                  <a:pt x="9299674" y="2812401"/>
                  <a:pt x="9297776" y="2823797"/>
                  <a:pt x="9290182" y="2829495"/>
                </a:cubicBezTo>
                <a:cubicBezTo>
                  <a:pt x="9290182" y="2829495"/>
                  <a:pt x="9290182" y="2829495"/>
                  <a:pt x="8961745" y="3118217"/>
                </a:cubicBezTo>
                <a:cubicBezTo>
                  <a:pt x="8954151" y="3125817"/>
                  <a:pt x="8942760" y="3123917"/>
                  <a:pt x="8937064" y="3116319"/>
                </a:cubicBezTo>
                <a:cubicBezTo>
                  <a:pt x="8933267" y="3114420"/>
                  <a:pt x="8931369" y="3110621"/>
                  <a:pt x="8931369" y="3104922"/>
                </a:cubicBezTo>
                <a:cubicBezTo>
                  <a:pt x="8931369" y="3101123"/>
                  <a:pt x="8933267" y="3095423"/>
                  <a:pt x="8937064" y="3091625"/>
                </a:cubicBezTo>
                <a:cubicBezTo>
                  <a:pt x="8937064" y="3091625"/>
                  <a:pt x="8937064" y="3091625"/>
                  <a:pt x="9267400" y="2802904"/>
                </a:cubicBezTo>
                <a:cubicBezTo>
                  <a:pt x="9271197" y="2800052"/>
                  <a:pt x="9275943" y="2798628"/>
                  <a:pt x="9280452" y="2798866"/>
                </a:cubicBezTo>
                <a:close/>
                <a:moveTo>
                  <a:pt x="10442418" y="2798842"/>
                </a:moveTo>
                <a:cubicBezTo>
                  <a:pt x="10446950" y="2799079"/>
                  <a:pt x="10451243" y="2800979"/>
                  <a:pt x="10454106" y="2804777"/>
                </a:cubicBezTo>
                <a:cubicBezTo>
                  <a:pt x="10461739" y="2812377"/>
                  <a:pt x="10459831" y="2823773"/>
                  <a:pt x="10454106" y="2829471"/>
                </a:cubicBezTo>
                <a:cubicBezTo>
                  <a:pt x="10454106" y="2829471"/>
                  <a:pt x="10454106" y="2829471"/>
                  <a:pt x="10122059" y="3118194"/>
                </a:cubicBezTo>
                <a:cubicBezTo>
                  <a:pt x="10114425" y="3125793"/>
                  <a:pt x="10102976" y="3123893"/>
                  <a:pt x="10097251" y="3116295"/>
                </a:cubicBezTo>
                <a:cubicBezTo>
                  <a:pt x="10093434" y="3114396"/>
                  <a:pt x="10093434" y="3110597"/>
                  <a:pt x="10093434" y="3104898"/>
                </a:cubicBezTo>
                <a:cubicBezTo>
                  <a:pt x="10093434" y="3101099"/>
                  <a:pt x="10095342" y="3095400"/>
                  <a:pt x="10099159" y="3091603"/>
                </a:cubicBezTo>
                <a:cubicBezTo>
                  <a:pt x="10099159" y="3091603"/>
                  <a:pt x="10099159" y="3091603"/>
                  <a:pt x="10429298" y="2802878"/>
                </a:cubicBezTo>
                <a:cubicBezTo>
                  <a:pt x="10433114" y="2800029"/>
                  <a:pt x="10437885" y="2798605"/>
                  <a:pt x="10442418" y="2798842"/>
                </a:cubicBezTo>
                <a:close/>
                <a:moveTo>
                  <a:pt x="8710745" y="2792356"/>
                </a:moveTo>
                <a:cubicBezTo>
                  <a:pt x="8716231" y="2793069"/>
                  <a:pt x="8721479" y="2795921"/>
                  <a:pt x="8725295" y="2800675"/>
                </a:cubicBezTo>
                <a:cubicBezTo>
                  <a:pt x="8732928" y="2810181"/>
                  <a:pt x="8732928" y="2823488"/>
                  <a:pt x="8723387" y="2831093"/>
                </a:cubicBezTo>
                <a:cubicBezTo>
                  <a:pt x="8723387" y="2831093"/>
                  <a:pt x="8723387" y="2831093"/>
                  <a:pt x="8389446" y="3099164"/>
                </a:cubicBezTo>
                <a:cubicBezTo>
                  <a:pt x="8379905" y="3106766"/>
                  <a:pt x="8366547" y="3104865"/>
                  <a:pt x="8358914" y="3095358"/>
                </a:cubicBezTo>
                <a:cubicBezTo>
                  <a:pt x="8355098" y="3091559"/>
                  <a:pt x="8355098" y="3085855"/>
                  <a:pt x="8355098" y="3082053"/>
                </a:cubicBezTo>
                <a:cubicBezTo>
                  <a:pt x="8355098" y="3074447"/>
                  <a:pt x="8357006" y="3068744"/>
                  <a:pt x="8362731" y="3064941"/>
                </a:cubicBezTo>
                <a:cubicBezTo>
                  <a:pt x="8362731" y="3064941"/>
                  <a:pt x="8362731" y="3064941"/>
                  <a:pt x="8694763" y="2796872"/>
                </a:cubicBezTo>
                <a:cubicBezTo>
                  <a:pt x="8699534" y="2793069"/>
                  <a:pt x="8705258" y="2791642"/>
                  <a:pt x="8710745" y="2792356"/>
                </a:cubicBezTo>
                <a:close/>
                <a:moveTo>
                  <a:pt x="11020609" y="2792330"/>
                </a:moveTo>
                <a:cubicBezTo>
                  <a:pt x="11026090" y="2793043"/>
                  <a:pt x="11031333" y="2795895"/>
                  <a:pt x="11035146" y="2800648"/>
                </a:cubicBezTo>
                <a:cubicBezTo>
                  <a:pt x="11042773" y="2810154"/>
                  <a:pt x="11040866" y="2823462"/>
                  <a:pt x="11031333" y="2831067"/>
                </a:cubicBezTo>
                <a:cubicBezTo>
                  <a:pt x="11031333" y="2831067"/>
                  <a:pt x="11031333" y="2831067"/>
                  <a:pt x="10699581" y="3099136"/>
                </a:cubicBezTo>
                <a:cubicBezTo>
                  <a:pt x="10690048" y="3106741"/>
                  <a:pt x="10676701" y="3104840"/>
                  <a:pt x="10669075" y="3095334"/>
                </a:cubicBezTo>
                <a:cubicBezTo>
                  <a:pt x="10665262" y="3091531"/>
                  <a:pt x="10663355" y="3085827"/>
                  <a:pt x="10663355" y="3082025"/>
                </a:cubicBezTo>
                <a:cubicBezTo>
                  <a:pt x="10663355" y="3074421"/>
                  <a:pt x="10667168" y="3068717"/>
                  <a:pt x="10672888" y="3064914"/>
                </a:cubicBezTo>
                <a:cubicBezTo>
                  <a:pt x="10672888" y="3064914"/>
                  <a:pt x="10672888" y="3064914"/>
                  <a:pt x="11004641" y="2796846"/>
                </a:cubicBezTo>
                <a:cubicBezTo>
                  <a:pt x="11009408" y="2793043"/>
                  <a:pt x="11015127" y="2791618"/>
                  <a:pt x="11020609" y="2792330"/>
                </a:cubicBezTo>
                <a:close/>
                <a:moveTo>
                  <a:pt x="8147926" y="2787441"/>
                </a:moveTo>
                <a:cubicBezTo>
                  <a:pt x="8154593" y="2788630"/>
                  <a:pt x="8160785" y="2792440"/>
                  <a:pt x="8164595" y="2798157"/>
                </a:cubicBezTo>
                <a:cubicBezTo>
                  <a:pt x="8174120" y="2809588"/>
                  <a:pt x="8170310" y="2824828"/>
                  <a:pt x="8158880" y="2834352"/>
                </a:cubicBezTo>
                <a:cubicBezTo>
                  <a:pt x="8158880" y="2834352"/>
                  <a:pt x="8158880" y="2834352"/>
                  <a:pt x="7825500" y="3078192"/>
                </a:cubicBezTo>
                <a:cubicBezTo>
                  <a:pt x="7814070" y="3087718"/>
                  <a:pt x="7796925" y="3083908"/>
                  <a:pt x="7789305" y="3072478"/>
                </a:cubicBezTo>
                <a:cubicBezTo>
                  <a:pt x="7785495" y="3068667"/>
                  <a:pt x="7783590" y="3062951"/>
                  <a:pt x="7783590" y="3057236"/>
                </a:cubicBezTo>
                <a:cubicBezTo>
                  <a:pt x="7783590" y="3049615"/>
                  <a:pt x="7787400" y="3042001"/>
                  <a:pt x="7795020" y="3036282"/>
                </a:cubicBezTo>
                <a:cubicBezTo>
                  <a:pt x="7795020" y="3036282"/>
                  <a:pt x="7795020" y="3036282"/>
                  <a:pt x="8128399" y="2792440"/>
                </a:cubicBezTo>
                <a:cubicBezTo>
                  <a:pt x="8134114" y="2787678"/>
                  <a:pt x="8141258" y="2786250"/>
                  <a:pt x="8147926" y="2787441"/>
                </a:cubicBezTo>
                <a:close/>
                <a:moveTo>
                  <a:pt x="11592432" y="2787434"/>
                </a:moveTo>
                <a:cubicBezTo>
                  <a:pt x="11598867" y="2788622"/>
                  <a:pt x="11605063" y="2792433"/>
                  <a:pt x="11609830" y="2798149"/>
                </a:cubicBezTo>
                <a:cubicBezTo>
                  <a:pt x="11617456" y="2809579"/>
                  <a:pt x="11615549" y="2824818"/>
                  <a:pt x="11604110" y="2834343"/>
                </a:cubicBezTo>
                <a:cubicBezTo>
                  <a:pt x="11604110" y="2834343"/>
                  <a:pt x="11604110" y="2834343"/>
                  <a:pt x="11270458" y="3078185"/>
                </a:cubicBezTo>
                <a:cubicBezTo>
                  <a:pt x="11259018" y="3087709"/>
                  <a:pt x="11241859" y="3083900"/>
                  <a:pt x="11234233" y="3072469"/>
                </a:cubicBezTo>
                <a:cubicBezTo>
                  <a:pt x="11230420" y="3068661"/>
                  <a:pt x="11228513" y="3062943"/>
                  <a:pt x="11228513" y="3057229"/>
                </a:cubicBezTo>
                <a:cubicBezTo>
                  <a:pt x="11228513" y="3049607"/>
                  <a:pt x="11232326" y="3041990"/>
                  <a:pt x="11238046" y="3036275"/>
                </a:cubicBezTo>
                <a:cubicBezTo>
                  <a:pt x="11238046" y="3036275"/>
                  <a:pt x="11238046" y="3036275"/>
                  <a:pt x="11573605" y="2792433"/>
                </a:cubicBezTo>
                <a:cubicBezTo>
                  <a:pt x="11579325" y="2787671"/>
                  <a:pt x="11585998" y="2786243"/>
                  <a:pt x="11592432" y="2787434"/>
                </a:cubicBezTo>
                <a:close/>
                <a:moveTo>
                  <a:pt x="12139750" y="2786083"/>
                </a:moveTo>
                <a:cubicBezTo>
                  <a:pt x="12139750" y="2786083"/>
                  <a:pt x="12139750" y="2786083"/>
                  <a:pt x="12139750" y="2858148"/>
                </a:cubicBezTo>
                <a:cubicBezTo>
                  <a:pt x="12139750" y="2858148"/>
                  <a:pt x="12139750" y="2858148"/>
                  <a:pt x="11834946" y="3059175"/>
                </a:cubicBezTo>
                <a:cubicBezTo>
                  <a:pt x="11819705" y="3068658"/>
                  <a:pt x="11800655" y="3064864"/>
                  <a:pt x="11793035" y="3049691"/>
                </a:cubicBezTo>
                <a:cubicBezTo>
                  <a:pt x="11789225" y="3044001"/>
                  <a:pt x="11787320" y="3038313"/>
                  <a:pt x="11787320" y="3032623"/>
                </a:cubicBezTo>
                <a:cubicBezTo>
                  <a:pt x="11787320" y="3023143"/>
                  <a:pt x="11791130" y="3013660"/>
                  <a:pt x="11800655" y="3007970"/>
                </a:cubicBezTo>
                <a:lnTo>
                  <a:pt x="12135940" y="2787978"/>
                </a:lnTo>
                <a:cubicBezTo>
                  <a:pt x="12137845" y="2786083"/>
                  <a:pt x="12137845" y="2786083"/>
                  <a:pt x="12139750" y="2786083"/>
                </a:cubicBezTo>
                <a:close/>
                <a:moveTo>
                  <a:pt x="7592452" y="2782900"/>
                </a:moveTo>
                <a:cubicBezTo>
                  <a:pt x="7600072" y="2784326"/>
                  <a:pt x="7606740" y="2788595"/>
                  <a:pt x="7610550" y="2795241"/>
                </a:cubicBezTo>
                <a:cubicBezTo>
                  <a:pt x="7620075" y="2810434"/>
                  <a:pt x="7616265" y="2829420"/>
                  <a:pt x="7602930" y="2837016"/>
                </a:cubicBezTo>
                <a:cubicBezTo>
                  <a:pt x="7602930" y="2837016"/>
                  <a:pt x="7602930" y="2837016"/>
                  <a:pt x="7267645" y="3059173"/>
                </a:cubicBezTo>
                <a:cubicBezTo>
                  <a:pt x="7254310" y="3068667"/>
                  <a:pt x="7235260" y="3064869"/>
                  <a:pt x="7225735" y="3049680"/>
                </a:cubicBezTo>
                <a:cubicBezTo>
                  <a:pt x="7221925" y="3043982"/>
                  <a:pt x="7220020" y="3038288"/>
                  <a:pt x="7220020" y="3032591"/>
                </a:cubicBezTo>
                <a:cubicBezTo>
                  <a:pt x="7220020" y="3023099"/>
                  <a:pt x="7225735" y="3013604"/>
                  <a:pt x="7233355" y="3007907"/>
                </a:cubicBezTo>
                <a:cubicBezTo>
                  <a:pt x="7233355" y="3007907"/>
                  <a:pt x="7233355" y="3007907"/>
                  <a:pt x="7568639" y="2787648"/>
                </a:cubicBezTo>
                <a:cubicBezTo>
                  <a:pt x="7576259" y="2782900"/>
                  <a:pt x="7584832" y="2781476"/>
                  <a:pt x="7592452" y="2782900"/>
                </a:cubicBezTo>
                <a:close/>
                <a:moveTo>
                  <a:pt x="7041900" y="2777758"/>
                </a:moveTo>
                <a:cubicBezTo>
                  <a:pt x="7050473" y="2779901"/>
                  <a:pt x="7058093" y="2785138"/>
                  <a:pt x="7062856" y="2792757"/>
                </a:cubicBezTo>
                <a:cubicBezTo>
                  <a:pt x="7072381" y="2809907"/>
                  <a:pt x="7066666" y="2830858"/>
                  <a:pt x="7051425" y="2840384"/>
                </a:cubicBezTo>
                <a:cubicBezTo>
                  <a:pt x="7051425" y="2840384"/>
                  <a:pt x="7051425" y="2840384"/>
                  <a:pt x="6714236" y="3038503"/>
                </a:cubicBezTo>
                <a:cubicBezTo>
                  <a:pt x="6697090" y="3048026"/>
                  <a:pt x="6676135" y="3044222"/>
                  <a:pt x="6666610" y="3027077"/>
                </a:cubicBezTo>
                <a:cubicBezTo>
                  <a:pt x="6664705" y="3021361"/>
                  <a:pt x="6662800" y="3015647"/>
                  <a:pt x="6662800" y="3009931"/>
                </a:cubicBezTo>
                <a:cubicBezTo>
                  <a:pt x="6662800" y="2998500"/>
                  <a:pt x="6668515" y="2987069"/>
                  <a:pt x="6679945" y="2979450"/>
                </a:cubicBezTo>
                <a:cubicBezTo>
                  <a:pt x="6679945" y="2979450"/>
                  <a:pt x="6679945" y="2979450"/>
                  <a:pt x="7015230" y="2781330"/>
                </a:cubicBezTo>
                <a:cubicBezTo>
                  <a:pt x="7023803" y="2776567"/>
                  <a:pt x="7033328" y="2775616"/>
                  <a:pt x="7041900" y="2777758"/>
                </a:cubicBezTo>
                <a:close/>
                <a:moveTo>
                  <a:pt x="6499388" y="2774400"/>
                </a:moveTo>
                <a:cubicBezTo>
                  <a:pt x="6508668" y="2777482"/>
                  <a:pt x="6516758" y="2784126"/>
                  <a:pt x="6521517" y="2793615"/>
                </a:cubicBezTo>
                <a:cubicBezTo>
                  <a:pt x="6531035" y="2812596"/>
                  <a:pt x="6525324" y="2835373"/>
                  <a:pt x="6506288" y="2844865"/>
                </a:cubicBezTo>
                <a:cubicBezTo>
                  <a:pt x="6506288" y="2844865"/>
                  <a:pt x="6506288" y="2844865"/>
                  <a:pt x="6167449" y="3019490"/>
                </a:cubicBezTo>
                <a:cubicBezTo>
                  <a:pt x="6148414" y="3028982"/>
                  <a:pt x="6125570" y="3021389"/>
                  <a:pt x="6116053" y="3002408"/>
                </a:cubicBezTo>
                <a:cubicBezTo>
                  <a:pt x="6112245" y="2996712"/>
                  <a:pt x="6110342" y="2991020"/>
                  <a:pt x="6110342" y="2985324"/>
                </a:cubicBezTo>
                <a:cubicBezTo>
                  <a:pt x="6110342" y="2972039"/>
                  <a:pt x="6117956" y="2958751"/>
                  <a:pt x="6131281" y="2951160"/>
                </a:cubicBezTo>
                <a:cubicBezTo>
                  <a:pt x="6131281" y="2951160"/>
                  <a:pt x="6131281" y="2951160"/>
                  <a:pt x="6470120" y="2776533"/>
                </a:cubicBezTo>
                <a:cubicBezTo>
                  <a:pt x="6479638" y="2771788"/>
                  <a:pt x="6490107" y="2771312"/>
                  <a:pt x="6499388" y="2774400"/>
                </a:cubicBezTo>
                <a:close/>
                <a:moveTo>
                  <a:pt x="5959672" y="2769256"/>
                </a:moveTo>
                <a:cubicBezTo>
                  <a:pt x="5969941" y="2773062"/>
                  <a:pt x="5978538" y="2780669"/>
                  <a:pt x="5983314" y="2791133"/>
                </a:cubicBezTo>
                <a:cubicBezTo>
                  <a:pt x="5992867" y="2812061"/>
                  <a:pt x="5983314" y="2838698"/>
                  <a:pt x="5962297" y="2848210"/>
                </a:cubicBezTo>
                <a:cubicBezTo>
                  <a:pt x="5962297" y="2848210"/>
                  <a:pt x="5962297" y="2848210"/>
                  <a:pt x="5620299" y="3000418"/>
                </a:cubicBezTo>
                <a:cubicBezTo>
                  <a:pt x="5599283" y="3009931"/>
                  <a:pt x="5574446" y="3000418"/>
                  <a:pt x="5564892" y="2979489"/>
                </a:cubicBezTo>
                <a:cubicBezTo>
                  <a:pt x="5561071" y="2973783"/>
                  <a:pt x="5561071" y="2968075"/>
                  <a:pt x="5561071" y="2960466"/>
                </a:cubicBezTo>
                <a:cubicBezTo>
                  <a:pt x="5561071" y="2945244"/>
                  <a:pt x="5570624" y="2930022"/>
                  <a:pt x="5585909" y="2922412"/>
                </a:cubicBezTo>
                <a:cubicBezTo>
                  <a:pt x="5585909" y="2922412"/>
                  <a:pt x="5585909" y="2922412"/>
                  <a:pt x="5925996" y="2770208"/>
                </a:cubicBezTo>
                <a:cubicBezTo>
                  <a:pt x="5937461" y="2765450"/>
                  <a:pt x="5949401" y="2765450"/>
                  <a:pt x="5959672" y="2769256"/>
                </a:cubicBezTo>
                <a:close/>
                <a:moveTo>
                  <a:pt x="399603" y="2769241"/>
                </a:moveTo>
                <a:cubicBezTo>
                  <a:pt x="410073" y="2773046"/>
                  <a:pt x="419115" y="2780657"/>
                  <a:pt x="423874" y="2791121"/>
                </a:cubicBezTo>
                <a:cubicBezTo>
                  <a:pt x="433392" y="2812049"/>
                  <a:pt x="423874" y="2838685"/>
                  <a:pt x="401030" y="2848199"/>
                </a:cubicBezTo>
                <a:cubicBezTo>
                  <a:pt x="401030" y="2848199"/>
                  <a:pt x="401030" y="2848199"/>
                  <a:pt x="62187" y="3000404"/>
                </a:cubicBezTo>
                <a:cubicBezTo>
                  <a:pt x="41247" y="3009919"/>
                  <a:pt x="16500" y="3000404"/>
                  <a:pt x="6982" y="2979476"/>
                </a:cubicBezTo>
                <a:cubicBezTo>
                  <a:pt x="3175" y="2973768"/>
                  <a:pt x="3175" y="2968061"/>
                  <a:pt x="3175" y="2960451"/>
                </a:cubicBezTo>
                <a:cubicBezTo>
                  <a:pt x="3175" y="2945230"/>
                  <a:pt x="10789" y="2930010"/>
                  <a:pt x="27922" y="2922399"/>
                </a:cubicBezTo>
                <a:cubicBezTo>
                  <a:pt x="27922" y="2922399"/>
                  <a:pt x="27922" y="2922399"/>
                  <a:pt x="366765" y="2770194"/>
                </a:cubicBezTo>
                <a:cubicBezTo>
                  <a:pt x="377235" y="2765436"/>
                  <a:pt x="389133" y="2765436"/>
                  <a:pt x="399603" y="2769241"/>
                </a:cubicBezTo>
                <a:close/>
                <a:moveTo>
                  <a:pt x="5396029" y="2760546"/>
                </a:moveTo>
                <a:cubicBezTo>
                  <a:pt x="5414054" y="2760902"/>
                  <a:pt x="5431544" y="2771987"/>
                  <a:pt x="5437255" y="2790586"/>
                </a:cubicBezTo>
                <a:cubicBezTo>
                  <a:pt x="5446773" y="2815383"/>
                  <a:pt x="5435351" y="2842090"/>
                  <a:pt x="5410604" y="2851628"/>
                </a:cubicBezTo>
                <a:cubicBezTo>
                  <a:pt x="5410604" y="2851628"/>
                  <a:pt x="5410604" y="2851628"/>
                  <a:pt x="5069849" y="2981344"/>
                </a:cubicBezTo>
                <a:cubicBezTo>
                  <a:pt x="5045104" y="2990880"/>
                  <a:pt x="5018456" y="2977527"/>
                  <a:pt x="5008938" y="2954638"/>
                </a:cubicBezTo>
                <a:cubicBezTo>
                  <a:pt x="5007035" y="2948915"/>
                  <a:pt x="5007035" y="2943193"/>
                  <a:pt x="5007035" y="2937469"/>
                </a:cubicBezTo>
                <a:cubicBezTo>
                  <a:pt x="5007035" y="2918395"/>
                  <a:pt x="5018456" y="2899319"/>
                  <a:pt x="5037491" y="2893596"/>
                </a:cubicBezTo>
                <a:cubicBezTo>
                  <a:pt x="5037491" y="2893596"/>
                  <a:pt x="5037491" y="2893596"/>
                  <a:pt x="5378242" y="2763882"/>
                </a:cubicBezTo>
                <a:cubicBezTo>
                  <a:pt x="5383954" y="2761500"/>
                  <a:pt x="5390021" y="2760425"/>
                  <a:pt x="5396029" y="2760546"/>
                </a:cubicBezTo>
                <a:close/>
                <a:moveTo>
                  <a:pt x="930705" y="2760528"/>
                </a:moveTo>
                <a:cubicBezTo>
                  <a:pt x="949140" y="2760885"/>
                  <a:pt x="965965" y="2771973"/>
                  <a:pt x="973124" y="2790570"/>
                </a:cubicBezTo>
                <a:cubicBezTo>
                  <a:pt x="982670" y="2815369"/>
                  <a:pt x="969306" y="2842076"/>
                  <a:pt x="946396" y="2851614"/>
                </a:cubicBezTo>
                <a:cubicBezTo>
                  <a:pt x="946396" y="2851614"/>
                  <a:pt x="946396" y="2851614"/>
                  <a:pt x="604662" y="2981328"/>
                </a:cubicBezTo>
                <a:cubicBezTo>
                  <a:pt x="579843" y="2990867"/>
                  <a:pt x="551206" y="2977513"/>
                  <a:pt x="543570" y="2954621"/>
                </a:cubicBezTo>
                <a:cubicBezTo>
                  <a:pt x="541661" y="2948899"/>
                  <a:pt x="539752" y="2943177"/>
                  <a:pt x="539752" y="2937453"/>
                </a:cubicBezTo>
                <a:cubicBezTo>
                  <a:pt x="539752" y="2918379"/>
                  <a:pt x="551206" y="2899302"/>
                  <a:pt x="570298" y="2893580"/>
                </a:cubicBezTo>
                <a:cubicBezTo>
                  <a:pt x="570298" y="2893580"/>
                  <a:pt x="570298" y="2893580"/>
                  <a:pt x="912032" y="2763867"/>
                </a:cubicBezTo>
                <a:cubicBezTo>
                  <a:pt x="918237" y="2761484"/>
                  <a:pt x="924561" y="2760408"/>
                  <a:pt x="930705" y="2760528"/>
                </a:cubicBezTo>
                <a:close/>
                <a:moveTo>
                  <a:pt x="4845195" y="2755586"/>
                </a:moveTo>
                <a:cubicBezTo>
                  <a:pt x="4864905" y="2757905"/>
                  <a:pt x="4882742" y="2771456"/>
                  <a:pt x="4889878" y="2791428"/>
                </a:cubicBezTo>
                <a:cubicBezTo>
                  <a:pt x="4897489" y="2818061"/>
                  <a:pt x="4882267" y="2846596"/>
                  <a:pt x="4855629" y="2856106"/>
                </a:cubicBezTo>
                <a:cubicBezTo>
                  <a:pt x="4855629" y="2856106"/>
                  <a:pt x="4855629" y="2856106"/>
                  <a:pt x="4513213" y="2962635"/>
                </a:cubicBezTo>
                <a:cubicBezTo>
                  <a:pt x="4486582" y="2970243"/>
                  <a:pt x="4458045" y="2955024"/>
                  <a:pt x="4448534" y="2928394"/>
                </a:cubicBezTo>
                <a:cubicBezTo>
                  <a:pt x="4448534" y="2924590"/>
                  <a:pt x="4446631" y="2918884"/>
                  <a:pt x="4446631" y="2913176"/>
                </a:cubicBezTo>
                <a:cubicBezTo>
                  <a:pt x="4446631" y="2892251"/>
                  <a:pt x="4461851" y="2871325"/>
                  <a:pt x="4482778" y="2863715"/>
                </a:cubicBezTo>
                <a:cubicBezTo>
                  <a:pt x="4482778" y="2863715"/>
                  <a:pt x="4482778" y="2863715"/>
                  <a:pt x="4825187" y="2757192"/>
                </a:cubicBezTo>
                <a:cubicBezTo>
                  <a:pt x="4831848" y="2755287"/>
                  <a:pt x="4838625" y="2754812"/>
                  <a:pt x="4845195" y="2755586"/>
                </a:cubicBezTo>
                <a:close/>
                <a:moveTo>
                  <a:pt x="1482623" y="2755567"/>
                </a:moveTo>
                <a:cubicBezTo>
                  <a:pt x="1502310" y="2757887"/>
                  <a:pt x="1519850" y="2771439"/>
                  <a:pt x="1525577" y="2791412"/>
                </a:cubicBezTo>
                <a:cubicBezTo>
                  <a:pt x="1535122" y="2818044"/>
                  <a:pt x="1519850" y="2846577"/>
                  <a:pt x="1493123" y="2856090"/>
                </a:cubicBezTo>
                <a:cubicBezTo>
                  <a:pt x="1493123" y="2856090"/>
                  <a:pt x="1493123" y="2856090"/>
                  <a:pt x="1149495" y="2962617"/>
                </a:cubicBezTo>
                <a:cubicBezTo>
                  <a:pt x="1122769" y="2970225"/>
                  <a:pt x="1092224" y="2955007"/>
                  <a:pt x="1084588" y="2928375"/>
                </a:cubicBezTo>
                <a:cubicBezTo>
                  <a:pt x="1082679" y="2924571"/>
                  <a:pt x="1082679" y="2918864"/>
                  <a:pt x="1082679" y="2913158"/>
                </a:cubicBezTo>
                <a:cubicBezTo>
                  <a:pt x="1082679" y="2892232"/>
                  <a:pt x="1096042" y="2871308"/>
                  <a:pt x="1118950" y="2863698"/>
                </a:cubicBezTo>
                <a:cubicBezTo>
                  <a:pt x="1118950" y="2863698"/>
                  <a:pt x="1118950" y="2863698"/>
                  <a:pt x="1462578" y="2757173"/>
                </a:cubicBezTo>
                <a:cubicBezTo>
                  <a:pt x="1469260" y="2755270"/>
                  <a:pt x="1476061" y="2754795"/>
                  <a:pt x="1482623" y="2755567"/>
                </a:cubicBezTo>
                <a:close/>
                <a:moveTo>
                  <a:pt x="4291652" y="2750401"/>
                </a:moveTo>
                <a:cubicBezTo>
                  <a:pt x="4313336" y="2754252"/>
                  <a:pt x="4331542" y="2769659"/>
                  <a:pt x="4335825" y="2792587"/>
                </a:cubicBezTo>
                <a:cubicBezTo>
                  <a:pt x="4343439" y="2821252"/>
                  <a:pt x="4326306" y="2851825"/>
                  <a:pt x="4295845" y="2859470"/>
                </a:cubicBezTo>
                <a:cubicBezTo>
                  <a:pt x="4295845" y="2859470"/>
                  <a:pt x="4295845" y="2859470"/>
                  <a:pt x="3953197" y="2943550"/>
                </a:cubicBezTo>
                <a:cubicBezTo>
                  <a:pt x="3922737" y="2951195"/>
                  <a:pt x="3892278" y="2932085"/>
                  <a:pt x="3884664" y="2901512"/>
                </a:cubicBezTo>
                <a:cubicBezTo>
                  <a:pt x="3884664" y="2897690"/>
                  <a:pt x="3884664" y="2893868"/>
                  <a:pt x="3884664" y="2888136"/>
                </a:cubicBezTo>
                <a:cubicBezTo>
                  <a:pt x="3884664" y="2863292"/>
                  <a:pt x="3899893" y="2840361"/>
                  <a:pt x="3926546" y="2834629"/>
                </a:cubicBezTo>
                <a:cubicBezTo>
                  <a:pt x="3926546" y="2834629"/>
                  <a:pt x="3926546" y="2834629"/>
                  <a:pt x="4269194" y="2750551"/>
                </a:cubicBezTo>
                <a:cubicBezTo>
                  <a:pt x="4276809" y="2749117"/>
                  <a:pt x="4284423" y="2749117"/>
                  <a:pt x="4291652" y="2750401"/>
                </a:cubicBezTo>
                <a:close/>
                <a:moveTo>
                  <a:pt x="2037929" y="2750381"/>
                </a:moveTo>
                <a:cubicBezTo>
                  <a:pt x="2058890" y="2754232"/>
                  <a:pt x="2077438" y="2769638"/>
                  <a:pt x="2083145" y="2792570"/>
                </a:cubicBezTo>
                <a:cubicBezTo>
                  <a:pt x="2090755" y="2821233"/>
                  <a:pt x="2071730" y="2851807"/>
                  <a:pt x="2043190" y="2859451"/>
                </a:cubicBezTo>
                <a:cubicBezTo>
                  <a:pt x="2043190" y="2859451"/>
                  <a:pt x="2043190" y="2859451"/>
                  <a:pt x="1698856" y="2943529"/>
                </a:cubicBezTo>
                <a:cubicBezTo>
                  <a:pt x="1668417" y="2951173"/>
                  <a:pt x="1639881" y="2932065"/>
                  <a:pt x="1632272" y="2901491"/>
                </a:cubicBezTo>
                <a:cubicBezTo>
                  <a:pt x="1630369" y="2897669"/>
                  <a:pt x="1630369" y="2893847"/>
                  <a:pt x="1630369" y="2888114"/>
                </a:cubicBezTo>
                <a:cubicBezTo>
                  <a:pt x="1630369" y="2863273"/>
                  <a:pt x="1647491" y="2840342"/>
                  <a:pt x="1672222" y="2834609"/>
                </a:cubicBezTo>
                <a:cubicBezTo>
                  <a:pt x="1672222" y="2834609"/>
                  <a:pt x="1672222" y="2834609"/>
                  <a:pt x="2016556" y="2750531"/>
                </a:cubicBezTo>
                <a:cubicBezTo>
                  <a:pt x="2023690" y="2749098"/>
                  <a:pt x="2030943" y="2749098"/>
                  <a:pt x="2037929" y="2750381"/>
                </a:cubicBezTo>
                <a:close/>
                <a:moveTo>
                  <a:pt x="3710449" y="2745770"/>
                </a:moveTo>
                <a:cubicBezTo>
                  <a:pt x="3742792" y="2740056"/>
                  <a:pt x="3773233" y="2762916"/>
                  <a:pt x="3778943" y="2795297"/>
                </a:cubicBezTo>
                <a:cubicBezTo>
                  <a:pt x="3784650" y="2827683"/>
                  <a:pt x="3763720" y="2858165"/>
                  <a:pt x="3731376" y="2863880"/>
                </a:cubicBezTo>
                <a:cubicBezTo>
                  <a:pt x="3731376" y="2863880"/>
                  <a:pt x="3731376" y="2863880"/>
                  <a:pt x="3385145" y="2924842"/>
                </a:cubicBezTo>
                <a:cubicBezTo>
                  <a:pt x="3352800" y="2930556"/>
                  <a:pt x="3322363" y="2907696"/>
                  <a:pt x="3316655" y="2875310"/>
                </a:cubicBezTo>
                <a:cubicBezTo>
                  <a:pt x="3316655" y="2871500"/>
                  <a:pt x="3314753" y="2869595"/>
                  <a:pt x="3314753" y="2865784"/>
                </a:cubicBezTo>
                <a:cubicBezTo>
                  <a:pt x="3314753" y="2837207"/>
                  <a:pt x="3335679" y="2812444"/>
                  <a:pt x="3364218" y="2806729"/>
                </a:cubicBezTo>
                <a:cubicBezTo>
                  <a:pt x="3364218" y="2806729"/>
                  <a:pt x="3364218" y="2806729"/>
                  <a:pt x="3710449" y="2745770"/>
                </a:cubicBezTo>
                <a:close/>
                <a:moveTo>
                  <a:pt x="2576948" y="2745748"/>
                </a:moveTo>
                <a:cubicBezTo>
                  <a:pt x="2609290" y="2740033"/>
                  <a:pt x="2639729" y="2762892"/>
                  <a:pt x="2645436" y="2795278"/>
                </a:cubicBezTo>
                <a:cubicBezTo>
                  <a:pt x="2651144" y="2827662"/>
                  <a:pt x="2630217" y="2858143"/>
                  <a:pt x="2595973" y="2863857"/>
                </a:cubicBezTo>
                <a:cubicBezTo>
                  <a:pt x="2595973" y="2863857"/>
                  <a:pt x="2595973" y="2863857"/>
                  <a:pt x="2251629" y="2924818"/>
                </a:cubicBezTo>
                <a:cubicBezTo>
                  <a:pt x="2219287" y="2930533"/>
                  <a:pt x="2188848" y="2907673"/>
                  <a:pt x="2183141" y="2875287"/>
                </a:cubicBezTo>
                <a:cubicBezTo>
                  <a:pt x="2183141" y="2871478"/>
                  <a:pt x="2181238" y="2869573"/>
                  <a:pt x="2181238" y="2865763"/>
                </a:cubicBezTo>
                <a:cubicBezTo>
                  <a:pt x="2181238" y="2837188"/>
                  <a:pt x="2202166" y="2812423"/>
                  <a:pt x="2230702" y="2806708"/>
                </a:cubicBezTo>
                <a:cubicBezTo>
                  <a:pt x="2230702" y="2806708"/>
                  <a:pt x="2230702" y="2806708"/>
                  <a:pt x="2576948" y="2745748"/>
                </a:cubicBezTo>
                <a:close/>
                <a:moveTo>
                  <a:pt x="3140488" y="2739132"/>
                </a:moveTo>
                <a:cubicBezTo>
                  <a:pt x="3176662" y="2735294"/>
                  <a:pt x="3207121" y="2760241"/>
                  <a:pt x="3210926" y="2796698"/>
                </a:cubicBezTo>
                <a:cubicBezTo>
                  <a:pt x="3214735" y="2831239"/>
                  <a:pt x="3189988" y="2863862"/>
                  <a:pt x="3153818" y="2867700"/>
                </a:cubicBezTo>
                <a:cubicBezTo>
                  <a:pt x="3153818" y="2867700"/>
                  <a:pt x="3153818" y="2867700"/>
                  <a:pt x="2807329" y="2906081"/>
                </a:cubicBezTo>
                <a:cubicBezTo>
                  <a:pt x="2773061" y="2909920"/>
                  <a:pt x="2740696" y="2883053"/>
                  <a:pt x="2736893" y="2848510"/>
                </a:cubicBezTo>
                <a:cubicBezTo>
                  <a:pt x="2736893" y="2846591"/>
                  <a:pt x="2736893" y="2842753"/>
                  <a:pt x="2736893" y="2840833"/>
                </a:cubicBezTo>
                <a:cubicBezTo>
                  <a:pt x="2736893" y="2808213"/>
                  <a:pt x="2761639" y="2781347"/>
                  <a:pt x="2794003" y="2777510"/>
                </a:cubicBezTo>
                <a:cubicBezTo>
                  <a:pt x="2794003" y="2777510"/>
                  <a:pt x="2794003" y="2777510"/>
                  <a:pt x="3140488" y="2739132"/>
                </a:cubicBezTo>
                <a:close/>
                <a:moveTo>
                  <a:pt x="9848938" y="2478758"/>
                </a:moveTo>
                <a:cubicBezTo>
                  <a:pt x="9852752" y="2474949"/>
                  <a:pt x="9860379" y="2474949"/>
                  <a:pt x="9864192" y="2478758"/>
                </a:cubicBezTo>
                <a:cubicBezTo>
                  <a:pt x="9868006" y="2484475"/>
                  <a:pt x="9868006" y="2490192"/>
                  <a:pt x="9864192" y="2494003"/>
                </a:cubicBezTo>
                <a:cubicBezTo>
                  <a:pt x="9864192" y="2494003"/>
                  <a:pt x="9864192" y="2494003"/>
                  <a:pt x="9536232" y="2823558"/>
                </a:cubicBezTo>
                <a:cubicBezTo>
                  <a:pt x="9532418" y="2827364"/>
                  <a:pt x="9524791" y="2827364"/>
                  <a:pt x="9520978" y="2823558"/>
                </a:cubicBezTo>
                <a:cubicBezTo>
                  <a:pt x="9519071" y="2819745"/>
                  <a:pt x="9517164" y="2817842"/>
                  <a:pt x="9517164" y="2815937"/>
                </a:cubicBezTo>
                <a:cubicBezTo>
                  <a:pt x="9517164" y="2812126"/>
                  <a:pt x="9519071" y="2810223"/>
                  <a:pt x="9520978" y="2808317"/>
                </a:cubicBezTo>
                <a:cubicBezTo>
                  <a:pt x="9520978" y="2808317"/>
                  <a:pt x="9520978" y="2808317"/>
                  <a:pt x="9848938" y="2478758"/>
                </a:cubicBezTo>
                <a:close/>
                <a:moveTo>
                  <a:pt x="9280068" y="2470987"/>
                </a:moveTo>
                <a:cubicBezTo>
                  <a:pt x="9284116" y="2471465"/>
                  <a:pt x="9287926" y="2473375"/>
                  <a:pt x="9290784" y="2476239"/>
                </a:cubicBezTo>
                <a:cubicBezTo>
                  <a:pt x="9296499" y="2481973"/>
                  <a:pt x="9296499" y="2491525"/>
                  <a:pt x="9288879" y="2497260"/>
                </a:cubicBezTo>
                <a:cubicBezTo>
                  <a:pt x="9288879" y="2497260"/>
                  <a:pt x="9288879" y="2497260"/>
                  <a:pt x="8959309" y="2800997"/>
                </a:cubicBezTo>
                <a:cubicBezTo>
                  <a:pt x="8953594" y="2806729"/>
                  <a:pt x="8944069" y="2806729"/>
                  <a:pt x="8938354" y="2800997"/>
                </a:cubicBezTo>
                <a:cubicBezTo>
                  <a:pt x="8934544" y="2797177"/>
                  <a:pt x="8934544" y="2793354"/>
                  <a:pt x="8934544" y="2789535"/>
                </a:cubicBezTo>
                <a:cubicBezTo>
                  <a:pt x="8934544" y="2785714"/>
                  <a:pt x="8936449" y="2781895"/>
                  <a:pt x="8938354" y="2778073"/>
                </a:cubicBezTo>
                <a:cubicBezTo>
                  <a:pt x="8938354" y="2778073"/>
                  <a:pt x="8938354" y="2778073"/>
                  <a:pt x="9267924" y="2474329"/>
                </a:cubicBezTo>
                <a:cubicBezTo>
                  <a:pt x="9271734" y="2471465"/>
                  <a:pt x="9276020" y="2470511"/>
                  <a:pt x="9280068" y="2470987"/>
                </a:cubicBezTo>
                <a:close/>
                <a:moveTo>
                  <a:pt x="10440785" y="2470956"/>
                </a:moveTo>
                <a:cubicBezTo>
                  <a:pt x="10444594" y="2471432"/>
                  <a:pt x="10448404" y="2473343"/>
                  <a:pt x="10451262" y="2476209"/>
                </a:cubicBezTo>
                <a:cubicBezTo>
                  <a:pt x="10456977" y="2481941"/>
                  <a:pt x="10456977" y="2491493"/>
                  <a:pt x="10451262" y="2497223"/>
                </a:cubicBezTo>
                <a:cubicBezTo>
                  <a:pt x="10451262" y="2497223"/>
                  <a:pt x="10451262" y="2497223"/>
                  <a:pt x="10121692" y="2800974"/>
                </a:cubicBezTo>
                <a:cubicBezTo>
                  <a:pt x="10114072" y="2806705"/>
                  <a:pt x="10104547" y="2806705"/>
                  <a:pt x="10098832" y="2800974"/>
                </a:cubicBezTo>
                <a:cubicBezTo>
                  <a:pt x="10096927" y="2797153"/>
                  <a:pt x="10095022" y="2793332"/>
                  <a:pt x="10095022" y="2789511"/>
                </a:cubicBezTo>
                <a:cubicBezTo>
                  <a:pt x="10095022" y="2785690"/>
                  <a:pt x="10096927" y="2781870"/>
                  <a:pt x="10100737" y="2778049"/>
                </a:cubicBezTo>
                <a:cubicBezTo>
                  <a:pt x="10100737" y="2778049"/>
                  <a:pt x="10100737" y="2778049"/>
                  <a:pt x="10430307" y="2474298"/>
                </a:cubicBezTo>
                <a:cubicBezTo>
                  <a:pt x="10433164" y="2471432"/>
                  <a:pt x="10436974" y="2470479"/>
                  <a:pt x="10440785" y="2470956"/>
                </a:cubicBezTo>
                <a:close/>
                <a:moveTo>
                  <a:pt x="8710792" y="2467329"/>
                </a:moveTo>
                <a:cubicBezTo>
                  <a:pt x="8716049" y="2467808"/>
                  <a:pt x="8720828" y="2470190"/>
                  <a:pt x="8723695" y="2474959"/>
                </a:cubicBezTo>
                <a:cubicBezTo>
                  <a:pt x="8731341" y="2482590"/>
                  <a:pt x="8729430" y="2495938"/>
                  <a:pt x="8721783" y="2501658"/>
                </a:cubicBezTo>
                <a:cubicBezTo>
                  <a:pt x="8721783" y="2501658"/>
                  <a:pt x="8721783" y="2501658"/>
                  <a:pt x="8389182" y="2780051"/>
                </a:cubicBezTo>
                <a:cubicBezTo>
                  <a:pt x="8381536" y="2787678"/>
                  <a:pt x="8368155" y="2785771"/>
                  <a:pt x="8360509" y="2778145"/>
                </a:cubicBezTo>
                <a:cubicBezTo>
                  <a:pt x="8358598" y="2774333"/>
                  <a:pt x="8356686" y="2768612"/>
                  <a:pt x="8356686" y="2764800"/>
                </a:cubicBezTo>
                <a:cubicBezTo>
                  <a:pt x="8356686" y="2759078"/>
                  <a:pt x="8358598" y="2753357"/>
                  <a:pt x="8364332" y="2749541"/>
                </a:cubicBezTo>
                <a:cubicBezTo>
                  <a:pt x="8364332" y="2749541"/>
                  <a:pt x="8364332" y="2749541"/>
                  <a:pt x="8695022" y="2471144"/>
                </a:cubicBezTo>
                <a:cubicBezTo>
                  <a:pt x="8699801" y="2468282"/>
                  <a:pt x="8705536" y="2466854"/>
                  <a:pt x="8710792" y="2467329"/>
                </a:cubicBezTo>
                <a:close/>
                <a:moveTo>
                  <a:pt x="11018422" y="2467296"/>
                </a:moveTo>
                <a:cubicBezTo>
                  <a:pt x="11023419" y="2467773"/>
                  <a:pt x="11028178" y="2470157"/>
                  <a:pt x="11031984" y="2474925"/>
                </a:cubicBezTo>
                <a:cubicBezTo>
                  <a:pt x="11039598" y="2482552"/>
                  <a:pt x="11037695" y="2495900"/>
                  <a:pt x="11030081" y="2501621"/>
                </a:cubicBezTo>
                <a:cubicBezTo>
                  <a:pt x="11030081" y="2501621"/>
                  <a:pt x="11030081" y="2501621"/>
                  <a:pt x="10698888" y="2780026"/>
                </a:cubicBezTo>
                <a:cubicBezTo>
                  <a:pt x="10689371" y="2787653"/>
                  <a:pt x="10677950" y="2785745"/>
                  <a:pt x="10670337" y="2778118"/>
                </a:cubicBezTo>
                <a:cubicBezTo>
                  <a:pt x="10666530" y="2774304"/>
                  <a:pt x="10666530" y="2768584"/>
                  <a:pt x="10666530" y="2764770"/>
                </a:cubicBezTo>
                <a:cubicBezTo>
                  <a:pt x="10666530" y="2759049"/>
                  <a:pt x="10668433" y="2753329"/>
                  <a:pt x="10672240" y="2749515"/>
                </a:cubicBezTo>
                <a:cubicBezTo>
                  <a:pt x="10672240" y="2749515"/>
                  <a:pt x="10672240" y="2749515"/>
                  <a:pt x="11003433" y="2471111"/>
                </a:cubicBezTo>
                <a:cubicBezTo>
                  <a:pt x="11008191" y="2468250"/>
                  <a:pt x="11013426" y="2466820"/>
                  <a:pt x="11018422" y="2467296"/>
                </a:cubicBezTo>
                <a:close/>
                <a:moveTo>
                  <a:pt x="8147250" y="2462181"/>
                </a:moveTo>
                <a:cubicBezTo>
                  <a:pt x="8153451" y="2462897"/>
                  <a:pt x="8159176" y="2465768"/>
                  <a:pt x="8162992" y="2470551"/>
                </a:cubicBezTo>
                <a:cubicBezTo>
                  <a:pt x="8172533" y="2482029"/>
                  <a:pt x="8170625" y="2497337"/>
                  <a:pt x="8159176" y="2506900"/>
                </a:cubicBezTo>
                <a:cubicBezTo>
                  <a:pt x="8159176" y="2506900"/>
                  <a:pt x="8159176" y="2506900"/>
                  <a:pt x="7825249" y="2759395"/>
                </a:cubicBezTo>
                <a:cubicBezTo>
                  <a:pt x="7813800" y="2767042"/>
                  <a:pt x="7798535" y="2765130"/>
                  <a:pt x="7790902" y="2755567"/>
                </a:cubicBezTo>
                <a:cubicBezTo>
                  <a:pt x="7787086" y="2749827"/>
                  <a:pt x="7785178" y="2746001"/>
                  <a:pt x="7785178" y="2740262"/>
                </a:cubicBezTo>
                <a:cubicBezTo>
                  <a:pt x="7785178" y="2732609"/>
                  <a:pt x="7788994" y="2724958"/>
                  <a:pt x="7794719" y="2719221"/>
                </a:cubicBezTo>
                <a:cubicBezTo>
                  <a:pt x="7794719" y="2719221"/>
                  <a:pt x="7794719" y="2719221"/>
                  <a:pt x="8128645" y="2466726"/>
                </a:cubicBezTo>
                <a:cubicBezTo>
                  <a:pt x="8134370" y="2462897"/>
                  <a:pt x="8141048" y="2461462"/>
                  <a:pt x="8147250" y="2462181"/>
                </a:cubicBezTo>
                <a:close/>
                <a:moveTo>
                  <a:pt x="11591857" y="2462171"/>
                </a:moveTo>
                <a:cubicBezTo>
                  <a:pt x="11598275" y="2462887"/>
                  <a:pt x="11604456" y="2465756"/>
                  <a:pt x="11608260" y="2470542"/>
                </a:cubicBezTo>
                <a:cubicBezTo>
                  <a:pt x="11615868" y="2482017"/>
                  <a:pt x="11613966" y="2497323"/>
                  <a:pt x="11602555" y="2506889"/>
                </a:cubicBezTo>
                <a:cubicBezTo>
                  <a:pt x="11602555" y="2506889"/>
                  <a:pt x="11602555" y="2506889"/>
                  <a:pt x="11271628" y="2759383"/>
                </a:cubicBezTo>
                <a:cubicBezTo>
                  <a:pt x="11260216" y="2767032"/>
                  <a:pt x="11245001" y="2765122"/>
                  <a:pt x="11235492" y="2755558"/>
                </a:cubicBezTo>
                <a:cubicBezTo>
                  <a:pt x="11233590" y="2749817"/>
                  <a:pt x="11231688" y="2745991"/>
                  <a:pt x="11231688" y="2740254"/>
                </a:cubicBezTo>
                <a:cubicBezTo>
                  <a:pt x="11231688" y="2732602"/>
                  <a:pt x="11235492" y="2724949"/>
                  <a:pt x="11241197" y="2719210"/>
                </a:cubicBezTo>
                <a:cubicBezTo>
                  <a:pt x="11241197" y="2719210"/>
                  <a:pt x="11241197" y="2719210"/>
                  <a:pt x="11574027" y="2466717"/>
                </a:cubicBezTo>
                <a:cubicBezTo>
                  <a:pt x="11578781" y="2462887"/>
                  <a:pt x="11585438" y="2461453"/>
                  <a:pt x="11591857" y="2462171"/>
                </a:cubicBezTo>
                <a:close/>
                <a:moveTo>
                  <a:pt x="7591001" y="2459079"/>
                </a:moveTo>
                <a:cubicBezTo>
                  <a:pt x="7598627" y="2460506"/>
                  <a:pt x="7605777" y="2464798"/>
                  <a:pt x="7610543" y="2471476"/>
                </a:cubicBezTo>
                <a:cubicBezTo>
                  <a:pt x="7620076" y="2484828"/>
                  <a:pt x="7616263" y="2501993"/>
                  <a:pt x="7602917" y="2511529"/>
                </a:cubicBezTo>
                <a:cubicBezTo>
                  <a:pt x="7602917" y="2511529"/>
                  <a:pt x="7602917" y="2511529"/>
                  <a:pt x="7267365" y="2738458"/>
                </a:cubicBezTo>
                <a:cubicBezTo>
                  <a:pt x="7254019" y="2747994"/>
                  <a:pt x="7234954" y="2744181"/>
                  <a:pt x="7227327" y="2730832"/>
                </a:cubicBezTo>
                <a:cubicBezTo>
                  <a:pt x="7223514" y="2727017"/>
                  <a:pt x="7221608" y="2721294"/>
                  <a:pt x="7221608" y="2715570"/>
                </a:cubicBezTo>
                <a:cubicBezTo>
                  <a:pt x="7221608" y="2706035"/>
                  <a:pt x="7225421" y="2696499"/>
                  <a:pt x="7234954" y="2690775"/>
                </a:cubicBezTo>
                <a:cubicBezTo>
                  <a:pt x="7234954" y="2690775"/>
                  <a:pt x="7234954" y="2690775"/>
                  <a:pt x="7568599" y="2463845"/>
                </a:cubicBezTo>
                <a:cubicBezTo>
                  <a:pt x="7575272" y="2459079"/>
                  <a:pt x="7583375" y="2457648"/>
                  <a:pt x="7591001" y="2459079"/>
                </a:cubicBezTo>
                <a:close/>
                <a:moveTo>
                  <a:pt x="12139750" y="2459059"/>
                </a:moveTo>
                <a:cubicBezTo>
                  <a:pt x="12139750" y="2459059"/>
                  <a:pt x="12139750" y="2459059"/>
                  <a:pt x="12139750" y="2529860"/>
                </a:cubicBezTo>
                <a:cubicBezTo>
                  <a:pt x="12139750" y="2529860"/>
                  <a:pt x="12139750" y="2529860"/>
                  <a:pt x="11834670" y="2738414"/>
                </a:cubicBezTo>
                <a:cubicBezTo>
                  <a:pt x="11821323" y="2747982"/>
                  <a:pt x="11802255" y="2744155"/>
                  <a:pt x="11792722" y="2730760"/>
                </a:cubicBezTo>
                <a:cubicBezTo>
                  <a:pt x="11788908" y="2726934"/>
                  <a:pt x="11788908" y="2721194"/>
                  <a:pt x="11788908" y="2715453"/>
                </a:cubicBezTo>
                <a:cubicBezTo>
                  <a:pt x="11788908" y="2705886"/>
                  <a:pt x="11792722" y="2696317"/>
                  <a:pt x="11800348" y="2690576"/>
                </a:cubicBezTo>
                <a:lnTo>
                  <a:pt x="12135936" y="2462887"/>
                </a:lnTo>
                <a:cubicBezTo>
                  <a:pt x="12137843" y="2460973"/>
                  <a:pt x="12137843" y="2460973"/>
                  <a:pt x="12139750" y="2459059"/>
                </a:cubicBezTo>
                <a:close/>
                <a:moveTo>
                  <a:pt x="7041900" y="2453933"/>
                </a:moveTo>
                <a:cubicBezTo>
                  <a:pt x="7050473" y="2456082"/>
                  <a:pt x="7058093" y="2461341"/>
                  <a:pt x="7062856" y="2468988"/>
                </a:cubicBezTo>
                <a:cubicBezTo>
                  <a:pt x="7072381" y="2486193"/>
                  <a:pt x="7066666" y="2507224"/>
                  <a:pt x="7051425" y="2516781"/>
                </a:cubicBezTo>
                <a:cubicBezTo>
                  <a:pt x="7051425" y="2516781"/>
                  <a:pt x="7051425" y="2516781"/>
                  <a:pt x="6714236" y="2719384"/>
                </a:cubicBezTo>
                <a:cubicBezTo>
                  <a:pt x="6698995" y="2728943"/>
                  <a:pt x="6678040" y="2723208"/>
                  <a:pt x="6668515" y="2706003"/>
                </a:cubicBezTo>
                <a:cubicBezTo>
                  <a:pt x="6664705" y="2702180"/>
                  <a:pt x="6662800" y="2694533"/>
                  <a:pt x="6662800" y="2688796"/>
                </a:cubicBezTo>
                <a:cubicBezTo>
                  <a:pt x="6662800" y="2677328"/>
                  <a:pt x="6668515" y="2665857"/>
                  <a:pt x="6679945" y="2660125"/>
                </a:cubicBezTo>
                <a:cubicBezTo>
                  <a:pt x="6679945" y="2660125"/>
                  <a:pt x="6679945" y="2660125"/>
                  <a:pt x="7015230" y="2457516"/>
                </a:cubicBezTo>
                <a:cubicBezTo>
                  <a:pt x="7023803" y="2452738"/>
                  <a:pt x="7033328" y="2451782"/>
                  <a:pt x="7041900" y="2453933"/>
                </a:cubicBezTo>
                <a:close/>
                <a:moveTo>
                  <a:pt x="6499365" y="2450542"/>
                </a:moveTo>
                <a:cubicBezTo>
                  <a:pt x="6508652" y="2453622"/>
                  <a:pt x="6516748" y="2460259"/>
                  <a:pt x="6521511" y="2469741"/>
                </a:cubicBezTo>
                <a:cubicBezTo>
                  <a:pt x="6531036" y="2488701"/>
                  <a:pt x="6523416" y="2511455"/>
                  <a:pt x="6506270" y="2520932"/>
                </a:cubicBezTo>
                <a:cubicBezTo>
                  <a:pt x="6506270" y="2520932"/>
                  <a:pt x="6506270" y="2520932"/>
                  <a:pt x="6167176" y="2697234"/>
                </a:cubicBezTo>
                <a:cubicBezTo>
                  <a:pt x="6148125" y="2706713"/>
                  <a:pt x="6125265" y="2699130"/>
                  <a:pt x="6115740" y="2680171"/>
                </a:cubicBezTo>
                <a:cubicBezTo>
                  <a:pt x="6111930" y="2674481"/>
                  <a:pt x="6111930" y="2668794"/>
                  <a:pt x="6111930" y="2663105"/>
                </a:cubicBezTo>
                <a:cubicBezTo>
                  <a:pt x="6111930" y="2649838"/>
                  <a:pt x="6119550" y="2636568"/>
                  <a:pt x="6130980" y="2628984"/>
                </a:cubicBezTo>
                <a:cubicBezTo>
                  <a:pt x="6130980" y="2628984"/>
                  <a:pt x="6130980" y="2628984"/>
                  <a:pt x="6470075" y="2452675"/>
                </a:cubicBezTo>
                <a:cubicBezTo>
                  <a:pt x="6479600" y="2447935"/>
                  <a:pt x="6490078" y="2447460"/>
                  <a:pt x="6499365" y="2450542"/>
                </a:cubicBezTo>
                <a:close/>
                <a:moveTo>
                  <a:pt x="5959672" y="2446994"/>
                </a:moveTo>
                <a:cubicBezTo>
                  <a:pt x="5969941" y="2450800"/>
                  <a:pt x="5978538" y="2458411"/>
                  <a:pt x="5983314" y="2468881"/>
                </a:cubicBezTo>
                <a:cubicBezTo>
                  <a:pt x="5992867" y="2491713"/>
                  <a:pt x="5983314" y="2516446"/>
                  <a:pt x="5962297" y="2525960"/>
                </a:cubicBezTo>
                <a:cubicBezTo>
                  <a:pt x="5962297" y="2525960"/>
                  <a:pt x="5962297" y="2525960"/>
                  <a:pt x="5620299" y="2676247"/>
                </a:cubicBezTo>
                <a:cubicBezTo>
                  <a:pt x="5599283" y="2687664"/>
                  <a:pt x="5574446" y="2676247"/>
                  <a:pt x="5564892" y="2655321"/>
                </a:cubicBezTo>
                <a:cubicBezTo>
                  <a:pt x="5561071" y="2649614"/>
                  <a:pt x="5561071" y="2643905"/>
                  <a:pt x="5561071" y="2638199"/>
                </a:cubicBezTo>
                <a:cubicBezTo>
                  <a:pt x="5561071" y="2621077"/>
                  <a:pt x="5570624" y="2605858"/>
                  <a:pt x="5585909" y="2598249"/>
                </a:cubicBezTo>
                <a:cubicBezTo>
                  <a:pt x="5585909" y="2598249"/>
                  <a:pt x="5585909" y="2598249"/>
                  <a:pt x="5925996" y="2447945"/>
                </a:cubicBezTo>
                <a:cubicBezTo>
                  <a:pt x="5937461" y="2443189"/>
                  <a:pt x="5949401" y="2443189"/>
                  <a:pt x="5959672" y="2446994"/>
                </a:cubicBezTo>
                <a:close/>
                <a:moveTo>
                  <a:pt x="399503" y="2446979"/>
                </a:moveTo>
                <a:cubicBezTo>
                  <a:pt x="410004" y="2450785"/>
                  <a:pt x="419073" y="2458395"/>
                  <a:pt x="423846" y="2468864"/>
                </a:cubicBezTo>
                <a:cubicBezTo>
                  <a:pt x="433392" y="2491693"/>
                  <a:pt x="423846" y="2516427"/>
                  <a:pt x="400935" y="2525942"/>
                </a:cubicBezTo>
                <a:cubicBezTo>
                  <a:pt x="400935" y="2525942"/>
                  <a:pt x="400935" y="2525942"/>
                  <a:pt x="61095" y="2676238"/>
                </a:cubicBezTo>
                <a:cubicBezTo>
                  <a:pt x="40093" y="2687652"/>
                  <a:pt x="13364" y="2676238"/>
                  <a:pt x="3818" y="2655311"/>
                </a:cubicBezTo>
                <a:cubicBezTo>
                  <a:pt x="1909" y="2649602"/>
                  <a:pt x="0" y="2643892"/>
                  <a:pt x="0" y="2638187"/>
                </a:cubicBezTo>
                <a:cubicBezTo>
                  <a:pt x="0" y="2621063"/>
                  <a:pt x="9546" y="2605844"/>
                  <a:pt x="26729" y="2598233"/>
                </a:cubicBezTo>
                <a:cubicBezTo>
                  <a:pt x="26729" y="2598233"/>
                  <a:pt x="26729" y="2598233"/>
                  <a:pt x="366569" y="2447930"/>
                </a:cubicBezTo>
                <a:cubicBezTo>
                  <a:pt x="377070" y="2443174"/>
                  <a:pt x="389002" y="2443174"/>
                  <a:pt x="399503" y="2446979"/>
                </a:cubicBezTo>
                <a:close/>
                <a:moveTo>
                  <a:pt x="5396620" y="2440131"/>
                </a:moveTo>
                <a:cubicBezTo>
                  <a:pt x="5414975" y="2441021"/>
                  <a:pt x="5431728" y="2453117"/>
                  <a:pt x="5438856" y="2471621"/>
                </a:cubicBezTo>
                <a:cubicBezTo>
                  <a:pt x="5448360" y="2496287"/>
                  <a:pt x="5435054" y="2522847"/>
                  <a:pt x="5410341" y="2532340"/>
                </a:cubicBezTo>
                <a:cubicBezTo>
                  <a:pt x="5410341" y="2532340"/>
                  <a:pt x="5410341" y="2532340"/>
                  <a:pt x="5070072" y="2657538"/>
                </a:cubicBezTo>
                <a:cubicBezTo>
                  <a:pt x="5045363" y="2667023"/>
                  <a:pt x="5018753" y="2653744"/>
                  <a:pt x="5009250" y="2629084"/>
                </a:cubicBezTo>
                <a:cubicBezTo>
                  <a:pt x="5007348" y="2623393"/>
                  <a:pt x="5005447" y="2617701"/>
                  <a:pt x="5005447" y="2613907"/>
                </a:cubicBezTo>
                <a:cubicBezTo>
                  <a:pt x="5005447" y="2593040"/>
                  <a:pt x="5018753" y="2575971"/>
                  <a:pt x="5037760" y="2568382"/>
                </a:cubicBezTo>
                <a:cubicBezTo>
                  <a:pt x="5037760" y="2568382"/>
                  <a:pt x="5037760" y="2568382"/>
                  <a:pt x="5378027" y="2443156"/>
                </a:cubicBezTo>
                <a:cubicBezTo>
                  <a:pt x="5384204" y="2440783"/>
                  <a:pt x="5390501" y="2439835"/>
                  <a:pt x="5396620" y="2440131"/>
                </a:cubicBezTo>
                <a:close/>
                <a:moveTo>
                  <a:pt x="930705" y="2440114"/>
                </a:moveTo>
                <a:cubicBezTo>
                  <a:pt x="949140" y="2441005"/>
                  <a:pt x="965965" y="2453100"/>
                  <a:pt x="973124" y="2471600"/>
                </a:cubicBezTo>
                <a:cubicBezTo>
                  <a:pt x="982669" y="2496265"/>
                  <a:pt x="969306" y="2522827"/>
                  <a:pt x="944487" y="2532315"/>
                </a:cubicBezTo>
                <a:cubicBezTo>
                  <a:pt x="944487" y="2532315"/>
                  <a:pt x="944487" y="2532315"/>
                  <a:pt x="602753" y="2657525"/>
                </a:cubicBezTo>
                <a:cubicBezTo>
                  <a:pt x="577934" y="2667012"/>
                  <a:pt x="551206" y="2653730"/>
                  <a:pt x="541661" y="2629070"/>
                </a:cubicBezTo>
                <a:cubicBezTo>
                  <a:pt x="539751" y="2623378"/>
                  <a:pt x="539751" y="2617686"/>
                  <a:pt x="539751" y="2613892"/>
                </a:cubicBezTo>
                <a:cubicBezTo>
                  <a:pt x="539751" y="2593022"/>
                  <a:pt x="551206" y="2575950"/>
                  <a:pt x="570297" y="2568362"/>
                </a:cubicBezTo>
                <a:cubicBezTo>
                  <a:pt x="570297" y="2568362"/>
                  <a:pt x="570297" y="2568362"/>
                  <a:pt x="912032" y="2443139"/>
                </a:cubicBezTo>
                <a:cubicBezTo>
                  <a:pt x="918236" y="2440766"/>
                  <a:pt x="924560" y="2439818"/>
                  <a:pt x="930705" y="2440114"/>
                </a:cubicBezTo>
                <a:close/>
                <a:moveTo>
                  <a:pt x="4847390" y="2434959"/>
                </a:moveTo>
                <a:cubicBezTo>
                  <a:pt x="4867870" y="2437373"/>
                  <a:pt x="4885401" y="2451323"/>
                  <a:pt x="4891123" y="2472791"/>
                </a:cubicBezTo>
                <a:cubicBezTo>
                  <a:pt x="4900665" y="2499505"/>
                  <a:pt x="4883492" y="2528123"/>
                  <a:pt x="4856779" y="2537664"/>
                </a:cubicBezTo>
                <a:cubicBezTo>
                  <a:pt x="4856779" y="2537664"/>
                  <a:pt x="4856779" y="2537664"/>
                  <a:pt x="4513402" y="2638759"/>
                </a:cubicBezTo>
                <a:cubicBezTo>
                  <a:pt x="4484786" y="2646389"/>
                  <a:pt x="4456170" y="2631129"/>
                  <a:pt x="4448539" y="2602516"/>
                </a:cubicBezTo>
                <a:cubicBezTo>
                  <a:pt x="4446631" y="2596792"/>
                  <a:pt x="4446631" y="2592978"/>
                  <a:pt x="4446631" y="2587256"/>
                </a:cubicBezTo>
                <a:cubicBezTo>
                  <a:pt x="4446631" y="2564370"/>
                  <a:pt x="4459986" y="2545294"/>
                  <a:pt x="4482878" y="2537664"/>
                </a:cubicBezTo>
                <a:cubicBezTo>
                  <a:pt x="4482878" y="2537664"/>
                  <a:pt x="4482878" y="2537664"/>
                  <a:pt x="4826251" y="2436537"/>
                </a:cubicBezTo>
                <a:cubicBezTo>
                  <a:pt x="4833407" y="2434630"/>
                  <a:pt x="4840562" y="2434152"/>
                  <a:pt x="4847390" y="2434959"/>
                </a:cubicBezTo>
                <a:close/>
                <a:moveTo>
                  <a:pt x="1482958" y="2434939"/>
                </a:moveTo>
                <a:cubicBezTo>
                  <a:pt x="1503168" y="2437354"/>
                  <a:pt x="1521768" y="2451305"/>
                  <a:pt x="1527491" y="2472769"/>
                </a:cubicBezTo>
                <a:cubicBezTo>
                  <a:pt x="1535122" y="2499479"/>
                  <a:pt x="1519860" y="2528097"/>
                  <a:pt x="1491245" y="2537636"/>
                </a:cubicBezTo>
                <a:cubicBezTo>
                  <a:pt x="1491245" y="2537636"/>
                  <a:pt x="1491245" y="2537636"/>
                  <a:pt x="1147861" y="2638743"/>
                </a:cubicBezTo>
                <a:cubicBezTo>
                  <a:pt x="1121153" y="2646373"/>
                  <a:pt x="1092538" y="2631113"/>
                  <a:pt x="1082999" y="2602496"/>
                </a:cubicBezTo>
                <a:cubicBezTo>
                  <a:pt x="1081092" y="2596773"/>
                  <a:pt x="1081092" y="2592957"/>
                  <a:pt x="1081092" y="2587234"/>
                </a:cubicBezTo>
                <a:cubicBezTo>
                  <a:pt x="1081092" y="2564343"/>
                  <a:pt x="1096353" y="2545267"/>
                  <a:pt x="1119245" y="2537636"/>
                </a:cubicBezTo>
                <a:cubicBezTo>
                  <a:pt x="1119245" y="2537636"/>
                  <a:pt x="1119245" y="2537636"/>
                  <a:pt x="1462630" y="2436519"/>
                </a:cubicBezTo>
                <a:cubicBezTo>
                  <a:pt x="1469306" y="2434611"/>
                  <a:pt x="1476222" y="2434134"/>
                  <a:pt x="1482958" y="2434939"/>
                </a:cubicBezTo>
                <a:close/>
                <a:moveTo>
                  <a:pt x="4270882" y="2431445"/>
                </a:moveTo>
                <a:cubicBezTo>
                  <a:pt x="4301301" y="2425730"/>
                  <a:pt x="4331718" y="2444781"/>
                  <a:pt x="4339323" y="2475264"/>
                </a:cubicBezTo>
                <a:cubicBezTo>
                  <a:pt x="4345026" y="2505752"/>
                  <a:pt x="4326015" y="2536235"/>
                  <a:pt x="4295596" y="2543855"/>
                </a:cubicBezTo>
                <a:cubicBezTo>
                  <a:pt x="4295596" y="2543855"/>
                  <a:pt x="4295596" y="2543855"/>
                  <a:pt x="3951517" y="2618134"/>
                </a:cubicBezTo>
                <a:cubicBezTo>
                  <a:pt x="3921098" y="2625754"/>
                  <a:pt x="3890680" y="2606707"/>
                  <a:pt x="3883076" y="2574330"/>
                </a:cubicBezTo>
                <a:cubicBezTo>
                  <a:pt x="3883076" y="2570518"/>
                  <a:pt x="3883076" y="2566710"/>
                  <a:pt x="3883076" y="2562902"/>
                </a:cubicBezTo>
                <a:cubicBezTo>
                  <a:pt x="3883076" y="2536235"/>
                  <a:pt x="3900186" y="2513371"/>
                  <a:pt x="3926804" y="2507657"/>
                </a:cubicBezTo>
                <a:cubicBezTo>
                  <a:pt x="3926804" y="2507657"/>
                  <a:pt x="3926804" y="2507657"/>
                  <a:pt x="4270882" y="2431445"/>
                </a:cubicBezTo>
                <a:close/>
                <a:moveTo>
                  <a:pt x="2016607" y="2431425"/>
                </a:moveTo>
                <a:cubicBezTo>
                  <a:pt x="2047025" y="2425710"/>
                  <a:pt x="2077447" y="2444760"/>
                  <a:pt x="2085053" y="2475241"/>
                </a:cubicBezTo>
                <a:cubicBezTo>
                  <a:pt x="2090756" y="2505723"/>
                  <a:pt x="2071744" y="2536204"/>
                  <a:pt x="2041322" y="2543824"/>
                </a:cubicBezTo>
                <a:cubicBezTo>
                  <a:pt x="2041322" y="2543824"/>
                  <a:pt x="2041322" y="2543824"/>
                  <a:pt x="1697222" y="2618115"/>
                </a:cubicBezTo>
                <a:cubicBezTo>
                  <a:pt x="1666804" y="2625735"/>
                  <a:pt x="1636386" y="2606686"/>
                  <a:pt x="1630683" y="2574302"/>
                </a:cubicBezTo>
                <a:cubicBezTo>
                  <a:pt x="1628782" y="2570493"/>
                  <a:pt x="1628782" y="2566683"/>
                  <a:pt x="1628782" y="2562874"/>
                </a:cubicBezTo>
                <a:cubicBezTo>
                  <a:pt x="1628782" y="2536204"/>
                  <a:pt x="1647793" y="2513343"/>
                  <a:pt x="1674409" y="2507628"/>
                </a:cubicBezTo>
                <a:cubicBezTo>
                  <a:pt x="1674409" y="2507628"/>
                  <a:pt x="1674409" y="2507628"/>
                  <a:pt x="2016607" y="2431425"/>
                </a:cubicBezTo>
                <a:close/>
                <a:moveTo>
                  <a:pt x="2799530" y="2428905"/>
                </a:moveTo>
                <a:cubicBezTo>
                  <a:pt x="2799530" y="2428905"/>
                  <a:pt x="2799530" y="2428905"/>
                  <a:pt x="3148601" y="2428905"/>
                </a:cubicBezTo>
                <a:cubicBezTo>
                  <a:pt x="3188659" y="2428905"/>
                  <a:pt x="3221085" y="2459456"/>
                  <a:pt x="3221085" y="2499561"/>
                </a:cubicBezTo>
                <a:cubicBezTo>
                  <a:pt x="3221085" y="2537751"/>
                  <a:pt x="3188659" y="2570203"/>
                  <a:pt x="3148601" y="2570203"/>
                </a:cubicBezTo>
                <a:cubicBezTo>
                  <a:pt x="3148601" y="2570203"/>
                  <a:pt x="3148601" y="2570203"/>
                  <a:pt x="2799530" y="2570203"/>
                </a:cubicBezTo>
                <a:cubicBezTo>
                  <a:pt x="2761379" y="2570203"/>
                  <a:pt x="2728953" y="2537751"/>
                  <a:pt x="2728953" y="2499561"/>
                </a:cubicBezTo>
                <a:cubicBezTo>
                  <a:pt x="2728953" y="2459456"/>
                  <a:pt x="2761379" y="2428905"/>
                  <a:pt x="2799530" y="2428905"/>
                </a:cubicBezTo>
                <a:close/>
                <a:moveTo>
                  <a:pt x="3713474" y="2424778"/>
                </a:moveTo>
                <a:cubicBezTo>
                  <a:pt x="3745884" y="2420965"/>
                  <a:pt x="3778294" y="2443829"/>
                  <a:pt x="3782105" y="2478123"/>
                </a:cubicBezTo>
                <a:cubicBezTo>
                  <a:pt x="3787825" y="2510515"/>
                  <a:pt x="3764947" y="2542901"/>
                  <a:pt x="3730631" y="2546711"/>
                </a:cubicBezTo>
                <a:cubicBezTo>
                  <a:pt x="3730631" y="2546711"/>
                  <a:pt x="3730631" y="2546711"/>
                  <a:pt x="3383699" y="2598132"/>
                </a:cubicBezTo>
                <a:cubicBezTo>
                  <a:pt x="3351292" y="2601943"/>
                  <a:pt x="3318883" y="2579088"/>
                  <a:pt x="3315071" y="2546711"/>
                </a:cubicBezTo>
                <a:cubicBezTo>
                  <a:pt x="3313164" y="2542901"/>
                  <a:pt x="3313164" y="2539091"/>
                  <a:pt x="3313164" y="2537188"/>
                </a:cubicBezTo>
                <a:cubicBezTo>
                  <a:pt x="3313164" y="2506705"/>
                  <a:pt x="3336040" y="2480031"/>
                  <a:pt x="3366541" y="2476218"/>
                </a:cubicBezTo>
                <a:cubicBezTo>
                  <a:pt x="3366541" y="2476218"/>
                  <a:pt x="3366541" y="2476218"/>
                  <a:pt x="3713474" y="2424778"/>
                </a:cubicBezTo>
                <a:close/>
                <a:moveTo>
                  <a:pt x="2578386" y="2424755"/>
                </a:moveTo>
                <a:cubicBezTo>
                  <a:pt x="2610793" y="2420945"/>
                  <a:pt x="2643200" y="2443806"/>
                  <a:pt x="2647013" y="2478098"/>
                </a:cubicBezTo>
                <a:cubicBezTo>
                  <a:pt x="2652731" y="2510483"/>
                  <a:pt x="2629856" y="2542867"/>
                  <a:pt x="2595543" y="2546678"/>
                </a:cubicBezTo>
                <a:cubicBezTo>
                  <a:pt x="2595543" y="2546678"/>
                  <a:pt x="2595543" y="2546678"/>
                  <a:pt x="2248597" y="2598110"/>
                </a:cubicBezTo>
                <a:cubicBezTo>
                  <a:pt x="2216190" y="2601920"/>
                  <a:pt x="2183783" y="2579061"/>
                  <a:pt x="2179970" y="2546678"/>
                </a:cubicBezTo>
                <a:cubicBezTo>
                  <a:pt x="2178064" y="2542867"/>
                  <a:pt x="2178064" y="2539057"/>
                  <a:pt x="2178064" y="2537153"/>
                </a:cubicBezTo>
                <a:cubicBezTo>
                  <a:pt x="2178064" y="2506672"/>
                  <a:pt x="2200939" y="2480001"/>
                  <a:pt x="2231440" y="2476192"/>
                </a:cubicBezTo>
                <a:cubicBezTo>
                  <a:pt x="2231440" y="2476192"/>
                  <a:pt x="2231440" y="2476192"/>
                  <a:pt x="2578386" y="2424755"/>
                </a:cubicBezTo>
                <a:close/>
                <a:moveTo>
                  <a:pt x="9856995" y="2158848"/>
                </a:moveTo>
                <a:cubicBezTo>
                  <a:pt x="9860561" y="2158848"/>
                  <a:pt x="9863889" y="2160276"/>
                  <a:pt x="9865791" y="2163134"/>
                </a:cubicBezTo>
                <a:cubicBezTo>
                  <a:pt x="9869594" y="2165038"/>
                  <a:pt x="9869594" y="2168849"/>
                  <a:pt x="9869594" y="2172659"/>
                </a:cubicBezTo>
                <a:cubicBezTo>
                  <a:pt x="9869594" y="2176469"/>
                  <a:pt x="9869594" y="2180278"/>
                  <a:pt x="9865791" y="2182184"/>
                </a:cubicBezTo>
                <a:cubicBezTo>
                  <a:pt x="9865791" y="2182184"/>
                  <a:pt x="9865791" y="2182184"/>
                  <a:pt x="9536809" y="2494604"/>
                </a:cubicBezTo>
                <a:cubicBezTo>
                  <a:pt x="9533005" y="2500320"/>
                  <a:pt x="9523497" y="2500320"/>
                  <a:pt x="9517792" y="2494604"/>
                </a:cubicBezTo>
                <a:cubicBezTo>
                  <a:pt x="9513989" y="2488889"/>
                  <a:pt x="9513989" y="2481268"/>
                  <a:pt x="9519694" y="2475555"/>
                </a:cubicBezTo>
                <a:cubicBezTo>
                  <a:pt x="9519694" y="2475555"/>
                  <a:pt x="9519694" y="2475555"/>
                  <a:pt x="9846774" y="2163134"/>
                </a:cubicBezTo>
                <a:cubicBezTo>
                  <a:pt x="9849627" y="2160276"/>
                  <a:pt x="9853430" y="2158848"/>
                  <a:pt x="9856995" y="2158848"/>
                </a:cubicBezTo>
                <a:close/>
                <a:moveTo>
                  <a:pt x="9280994" y="2152757"/>
                </a:moveTo>
                <a:cubicBezTo>
                  <a:pt x="9285526" y="2152995"/>
                  <a:pt x="9289819" y="2154905"/>
                  <a:pt x="9292682" y="2158723"/>
                </a:cubicBezTo>
                <a:cubicBezTo>
                  <a:pt x="9296499" y="2162540"/>
                  <a:pt x="9296499" y="2166358"/>
                  <a:pt x="9296499" y="2170175"/>
                </a:cubicBezTo>
                <a:cubicBezTo>
                  <a:pt x="9296499" y="2175900"/>
                  <a:pt x="9294591" y="2181628"/>
                  <a:pt x="9290774" y="2183535"/>
                </a:cubicBezTo>
                <a:cubicBezTo>
                  <a:pt x="9290774" y="2183535"/>
                  <a:pt x="9290774" y="2183535"/>
                  <a:pt x="8960635" y="2475567"/>
                </a:cubicBezTo>
                <a:cubicBezTo>
                  <a:pt x="8953002" y="2481289"/>
                  <a:pt x="8941552" y="2481289"/>
                  <a:pt x="8935827" y="2473653"/>
                </a:cubicBezTo>
                <a:cubicBezTo>
                  <a:pt x="8928194" y="2466019"/>
                  <a:pt x="8930102" y="2454566"/>
                  <a:pt x="8935827" y="2448839"/>
                </a:cubicBezTo>
                <a:cubicBezTo>
                  <a:pt x="8935827" y="2448839"/>
                  <a:pt x="8935827" y="2448839"/>
                  <a:pt x="9267874" y="2156814"/>
                </a:cubicBezTo>
                <a:cubicBezTo>
                  <a:pt x="9271691" y="2153949"/>
                  <a:pt x="9276462" y="2152518"/>
                  <a:pt x="9280994" y="2152757"/>
                </a:cubicBezTo>
                <a:close/>
                <a:moveTo>
                  <a:pt x="10441167" y="2152737"/>
                </a:moveTo>
                <a:cubicBezTo>
                  <a:pt x="10445695" y="2152975"/>
                  <a:pt x="10449985" y="2154884"/>
                  <a:pt x="10452845" y="2158701"/>
                </a:cubicBezTo>
                <a:cubicBezTo>
                  <a:pt x="10456658" y="2162518"/>
                  <a:pt x="10458565" y="2166335"/>
                  <a:pt x="10458565" y="2170154"/>
                </a:cubicBezTo>
                <a:cubicBezTo>
                  <a:pt x="10458565" y="2175879"/>
                  <a:pt x="10456658" y="2181605"/>
                  <a:pt x="10452845" y="2183515"/>
                </a:cubicBezTo>
                <a:cubicBezTo>
                  <a:pt x="10452845" y="2183515"/>
                  <a:pt x="10452845" y="2183515"/>
                  <a:pt x="10121085" y="2475541"/>
                </a:cubicBezTo>
                <a:cubicBezTo>
                  <a:pt x="10113459" y="2481266"/>
                  <a:pt x="10102019" y="2481266"/>
                  <a:pt x="10096299" y="2473632"/>
                </a:cubicBezTo>
                <a:cubicBezTo>
                  <a:pt x="10088672" y="2465997"/>
                  <a:pt x="10090579" y="2454545"/>
                  <a:pt x="10098205" y="2448819"/>
                </a:cubicBezTo>
                <a:cubicBezTo>
                  <a:pt x="10098205" y="2448819"/>
                  <a:pt x="10098205" y="2448819"/>
                  <a:pt x="10428058" y="2156792"/>
                </a:cubicBezTo>
                <a:cubicBezTo>
                  <a:pt x="10431871" y="2153930"/>
                  <a:pt x="10436638" y="2152497"/>
                  <a:pt x="10441167" y="2152737"/>
                </a:cubicBezTo>
                <a:close/>
                <a:moveTo>
                  <a:pt x="8711083" y="2147846"/>
                </a:moveTo>
                <a:cubicBezTo>
                  <a:pt x="8716565" y="2148561"/>
                  <a:pt x="8721808" y="2151431"/>
                  <a:pt x="8725621" y="2156214"/>
                </a:cubicBezTo>
                <a:cubicBezTo>
                  <a:pt x="8729434" y="2160039"/>
                  <a:pt x="8731341" y="2163866"/>
                  <a:pt x="8731341" y="2169603"/>
                </a:cubicBezTo>
                <a:cubicBezTo>
                  <a:pt x="8731341" y="2175340"/>
                  <a:pt x="8727528" y="2181077"/>
                  <a:pt x="8723714" y="2186815"/>
                </a:cubicBezTo>
                <a:cubicBezTo>
                  <a:pt x="8723714" y="2186815"/>
                  <a:pt x="8723714" y="2186815"/>
                  <a:pt x="8390055" y="2454587"/>
                </a:cubicBezTo>
                <a:cubicBezTo>
                  <a:pt x="8380522" y="2462239"/>
                  <a:pt x="8367176" y="2460324"/>
                  <a:pt x="8359549" y="2450760"/>
                </a:cubicBezTo>
                <a:cubicBezTo>
                  <a:pt x="8351923" y="2441196"/>
                  <a:pt x="8353830" y="2427807"/>
                  <a:pt x="8363363" y="2420157"/>
                </a:cubicBezTo>
                <a:cubicBezTo>
                  <a:pt x="8363363" y="2420157"/>
                  <a:pt x="8363363" y="2420157"/>
                  <a:pt x="8695115" y="2152388"/>
                </a:cubicBezTo>
                <a:cubicBezTo>
                  <a:pt x="8699882" y="2148561"/>
                  <a:pt x="8705602" y="2147128"/>
                  <a:pt x="8711083" y="2147846"/>
                </a:cubicBezTo>
                <a:close/>
                <a:moveTo>
                  <a:pt x="11019424" y="2147822"/>
                </a:moveTo>
                <a:cubicBezTo>
                  <a:pt x="11024882" y="2148539"/>
                  <a:pt x="11030103" y="2151408"/>
                  <a:pt x="11033901" y="2156190"/>
                </a:cubicBezTo>
                <a:cubicBezTo>
                  <a:pt x="11037698" y="2160015"/>
                  <a:pt x="11039597" y="2163840"/>
                  <a:pt x="11039597" y="2169578"/>
                </a:cubicBezTo>
                <a:cubicBezTo>
                  <a:pt x="11039597" y="2175316"/>
                  <a:pt x="11035800" y="2181054"/>
                  <a:pt x="11030104" y="2186792"/>
                </a:cubicBezTo>
                <a:cubicBezTo>
                  <a:pt x="11030104" y="2186792"/>
                  <a:pt x="11030104" y="2186792"/>
                  <a:pt x="10699740" y="2454563"/>
                </a:cubicBezTo>
                <a:cubicBezTo>
                  <a:pt x="10690247" y="2462214"/>
                  <a:pt x="10676956" y="2460301"/>
                  <a:pt x="10669362" y="2450738"/>
                </a:cubicBezTo>
                <a:cubicBezTo>
                  <a:pt x="10661767" y="2441175"/>
                  <a:pt x="10663666" y="2427786"/>
                  <a:pt x="10673159" y="2420136"/>
                </a:cubicBezTo>
                <a:cubicBezTo>
                  <a:pt x="10673159" y="2420136"/>
                  <a:pt x="10673159" y="2420136"/>
                  <a:pt x="11003523" y="2152364"/>
                </a:cubicBezTo>
                <a:cubicBezTo>
                  <a:pt x="11008269" y="2148539"/>
                  <a:pt x="11013965" y="2147105"/>
                  <a:pt x="11019424" y="2147822"/>
                </a:cubicBezTo>
                <a:close/>
                <a:moveTo>
                  <a:pt x="8148561" y="2143310"/>
                </a:moveTo>
                <a:cubicBezTo>
                  <a:pt x="8155228" y="2144265"/>
                  <a:pt x="8161420" y="2147601"/>
                  <a:pt x="8165230" y="2153323"/>
                </a:cubicBezTo>
                <a:cubicBezTo>
                  <a:pt x="8169040" y="2157139"/>
                  <a:pt x="8170945" y="2162858"/>
                  <a:pt x="8170945" y="2168580"/>
                </a:cubicBezTo>
                <a:cubicBezTo>
                  <a:pt x="8170945" y="2176207"/>
                  <a:pt x="8167135" y="2185745"/>
                  <a:pt x="8159515" y="2189556"/>
                </a:cubicBezTo>
                <a:cubicBezTo>
                  <a:pt x="8159515" y="2189556"/>
                  <a:pt x="8159515" y="2189556"/>
                  <a:pt x="7826135" y="2433651"/>
                </a:cubicBezTo>
                <a:cubicBezTo>
                  <a:pt x="7814705" y="2443186"/>
                  <a:pt x="7797560" y="2441279"/>
                  <a:pt x="7789940" y="2427930"/>
                </a:cubicBezTo>
                <a:cubicBezTo>
                  <a:pt x="7780415" y="2416487"/>
                  <a:pt x="7784225" y="2401228"/>
                  <a:pt x="7795655" y="2391692"/>
                </a:cubicBezTo>
                <a:cubicBezTo>
                  <a:pt x="7795655" y="2391692"/>
                  <a:pt x="7795655" y="2391692"/>
                  <a:pt x="8129034" y="2147602"/>
                </a:cubicBezTo>
                <a:cubicBezTo>
                  <a:pt x="8134749" y="2143784"/>
                  <a:pt x="8141893" y="2142354"/>
                  <a:pt x="8148561" y="2143310"/>
                </a:cubicBezTo>
                <a:close/>
                <a:moveTo>
                  <a:pt x="11593070" y="2143308"/>
                </a:moveTo>
                <a:cubicBezTo>
                  <a:pt x="11599505" y="2144262"/>
                  <a:pt x="11605702" y="2147600"/>
                  <a:pt x="11610468" y="2153320"/>
                </a:cubicBezTo>
                <a:cubicBezTo>
                  <a:pt x="11614281" y="2157135"/>
                  <a:pt x="11614281" y="2162856"/>
                  <a:pt x="11614281" y="2168577"/>
                </a:cubicBezTo>
                <a:cubicBezTo>
                  <a:pt x="11614281" y="2176205"/>
                  <a:pt x="11610468" y="2185741"/>
                  <a:pt x="11604748" y="2189556"/>
                </a:cubicBezTo>
                <a:cubicBezTo>
                  <a:pt x="11604748" y="2189556"/>
                  <a:pt x="11604748" y="2189556"/>
                  <a:pt x="11271096" y="2433649"/>
                </a:cubicBezTo>
                <a:cubicBezTo>
                  <a:pt x="11259656" y="2443183"/>
                  <a:pt x="11242497" y="2441278"/>
                  <a:pt x="11232964" y="2427928"/>
                </a:cubicBezTo>
                <a:cubicBezTo>
                  <a:pt x="11225338" y="2416484"/>
                  <a:pt x="11227245" y="2401226"/>
                  <a:pt x="11238684" y="2391689"/>
                </a:cubicBezTo>
                <a:cubicBezTo>
                  <a:pt x="11238684" y="2391689"/>
                  <a:pt x="11238684" y="2391689"/>
                  <a:pt x="11574243" y="2147600"/>
                </a:cubicBezTo>
                <a:cubicBezTo>
                  <a:pt x="11579963" y="2143784"/>
                  <a:pt x="11586636" y="2142354"/>
                  <a:pt x="11593070" y="2143308"/>
                </a:cubicBezTo>
                <a:close/>
                <a:moveTo>
                  <a:pt x="12139750" y="2139967"/>
                </a:moveTo>
                <a:cubicBezTo>
                  <a:pt x="12139750" y="2139967"/>
                  <a:pt x="12139750" y="2139967"/>
                  <a:pt x="12139750" y="2212438"/>
                </a:cubicBezTo>
                <a:cubicBezTo>
                  <a:pt x="12139750" y="2212438"/>
                  <a:pt x="12139750" y="2212438"/>
                  <a:pt x="11835489" y="2414592"/>
                </a:cubicBezTo>
                <a:cubicBezTo>
                  <a:pt x="11820276" y="2424130"/>
                  <a:pt x="11801260" y="2420316"/>
                  <a:pt x="11793653" y="2406965"/>
                </a:cubicBezTo>
                <a:cubicBezTo>
                  <a:pt x="11784145" y="2391705"/>
                  <a:pt x="11787948" y="2372634"/>
                  <a:pt x="11801260" y="2363100"/>
                </a:cubicBezTo>
                <a:lnTo>
                  <a:pt x="12135947" y="2141874"/>
                </a:lnTo>
                <a:cubicBezTo>
                  <a:pt x="12137848" y="2141874"/>
                  <a:pt x="12137848" y="2139967"/>
                  <a:pt x="12139750" y="2139967"/>
                </a:cubicBezTo>
                <a:close/>
                <a:moveTo>
                  <a:pt x="7591500" y="2137042"/>
                </a:moveTo>
                <a:cubicBezTo>
                  <a:pt x="7599120" y="2138712"/>
                  <a:pt x="7605788" y="2143488"/>
                  <a:pt x="7609598" y="2151126"/>
                </a:cubicBezTo>
                <a:cubicBezTo>
                  <a:pt x="7613408" y="2154944"/>
                  <a:pt x="7615313" y="2162582"/>
                  <a:pt x="7615313" y="2168310"/>
                </a:cubicBezTo>
                <a:cubicBezTo>
                  <a:pt x="7615313" y="2177854"/>
                  <a:pt x="7611503" y="2187402"/>
                  <a:pt x="7601978" y="2193129"/>
                </a:cubicBezTo>
                <a:cubicBezTo>
                  <a:pt x="7601978" y="2193129"/>
                  <a:pt x="7601978" y="2193129"/>
                  <a:pt x="7266693" y="2414586"/>
                </a:cubicBezTo>
                <a:cubicBezTo>
                  <a:pt x="7253358" y="2424132"/>
                  <a:pt x="7234308" y="2420313"/>
                  <a:pt x="7224783" y="2406948"/>
                </a:cubicBezTo>
                <a:cubicBezTo>
                  <a:pt x="7215258" y="2391672"/>
                  <a:pt x="7219068" y="2372581"/>
                  <a:pt x="7232403" y="2363036"/>
                </a:cubicBezTo>
                <a:cubicBezTo>
                  <a:pt x="7232403" y="2363036"/>
                  <a:pt x="7232403" y="2363036"/>
                  <a:pt x="7567687" y="2141577"/>
                </a:cubicBezTo>
                <a:cubicBezTo>
                  <a:pt x="7575307" y="2136802"/>
                  <a:pt x="7583880" y="2135369"/>
                  <a:pt x="7591500" y="2137042"/>
                </a:cubicBezTo>
                <a:close/>
                <a:moveTo>
                  <a:pt x="7042453" y="2131898"/>
                </a:moveTo>
                <a:cubicBezTo>
                  <a:pt x="7051052" y="2134287"/>
                  <a:pt x="7058696" y="2140032"/>
                  <a:pt x="7063473" y="2148647"/>
                </a:cubicBezTo>
                <a:cubicBezTo>
                  <a:pt x="7067295" y="2154388"/>
                  <a:pt x="7069206" y="2160130"/>
                  <a:pt x="7069206" y="2165871"/>
                </a:cubicBezTo>
                <a:cubicBezTo>
                  <a:pt x="7069206" y="2177352"/>
                  <a:pt x="7061562" y="2188835"/>
                  <a:pt x="7052008" y="2196489"/>
                </a:cubicBezTo>
                <a:cubicBezTo>
                  <a:pt x="7052008" y="2196489"/>
                  <a:pt x="7052008" y="2196489"/>
                  <a:pt x="6713777" y="2395511"/>
                </a:cubicBezTo>
                <a:cubicBezTo>
                  <a:pt x="6696579" y="2405078"/>
                  <a:pt x="6675559" y="2399339"/>
                  <a:pt x="6666004" y="2382111"/>
                </a:cubicBezTo>
                <a:cubicBezTo>
                  <a:pt x="6656450" y="2366802"/>
                  <a:pt x="6662182" y="2345751"/>
                  <a:pt x="6679381" y="2334271"/>
                </a:cubicBezTo>
                <a:cubicBezTo>
                  <a:pt x="6679381" y="2334271"/>
                  <a:pt x="6679381" y="2334271"/>
                  <a:pt x="7015700" y="2135246"/>
                </a:cubicBezTo>
                <a:cubicBezTo>
                  <a:pt x="7024300" y="2130463"/>
                  <a:pt x="7033854" y="2129506"/>
                  <a:pt x="7042453" y="2131898"/>
                </a:cubicBezTo>
                <a:close/>
                <a:moveTo>
                  <a:pt x="6500021" y="2128305"/>
                </a:moveTo>
                <a:cubicBezTo>
                  <a:pt x="6509301" y="2131404"/>
                  <a:pt x="6517391" y="2138081"/>
                  <a:pt x="6522150" y="2147621"/>
                </a:cubicBezTo>
                <a:cubicBezTo>
                  <a:pt x="6525957" y="2153344"/>
                  <a:pt x="6527861" y="2159065"/>
                  <a:pt x="6527861" y="2164788"/>
                </a:cubicBezTo>
                <a:cubicBezTo>
                  <a:pt x="6527861" y="2180046"/>
                  <a:pt x="6520246" y="2193396"/>
                  <a:pt x="6506921" y="2199117"/>
                </a:cubicBezTo>
                <a:cubicBezTo>
                  <a:pt x="6506921" y="2199117"/>
                  <a:pt x="6506921" y="2199117"/>
                  <a:pt x="6168083" y="2374582"/>
                </a:cubicBezTo>
                <a:cubicBezTo>
                  <a:pt x="6149047" y="2386027"/>
                  <a:pt x="6126204" y="2378398"/>
                  <a:pt x="6116686" y="2359325"/>
                </a:cubicBezTo>
                <a:cubicBezTo>
                  <a:pt x="6107168" y="2340253"/>
                  <a:pt x="6114782" y="2317365"/>
                  <a:pt x="6131914" y="2305910"/>
                </a:cubicBezTo>
                <a:cubicBezTo>
                  <a:pt x="6131914" y="2305910"/>
                  <a:pt x="6131914" y="2305910"/>
                  <a:pt x="6470753" y="2130452"/>
                </a:cubicBezTo>
                <a:cubicBezTo>
                  <a:pt x="6480271" y="2125684"/>
                  <a:pt x="6490741" y="2125207"/>
                  <a:pt x="6500021" y="2128305"/>
                </a:cubicBezTo>
                <a:close/>
                <a:moveTo>
                  <a:pt x="5959154" y="2123129"/>
                </a:moveTo>
                <a:cubicBezTo>
                  <a:pt x="5969386" y="2126931"/>
                  <a:pt x="5977952" y="2134540"/>
                  <a:pt x="5982710" y="2145011"/>
                </a:cubicBezTo>
                <a:cubicBezTo>
                  <a:pt x="5984614" y="2150717"/>
                  <a:pt x="5986517" y="2158328"/>
                  <a:pt x="5986517" y="2164036"/>
                </a:cubicBezTo>
                <a:cubicBezTo>
                  <a:pt x="5986517" y="2179257"/>
                  <a:pt x="5977000" y="2196381"/>
                  <a:pt x="5961771" y="2202088"/>
                </a:cubicBezTo>
                <a:cubicBezTo>
                  <a:pt x="5961771" y="2202088"/>
                  <a:pt x="5961771" y="2202088"/>
                  <a:pt x="5621030" y="2354289"/>
                </a:cubicBezTo>
                <a:cubicBezTo>
                  <a:pt x="5600091" y="2363801"/>
                  <a:pt x="5575344" y="2354289"/>
                  <a:pt x="5565827" y="2333361"/>
                </a:cubicBezTo>
                <a:cubicBezTo>
                  <a:pt x="5556309" y="2312431"/>
                  <a:pt x="5565827" y="2285786"/>
                  <a:pt x="5586766" y="2276282"/>
                </a:cubicBezTo>
                <a:cubicBezTo>
                  <a:pt x="5586766" y="2276282"/>
                  <a:pt x="5586766" y="2276282"/>
                  <a:pt x="5925602" y="2124078"/>
                </a:cubicBezTo>
                <a:cubicBezTo>
                  <a:pt x="5937024" y="2119323"/>
                  <a:pt x="5948922" y="2119323"/>
                  <a:pt x="5959154" y="2123129"/>
                </a:cubicBezTo>
                <a:close/>
                <a:moveTo>
                  <a:pt x="398983" y="2123125"/>
                </a:moveTo>
                <a:cubicBezTo>
                  <a:pt x="409445" y="2126931"/>
                  <a:pt x="418480" y="2134539"/>
                  <a:pt x="423236" y="2145008"/>
                </a:cubicBezTo>
                <a:cubicBezTo>
                  <a:pt x="425138" y="2150715"/>
                  <a:pt x="427040" y="2158327"/>
                  <a:pt x="427040" y="2164035"/>
                </a:cubicBezTo>
                <a:cubicBezTo>
                  <a:pt x="427040" y="2179255"/>
                  <a:pt x="417529" y="2196379"/>
                  <a:pt x="402312" y="2202084"/>
                </a:cubicBezTo>
                <a:cubicBezTo>
                  <a:pt x="402312" y="2202084"/>
                  <a:pt x="402312" y="2202084"/>
                  <a:pt x="61813" y="2354287"/>
                </a:cubicBezTo>
                <a:cubicBezTo>
                  <a:pt x="40889" y="2363801"/>
                  <a:pt x="16160" y="2354287"/>
                  <a:pt x="6649" y="2333359"/>
                </a:cubicBezTo>
                <a:cubicBezTo>
                  <a:pt x="-4765" y="2312430"/>
                  <a:pt x="4746" y="2285786"/>
                  <a:pt x="27573" y="2276282"/>
                </a:cubicBezTo>
                <a:cubicBezTo>
                  <a:pt x="27573" y="2276282"/>
                  <a:pt x="27573" y="2276282"/>
                  <a:pt x="366169" y="2124076"/>
                </a:cubicBezTo>
                <a:cubicBezTo>
                  <a:pt x="376631" y="2119322"/>
                  <a:pt x="388520" y="2119322"/>
                  <a:pt x="398983" y="2123125"/>
                </a:cubicBezTo>
                <a:close/>
                <a:moveTo>
                  <a:pt x="5396847" y="2116229"/>
                </a:moveTo>
                <a:cubicBezTo>
                  <a:pt x="5414923" y="2117027"/>
                  <a:pt x="5432463" y="2128747"/>
                  <a:pt x="5438191" y="2145804"/>
                </a:cubicBezTo>
                <a:cubicBezTo>
                  <a:pt x="5442009" y="2151490"/>
                  <a:pt x="5442009" y="2157173"/>
                  <a:pt x="5442009" y="2162858"/>
                </a:cubicBezTo>
                <a:cubicBezTo>
                  <a:pt x="5442009" y="2181807"/>
                  <a:pt x="5430554" y="2198859"/>
                  <a:pt x="5411464" y="2206436"/>
                </a:cubicBezTo>
                <a:cubicBezTo>
                  <a:pt x="5411464" y="2206436"/>
                  <a:pt x="5411464" y="2206436"/>
                  <a:pt x="5069727" y="2335278"/>
                </a:cubicBezTo>
                <a:cubicBezTo>
                  <a:pt x="5044912" y="2344747"/>
                  <a:pt x="5018188" y="2333383"/>
                  <a:pt x="5008643" y="2308745"/>
                </a:cubicBezTo>
                <a:cubicBezTo>
                  <a:pt x="4999096" y="2284110"/>
                  <a:pt x="5012459" y="2257593"/>
                  <a:pt x="5037276" y="2248119"/>
                </a:cubicBezTo>
                <a:cubicBezTo>
                  <a:pt x="5037276" y="2248119"/>
                  <a:pt x="5037276" y="2248119"/>
                  <a:pt x="5379009" y="2119278"/>
                </a:cubicBezTo>
                <a:cubicBezTo>
                  <a:pt x="5384736" y="2116909"/>
                  <a:pt x="5390821" y="2115962"/>
                  <a:pt x="5396847" y="2116229"/>
                </a:cubicBezTo>
                <a:close/>
                <a:moveTo>
                  <a:pt x="930370" y="2116224"/>
                </a:moveTo>
                <a:cubicBezTo>
                  <a:pt x="948819" y="2117027"/>
                  <a:pt x="965655" y="2128747"/>
                  <a:pt x="972820" y="2145802"/>
                </a:cubicBezTo>
                <a:cubicBezTo>
                  <a:pt x="974730" y="2151487"/>
                  <a:pt x="974730" y="2157173"/>
                  <a:pt x="974730" y="2162856"/>
                </a:cubicBezTo>
                <a:cubicBezTo>
                  <a:pt x="974730" y="2181804"/>
                  <a:pt x="963267" y="2198857"/>
                  <a:pt x="944162" y="2206434"/>
                </a:cubicBezTo>
                <a:cubicBezTo>
                  <a:pt x="944162" y="2206434"/>
                  <a:pt x="944162" y="2206434"/>
                  <a:pt x="602179" y="2335276"/>
                </a:cubicBezTo>
                <a:cubicBezTo>
                  <a:pt x="579252" y="2344745"/>
                  <a:pt x="550595" y="2333380"/>
                  <a:pt x="542953" y="2308745"/>
                </a:cubicBezTo>
                <a:cubicBezTo>
                  <a:pt x="533400" y="2284110"/>
                  <a:pt x="544863" y="2257591"/>
                  <a:pt x="569700" y="2248116"/>
                </a:cubicBezTo>
                <a:cubicBezTo>
                  <a:pt x="569700" y="2248116"/>
                  <a:pt x="569700" y="2248116"/>
                  <a:pt x="911683" y="2119276"/>
                </a:cubicBezTo>
                <a:cubicBezTo>
                  <a:pt x="917892" y="2116906"/>
                  <a:pt x="924221" y="2115959"/>
                  <a:pt x="930370" y="2116224"/>
                </a:cubicBezTo>
                <a:close/>
                <a:moveTo>
                  <a:pt x="4845975" y="2110281"/>
                </a:moveTo>
                <a:cubicBezTo>
                  <a:pt x="4865755" y="2111881"/>
                  <a:pt x="4883653" y="2125767"/>
                  <a:pt x="4890814" y="2147142"/>
                </a:cubicBezTo>
                <a:cubicBezTo>
                  <a:pt x="4892723" y="2150943"/>
                  <a:pt x="4892723" y="2156641"/>
                  <a:pt x="4892723" y="2162340"/>
                </a:cubicBezTo>
                <a:cubicBezTo>
                  <a:pt x="4892723" y="2183235"/>
                  <a:pt x="4879357" y="2204129"/>
                  <a:pt x="4856446" y="2209828"/>
                </a:cubicBezTo>
                <a:cubicBezTo>
                  <a:pt x="4856446" y="2209828"/>
                  <a:pt x="4856446" y="2209828"/>
                  <a:pt x="4512822" y="2316199"/>
                </a:cubicBezTo>
                <a:cubicBezTo>
                  <a:pt x="4486096" y="2325699"/>
                  <a:pt x="4457461" y="2310497"/>
                  <a:pt x="4449824" y="2283899"/>
                </a:cubicBezTo>
                <a:cubicBezTo>
                  <a:pt x="4440279" y="2255416"/>
                  <a:pt x="4455552" y="2226923"/>
                  <a:pt x="4482278" y="2219324"/>
                </a:cubicBezTo>
                <a:cubicBezTo>
                  <a:pt x="4482278" y="2219324"/>
                  <a:pt x="4482278" y="2219324"/>
                  <a:pt x="4825899" y="2112951"/>
                </a:cubicBezTo>
                <a:cubicBezTo>
                  <a:pt x="4832582" y="2110576"/>
                  <a:pt x="4839381" y="2109746"/>
                  <a:pt x="4845975" y="2110281"/>
                </a:cubicBezTo>
                <a:close/>
                <a:moveTo>
                  <a:pt x="1482447" y="2110278"/>
                </a:moveTo>
                <a:cubicBezTo>
                  <a:pt x="1502079" y="2111879"/>
                  <a:pt x="1519569" y="2125767"/>
                  <a:pt x="1525280" y="2147139"/>
                </a:cubicBezTo>
                <a:cubicBezTo>
                  <a:pt x="1527184" y="2150938"/>
                  <a:pt x="1527184" y="2156638"/>
                  <a:pt x="1527184" y="2162337"/>
                </a:cubicBezTo>
                <a:cubicBezTo>
                  <a:pt x="1527184" y="2183231"/>
                  <a:pt x="1513858" y="2204128"/>
                  <a:pt x="1492917" y="2209825"/>
                </a:cubicBezTo>
                <a:cubicBezTo>
                  <a:pt x="1492917" y="2209825"/>
                  <a:pt x="1492917" y="2209825"/>
                  <a:pt x="1150255" y="2316198"/>
                </a:cubicBezTo>
                <a:cubicBezTo>
                  <a:pt x="1123603" y="2325698"/>
                  <a:pt x="1093145" y="2310497"/>
                  <a:pt x="1085530" y="2283899"/>
                </a:cubicBezTo>
                <a:cubicBezTo>
                  <a:pt x="1077915" y="2255414"/>
                  <a:pt x="1093145" y="2226922"/>
                  <a:pt x="1119796" y="2219322"/>
                </a:cubicBezTo>
                <a:cubicBezTo>
                  <a:pt x="1119796" y="2219322"/>
                  <a:pt x="1119796" y="2219322"/>
                  <a:pt x="1462458" y="2112949"/>
                </a:cubicBezTo>
                <a:cubicBezTo>
                  <a:pt x="1469121" y="2110574"/>
                  <a:pt x="1475903" y="2109743"/>
                  <a:pt x="1482447" y="2110278"/>
                </a:cubicBezTo>
                <a:close/>
                <a:moveTo>
                  <a:pt x="4292468" y="2106615"/>
                </a:moveTo>
                <a:cubicBezTo>
                  <a:pt x="4314317" y="2109639"/>
                  <a:pt x="4332942" y="2124921"/>
                  <a:pt x="4338674" y="2147679"/>
                </a:cubicBezTo>
                <a:cubicBezTo>
                  <a:pt x="4338674" y="2151471"/>
                  <a:pt x="4338674" y="2157159"/>
                  <a:pt x="4338674" y="2160953"/>
                </a:cubicBezTo>
                <a:cubicBezTo>
                  <a:pt x="4338674" y="2185604"/>
                  <a:pt x="4321481" y="2208355"/>
                  <a:pt x="4296646" y="2214045"/>
                </a:cubicBezTo>
                <a:cubicBezTo>
                  <a:pt x="4296646" y="2214045"/>
                  <a:pt x="4296646" y="2214045"/>
                  <a:pt x="3952805" y="2297470"/>
                </a:cubicBezTo>
                <a:cubicBezTo>
                  <a:pt x="3922240" y="2305056"/>
                  <a:pt x="3891674" y="2286090"/>
                  <a:pt x="3884033" y="2257656"/>
                </a:cubicBezTo>
                <a:cubicBezTo>
                  <a:pt x="3878302" y="2227319"/>
                  <a:pt x="3895495" y="2196980"/>
                  <a:pt x="3926060" y="2191291"/>
                </a:cubicBezTo>
                <a:cubicBezTo>
                  <a:pt x="3926060" y="2191291"/>
                  <a:pt x="3926060" y="2191291"/>
                  <a:pt x="4269902" y="2107861"/>
                </a:cubicBezTo>
                <a:cubicBezTo>
                  <a:pt x="4277543" y="2105963"/>
                  <a:pt x="4285184" y="2105609"/>
                  <a:pt x="4292468" y="2106615"/>
                </a:cubicBezTo>
                <a:close/>
                <a:moveTo>
                  <a:pt x="2038710" y="2106612"/>
                </a:moveTo>
                <a:cubicBezTo>
                  <a:pt x="2059742" y="2109634"/>
                  <a:pt x="2078355" y="2124921"/>
                  <a:pt x="2084082" y="2147677"/>
                </a:cubicBezTo>
                <a:cubicBezTo>
                  <a:pt x="2084082" y="2151470"/>
                  <a:pt x="2085991" y="2157159"/>
                  <a:pt x="2085991" y="2160951"/>
                </a:cubicBezTo>
                <a:cubicBezTo>
                  <a:pt x="2085991" y="2185601"/>
                  <a:pt x="2068810" y="2208353"/>
                  <a:pt x="2043989" y="2214042"/>
                </a:cubicBezTo>
                <a:cubicBezTo>
                  <a:pt x="2043989" y="2214042"/>
                  <a:pt x="2043989" y="2214042"/>
                  <a:pt x="1698467" y="2297470"/>
                </a:cubicBezTo>
                <a:cubicBezTo>
                  <a:pt x="1667924" y="2305056"/>
                  <a:pt x="1639290" y="2286090"/>
                  <a:pt x="1631654" y="2257654"/>
                </a:cubicBezTo>
                <a:cubicBezTo>
                  <a:pt x="1624018" y="2227317"/>
                  <a:pt x="1643107" y="2196977"/>
                  <a:pt x="1671742" y="2191289"/>
                </a:cubicBezTo>
                <a:cubicBezTo>
                  <a:pt x="1671742" y="2191289"/>
                  <a:pt x="1671742" y="2191289"/>
                  <a:pt x="2017264" y="2107857"/>
                </a:cubicBezTo>
                <a:cubicBezTo>
                  <a:pt x="2024423" y="2105960"/>
                  <a:pt x="2031700" y="2105605"/>
                  <a:pt x="2038710" y="2106612"/>
                </a:cubicBezTo>
                <a:close/>
                <a:moveTo>
                  <a:pt x="3734742" y="2101215"/>
                </a:moveTo>
                <a:cubicBezTo>
                  <a:pt x="3757307" y="2105947"/>
                  <a:pt x="3775573" y="2124878"/>
                  <a:pt x="3779871" y="2149168"/>
                </a:cubicBezTo>
                <a:cubicBezTo>
                  <a:pt x="3779871" y="2152977"/>
                  <a:pt x="3779871" y="2156787"/>
                  <a:pt x="3779871" y="2158693"/>
                </a:cubicBezTo>
                <a:cubicBezTo>
                  <a:pt x="3779871" y="2187267"/>
                  <a:pt x="3760769" y="2212031"/>
                  <a:pt x="3732116" y="2217746"/>
                </a:cubicBezTo>
                <a:cubicBezTo>
                  <a:pt x="3732116" y="2217746"/>
                  <a:pt x="3732116" y="2217746"/>
                  <a:pt x="3384469" y="2278704"/>
                </a:cubicBezTo>
                <a:cubicBezTo>
                  <a:pt x="3351995" y="2284415"/>
                  <a:pt x="3321431" y="2263466"/>
                  <a:pt x="3315701" y="2231081"/>
                </a:cubicBezTo>
                <a:cubicBezTo>
                  <a:pt x="3309970" y="2198696"/>
                  <a:pt x="3330982" y="2166313"/>
                  <a:pt x="3363456" y="2160598"/>
                </a:cubicBezTo>
                <a:cubicBezTo>
                  <a:pt x="3363456" y="2160598"/>
                  <a:pt x="3363456" y="2160598"/>
                  <a:pt x="3711103" y="2101543"/>
                </a:cubicBezTo>
                <a:cubicBezTo>
                  <a:pt x="3719222" y="2099638"/>
                  <a:pt x="3727220" y="2099638"/>
                  <a:pt x="3734742" y="2101215"/>
                </a:cubicBezTo>
                <a:close/>
                <a:moveTo>
                  <a:pt x="2601252" y="2101212"/>
                </a:moveTo>
                <a:cubicBezTo>
                  <a:pt x="2623816" y="2105945"/>
                  <a:pt x="2642082" y="2124875"/>
                  <a:pt x="2646380" y="2149163"/>
                </a:cubicBezTo>
                <a:cubicBezTo>
                  <a:pt x="2646380" y="2152974"/>
                  <a:pt x="2646380" y="2156785"/>
                  <a:pt x="2646380" y="2158690"/>
                </a:cubicBezTo>
                <a:cubicBezTo>
                  <a:pt x="2646380" y="2187265"/>
                  <a:pt x="2627278" y="2212029"/>
                  <a:pt x="2596715" y="2217744"/>
                </a:cubicBezTo>
                <a:cubicBezTo>
                  <a:pt x="2596715" y="2217744"/>
                  <a:pt x="2596715" y="2217744"/>
                  <a:pt x="2250972" y="2278703"/>
                </a:cubicBezTo>
                <a:cubicBezTo>
                  <a:pt x="2218499" y="2284415"/>
                  <a:pt x="2187936" y="2263464"/>
                  <a:pt x="2182205" y="2231079"/>
                </a:cubicBezTo>
                <a:cubicBezTo>
                  <a:pt x="2176475" y="2198694"/>
                  <a:pt x="2197487" y="2166309"/>
                  <a:pt x="2229960" y="2160595"/>
                </a:cubicBezTo>
                <a:cubicBezTo>
                  <a:pt x="2229960" y="2160595"/>
                  <a:pt x="2229960" y="2160595"/>
                  <a:pt x="2577613" y="2101540"/>
                </a:cubicBezTo>
                <a:cubicBezTo>
                  <a:pt x="2585732" y="2099635"/>
                  <a:pt x="2593730" y="2099635"/>
                  <a:pt x="2601252" y="2101212"/>
                </a:cubicBezTo>
                <a:close/>
                <a:moveTo>
                  <a:pt x="3141099" y="2094548"/>
                </a:moveTo>
                <a:cubicBezTo>
                  <a:pt x="3177271" y="2090745"/>
                  <a:pt x="3207731" y="2117365"/>
                  <a:pt x="3211539" y="2151594"/>
                </a:cubicBezTo>
                <a:cubicBezTo>
                  <a:pt x="3211539" y="2153495"/>
                  <a:pt x="3211539" y="2157296"/>
                  <a:pt x="3211539" y="2159200"/>
                </a:cubicBezTo>
                <a:cubicBezTo>
                  <a:pt x="3211539" y="2191527"/>
                  <a:pt x="3188693" y="2218146"/>
                  <a:pt x="3156330" y="2221949"/>
                </a:cubicBezTo>
                <a:cubicBezTo>
                  <a:pt x="3156330" y="2221949"/>
                  <a:pt x="3156330" y="2221949"/>
                  <a:pt x="2807941" y="2259980"/>
                </a:cubicBezTo>
                <a:cubicBezTo>
                  <a:pt x="2773673" y="2263780"/>
                  <a:pt x="2741309" y="2239063"/>
                  <a:pt x="2737501" y="2202934"/>
                </a:cubicBezTo>
                <a:cubicBezTo>
                  <a:pt x="2733694" y="2168708"/>
                  <a:pt x="2760347" y="2136380"/>
                  <a:pt x="2794615" y="2132575"/>
                </a:cubicBezTo>
                <a:cubicBezTo>
                  <a:pt x="2794615" y="2132575"/>
                  <a:pt x="2794615" y="2132575"/>
                  <a:pt x="3141099" y="2094548"/>
                </a:cubicBezTo>
                <a:close/>
                <a:moveTo>
                  <a:pt x="9859129" y="1839997"/>
                </a:moveTo>
                <a:cubicBezTo>
                  <a:pt x="9863412" y="1840234"/>
                  <a:pt x="9867694" y="1842138"/>
                  <a:pt x="9870549" y="1845944"/>
                </a:cubicBezTo>
                <a:cubicBezTo>
                  <a:pt x="9872453" y="1847847"/>
                  <a:pt x="9874356" y="1851654"/>
                  <a:pt x="9874356" y="1857363"/>
                </a:cubicBezTo>
                <a:cubicBezTo>
                  <a:pt x="9874356" y="1861170"/>
                  <a:pt x="9872453" y="1864976"/>
                  <a:pt x="9868646" y="1868782"/>
                </a:cubicBezTo>
                <a:cubicBezTo>
                  <a:pt x="9868646" y="1868782"/>
                  <a:pt x="9868646" y="1868782"/>
                  <a:pt x="9539364" y="2165681"/>
                </a:cubicBezTo>
                <a:cubicBezTo>
                  <a:pt x="9531751" y="2173295"/>
                  <a:pt x="9522234" y="2171391"/>
                  <a:pt x="9516524" y="2165681"/>
                </a:cubicBezTo>
                <a:cubicBezTo>
                  <a:pt x="9510814" y="2158069"/>
                  <a:pt x="9510814" y="2148551"/>
                  <a:pt x="9516524" y="2142843"/>
                </a:cubicBezTo>
                <a:cubicBezTo>
                  <a:pt x="9516524" y="2142843"/>
                  <a:pt x="9516524" y="2142843"/>
                  <a:pt x="9847709" y="1844041"/>
                </a:cubicBezTo>
                <a:cubicBezTo>
                  <a:pt x="9850564" y="1841186"/>
                  <a:pt x="9854847" y="1839759"/>
                  <a:pt x="9859129" y="1839997"/>
                </a:cubicBezTo>
                <a:close/>
                <a:moveTo>
                  <a:pt x="9281354" y="1833512"/>
                </a:moveTo>
                <a:cubicBezTo>
                  <a:pt x="9286351" y="1834227"/>
                  <a:pt x="9291109" y="1837084"/>
                  <a:pt x="9293964" y="1841846"/>
                </a:cubicBezTo>
                <a:cubicBezTo>
                  <a:pt x="9297771" y="1843751"/>
                  <a:pt x="9299674" y="1849467"/>
                  <a:pt x="9299674" y="1853277"/>
                </a:cubicBezTo>
                <a:cubicBezTo>
                  <a:pt x="9299674" y="1858992"/>
                  <a:pt x="9297771" y="1864707"/>
                  <a:pt x="9292060" y="1868517"/>
                </a:cubicBezTo>
                <a:cubicBezTo>
                  <a:pt x="9292060" y="1868517"/>
                  <a:pt x="9292060" y="1868517"/>
                  <a:pt x="8960867" y="2146642"/>
                </a:cubicBezTo>
                <a:cubicBezTo>
                  <a:pt x="8953254" y="2154263"/>
                  <a:pt x="8939930" y="2152359"/>
                  <a:pt x="8932316" y="2144739"/>
                </a:cubicBezTo>
                <a:cubicBezTo>
                  <a:pt x="8926606" y="2135209"/>
                  <a:pt x="8926606" y="2123779"/>
                  <a:pt x="8936123" y="2116162"/>
                </a:cubicBezTo>
                <a:cubicBezTo>
                  <a:pt x="8936123" y="2116162"/>
                  <a:pt x="8936123" y="2116162"/>
                  <a:pt x="9267316" y="1838036"/>
                </a:cubicBezTo>
                <a:cubicBezTo>
                  <a:pt x="9271123" y="1834227"/>
                  <a:pt x="9276357" y="1832798"/>
                  <a:pt x="9281354" y="1833512"/>
                </a:cubicBezTo>
                <a:close/>
                <a:moveTo>
                  <a:pt x="10443580" y="1833487"/>
                </a:moveTo>
                <a:cubicBezTo>
                  <a:pt x="10448836" y="1834202"/>
                  <a:pt x="10454093" y="1837059"/>
                  <a:pt x="10457916" y="1841822"/>
                </a:cubicBezTo>
                <a:cubicBezTo>
                  <a:pt x="10459828" y="1843727"/>
                  <a:pt x="10461739" y="1849442"/>
                  <a:pt x="10461739" y="1853252"/>
                </a:cubicBezTo>
                <a:cubicBezTo>
                  <a:pt x="10461739" y="1858967"/>
                  <a:pt x="10459828" y="1864682"/>
                  <a:pt x="10454093" y="1868492"/>
                </a:cubicBezTo>
                <a:cubicBezTo>
                  <a:pt x="10454093" y="1868492"/>
                  <a:pt x="10454093" y="1868492"/>
                  <a:pt x="10121491" y="2146621"/>
                </a:cubicBezTo>
                <a:cubicBezTo>
                  <a:pt x="10113845" y="2154242"/>
                  <a:pt x="10100465" y="2152337"/>
                  <a:pt x="10094730" y="2144715"/>
                </a:cubicBezTo>
                <a:cubicBezTo>
                  <a:pt x="10087084" y="2135191"/>
                  <a:pt x="10087084" y="2123761"/>
                  <a:pt x="10096642" y="2116141"/>
                </a:cubicBezTo>
                <a:cubicBezTo>
                  <a:pt x="10096642" y="2116141"/>
                  <a:pt x="10096642" y="2116141"/>
                  <a:pt x="10429243" y="1838012"/>
                </a:cubicBezTo>
                <a:cubicBezTo>
                  <a:pt x="10433066" y="1834202"/>
                  <a:pt x="10438323" y="1832773"/>
                  <a:pt x="10443580" y="1833487"/>
                </a:cubicBezTo>
                <a:close/>
                <a:moveTo>
                  <a:pt x="8711664" y="1828739"/>
                </a:moveTo>
                <a:cubicBezTo>
                  <a:pt x="8717637" y="1829451"/>
                  <a:pt x="8723371" y="1832300"/>
                  <a:pt x="8727194" y="1837048"/>
                </a:cubicBezTo>
                <a:cubicBezTo>
                  <a:pt x="8731017" y="1842746"/>
                  <a:pt x="8732928" y="1846544"/>
                  <a:pt x="8732928" y="1852242"/>
                </a:cubicBezTo>
                <a:cubicBezTo>
                  <a:pt x="8732928" y="1859838"/>
                  <a:pt x="8729105" y="1867435"/>
                  <a:pt x="8723371" y="1871234"/>
                </a:cubicBezTo>
                <a:cubicBezTo>
                  <a:pt x="8723371" y="1871234"/>
                  <a:pt x="8723371" y="1871234"/>
                  <a:pt x="8390798" y="2127610"/>
                </a:cubicBezTo>
                <a:cubicBezTo>
                  <a:pt x="8379329" y="2135209"/>
                  <a:pt x="8364039" y="2133307"/>
                  <a:pt x="8356393" y="2123813"/>
                </a:cubicBezTo>
                <a:cubicBezTo>
                  <a:pt x="8348748" y="2112426"/>
                  <a:pt x="8350659" y="2097231"/>
                  <a:pt x="8360216" y="2089634"/>
                </a:cubicBezTo>
                <a:cubicBezTo>
                  <a:pt x="8360216" y="2089634"/>
                  <a:pt x="8360216" y="2089634"/>
                  <a:pt x="8694701" y="1833250"/>
                </a:cubicBezTo>
                <a:cubicBezTo>
                  <a:pt x="8699479" y="1829451"/>
                  <a:pt x="8705691" y="1828027"/>
                  <a:pt x="8711664" y="1828739"/>
                </a:cubicBezTo>
                <a:close/>
                <a:moveTo>
                  <a:pt x="11021508" y="1828712"/>
                </a:moveTo>
                <a:cubicBezTo>
                  <a:pt x="11027482" y="1829424"/>
                  <a:pt x="11033216" y="1832273"/>
                  <a:pt x="11037038" y="1837021"/>
                </a:cubicBezTo>
                <a:cubicBezTo>
                  <a:pt x="11040861" y="1842718"/>
                  <a:pt x="11042772" y="1846517"/>
                  <a:pt x="11042772" y="1852214"/>
                </a:cubicBezTo>
                <a:cubicBezTo>
                  <a:pt x="11042772" y="1859811"/>
                  <a:pt x="11038949" y="1867408"/>
                  <a:pt x="11033215" y="1871206"/>
                </a:cubicBezTo>
                <a:cubicBezTo>
                  <a:pt x="11033215" y="1871206"/>
                  <a:pt x="11033215" y="1871206"/>
                  <a:pt x="10698730" y="2127592"/>
                </a:cubicBezTo>
                <a:cubicBezTo>
                  <a:pt x="10689173" y="2135189"/>
                  <a:pt x="10673883" y="2133290"/>
                  <a:pt x="10666237" y="2123794"/>
                </a:cubicBezTo>
                <a:cubicBezTo>
                  <a:pt x="10658592" y="2112399"/>
                  <a:pt x="10660503" y="2097206"/>
                  <a:pt x="10670060" y="2089609"/>
                </a:cubicBezTo>
                <a:cubicBezTo>
                  <a:pt x="10670060" y="2089609"/>
                  <a:pt x="10670060" y="2089609"/>
                  <a:pt x="11004545" y="1833223"/>
                </a:cubicBezTo>
                <a:cubicBezTo>
                  <a:pt x="11009324" y="1829424"/>
                  <a:pt x="11015536" y="1828000"/>
                  <a:pt x="11021508" y="1828712"/>
                </a:cubicBezTo>
                <a:close/>
                <a:moveTo>
                  <a:pt x="8148424" y="1822231"/>
                </a:moveTo>
                <a:cubicBezTo>
                  <a:pt x="8155346" y="1823419"/>
                  <a:pt x="8162030" y="1827221"/>
                  <a:pt x="8166804" y="1832924"/>
                </a:cubicBezTo>
                <a:cubicBezTo>
                  <a:pt x="8170623" y="1838626"/>
                  <a:pt x="8172533" y="1844330"/>
                  <a:pt x="8172533" y="1850033"/>
                </a:cubicBezTo>
                <a:cubicBezTo>
                  <a:pt x="8172533" y="1857637"/>
                  <a:pt x="8168714" y="1867142"/>
                  <a:pt x="8161075" y="1872844"/>
                </a:cubicBezTo>
                <a:cubicBezTo>
                  <a:pt x="8161075" y="1872844"/>
                  <a:pt x="8161075" y="1872844"/>
                  <a:pt x="7824980" y="2108561"/>
                </a:cubicBezTo>
                <a:cubicBezTo>
                  <a:pt x="7813523" y="2116162"/>
                  <a:pt x="7796336" y="2114263"/>
                  <a:pt x="7786788" y="2100956"/>
                </a:cubicBezTo>
                <a:cubicBezTo>
                  <a:pt x="7777240" y="2089551"/>
                  <a:pt x="7781059" y="2072443"/>
                  <a:pt x="7792517" y="2062938"/>
                </a:cubicBezTo>
                <a:cubicBezTo>
                  <a:pt x="7792517" y="2062938"/>
                  <a:pt x="7792517" y="2062938"/>
                  <a:pt x="8128611" y="1827221"/>
                </a:cubicBezTo>
                <a:cubicBezTo>
                  <a:pt x="8134340" y="1822469"/>
                  <a:pt x="8141501" y="1821043"/>
                  <a:pt x="8148424" y="1822231"/>
                </a:cubicBezTo>
                <a:close/>
                <a:moveTo>
                  <a:pt x="11593502" y="1822227"/>
                </a:moveTo>
                <a:cubicBezTo>
                  <a:pt x="11600640" y="1823415"/>
                  <a:pt x="11607302" y="1827217"/>
                  <a:pt x="11612061" y="1832920"/>
                </a:cubicBezTo>
                <a:cubicBezTo>
                  <a:pt x="11613964" y="1838623"/>
                  <a:pt x="11615868" y="1844326"/>
                  <a:pt x="11615868" y="1850029"/>
                </a:cubicBezTo>
                <a:cubicBezTo>
                  <a:pt x="11615868" y="1857632"/>
                  <a:pt x="11612061" y="1867138"/>
                  <a:pt x="11604447" y="1872840"/>
                </a:cubicBezTo>
                <a:cubicBezTo>
                  <a:pt x="11604447" y="1872840"/>
                  <a:pt x="11604447" y="1872840"/>
                  <a:pt x="11271337" y="2108557"/>
                </a:cubicBezTo>
                <a:cubicBezTo>
                  <a:pt x="11258013" y="2116159"/>
                  <a:pt x="11240881" y="2114261"/>
                  <a:pt x="11233267" y="2100952"/>
                </a:cubicBezTo>
                <a:cubicBezTo>
                  <a:pt x="11223750" y="2089547"/>
                  <a:pt x="11225653" y="2072439"/>
                  <a:pt x="11238978" y="2062934"/>
                </a:cubicBezTo>
                <a:cubicBezTo>
                  <a:pt x="11238978" y="2062934"/>
                  <a:pt x="11238978" y="2062934"/>
                  <a:pt x="11572088" y="1827217"/>
                </a:cubicBezTo>
                <a:cubicBezTo>
                  <a:pt x="11578750" y="1822464"/>
                  <a:pt x="11586364" y="1821038"/>
                  <a:pt x="11593502" y="1822227"/>
                </a:cubicBezTo>
                <a:close/>
                <a:moveTo>
                  <a:pt x="12139750" y="1819296"/>
                </a:moveTo>
                <a:cubicBezTo>
                  <a:pt x="12139750" y="1819296"/>
                  <a:pt x="12139750" y="1819296"/>
                  <a:pt x="12139750" y="1893845"/>
                </a:cubicBezTo>
                <a:cubicBezTo>
                  <a:pt x="12139750" y="1893845"/>
                  <a:pt x="12139750" y="1893845"/>
                  <a:pt x="11834405" y="2090726"/>
                </a:cubicBezTo>
                <a:cubicBezTo>
                  <a:pt x="11819138" y="2100283"/>
                  <a:pt x="11800054" y="2094549"/>
                  <a:pt x="11790512" y="2081169"/>
                </a:cubicBezTo>
                <a:cubicBezTo>
                  <a:pt x="11780970" y="2065877"/>
                  <a:pt x="11784787" y="2046762"/>
                  <a:pt x="11800054" y="2037205"/>
                </a:cubicBezTo>
                <a:lnTo>
                  <a:pt x="12135933" y="1821208"/>
                </a:lnTo>
                <a:cubicBezTo>
                  <a:pt x="12137842" y="1819296"/>
                  <a:pt x="12137842" y="1819296"/>
                  <a:pt x="12139750" y="1819296"/>
                </a:cubicBezTo>
                <a:close/>
                <a:moveTo>
                  <a:pt x="7591461" y="1816389"/>
                </a:moveTo>
                <a:cubicBezTo>
                  <a:pt x="7599307" y="1818063"/>
                  <a:pt x="7606440" y="1822846"/>
                  <a:pt x="7611195" y="1830500"/>
                </a:cubicBezTo>
                <a:cubicBezTo>
                  <a:pt x="7614999" y="1836240"/>
                  <a:pt x="7616901" y="1841981"/>
                  <a:pt x="7616901" y="1847721"/>
                </a:cubicBezTo>
                <a:cubicBezTo>
                  <a:pt x="7616901" y="1857288"/>
                  <a:pt x="7611195" y="1866856"/>
                  <a:pt x="7601685" y="1874509"/>
                </a:cubicBezTo>
                <a:cubicBezTo>
                  <a:pt x="7601685" y="1874509"/>
                  <a:pt x="7601685" y="1874509"/>
                  <a:pt x="7266927" y="2090722"/>
                </a:cubicBezTo>
                <a:cubicBezTo>
                  <a:pt x="7251710" y="2100289"/>
                  <a:pt x="7232690" y="2094549"/>
                  <a:pt x="7223180" y="2081155"/>
                </a:cubicBezTo>
                <a:cubicBezTo>
                  <a:pt x="7213670" y="2065848"/>
                  <a:pt x="7219376" y="2046715"/>
                  <a:pt x="7232690" y="2037147"/>
                </a:cubicBezTo>
                <a:cubicBezTo>
                  <a:pt x="7232690" y="2037147"/>
                  <a:pt x="7232690" y="2037147"/>
                  <a:pt x="7567448" y="1820933"/>
                </a:cubicBezTo>
                <a:cubicBezTo>
                  <a:pt x="7575056" y="1816149"/>
                  <a:pt x="7583615" y="1814714"/>
                  <a:pt x="7591461" y="1816389"/>
                </a:cubicBezTo>
                <a:close/>
                <a:moveTo>
                  <a:pt x="7042453" y="1811445"/>
                </a:moveTo>
                <a:cubicBezTo>
                  <a:pt x="7051052" y="1813588"/>
                  <a:pt x="7058696" y="1819303"/>
                  <a:pt x="7063473" y="1827876"/>
                </a:cubicBezTo>
                <a:cubicBezTo>
                  <a:pt x="7067295" y="1833591"/>
                  <a:pt x="7069206" y="1839306"/>
                  <a:pt x="7069206" y="1845021"/>
                </a:cubicBezTo>
                <a:cubicBezTo>
                  <a:pt x="7069206" y="1858356"/>
                  <a:pt x="7063473" y="1869786"/>
                  <a:pt x="7052008" y="1875501"/>
                </a:cubicBezTo>
                <a:cubicBezTo>
                  <a:pt x="7052008" y="1875501"/>
                  <a:pt x="7052008" y="1875501"/>
                  <a:pt x="6713777" y="2071714"/>
                </a:cubicBezTo>
                <a:cubicBezTo>
                  <a:pt x="6696579" y="2081239"/>
                  <a:pt x="6675559" y="2075525"/>
                  <a:pt x="6666004" y="2058379"/>
                </a:cubicBezTo>
                <a:cubicBezTo>
                  <a:pt x="6656450" y="2041235"/>
                  <a:pt x="6662182" y="2020280"/>
                  <a:pt x="6679381" y="2010756"/>
                </a:cubicBezTo>
                <a:cubicBezTo>
                  <a:pt x="6679381" y="2010756"/>
                  <a:pt x="6679381" y="2010756"/>
                  <a:pt x="7015700" y="1816445"/>
                </a:cubicBezTo>
                <a:cubicBezTo>
                  <a:pt x="7024300" y="1810730"/>
                  <a:pt x="7033854" y="1809302"/>
                  <a:pt x="7042453" y="1811445"/>
                </a:cubicBezTo>
                <a:close/>
                <a:moveTo>
                  <a:pt x="6499936" y="1806065"/>
                </a:moveTo>
                <a:cubicBezTo>
                  <a:pt x="6509244" y="1809168"/>
                  <a:pt x="6517358" y="1815852"/>
                  <a:pt x="6522132" y="1825400"/>
                </a:cubicBezTo>
                <a:cubicBezTo>
                  <a:pt x="6525950" y="1831129"/>
                  <a:pt x="6527860" y="1836858"/>
                  <a:pt x="6527860" y="1842587"/>
                </a:cubicBezTo>
                <a:cubicBezTo>
                  <a:pt x="6527860" y="1857864"/>
                  <a:pt x="6520223" y="1871231"/>
                  <a:pt x="6506857" y="1876960"/>
                </a:cubicBezTo>
                <a:cubicBezTo>
                  <a:pt x="6506857" y="1876960"/>
                  <a:pt x="6506857" y="1876960"/>
                  <a:pt x="6166999" y="2052641"/>
                </a:cubicBezTo>
                <a:cubicBezTo>
                  <a:pt x="6147906" y="2062190"/>
                  <a:pt x="6124994" y="2054551"/>
                  <a:pt x="6115448" y="2035456"/>
                </a:cubicBezTo>
                <a:cubicBezTo>
                  <a:pt x="6103992" y="2016360"/>
                  <a:pt x="6111629" y="1993445"/>
                  <a:pt x="6130722" y="1983897"/>
                </a:cubicBezTo>
                <a:cubicBezTo>
                  <a:pt x="6130722" y="1983897"/>
                  <a:pt x="6130722" y="1983897"/>
                  <a:pt x="6470580" y="1808213"/>
                </a:cubicBezTo>
                <a:cubicBezTo>
                  <a:pt x="6480127" y="1803439"/>
                  <a:pt x="6490628" y="1802962"/>
                  <a:pt x="6499936" y="1806065"/>
                </a:cubicBezTo>
                <a:close/>
                <a:moveTo>
                  <a:pt x="5958440" y="1800931"/>
                </a:moveTo>
                <a:cubicBezTo>
                  <a:pt x="5968909" y="1804761"/>
                  <a:pt x="5977952" y="1812420"/>
                  <a:pt x="5982710" y="1822950"/>
                </a:cubicBezTo>
                <a:cubicBezTo>
                  <a:pt x="5984614" y="1828695"/>
                  <a:pt x="5986517" y="1834438"/>
                  <a:pt x="5986517" y="1840183"/>
                </a:cubicBezTo>
                <a:cubicBezTo>
                  <a:pt x="5986517" y="1857416"/>
                  <a:pt x="5977000" y="1872733"/>
                  <a:pt x="5961771" y="1878478"/>
                </a:cubicBezTo>
                <a:cubicBezTo>
                  <a:pt x="5961771" y="1878478"/>
                  <a:pt x="5961771" y="1878478"/>
                  <a:pt x="5622934" y="2033566"/>
                </a:cubicBezTo>
                <a:cubicBezTo>
                  <a:pt x="5600091" y="2043140"/>
                  <a:pt x="5575344" y="2033566"/>
                  <a:pt x="5565827" y="2012506"/>
                </a:cubicBezTo>
                <a:cubicBezTo>
                  <a:pt x="5556309" y="1991444"/>
                  <a:pt x="5565827" y="1964639"/>
                  <a:pt x="5586766" y="1955065"/>
                </a:cubicBezTo>
                <a:cubicBezTo>
                  <a:pt x="5586766" y="1955065"/>
                  <a:pt x="5586766" y="1955065"/>
                  <a:pt x="5925602" y="1801889"/>
                </a:cubicBezTo>
                <a:cubicBezTo>
                  <a:pt x="5936072" y="1797102"/>
                  <a:pt x="5947970" y="1797102"/>
                  <a:pt x="5958440" y="1800931"/>
                </a:cubicBezTo>
                <a:close/>
                <a:moveTo>
                  <a:pt x="398962" y="1800922"/>
                </a:moveTo>
                <a:cubicBezTo>
                  <a:pt x="409432" y="1804752"/>
                  <a:pt x="418474" y="1812411"/>
                  <a:pt x="423233" y="1822941"/>
                </a:cubicBezTo>
                <a:cubicBezTo>
                  <a:pt x="425137" y="1828686"/>
                  <a:pt x="427041" y="1834430"/>
                  <a:pt x="427041" y="1840174"/>
                </a:cubicBezTo>
                <a:cubicBezTo>
                  <a:pt x="427041" y="1857407"/>
                  <a:pt x="417522" y="1872724"/>
                  <a:pt x="400390" y="1878468"/>
                </a:cubicBezTo>
                <a:cubicBezTo>
                  <a:pt x="400390" y="1878468"/>
                  <a:pt x="400390" y="1878468"/>
                  <a:pt x="61546" y="2033558"/>
                </a:cubicBezTo>
                <a:cubicBezTo>
                  <a:pt x="40607" y="2043131"/>
                  <a:pt x="15860" y="2033558"/>
                  <a:pt x="6342" y="2012496"/>
                </a:cubicBezTo>
                <a:cubicBezTo>
                  <a:pt x="-3177" y="1991435"/>
                  <a:pt x="6342" y="1964629"/>
                  <a:pt x="27281" y="1955055"/>
                </a:cubicBezTo>
                <a:cubicBezTo>
                  <a:pt x="27281" y="1955055"/>
                  <a:pt x="27281" y="1955055"/>
                  <a:pt x="366125" y="1801879"/>
                </a:cubicBezTo>
                <a:cubicBezTo>
                  <a:pt x="376595" y="1797093"/>
                  <a:pt x="388492" y="1797093"/>
                  <a:pt x="398962" y="1800922"/>
                </a:cubicBezTo>
                <a:close/>
                <a:moveTo>
                  <a:pt x="5395741" y="1792156"/>
                </a:moveTo>
                <a:cubicBezTo>
                  <a:pt x="5414189" y="1792513"/>
                  <a:pt x="5431025" y="1803586"/>
                  <a:pt x="5438189" y="1822160"/>
                </a:cubicBezTo>
                <a:cubicBezTo>
                  <a:pt x="5440099" y="1827876"/>
                  <a:pt x="5442010" y="1833591"/>
                  <a:pt x="5442010" y="1839306"/>
                </a:cubicBezTo>
                <a:cubicBezTo>
                  <a:pt x="5442010" y="1858356"/>
                  <a:pt x="5430547" y="1875501"/>
                  <a:pt x="5411443" y="1883121"/>
                </a:cubicBezTo>
                <a:cubicBezTo>
                  <a:pt x="5411443" y="1883121"/>
                  <a:pt x="5411443" y="1883121"/>
                  <a:pt x="5069457" y="2014565"/>
                </a:cubicBezTo>
                <a:cubicBezTo>
                  <a:pt x="5046533" y="2024090"/>
                  <a:pt x="5019789" y="2012660"/>
                  <a:pt x="5010238" y="1989801"/>
                </a:cubicBezTo>
                <a:cubicBezTo>
                  <a:pt x="5000687" y="1965036"/>
                  <a:pt x="5012147" y="1938366"/>
                  <a:pt x="5036983" y="1928841"/>
                </a:cubicBezTo>
                <a:cubicBezTo>
                  <a:pt x="5036983" y="1928841"/>
                  <a:pt x="5036983" y="1928841"/>
                  <a:pt x="5377054" y="1795490"/>
                </a:cubicBezTo>
                <a:cubicBezTo>
                  <a:pt x="5383263" y="1793109"/>
                  <a:pt x="5389591" y="1792037"/>
                  <a:pt x="5395741" y="1792156"/>
                </a:cubicBezTo>
                <a:close/>
                <a:moveTo>
                  <a:pt x="929266" y="1792145"/>
                </a:moveTo>
                <a:cubicBezTo>
                  <a:pt x="946908" y="1792502"/>
                  <a:pt x="963745" y="1803575"/>
                  <a:pt x="970909" y="1822149"/>
                </a:cubicBezTo>
                <a:cubicBezTo>
                  <a:pt x="974730" y="1827864"/>
                  <a:pt x="974730" y="1833579"/>
                  <a:pt x="974730" y="1839294"/>
                </a:cubicBezTo>
                <a:cubicBezTo>
                  <a:pt x="974730" y="1858344"/>
                  <a:pt x="963267" y="1875489"/>
                  <a:pt x="946072" y="1883109"/>
                </a:cubicBezTo>
                <a:cubicBezTo>
                  <a:pt x="946072" y="1883109"/>
                  <a:pt x="946072" y="1883109"/>
                  <a:pt x="604089" y="2014554"/>
                </a:cubicBezTo>
                <a:cubicBezTo>
                  <a:pt x="579253" y="2024078"/>
                  <a:pt x="552505" y="2012649"/>
                  <a:pt x="542953" y="1989789"/>
                </a:cubicBezTo>
                <a:cubicBezTo>
                  <a:pt x="533400" y="1965024"/>
                  <a:pt x="544863" y="1938354"/>
                  <a:pt x="569700" y="1928829"/>
                </a:cubicBezTo>
                <a:cubicBezTo>
                  <a:pt x="569700" y="1928829"/>
                  <a:pt x="569700" y="1928829"/>
                  <a:pt x="911683" y="1795478"/>
                </a:cubicBezTo>
                <a:cubicBezTo>
                  <a:pt x="917415" y="1793097"/>
                  <a:pt x="923385" y="1792026"/>
                  <a:pt x="929266" y="1792145"/>
                </a:cubicBezTo>
                <a:close/>
                <a:moveTo>
                  <a:pt x="4845289" y="1786421"/>
                </a:moveTo>
                <a:cubicBezTo>
                  <a:pt x="4864224" y="1787854"/>
                  <a:pt x="4882086" y="1801107"/>
                  <a:pt x="4889233" y="1819733"/>
                </a:cubicBezTo>
                <a:cubicBezTo>
                  <a:pt x="4891136" y="1825464"/>
                  <a:pt x="4891136" y="1831195"/>
                  <a:pt x="4891136" y="1836927"/>
                </a:cubicBezTo>
                <a:cubicBezTo>
                  <a:pt x="4891136" y="1857942"/>
                  <a:pt x="4877801" y="1877046"/>
                  <a:pt x="4856841" y="1884687"/>
                </a:cubicBezTo>
                <a:cubicBezTo>
                  <a:pt x="4856841" y="1884687"/>
                  <a:pt x="4856841" y="1884687"/>
                  <a:pt x="4515848" y="1997399"/>
                </a:cubicBezTo>
                <a:cubicBezTo>
                  <a:pt x="4489179" y="2005041"/>
                  <a:pt x="4460601" y="1991668"/>
                  <a:pt x="4451076" y="1964923"/>
                </a:cubicBezTo>
                <a:cubicBezTo>
                  <a:pt x="4443456" y="1938178"/>
                  <a:pt x="4456792" y="1909522"/>
                  <a:pt x="4483463" y="1901881"/>
                </a:cubicBezTo>
                <a:cubicBezTo>
                  <a:pt x="4483463" y="1901881"/>
                  <a:pt x="4483463" y="1901881"/>
                  <a:pt x="4826355" y="1789167"/>
                </a:cubicBezTo>
                <a:cubicBezTo>
                  <a:pt x="4832548" y="1786779"/>
                  <a:pt x="4838978" y="1785943"/>
                  <a:pt x="4845289" y="1786421"/>
                </a:cubicBezTo>
                <a:close/>
                <a:moveTo>
                  <a:pt x="1480544" y="1786407"/>
                </a:moveTo>
                <a:cubicBezTo>
                  <a:pt x="1500175" y="1787839"/>
                  <a:pt x="1517665" y="1801092"/>
                  <a:pt x="1523376" y="1819719"/>
                </a:cubicBezTo>
                <a:cubicBezTo>
                  <a:pt x="1525280" y="1825450"/>
                  <a:pt x="1527184" y="1831181"/>
                  <a:pt x="1527184" y="1836913"/>
                </a:cubicBezTo>
                <a:cubicBezTo>
                  <a:pt x="1527184" y="1857927"/>
                  <a:pt x="1513858" y="1877031"/>
                  <a:pt x="1492918" y="1884672"/>
                </a:cubicBezTo>
                <a:cubicBezTo>
                  <a:pt x="1492918" y="1884672"/>
                  <a:pt x="1492918" y="1884672"/>
                  <a:pt x="1150255" y="1997385"/>
                </a:cubicBezTo>
                <a:cubicBezTo>
                  <a:pt x="1123604" y="2005025"/>
                  <a:pt x="1095048" y="1991653"/>
                  <a:pt x="1087434" y="1964908"/>
                </a:cubicBezTo>
                <a:cubicBezTo>
                  <a:pt x="1077915" y="1938163"/>
                  <a:pt x="1093145" y="1909507"/>
                  <a:pt x="1119796" y="1901866"/>
                </a:cubicBezTo>
                <a:cubicBezTo>
                  <a:pt x="1119796" y="1901866"/>
                  <a:pt x="1119796" y="1901866"/>
                  <a:pt x="1460555" y="1789153"/>
                </a:cubicBezTo>
                <a:cubicBezTo>
                  <a:pt x="1467218" y="1786765"/>
                  <a:pt x="1474000" y="1785929"/>
                  <a:pt x="1480544" y="1786407"/>
                </a:cubicBezTo>
                <a:close/>
                <a:moveTo>
                  <a:pt x="4289929" y="1779643"/>
                </a:moveTo>
                <a:cubicBezTo>
                  <a:pt x="4310378" y="1782608"/>
                  <a:pt x="4327881" y="1797700"/>
                  <a:pt x="4333596" y="1819260"/>
                </a:cubicBezTo>
                <a:cubicBezTo>
                  <a:pt x="4335501" y="1825009"/>
                  <a:pt x="4335501" y="1828842"/>
                  <a:pt x="4335501" y="1834591"/>
                </a:cubicBezTo>
                <a:cubicBezTo>
                  <a:pt x="4335501" y="1857589"/>
                  <a:pt x="4320261" y="1878670"/>
                  <a:pt x="4295495" y="1886336"/>
                </a:cubicBezTo>
                <a:cubicBezTo>
                  <a:pt x="4295495" y="1886336"/>
                  <a:pt x="4295495" y="1886336"/>
                  <a:pt x="3952611" y="1978325"/>
                </a:cubicBezTo>
                <a:cubicBezTo>
                  <a:pt x="3924033" y="1985990"/>
                  <a:pt x="3893553" y="1968743"/>
                  <a:pt x="3885933" y="1939996"/>
                </a:cubicBezTo>
                <a:cubicBezTo>
                  <a:pt x="3878314" y="1911250"/>
                  <a:pt x="3895458" y="1880586"/>
                  <a:pt x="3924033" y="1872921"/>
                </a:cubicBezTo>
                <a:cubicBezTo>
                  <a:pt x="3924033" y="1872921"/>
                  <a:pt x="3924033" y="1872921"/>
                  <a:pt x="4268824" y="1780930"/>
                </a:cubicBezTo>
                <a:cubicBezTo>
                  <a:pt x="4275968" y="1779014"/>
                  <a:pt x="4283112" y="1778655"/>
                  <a:pt x="4289929" y="1779643"/>
                </a:cubicBezTo>
                <a:close/>
                <a:moveTo>
                  <a:pt x="2035632" y="1779626"/>
                </a:moveTo>
                <a:cubicBezTo>
                  <a:pt x="2056622" y="1782591"/>
                  <a:pt x="2075195" y="1797683"/>
                  <a:pt x="2080910" y="1819243"/>
                </a:cubicBezTo>
                <a:cubicBezTo>
                  <a:pt x="2082815" y="1824992"/>
                  <a:pt x="2082815" y="1828825"/>
                  <a:pt x="2082815" y="1834574"/>
                </a:cubicBezTo>
                <a:cubicBezTo>
                  <a:pt x="2082815" y="1857572"/>
                  <a:pt x="2065670" y="1878653"/>
                  <a:pt x="2042805" y="1886319"/>
                </a:cubicBezTo>
                <a:cubicBezTo>
                  <a:pt x="2042805" y="1886319"/>
                  <a:pt x="2042805" y="1886319"/>
                  <a:pt x="1699901" y="1978307"/>
                </a:cubicBezTo>
                <a:cubicBezTo>
                  <a:pt x="1669421" y="1985973"/>
                  <a:pt x="1640845" y="1968725"/>
                  <a:pt x="1633225" y="1939979"/>
                </a:cubicBezTo>
                <a:cubicBezTo>
                  <a:pt x="1625605" y="1911232"/>
                  <a:pt x="1642750" y="1880569"/>
                  <a:pt x="1671326" y="1872903"/>
                </a:cubicBezTo>
                <a:cubicBezTo>
                  <a:pt x="1671326" y="1872903"/>
                  <a:pt x="1671326" y="1872903"/>
                  <a:pt x="2014230" y="1780914"/>
                </a:cubicBezTo>
                <a:cubicBezTo>
                  <a:pt x="2021374" y="1778997"/>
                  <a:pt x="2028637" y="1778638"/>
                  <a:pt x="2035632" y="1779626"/>
                </a:cubicBezTo>
                <a:close/>
                <a:moveTo>
                  <a:pt x="3732186" y="1775478"/>
                </a:moveTo>
                <a:cubicBezTo>
                  <a:pt x="3753993" y="1779592"/>
                  <a:pt x="3772581" y="1797123"/>
                  <a:pt x="3778299" y="1820020"/>
                </a:cubicBezTo>
                <a:cubicBezTo>
                  <a:pt x="3778299" y="1823835"/>
                  <a:pt x="3778299" y="1827652"/>
                  <a:pt x="3778299" y="1831468"/>
                </a:cubicBezTo>
                <a:cubicBezTo>
                  <a:pt x="3778299" y="1858181"/>
                  <a:pt x="3759235" y="1882986"/>
                  <a:pt x="3732545" y="1888710"/>
                </a:cubicBezTo>
                <a:cubicBezTo>
                  <a:pt x="3732545" y="1888710"/>
                  <a:pt x="3732545" y="1888710"/>
                  <a:pt x="3387514" y="1959308"/>
                </a:cubicBezTo>
                <a:cubicBezTo>
                  <a:pt x="3357010" y="1966941"/>
                  <a:pt x="3326509" y="1945952"/>
                  <a:pt x="3318883" y="1915423"/>
                </a:cubicBezTo>
                <a:cubicBezTo>
                  <a:pt x="3313164" y="1882986"/>
                  <a:pt x="3332228" y="1852457"/>
                  <a:pt x="3364636" y="1846733"/>
                </a:cubicBezTo>
                <a:cubicBezTo>
                  <a:pt x="3364636" y="1846733"/>
                  <a:pt x="3364636" y="1846733"/>
                  <a:pt x="3709668" y="1776134"/>
                </a:cubicBezTo>
                <a:cubicBezTo>
                  <a:pt x="3717292" y="1774226"/>
                  <a:pt x="3724918" y="1774107"/>
                  <a:pt x="3732186" y="1775478"/>
                </a:cubicBezTo>
                <a:close/>
                <a:moveTo>
                  <a:pt x="2597096" y="1775459"/>
                </a:moveTo>
                <a:cubicBezTo>
                  <a:pt x="2618900" y="1779573"/>
                  <a:pt x="2637486" y="1797103"/>
                  <a:pt x="2643205" y="1820000"/>
                </a:cubicBezTo>
                <a:cubicBezTo>
                  <a:pt x="2643205" y="1823816"/>
                  <a:pt x="2643205" y="1827632"/>
                  <a:pt x="2643205" y="1831449"/>
                </a:cubicBezTo>
                <a:cubicBezTo>
                  <a:pt x="2643205" y="1858161"/>
                  <a:pt x="2624142" y="1882966"/>
                  <a:pt x="2597453" y="1888690"/>
                </a:cubicBezTo>
                <a:cubicBezTo>
                  <a:pt x="2597453" y="1888690"/>
                  <a:pt x="2597453" y="1888690"/>
                  <a:pt x="2252409" y="1959288"/>
                </a:cubicBezTo>
                <a:cubicBezTo>
                  <a:pt x="2221908" y="1966921"/>
                  <a:pt x="2191406" y="1945932"/>
                  <a:pt x="2183781" y="1915403"/>
                </a:cubicBezTo>
                <a:cubicBezTo>
                  <a:pt x="2178062" y="1882966"/>
                  <a:pt x="2197125" y="1852437"/>
                  <a:pt x="2229533" y="1846713"/>
                </a:cubicBezTo>
                <a:cubicBezTo>
                  <a:pt x="2229533" y="1846713"/>
                  <a:pt x="2229533" y="1846713"/>
                  <a:pt x="2574577" y="1776115"/>
                </a:cubicBezTo>
                <a:cubicBezTo>
                  <a:pt x="2582203" y="1774206"/>
                  <a:pt x="2589828" y="1774087"/>
                  <a:pt x="2597096" y="1775459"/>
                </a:cubicBezTo>
                <a:close/>
                <a:moveTo>
                  <a:pt x="3139439" y="1767857"/>
                </a:moveTo>
                <a:cubicBezTo>
                  <a:pt x="3173753" y="1762151"/>
                  <a:pt x="3204252" y="1786874"/>
                  <a:pt x="3209972" y="1819203"/>
                </a:cubicBezTo>
                <a:cubicBezTo>
                  <a:pt x="3209972" y="1823006"/>
                  <a:pt x="3209972" y="1826810"/>
                  <a:pt x="3209972" y="1828711"/>
                </a:cubicBezTo>
                <a:cubicBezTo>
                  <a:pt x="3209972" y="1859139"/>
                  <a:pt x="3187098" y="1885763"/>
                  <a:pt x="3156596" y="1889566"/>
                </a:cubicBezTo>
                <a:cubicBezTo>
                  <a:pt x="3156596" y="1889566"/>
                  <a:pt x="3156596" y="1889566"/>
                  <a:pt x="2811555" y="1939010"/>
                </a:cubicBezTo>
                <a:cubicBezTo>
                  <a:pt x="2777239" y="1944716"/>
                  <a:pt x="2746740" y="1921895"/>
                  <a:pt x="2741022" y="1887665"/>
                </a:cubicBezTo>
                <a:cubicBezTo>
                  <a:pt x="2735303" y="1853434"/>
                  <a:pt x="2760084" y="1823006"/>
                  <a:pt x="2792492" y="1819203"/>
                </a:cubicBezTo>
                <a:cubicBezTo>
                  <a:pt x="2792492" y="1819203"/>
                  <a:pt x="2792492" y="1819203"/>
                  <a:pt x="3139439" y="1767857"/>
                </a:cubicBezTo>
                <a:close/>
                <a:moveTo>
                  <a:pt x="9859195" y="1522734"/>
                </a:moveTo>
                <a:cubicBezTo>
                  <a:pt x="9864196" y="1523210"/>
                  <a:pt x="9868958" y="1525589"/>
                  <a:pt x="9871816" y="1530346"/>
                </a:cubicBezTo>
                <a:cubicBezTo>
                  <a:pt x="9875626" y="1532249"/>
                  <a:pt x="9877531" y="1537959"/>
                  <a:pt x="9877531" y="1541765"/>
                </a:cubicBezTo>
                <a:cubicBezTo>
                  <a:pt x="9877531" y="1547475"/>
                  <a:pt x="9875626" y="1553184"/>
                  <a:pt x="9869911" y="1556990"/>
                </a:cubicBezTo>
                <a:cubicBezTo>
                  <a:pt x="9869911" y="1556990"/>
                  <a:pt x="9869911" y="1556990"/>
                  <a:pt x="9538436" y="1838657"/>
                </a:cubicBezTo>
                <a:cubicBezTo>
                  <a:pt x="9530816" y="1846270"/>
                  <a:pt x="9519386" y="1846270"/>
                  <a:pt x="9511766" y="1836754"/>
                </a:cubicBezTo>
                <a:cubicBezTo>
                  <a:pt x="9506051" y="1829141"/>
                  <a:pt x="9506051" y="1817722"/>
                  <a:pt x="9513671" y="1810110"/>
                </a:cubicBezTo>
                <a:cubicBezTo>
                  <a:pt x="9513671" y="1810110"/>
                  <a:pt x="9513671" y="1810110"/>
                  <a:pt x="9845146" y="1526540"/>
                </a:cubicBezTo>
                <a:cubicBezTo>
                  <a:pt x="9848956" y="1523685"/>
                  <a:pt x="9854195" y="1522258"/>
                  <a:pt x="9859195" y="1522734"/>
                </a:cubicBezTo>
                <a:close/>
                <a:moveTo>
                  <a:pt x="9283544" y="1516005"/>
                </a:moveTo>
                <a:cubicBezTo>
                  <a:pt x="9289502" y="1516718"/>
                  <a:pt x="9295222" y="1519573"/>
                  <a:pt x="9299036" y="1524331"/>
                </a:cubicBezTo>
                <a:cubicBezTo>
                  <a:pt x="9300942" y="1528137"/>
                  <a:pt x="9302849" y="1533846"/>
                  <a:pt x="9302849" y="1537653"/>
                </a:cubicBezTo>
                <a:cubicBezTo>
                  <a:pt x="9302849" y="1545265"/>
                  <a:pt x="9300942" y="1550974"/>
                  <a:pt x="9295222" y="1554780"/>
                </a:cubicBezTo>
                <a:cubicBezTo>
                  <a:pt x="9295222" y="1554780"/>
                  <a:pt x="9295222" y="1554780"/>
                  <a:pt x="8961563" y="1821217"/>
                </a:cubicBezTo>
                <a:cubicBezTo>
                  <a:pt x="8952030" y="1828830"/>
                  <a:pt x="8938684" y="1826927"/>
                  <a:pt x="8931057" y="1817411"/>
                </a:cubicBezTo>
                <a:cubicBezTo>
                  <a:pt x="8923431" y="1807895"/>
                  <a:pt x="8925338" y="1792671"/>
                  <a:pt x="8934871" y="1785058"/>
                </a:cubicBezTo>
                <a:cubicBezTo>
                  <a:pt x="8934871" y="1785058"/>
                  <a:pt x="8934871" y="1785058"/>
                  <a:pt x="9266623" y="1520524"/>
                </a:cubicBezTo>
                <a:cubicBezTo>
                  <a:pt x="9271389" y="1516718"/>
                  <a:pt x="9277586" y="1515291"/>
                  <a:pt x="9283544" y="1516005"/>
                </a:cubicBezTo>
                <a:close/>
                <a:moveTo>
                  <a:pt x="10444673" y="1515983"/>
                </a:moveTo>
                <a:cubicBezTo>
                  <a:pt x="10450150" y="1516697"/>
                  <a:pt x="10455389" y="1519551"/>
                  <a:pt x="10459199" y="1524309"/>
                </a:cubicBezTo>
                <a:cubicBezTo>
                  <a:pt x="10463009" y="1528115"/>
                  <a:pt x="10464914" y="1533824"/>
                  <a:pt x="10464914" y="1537630"/>
                </a:cubicBezTo>
                <a:cubicBezTo>
                  <a:pt x="10464914" y="1545243"/>
                  <a:pt x="10461104" y="1550952"/>
                  <a:pt x="10455389" y="1554759"/>
                </a:cubicBezTo>
                <a:cubicBezTo>
                  <a:pt x="10455389" y="1554759"/>
                  <a:pt x="10455389" y="1554759"/>
                  <a:pt x="10123915" y="1821192"/>
                </a:cubicBezTo>
                <a:cubicBezTo>
                  <a:pt x="10114389" y="1828804"/>
                  <a:pt x="10099149" y="1826901"/>
                  <a:pt x="10091529" y="1817385"/>
                </a:cubicBezTo>
                <a:cubicBezTo>
                  <a:pt x="10083909" y="1807870"/>
                  <a:pt x="10085814" y="1792645"/>
                  <a:pt x="10095339" y="1785033"/>
                </a:cubicBezTo>
                <a:cubicBezTo>
                  <a:pt x="10095339" y="1785033"/>
                  <a:pt x="10095339" y="1785033"/>
                  <a:pt x="10428719" y="1520503"/>
                </a:cubicBezTo>
                <a:cubicBezTo>
                  <a:pt x="10433481" y="1516697"/>
                  <a:pt x="10439197" y="1515269"/>
                  <a:pt x="10444673" y="1515983"/>
                </a:cubicBezTo>
                <a:close/>
                <a:moveTo>
                  <a:pt x="8713305" y="1508547"/>
                </a:moveTo>
                <a:cubicBezTo>
                  <a:pt x="8719740" y="1509261"/>
                  <a:pt x="8725937" y="1512595"/>
                  <a:pt x="8730703" y="1518310"/>
                </a:cubicBezTo>
                <a:cubicBezTo>
                  <a:pt x="8732609" y="1524026"/>
                  <a:pt x="8734516" y="1529740"/>
                  <a:pt x="8734516" y="1533551"/>
                </a:cubicBezTo>
                <a:cubicBezTo>
                  <a:pt x="8734516" y="1543076"/>
                  <a:pt x="8730703" y="1550696"/>
                  <a:pt x="8724983" y="1554506"/>
                </a:cubicBezTo>
                <a:cubicBezTo>
                  <a:pt x="8724983" y="1554506"/>
                  <a:pt x="8724983" y="1554506"/>
                  <a:pt x="8391331" y="1802160"/>
                </a:cubicBezTo>
                <a:cubicBezTo>
                  <a:pt x="8379892" y="1809779"/>
                  <a:pt x="8362732" y="1807874"/>
                  <a:pt x="8355106" y="1796444"/>
                </a:cubicBezTo>
                <a:cubicBezTo>
                  <a:pt x="8345573" y="1785014"/>
                  <a:pt x="8349386" y="1769774"/>
                  <a:pt x="8360826" y="1760249"/>
                </a:cubicBezTo>
                <a:cubicBezTo>
                  <a:pt x="8360826" y="1760249"/>
                  <a:pt x="8360826" y="1760249"/>
                  <a:pt x="8694478" y="1514500"/>
                </a:cubicBezTo>
                <a:cubicBezTo>
                  <a:pt x="8700197" y="1509738"/>
                  <a:pt x="8706870" y="1507833"/>
                  <a:pt x="8713305" y="1508547"/>
                </a:cubicBezTo>
                <a:close/>
                <a:moveTo>
                  <a:pt x="11022911" y="1508523"/>
                </a:moveTo>
                <a:cubicBezTo>
                  <a:pt x="11029107" y="1509237"/>
                  <a:pt x="11034827" y="1512571"/>
                  <a:pt x="11038640" y="1518286"/>
                </a:cubicBezTo>
                <a:cubicBezTo>
                  <a:pt x="11042453" y="1524001"/>
                  <a:pt x="11044360" y="1529716"/>
                  <a:pt x="11044360" y="1533526"/>
                </a:cubicBezTo>
                <a:cubicBezTo>
                  <a:pt x="11044360" y="1543051"/>
                  <a:pt x="11040547" y="1550671"/>
                  <a:pt x="11034827" y="1554481"/>
                </a:cubicBezTo>
                <a:cubicBezTo>
                  <a:pt x="11034827" y="1554481"/>
                  <a:pt x="11034827" y="1554481"/>
                  <a:pt x="10701175" y="1802131"/>
                </a:cubicBezTo>
                <a:cubicBezTo>
                  <a:pt x="10689736" y="1809751"/>
                  <a:pt x="10672576" y="1807846"/>
                  <a:pt x="10664950" y="1796416"/>
                </a:cubicBezTo>
                <a:cubicBezTo>
                  <a:pt x="10655417" y="1784986"/>
                  <a:pt x="10659230" y="1769746"/>
                  <a:pt x="10670670" y="1760221"/>
                </a:cubicBezTo>
                <a:cubicBezTo>
                  <a:pt x="10670670" y="1760221"/>
                  <a:pt x="10670670" y="1760221"/>
                  <a:pt x="11004322" y="1514476"/>
                </a:cubicBezTo>
                <a:cubicBezTo>
                  <a:pt x="11010042" y="1509714"/>
                  <a:pt x="11016715" y="1507809"/>
                  <a:pt x="11022911" y="1508523"/>
                </a:cubicBezTo>
                <a:close/>
                <a:moveTo>
                  <a:pt x="8149812" y="1501800"/>
                </a:moveTo>
                <a:cubicBezTo>
                  <a:pt x="8156962" y="1503228"/>
                  <a:pt x="8163635" y="1507515"/>
                  <a:pt x="8168401" y="1514182"/>
                </a:cubicBezTo>
                <a:cubicBezTo>
                  <a:pt x="8172214" y="1519897"/>
                  <a:pt x="8174121" y="1525612"/>
                  <a:pt x="8174121" y="1531327"/>
                </a:cubicBezTo>
                <a:cubicBezTo>
                  <a:pt x="8174121" y="1540853"/>
                  <a:pt x="8168401" y="1548473"/>
                  <a:pt x="8160775" y="1554187"/>
                </a:cubicBezTo>
                <a:cubicBezTo>
                  <a:pt x="8160775" y="1554187"/>
                  <a:pt x="8160775" y="1554187"/>
                  <a:pt x="7825223" y="1782791"/>
                </a:cubicBezTo>
                <a:cubicBezTo>
                  <a:pt x="7811877" y="1792316"/>
                  <a:pt x="7794718" y="1788506"/>
                  <a:pt x="7785185" y="1775171"/>
                </a:cubicBezTo>
                <a:cubicBezTo>
                  <a:pt x="7775653" y="1761836"/>
                  <a:pt x="7779466" y="1744691"/>
                  <a:pt x="7792812" y="1735166"/>
                </a:cubicBezTo>
                <a:cubicBezTo>
                  <a:pt x="7792812" y="1735166"/>
                  <a:pt x="7792812" y="1735166"/>
                  <a:pt x="8128364" y="1506563"/>
                </a:cubicBezTo>
                <a:cubicBezTo>
                  <a:pt x="8135036" y="1501800"/>
                  <a:pt x="8142663" y="1500371"/>
                  <a:pt x="8149812" y="1501800"/>
                </a:cubicBezTo>
                <a:close/>
                <a:moveTo>
                  <a:pt x="11594174" y="1501795"/>
                </a:moveTo>
                <a:cubicBezTo>
                  <a:pt x="11601776" y="1503224"/>
                  <a:pt x="11608903" y="1507510"/>
                  <a:pt x="11613654" y="1514178"/>
                </a:cubicBezTo>
                <a:cubicBezTo>
                  <a:pt x="11615555" y="1519893"/>
                  <a:pt x="11617455" y="1525608"/>
                  <a:pt x="11617455" y="1531323"/>
                </a:cubicBezTo>
                <a:cubicBezTo>
                  <a:pt x="11617455" y="1540848"/>
                  <a:pt x="11613654" y="1548468"/>
                  <a:pt x="11606052" y="1554183"/>
                </a:cubicBezTo>
                <a:cubicBezTo>
                  <a:pt x="11606052" y="1554183"/>
                  <a:pt x="11606052" y="1554183"/>
                  <a:pt x="11271574" y="1782786"/>
                </a:cubicBezTo>
                <a:cubicBezTo>
                  <a:pt x="11258270" y="1792311"/>
                  <a:pt x="11239266" y="1788501"/>
                  <a:pt x="11231664" y="1775166"/>
                </a:cubicBezTo>
                <a:cubicBezTo>
                  <a:pt x="11222162" y="1761831"/>
                  <a:pt x="11225963" y="1744685"/>
                  <a:pt x="11239266" y="1735161"/>
                </a:cubicBezTo>
                <a:cubicBezTo>
                  <a:pt x="11239266" y="1735161"/>
                  <a:pt x="11239266" y="1735161"/>
                  <a:pt x="11571844" y="1506558"/>
                </a:cubicBezTo>
                <a:cubicBezTo>
                  <a:pt x="11578496" y="1501795"/>
                  <a:pt x="11586573" y="1500367"/>
                  <a:pt x="11594174" y="1501795"/>
                </a:cubicBezTo>
                <a:close/>
                <a:moveTo>
                  <a:pt x="12139750" y="1497031"/>
                </a:moveTo>
                <a:cubicBezTo>
                  <a:pt x="12139750" y="1497031"/>
                  <a:pt x="12139750" y="1497031"/>
                  <a:pt x="12139750" y="1573231"/>
                </a:cubicBezTo>
                <a:cubicBezTo>
                  <a:pt x="12139750" y="1573231"/>
                  <a:pt x="12139750" y="1573231"/>
                  <a:pt x="11834677" y="1763733"/>
                </a:cubicBezTo>
                <a:cubicBezTo>
                  <a:pt x="11819424" y="1773258"/>
                  <a:pt x="11798450" y="1769448"/>
                  <a:pt x="11788917" y="1754208"/>
                </a:cubicBezTo>
                <a:cubicBezTo>
                  <a:pt x="11779383" y="1738968"/>
                  <a:pt x="11785103" y="1719918"/>
                  <a:pt x="11800357" y="1710392"/>
                </a:cubicBezTo>
                <a:lnTo>
                  <a:pt x="12135937" y="1498936"/>
                </a:lnTo>
                <a:cubicBezTo>
                  <a:pt x="12137843" y="1498936"/>
                  <a:pt x="12137843" y="1498936"/>
                  <a:pt x="12139750" y="1497031"/>
                </a:cubicBezTo>
                <a:close/>
                <a:moveTo>
                  <a:pt x="7592412" y="1496614"/>
                </a:moveTo>
                <a:cubicBezTo>
                  <a:pt x="7600734" y="1498748"/>
                  <a:pt x="7608342" y="1503963"/>
                  <a:pt x="7613097" y="1511548"/>
                </a:cubicBezTo>
                <a:cubicBezTo>
                  <a:pt x="7616901" y="1517237"/>
                  <a:pt x="7616901" y="1522928"/>
                  <a:pt x="7616901" y="1528616"/>
                </a:cubicBezTo>
                <a:cubicBezTo>
                  <a:pt x="7616901" y="1539996"/>
                  <a:pt x="7611195" y="1549478"/>
                  <a:pt x="7601685" y="1555168"/>
                </a:cubicBezTo>
                <a:cubicBezTo>
                  <a:pt x="7601685" y="1555168"/>
                  <a:pt x="7601685" y="1555168"/>
                  <a:pt x="7266927" y="1763784"/>
                </a:cubicBezTo>
                <a:cubicBezTo>
                  <a:pt x="7251710" y="1773266"/>
                  <a:pt x="7232690" y="1769473"/>
                  <a:pt x="7223180" y="1754301"/>
                </a:cubicBezTo>
                <a:cubicBezTo>
                  <a:pt x="7213670" y="1739129"/>
                  <a:pt x="7217474" y="1720164"/>
                  <a:pt x="7232690" y="1710681"/>
                </a:cubicBezTo>
                <a:cubicBezTo>
                  <a:pt x="7232690" y="1710681"/>
                  <a:pt x="7232690" y="1710681"/>
                  <a:pt x="7567448" y="1500170"/>
                </a:cubicBezTo>
                <a:cubicBezTo>
                  <a:pt x="7575056" y="1495428"/>
                  <a:pt x="7584091" y="1494480"/>
                  <a:pt x="7592412" y="1496614"/>
                </a:cubicBezTo>
                <a:close/>
                <a:moveTo>
                  <a:pt x="7043429" y="1490543"/>
                </a:moveTo>
                <a:cubicBezTo>
                  <a:pt x="7052498" y="1492930"/>
                  <a:pt x="7060613" y="1498657"/>
                  <a:pt x="7065387" y="1507250"/>
                </a:cubicBezTo>
                <a:cubicBezTo>
                  <a:pt x="7069206" y="1512978"/>
                  <a:pt x="7069206" y="1518707"/>
                  <a:pt x="7069206" y="1524435"/>
                </a:cubicBezTo>
                <a:cubicBezTo>
                  <a:pt x="7069206" y="1537802"/>
                  <a:pt x="7063478" y="1549259"/>
                  <a:pt x="7052021" y="1554987"/>
                </a:cubicBezTo>
                <a:cubicBezTo>
                  <a:pt x="7052021" y="1554987"/>
                  <a:pt x="7052021" y="1554987"/>
                  <a:pt x="6714055" y="1747844"/>
                </a:cubicBezTo>
                <a:cubicBezTo>
                  <a:pt x="6696870" y="1757391"/>
                  <a:pt x="6675866" y="1751662"/>
                  <a:pt x="6664410" y="1734477"/>
                </a:cubicBezTo>
                <a:cubicBezTo>
                  <a:pt x="6654863" y="1717292"/>
                  <a:pt x="6660591" y="1694378"/>
                  <a:pt x="6677776" y="1684830"/>
                </a:cubicBezTo>
                <a:cubicBezTo>
                  <a:pt x="6677776" y="1684830"/>
                  <a:pt x="6677776" y="1684830"/>
                  <a:pt x="7015742" y="1493885"/>
                </a:cubicBezTo>
                <a:cubicBezTo>
                  <a:pt x="7024334" y="1489112"/>
                  <a:pt x="7034359" y="1488157"/>
                  <a:pt x="7043429" y="1490543"/>
                </a:cubicBezTo>
                <a:close/>
                <a:moveTo>
                  <a:pt x="6500175" y="1483801"/>
                </a:moveTo>
                <a:cubicBezTo>
                  <a:pt x="6509721" y="1486903"/>
                  <a:pt x="6518313" y="1493586"/>
                  <a:pt x="6524041" y="1503135"/>
                </a:cubicBezTo>
                <a:cubicBezTo>
                  <a:pt x="6525950" y="1508863"/>
                  <a:pt x="6527860" y="1514592"/>
                  <a:pt x="6527860" y="1520321"/>
                </a:cubicBezTo>
                <a:cubicBezTo>
                  <a:pt x="6527860" y="1535598"/>
                  <a:pt x="6520223" y="1548964"/>
                  <a:pt x="6506857" y="1554694"/>
                </a:cubicBezTo>
                <a:cubicBezTo>
                  <a:pt x="6506857" y="1554694"/>
                  <a:pt x="6506857" y="1554694"/>
                  <a:pt x="6166999" y="1728470"/>
                </a:cubicBezTo>
                <a:cubicBezTo>
                  <a:pt x="6147906" y="1739928"/>
                  <a:pt x="6124994" y="1732290"/>
                  <a:pt x="6113538" y="1711284"/>
                </a:cubicBezTo>
                <a:cubicBezTo>
                  <a:pt x="6103992" y="1692188"/>
                  <a:pt x="6111629" y="1669272"/>
                  <a:pt x="6130722" y="1659723"/>
                </a:cubicBezTo>
                <a:cubicBezTo>
                  <a:pt x="6130722" y="1659723"/>
                  <a:pt x="6130722" y="1659723"/>
                  <a:pt x="6470580" y="1485949"/>
                </a:cubicBezTo>
                <a:cubicBezTo>
                  <a:pt x="6480127" y="1481174"/>
                  <a:pt x="6490628" y="1480697"/>
                  <a:pt x="6500175" y="1483801"/>
                </a:cubicBezTo>
                <a:close/>
                <a:moveTo>
                  <a:pt x="5958440" y="1477068"/>
                </a:moveTo>
                <a:cubicBezTo>
                  <a:pt x="5968909" y="1480892"/>
                  <a:pt x="5977952" y="1488540"/>
                  <a:pt x="5982710" y="1499058"/>
                </a:cubicBezTo>
                <a:cubicBezTo>
                  <a:pt x="5984614" y="1504795"/>
                  <a:pt x="5986517" y="1510530"/>
                  <a:pt x="5986517" y="1516267"/>
                </a:cubicBezTo>
                <a:cubicBezTo>
                  <a:pt x="5986517" y="1533477"/>
                  <a:pt x="5977000" y="1548776"/>
                  <a:pt x="5961771" y="1556424"/>
                </a:cubicBezTo>
                <a:cubicBezTo>
                  <a:pt x="5961771" y="1556424"/>
                  <a:pt x="5961771" y="1556424"/>
                  <a:pt x="5622934" y="1711317"/>
                </a:cubicBezTo>
                <a:cubicBezTo>
                  <a:pt x="5600091" y="1720877"/>
                  <a:pt x="5575344" y="1711317"/>
                  <a:pt x="5565827" y="1690282"/>
                </a:cubicBezTo>
                <a:cubicBezTo>
                  <a:pt x="5556309" y="1669247"/>
                  <a:pt x="5565827" y="1644387"/>
                  <a:pt x="5586766" y="1632914"/>
                </a:cubicBezTo>
                <a:cubicBezTo>
                  <a:pt x="5586766" y="1632914"/>
                  <a:pt x="5586766" y="1632914"/>
                  <a:pt x="5925602" y="1478023"/>
                </a:cubicBezTo>
                <a:cubicBezTo>
                  <a:pt x="5936072" y="1473242"/>
                  <a:pt x="5947970" y="1473242"/>
                  <a:pt x="5958440" y="1477068"/>
                </a:cubicBezTo>
                <a:close/>
                <a:moveTo>
                  <a:pt x="398249" y="1477059"/>
                </a:moveTo>
                <a:cubicBezTo>
                  <a:pt x="408480" y="1480882"/>
                  <a:pt x="417523" y="1488532"/>
                  <a:pt x="423234" y="1499048"/>
                </a:cubicBezTo>
                <a:cubicBezTo>
                  <a:pt x="425137" y="1504785"/>
                  <a:pt x="427041" y="1510522"/>
                  <a:pt x="427041" y="1516259"/>
                </a:cubicBezTo>
                <a:cubicBezTo>
                  <a:pt x="427041" y="1533468"/>
                  <a:pt x="417523" y="1548766"/>
                  <a:pt x="402294" y="1556416"/>
                </a:cubicBezTo>
                <a:cubicBezTo>
                  <a:pt x="402294" y="1556416"/>
                  <a:pt x="402294" y="1556416"/>
                  <a:pt x="61547" y="1711307"/>
                </a:cubicBezTo>
                <a:cubicBezTo>
                  <a:pt x="40607" y="1720868"/>
                  <a:pt x="15860" y="1711307"/>
                  <a:pt x="6342" y="1690272"/>
                </a:cubicBezTo>
                <a:cubicBezTo>
                  <a:pt x="-3176" y="1669237"/>
                  <a:pt x="6342" y="1644378"/>
                  <a:pt x="27282" y="1632905"/>
                </a:cubicBezTo>
                <a:cubicBezTo>
                  <a:pt x="27282" y="1632905"/>
                  <a:pt x="27282" y="1632905"/>
                  <a:pt x="366125" y="1478015"/>
                </a:cubicBezTo>
                <a:cubicBezTo>
                  <a:pt x="376595" y="1473234"/>
                  <a:pt x="388017" y="1473234"/>
                  <a:pt x="398249" y="1477059"/>
                </a:cubicBezTo>
                <a:close/>
                <a:moveTo>
                  <a:pt x="5394603" y="1468287"/>
                </a:moveTo>
                <a:cubicBezTo>
                  <a:pt x="5412999" y="1468643"/>
                  <a:pt x="5429786" y="1479687"/>
                  <a:pt x="5436931" y="1498212"/>
                </a:cubicBezTo>
                <a:cubicBezTo>
                  <a:pt x="5438835" y="1503912"/>
                  <a:pt x="5438835" y="1509612"/>
                  <a:pt x="5438835" y="1515311"/>
                </a:cubicBezTo>
                <a:cubicBezTo>
                  <a:pt x="5438835" y="1532412"/>
                  <a:pt x="5429310" y="1549512"/>
                  <a:pt x="5410261" y="1557113"/>
                </a:cubicBezTo>
                <a:cubicBezTo>
                  <a:pt x="5410261" y="1557113"/>
                  <a:pt x="5410261" y="1557113"/>
                  <a:pt x="5069259" y="1693914"/>
                </a:cubicBezTo>
                <a:cubicBezTo>
                  <a:pt x="5046401" y="1703415"/>
                  <a:pt x="5019734" y="1692015"/>
                  <a:pt x="5010210" y="1667314"/>
                </a:cubicBezTo>
                <a:cubicBezTo>
                  <a:pt x="5000687" y="1644513"/>
                  <a:pt x="5012114" y="1617913"/>
                  <a:pt x="5036878" y="1608413"/>
                </a:cubicBezTo>
                <a:cubicBezTo>
                  <a:pt x="5036878" y="1608413"/>
                  <a:pt x="5036878" y="1608413"/>
                  <a:pt x="5375971" y="1471613"/>
                </a:cubicBezTo>
                <a:cubicBezTo>
                  <a:pt x="5382162" y="1469237"/>
                  <a:pt x="5388472" y="1468168"/>
                  <a:pt x="5394603" y="1468287"/>
                </a:cubicBezTo>
                <a:close/>
                <a:moveTo>
                  <a:pt x="929397" y="1468276"/>
                </a:moveTo>
                <a:cubicBezTo>
                  <a:pt x="946989" y="1468632"/>
                  <a:pt x="963777" y="1479676"/>
                  <a:pt x="970920" y="1498200"/>
                </a:cubicBezTo>
                <a:cubicBezTo>
                  <a:pt x="972826" y="1503900"/>
                  <a:pt x="974730" y="1509601"/>
                  <a:pt x="974730" y="1515301"/>
                </a:cubicBezTo>
                <a:cubicBezTo>
                  <a:pt x="974730" y="1532401"/>
                  <a:pt x="963300" y="1549501"/>
                  <a:pt x="946155" y="1557101"/>
                </a:cubicBezTo>
                <a:cubicBezTo>
                  <a:pt x="946155" y="1557101"/>
                  <a:pt x="946155" y="1557101"/>
                  <a:pt x="605156" y="1693902"/>
                </a:cubicBezTo>
                <a:cubicBezTo>
                  <a:pt x="580391" y="1703402"/>
                  <a:pt x="553721" y="1692002"/>
                  <a:pt x="546100" y="1667301"/>
                </a:cubicBezTo>
                <a:cubicBezTo>
                  <a:pt x="536576" y="1644501"/>
                  <a:pt x="548005" y="1617901"/>
                  <a:pt x="570866" y="1608401"/>
                </a:cubicBezTo>
                <a:cubicBezTo>
                  <a:pt x="570866" y="1608401"/>
                  <a:pt x="570866" y="1608401"/>
                  <a:pt x="911865" y="1471601"/>
                </a:cubicBezTo>
                <a:cubicBezTo>
                  <a:pt x="917580" y="1469226"/>
                  <a:pt x="923533" y="1468157"/>
                  <a:pt x="929397" y="1468276"/>
                </a:cubicBezTo>
                <a:close/>
                <a:moveTo>
                  <a:pt x="4844455" y="1461448"/>
                </a:moveTo>
                <a:cubicBezTo>
                  <a:pt x="4864104" y="1463144"/>
                  <a:pt x="4881611" y="1475289"/>
                  <a:pt x="4887327" y="1493862"/>
                </a:cubicBezTo>
                <a:cubicBezTo>
                  <a:pt x="4889233" y="1499576"/>
                  <a:pt x="4891136" y="1505292"/>
                  <a:pt x="4891136" y="1511006"/>
                </a:cubicBezTo>
                <a:cubicBezTo>
                  <a:pt x="4891136" y="1531962"/>
                  <a:pt x="4877801" y="1551012"/>
                  <a:pt x="4856841" y="1556728"/>
                </a:cubicBezTo>
                <a:cubicBezTo>
                  <a:pt x="4856841" y="1556728"/>
                  <a:pt x="4856841" y="1556728"/>
                  <a:pt x="4515848" y="1674839"/>
                </a:cubicBezTo>
                <a:cubicBezTo>
                  <a:pt x="4489179" y="1684364"/>
                  <a:pt x="4462507" y="1671029"/>
                  <a:pt x="4452982" y="1644358"/>
                </a:cubicBezTo>
                <a:cubicBezTo>
                  <a:pt x="4443456" y="1619593"/>
                  <a:pt x="4456792" y="1591017"/>
                  <a:pt x="4483463" y="1583397"/>
                </a:cubicBezTo>
                <a:cubicBezTo>
                  <a:pt x="4483463" y="1583397"/>
                  <a:pt x="4483463" y="1583397"/>
                  <a:pt x="4824451" y="1463382"/>
                </a:cubicBezTo>
                <a:cubicBezTo>
                  <a:pt x="4831120" y="1461477"/>
                  <a:pt x="4837906" y="1460882"/>
                  <a:pt x="4844455" y="1461448"/>
                </a:cubicBezTo>
                <a:close/>
                <a:moveTo>
                  <a:pt x="1479724" y="1461434"/>
                </a:moveTo>
                <a:cubicBezTo>
                  <a:pt x="1498668" y="1463130"/>
                  <a:pt x="1516541" y="1475275"/>
                  <a:pt x="1523689" y="1493848"/>
                </a:cubicBezTo>
                <a:cubicBezTo>
                  <a:pt x="1525596" y="1499564"/>
                  <a:pt x="1525596" y="1505278"/>
                  <a:pt x="1525596" y="1510993"/>
                </a:cubicBezTo>
                <a:cubicBezTo>
                  <a:pt x="1525596" y="1531948"/>
                  <a:pt x="1512251" y="1550999"/>
                  <a:pt x="1493187" y="1556713"/>
                </a:cubicBezTo>
                <a:cubicBezTo>
                  <a:pt x="1493187" y="1556713"/>
                  <a:pt x="1493187" y="1556713"/>
                  <a:pt x="1150039" y="1674825"/>
                </a:cubicBezTo>
                <a:cubicBezTo>
                  <a:pt x="1125256" y="1684349"/>
                  <a:pt x="1096660" y="1671014"/>
                  <a:pt x="1089034" y="1644344"/>
                </a:cubicBezTo>
                <a:cubicBezTo>
                  <a:pt x="1079503" y="1619579"/>
                  <a:pt x="1092847" y="1591004"/>
                  <a:pt x="1117630" y="1583384"/>
                </a:cubicBezTo>
                <a:cubicBezTo>
                  <a:pt x="1117630" y="1583384"/>
                  <a:pt x="1117630" y="1583384"/>
                  <a:pt x="1460779" y="1463368"/>
                </a:cubicBezTo>
                <a:cubicBezTo>
                  <a:pt x="1466975" y="1461464"/>
                  <a:pt x="1473409" y="1460868"/>
                  <a:pt x="1479724" y="1461434"/>
                </a:cubicBezTo>
                <a:close/>
                <a:moveTo>
                  <a:pt x="4287991" y="1454950"/>
                </a:moveTo>
                <a:cubicBezTo>
                  <a:pt x="4308456" y="1457007"/>
                  <a:pt x="4325971" y="1471672"/>
                  <a:pt x="4331689" y="1491704"/>
                </a:cubicBezTo>
                <a:cubicBezTo>
                  <a:pt x="4333596" y="1497427"/>
                  <a:pt x="4335503" y="1501243"/>
                  <a:pt x="4335503" y="1506966"/>
                </a:cubicBezTo>
                <a:cubicBezTo>
                  <a:pt x="4335503" y="1529859"/>
                  <a:pt x="4320252" y="1550846"/>
                  <a:pt x="4297375" y="1558477"/>
                </a:cubicBezTo>
                <a:cubicBezTo>
                  <a:pt x="4297375" y="1558477"/>
                  <a:pt x="4297375" y="1558477"/>
                  <a:pt x="3954251" y="1657683"/>
                </a:cubicBezTo>
                <a:cubicBezTo>
                  <a:pt x="3925655" y="1665315"/>
                  <a:pt x="3897057" y="1650053"/>
                  <a:pt x="3887528" y="1621435"/>
                </a:cubicBezTo>
                <a:cubicBezTo>
                  <a:pt x="3879902" y="1594725"/>
                  <a:pt x="3897057" y="1564200"/>
                  <a:pt x="3923748" y="1556569"/>
                </a:cubicBezTo>
                <a:cubicBezTo>
                  <a:pt x="3923748" y="1556569"/>
                  <a:pt x="3923748" y="1556569"/>
                  <a:pt x="4266872" y="1457365"/>
                </a:cubicBezTo>
                <a:cubicBezTo>
                  <a:pt x="4274021" y="1454981"/>
                  <a:pt x="4281170" y="1454264"/>
                  <a:pt x="4287991" y="1454950"/>
                </a:cubicBezTo>
                <a:close/>
                <a:moveTo>
                  <a:pt x="2034947" y="1454934"/>
                </a:moveTo>
                <a:cubicBezTo>
                  <a:pt x="2055091" y="1456991"/>
                  <a:pt x="2073625" y="1471657"/>
                  <a:pt x="2079328" y="1491688"/>
                </a:cubicBezTo>
                <a:cubicBezTo>
                  <a:pt x="2081229" y="1497412"/>
                  <a:pt x="2081229" y="1501227"/>
                  <a:pt x="2081229" y="1506950"/>
                </a:cubicBezTo>
                <a:cubicBezTo>
                  <a:pt x="2081229" y="1529844"/>
                  <a:pt x="2066021" y="1550830"/>
                  <a:pt x="2043204" y="1558461"/>
                </a:cubicBezTo>
                <a:cubicBezTo>
                  <a:pt x="2043204" y="1558461"/>
                  <a:pt x="2043204" y="1558461"/>
                  <a:pt x="1701020" y="1657667"/>
                </a:cubicBezTo>
                <a:cubicBezTo>
                  <a:pt x="1672505" y="1665298"/>
                  <a:pt x="1643989" y="1650035"/>
                  <a:pt x="1636385" y="1621418"/>
                </a:cubicBezTo>
                <a:cubicBezTo>
                  <a:pt x="1628781" y="1594709"/>
                  <a:pt x="1643989" y="1564184"/>
                  <a:pt x="1672505" y="1556553"/>
                </a:cubicBezTo>
                <a:cubicBezTo>
                  <a:pt x="1672505" y="1556553"/>
                  <a:pt x="1672505" y="1556553"/>
                  <a:pt x="2014689" y="1457348"/>
                </a:cubicBezTo>
                <a:cubicBezTo>
                  <a:pt x="2021343" y="1454963"/>
                  <a:pt x="2028234" y="1454248"/>
                  <a:pt x="2034947" y="1454934"/>
                </a:cubicBezTo>
                <a:close/>
                <a:moveTo>
                  <a:pt x="3729077" y="1449679"/>
                </a:moveTo>
                <a:cubicBezTo>
                  <a:pt x="3750748" y="1453151"/>
                  <a:pt x="3768942" y="1469174"/>
                  <a:pt x="3773220" y="1490538"/>
                </a:cubicBezTo>
                <a:cubicBezTo>
                  <a:pt x="3775123" y="1496235"/>
                  <a:pt x="3775123" y="1500034"/>
                  <a:pt x="3775123" y="1503831"/>
                </a:cubicBezTo>
                <a:cubicBezTo>
                  <a:pt x="3775123" y="1528519"/>
                  <a:pt x="3758002" y="1553208"/>
                  <a:pt x="3733267" y="1558905"/>
                </a:cubicBezTo>
                <a:cubicBezTo>
                  <a:pt x="3733267" y="1558905"/>
                  <a:pt x="3733267" y="1558905"/>
                  <a:pt x="3388949" y="1638666"/>
                </a:cubicBezTo>
                <a:cubicBezTo>
                  <a:pt x="3358507" y="1646263"/>
                  <a:pt x="3328069" y="1627272"/>
                  <a:pt x="3322361" y="1598786"/>
                </a:cubicBezTo>
                <a:cubicBezTo>
                  <a:pt x="3314753" y="1568400"/>
                  <a:pt x="3333778" y="1538015"/>
                  <a:pt x="3362311" y="1530418"/>
                </a:cubicBezTo>
                <a:cubicBezTo>
                  <a:pt x="3362311" y="1530418"/>
                  <a:pt x="3362311" y="1530418"/>
                  <a:pt x="3706634" y="1450658"/>
                </a:cubicBezTo>
                <a:cubicBezTo>
                  <a:pt x="3714243" y="1448760"/>
                  <a:pt x="3721853" y="1448522"/>
                  <a:pt x="3729077" y="1449679"/>
                </a:cubicBezTo>
                <a:close/>
                <a:moveTo>
                  <a:pt x="2595306" y="1449661"/>
                </a:moveTo>
                <a:cubicBezTo>
                  <a:pt x="2616530" y="1453133"/>
                  <a:pt x="2634008" y="1469156"/>
                  <a:pt x="2639715" y="1490520"/>
                </a:cubicBezTo>
                <a:cubicBezTo>
                  <a:pt x="2641617" y="1496217"/>
                  <a:pt x="2641617" y="1500015"/>
                  <a:pt x="2641617" y="1503814"/>
                </a:cubicBezTo>
                <a:cubicBezTo>
                  <a:pt x="2641617" y="1528502"/>
                  <a:pt x="2624496" y="1553189"/>
                  <a:pt x="2597862" y="1558887"/>
                </a:cubicBezTo>
                <a:cubicBezTo>
                  <a:pt x="2597862" y="1558887"/>
                  <a:pt x="2597862" y="1558887"/>
                  <a:pt x="2255431" y="1638648"/>
                </a:cubicBezTo>
                <a:cubicBezTo>
                  <a:pt x="2224992" y="1646244"/>
                  <a:pt x="2194554" y="1627253"/>
                  <a:pt x="2188847" y="1598767"/>
                </a:cubicBezTo>
                <a:cubicBezTo>
                  <a:pt x="2181237" y="1568382"/>
                  <a:pt x="2200261" y="1537997"/>
                  <a:pt x="2228797" y="1530401"/>
                </a:cubicBezTo>
                <a:cubicBezTo>
                  <a:pt x="2228797" y="1530401"/>
                  <a:pt x="2228797" y="1530401"/>
                  <a:pt x="2573131" y="1450640"/>
                </a:cubicBezTo>
                <a:cubicBezTo>
                  <a:pt x="2580740" y="1448741"/>
                  <a:pt x="2588232" y="1448503"/>
                  <a:pt x="2595306" y="1449661"/>
                </a:cubicBezTo>
                <a:close/>
                <a:moveTo>
                  <a:pt x="3137758" y="1442427"/>
                </a:moveTo>
                <a:cubicBezTo>
                  <a:pt x="3170208" y="1436712"/>
                  <a:pt x="3200750" y="1457667"/>
                  <a:pt x="3206474" y="1490052"/>
                </a:cubicBezTo>
                <a:cubicBezTo>
                  <a:pt x="3206474" y="1493862"/>
                  <a:pt x="3208386" y="1497671"/>
                  <a:pt x="3208386" y="1499576"/>
                </a:cubicBezTo>
                <a:cubicBezTo>
                  <a:pt x="3208386" y="1528151"/>
                  <a:pt x="3187387" y="1552917"/>
                  <a:pt x="3158756" y="1558632"/>
                </a:cubicBezTo>
                <a:cubicBezTo>
                  <a:pt x="3158756" y="1558632"/>
                  <a:pt x="3158756" y="1558632"/>
                  <a:pt x="2813246" y="1621498"/>
                </a:cubicBezTo>
                <a:cubicBezTo>
                  <a:pt x="2780793" y="1627213"/>
                  <a:pt x="2750254" y="1606257"/>
                  <a:pt x="2744526" y="1573872"/>
                </a:cubicBezTo>
                <a:cubicBezTo>
                  <a:pt x="2736890" y="1541486"/>
                  <a:pt x="2759798" y="1511006"/>
                  <a:pt x="2792249" y="1505291"/>
                </a:cubicBezTo>
                <a:cubicBezTo>
                  <a:pt x="2792249" y="1505291"/>
                  <a:pt x="2792249" y="1505291"/>
                  <a:pt x="3137758" y="1442427"/>
                </a:cubicBezTo>
                <a:close/>
                <a:moveTo>
                  <a:pt x="9860829" y="1204612"/>
                </a:moveTo>
                <a:cubicBezTo>
                  <a:pt x="9866293" y="1205090"/>
                  <a:pt x="9871519" y="1207481"/>
                  <a:pt x="9875319" y="1211306"/>
                </a:cubicBezTo>
                <a:cubicBezTo>
                  <a:pt x="9879119" y="1217044"/>
                  <a:pt x="9879119" y="1220870"/>
                  <a:pt x="9879119" y="1226607"/>
                </a:cubicBezTo>
                <a:cubicBezTo>
                  <a:pt x="9879119" y="1232345"/>
                  <a:pt x="9877219" y="1238083"/>
                  <a:pt x="9871518" y="1243820"/>
                </a:cubicBezTo>
                <a:cubicBezTo>
                  <a:pt x="9871518" y="1243820"/>
                  <a:pt x="9871518" y="1243820"/>
                  <a:pt x="9540880" y="1511592"/>
                </a:cubicBezTo>
                <a:cubicBezTo>
                  <a:pt x="9531379" y="1519243"/>
                  <a:pt x="9518078" y="1519243"/>
                  <a:pt x="9510477" y="1509680"/>
                </a:cubicBezTo>
                <a:cubicBezTo>
                  <a:pt x="9502876" y="1500116"/>
                  <a:pt x="9504776" y="1486728"/>
                  <a:pt x="9514277" y="1479077"/>
                </a:cubicBezTo>
                <a:cubicBezTo>
                  <a:pt x="9514277" y="1479077"/>
                  <a:pt x="9514277" y="1479077"/>
                  <a:pt x="9844915" y="1209393"/>
                </a:cubicBezTo>
                <a:cubicBezTo>
                  <a:pt x="9849665" y="1205568"/>
                  <a:pt x="9855366" y="1204134"/>
                  <a:pt x="9860829" y="1204612"/>
                </a:cubicBezTo>
                <a:close/>
                <a:moveTo>
                  <a:pt x="9284557" y="1198509"/>
                </a:moveTo>
                <a:cubicBezTo>
                  <a:pt x="9290758" y="1199223"/>
                  <a:pt x="9296482" y="1202078"/>
                  <a:pt x="9300299" y="1206835"/>
                </a:cubicBezTo>
                <a:cubicBezTo>
                  <a:pt x="9304115" y="1212544"/>
                  <a:pt x="9306023" y="1216350"/>
                  <a:pt x="9306023" y="1222058"/>
                </a:cubicBezTo>
                <a:cubicBezTo>
                  <a:pt x="9306023" y="1229668"/>
                  <a:pt x="9302207" y="1237280"/>
                  <a:pt x="9296482" y="1242988"/>
                </a:cubicBezTo>
                <a:cubicBezTo>
                  <a:pt x="9296482" y="1242988"/>
                  <a:pt x="9296482" y="1242988"/>
                  <a:pt x="8962556" y="1494190"/>
                </a:cubicBezTo>
                <a:cubicBezTo>
                  <a:pt x="8951107" y="1501802"/>
                  <a:pt x="8935841" y="1499899"/>
                  <a:pt x="8928209" y="1490384"/>
                </a:cubicBezTo>
                <a:cubicBezTo>
                  <a:pt x="8918668" y="1478966"/>
                  <a:pt x="8920576" y="1463742"/>
                  <a:pt x="8932025" y="1454228"/>
                </a:cubicBezTo>
                <a:cubicBezTo>
                  <a:pt x="8932025" y="1454228"/>
                  <a:pt x="8932025" y="1454228"/>
                  <a:pt x="9265952" y="1203029"/>
                </a:cubicBezTo>
                <a:cubicBezTo>
                  <a:pt x="9271676" y="1199223"/>
                  <a:pt x="9278355" y="1197796"/>
                  <a:pt x="9284557" y="1198509"/>
                </a:cubicBezTo>
                <a:close/>
                <a:moveTo>
                  <a:pt x="10445106" y="1198483"/>
                </a:moveTo>
                <a:cubicBezTo>
                  <a:pt x="10451287" y="1199197"/>
                  <a:pt x="10456992" y="1202051"/>
                  <a:pt x="10460796" y="1206809"/>
                </a:cubicBezTo>
                <a:cubicBezTo>
                  <a:pt x="10464600" y="1212518"/>
                  <a:pt x="10466502" y="1216324"/>
                  <a:pt x="10466502" y="1222033"/>
                </a:cubicBezTo>
                <a:cubicBezTo>
                  <a:pt x="10466502" y="1229645"/>
                  <a:pt x="10462698" y="1237258"/>
                  <a:pt x="10456993" y="1242967"/>
                </a:cubicBezTo>
                <a:cubicBezTo>
                  <a:pt x="10456993" y="1242967"/>
                  <a:pt x="10456993" y="1242967"/>
                  <a:pt x="10124163" y="1494166"/>
                </a:cubicBezTo>
                <a:cubicBezTo>
                  <a:pt x="10112752" y="1501779"/>
                  <a:pt x="10097537" y="1499876"/>
                  <a:pt x="10089930" y="1490360"/>
                </a:cubicBezTo>
                <a:cubicBezTo>
                  <a:pt x="10082322" y="1478942"/>
                  <a:pt x="10084224" y="1463718"/>
                  <a:pt x="10093733" y="1454203"/>
                </a:cubicBezTo>
                <a:cubicBezTo>
                  <a:pt x="10093733" y="1454203"/>
                  <a:pt x="10093733" y="1454203"/>
                  <a:pt x="10426562" y="1203003"/>
                </a:cubicBezTo>
                <a:cubicBezTo>
                  <a:pt x="10432268" y="1199197"/>
                  <a:pt x="10438925" y="1197769"/>
                  <a:pt x="10445106" y="1198483"/>
                </a:cubicBezTo>
                <a:close/>
                <a:moveTo>
                  <a:pt x="8713976" y="1190406"/>
                </a:moveTo>
                <a:cubicBezTo>
                  <a:pt x="8720876" y="1191594"/>
                  <a:pt x="8727538" y="1195396"/>
                  <a:pt x="8732297" y="1201099"/>
                </a:cubicBezTo>
                <a:cubicBezTo>
                  <a:pt x="8736104" y="1206803"/>
                  <a:pt x="8736104" y="1212505"/>
                  <a:pt x="8736104" y="1218208"/>
                </a:cubicBezTo>
                <a:cubicBezTo>
                  <a:pt x="8736104" y="1225809"/>
                  <a:pt x="8732297" y="1235312"/>
                  <a:pt x="8724683" y="1241015"/>
                </a:cubicBezTo>
                <a:cubicBezTo>
                  <a:pt x="8724683" y="1241015"/>
                  <a:pt x="8724683" y="1241015"/>
                  <a:pt x="8391573" y="1476736"/>
                </a:cubicBezTo>
                <a:cubicBezTo>
                  <a:pt x="8378249" y="1484339"/>
                  <a:pt x="8361117" y="1482438"/>
                  <a:pt x="8353503" y="1469132"/>
                </a:cubicBezTo>
                <a:cubicBezTo>
                  <a:pt x="8343986" y="1457727"/>
                  <a:pt x="8347793" y="1440617"/>
                  <a:pt x="8359214" y="1431112"/>
                </a:cubicBezTo>
                <a:cubicBezTo>
                  <a:pt x="8359214" y="1431112"/>
                  <a:pt x="8359214" y="1431112"/>
                  <a:pt x="8694227" y="1195396"/>
                </a:cubicBezTo>
                <a:cubicBezTo>
                  <a:pt x="8699937" y="1190644"/>
                  <a:pt x="8707076" y="1189218"/>
                  <a:pt x="8713976" y="1190406"/>
                </a:cubicBezTo>
                <a:close/>
                <a:moveTo>
                  <a:pt x="11023582" y="1190378"/>
                </a:moveTo>
                <a:cubicBezTo>
                  <a:pt x="11030720" y="1191566"/>
                  <a:pt x="11037382" y="1195368"/>
                  <a:pt x="11042141" y="1201071"/>
                </a:cubicBezTo>
                <a:cubicBezTo>
                  <a:pt x="11044044" y="1206774"/>
                  <a:pt x="11045948" y="1212477"/>
                  <a:pt x="11045948" y="1218180"/>
                </a:cubicBezTo>
                <a:cubicBezTo>
                  <a:pt x="11045948" y="1225783"/>
                  <a:pt x="11042141" y="1235288"/>
                  <a:pt x="11034527" y="1240991"/>
                </a:cubicBezTo>
                <a:cubicBezTo>
                  <a:pt x="11034527" y="1240991"/>
                  <a:pt x="11034527" y="1240991"/>
                  <a:pt x="10701417" y="1476710"/>
                </a:cubicBezTo>
                <a:cubicBezTo>
                  <a:pt x="10688093" y="1484313"/>
                  <a:pt x="10670961" y="1482412"/>
                  <a:pt x="10663347" y="1469106"/>
                </a:cubicBezTo>
                <a:cubicBezTo>
                  <a:pt x="10653830" y="1457700"/>
                  <a:pt x="10655733" y="1440591"/>
                  <a:pt x="10669058" y="1431087"/>
                </a:cubicBezTo>
                <a:cubicBezTo>
                  <a:pt x="10669058" y="1431087"/>
                  <a:pt x="10669058" y="1431087"/>
                  <a:pt x="11002168" y="1195368"/>
                </a:cubicBezTo>
                <a:cubicBezTo>
                  <a:pt x="11008830" y="1190616"/>
                  <a:pt x="11016444" y="1189190"/>
                  <a:pt x="11023582" y="1190378"/>
                </a:cubicBezTo>
                <a:close/>
                <a:moveTo>
                  <a:pt x="8150486" y="1182942"/>
                </a:moveTo>
                <a:cubicBezTo>
                  <a:pt x="8158100" y="1184606"/>
                  <a:pt x="8165238" y="1189358"/>
                  <a:pt x="8169997" y="1196960"/>
                </a:cubicBezTo>
                <a:cubicBezTo>
                  <a:pt x="8173804" y="1200763"/>
                  <a:pt x="8175708" y="1206467"/>
                  <a:pt x="8175708" y="1212168"/>
                </a:cubicBezTo>
                <a:cubicBezTo>
                  <a:pt x="8175708" y="1223571"/>
                  <a:pt x="8169997" y="1233074"/>
                  <a:pt x="8160480" y="1238776"/>
                </a:cubicBezTo>
                <a:cubicBezTo>
                  <a:pt x="8160480" y="1238776"/>
                  <a:pt x="8160480" y="1238776"/>
                  <a:pt x="7825460" y="1457373"/>
                </a:cubicBezTo>
                <a:cubicBezTo>
                  <a:pt x="7812135" y="1466876"/>
                  <a:pt x="7793100" y="1463074"/>
                  <a:pt x="7783582" y="1449769"/>
                </a:cubicBezTo>
                <a:cubicBezTo>
                  <a:pt x="7774065" y="1434562"/>
                  <a:pt x="7777872" y="1415556"/>
                  <a:pt x="7793100" y="1407952"/>
                </a:cubicBezTo>
                <a:cubicBezTo>
                  <a:pt x="7793100" y="1407952"/>
                  <a:pt x="7793100" y="1407952"/>
                  <a:pt x="8128120" y="1187458"/>
                </a:cubicBezTo>
                <a:cubicBezTo>
                  <a:pt x="8134782" y="1182705"/>
                  <a:pt x="8142872" y="1181279"/>
                  <a:pt x="8150486" y="1182942"/>
                </a:cubicBezTo>
                <a:close/>
                <a:moveTo>
                  <a:pt x="11595229" y="1182937"/>
                </a:moveTo>
                <a:cubicBezTo>
                  <a:pt x="11602849" y="1184600"/>
                  <a:pt x="11609517" y="1189352"/>
                  <a:pt x="11613327" y="1196955"/>
                </a:cubicBezTo>
                <a:cubicBezTo>
                  <a:pt x="11617137" y="1200757"/>
                  <a:pt x="11619042" y="1206459"/>
                  <a:pt x="11619042" y="1212161"/>
                </a:cubicBezTo>
                <a:cubicBezTo>
                  <a:pt x="11619042" y="1223565"/>
                  <a:pt x="11615232" y="1233069"/>
                  <a:pt x="11605707" y="1238770"/>
                </a:cubicBezTo>
                <a:cubicBezTo>
                  <a:pt x="11605707" y="1238770"/>
                  <a:pt x="11605707" y="1238770"/>
                  <a:pt x="11270423" y="1457367"/>
                </a:cubicBezTo>
                <a:cubicBezTo>
                  <a:pt x="11257087" y="1466870"/>
                  <a:pt x="11238037" y="1463069"/>
                  <a:pt x="11228512" y="1449763"/>
                </a:cubicBezTo>
                <a:cubicBezTo>
                  <a:pt x="11218987" y="1434556"/>
                  <a:pt x="11222797" y="1415549"/>
                  <a:pt x="11236132" y="1407946"/>
                </a:cubicBezTo>
                <a:cubicBezTo>
                  <a:pt x="11236132" y="1407946"/>
                  <a:pt x="11236132" y="1407946"/>
                  <a:pt x="11571416" y="1187451"/>
                </a:cubicBezTo>
                <a:cubicBezTo>
                  <a:pt x="11579036" y="1182699"/>
                  <a:pt x="11587609" y="1181273"/>
                  <a:pt x="11595229" y="1182937"/>
                </a:cubicBezTo>
                <a:close/>
                <a:moveTo>
                  <a:pt x="12139750" y="1177944"/>
                </a:moveTo>
                <a:cubicBezTo>
                  <a:pt x="12139750" y="1177944"/>
                  <a:pt x="12139750" y="1177944"/>
                  <a:pt x="12139750" y="1255774"/>
                </a:cubicBezTo>
                <a:cubicBezTo>
                  <a:pt x="12139750" y="1255774"/>
                  <a:pt x="12139750" y="1255774"/>
                  <a:pt x="11834677" y="1439913"/>
                </a:cubicBezTo>
                <a:cubicBezTo>
                  <a:pt x="11817517" y="1449407"/>
                  <a:pt x="11798450" y="1445609"/>
                  <a:pt x="11788917" y="1428524"/>
                </a:cubicBezTo>
                <a:cubicBezTo>
                  <a:pt x="11779383" y="1413338"/>
                  <a:pt x="11783196" y="1392456"/>
                  <a:pt x="11798450" y="1382965"/>
                </a:cubicBezTo>
                <a:lnTo>
                  <a:pt x="12135937" y="1179842"/>
                </a:lnTo>
                <a:cubicBezTo>
                  <a:pt x="12137843" y="1179842"/>
                  <a:pt x="12137843" y="1177944"/>
                  <a:pt x="12139750" y="1177944"/>
                </a:cubicBezTo>
                <a:close/>
                <a:moveTo>
                  <a:pt x="7594338" y="1175955"/>
                </a:moveTo>
                <a:cubicBezTo>
                  <a:pt x="7602441" y="1178093"/>
                  <a:pt x="7609590" y="1183320"/>
                  <a:pt x="7614356" y="1190924"/>
                </a:cubicBezTo>
                <a:cubicBezTo>
                  <a:pt x="7618169" y="1196625"/>
                  <a:pt x="7620076" y="1202328"/>
                  <a:pt x="7620076" y="1208030"/>
                </a:cubicBezTo>
                <a:cubicBezTo>
                  <a:pt x="7620076" y="1219433"/>
                  <a:pt x="7614356" y="1230835"/>
                  <a:pt x="7604824" y="1236536"/>
                </a:cubicBezTo>
                <a:cubicBezTo>
                  <a:pt x="7604824" y="1236536"/>
                  <a:pt x="7604824" y="1236536"/>
                  <a:pt x="7267372" y="1439910"/>
                </a:cubicBezTo>
                <a:cubicBezTo>
                  <a:pt x="7252119" y="1449414"/>
                  <a:pt x="7231148" y="1445612"/>
                  <a:pt x="7221615" y="1428505"/>
                </a:cubicBezTo>
                <a:cubicBezTo>
                  <a:pt x="7212083" y="1413303"/>
                  <a:pt x="7217802" y="1392394"/>
                  <a:pt x="7233054" y="1382889"/>
                </a:cubicBezTo>
                <a:cubicBezTo>
                  <a:pt x="7233054" y="1382889"/>
                  <a:pt x="7233054" y="1382889"/>
                  <a:pt x="7568600" y="1179519"/>
                </a:cubicBezTo>
                <a:cubicBezTo>
                  <a:pt x="7577179" y="1174767"/>
                  <a:pt x="7586235" y="1173817"/>
                  <a:pt x="7594338" y="1175955"/>
                </a:cubicBezTo>
                <a:close/>
                <a:moveTo>
                  <a:pt x="7043844" y="1168289"/>
                </a:moveTo>
                <a:cubicBezTo>
                  <a:pt x="7052668" y="1170680"/>
                  <a:pt x="7060300" y="1176415"/>
                  <a:pt x="7065070" y="1185018"/>
                </a:cubicBezTo>
                <a:cubicBezTo>
                  <a:pt x="7068886" y="1190754"/>
                  <a:pt x="7070794" y="1196488"/>
                  <a:pt x="7070794" y="1204137"/>
                </a:cubicBezTo>
                <a:cubicBezTo>
                  <a:pt x="7070794" y="1215606"/>
                  <a:pt x="7063162" y="1228986"/>
                  <a:pt x="7051714" y="1234720"/>
                </a:cubicBezTo>
                <a:cubicBezTo>
                  <a:pt x="7051714" y="1234720"/>
                  <a:pt x="7051714" y="1234720"/>
                  <a:pt x="6714009" y="1423981"/>
                </a:cubicBezTo>
                <a:cubicBezTo>
                  <a:pt x="6696837" y="1433539"/>
                  <a:pt x="6673942" y="1427803"/>
                  <a:pt x="6664402" y="1410601"/>
                </a:cubicBezTo>
                <a:cubicBezTo>
                  <a:pt x="6654863" y="1391481"/>
                  <a:pt x="6660587" y="1370454"/>
                  <a:pt x="6677758" y="1360894"/>
                </a:cubicBezTo>
                <a:cubicBezTo>
                  <a:pt x="6677758" y="1360894"/>
                  <a:pt x="6677758" y="1360894"/>
                  <a:pt x="7015463" y="1171635"/>
                </a:cubicBezTo>
                <a:cubicBezTo>
                  <a:pt x="7025003" y="1166856"/>
                  <a:pt x="7035020" y="1165900"/>
                  <a:pt x="7043844" y="1168289"/>
                </a:cubicBezTo>
                <a:close/>
                <a:moveTo>
                  <a:pt x="6500891" y="1161548"/>
                </a:moveTo>
                <a:cubicBezTo>
                  <a:pt x="6510676" y="1164656"/>
                  <a:pt x="6519268" y="1171347"/>
                  <a:pt x="6524041" y="1180908"/>
                </a:cubicBezTo>
                <a:cubicBezTo>
                  <a:pt x="6525950" y="1186644"/>
                  <a:pt x="6527860" y="1192379"/>
                  <a:pt x="6527860" y="1198115"/>
                </a:cubicBezTo>
                <a:cubicBezTo>
                  <a:pt x="6527860" y="1213412"/>
                  <a:pt x="6520223" y="1226794"/>
                  <a:pt x="6506857" y="1234440"/>
                </a:cubicBezTo>
                <a:cubicBezTo>
                  <a:pt x="6506857" y="1234440"/>
                  <a:pt x="6506857" y="1234440"/>
                  <a:pt x="6166999" y="1406519"/>
                </a:cubicBezTo>
                <a:cubicBezTo>
                  <a:pt x="6147906" y="1416079"/>
                  <a:pt x="6123085" y="1408432"/>
                  <a:pt x="6113538" y="1389310"/>
                </a:cubicBezTo>
                <a:cubicBezTo>
                  <a:pt x="6103992" y="1370191"/>
                  <a:pt x="6111629" y="1345334"/>
                  <a:pt x="6130722" y="1335774"/>
                </a:cubicBezTo>
                <a:cubicBezTo>
                  <a:pt x="6130722" y="1335774"/>
                  <a:pt x="6130722" y="1335774"/>
                  <a:pt x="6470580" y="1163700"/>
                </a:cubicBezTo>
                <a:cubicBezTo>
                  <a:pt x="6480127" y="1158919"/>
                  <a:pt x="6491105" y="1158442"/>
                  <a:pt x="6500891" y="1161548"/>
                </a:cubicBezTo>
                <a:close/>
                <a:moveTo>
                  <a:pt x="5957726" y="1155628"/>
                </a:moveTo>
                <a:cubicBezTo>
                  <a:pt x="5967957" y="1159191"/>
                  <a:pt x="5977000" y="1166792"/>
                  <a:pt x="5982710" y="1178193"/>
                </a:cubicBezTo>
                <a:cubicBezTo>
                  <a:pt x="5984614" y="1183894"/>
                  <a:pt x="5986517" y="1189596"/>
                  <a:pt x="5986517" y="1195296"/>
                </a:cubicBezTo>
                <a:cubicBezTo>
                  <a:pt x="5986517" y="1210498"/>
                  <a:pt x="5977000" y="1225697"/>
                  <a:pt x="5961771" y="1233296"/>
                </a:cubicBezTo>
                <a:cubicBezTo>
                  <a:pt x="5961771" y="1233296"/>
                  <a:pt x="5961771" y="1233296"/>
                  <a:pt x="5622934" y="1389114"/>
                </a:cubicBezTo>
                <a:cubicBezTo>
                  <a:pt x="5600091" y="1398614"/>
                  <a:pt x="5575344" y="1389114"/>
                  <a:pt x="5565827" y="1368212"/>
                </a:cubicBezTo>
                <a:cubicBezTo>
                  <a:pt x="5556309" y="1347309"/>
                  <a:pt x="5565827" y="1322605"/>
                  <a:pt x="5586766" y="1313104"/>
                </a:cubicBezTo>
                <a:cubicBezTo>
                  <a:pt x="5586766" y="1313104"/>
                  <a:pt x="5586766" y="1313104"/>
                  <a:pt x="5925602" y="1157291"/>
                </a:cubicBezTo>
                <a:cubicBezTo>
                  <a:pt x="5936072" y="1152540"/>
                  <a:pt x="5947494" y="1152065"/>
                  <a:pt x="5957726" y="1155628"/>
                </a:cubicBezTo>
                <a:close/>
                <a:moveTo>
                  <a:pt x="398307" y="1155617"/>
                </a:moveTo>
                <a:cubicBezTo>
                  <a:pt x="408309" y="1159180"/>
                  <a:pt x="416881" y="1166781"/>
                  <a:pt x="421644" y="1178183"/>
                </a:cubicBezTo>
                <a:cubicBezTo>
                  <a:pt x="425454" y="1183883"/>
                  <a:pt x="425454" y="1189583"/>
                  <a:pt x="425454" y="1195284"/>
                </a:cubicBezTo>
                <a:cubicBezTo>
                  <a:pt x="425454" y="1210486"/>
                  <a:pt x="417834" y="1225685"/>
                  <a:pt x="402594" y="1233286"/>
                </a:cubicBezTo>
                <a:cubicBezTo>
                  <a:pt x="402594" y="1233286"/>
                  <a:pt x="402594" y="1233286"/>
                  <a:pt x="61595" y="1389103"/>
                </a:cubicBezTo>
                <a:cubicBezTo>
                  <a:pt x="40639" y="1398604"/>
                  <a:pt x="15874" y="1389103"/>
                  <a:pt x="6349" y="1368201"/>
                </a:cubicBezTo>
                <a:cubicBezTo>
                  <a:pt x="-3176" y="1347297"/>
                  <a:pt x="6349" y="1322596"/>
                  <a:pt x="27304" y="1313094"/>
                </a:cubicBezTo>
                <a:cubicBezTo>
                  <a:pt x="27304" y="1313094"/>
                  <a:pt x="27304" y="1313094"/>
                  <a:pt x="366398" y="1157280"/>
                </a:cubicBezTo>
                <a:cubicBezTo>
                  <a:pt x="376876" y="1152529"/>
                  <a:pt x="388306" y="1152054"/>
                  <a:pt x="398307" y="1155617"/>
                </a:cubicBezTo>
                <a:close/>
                <a:moveTo>
                  <a:pt x="5393468" y="1144402"/>
                </a:moveTo>
                <a:cubicBezTo>
                  <a:pt x="5411072" y="1144669"/>
                  <a:pt x="5427873" y="1155342"/>
                  <a:pt x="5435021" y="1172421"/>
                </a:cubicBezTo>
                <a:cubicBezTo>
                  <a:pt x="5436928" y="1178114"/>
                  <a:pt x="5438834" y="1183808"/>
                  <a:pt x="5438834" y="1189500"/>
                </a:cubicBezTo>
                <a:cubicBezTo>
                  <a:pt x="5438834" y="1208476"/>
                  <a:pt x="5427395" y="1225552"/>
                  <a:pt x="5410239" y="1231244"/>
                </a:cubicBezTo>
                <a:cubicBezTo>
                  <a:pt x="5410239" y="1231244"/>
                  <a:pt x="5410239" y="1231244"/>
                  <a:pt x="5070896" y="1371665"/>
                </a:cubicBezTo>
                <a:cubicBezTo>
                  <a:pt x="5046115" y="1381152"/>
                  <a:pt x="5021334" y="1369767"/>
                  <a:pt x="5011805" y="1346995"/>
                </a:cubicBezTo>
                <a:cubicBezTo>
                  <a:pt x="5002274" y="1324224"/>
                  <a:pt x="5011805" y="1297657"/>
                  <a:pt x="5036585" y="1288169"/>
                </a:cubicBezTo>
                <a:cubicBezTo>
                  <a:pt x="5036585" y="1288169"/>
                  <a:pt x="5036585" y="1288169"/>
                  <a:pt x="5375924" y="1147752"/>
                </a:cubicBezTo>
                <a:cubicBezTo>
                  <a:pt x="5381644" y="1145381"/>
                  <a:pt x="5387601" y="1144313"/>
                  <a:pt x="5393468" y="1144402"/>
                </a:cubicBezTo>
                <a:close/>
                <a:moveTo>
                  <a:pt x="929385" y="1144389"/>
                </a:moveTo>
                <a:cubicBezTo>
                  <a:pt x="946453" y="1144656"/>
                  <a:pt x="962181" y="1155330"/>
                  <a:pt x="969330" y="1172407"/>
                </a:cubicBezTo>
                <a:cubicBezTo>
                  <a:pt x="973143" y="1178101"/>
                  <a:pt x="973143" y="1183794"/>
                  <a:pt x="973143" y="1189486"/>
                </a:cubicBezTo>
                <a:cubicBezTo>
                  <a:pt x="973143" y="1208461"/>
                  <a:pt x="963611" y="1225538"/>
                  <a:pt x="946453" y="1231231"/>
                </a:cubicBezTo>
                <a:cubicBezTo>
                  <a:pt x="946453" y="1231231"/>
                  <a:pt x="946453" y="1231231"/>
                  <a:pt x="605206" y="1371652"/>
                </a:cubicBezTo>
                <a:cubicBezTo>
                  <a:pt x="582329" y="1381140"/>
                  <a:pt x="555640" y="1369755"/>
                  <a:pt x="546107" y="1346983"/>
                </a:cubicBezTo>
                <a:cubicBezTo>
                  <a:pt x="536576" y="1324212"/>
                  <a:pt x="548014" y="1297646"/>
                  <a:pt x="570891" y="1288158"/>
                </a:cubicBezTo>
                <a:cubicBezTo>
                  <a:pt x="570891" y="1288158"/>
                  <a:pt x="570891" y="1288158"/>
                  <a:pt x="912138" y="1147739"/>
                </a:cubicBezTo>
                <a:cubicBezTo>
                  <a:pt x="917857" y="1145367"/>
                  <a:pt x="923695" y="1144300"/>
                  <a:pt x="929385" y="1144389"/>
                </a:cubicBezTo>
                <a:close/>
                <a:moveTo>
                  <a:pt x="4842182" y="1136797"/>
                </a:moveTo>
                <a:cubicBezTo>
                  <a:pt x="4860986" y="1137688"/>
                  <a:pt x="4878457" y="1149800"/>
                  <a:pt x="4884159" y="1168322"/>
                </a:cubicBezTo>
                <a:cubicBezTo>
                  <a:pt x="4886060" y="1174022"/>
                  <a:pt x="4887960" y="1179722"/>
                  <a:pt x="4887960" y="1185422"/>
                </a:cubicBezTo>
                <a:cubicBezTo>
                  <a:pt x="4887960" y="1204420"/>
                  <a:pt x="4876553" y="1223416"/>
                  <a:pt x="4855640" y="1231014"/>
                </a:cubicBezTo>
                <a:cubicBezTo>
                  <a:pt x="4855640" y="1231014"/>
                  <a:pt x="4855640" y="1231014"/>
                  <a:pt x="4515378" y="1354501"/>
                </a:cubicBezTo>
                <a:cubicBezTo>
                  <a:pt x="4490667" y="1362102"/>
                  <a:pt x="4462152" y="1350702"/>
                  <a:pt x="4454548" y="1326004"/>
                </a:cubicBezTo>
                <a:cubicBezTo>
                  <a:pt x="4445043" y="1301305"/>
                  <a:pt x="4458350" y="1272808"/>
                  <a:pt x="4483064" y="1263308"/>
                </a:cubicBezTo>
                <a:cubicBezTo>
                  <a:pt x="4483064" y="1263308"/>
                  <a:pt x="4483064" y="1263308"/>
                  <a:pt x="4823320" y="1139825"/>
                </a:cubicBezTo>
                <a:cubicBezTo>
                  <a:pt x="4829497" y="1137451"/>
                  <a:pt x="4835916" y="1136501"/>
                  <a:pt x="4842182" y="1136797"/>
                </a:cubicBezTo>
                <a:close/>
                <a:moveTo>
                  <a:pt x="1478252" y="1136782"/>
                </a:moveTo>
                <a:cubicBezTo>
                  <a:pt x="1496621" y="1137673"/>
                  <a:pt x="1513385" y="1149784"/>
                  <a:pt x="1520519" y="1168307"/>
                </a:cubicBezTo>
                <a:cubicBezTo>
                  <a:pt x="1522421" y="1174007"/>
                  <a:pt x="1522421" y="1179706"/>
                  <a:pt x="1522421" y="1185406"/>
                </a:cubicBezTo>
                <a:cubicBezTo>
                  <a:pt x="1522421" y="1204404"/>
                  <a:pt x="1511007" y="1223401"/>
                  <a:pt x="1491984" y="1231000"/>
                </a:cubicBezTo>
                <a:cubicBezTo>
                  <a:pt x="1491984" y="1231000"/>
                  <a:pt x="1491984" y="1231000"/>
                  <a:pt x="1151475" y="1354486"/>
                </a:cubicBezTo>
                <a:cubicBezTo>
                  <a:pt x="1124843" y="1362086"/>
                  <a:pt x="1098211" y="1350686"/>
                  <a:pt x="1088700" y="1325989"/>
                </a:cubicBezTo>
                <a:cubicBezTo>
                  <a:pt x="1081091" y="1301291"/>
                  <a:pt x="1092504" y="1272795"/>
                  <a:pt x="1117234" y="1263296"/>
                </a:cubicBezTo>
                <a:cubicBezTo>
                  <a:pt x="1117234" y="1263296"/>
                  <a:pt x="1117234" y="1263296"/>
                  <a:pt x="1459646" y="1139810"/>
                </a:cubicBezTo>
                <a:cubicBezTo>
                  <a:pt x="1465828" y="1137436"/>
                  <a:pt x="1472129" y="1136485"/>
                  <a:pt x="1478252" y="1136782"/>
                </a:cubicBezTo>
                <a:close/>
                <a:moveTo>
                  <a:pt x="4287306" y="1129713"/>
                </a:moveTo>
                <a:cubicBezTo>
                  <a:pt x="4306925" y="1131585"/>
                  <a:pt x="4324402" y="1144425"/>
                  <a:pt x="4330110" y="1165826"/>
                </a:cubicBezTo>
                <a:cubicBezTo>
                  <a:pt x="4332013" y="1169631"/>
                  <a:pt x="4333916" y="1175338"/>
                  <a:pt x="4333916" y="1181045"/>
                </a:cubicBezTo>
                <a:cubicBezTo>
                  <a:pt x="4333916" y="1201970"/>
                  <a:pt x="4318695" y="1222894"/>
                  <a:pt x="4297769" y="1228599"/>
                </a:cubicBezTo>
                <a:cubicBezTo>
                  <a:pt x="4297769" y="1228599"/>
                  <a:pt x="4297769" y="1228599"/>
                  <a:pt x="3955366" y="1337029"/>
                </a:cubicBezTo>
                <a:cubicBezTo>
                  <a:pt x="3928733" y="1344638"/>
                  <a:pt x="3900198" y="1329419"/>
                  <a:pt x="3890685" y="1302787"/>
                </a:cubicBezTo>
                <a:cubicBezTo>
                  <a:pt x="3883076" y="1276155"/>
                  <a:pt x="3898296" y="1247620"/>
                  <a:pt x="3924928" y="1240012"/>
                </a:cubicBezTo>
                <a:cubicBezTo>
                  <a:pt x="3924928" y="1240012"/>
                  <a:pt x="3924928" y="1240012"/>
                  <a:pt x="4267331" y="1131585"/>
                </a:cubicBezTo>
                <a:cubicBezTo>
                  <a:pt x="4273989" y="1129683"/>
                  <a:pt x="4280766" y="1129089"/>
                  <a:pt x="4287306" y="1129713"/>
                </a:cubicBezTo>
                <a:close/>
                <a:moveTo>
                  <a:pt x="2033027" y="1129695"/>
                </a:moveTo>
                <a:cubicBezTo>
                  <a:pt x="2052752" y="1131568"/>
                  <a:pt x="2070599" y="1144408"/>
                  <a:pt x="2077738" y="1165808"/>
                </a:cubicBezTo>
                <a:cubicBezTo>
                  <a:pt x="2079641" y="1169613"/>
                  <a:pt x="2079641" y="1175320"/>
                  <a:pt x="2079641" y="1181027"/>
                </a:cubicBezTo>
                <a:cubicBezTo>
                  <a:pt x="2079641" y="1201952"/>
                  <a:pt x="2066315" y="1222876"/>
                  <a:pt x="2043467" y="1228582"/>
                </a:cubicBezTo>
                <a:cubicBezTo>
                  <a:pt x="2043467" y="1228582"/>
                  <a:pt x="2043467" y="1228582"/>
                  <a:pt x="1702708" y="1337012"/>
                </a:cubicBezTo>
                <a:cubicBezTo>
                  <a:pt x="1674153" y="1344621"/>
                  <a:pt x="1645598" y="1329403"/>
                  <a:pt x="1637983" y="1302771"/>
                </a:cubicBezTo>
                <a:cubicBezTo>
                  <a:pt x="1630368" y="1276139"/>
                  <a:pt x="1643694" y="1247605"/>
                  <a:pt x="1670346" y="1239996"/>
                </a:cubicBezTo>
                <a:cubicBezTo>
                  <a:pt x="1670346" y="1239996"/>
                  <a:pt x="1670346" y="1239996"/>
                  <a:pt x="2013008" y="1131568"/>
                </a:cubicBezTo>
                <a:cubicBezTo>
                  <a:pt x="2019671" y="1129665"/>
                  <a:pt x="2026453" y="1129071"/>
                  <a:pt x="2033027" y="1129695"/>
                </a:cubicBezTo>
                <a:close/>
                <a:moveTo>
                  <a:pt x="3726353" y="1122417"/>
                </a:moveTo>
                <a:cubicBezTo>
                  <a:pt x="3747339" y="1125382"/>
                  <a:pt x="3765914" y="1140474"/>
                  <a:pt x="3771630" y="1162034"/>
                </a:cubicBezTo>
                <a:cubicBezTo>
                  <a:pt x="3773534" y="1165867"/>
                  <a:pt x="3773534" y="1171616"/>
                  <a:pt x="3773534" y="1175449"/>
                </a:cubicBezTo>
                <a:cubicBezTo>
                  <a:pt x="3773534" y="1200364"/>
                  <a:pt x="3758295" y="1221442"/>
                  <a:pt x="3733528" y="1229108"/>
                </a:cubicBezTo>
                <a:cubicBezTo>
                  <a:pt x="3733528" y="1229108"/>
                  <a:pt x="3733528" y="1229108"/>
                  <a:pt x="3390637" y="1321097"/>
                </a:cubicBezTo>
                <a:cubicBezTo>
                  <a:pt x="3362061" y="1328763"/>
                  <a:pt x="3331580" y="1311513"/>
                  <a:pt x="3323960" y="1282766"/>
                </a:cubicBezTo>
                <a:cubicBezTo>
                  <a:pt x="3316339" y="1254020"/>
                  <a:pt x="3333484" y="1223360"/>
                  <a:pt x="3362061" y="1215695"/>
                </a:cubicBezTo>
                <a:cubicBezTo>
                  <a:pt x="3362061" y="1215695"/>
                  <a:pt x="3362061" y="1215695"/>
                  <a:pt x="3704951" y="1123705"/>
                </a:cubicBezTo>
                <a:cubicBezTo>
                  <a:pt x="3712096" y="1121789"/>
                  <a:pt x="3719358" y="1121429"/>
                  <a:pt x="3726353" y="1122417"/>
                </a:cubicBezTo>
                <a:close/>
                <a:moveTo>
                  <a:pt x="2592851" y="1122397"/>
                </a:moveTo>
                <a:cubicBezTo>
                  <a:pt x="2613837" y="1125361"/>
                  <a:pt x="2632410" y="1140454"/>
                  <a:pt x="2638126" y="1162013"/>
                </a:cubicBezTo>
                <a:cubicBezTo>
                  <a:pt x="2640030" y="1165846"/>
                  <a:pt x="2640030" y="1171596"/>
                  <a:pt x="2640030" y="1175429"/>
                </a:cubicBezTo>
                <a:cubicBezTo>
                  <a:pt x="2640030" y="1200343"/>
                  <a:pt x="2622885" y="1221423"/>
                  <a:pt x="2600026" y="1229089"/>
                </a:cubicBezTo>
                <a:cubicBezTo>
                  <a:pt x="2600026" y="1229089"/>
                  <a:pt x="2600026" y="1229089"/>
                  <a:pt x="2257121" y="1321078"/>
                </a:cubicBezTo>
                <a:cubicBezTo>
                  <a:pt x="2226641" y="1328744"/>
                  <a:pt x="2198066" y="1311496"/>
                  <a:pt x="2190445" y="1282749"/>
                </a:cubicBezTo>
                <a:cubicBezTo>
                  <a:pt x="2182826" y="1254002"/>
                  <a:pt x="2199971" y="1223340"/>
                  <a:pt x="2228546" y="1215674"/>
                </a:cubicBezTo>
                <a:cubicBezTo>
                  <a:pt x="2228546" y="1215674"/>
                  <a:pt x="2228546" y="1215674"/>
                  <a:pt x="2571449" y="1123685"/>
                </a:cubicBezTo>
                <a:cubicBezTo>
                  <a:pt x="2578593" y="1121768"/>
                  <a:pt x="2585856" y="1121409"/>
                  <a:pt x="2592851" y="1122397"/>
                </a:cubicBezTo>
                <a:close/>
                <a:moveTo>
                  <a:pt x="3157611" y="1116357"/>
                </a:moveTo>
                <a:cubicBezTo>
                  <a:pt x="3179267" y="1119929"/>
                  <a:pt x="3197446" y="1136359"/>
                  <a:pt x="3201722" y="1159220"/>
                </a:cubicBezTo>
                <a:cubicBezTo>
                  <a:pt x="3203624" y="1163029"/>
                  <a:pt x="3203624" y="1168744"/>
                  <a:pt x="3203624" y="1172555"/>
                </a:cubicBezTo>
                <a:cubicBezTo>
                  <a:pt x="3203624" y="1197321"/>
                  <a:pt x="3186515" y="1222083"/>
                  <a:pt x="3159900" y="1227799"/>
                </a:cubicBezTo>
                <a:cubicBezTo>
                  <a:pt x="3159900" y="1227799"/>
                  <a:pt x="3159900" y="1227799"/>
                  <a:pt x="2815797" y="1303997"/>
                </a:cubicBezTo>
                <a:cubicBezTo>
                  <a:pt x="2785375" y="1309712"/>
                  <a:pt x="2754960" y="1290662"/>
                  <a:pt x="2747356" y="1260182"/>
                </a:cubicBezTo>
                <a:cubicBezTo>
                  <a:pt x="2741654" y="1229703"/>
                  <a:pt x="2760664" y="1199225"/>
                  <a:pt x="2791085" y="1191605"/>
                </a:cubicBezTo>
                <a:cubicBezTo>
                  <a:pt x="2791085" y="1191605"/>
                  <a:pt x="2791085" y="1191605"/>
                  <a:pt x="3135184" y="1117309"/>
                </a:cubicBezTo>
                <a:cubicBezTo>
                  <a:pt x="3142789" y="1115404"/>
                  <a:pt x="3150393" y="1115166"/>
                  <a:pt x="3157611" y="1116357"/>
                </a:cubicBezTo>
                <a:close/>
                <a:moveTo>
                  <a:pt x="9862398" y="887331"/>
                </a:moveTo>
                <a:cubicBezTo>
                  <a:pt x="9868604" y="888044"/>
                  <a:pt x="9874333" y="890896"/>
                  <a:pt x="9878153" y="895649"/>
                </a:cubicBezTo>
                <a:cubicBezTo>
                  <a:pt x="9881972" y="901352"/>
                  <a:pt x="9883882" y="905154"/>
                  <a:pt x="9883882" y="910857"/>
                </a:cubicBezTo>
                <a:cubicBezTo>
                  <a:pt x="9883882" y="918462"/>
                  <a:pt x="9880062" y="926066"/>
                  <a:pt x="9874333" y="929868"/>
                </a:cubicBezTo>
                <a:cubicBezTo>
                  <a:pt x="9874333" y="929868"/>
                  <a:pt x="9874333" y="929868"/>
                  <a:pt x="9540128" y="1184614"/>
                </a:cubicBezTo>
                <a:cubicBezTo>
                  <a:pt x="9530580" y="1192218"/>
                  <a:pt x="9515302" y="1190317"/>
                  <a:pt x="9505753" y="1178911"/>
                </a:cubicBezTo>
                <a:cubicBezTo>
                  <a:pt x="9498114" y="1167504"/>
                  <a:pt x="9500024" y="1152295"/>
                  <a:pt x="9511482" y="1144691"/>
                </a:cubicBezTo>
                <a:cubicBezTo>
                  <a:pt x="9511482" y="1144691"/>
                  <a:pt x="9511482" y="1144691"/>
                  <a:pt x="9843777" y="891846"/>
                </a:cubicBezTo>
                <a:cubicBezTo>
                  <a:pt x="9849507" y="888044"/>
                  <a:pt x="9856191" y="886618"/>
                  <a:pt x="9862398" y="887331"/>
                </a:cubicBezTo>
                <a:close/>
                <a:moveTo>
                  <a:pt x="9285227" y="879270"/>
                </a:moveTo>
                <a:cubicBezTo>
                  <a:pt x="9291895" y="880464"/>
                  <a:pt x="9298086" y="884282"/>
                  <a:pt x="9301896" y="890009"/>
                </a:cubicBezTo>
                <a:cubicBezTo>
                  <a:pt x="9305706" y="893827"/>
                  <a:pt x="9307611" y="899554"/>
                  <a:pt x="9307611" y="905281"/>
                </a:cubicBezTo>
                <a:cubicBezTo>
                  <a:pt x="9307611" y="914826"/>
                  <a:pt x="9303801" y="922462"/>
                  <a:pt x="9296181" y="928189"/>
                </a:cubicBezTo>
                <a:cubicBezTo>
                  <a:pt x="9296181" y="928189"/>
                  <a:pt x="9296181" y="928189"/>
                  <a:pt x="8962802" y="1168731"/>
                </a:cubicBezTo>
                <a:cubicBezTo>
                  <a:pt x="8951371" y="1176367"/>
                  <a:pt x="8934226" y="1174459"/>
                  <a:pt x="8924701" y="1161095"/>
                </a:cubicBezTo>
                <a:cubicBezTo>
                  <a:pt x="8917081" y="1149641"/>
                  <a:pt x="8918986" y="1132459"/>
                  <a:pt x="8930416" y="1124823"/>
                </a:cubicBezTo>
                <a:cubicBezTo>
                  <a:pt x="8930416" y="1124823"/>
                  <a:pt x="8930416" y="1124823"/>
                  <a:pt x="9265700" y="884282"/>
                </a:cubicBezTo>
                <a:cubicBezTo>
                  <a:pt x="9271415" y="879509"/>
                  <a:pt x="9278560" y="878077"/>
                  <a:pt x="9285227" y="879270"/>
                </a:cubicBezTo>
                <a:close/>
                <a:moveTo>
                  <a:pt x="10445943" y="879249"/>
                </a:moveTo>
                <a:cubicBezTo>
                  <a:pt x="10452849" y="880442"/>
                  <a:pt x="10459517" y="884260"/>
                  <a:pt x="10464279" y="889987"/>
                </a:cubicBezTo>
                <a:cubicBezTo>
                  <a:pt x="10468089" y="893805"/>
                  <a:pt x="10468089" y="899532"/>
                  <a:pt x="10468089" y="905259"/>
                </a:cubicBezTo>
                <a:cubicBezTo>
                  <a:pt x="10468089" y="914805"/>
                  <a:pt x="10464279" y="922441"/>
                  <a:pt x="10458564" y="928168"/>
                </a:cubicBezTo>
                <a:cubicBezTo>
                  <a:pt x="10458564" y="928168"/>
                  <a:pt x="10458564" y="928168"/>
                  <a:pt x="10123280" y="1168705"/>
                </a:cubicBezTo>
                <a:cubicBezTo>
                  <a:pt x="10111849" y="1176341"/>
                  <a:pt x="10094704" y="1174432"/>
                  <a:pt x="10087084" y="1161069"/>
                </a:cubicBezTo>
                <a:cubicBezTo>
                  <a:pt x="10077559" y="1149615"/>
                  <a:pt x="10079464" y="1132433"/>
                  <a:pt x="10092799" y="1124797"/>
                </a:cubicBezTo>
                <a:cubicBezTo>
                  <a:pt x="10092799" y="1124797"/>
                  <a:pt x="10092799" y="1124797"/>
                  <a:pt x="10426178" y="884260"/>
                </a:cubicBezTo>
                <a:cubicBezTo>
                  <a:pt x="10431894" y="879488"/>
                  <a:pt x="10439038" y="878056"/>
                  <a:pt x="10445943" y="879249"/>
                </a:cubicBezTo>
                <a:close/>
                <a:moveTo>
                  <a:pt x="8716319" y="870617"/>
                </a:moveTo>
                <a:cubicBezTo>
                  <a:pt x="8723707" y="872049"/>
                  <a:pt x="8730380" y="876344"/>
                  <a:pt x="8735146" y="883981"/>
                </a:cubicBezTo>
                <a:cubicBezTo>
                  <a:pt x="8738959" y="887799"/>
                  <a:pt x="8740866" y="893527"/>
                  <a:pt x="8740866" y="899254"/>
                </a:cubicBezTo>
                <a:cubicBezTo>
                  <a:pt x="8740866" y="908800"/>
                  <a:pt x="8735146" y="918345"/>
                  <a:pt x="8727520" y="924073"/>
                </a:cubicBezTo>
                <a:cubicBezTo>
                  <a:pt x="8727520" y="924073"/>
                  <a:pt x="8727520" y="924073"/>
                  <a:pt x="8391968" y="1151267"/>
                </a:cubicBezTo>
                <a:cubicBezTo>
                  <a:pt x="8378622" y="1158904"/>
                  <a:pt x="8359557" y="1156995"/>
                  <a:pt x="8351931" y="1141721"/>
                </a:cubicBezTo>
                <a:cubicBezTo>
                  <a:pt x="8342398" y="1128357"/>
                  <a:pt x="8346211" y="1111175"/>
                  <a:pt x="8359557" y="1101629"/>
                </a:cubicBezTo>
                <a:cubicBezTo>
                  <a:pt x="8359557" y="1101629"/>
                  <a:pt x="8359557" y="1101629"/>
                  <a:pt x="8693202" y="874435"/>
                </a:cubicBezTo>
                <a:cubicBezTo>
                  <a:pt x="8700828" y="870617"/>
                  <a:pt x="8708931" y="869185"/>
                  <a:pt x="8716319" y="870617"/>
                </a:cubicBezTo>
                <a:close/>
                <a:moveTo>
                  <a:pt x="11024254" y="870594"/>
                </a:moveTo>
                <a:cubicBezTo>
                  <a:pt x="11031856" y="872025"/>
                  <a:pt x="11038983" y="876321"/>
                  <a:pt x="11043734" y="883958"/>
                </a:cubicBezTo>
                <a:cubicBezTo>
                  <a:pt x="11047535" y="887776"/>
                  <a:pt x="11047535" y="893503"/>
                  <a:pt x="11047535" y="899231"/>
                </a:cubicBezTo>
                <a:cubicBezTo>
                  <a:pt x="11047535" y="908777"/>
                  <a:pt x="11043734" y="918322"/>
                  <a:pt x="11036132" y="924050"/>
                </a:cubicBezTo>
                <a:cubicBezTo>
                  <a:pt x="11036132" y="924050"/>
                  <a:pt x="11036132" y="924050"/>
                  <a:pt x="10701654" y="1151239"/>
                </a:cubicBezTo>
                <a:cubicBezTo>
                  <a:pt x="10688350" y="1158875"/>
                  <a:pt x="10669346" y="1156966"/>
                  <a:pt x="10659844" y="1141693"/>
                </a:cubicBezTo>
                <a:cubicBezTo>
                  <a:pt x="10652242" y="1128329"/>
                  <a:pt x="10654142" y="1111146"/>
                  <a:pt x="10669346" y="1101601"/>
                </a:cubicBezTo>
                <a:cubicBezTo>
                  <a:pt x="10669346" y="1101601"/>
                  <a:pt x="10669346" y="1101601"/>
                  <a:pt x="11001924" y="874412"/>
                </a:cubicBezTo>
                <a:cubicBezTo>
                  <a:pt x="11008575" y="870594"/>
                  <a:pt x="11016652" y="869162"/>
                  <a:pt x="11024254" y="870594"/>
                </a:cubicBezTo>
                <a:close/>
                <a:moveTo>
                  <a:pt x="8152171" y="862274"/>
                </a:moveTo>
                <a:cubicBezTo>
                  <a:pt x="8160017" y="863941"/>
                  <a:pt x="8167150" y="868703"/>
                  <a:pt x="8171905" y="876324"/>
                </a:cubicBezTo>
                <a:cubicBezTo>
                  <a:pt x="8175709" y="882038"/>
                  <a:pt x="8175709" y="887753"/>
                  <a:pt x="8175709" y="893468"/>
                </a:cubicBezTo>
                <a:cubicBezTo>
                  <a:pt x="8175709" y="904898"/>
                  <a:pt x="8171905" y="914423"/>
                  <a:pt x="8162395" y="920138"/>
                </a:cubicBezTo>
                <a:cubicBezTo>
                  <a:pt x="8162395" y="920138"/>
                  <a:pt x="8162395" y="920138"/>
                  <a:pt x="7825735" y="1133503"/>
                </a:cubicBezTo>
                <a:cubicBezTo>
                  <a:pt x="7812420" y="1143028"/>
                  <a:pt x="7791498" y="1137314"/>
                  <a:pt x="7781988" y="1123978"/>
                </a:cubicBezTo>
                <a:cubicBezTo>
                  <a:pt x="7772478" y="1108738"/>
                  <a:pt x="7778184" y="1087784"/>
                  <a:pt x="7791498" y="1078258"/>
                </a:cubicBezTo>
                <a:cubicBezTo>
                  <a:pt x="7791498" y="1078258"/>
                  <a:pt x="7791498" y="1078258"/>
                  <a:pt x="8128158" y="866799"/>
                </a:cubicBezTo>
                <a:cubicBezTo>
                  <a:pt x="8135766" y="862036"/>
                  <a:pt x="8144325" y="860607"/>
                  <a:pt x="8152171" y="862274"/>
                </a:cubicBezTo>
                <a:close/>
                <a:moveTo>
                  <a:pt x="11596678" y="862268"/>
                </a:moveTo>
                <a:cubicBezTo>
                  <a:pt x="11604555" y="863935"/>
                  <a:pt x="11611715" y="868698"/>
                  <a:pt x="11616489" y="876317"/>
                </a:cubicBezTo>
                <a:cubicBezTo>
                  <a:pt x="11620308" y="882033"/>
                  <a:pt x="11622218" y="887747"/>
                  <a:pt x="11622218" y="893462"/>
                </a:cubicBezTo>
                <a:cubicBezTo>
                  <a:pt x="11622218" y="904892"/>
                  <a:pt x="11616489" y="914417"/>
                  <a:pt x="11606942" y="920132"/>
                </a:cubicBezTo>
                <a:cubicBezTo>
                  <a:pt x="11606942" y="920132"/>
                  <a:pt x="11606942" y="920132"/>
                  <a:pt x="11270867" y="1133497"/>
                </a:cubicBezTo>
                <a:cubicBezTo>
                  <a:pt x="11255590" y="1143022"/>
                  <a:pt x="11236495" y="1137306"/>
                  <a:pt x="11226948" y="1123971"/>
                </a:cubicBezTo>
                <a:cubicBezTo>
                  <a:pt x="11217400" y="1108732"/>
                  <a:pt x="11221219" y="1087776"/>
                  <a:pt x="11236495" y="1078251"/>
                </a:cubicBezTo>
                <a:cubicBezTo>
                  <a:pt x="11236495" y="1078251"/>
                  <a:pt x="11236495" y="1078251"/>
                  <a:pt x="11572570" y="866793"/>
                </a:cubicBezTo>
                <a:cubicBezTo>
                  <a:pt x="11580209" y="862030"/>
                  <a:pt x="11588801" y="860601"/>
                  <a:pt x="11596678" y="862268"/>
                </a:cubicBezTo>
                <a:close/>
                <a:moveTo>
                  <a:pt x="12139750" y="857266"/>
                </a:moveTo>
                <a:cubicBezTo>
                  <a:pt x="12139750" y="857266"/>
                  <a:pt x="12139750" y="857266"/>
                  <a:pt x="12139750" y="935278"/>
                </a:cubicBezTo>
                <a:cubicBezTo>
                  <a:pt x="12139750" y="935278"/>
                  <a:pt x="12139750" y="935278"/>
                  <a:pt x="11834946" y="1116043"/>
                </a:cubicBezTo>
                <a:cubicBezTo>
                  <a:pt x="11817801" y="1125556"/>
                  <a:pt x="11796845" y="1119848"/>
                  <a:pt x="11787320" y="1104626"/>
                </a:cubicBezTo>
                <a:cubicBezTo>
                  <a:pt x="11777795" y="1087502"/>
                  <a:pt x="11783510" y="1066571"/>
                  <a:pt x="11798750" y="1057058"/>
                </a:cubicBezTo>
                <a:lnTo>
                  <a:pt x="12135940" y="859168"/>
                </a:lnTo>
                <a:cubicBezTo>
                  <a:pt x="12137845" y="857266"/>
                  <a:pt x="12137845" y="857266"/>
                  <a:pt x="12139750" y="857266"/>
                </a:cubicBezTo>
                <a:close/>
                <a:moveTo>
                  <a:pt x="7595013" y="854170"/>
                </a:moveTo>
                <a:cubicBezTo>
                  <a:pt x="7603579" y="856311"/>
                  <a:pt x="7611193" y="862020"/>
                  <a:pt x="7615952" y="870582"/>
                </a:cubicBezTo>
                <a:cubicBezTo>
                  <a:pt x="7619759" y="876291"/>
                  <a:pt x="7621663" y="881999"/>
                  <a:pt x="7621663" y="887708"/>
                </a:cubicBezTo>
                <a:cubicBezTo>
                  <a:pt x="7621663" y="899125"/>
                  <a:pt x="7614049" y="910542"/>
                  <a:pt x="7604531" y="918153"/>
                </a:cubicBezTo>
                <a:cubicBezTo>
                  <a:pt x="7604531" y="918153"/>
                  <a:pt x="7604531" y="918153"/>
                  <a:pt x="7267601" y="1116053"/>
                </a:cubicBezTo>
                <a:cubicBezTo>
                  <a:pt x="7250469" y="1125566"/>
                  <a:pt x="7229530" y="1119858"/>
                  <a:pt x="7220013" y="1104635"/>
                </a:cubicBezTo>
                <a:cubicBezTo>
                  <a:pt x="7210495" y="1087509"/>
                  <a:pt x="7216205" y="1066577"/>
                  <a:pt x="7233337" y="1057064"/>
                </a:cubicBezTo>
                <a:cubicBezTo>
                  <a:pt x="7233337" y="1057064"/>
                  <a:pt x="7233337" y="1057064"/>
                  <a:pt x="7568363" y="859165"/>
                </a:cubicBezTo>
                <a:cubicBezTo>
                  <a:pt x="7576929" y="853457"/>
                  <a:pt x="7586447" y="852030"/>
                  <a:pt x="7595013" y="854170"/>
                </a:cubicBezTo>
                <a:close/>
                <a:moveTo>
                  <a:pt x="7044817" y="846270"/>
                </a:moveTo>
                <a:cubicBezTo>
                  <a:pt x="7054111" y="848902"/>
                  <a:pt x="7062213" y="855122"/>
                  <a:pt x="7066980" y="864693"/>
                </a:cubicBezTo>
                <a:cubicBezTo>
                  <a:pt x="7068886" y="870434"/>
                  <a:pt x="7070793" y="876176"/>
                  <a:pt x="7070793" y="881918"/>
                </a:cubicBezTo>
                <a:cubicBezTo>
                  <a:pt x="7070793" y="895316"/>
                  <a:pt x="7063167" y="908714"/>
                  <a:pt x="7051728" y="914456"/>
                </a:cubicBezTo>
                <a:cubicBezTo>
                  <a:pt x="7051728" y="914456"/>
                  <a:pt x="7051728" y="914456"/>
                  <a:pt x="6714282" y="1100119"/>
                </a:cubicBezTo>
                <a:cubicBezTo>
                  <a:pt x="6697124" y="1109690"/>
                  <a:pt x="6674246" y="1103949"/>
                  <a:pt x="6664714" y="1084808"/>
                </a:cubicBezTo>
                <a:cubicBezTo>
                  <a:pt x="6653275" y="1067582"/>
                  <a:pt x="6660901" y="1044608"/>
                  <a:pt x="6678059" y="1035038"/>
                </a:cubicBezTo>
                <a:cubicBezTo>
                  <a:pt x="6678059" y="1035038"/>
                  <a:pt x="6678059" y="1035038"/>
                  <a:pt x="7015505" y="849380"/>
                </a:cubicBezTo>
                <a:cubicBezTo>
                  <a:pt x="7025037" y="844595"/>
                  <a:pt x="7035523" y="843638"/>
                  <a:pt x="7044817" y="846270"/>
                </a:cubicBezTo>
                <a:close/>
                <a:moveTo>
                  <a:pt x="6485646" y="836909"/>
                </a:moveTo>
                <a:cubicBezTo>
                  <a:pt x="6501129" y="835656"/>
                  <a:pt x="6516881" y="844607"/>
                  <a:pt x="6524041" y="858929"/>
                </a:cubicBezTo>
                <a:cubicBezTo>
                  <a:pt x="6525950" y="864658"/>
                  <a:pt x="6527860" y="870387"/>
                  <a:pt x="6527860" y="876115"/>
                </a:cubicBezTo>
                <a:cubicBezTo>
                  <a:pt x="6527860" y="891392"/>
                  <a:pt x="6520223" y="904759"/>
                  <a:pt x="6506857" y="912398"/>
                </a:cubicBezTo>
                <a:cubicBezTo>
                  <a:pt x="6506857" y="912398"/>
                  <a:pt x="6506857" y="912398"/>
                  <a:pt x="6166999" y="1082357"/>
                </a:cubicBezTo>
                <a:cubicBezTo>
                  <a:pt x="6147906" y="1093815"/>
                  <a:pt x="6123085" y="1084266"/>
                  <a:pt x="6113538" y="1065171"/>
                </a:cubicBezTo>
                <a:cubicBezTo>
                  <a:pt x="6103992" y="1046070"/>
                  <a:pt x="6111629" y="1023154"/>
                  <a:pt x="6130722" y="1011697"/>
                </a:cubicBezTo>
                <a:cubicBezTo>
                  <a:pt x="6130722" y="1011697"/>
                  <a:pt x="6130722" y="1011697"/>
                  <a:pt x="6470580" y="841743"/>
                </a:cubicBezTo>
                <a:cubicBezTo>
                  <a:pt x="6475353" y="838878"/>
                  <a:pt x="6480485" y="837327"/>
                  <a:pt x="6485646" y="836909"/>
                </a:cubicBezTo>
                <a:close/>
                <a:moveTo>
                  <a:pt x="5957785" y="832476"/>
                </a:moveTo>
                <a:cubicBezTo>
                  <a:pt x="5967786" y="836271"/>
                  <a:pt x="5976358" y="843863"/>
                  <a:pt x="5981121" y="854301"/>
                </a:cubicBezTo>
                <a:cubicBezTo>
                  <a:pt x="5984930" y="859994"/>
                  <a:pt x="5984930" y="865688"/>
                  <a:pt x="5984930" y="871381"/>
                </a:cubicBezTo>
                <a:cubicBezTo>
                  <a:pt x="5984930" y="886564"/>
                  <a:pt x="5977311" y="901746"/>
                  <a:pt x="5962070" y="909338"/>
                </a:cubicBezTo>
                <a:cubicBezTo>
                  <a:pt x="5962070" y="909338"/>
                  <a:pt x="5962070" y="909338"/>
                  <a:pt x="5622984" y="1066863"/>
                </a:cubicBezTo>
                <a:cubicBezTo>
                  <a:pt x="5602029" y="1076353"/>
                  <a:pt x="5575359" y="1066863"/>
                  <a:pt x="5565834" y="1045982"/>
                </a:cubicBezTo>
                <a:cubicBezTo>
                  <a:pt x="5556309" y="1025106"/>
                  <a:pt x="5565834" y="1000434"/>
                  <a:pt x="5586789" y="990945"/>
                </a:cubicBezTo>
                <a:cubicBezTo>
                  <a:pt x="5586789" y="990945"/>
                  <a:pt x="5586789" y="990945"/>
                  <a:pt x="5925876" y="833424"/>
                </a:cubicBezTo>
                <a:cubicBezTo>
                  <a:pt x="5936354" y="828680"/>
                  <a:pt x="5947784" y="828680"/>
                  <a:pt x="5957785" y="832476"/>
                </a:cubicBezTo>
                <a:close/>
                <a:moveTo>
                  <a:pt x="398307" y="832466"/>
                </a:moveTo>
                <a:cubicBezTo>
                  <a:pt x="408309" y="836261"/>
                  <a:pt x="416881" y="843853"/>
                  <a:pt x="421644" y="854291"/>
                </a:cubicBezTo>
                <a:cubicBezTo>
                  <a:pt x="425454" y="859984"/>
                  <a:pt x="425454" y="865678"/>
                  <a:pt x="425454" y="871371"/>
                </a:cubicBezTo>
                <a:cubicBezTo>
                  <a:pt x="425454" y="886554"/>
                  <a:pt x="417834" y="901737"/>
                  <a:pt x="400689" y="909328"/>
                </a:cubicBezTo>
                <a:cubicBezTo>
                  <a:pt x="400689" y="909328"/>
                  <a:pt x="400689" y="909328"/>
                  <a:pt x="61595" y="1066852"/>
                </a:cubicBezTo>
                <a:cubicBezTo>
                  <a:pt x="40639" y="1076341"/>
                  <a:pt x="15874" y="1066852"/>
                  <a:pt x="6349" y="1045972"/>
                </a:cubicBezTo>
                <a:cubicBezTo>
                  <a:pt x="-3176" y="1025096"/>
                  <a:pt x="6349" y="1000424"/>
                  <a:pt x="27304" y="990935"/>
                </a:cubicBezTo>
                <a:cubicBezTo>
                  <a:pt x="27304" y="990935"/>
                  <a:pt x="27304" y="990935"/>
                  <a:pt x="366398" y="833414"/>
                </a:cubicBezTo>
                <a:cubicBezTo>
                  <a:pt x="376876" y="828670"/>
                  <a:pt x="388306" y="828670"/>
                  <a:pt x="398307" y="832466"/>
                </a:cubicBezTo>
                <a:close/>
                <a:moveTo>
                  <a:pt x="5410477" y="824774"/>
                </a:moveTo>
                <a:cubicBezTo>
                  <a:pt x="5421200" y="828807"/>
                  <a:pt x="5430255" y="836871"/>
                  <a:pt x="5435021" y="848257"/>
                </a:cubicBezTo>
                <a:cubicBezTo>
                  <a:pt x="5436928" y="853949"/>
                  <a:pt x="5438834" y="859642"/>
                  <a:pt x="5438834" y="865335"/>
                </a:cubicBezTo>
                <a:cubicBezTo>
                  <a:pt x="5438834" y="882413"/>
                  <a:pt x="5427395" y="899491"/>
                  <a:pt x="5410239" y="907081"/>
                </a:cubicBezTo>
                <a:cubicBezTo>
                  <a:pt x="5410239" y="907081"/>
                  <a:pt x="5410239" y="907081"/>
                  <a:pt x="5070896" y="1049397"/>
                </a:cubicBezTo>
                <a:cubicBezTo>
                  <a:pt x="5048022" y="1058891"/>
                  <a:pt x="5021334" y="1047500"/>
                  <a:pt x="5011805" y="1024730"/>
                </a:cubicBezTo>
                <a:cubicBezTo>
                  <a:pt x="5002274" y="1003856"/>
                  <a:pt x="5013710" y="977291"/>
                  <a:pt x="5034679" y="967803"/>
                </a:cubicBezTo>
                <a:cubicBezTo>
                  <a:pt x="5034679" y="967803"/>
                  <a:pt x="5034679" y="967803"/>
                  <a:pt x="5375924" y="825486"/>
                </a:cubicBezTo>
                <a:cubicBezTo>
                  <a:pt x="5387362" y="820742"/>
                  <a:pt x="5399754" y="820742"/>
                  <a:pt x="5410477" y="824774"/>
                </a:cubicBezTo>
                <a:close/>
                <a:moveTo>
                  <a:pt x="944785" y="824762"/>
                </a:moveTo>
                <a:cubicBezTo>
                  <a:pt x="955509" y="828795"/>
                  <a:pt x="964564" y="836859"/>
                  <a:pt x="969330" y="848245"/>
                </a:cubicBezTo>
                <a:cubicBezTo>
                  <a:pt x="971236" y="853937"/>
                  <a:pt x="973143" y="859630"/>
                  <a:pt x="973143" y="865323"/>
                </a:cubicBezTo>
                <a:cubicBezTo>
                  <a:pt x="973143" y="882401"/>
                  <a:pt x="963611" y="899479"/>
                  <a:pt x="946453" y="907069"/>
                </a:cubicBezTo>
                <a:cubicBezTo>
                  <a:pt x="946453" y="907069"/>
                  <a:pt x="946453" y="907069"/>
                  <a:pt x="605206" y="1049386"/>
                </a:cubicBezTo>
                <a:cubicBezTo>
                  <a:pt x="582329" y="1058877"/>
                  <a:pt x="555640" y="1047489"/>
                  <a:pt x="546108" y="1024718"/>
                </a:cubicBezTo>
                <a:cubicBezTo>
                  <a:pt x="536576" y="1003845"/>
                  <a:pt x="548014" y="977279"/>
                  <a:pt x="570891" y="967791"/>
                </a:cubicBezTo>
                <a:cubicBezTo>
                  <a:pt x="570891" y="967791"/>
                  <a:pt x="570891" y="967791"/>
                  <a:pt x="910231" y="825474"/>
                </a:cubicBezTo>
                <a:cubicBezTo>
                  <a:pt x="921670" y="820730"/>
                  <a:pt x="934061" y="820730"/>
                  <a:pt x="944785" y="824762"/>
                </a:cubicBezTo>
                <a:close/>
                <a:moveTo>
                  <a:pt x="4842166" y="812941"/>
                </a:moveTo>
                <a:cubicBezTo>
                  <a:pt x="4860553" y="813746"/>
                  <a:pt x="4877331" y="825549"/>
                  <a:pt x="4884470" y="842717"/>
                </a:cubicBezTo>
                <a:cubicBezTo>
                  <a:pt x="4886374" y="848440"/>
                  <a:pt x="4886374" y="854162"/>
                  <a:pt x="4886374" y="859885"/>
                </a:cubicBezTo>
                <a:cubicBezTo>
                  <a:pt x="4886374" y="878960"/>
                  <a:pt x="4874950" y="898036"/>
                  <a:pt x="4855910" y="903759"/>
                </a:cubicBezTo>
                <a:cubicBezTo>
                  <a:pt x="4855910" y="903759"/>
                  <a:pt x="4855910" y="903759"/>
                  <a:pt x="4515164" y="1033473"/>
                </a:cubicBezTo>
                <a:cubicBezTo>
                  <a:pt x="4492320" y="1043010"/>
                  <a:pt x="4463765" y="1031565"/>
                  <a:pt x="4454246" y="1006767"/>
                </a:cubicBezTo>
                <a:cubicBezTo>
                  <a:pt x="4446631" y="981968"/>
                  <a:pt x="4458054" y="955263"/>
                  <a:pt x="4482801" y="945725"/>
                </a:cubicBezTo>
                <a:cubicBezTo>
                  <a:pt x="4482801" y="945725"/>
                  <a:pt x="4482801" y="945725"/>
                  <a:pt x="4823545" y="816011"/>
                </a:cubicBezTo>
                <a:cubicBezTo>
                  <a:pt x="4829731" y="813626"/>
                  <a:pt x="4836038" y="812673"/>
                  <a:pt x="4842166" y="812941"/>
                </a:cubicBezTo>
                <a:close/>
                <a:moveTo>
                  <a:pt x="1476350" y="812927"/>
                </a:moveTo>
                <a:cubicBezTo>
                  <a:pt x="1494719" y="813732"/>
                  <a:pt x="1511483" y="825535"/>
                  <a:pt x="1518617" y="842703"/>
                </a:cubicBezTo>
                <a:cubicBezTo>
                  <a:pt x="1520519" y="848426"/>
                  <a:pt x="1522421" y="854148"/>
                  <a:pt x="1522421" y="859871"/>
                </a:cubicBezTo>
                <a:cubicBezTo>
                  <a:pt x="1522421" y="878946"/>
                  <a:pt x="1511008" y="898022"/>
                  <a:pt x="1491985" y="903745"/>
                </a:cubicBezTo>
                <a:cubicBezTo>
                  <a:pt x="1491985" y="903745"/>
                  <a:pt x="1491985" y="903745"/>
                  <a:pt x="1151476" y="1033459"/>
                </a:cubicBezTo>
                <a:cubicBezTo>
                  <a:pt x="1126746" y="1042997"/>
                  <a:pt x="1100114" y="1031552"/>
                  <a:pt x="1090602" y="1006753"/>
                </a:cubicBezTo>
                <a:cubicBezTo>
                  <a:pt x="1081091" y="981955"/>
                  <a:pt x="1094407" y="955249"/>
                  <a:pt x="1117234" y="945711"/>
                </a:cubicBezTo>
                <a:cubicBezTo>
                  <a:pt x="1117234" y="945711"/>
                  <a:pt x="1117234" y="945711"/>
                  <a:pt x="1457743" y="815997"/>
                </a:cubicBezTo>
                <a:cubicBezTo>
                  <a:pt x="1463926" y="813613"/>
                  <a:pt x="1470227" y="812659"/>
                  <a:pt x="1476350" y="812927"/>
                </a:cubicBezTo>
                <a:close/>
                <a:moveTo>
                  <a:pt x="4285652" y="804258"/>
                </a:moveTo>
                <a:cubicBezTo>
                  <a:pt x="4305298" y="806047"/>
                  <a:pt x="4322801" y="818566"/>
                  <a:pt x="4328516" y="838596"/>
                </a:cubicBezTo>
                <a:cubicBezTo>
                  <a:pt x="4330421" y="844319"/>
                  <a:pt x="4332327" y="848134"/>
                  <a:pt x="4332327" y="853857"/>
                </a:cubicBezTo>
                <a:cubicBezTo>
                  <a:pt x="4332327" y="874842"/>
                  <a:pt x="4318991" y="893918"/>
                  <a:pt x="4298035" y="901549"/>
                </a:cubicBezTo>
                <a:cubicBezTo>
                  <a:pt x="4298035" y="901549"/>
                  <a:pt x="4298035" y="901549"/>
                  <a:pt x="3957057" y="1017917"/>
                </a:cubicBezTo>
                <a:cubicBezTo>
                  <a:pt x="3930386" y="1025548"/>
                  <a:pt x="3901809" y="1012194"/>
                  <a:pt x="3894189" y="985486"/>
                </a:cubicBezTo>
                <a:cubicBezTo>
                  <a:pt x="3884664" y="960687"/>
                  <a:pt x="3897999" y="932072"/>
                  <a:pt x="3924669" y="922533"/>
                </a:cubicBezTo>
                <a:cubicBezTo>
                  <a:pt x="3924669" y="922533"/>
                  <a:pt x="3924669" y="922533"/>
                  <a:pt x="4265650" y="806166"/>
                </a:cubicBezTo>
                <a:cubicBezTo>
                  <a:pt x="4272317" y="804258"/>
                  <a:pt x="4279103" y="803662"/>
                  <a:pt x="4285652" y="804258"/>
                </a:cubicBezTo>
                <a:close/>
                <a:moveTo>
                  <a:pt x="2032209" y="804242"/>
                </a:moveTo>
                <a:cubicBezTo>
                  <a:pt x="2051146" y="806031"/>
                  <a:pt x="2069005" y="818550"/>
                  <a:pt x="2076148" y="838580"/>
                </a:cubicBezTo>
                <a:cubicBezTo>
                  <a:pt x="2078054" y="844303"/>
                  <a:pt x="2078054" y="848119"/>
                  <a:pt x="2078054" y="853842"/>
                </a:cubicBezTo>
                <a:cubicBezTo>
                  <a:pt x="2078054" y="874826"/>
                  <a:pt x="2064718" y="893903"/>
                  <a:pt x="2043759" y="901533"/>
                </a:cubicBezTo>
                <a:cubicBezTo>
                  <a:pt x="2043759" y="901533"/>
                  <a:pt x="2043759" y="901533"/>
                  <a:pt x="1702759" y="1017901"/>
                </a:cubicBezTo>
                <a:cubicBezTo>
                  <a:pt x="1676089" y="1025532"/>
                  <a:pt x="1649419" y="1012178"/>
                  <a:pt x="1639894" y="985471"/>
                </a:cubicBezTo>
                <a:cubicBezTo>
                  <a:pt x="1630368" y="960671"/>
                  <a:pt x="1645609" y="932056"/>
                  <a:pt x="1670374" y="922518"/>
                </a:cubicBezTo>
                <a:cubicBezTo>
                  <a:pt x="1670374" y="922518"/>
                  <a:pt x="1670374" y="922518"/>
                  <a:pt x="2013278" y="806150"/>
                </a:cubicBezTo>
                <a:cubicBezTo>
                  <a:pt x="2019470" y="804242"/>
                  <a:pt x="2025899" y="803646"/>
                  <a:pt x="2032209" y="804242"/>
                </a:cubicBezTo>
                <a:close/>
                <a:moveTo>
                  <a:pt x="3725236" y="796620"/>
                </a:moveTo>
                <a:cubicBezTo>
                  <a:pt x="3745002" y="798945"/>
                  <a:pt x="3762885" y="812538"/>
                  <a:pt x="3770039" y="832569"/>
                </a:cubicBezTo>
                <a:cubicBezTo>
                  <a:pt x="3770039" y="838293"/>
                  <a:pt x="3771948" y="844016"/>
                  <a:pt x="3771948" y="847831"/>
                </a:cubicBezTo>
                <a:cubicBezTo>
                  <a:pt x="3771948" y="870725"/>
                  <a:pt x="3756687" y="891710"/>
                  <a:pt x="3733791" y="897434"/>
                </a:cubicBezTo>
                <a:cubicBezTo>
                  <a:pt x="3733791" y="897434"/>
                  <a:pt x="3733791" y="897434"/>
                  <a:pt x="3390423" y="1000454"/>
                </a:cubicBezTo>
                <a:cubicBezTo>
                  <a:pt x="3363713" y="1008085"/>
                  <a:pt x="3335097" y="992823"/>
                  <a:pt x="3325558" y="964206"/>
                </a:cubicBezTo>
                <a:cubicBezTo>
                  <a:pt x="3317928" y="937497"/>
                  <a:pt x="3333189" y="908881"/>
                  <a:pt x="3361806" y="899342"/>
                </a:cubicBezTo>
                <a:cubicBezTo>
                  <a:pt x="3361806" y="899342"/>
                  <a:pt x="3361806" y="899342"/>
                  <a:pt x="3705177" y="798229"/>
                </a:cubicBezTo>
                <a:cubicBezTo>
                  <a:pt x="3711854" y="796321"/>
                  <a:pt x="3718648" y="795845"/>
                  <a:pt x="3725236" y="796620"/>
                </a:cubicBezTo>
                <a:close/>
                <a:moveTo>
                  <a:pt x="2591734" y="796602"/>
                </a:moveTo>
                <a:cubicBezTo>
                  <a:pt x="2611497" y="798927"/>
                  <a:pt x="2629381" y="812520"/>
                  <a:pt x="2636535" y="832551"/>
                </a:cubicBezTo>
                <a:cubicBezTo>
                  <a:pt x="2636535" y="838275"/>
                  <a:pt x="2638443" y="843998"/>
                  <a:pt x="2638443" y="847814"/>
                </a:cubicBezTo>
                <a:cubicBezTo>
                  <a:pt x="2638443" y="870707"/>
                  <a:pt x="2623182" y="891693"/>
                  <a:pt x="2600289" y="897416"/>
                </a:cubicBezTo>
                <a:cubicBezTo>
                  <a:pt x="2600289" y="897416"/>
                  <a:pt x="2600289" y="897416"/>
                  <a:pt x="2256905" y="1000437"/>
                </a:cubicBezTo>
                <a:cubicBezTo>
                  <a:pt x="2230197" y="1008068"/>
                  <a:pt x="2201582" y="992806"/>
                  <a:pt x="2192044" y="964189"/>
                </a:cubicBezTo>
                <a:cubicBezTo>
                  <a:pt x="2184413" y="937480"/>
                  <a:pt x="2199674" y="908863"/>
                  <a:pt x="2228290" y="899324"/>
                </a:cubicBezTo>
                <a:cubicBezTo>
                  <a:pt x="2228290" y="899324"/>
                  <a:pt x="2228290" y="899324"/>
                  <a:pt x="2571674" y="798211"/>
                </a:cubicBezTo>
                <a:cubicBezTo>
                  <a:pt x="2578350" y="796304"/>
                  <a:pt x="2585147" y="795827"/>
                  <a:pt x="2591734" y="796602"/>
                </a:cubicBezTo>
                <a:close/>
                <a:moveTo>
                  <a:pt x="3154890" y="787711"/>
                </a:moveTo>
                <a:cubicBezTo>
                  <a:pt x="3175860" y="791193"/>
                  <a:pt x="3194420" y="807266"/>
                  <a:pt x="3200131" y="828698"/>
                </a:cubicBezTo>
                <a:cubicBezTo>
                  <a:pt x="3200131" y="832508"/>
                  <a:pt x="3202035" y="838223"/>
                  <a:pt x="3202035" y="842033"/>
                </a:cubicBezTo>
                <a:cubicBezTo>
                  <a:pt x="3202035" y="866798"/>
                  <a:pt x="3184903" y="887752"/>
                  <a:pt x="3160155" y="895372"/>
                </a:cubicBezTo>
                <a:cubicBezTo>
                  <a:pt x="3160155" y="895372"/>
                  <a:pt x="3160155" y="895372"/>
                  <a:pt x="2817485" y="983002"/>
                </a:cubicBezTo>
                <a:cubicBezTo>
                  <a:pt x="2787025" y="990622"/>
                  <a:pt x="2758469" y="973477"/>
                  <a:pt x="2750856" y="944903"/>
                </a:cubicBezTo>
                <a:cubicBezTo>
                  <a:pt x="2743240" y="914422"/>
                  <a:pt x="2760373" y="885848"/>
                  <a:pt x="2788932" y="878228"/>
                </a:cubicBezTo>
                <a:cubicBezTo>
                  <a:pt x="2788932" y="878228"/>
                  <a:pt x="2788932" y="878228"/>
                  <a:pt x="3133502" y="788693"/>
                </a:cubicBezTo>
                <a:cubicBezTo>
                  <a:pt x="3140640" y="786788"/>
                  <a:pt x="3147899" y="786550"/>
                  <a:pt x="3154890" y="787711"/>
                </a:cubicBezTo>
                <a:close/>
                <a:moveTo>
                  <a:pt x="9863739" y="570068"/>
                </a:moveTo>
                <a:cubicBezTo>
                  <a:pt x="9870401" y="571019"/>
                  <a:pt x="9876588" y="574345"/>
                  <a:pt x="9881347" y="580048"/>
                </a:cubicBezTo>
                <a:cubicBezTo>
                  <a:pt x="9885154" y="585751"/>
                  <a:pt x="9887057" y="591454"/>
                  <a:pt x="9887057" y="597157"/>
                </a:cubicBezTo>
                <a:cubicBezTo>
                  <a:pt x="9887057" y="604761"/>
                  <a:pt x="9883250" y="614265"/>
                  <a:pt x="9875636" y="618067"/>
                </a:cubicBezTo>
                <a:cubicBezTo>
                  <a:pt x="9875636" y="618067"/>
                  <a:pt x="9875636" y="618067"/>
                  <a:pt x="9540623" y="857587"/>
                </a:cubicBezTo>
                <a:cubicBezTo>
                  <a:pt x="9529202" y="865191"/>
                  <a:pt x="9512070" y="863290"/>
                  <a:pt x="9504456" y="849984"/>
                </a:cubicBezTo>
                <a:cubicBezTo>
                  <a:pt x="9494939" y="838578"/>
                  <a:pt x="9496842" y="821469"/>
                  <a:pt x="9510167" y="811965"/>
                </a:cubicBezTo>
                <a:cubicBezTo>
                  <a:pt x="9510167" y="811965"/>
                  <a:pt x="9510167" y="811965"/>
                  <a:pt x="9843277" y="574345"/>
                </a:cubicBezTo>
                <a:cubicBezTo>
                  <a:pt x="9849939" y="570543"/>
                  <a:pt x="9857077" y="569118"/>
                  <a:pt x="9863739" y="570068"/>
                </a:cubicBezTo>
                <a:close/>
                <a:moveTo>
                  <a:pt x="9288066" y="561743"/>
                </a:moveTo>
                <a:cubicBezTo>
                  <a:pt x="9295215" y="563402"/>
                  <a:pt x="9301888" y="567670"/>
                  <a:pt x="9306654" y="574308"/>
                </a:cubicBezTo>
                <a:cubicBezTo>
                  <a:pt x="9310467" y="578102"/>
                  <a:pt x="9312374" y="583792"/>
                  <a:pt x="9312374" y="589483"/>
                </a:cubicBezTo>
                <a:cubicBezTo>
                  <a:pt x="9312374" y="598966"/>
                  <a:pt x="9306654" y="608450"/>
                  <a:pt x="9299028" y="614140"/>
                </a:cubicBezTo>
                <a:cubicBezTo>
                  <a:pt x="9299028" y="614140"/>
                  <a:pt x="9299028" y="614140"/>
                  <a:pt x="8963476" y="839853"/>
                </a:cubicBezTo>
                <a:cubicBezTo>
                  <a:pt x="8950130" y="849337"/>
                  <a:pt x="8932971" y="845543"/>
                  <a:pt x="8923439" y="832266"/>
                </a:cubicBezTo>
                <a:cubicBezTo>
                  <a:pt x="8913906" y="818989"/>
                  <a:pt x="8917719" y="800021"/>
                  <a:pt x="8931065" y="792434"/>
                </a:cubicBezTo>
                <a:cubicBezTo>
                  <a:pt x="8931065" y="792434"/>
                  <a:pt x="8931065" y="792434"/>
                  <a:pt x="9266617" y="564825"/>
                </a:cubicBezTo>
                <a:cubicBezTo>
                  <a:pt x="9273290" y="561032"/>
                  <a:pt x="9280916" y="560083"/>
                  <a:pt x="9288066" y="561743"/>
                </a:cubicBezTo>
                <a:close/>
                <a:moveTo>
                  <a:pt x="10448544" y="561719"/>
                </a:moveTo>
                <a:cubicBezTo>
                  <a:pt x="10455693" y="563379"/>
                  <a:pt x="10462366" y="567647"/>
                  <a:pt x="10467132" y="574285"/>
                </a:cubicBezTo>
                <a:cubicBezTo>
                  <a:pt x="10470945" y="578079"/>
                  <a:pt x="10472852" y="583769"/>
                  <a:pt x="10472852" y="589459"/>
                </a:cubicBezTo>
                <a:cubicBezTo>
                  <a:pt x="10472852" y="598943"/>
                  <a:pt x="10467132" y="608427"/>
                  <a:pt x="10459506" y="614117"/>
                </a:cubicBezTo>
                <a:cubicBezTo>
                  <a:pt x="10459506" y="614117"/>
                  <a:pt x="10459506" y="614117"/>
                  <a:pt x="10123954" y="839831"/>
                </a:cubicBezTo>
                <a:cubicBezTo>
                  <a:pt x="10110608" y="849314"/>
                  <a:pt x="10093449" y="845521"/>
                  <a:pt x="10083917" y="832244"/>
                </a:cubicBezTo>
                <a:cubicBezTo>
                  <a:pt x="10074384" y="818966"/>
                  <a:pt x="10078197" y="799999"/>
                  <a:pt x="10091543" y="792412"/>
                </a:cubicBezTo>
                <a:cubicBezTo>
                  <a:pt x="10091543" y="792412"/>
                  <a:pt x="10091543" y="792412"/>
                  <a:pt x="10427095" y="564801"/>
                </a:cubicBezTo>
                <a:cubicBezTo>
                  <a:pt x="10433768" y="561008"/>
                  <a:pt x="10441394" y="560060"/>
                  <a:pt x="10448544" y="561719"/>
                </a:cubicBezTo>
                <a:close/>
                <a:moveTo>
                  <a:pt x="8716914" y="552708"/>
                </a:moveTo>
                <a:cubicBezTo>
                  <a:pt x="8724791" y="554373"/>
                  <a:pt x="8731951" y="559130"/>
                  <a:pt x="8736725" y="566742"/>
                </a:cubicBezTo>
                <a:cubicBezTo>
                  <a:pt x="8740544" y="570547"/>
                  <a:pt x="8742454" y="576256"/>
                  <a:pt x="8742454" y="583868"/>
                </a:cubicBezTo>
                <a:cubicBezTo>
                  <a:pt x="8742454" y="593382"/>
                  <a:pt x="8736725" y="602897"/>
                  <a:pt x="8727178" y="608605"/>
                </a:cubicBezTo>
                <a:cubicBezTo>
                  <a:pt x="8727178" y="608605"/>
                  <a:pt x="8727178" y="608605"/>
                  <a:pt x="8391103" y="825535"/>
                </a:cubicBezTo>
                <a:cubicBezTo>
                  <a:pt x="8377736" y="835050"/>
                  <a:pt x="8356731" y="829341"/>
                  <a:pt x="8347184" y="816021"/>
                </a:cubicBezTo>
                <a:cubicBezTo>
                  <a:pt x="8337636" y="800798"/>
                  <a:pt x="8343365" y="781769"/>
                  <a:pt x="8356731" y="772254"/>
                </a:cubicBezTo>
                <a:cubicBezTo>
                  <a:pt x="8356731" y="772254"/>
                  <a:pt x="8356731" y="772254"/>
                  <a:pt x="8692806" y="557227"/>
                </a:cubicBezTo>
                <a:cubicBezTo>
                  <a:pt x="8700445" y="552470"/>
                  <a:pt x="8709038" y="551043"/>
                  <a:pt x="8716914" y="552708"/>
                </a:cubicBezTo>
                <a:close/>
                <a:moveTo>
                  <a:pt x="11026758" y="552682"/>
                </a:moveTo>
                <a:cubicBezTo>
                  <a:pt x="11034635" y="554347"/>
                  <a:pt x="11041796" y="559105"/>
                  <a:pt x="11046569" y="566716"/>
                </a:cubicBezTo>
                <a:cubicBezTo>
                  <a:pt x="11050388" y="570522"/>
                  <a:pt x="11052298" y="576231"/>
                  <a:pt x="11052298" y="583843"/>
                </a:cubicBezTo>
                <a:cubicBezTo>
                  <a:pt x="11052298" y="593357"/>
                  <a:pt x="11046569" y="602871"/>
                  <a:pt x="11037022" y="608580"/>
                </a:cubicBezTo>
                <a:cubicBezTo>
                  <a:pt x="11037022" y="608580"/>
                  <a:pt x="11037022" y="608580"/>
                  <a:pt x="10700947" y="825511"/>
                </a:cubicBezTo>
                <a:cubicBezTo>
                  <a:pt x="10685670" y="835025"/>
                  <a:pt x="10666575" y="829317"/>
                  <a:pt x="10657028" y="815996"/>
                </a:cubicBezTo>
                <a:cubicBezTo>
                  <a:pt x="10647480" y="800773"/>
                  <a:pt x="10651299" y="781744"/>
                  <a:pt x="10666575" y="772230"/>
                </a:cubicBezTo>
                <a:cubicBezTo>
                  <a:pt x="10666575" y="772230"/>
                  <a:pt x="10666575" y="772230"/>
                  <a:pt x="11002650" y="557202"/>
                </a:cubicBezTo>
                <a:cubicBezTo>
                  <a:pt x="11010288" y="552445"/>
                  <a:pt x="11018882" y="551017"/>
                  <a:pt x="11026758" y="552682"/>
                </a:cubicBezTo>
                <a:close/>
                <a:moveTo>
                  <a:pt x="8152845" y="544127"/>
                </a:moveTo>
                <a:cubicBezTo>
                  <a:pt x="8161154" y="546266"/>
                  <a:pt x="8168750" y="551493"/>
                  <a:pt x="8173498" y="559095"/>
                </a:cubicBezTo>
                <a:cubicBezTo>
                  <a:pt x="8177296" y="564797"/>
                  <a:pt x="8177296" y="570499"/>
                  <a:pt x="8177296" y="576201"/>
                </a:cubicBezTo>
                <a:cubicBezTo>
                  <a:pt x="8177296" y="587605"/>
                  <a:pt x="8171598" y="599009"/>
                  <a:pt x="8162103" y="604711"/>
                </a:cubicBezTo>
                <a:cubicBezTo>
                  <a:pt x="8162103" y="604711"/>
                  <a:pt x="8162103" y="604711"/>
                  <a:pt x="7825963" y="808083"/>
                </a:cubicBezTo>
                <a:cubicBezTo>
                  <a:pt x="7810771" y="817587"/>
                  <a:pt x="7789881" y="813785"/>
                  <a:pt x="7780385" y="796679"/>
                </a:cubicBezTo>
                <a:cubicBezTo>
                  <a:pt x="7770890" y="781474"/>
                  <a:pt x="7776587" y="760567"/>
                  <a:pt x="7791780" y="751063"/>
                </a:cubicBezTo>
                <a:cubicBezTo>
                  <a:pt x="7791780" y="751063"/>
                  <a:pt x="7791780" y="751063"/>
                  <a:pt x="8127919" y="547691"/>
                </a:cubicBezTo>
                <a:cubicBezTo>
                  <a:pt x="8135516" y="542939"/>
                  <a:pt x="8144537" y="541989"/>
                  <a:pt x="8152845" y="544127"/>
                </a:cubicBezTo>
                <a:close/>
                <a:moveTo>
                  <a:pt x="11598067" y="544120"/>
                </a:moveTo>
                <a:cubicBezTo>
                  <a:pt x="11606170" y="546258"/>
                  <a:pt x="11613319" y="551485"/>
                  <a:pt x="11618085" y="559088"/>
                </a:cubicBezTo>
                <a:cubicBezTo>
                  <a:pt x="11621898" y="564790"/>
                  <a:pt x="11623805" y="570492"/>
                  <a:pt x="11623805" y="576194"/>
                </a:cubicBezTo>
                <a:cubicBezTo>
                  <a:pt x="11623805" y="587598"/>
                  <a:pt x="11618085" y="599002"/>
                  <a:pt x="11606646" y="604704"/>
                </a:cubicBezTo>
                <a:cubicBezTo>
                  <a:pt x="11606646" y="604704"/>
                  <a:pt x="11606646" y="604704"/>
                  <a:pt x="11271101" y="808077"/>
                </a:cubicBezTo>
                <a:cubicBezTo>
                  <a:pt x="11255849" y="817580"/>
                  <a:pt x="11234877" y="813778"/>
                  <a:pt x="11225345" y="796673"/>
                </a:cubicBezTo>
                <a:cubicBezTo>
                  <a:pt x="11215812" y="781467"/>
                  <a:pt x="11219625" y="760560"/>
                  <a:pt x="11236784" y="751056"/>
                </a:cubicBezTo>
                <a:cubicBezTo>
                  <a:pt x="11236784" y="751056"/>
                  <a:pt x="11236784" y="751056"/>
                  <a:pt x="11572329" y="547684"/>
                </a:cubicBezTo>
                <a:cubicBezTo>
                  <a:pt x="11580908" y="542932"/>
                  <a:pt x="11589964" y="541982"/>
                  <a:pt x="11598067" y="544120"/>
                </a:cubicBezTo>
                <a:close/>
                <a:moveTo>
                  <a:pt x="12139750" y="535003"/>
                </a:moveTo>
                <a:cubicBezTo>
                  <a:pt x="12139750" y="535003"/>
                  <a:pt x="12139750" y="535003"/>
                  <a:pt x="12139750" y="616918"/>
                </a:cubicBezTo>
                <a:cubicBezTo>
                  <a:pt x="12139750" y="616918"/>
                  <a:pt x="12139750" y="616918"/>
                  <a:pt x="11835212" y="792178"/>
                </a:cubicBezTo>
                <a:cubicBezTo>
                  <a:pt x="11818082" y="801703"/>
                  <a:pt x="11795242" y="795988"/>
                  <a:pt x="11785725" y="778843"/>
                </a:cubicBezTo>
                <a:cubicBezTo>
                  <a:pt x="11776208" y="761698"/>
                  <a:pt x="11781918" y="738838"/>
                  <a:pt x="11799048" y="729313"/>
                </a:cubicBezTo>
                <a:lnTo>
                  <a:pt x="12135943" y="536908"/>
                </a:lnTo>
                <a:cubicBezTo>
                  <a:pt x="12137847" y="536908"/>
                  <a:pt x="12137847" y="535003"/>
                  <a:pt x="12139750" y="535003"/>
                </a:cubicBezTo>
                <a:close/>
                <a:moveTo>
                  <a:pt x="7595886" y="534825"/>
                </a:moveTo>
                <a:cubicBezTo>
                  <a:pt x="7604955" y="537196"/>
                  <a:pt x="7613070" y="542884"/>
                  <a:pt x="7617844" y="551417"/>
                </a:cubicBezTo>
                <a:cubicBezTo>
                  <a:pt x="7621663" y="557105"/>
                  <a:pt x="7621663" y="562794"/>
                  <a:pt x="7621663" y="568482"/>
                </a:cubicBezTo>
                <a:cubicBezTo>
                  <a:pt x="7621663" y="581756"/>
                  <a:pt x="7615935" y="593133"/>
                  <a:pt x="7604478" y="600717"/>
                </a:cubicBezTo>
                <a:cubicBezTo>
                  <a:pt x="7604478" y="600717"/>
                  <a:pt x="7604478" y="600717"/>
                  <a:pt x="7266512" y="792231"/>
                </a:cubicBezTo>
                <a:cubicBezTo>
                  <a:pt x="7249327" y="801712"/>
                  <a:pt x="7228323" y="796023"/>
                  <a:pt x="7218776" y="778957"/>
                </a:cubicBezTo>
                <a:cubicBezTo>
                  <a:pt x="7207320" y="761892"/>
                  <a:pt x="7214957" y="739138"/>
                  <a:pt x="7230233" y="729657"/>
                </a:cubicBezTo>
                <a:cubicBezTo>
                  <a:pt x="7230233" y="729657"/>
                  <a:pt x="7230233" y="729657"/>
                  <a:pt x="7568199" y="538144"/>
                </a:cubicBezTo>
                <a:cubicBezTo>
                  <a:pt x="7576792" y="533403"/>
                  <a:pt x="7586816" y="532455"/>
                  <a:pt x="7595886" y="534825"/>
                </a:cubicBezTo>
                <a:close/>
                <a:moveTo>
                  <a:pt x="7044520" y="526281"/>
                </a:moveTo>
                <a:cubicBezTo>
                  <a:pt x="7053807" y="529139"/>
                  <a:pt x="7061903" y="535330"/>
                  <a:pt x="7066666" y="543903"/>
                </a:cubicBezTo>
                <a:cubicBezTo>
                  <a:pt x="7070476" y="549618"/>
                  <a:pt x="7072381" y="557237"/>
                  <a:pt x="7072381" y="562953"/>
                </a:cubicBezTo>
                <a:cubicBezTo>
                  <a:pt x="7072381" y="576287"/>
                  <a:pt x="7064761" y="589623"/>
                  <a:pt x="7051425" y="595337"/>
                </a:cubicBezTo>
                <a:cubicBezTo>
                  <a:pt x="7051425" y="595337"/>
                  <a:pt x="7051425" y="595337"/>
                  <a:pt x="6714236" y="776312"/>
                </a:cubicBezTo>
                <a:cubicBezTo>
                  <a:pt x="6695185" y="785837"/>
                  <a:pt x="6672325" y="780122"/>
                  <a:pt x="6662800" y="761072"/>
                </a:cubicBezTo>
                <a:cubicBezTo>
                  <a:pt x="6653275" y="743927"/>
                  <a:pt x="6660895" y="721067"/>
                  <a:pt x="6678040" y="709637"/>
                </a:cubicBezTo>
                <a:cubicBezTo>
                  <a:pt x="6678040" y="709637"/>
                  <a:pt x="6678040" y="709637"/>
                  <a:pt x="7015230" y="528663"/>
                </a:cubicBezTo>
                <a:cubicBezTo>
                  <a:pt x="7024755" y="523900"/>
                  <a:pt x="7035233" y="523424"/>
                  <a:pt x="7044520" y="526281"/>
                </a:cubicBezTo>
                <a:close/>
                <a:moveTo>
                  <a:pt x="6500891" y="517214"/>
                </a:moveTo>
                <a:cubicBezTo>
                  <a:pt x="6510676" y="520539"/>
                  <a:pt x="6519268" y="527666"/>
                  <a:pt x="6524041" y="538118"/>
                </a:cubicBezTo>
                <a:cubicBezTo>
                  <a:pt x="6525950" y="543819"/>
                  <a:pt x="6527860" y="549520"/>
                  <a:pt x="6527860" y="555221"/>
                </a:cubicBezTo>
                <a:cubicBezTo>
                  <a:pt x="6527860" y="570424"/>
                  <a:pt x="6520223" y="583727"/>
                  <a:pt x="6506857" y="591328"/>
                </a:cubicBezTo>
                <a:cubicBezTo>
                  <a:pt x="6506857" y="591328"/>
                  <a:pt x="6506857" y="591328"/>
                  <a:pt x="6166999" y="760460"/>
                </a:cubicBezTo>
                <a:cubicBezTo>
                  <a:pt x="6147906" y="769962"/>
                  <a:pt x="6123085" y="762360"/>
                  <a:pt x="6113538" y="743357"/>
                </a:cubicBezTo>
                <a:cubicBezTo>
                  <a:pt x="6103992" y="722453"/>
                  <a:pt x="6111629" y="699649"/>
                  <a:pt x="6130722" y="690147"/>
                </a:cubicBezTo>
                <a:cubicBezTo>
                  <a:pt x="6130722" y="690147"/>
                  <a:pt x="6130722" y="690147"/>
                  <a:pt x="6470580" y="519114"/>
                </a:cubicBezTo>
                <a:cubicBezTo>
                  <a:pt x="6480127" y="514363"/>
                  <a:pt x="6491105" y="513888"/>
                  <a:pt x="6500891" y="517214"/>
                </a:cubicBezTo>
                <a:close/>
                <a:moveTo>
                  <a:pt x="5942009" y="506693"/>
                </a:moveTo>
                <a:cubicBezTo>
                  <a:pt x="5958261" y="505537"/>
                  <a:pt x="5973977" y="514778"/>
                  <a:pt x="5981121" y="530416"/>
                </a:cubicBezTo>
                <a:cubicBezTo>
                  <a:pt x="5984930" y="536102"/>
                  <a:pt x="5984930" y="541789"/>
                  <a:pt x="5984930" y="547475"/>
                </a:cubicBezTo>
                <a:cubicBezTo>
                  <a:pt x="5984930" y="564535"/>
                  <a:pt x="5977311" y="579699"/>
                  <a:pt x="5962070" y="585386"/>
                </a:cubicBezTo>
                <a:cubicBezTo>
                  <a:pt x="5962070" y="585386"/>
                  <a:pt x="5962070" y="585386"/>
                  <a:pt x="5622984" y="744609"/>
                </a:cubicBezTo>
                <a:cubicBezTo>
                  <a:pt x="5602029" y="754087"/>
                  <a:pt x="5577264" y="744609"/>
                  <a:pt x="5565834" y="723759"/>
                </a:cubicBezTo>
                <a:cubicBezTo>
                  <a:pt x="5556309" y="702908"/>
                  <a:pt x="5565834" y="678266"/>
                  <a:pt x="5586789" y="668789"/>
                </a:cubicBezTo>
                <a:cubicBezTo>
                  <a:pt x="5586789" y="668789"/>
                  <a:pt x="5586789" y="668789"/>
                  <a:pt x="5925876" y="511460"/>
                </a:cubicBezTo>
                <a:cubicBezTo>
                  <a:pt x="5931114" y="508617"/>
                  <a:pt x="5936592" y="507077"/>
                  <a:pt x="5942009" y="506693"/>
                </a:cubicBezTo>
                <a:close/>
                <a:moveTo>
                  <a:pt x="382532" y="506681"/>
                </a:moveTo>
                <a:cubicBezTo>
                  <a:pt x="398784" y="505526"/>
                  <a:pt x="414500" y="514766"/>
                  <a:pt x="421644" y="530405"/>
                </a:cubicBezTo>
                <a:cubicBezTo>
                  <a:pt x="423549" y="536091"/>
                  <a:pt x="425454" y="541778"/>
                  <a:pt x="425454" y="547464"/>
                </a:cubicBezTo>
                <a:cubicBezTo>
                  <a:pt x="425454" y="564524"/>
                  <a:pt x="415929" y="579688"/>
                  <a:pt x="400689" y="585374"/>
                </a:cubicBezTo>
                <a:cubicBezTo>
                  <a:pt x="400689" y="585374"/>
                  <a:pt x="400689" y="585374"/>
                  <a:pt x="61595" y="744598"/>
                </a:cubicBezTo>
                <a:cubicBezTo>
                  <a:pt x="40640" y="754076"/>
                  <a:pt x="15874" y="744598"/>
                  <a:pt x="6349" y="723747"/>
                </a:cubicBezTo>
                <a:cubicBezTo>
                  <a:pt x="-3176" y="702897"/>
                  <a:pt x="6349" y="678255"/>
                  <a:pt x="27304" y="668777"/>
                </a:cubicBezTo>
                <a:cubicBezTo>
                  <a:pt x="27304" y="668777"/>
                  <a:pt x="27304" y="668777"/>
                  <a:pt x="366399" y="511449"/>
                </a:cubicBezTo>
                <a:cubicBezTo>
                  <a:pt x="371637" y="508606"/>
                  <a:pt x="377114" y="507066"/>
                  <a:pt x="382532" y="506681"/>
                </a:cubicBezTo>
                <a:close/>
                <a:moveTo>
                  <a:pt x="5409823" y="500973"/>
                </a:moveTo>
                <a:cubicBezTo>
                  <a:pt x="5420077" y="505026"/>
                  <a:pt x="5428662" y="513132"/>
                  <a:pt x="5433432" y="524577"/>
                </a:cubicBezTo>
                <a:cubicBezTo>
                  <a:pt x="5437247" y="530300"/>
                  <a:pt x="5437247" y="536022"/>
                  <a:pt x="5437247" y="541744"/>
                </a:cubicBezTo>
                <a:cubicBezTo>
                  <a:pt x="5437247" y="558911"/>
                  <a:pt x="5427708" y="574171"/>
                  <a:pt x="5410538" y="581801"/>
                </a:cubicBezTo>
                <a:cubicBezTo>
                  <a:pt x="5410538" y="581801"/>
                  <a:pt x="5410538" y="581801"/>
                  <a:pt x="5070947" y="728676"/>
                </a:cubicBezTo>
                <a:cubicBezTo>
                  <a:pt x="5048056" y="738212"/>
                  <a:pt x="5023257" y="728676"/>
                  <a:pt x="5011811" y="705786"/>
                </a:cubicBezTo>
                <a:cubicBezTo>
                  <a:pt x="5002274" y="682896"/>
                  <a:pt x="5013719" y="658100"/>
                  <a:pt x="5034702" y="648562"/>
                </a:cubicBezTo>
                <a:cubicBezTo>
                  <a:pt x="5034702" y="648562"/>
                  <a:pt x="5034702" y="648562"/>
                  <a:pt x="5376198" y="501688"/>
                </a:cubicBezTo>
                <a:cubicBezTo>
                  <a:pt x="5387645" y="496919"/>
                  <a:pt x="5399569" y="496919"/>
                  <a:pt x="5409823" y="500973"/>
                </a:cubicBezTo>
                <a:close/>
                <a:moveTo>
                  <a:pt x="943575" y="500959"/>
                </a:moveTo>
                <a:cubicBezTo>
                  <a:pt x="954275" y="505012"/>
                  <a:pt x="963310" y="513119"/>
                  <a:pt x="968066" y="524564"/>
                </a:cubicBezTo>
                <a:cubicBezTo>
                  <a:pt x="969968" y="530286"/>
                  <a:pt x="969968" y="536009"/>
                  <a:pt x="969968" y="541731"/>
                </a:cubicBezTo>
                <a:cubicBezTo>
                  <a:pt x="969968" y="558898"/>
                  <a:pt x="960457" y="574158"/>
                  <a:pt x="945239" y="581788"/>
                </a:cubicBezTo>
                <a:cubicBezTo>
                  <a:pt x="945239" y="581788"/>
                  <a:pt x="945239" y="581788"/>
                  <a:pt x="604741" y="728662"/>
                </a:cubicBezTo>
                <a:cubicBezTo>
                  <a:pt x="581914" y="738200"/>
                  <a:pt x="557185" y="728662"/>
                  <a:pt x="547674" y="705773"/>
                </a:cubicBezTo>
                <a:cubicBezTo>
                  <a:pt x="538163" y="682883"/>
                  <a:pt x="547674" y="658086"/>
                  <a:pt x="570501" y="648549"/>
                </a:cubicBezTo>
                <a:cubicBezTo>
                  <a:pt x="570501" y="648549"/>
                  <a:pt x="570501" y="648549"/>
                  <a:pt x="909097" y="501674"/>
                </a:cubicBezTo>
                <a:cubicBezTo>
                  <a:pt x="920510" y="496906"/>
                  <a:pt x="932875" y="496906"/>
                  <a:pt x="943575" y="500959"/>
                </a:cubicBezTo>
                <a:close/>
                <a:moveTo>
                  <a:pt x="4841065" y="488779"/>
                </a:moveTo>
                <a:cubicBezTo>
                  <a:pt x="4858649" y="489046"/>
                  <a:pt x="4875428" y="499748"/>
                  <a:pt x="4882567" y="516870"/>
                </a:cubicBezTo>
                <a:cubicBezTo>
                  <a:pt x="4884470" y="522577"/>
                  <a:pt x="4886374" y="528285"/>
                  <a:pt x="4886374" y="533993"/>
                </a:cubicBezTo>
                <a:cubicBezTo>
                  <a:pt x="4886374" y="553017"/>
                  <a:pt x="4874950" y="570139"/>
                  <a:pt x="4855910" y="577749"/>
                </a:cubicBezTo>
                <a:cubicBezTo>
                  <a:pt x="4855910" y="577749"/>
                  <a:pt x="4855910" y="577749"/>
                  <a:pt x="4517066" y="712825"/>
                </a:cubicBezTo>
                <a:cubicBezTo>
                  <a:pt x="4492320" y="722338"/>
                  <a:pt x="4465668" y="710923"/>
                  <a:pt x="4456150" y="686191"/>
                </a:cubicBezTo>
                <a:cubicBezTo>
                  <a:pt x="4446631" y="663361"/>
                  <a:pt x="4458054" y="636726"/>
                  <a:pt x="4482801" y="627214"/>
                </a:cubicBezTo>
                <a:cubicBezTo>
                  <a:pt x="4482801" y="627214"/>
                  <a:pt x="4482801" y="627214"/>
                  <a:pt x="4823545" y="492138"/>
                </a:cubicBezTo>
                <a:cubicBezTo>
                  <a:pt x="4829255" y="489760"/>
                  <a:pt x="4835205" y="488690"/>
                  <a:pt x="4841065" y="488779"/>
                </a:cubicBezTo>
                <a:close/>
                <a:moveTo>
                  <a:pt x="1475768" y="488763"/>
                </a:moveTo>
                <a:cubicBezTo>
                  <a:pt x="1493806" y="489031"/>
                  <a:pt x="1511308" y="499732"/>
                  <a:pt x="1517023" y="516854"/>
                </a:cubicBezTo>
                <a:cubicBezTo>
                  <a:pt x="1520833" y="522562"/>
                  <a:pt x="1520833" y="528269"/>
                  <a:pt x="1520833" y="533977"/>
                </a:cubicBezTo>
                <a:cubicBezTo>
                  <a:pt x="1520833" y="553002"/>
                  <a:pt x="1509403" y="570124"/>
                  <a:pt x="1492258" y="577734"/>
                </a:cubicBezTo>
                <a:cubicBezTo>
                  <a:pt x="1492258" y="577734"/>
                  <a:pt x="1492258" y="577734"/>
                  <a:pt x="1151259" y="712810"/>
                </a:cubicBezTo>
                <a:cubicBezTo>
                  <a:pt x="1128399" y="722323"/>
                  <a:pt x="1101728" y="710908"/>
                  <a:pt x="1092203" y="686175"/>
                </a:cubicBezTo>
                <a:cubicBezTo>
                  <a:pt x="1082678" y="663346"/>
                  <a:pt x="1094108" y="636711"/>
                  <a:pt x="1116969" y="627198"/>
                </a:cubicBezTo>
                <a:cubicBezTo>
                  <a:pt x="1116969" y="627198"/>
                  <a:pt x="1116969" y="627198"/>
                  <a:pt x="1457968" y="492122"/>
                </a:cubicBezTo>
                <a:cubicBezTo>
                  <a:pt x="1463683" y="489744"/>
                  <a:pt x="1469755" y="488674"/>
                  <a:pt x="1475768" y="488763"/>
                </a:cubicBezTo>
                <a:close/>
                <a:moveTo>
                  <a:pt x="4284536" y="479572"/>
                </a:moveTo>
                <a:cubicBezTo>
                  <a:pt x="4302958" y="480462"/>
                  <a:pt x="4319769" y="492573"/>
                  <a:pt x="4326924" y="511096"/>
                </a:cubicBezTo>
                <a:cubicBezTo>
                  <a:pt x="4328831" y="516795"/>
                  <a:pt x="4330740" y="522495"/>
                  <a:pt x="4330740" y="528194"/>
                </a:cubicBezTo>
                <a:cubicBezTo>
                  <a:pt x="4330740" y="547192"/>
                  <a:pt x="4317385" y="566190"/>
                  <a:pt x="4298306" y="571889"/>
                </a:cubicBezTo>
                <a:cubicBezTo>
                  <a:pt x="4298306" y="571889"/>
                  <a:pt x="4298306" y="571889"/>
                  <a:pt x="3956840" y="695376"/>
                </a:cubicBezTo>
                <a:cubicBezTo>
                  <a:pt x="3932037" y="704875"/>
                  <a:pt x="3903421" y="691576"/>
                  <a:pt x="3895789" y="666879"/>
                </a:cubicBezTo>
                <a:cubicBezTo>
                  <a:pt x="3886250" y="642182"/>
                  <a:pt x="3899605" y="615584"/>
                  <a:pt x="3924406" y="606085"/>
                </a:cubicBezTo>
                <a:cubicBezTo>
                  <a:pt x="3924406" y="606085"/>
                  <a:pt x="3924406" y="606085"/>
                  <a:pt x="4265875" y="482599"/>
                </a:cubicBezTo>
                <a:cubicBezTo>
                  <a:pt x="4272075" y="480225"/>
                  <a:pt x="4278394" y="479275"/>
                  <a:pt x="4284536" y="479572"/>
                </a:cubicBezTo>
                <a:close/>
                <a:moveTo>
                  <a:pt x="2030557" y="479554"/>
                </a:moveTo>
                <a:cubicBezTo>
                  <a:pt x="2049519" y="480444"/>
                  <a:pt x="2067405" y="492555"/>
                  <a:pt x="2074559" y="511078"/>
                </a:cubicBezTo>
                <a:cubicBezTo>
                  <a:pt x="2076467" y="516778"/>
                  <a:pt x="2076467" y="522477"/>
                  <a:pt x="2076467" y="528177"/>
                </a:cubicBezTo>
                <a:cubicBezTo>
                  <a:pt x="2076467" y="547175"/>
                  <a:pt x="2065020" y="566172"/>
                  <a:pt x="2045938" y="571872"/>
                </a:cubicBezTo>
                <a:cubicBezTo>
                  <a:pt x="2045938" y="571872"/>
                  <a:pt x="2045938" y="571872"/>
                  <a:pt x="1702543" y="695358"/>
                </a:cubicBezTo>
                <a:cubicBezTo>
                  <a:pt x="1677743" y="704857"/>
                  <a:pt x="1651034" y="691559"/>
                  <a:pt x="1641495" y="666862"/>
                </a:cubicBezTo>
                <a:cubicBezTo>
                  <a:pt x="1631957" y="642164"/>
                  <a:pt x="1645311" y="615567"/>
                  <a:pt x="1670112" y="606068"/>
                </a:cubicBezTo>
                <a:cubicBezTo>
                  <a:pt x="1670112" y="606068"/>
                  <a:pt x="1670112" y="606068"/>
                  <a:pt x="2011599" y="482582"/>
                </a:cubicBezTo>
                <a:cubicBezTo>
                  <a:pt x="2017799" y="480207"/>
                  <a:pt x="2024238" y="479257"/>
                  <a:pt x="2030557" y="479554"/>
                </a:cubicBezTo>
                <a:close/>
                <a:moveTo>
                  <a:pt x="3723552" y="470402"/>
                </a:moveTo>
                <a:cubicBezTo>
                  <a:pt x="3743255" y="471922"/>
                  <a:pt x="3760807" y="485514"/>
                  <a:pt x="3766538" y="505544"/>
                </a:cubicBezTo>
                <a:cubicBezTo>
                  <a:pt x="3768448" y="511267"/>
                  <a:pt x="3770360" y="515082"/>
                  <a:pt x="3770360" y="520805"/>
                </a:cubicBezTo>
                <a:cubicBezTo>
                  <a:pt x="3770360" y="541790"/>
                  <a:pt x="3756987" y="560866"/>
                  <a:pt x="3734060" y="568497"/>
                </a:cubicBezTo>
                <a:cubicBezTo>
                  <a:pt x="3734060" y="568497"/>
                  <a:pt x="3734060" y="568497"/>
                  <a:pt x="3392112" y="681049"/>
                </a:cubicBezTo>
                <a:cubicBezTo>
                  <a:pt x="3365365" y="690588"/>
                  <a:pt x="3336709" y="675326"/>
                  <a:pt x="3329066" y="648619"/>
                </a:cubicBezTo>
                <a:cubicBezTo>
                  <a:pt x="3319515" y="621912"/>
                  <a:pt x="3334799" y="595204"/>
                  <a:pt x="3359633" y="585666"/>
                </a:cubicBezTo>
                <a:cubicBezTo>
                  <a:pt x="3359633" y="585666"/>
                  <a:pt x="3359633" y="585666"/>
                  <a:pt x="3703492" y="473114"/>
                </a:cubicBezTo>
                <a:cubicBezTo>
                  <a:pt x="3710178" y="470729"/>
                  <a:pt x="3716984" y="469895"/>
                  <a:pt x="3723552" y="470402"/>
                </a:cubicBezTo>
                <a:close/>
                <a:moveTo>
                  <a:pt x="2590051" y="470381"/>
                </a:moveTo>
                <a:cubicBezTo>
                  <a:pt x="2609752" y="471901"/>
                  <a:pt x="2627304" y="485494"/>
                  <a:pt x="2633035" y="505524"/>
                </a:cubicBezTo>
                <a:cubicBezTo>
                  <a:pt x="2634946" y="511247"/>
                  <a:pt x="2636856" y="515063"/>
                  <a:pt x="2636856" y="520785"/>
                </a:cubicBezTo>
                <a:cubicBezTo>
                  <a:pt x="2636856" y="541770"/>
                  <a:pt x="2623484" y="560847"/>
                  <a:pt x="2600558" y="568477"/>
                </a:cubicBezTo>
                <a:cubicBezTo>
                  <a:pt x="2600558" y="568477"/>
                  <a:pt x="2600558" y="568477"/>
                  <a:pt x="2258596" y="681030"/>
                </a:cubicBezTo>
                <a:cubicBezTo>
                  <a:pt x="2231850" y="690568"/>
                  <a:pt x="2203194" y="675307"/>
                  <a:pt x="2195553" y="648599"/>
                </a:cubicBezTo>
                <a:cubicBezTo>
                  <a:pt x="2186001" y="621892"/>
                  <a:pt x="2201284" y="595185"/>
                  <a:pt x="2226119" y="585646"/>
                </a:cubicBezTo>
                <a:cubicBezTo>
                  <a:pt x="2226119" y="585646"/>
                  <a:pt x="2226119" y="585646"/>
                  <a:pt x="2569992" y="473094"/>
                </a:cubicBezTo>
                <a:cubicBezTo>
                  <a:pt x="2576678" y="470709"/>
                  <a:pt x="2583484" y="469875"/>
                  <a:pt x="2590051" y="470381"/>
                </a:cubicBezTo>
                <a:close/>
                <a:moveTo>
                  <a:pt x="3153226" y="461689"/>
                </a:moveTo>
                <a:cubicBezTo>
                  <a:pt x="3173703" y="464103"/>
                  <a:pt x="3191231" y="478054"/>
                  <a:pt x="3196954" y="499516"/>
                </a:cubicBezTo>
                <a:cubicBezTo>
                  <a:pt x="3198860" y="503332"/>
                  <a:pt x="3198860" y="509055"/>
                  <a:pt x="3198860" y="512871"/>
                </a:cubicBezTo>
                <a:cubicBezTo>
                  <a:pt x="3198860" y="535764"/>
                  <a:pt x="3185507" y="556750"/>
                  <a:pt x="3162616" y="564381"/>
                </a:cubicBezTo>
                <a:cubicBezTo>
                  <a:pt x="3162616" y="564381"/>
                  <a:pt x="3162616" y="564381"/>
                  <a:pt x="2819228" y="665493"/>
                </a:cubicBezTo>
                <a:cubicBezTo>
                  <a:pt x="2790614" y="673125"/>
                  <a:pt x="2761996" y="657862"/>
                  <a:pt x="2754367" y="629246"/>
                </a:cubicBezTo>
                <a:cubicBezTo>
                  <a:pt x="2744828" y="602536"/>
                  <a:pt x="2761996" y="572012"/>
                  <a:pt x="2788705" y="564381"/>
                </a:cubicBezTo>
                <a:cubicBezTo>
                  <a:pt x="2788705" y="564381"/>
                  <a:pt x="2788705" y="564381"/>
                  <a:pt x="3132091" y="463269"/>
                </a:cubicBezTo>
                <a:cubicBezTo>
                  <a:pt x="3139247" y="461361"/>
                  <a:pt x="3146400" y="460884"/>
                  <a:pt x="3153226" y="461689"/>
                </a:cubicBezTo>
                <a:close/>
                <a:moveTo>
                  <a:pt x="9865382" y="251073"/>
                </a:moveTo>
                <a:cubicBezTo>
                  <a:pt x="9872978" y="252741"/>
                  <a:pt x="9880099" y="257509"/>
                  <a:pt x="9884846" y="265137"/>
                </a:cubicBezTo>
                <a:cubicBezTo>
                  <a:pt x="9888644" y="268951"/>
                  <a:pt x="9888644" y="274673"/>
                  <a:pt x="9888644" y="280394"/>
                </a:cubicBezTo>
                <a:cubicBezTo>
                  <a:pt x="9888644" y="289929"/>
                  <a:pt x="9884846" y="299465"/>
                  <a:pt x="9875351" y="305186"/>
                </a:cubicBezTo>
                <a:cubicBezTo>
                  <a:pt x="9875351" y="305186"/>
                  <a:pt x="9875351" y="305186"/>
                  <a:pt x="9543036" y="530219"/>
                </a:cubicBezTo>
                <a:cubicBezTo>
                  <a:pt x="9527844" y="539755"/>
                  <a:pt x="9510753" y="535941"/>
                  <a:pt x="9501259" y="520684"/>
                </a:cubicBezTo>
                <a:cubicBezTo>
                  <a:pt x="9491764" y="507335"/>
                  <a:pt x="9495562" y="490171"/>
                  <a:pt x="9508855" y="480636"/>
                </a:cubicBezTo>
                <a:cubicBezTo>
                  <a:pt x="9508855" y="480636"/>
                  <a:pt x="9508855" y="480636"/>
                  <a:pt x="9843069" y="255602"/>
                </a:cubicBezTo>
                <a:cubicBezTo>
                  <a:pt x="9849716" y="250834"/>
                  <a:pt x="9857786" y="249404"/>
                  <a:pt x="9865382" y="251073"/>
                </a:cubicBezTo>
                <a:close/>
                <a:moveTo>
                  <a:pt x="9288660" y="242274"/>
                </a:moveTo>
                <a:cubicBezTo>
                  <a:pt x="9296298" y="244177"/>
                  <a:pt x="9303459" y="248934"/>
                  <a:pt x="9308232" y="255594"/>
                </a:cubicBezTo>
                <a:cubicBezTo>
                  <a:pt x="9312051" y="261303"/>
                  <a:pt x="9313961" y="267012"/>
                  <a:pt x="9313961" y="272720"/>
                </a:cubicBezTo>
                <a:cubicBezTo>
                  <a:pt x="9313961" y="284138"/>
                  <a:pt x="9308232" y="293652"/>
                  <a:pt x="9298685" y="299361"/>
                </a:cubicBezTo>
                <a:cubicBezTo>
                  <a:pt x="9298685" y="299361"/>
                  <a:pt x="9298685" y="299361"/>
                  <a:pt x="8962610" y="514388"/>
                </a:cubicBezTo>
                <a:cubicBezTo>
                  <a:pt x="8949243" y="523902"/>
                  <a:pt x="8928238" y="518193"/>
                  <a:pt x="8918691" y="504873"/>
                </a:cubicBezTo>
                <a:cubicBezTo>
                  <a:pt x="8909143" y="489650"/>
                  <a:pt x="8914872" y="470622"/>
                  <a:pt x="8928238" y="461107"/>
                </a:cubicBezTo>
                <a:lnTo>
                  <a:pt x="9266223" y="246080"/>
                </a:lnTo>
                <a:cubicBezTo>
                  <a:pt x="9272906" y="241322"/>
                  <a:pt x="9281022" y="240371"/>
                  <a:pt x="9288660" y="242274"/>
                </a:cubicBezTo>
                <a:close/>
                <a:moveTo>
                  <a:pt x="10450170" y="242248"/>
                </a:moveTo>
                <a:cubicBezTo>
                  <a:pt x="10458260" y="244151"/>
                  <a:pt x="10465874" y="248908"/>
                  <a:pt x="10470633" y="255569"/>
                </a:cubicBezTo>
                <a:cubicBezTo>
                  <a:pt x="10472536" y="261277"/>
                  <a:pt x="10474440" y="266986"/>
                  <a:pt x="10474440" y="272695"/>
                </a:cubicBezTo>
                <a:cubicBezTo>
                  <a:pt x="10474440" y="284112"/>
                  <a:pt x="10470633" y="293627"/>
                  <a:pt x="10461115" y="299335"/>
                </a:cubicBezTo>
                <a:cubicBezTo>
                  <a:pt x="10461115" y="299335"/>
                  <a:pt x="10461115" y="299335"/>
                  <a:pt x="10124192" y="514363"/>
                </a:cubicBezTo>
                <a:cubicBezTo>
                  <a:pt x="10110867" y="523878"/>
                  <a:pt x="10091832" y="518169"/>
                  <a:pt x="10082315" y="504848"/>
                </a:cubicBezTo>
                <a:cubicBezTo>
                  <a:pt x="10072797" y="489625"/>
                  <a:pt x="10076604" y="470596"/>
                  <a:pt x="10091832" y="461082"/>
                </a:cubicBezTo>
                <a:lnTo>
                  <a:pt x="10426852" y="246054"/>
                </a:lnTo>
                <a:cubicBezTo>
                  <a:pt x="10433514" y="241297"/>
                  <a:pt x="10442080" y="240345"/>
                  <a:pt x="10450170" y="242248"/>
                </a:cubicBezTo>
                <a:close/>
                <a:moveTo>
                  <a:pt x="8718303" y="233007"/>
                </a:moveTo>
                <a:cubicBezTo>
                  <a:pt x="8726406" y="235155"/>
                  <a:pt x="8733555" y="240405"/>
                  <a:pt x="8738321" y="248042"/>
                </a:cubicBezTo>
                <a:cubicBezTo>
                  <a:pt x="8742134" y="253770"/>
                  <a:pt x="8744041" y="259498"/>
                  <a:pt x="8744041" y="265226"/>
                </a:cubicBezTo>
                <a:cubicBezTo>
                  <a:pt x="8744041" y="276682"/>
                  <a:pt x="8738321" y="288137"/>
                  <a:pt x="8728789" y="293865"/>
                </a:cubicBezTo>
                <a:cubicBezTo>
                  <a:pt x="8728789" y="293865"/>
                  <a:pt x="8728789" y="293865"/>
                  <a:pt x="8391337" y="500068"/>
                </a:cubicBezTo>
                <a:cubicBezTo>
                  <a:pt x="8376085" y="509614"/>
                  <a:pt x="8355113" y="503887"/>
                  <a:pt x="8345581" y="488612"/>
                </a:cubicBezTo>
                <a:cubicBezTo>
                  <a:pt x="8336048" y="473338"/>
                  <a:pt x="8341768" y="452336"/>
                  <a:pt x="8357020" y="442790"/>
                </a:cubicBezTo>
                <a:cubicBezTo>
                  <a:pt x="8357020" y="442790"/>
                  <a:pt x="8357020" y="442790"/>
                  <a:pt x="8692565" y="236587"/>
                </a:cubicBezTo>
                <a:cubicBezTo>
                  <a:pt x="8701144" y="231813"/>
                  <a:pt x="8710200" y="230859"/>
                  <a:pt x="8718303" y="233007"/>
                </a:cubicBezTo>
                <a:close/>
                <a:moveTo>
                  <a:pt x="11027432" y="232979"/>
                </a:moveTo>
                <a:cubicBezTo>
                  <a:pt x="11035773" y="235127"/>
                  <a:pt x="11043399" y="240377"/>
                  <a:pt x="11048165" y="248015"/>
                </a:cubicBezTo>
                <a:cubicBezTo>
                  <a:pt x="11051978" y="253743"/>
                  <a:pt x="11053885" y="259470"/>
                  <a:pt x="11053885" y="265198"/>
                </a:cubicBezTo>
                <a:cubicBezTo>
                  <a:pt x="11053885" y="276654"/>
                  <a:pt x="11048165" y="288110"/>
                  <a:pt x="11036726" y="293838"/>
                </a:cubicBezTo>
                <a:cubicBezTo>
                  <a:pt x="11036726" y="293838"/>
                  <a:pt x="11036726" y="293838"/>
                  <a:pt x="10701181" y="500041"/>
                </a:cubicBezTo>
                <a:cubicBezTo>
                  <a:pt x="10685929" y="509587"/>
                  <a:pt x="10664957" y="503860"/>
                  <a:pt x="10655425" y="488585"/>
                </a:cubicBezTo>
                <a:cubicBezTo>
                  <a:pt x="10645892" y="473311"/>
                  <a:pt x="10651612" y="452309"/>
                  <a:pt x="10666864" y="442762"/>
                </a:cubicBezTo>
                <a:cubicBezTo>
                  <a:pt x="10666864" y="442762"/>
                  <a:pt x="10666864" y="442762"/>
                  <a:pt x="11002409" y="236559"/>
                </a:cubicBezTo>
                <a:cubicBezTo>
                  <a:pt x="11010035" y="231786"/>
                  <a:pt x="11019091" y="230831"/>
                  <a:pt x="11027432" y="232979"/>
                </a:cubicBezTo>
                <a:close/>
                <a:moveTo>
                  <a:pt x="8154912" y="223468"/>
                </a:moveTo>
                <a:cubicBezTo>
                  <a:pt x="8163750" y="225611"/>
                  <a:pt x="8171872" y="230850"/>
                  <a:pt x="8176649" y="238470"/>
                </a:cubicBezTo>
                <a:cubicBezTo>
                  <a:pt x="8178560" y="244185"/>
                  <a:pt x="8180471" y="251805"/>
                  <a:pt x="8180471" y="257520"/>
                </a:cubicBezTo>
                <a:cubicBezTo>
                  <a:pt x="8180471" y="268950"/>
                  <a:pt x="8174738" y="280380"/>
                  <a:pt x="8163273" y="288000"/>
                </a:cubicBezTo>
                <a:cubicBezTo>
                  <a:pt x="8163273" y="288000"/>
                  <a:pt x="8163273" y="288000"/>
                  <a:pt x="7825042" y="484214"/>
                </a:cubicBezTo>
                <a:cubicBezTo>
                  <a:pt x="7809755" y="493739"/>
                  <a:pt x="7786824" y="488024"/>
                  <a:pt x="7777269" y="470879"/>
                </a:cubicBezTo>
                <a:cubicBezTo>
                  <a:pt x="7767715" y="453735"/>
                  <a:pt x="7773447" y="432780"/>
                  <a:pt x="7790646" y="423255"/>
                </a:cubicBezTo>
                <a:cubicBezTo>
                  <a:pt x="7790646" y="423255"/>
                  <a:pt x="7790646" y="423255"/>
                  <a:pt x="8128876" y="227040"/>
                </a:cubicBezTo>
                <a:cubicBezTo>
                  <a:pt x="8136520" y="222278"/>
                  <a:pt x="8146075" y="221325"/>
                  <a:pt x="8154912" y="223468"/>
                </a:cubicBezTo>
                <a:close/>
                <a:moveTo>
                  <a:pt x="11598743" y="223460"/>
                </a:moveTo>
                <a:cubicBezTo>
                  <a:pt x="11607309" y="225603"/>
                  <a:pt x="11614923" y="230841"/>
                  <a:pt x="11619682" y="238461"/>
                </a:cubicBezTo>
                <a:cubicBezTo>
                  <a:pt x="11623489" y="244176"/>
                  <a:pt x="11625393" y="251796"/>
                  <a:pt x="11625393" y="257511"/>
                </a:cubicBezTo>
                <a:cubicBezTo>
                  <a:pt x="11625393" y="268941"/>
                  <a:pt x="11619682" y="280371"/>
                  <a:pt x="11608261" y="287991"/>
                </a:cubicBezTo>
                <a:cubicBezTo>
                  <a:pt x="11608261" y="287991"/>
                  <a:pt x="11608261" y="287991"/>
                  <a:pt x="11271332" y="484206"/>
                </a:cubicBezTo>
                <a:cubicBezTo>
                  <a:pt x="11254200" y="493731"/>
                  <a:pt x="11233261" y="488016"/>
                  <a:pt x="11223743" y="470871"/>
                </a:cubicBezTo>
                <a:cubicBezTo>
                  <a:pt x="11214225" y="453726"/>
                  <a:pt x="11219936" y="432771"/>
                  <a:pt x="11237068" y="423246"/>
                </a:cubicBezTo>
                <a:cubicBezTo>
                  <a:pt x="11237068" y="423246"/>
                  <a:pt x="11237068" y="423246"/>
                  <a:pt x="11572093" y="227031"/>
                </a:cubicBezTo>
                <a:cubicBezTo>
                  <a:pt x="11580659" y="222269"/>
                  <a:pt x="11590177" y="221316"/>
                  <a:pt x="11598743" y="223460"/>
                </a:cubicBezTo>
                <a:close/>
                <a:moveTo>
                  <a:pt x="12139750" y="215916"/>
                </a:moveTo>
                <a:cubicBezTo>
                  <a:pt x="12139750" y="215916"/>
                  <a:pt x="12139750" y="215916"/>
                  <a:pt x="12139750" y="297535"/>
                </a:cubicBezTo>
                <a:cubicBezTo>
                  <a:pt x="12139750" y="297535"/>
                  <a:pt x="12139750" y="297535"/>
                  <a:pt x="11835475" y="466465"/>
                </a:cubicBezTo>
                <a:cubicBezTo>
                  <a:pt x="11816458" y="477854"/>
                  <a:pt x="11795539" y="470261"/>
                  <a:pt x="11784129" y="453179"/>
                </a:cubicBezTo>
                <a:cubicBezTo>
                  <a:pt x="11774620" y="436096"/>
                  <a:pt x="11782227" y="413319"/>
                  <a:pt x="11799342" y="403828"/>
                </a:cubicBezTo>
                <a:cubicBezTo>
                  <a:pt x="11799342" y="403828"/>
                  <a:pt x="11799342" y="403828"/>
                  <a:pt x="12135947" y="217814"/>
                </a:cubicBezTo>
                <a:cubicBezTo>
                  <a:pt x="12137848" y="215916"/>
                  <a:pt x="12137848" y="215916"/>
                  <a:pt x="12139750" y="215916"/>
                </a:cubicBezTo>
                <a:close/>
                <a:moveTo>
                  <a:pt x="7596540" y="214167"/>
                </a:moveTo>
                <a:cubicBezTo>
                  <a:pt x="7605602" y="216542"/>
                  <a:pt x="7613711" y="222244"/>
                  <a:pt x="7619435" y="230796"/>
                </a:cubicBezTo>
                <a:cubicBezTo>
                  <a:pt x="7621343" y="236498"/>
                  <a:pt x="7623251" y="242199"/>
                  <a:pt x="7623251" y="247901"/>
                </a:cubicBezTo>
                <a:cubicBezTo>
                  <a:pt x="7623251" y="261205"/>
                  <a:pt x="7615619" y="274508"/>
                  <a:pt x="7604171" y="280210"/>
                </a:cubicBezTo>
                <a:cubicBezTo>
                  <a:pt x="7604171" y="280210"/>
                  <a:pt x="7604171" y="280210"/>
                  <a:pt x="7266466" y="466461"/>
                </a:cubicBezTo>
                <a:cubicBezTo>
                  <a:pt x="7249294" y="477864"/>
                  <a:pt x="7226399" y="470262"/>
                  <a:pt x="7216859" y="453158"/>
                </a:cubicBezTo>
                <a:cubicBezTo>
                  <a:pt x="7207320" y="436053"/>
                  <a:pt x="7213044" y="413247"/>
                  <a:pt x="7230215" y="403744"/>
                </a:cubicBezTo>
                <a:cubicBezTo>
                  <a:pt x="7230215" y="403744"/>
                  <a:pt x="7230215" y="403744"/>
                  <a:pt x="7567920" y="217493"/>
                </a:cubicBezTo>
                <a:cubicBezTo>
                  <a:pt x="7577460" y="212741"/>
                  <a:pt x="7587477" y="211791"/>
                  <a:pt x="7596540" y="214167"/>
                </a:cubicBezTo>
                <a:close/>
                <a:moveTo>
                  <a:pt x="7044758" y="204259"/>
                </a:moveTo>
                <a:cubicBezTo>
                  <a:pt x="7054283" y="207354"/>
                  <a:pt x="7062856" y="214022"/>
                  <a:pt x="7068571" y="223547"/>
                </a:cubicBezTo>
                <a:cubicBezTo>
                  <a:pt x="7070476" y="229262"/>
                  <a:pt x="7072381" y="234977"/>
                  <a:pt x="7072381" y="240692"/>
                </a:cubicBezTo>
                <a:cubicBezTo>
                  <a:pt x="7072381" y="254027"/>
                  <a:pt x="7064761" y="267362"/>
                  <a:pt x="7051425" y="274982"/>
                </a:cubicBezTo>
                <a:cubicBezTo>
                  <a:pt x="7051425" y="274982"/>
                  <a:pt x="7051425" y="274982"/>
                  <a:pt x="6714236" y="452146"/>
                </a:cubicBezTo>
                <a:cubicBezTo>
                  <a:pt x="6695185" y="463576"/>
                  <a:pt x="6672325" y="455956"/>
                  <a:pt x="6662800" y="436906"/>
                </a:cubicBezTo>
                <a:cubicBezTo>
                  <a:pt x="6653275" y="417857"/>
                  <a:pt x="6658990" y="394997"/>
                  <a:pt x="6678040" y="385472"/>
                </a:cubicBezTo>
                <a:cubicBezTo>
                  <a:pt x="6678040" y="385472"/>
                  <a:pt x="6678040" y="385472"/>
                  <a:pt x="7015230" y="206402"/>
                </a:cubicBezTo>
                <a:cubicBezTo>
                  <a:pt x="7024755" y="201639"/>
                  <a:pt x="7035233" y="201163"/>
                  <a:pt x="7044758" y="204259"/>
                </a:cubicBezTo>
                <a:close/>
                <a:moveTo>
                  <a:pt x="6500891" y="194963"/>
                </a:moveTo>
                <a:cubicBezTo>
                  <a:pt x="6510676" y="198292"/>
                  <a:pt x="6519268" y="205427"/>
                  <a:pt x="6524041" y="215892"/>
                </a:cubicBezTo>
                <a:cubicBezTo>
                  <a:pt x="6527860" y="221600"/>
                  <a:pt x="6527860" y="227308"/>
                  <a:pt x="6527860" y="233016"/>
                </a:cubicBezTo>
                <a:cubicBezTo>
                  <a:pt x="6527860" y="248237"/>
                  <a:pt x="6520223" y="261556"/>
                  <a:pt x="6506857" y="269166"/>
                </a:cubicBezTo>
                <a:cubicBezTo>
                  <a:pt x="6506857" y="269166"/>
                  <a:pt x="6506857" y="269166"/>
                  <a:pt x="6166999" y="436601"/>
                </a:cubicBezTo>
                <a:cubicBezTo>
                  <a:pt x="6147906" y="446114"/>
                  <a:pt x="6123085" y="438504"/>
                  <a:pt x="6113538" y="419477"/>
                </a:cubicBezTo>
                <a:cubicBezTo>
                  <a:pt x="6103992" y="400450"/>
                  <a:pt x="6111629" y="375716"/>
                  <a:pt x="6130722" y="366202"/>
                </a:cubicBezTo>
                <a:cubicBezTo>
                  <a:pt x="6130722" y="366202"/>
                  <a:pt x="6130722" y="366202"/>
                  <a:pt x="6470580" y="196865"/>
                </a:cubicBezTo>
                <a:cubicBezTo>
                  <a:pt x="6480127" y="192109"/>
                  <a:pt x="6491105" y="191633"/>
                  <a:pt x="6500891" y="194963"/>
                </a:cubicBezTo>
                <a:close/>
                <a:moveTo>
                  <a:pt x="5957785" y="186367"/>
                </a:moveTo>
                <a:cubicBezTo>
                  <a:pt x="5967786" y="190163"/>
                  <a:pt x="5976358" y="197754"/>
                  <a:pt x="5981121" y="208192"/>
                </a:cubicBezTo>
                <a:cubicBezTo>
                  <a:pt x="5984930" y="213886"/>
                  <a:pt x="5984930" y="219579"/>
                  <a:pt x="5984930" y="225273"/>
                </a:cubicBezTo>
                <a:cubicBezTo>
                  <a:pt x="5984930" y="240455"/>
                  <a:pt x="5977311" y="255638"/>
                  <a:pt x="5962070" y="263230"/>
                </a:cubicBezTo>
                <a:cubicBezTo>
                  <a:pt x="5962070" y="263230"/>
                  <a:pt x="5962070" y="263230"/>
                  <a:pt x="5622984" y="420750"/>
                </a:cubicBezTo>
                <a:cubicBezTo>
                  <a:pt x="5602029" y="430239"/>
                  <a:pt x="5577264" y="422648"/>
                  <a:pt x="5567739" y="401772"/>
                </a:cubicBezTo>
                <a:cubicBezTo>
                  <a:pt x="5556309" y="380896"/>
                  <a:pt x="5565834" y="356224"/>
                  <a:pt x="5586789" y="346734"/>
                </a:cubicBezTo>
                <a:cubicBezTo>
                  <a:pt x="5586789" y="346734"/>
                  <a:pt x="5586789" y="346734"/>
                  <a:pt x="5925876" y="187316"/>
                </a:cubicBezTo>
                <a:cubicBezTo>
                  <a:pt x="5936354" y="182571"/>
                  <a:pt x="5947784" y="182571"/>
                  <a:pt x="5957785" y="186367"/>
                </a:cubicBezTo>
                <a:close/>
                <a:moveTo>
                  <a:pt x="398308" y="186354"/>
                </a:moveTo>
                <a:cubicBezTo>
                  <a:pt x="408309" y="190150"/>
                  <a:pt x="416882" y="197741"/>
                  <a:pt x="421644" y="208179"/>
                </a:cubicBezTo>
                <a:cubicBezTo>
                  <a:pt x="423549" y="213873"/>
                  <a:pt x="425454" y="219566"/>
                  <a:pt x="425454" y="225260"/>
                </a:cubicBezTo>
                <a:cubicBezTo>
                  <a:pt x="425454" y="240442"/>
                  <a:pt x="415929" y="255625"/>
                  <a:pt x="400689" y="263217"/>
                </a:cubicBezTo>
                <a:cubicBezTo>
                  <a:pt x="400689" y="263217"/>
                  <a:pt x="400689" y="263217"/>
                  <a:pt x="61595" y="420738"/>
                </a:cubicBezTo>
                <a:cubicBezTo>
                  <a:pt x="42545" y="430227"/>
                  <a:pt x="17780" y="422635"/>
                  <a:pt x="6349" y="401759"/>
                </a:cubicBezTo>
                <a:cubicBezTo>
                  <a:pt x="-3176" y="380883"/>
                  <a:pt x="6349" y="356211"/>
                  <a:pt x="27305" y="346722"/>
                </a:cubicBezTo>
                <a:cubicBezTo>
                  <a:pt x="27305" y="346722"/>
                  <a:pt x="27305" y="346722"/>
                  <a:pt x="366399" y="187303"/>
                </a:cubicBezTo>
                <a:cubicBezTo>
                  <a:pt x="376876" y="182559"/>
                  <a:pt x="388306" y="182559"/>
                  <a:pt x="398308" y="186354"/>
                </a:cubicBezTo>
                <a:close/>
                <a:moveTo>
                  <a:pt x="5409190" y="176874"/>
                </a:moveTo>
                <a:cubicBezTo>
                  <a:pt x="5419652" y="180684"/>
                  <a:pt x="5428687" y="188304"/>
                  <a:pt x="5433443" y="198782"/>
                </a:cubicBezTo>
                <a:cubicBezTo>
                  <a:pt x="5435345" y="204497"/>
                  <a:pt x="5437247" y="212117"/>
                  <a:pt x="5437247" y="217832"/>
                </a:cubicBezTo>
                <a:cubicBezTo>
                  <a:pt x="5437247" y="233072"/>
                  <a:pt x="5427736" y="250217"/>
                  <a:pt x="5410617" y="255932"/>
                </a:cubicBezTo>
                <a:cubicBezTo>
                  <a:pt x="5410617" y="255932"/>
                  <a:pt x="5410617" y="255932"/>
                  <a:pt x="5072018" y="406426"/>
                </a:cubicBezTo>
                <a:cubicBezTo>
                  <a:pt x="5049194" y="415951"/>
                  <a:pt x="5024468" y="406426"/>
                  <a:pt x="5014959" y="385471"/>
                </a:cubicBezTo>
                <a:cubicBezTo>
                  <a:pt x="5005447" y="362611"/>
                  <a:pt x="5014959" y="337846"/>
                  <a:pt x="5035880" y="328321"/>
                </a:cubicBezTo>
                <a:cubicBezTo>
                  <a:pt x="5035880" y="328321"/>
                  <a:pt x="5035880" y="328321"/>
                  <a:pt x="5376377" y="177827"/>
                </a:cubicBezTo>
                <a:cubicBezTo>
                  <a:pt x="5386839" y="173064"/>
                  <a:pt x="5398728" y="173064"/>
                  <a:pt x="5409190" y="176874"/>
                </a:cubicBezTo>
                <a:close/>
                <a:moveTo>
                  <a:pt x="942624" y="176859"/>
                </a:moveTo>
                <a:cubicBezTo>
                  <a:pt x="952848" y="180669"/>
                  <a:pt x="961408" y="188289"/>
                  <a:pt x="966164" y="198766"/>
                </a:cubicBezTo>
                <a:cubicBezTo>
                  <a:pt x="968066" y="204481"/>
                  <a:pt x="969968" y="212101"/>
                  <a:pt x="969968" y="217816"/>
                </a:cubicBezTo>
                <a:cubicBezTo>
                  <a:pt x="969968" y="233056"/>
                  <a:pt x="960457" y="250201"/>
                  <a:pt x="945239" y="255916"/>
                </a:cubicBezTo>
                <a:cubicBezTo>
                  <a:pt x="945239" y="255916"/>
                  <a:pt x="945239" y="255916"/>
                  <a:pt x="604741" y="406411"/>
                </a:cubicBezTo>
                <a:cubicBezTo>
                  <a:pt x="583816" y="415936"/>
                  <a:pt x="557185" y="406411"/>
                  <a:pt x="547674" y="385456"/>
                </a:cubicBezTo>
                <a:cubicBezTo>
                  <a:pt x="538163" y="362596"/>
                  <a:pt x="547674" y="337831"/>
                  <a:pt x="570501" y="328306"/>
                </a:cubicBezTo>
                <a:cubicBezTo>
                  <a:pt x="570501" y="328306"/>
                  <a:pt x="570501" y="328306"/>
                  <a:pt x="909097" y="177812"/>
                </a:cubicBezTo>
                <a:cubicBezTo>
                  <a:pt x="920510" y="173049"/>
                  <a:pt x="932399" y="173049"/>
                  <a:pt x="942624" y="176859"/>
                </a:cubicBezTo>
                <a:close/>
                <a:moveTo>
                  <a:pt x="4856424" y="167564"/>
                </a:moveTo>
                <a:cubicBezTo>
                  <a:pt x="4867147" y="171602"/>
                  <a:pt x="4876206" y="179677"/>
                  <a:pt x="4880972" y="191077"/>
                </a:cubicBezTo>
                <a:cubicBezTo>
                  <a:pt x="4882878" y="196777"/>
                  <a:pt x="4884784" y="202476"/>
                  <a:pt x="4884784" y="208176"/>
                </a:cubicBezTo>
                <a:cubicBezTo>
                  <a:pt x="4884784" y="227176"/>
                  <a:pt x="4875253" y="242376"/>
                  <a:pt x="4856185" y="249976"/>
                </a:cubicBezTo>
                <a:cubicBezTo>
                  <a:pt x="4856185" y="249976"/>
                  <a:pt x="4856185" y="249976"/>
                  <a:pt x="4516850" y="390576"/>
                </a:cubicBezTo>
                <a:cubicBezTo>
                  <a:pt x="4493973" y="400076"/>
                  <a:pt x="4467283" y="390576"/>
                  <a:pt x="4457750" y="367776"/>
                </a:cubicBezTo>
                <a:cubicBezTo>
                  <a:pt x="4448218" y="343076"/>
                  <a:pt x="4459658" y="318376"/>
                  <a:pt x="4482534" y="308876"/>
                </a:cubicBezTo>
                <a:cubicBezTo>
                  <a:pt x="4482534" y="308876"/>
                  <a:pt x="4482534" y="308876"/>
                  <a:pt x="4821864" y="168277"/>
                </a:cubicBezTo>
                <a:cubicBezTo>
                  <a:pt x="4833304" y="163527"/>
                  <a:pt x="4845697" y="163527"/>
                  <a:pt x="4856424" y="167564"/>
                </a:cubicBezTo>
                <a:close/>
                <a:moveTo>
                  <a:pt x="1492476" y="167547"/>
                </a:moveTo>
                <a:cubicBezTo>
                  <a:pt x="1503199" y="171584"/>
                  <a:pt x="1512255" y="179659"/>
                  <a:pt x="1517021" y="191059"/>
                </a:cubicBezTo>
                <a:cubicBezTo>
                  <a:pt x="1518927" y="196759"/>
                  <a:pt x="1520833" y="202459"/>
                  <a:pt x="1520833" y="208159"/>
                </a:cubicBezTo>
                <a:cubicBezTo>
                  <a:pt x="1520833" y="227159"/>
                  <a:pt x="1509395" y="242359"/>
                  <a:pt x="1492238" y="249959"/>
                </a:cubicBezTo>
                <a:cubicBezTo>
                  <a:pt x="1492238" y="249959"/>
                  <a:pt x="1492238" y="249959"/>
                  <a:pt x="1150990" y="390559"/>
                </a:cubicBezTo>
                <a:cubicBezTo>
                  <a:pt x="1128114" y="400059"/>
                  <a:pt x="1103330" y="390559"/>
                  <a:pt x="1093798" y="367759"/>
                </a:cubicBezTo>
                <a:cubicBezTo>
                  <a:pt x="1084266" y="343059"/>
                  <a:pt x="1093798" y="318359"/>
                  <a:pt x="1116675" y="308859"/>
                </a:cubicBezTo>
                <a:cubicBezTo>
                  <a:pt x="1116675" y="308859"/>
                  <a:pt x="1116675" y="308859"/>
                  <a:pt x="1457922" y="168259"/>
                </a:cubicBezTo>
                <a:cubicBezTo>
                  <a:pt x="1469361" y="163509"/>
                  <a:pt x="1481752" y="163509"/>
                  <a:pt x="1492476" y="167547"/>
                </a:cubicBezTo>
                <a:close/>
                <a:moveTo>
                  <a:pt x="4266102" y="156882"/>
                </a:moveTo>
                <a:cubicBezTo>
                  <a:pt x="4289029" y="149252"/>
                  <a:pt x="4315777" y="160697"/>
                  <a:pt x="4325330" y="183588"/>
                </a:cubicBezTo>
                <a:cubicBezTo>
                  <a:pt x="4327241" y="189310"/>
                  <a:pt x="4329151" y="195033"/>
                  <a:pt x="4329151" y="200756"/>
                </a:cubicBezTo>
                <a:cubicBezTo>
                  <a:pt x="4329151" y="219831"/>
                  <a:pt x="4317689" y="236999"/>
                  <a:pt x="4298582" y="244630"/>
                </a:cubicBezTo>
                <a:cubicBezTo>
                  <a:pt x="4298582" y="244630"/>
                  <a:pt x="4298582" y="244630"/>
                  <a:pt x="3956617" y="376251"/>
                </a:cubicBezTo>
                <a:cubicBezTo>
                  <a:pt x="3933693" y="385789"/>
                  <a:pt x="3906944" y="374344"/>
                  <a:pt x="3897391" y="349546"/>
                </a:cubicBezTo>
                <a:cubicBezTo>
                  <a:pt x="3887837" y="326655"/>
                  <a:pt x="3899301" y="299949"/>
                  <a:pt x="3924139" y="290411"/>
                </a:cubicBezTo>
                <a:cubicBezTo>
                  <a:pt x="3924139" y="290411"/>
                  <a:pt x="3924139" y="290411"/>
                  <a:pt x="4266102" y="156882"/>
                </a:cubicBezTo>
                <a:close/>
                <a:moveTo>
                  <a:pt x="2010467" y="156862"/>
                </a:moveTo>
                <a:cubicBezTo>
                  <a:pt x="2035214" y="149232"/>
                  <a:pt x="2061870" y="160677"/>
                  <a:pt x="2071388" y="183568"/>
                </a:cubicBezTo>
                <a:cubicBezTo>
                  <a:pt x="2073292" y="189291"/>
                  <a:pt x="2073292" y="195013"/>
                  <a:pt x="2073292" y="200736"/>
                </a:cubicBezTo>
                <a:cubicBezTo>
                  <a:pt x="2073292" y="219812"/>
                  <a:pt x="2061870" y="236980"/>
                  <a:pt x="2044733" y="244610"/>
                </a:cubicBezTo>
                <a:cubicBezTo>
                  <a:pt x="2044733" y="244610"/>
                  <a:pt x="2044733" y="244610"/>
                  <a:pt x="1703979" y="376232"/>
                </a:cubicBezTo>
                <a:cubicBezTo>
                  <a:pt x="1679231" y="385770"/>
                  <a:pt x="1652580" y="374325"/>
                  <a:pt x="1643062" y="349526"/>
                </a:cubicBezTo>
                <a:cubicBezTo>
                  <a:pt x="1633544" y="326635"/>
                  <a:pt x="1644966" y="299930"/>
                  <a:pt x="1669713" y="290392"/>
                </a:cubicBezTo>
                <a:cubicBezTo>
                  <a:pt x="1669713" y="290392"/>
                  <a:pt x="1669713" y="290392"/>
                  <a:pt x="2010467" y="156862"/>
                </a:cubicBezTo>
                <a:close/>
                <a:moveTo>
                  <a:pt x="3720656" y="144611"/>
                </a:moveTo>
                <a:cubicBezTo>
                  <a:pt x="3739813" y="145502"/>
                  <a:pt x="3756568" y="157613"/>
                  <a:pt x="3763698" y="176135"/>
                </a:cubicBezTo>
                <a:cubicBezTo>
                  <a:pt x="3765599" y="181835"/>
                  <a:pt x="3765599" y="187534"/>
                  <a:pt x="3765599" y="193233"/>
                </a:cubicBezTo>
                <a:cubicBezTo>
                  <a:pt x="3765599" y="212231"/>
                  <a:pt x="3754192" y="231229"/>
                  <a:pt x="3735180" y="238828"/>
                </a:cubicBezTo>
                <a:cubicBezTo>
                  <a:pt x="3735180" y="238828"/>
                  <a:pt x="3735180" y="238828"/>
                  <a:pt x="3393028" y="360415"/>
                </a:cubicBezTo>
                <a:cubicBezTo>
                  <a:pt x="3368312" y="369914"/>
                  <a:pt x="3341701" y="356616"/>
                  <a:pt x="3332195" y="331918"/>
                </a:cubicBezTo>
                <a:cubicBezTo>
                  <a:pt x="3322691" y="307221"/>
                  <a:pt x="3335998" y="278724"/>
                  <a:pt x="3360708" y="271125"/>
                </a:cubicBezTo>
                <a:cubicBezTo>
                  <a:pt x="3360708" y="271125"/>
                  <a:pt x="3360708" y="271125"/>
                  <a:pt x="3700964" y="147639"/>
                </a:cubicBezTo>
                <a:cubicBezTo>
                  <a:pt x="3707615" y="145264"/>
                  <a:pt x="3714268" y="144314"/>
                  <a:pt x="3720656" y="144611"/>
                </a:cubicBezTo>
                <a:close/>
                <a:moveTo>
                  <a:pt x="2586993" y="144589"/>
                </a:moveTo>
                <a:cubicBezTo>
                  <a:pt x="2606219" y="145480"/>
                  <a:pt x="2623032" y="157591"/>
                  <a:pt x="2630185" y="176114"/>
                </a:cubicBezTo>
                <a:cubicBezTo>
                  <a:pt x="2632093" y="181813"/>
                  <a:pt x="2632093" y="187512"/>
                  <a:pt x="2632093" y="193212"/>
                </a:cubicBezTo>
                <a:cubicBezTo>
                  <a:pt x="2632093" y="212210"/>
                  <a:pt x="2620647" y="231208"/>
                  <a:pt x="2601569" y="238807"/>
                </a:cubicBezTo>
                <a:cubicBezTo>
                  <a:pt x="2601569" y="238807"/>
                  <a:pt x="2601569" y="238807"/>
                  <a:pt x="2258175" y="360394"/>
                </a:cubicBezTo>
                <a:cubicBezTo>
                  <a:pt x="2233374" y="369893"/>
                  <a:pt x="2206666" y="356594"/>
                  <a:pt x="2197127" y="331897"/>
                </a:cubicBezTo>
                <a:cubicBezTo>
                  <a:pt x="2187588" y="307199"/>
                  <a:pt x="2200942" y="278702"/>
                  <a:pt x="2225743" y="271103"/>
                </a:cubicBezTo>
                <a:cubicBezTo>
                  <a:pt x="2225743" y="271103"/>
                  <a:pt x="2225743" y="271103"/>
                  <a:pt x="2567230" y="147617"/>
                </a:cubicBezTo>
                <a:cubicBezTo>
                  <a:pt x="2573907" y="145242"/>
                  <a:pt x="2580584" y="144292"/>
                  <a:pt x="2586993" y="144589"/>
                </a:cubicBezTo>
                <a:close/>
                <a:moveTo>
                  <a:pt x="3149047" y="135364"/>
                </a:moveTo>
                <a:cubicBezTo>
                  <a:pt x="3168678" y="136784"/>
                  <a:pt x="3186167" y="149926"/>
                  <a:pt x="3191878" y="168396"/>
                </a:cubicBezTo>
                <a:cubicBezTo>
                  <a:pt x="3193782" y="174078"/>
                  <a:pt x="3195685" y="179761"/>
                  <a:pt x="3195685" y="185444"/>
                </a:cubicBezTo>
                <a:cubicBezTo>
                  <a:pt x="3195685" y="206282"/>
                  <a:pt x="3182361" y="225225"/>
                  <a:pt x="3161420" y="232802"/>
                </a:cubicBezTo>
                <a:cubicBezTo>
                  <a:pt x="3161420" y="232802"/>
                  <a:pt x="3161420" y="232802"/>
                  <a:pt x="2818756" y="344567"/>
                </a:cubicBezTo>
                <a:cubicBezTo>
                  <a:pt x="2794009" y="354039"/>
                  <a:pt x="2765451" y="338884"/>
                  <a:pt x="2755934" y="314258"/>
                </a:cubicBezTo>
                <a:cubicBezTo>
                  <a:pt x="2746414" y="287738"/>
                  <a:pt x="2761644" y="259323"/>
                  <a:pt x="2788299" y="249851"/>
                </a:cubicBezTo>
                <a:cubicBezTo>
                  <a:pt x="2788299" y="249851"/>
                  <a:pt x="2788299" y="249851"/>
                  <a:pt x="3129056" y="138087"/>
                </a:cubicBezTo>
                <a:cubicBezTo>
                  <a:pt x="3135720" y="135719"/>
                  <a:pt x="3142503" y="134890"/>
                  <a:pt x="3149047" y="135364"/>
                </a:cubicBezTo>
                <a:close/>
                <a:moveTo>
                  <a:pt x="9144187" y="30"/>
                </a:moveTo>
                <a:cubicBezTo>
                  <a:pt x="9144187" y="30"/>
                  <a:pt x="9144187" y="30"/>
                  <a:pt x="9275861" y="30"/>
                </a:cubicBezTo>
                <a:cubicBezTo>
                  <a:pt x="9275861" y="30"/>
                  <a:pt x="9275861" y="30"/>
                  <a:pt x="8962897" y="187323"/>
                </a:cubicBezTo>
                <a:cubicBezTo>
                  <a:pt x="8947631" y="196878"/>
                  <a:pt x="8926639" y="193056"/>
                  <a:pt x="8917098" y="175856"/>
                </a:cubicBezTo>
                <a:cubicBezTo>
                  <a:pt x="8907556" y="160567"/>
                  <a:pt x="8913281" y="139544"/>
                  <a:pt x="8928547" y="129989"/>
                </a:cubicBezTo>
                <a:cubicBezTo>
                  <a:pt x="8928547" y="129989"/>
                  <a:pt x="8928547" y="129989"/>
                  <a:pt x="9144187" y="30"/>
                </a:cubicBezTo>
                <a:close/>
                <a:moveTo>
                  <a:pt x="8549535" y="29"/>
                </a:moveTo>
                <a:cubicBezTo>
                  <a:pt x="8549535" y="29"/>
                  <a:pt x="8549535" y="29"/>
                  <a:pt x="8688477" y="29"/>
                </a:cubicBezTo>
                <a:cubicBezTo>
                  <a:pt x="8688477" y="29"/>
                  <a:pt x="8688477" y="29"/>
                  <a:pt x="8391560" y="173083"/>
                </a:cubicBezTo>
                <a:cubicBezTo>
                  <a:pt x="8374430" y="182592"/>
                  <a:pt x="8353493" y="176886"/>
                  <a:pt x="8343977" y="159771"/>
                </a:cubicBezTo>
                <a:cubicBezTo>
                  <a:pt x="8334460" y="142656"/>
                  <a:pt x="8340170" y="121738"/>
                  <a:pt x="8357300" y="112230"/>
                </a:cubicBezTo>
                <a:cubicBezTo>
                  <a:pt x="8357300" y="112230"/>
                  <a:pt x="8357300" y="112230"/>
                  <a:pt x="8549535" y="29"/>
                </a:cubicBezTo>
                <a:close/>
                <a:moveTo>
                  <a:pt x="7958714" y="29"/>
                </a:moveTo>
                <a:cubicBezTo>
                  <a:pt x="7958714" y="29"/>
                  <a:pt x="7958714" y="29"/>
                  <a:pt x="8107445" y="29"/>
                </a:cubicBezTo>
                <a:cubicBezTo>
                  <a:pt x="8107445" y="29"/>
                  <a:pt x="8107445" y="29"/>
                  <a:pt x="7825239" y="158743"/>
                </a:cubicBezTo>
                <a:cubicBezTo>
                  <a:pt x="7808077" y="168304"/>
                  <a:pt x="7785196" y="162567"/>
                  <a:pt x="7775662" y="145357"/>
                </a:cubicBezTo>
                <a:cubicBezTo>
                  <a:pt x="7766128" y="126235"/>
                  <a:pt x="7773755" y="105201"/>
                  <a:pt x="7790916" y="95640"/>
                </a:cubicBezTo>
                <a:cubicBezTo>
                  <a:pt x="7790916" y="95640"/>
                  <a:pt x="7790916" y="95640"/>
                  <a:pt x="7958714" y="29"/>
                </a:cubicBezTo>
                <a:close/>
                <a:moveTo>
                  <a:pt x="7373861" y="29"/>
                </a:moveTo>
                <a:cubicBezTo>
                  <a:pt x="7373861" y="29"/>
                  <a:pt x="7373861" y="29"/>
                  <a:pt x="7534349" y="29"/>
                </a:cubicBezTo>
                <a:cubicBezTo>
                  <a:pt x="7534349" y="29"/>
                  <a:pt x="7534349" y="29"/>
                  <a:pt x="7266870" y="142904"/>
                </a:cubicBezTo>
                <a:cubicBezTo>
                  <a:pt x="7247764" y="152429"/>
                  <a:pt x="7224837" y="146714"/>
                  <a:pt x="7215285" y="127664"/>
                </a:cubicBezTo>
                <a:cubicBezTo>
                  <a:pt x="7205732" y="110519"/>
                  <a:pt x="7213374" y="87659"/>
                  <a:pt x="7230569" y="76229"/>
                </a:cubicBezTo>
                <a:cubicBezTo>
                  <a:pt x="7230569" y="76229"/>
                  <a:pt x="7230569" y="76229"/>
                  <a:pt x="7373861" y="29"/>
                </a:cubicBezTo>
                <a:close/>
                <a:moveTo>
                  <a:pt x="6792947" y="29"/>
                </a:moveTo>
                <a:cubicBezTo>
                  <a:pt x="6792947" y="29"/>
                  <a:pt x="6792947" y="29"/>
                  <a:pt x="6962841" y="29"/>
                </a:cubicBezTo>
                <a:cubicBezTo>
                  <a:pt x="6962841" y="29"/>
                  <a:pt x="6962841" y="29"/>
                  <a:pt x="6714681" y="130160"/>
                </a:cubicBezTo>
                <a:cubicBezTo>
                  <a:pt x="6695592" y="139729"/>
                  <a:pt x="6670776" y="132074"/>
                  <a:pt x="6661231" y="112937"/>
                </a:cubicBezTo>
                <a:cubicBezTo>
                  <a:pt x="6651687" y="93800"/>
                  <a:pt x="6659322" y="68922"/>
                  <a:pt x="6678412" y="59354"/>
                </a:cubicBezTo>
                <a:cubicBezTo>
                  <a:pt x="6678412" y="59354"/>
                  <a:pt x="6678412" y="59354"/>
                  <a:pt x="6792947" y="29"/>
                </a:cubicBezTo>
                <a:close/>
                <a:moveTo>
                  <a:pt x="6214724" y="29"/>
                </a:moveTo>
                <a:cubicBezTo>
                  <a:pt x="6214724" y="29"/>
                  <a:pt x="6214724" y="29"/>
                  <a:pt x="6396096" y="29"/>
                </a:cubicBezTo>
                <a:cubicBezTo>
                  <a:pt x="6396096" y="29"/>
                  <a:pt x="6396096" y="29"/>
                  <a:pt x="6166995" y="114329"/>
                </a:cubicBezTo>
                <a:cubicBezTo>
                  <a:pt x="6147903" y="123854"/>
                  <a:pt x="6123084" y="116234"/>
                  <a:pt x="6113538" y="95279"/>
                </a:cubicBezTo>
                <a:cubicBezTo>
                  <a:pt x="6103992" y="76229"/>
                  <a:pt x="6111628" y="51464"/>
                  <a:pt x="6130720" y="41939"/>
                </a:cubicBezTo>
                <a:cubicBezTo>
                  <a:pt x="6130720" y="41939"/>
                  <a:pt x="6130720" y="41939"/>
                  <a:pt x="6214724" y="29"/>
                </a:cubicBezTo>
                <a:close/>
                <a:moveTo>
                  <a:pt x="5637626" y="29"/>
                </a:moveTo>
                <a:cubicBezTo>
                  <a:pt x="5637626" y="29"/>
                  <a:pt x="5637626" y="29"/>
                  <a:pt x="5829356" y="29"/>
                </a:cubicBezTo>
                <a:cubicBezTo>
                  <a:pt x="5829356" y="29"/>
                  <a:pt x="5829356" y="29"/>
                  <a:pt x="5622440" y="99958"/>
                </a:cubicBezTo>
                <a:cubicBezTo>
                  <a:pt x="5601558" y="109567"/>
                  <a:pt x="5576879" y="101880"/>
                  <a:pt x="5567388" y="80741"/>
                </a:cubicBezTo>
                <a:cubicBezTo>
                  <a:pt x="5557896" y="59602"/>
                  <a:pt x="5565491" y="34620"/>
                  <a:pt x="5586371" y="25011"/>
                </a:cubicBezTo>
                <a:cubicBezTo>
                  <a:pt x="5586371" y="25011"/>
                  <a:pt x="5586371" y="25011"/>
                  <a:pt x="5637626" y="29"/>
                </a:cubicBezTo>
                <a:close/>
                <a:moveTo>
                  <a:pt x="5050992" y="29"/>
                </a:moveTo>
                <a:cubicBezTo>
                  <a:pt x="5050992" y="29"/>
                  <a:pt x="5050992" y="29"/>
                  <a:pt x="5257856" y="29"/>
                </a:cubicBezTo>
                <a:cubicBezTo>
                  <a:pt x="5257856" y="29"/>
                  <a:pt x="5257856" y="29"/>
                  <a:pt x="5071866" y="83849"/>
                </a:cubicBezTo>
                <a:cubicBezTo>
                  <a:pt x="5050992" y="95279"/>
                  <a:pt x="5024424" y="85754"/>
                  <a:pt x="5014937" y="62894"/>
                </a:cubicBezTo>
                <a:cubicBezTo>
                  <a:pt x="5005447" y="41939"/>
                  <a:pt x="5014937" y="17174"/>
                  <a:pt x="5037708" y="7649"/>
                </a:cubicBezTo>
                <a:cubicBezTo>
                  <a:pt x="5037708" y="7649"/>
                  <a:pt x="5037708" y="7649"/>
                  <a:pt x="5050992" y="29"/>
                </a:cubicBezTo>
                <a:close/>
                <a:moveTo>
                  <a:pt x="4468136" y="29"/>
                </a:moveTo>
                <a:cubicBezTo>
                  <a:pt x="4468136" y="29"/>
                  <a:pt x="4468136" y="29"/>
                  <a:pt x="4678410" y="29"/>
                </a:cubicBezTo>
                <a:cubicBezTo>
                  <a:pt x="4678410" y="29"/>
                  <a:pt x="4678410" y="29"/>
                  <a:pt x="4517392" y="71353"/>
                </a:cubicBezTo>
                <a:cubicBezTo>
                  <a:pt x="4494658" y="80992"/>
                  <a:pt x="4470031" y="69426"/>
                  <a:pt x="4460559" y="48221"/>
                </a:cubicBezTo>
                <a:cubicBezTo>
                  <a:pt x="4452982" y="30872"/>
                  <a:pt x="4456771" y="13523"/>
                  <a:pt x="4468136" y="29"/>
                </a:cubicBezTo>
                <a:close/>
                <a:moveTo>
                  <a:pt x="3898002" y="29"/>
                </a:moveTo>
                <a:cubicBezTo>
                  <a:pt x="3898002" y="29"/>
                  <a:pt x="3898002" y="29"/>
                  <a:pt x="4092634" y="29"/>
                </a:cubicBezTo>
                <a:cubicBezTo>
                  <a:pt x="4092634" y="29"/>
                  <a:pt x="4092634" y="29"/>
                  <a:pt x="3959065" y="55545"/>
                </a:cubicBezTo>
                <a:cubicBezTo>
                  <a:pt x="3936167" y="65117"/>
                  <a:pt x="3909452" y="53630"/>
                  <a:pt x="3899912" y="30658"/>
                </a:cubicBezTo>
                <a:cubicBezTo>
                  <a:pt x="3896097" y="21087"/>
                  <a:pt x="3894189" y="9600"/>
                  <a:pt x="3898002" y="29"/>
                </a:cubicBezTo>
                <a:close/>
                <a:moveTo>
                  <a:pt x="3332212" y="29"/>
                </a:moveTo>
                <a:cubicBezTo>
                  <a:pt x="3332212" y="29"/>
                  <a:pt x="3332212" y="29"/>
                  <a:pt x="3497315" y="29"/>
                </a:cubicBezTo>
                <a:cubicBezTo>
                  <a:pt x="3497315" y="29"/>
                  <a:pt x="3497315" y="29"/>
                  <a:pt x="3394843" y="41670"/>
                </a:cubicBezTo>
                <a:cubicBezTo>
                  <a:pt x="3370170" y="49241"/>
                  <a:pt x="3343601" y="37885"/>
                  <a:pt x="3334111" y="15171"/>
                </a:cubicBezTo>
                <a:cubicBezTo>
                  <a:pt x="3332212" y="9493"/>
                  <a:pt x="3332212" y="5707"/>
                  <a:pt x="3332212" y="29"/>
                </a:cubicBezTo>
                <a:close/>
                <a:moveTo>
                  <a:pt x="2760703" y="28"/>
                </a:moveTo>
                <a:cubicBezTo>
                  <a:pt x="2760703" y="28"/>
                  <a:pt x="2760703" y="28"/>
                  <a:pt x="2890880" y="28"/>
                </a:cubicBezTo>
                <a:cubicBezTo>
                  <a:pt x="2890880" y="28"/>
                  <a:pt x="2890880" y="28"/>
                  <a:pt x="2821076" y="27192"/>
                </a:cubicBezTo>
                <a:cubicBezTo>
                  <a:pt x="2796551" y="34954"/>
                  <a:pt x="2772024" y="23312"/>
                  <a:pt x="2760703" y="28"/>
                </a:cubicBezTo>
                <a:close/>
                <a:moveTo>
                  <a:pt x="11404328" y="19"/>
                </a:moveTo>
                <a:cubicBezTo>
                  <a:pt x="11404328" y="19"/>
                  <a:pt x="11404328" y="19"/>
                  <a:pt x="11552367" y="19"/>
                </a:cubicBezTo>
                <a:cubicBezTo>
                  <a:pt x="11552367" y="19"/>
                  <a:pt x="11552367" y="19"/>
                  <a:pt x="11271473" y="158733"/>
                </a:cubicBezTo>
                <a:cubicBezTo>
                  <a:pt x="11254392" y="168294"/>
                  <a:pt x="11231616" y="162557"/>
                  <a:pt x="11222127" y="145347"/>
                </a:cubicBezTo>
                <a:cubicBezTo>
                  <a:pt x="11212637" y="126225"/>
                  <a:pt x="11218331" y="105191"/>
                  <a:pt x="11235412" y="95630"/>
                </a:cubicBezTo>
                <a:cubicBezTo>
                  <a:pt x="11235412" y="95630"/>
                  <a:pt x="11235412" y="95630"/>
                  <a:pt x="11404328" y="19"/>
                </a:cubicBezTo>
                <a:close/>
                <a:moveTo>
                  <a:pt x="11942099" y="17"/>
                </a:moveTo>
                <a:cubicBezTo>
                  <a:pt x="11942099" y="17"/>
                  <a:pt x="11942099" y="17"/>
                  <a:pt x="12100062" y="17"/>
                </a:cubicBezTo>
                <a:cubicBezTo>
                  <a:pt x="12100062" y="17"/>
                  <a:pt x="12100062" y="17"/>
                  <a:pt x="11835521" y="142892"/>
                </a:cubicBezTo>
                <a:cubicBezTo>
                  <a:pt x="11816490" y="152417"/>
                  <a:pt x="11793652" y="146702"/>
                  <a:pt x="11784136" y="127652"/>
                </a:cubicBezTo>
                <a:cubicBezTo>
                  <a:pt x="11774620" y="110507"/>
                  <a:pt x="11780330" y="87647"/>
                  <a:pt x="11799361" y="76217"/>
                </a:cubicBezTo>
                <a:cubicBezTo>
                  <a:pt x="11799361" y="76217"/>
                  <a:pt x="11799361" y="76217"/>
                  <a:pt x="11942099" y="17"/>
                </a:cubicBezTo>
                <a:close/>
                <a:moveTo>
                  <a:pt x="76928" y="14"/>
                </a:moveTo>
                <a:cubicBezTo>
                  <a:pt x="76928" y="14"/>
                  <a:pt x="76928" y="14"/>
                  <a:pt x="271465" y="14"/>
                </a:cubicBezTo>
                <a:cubicBezTo>
                  <a:pt x="271465" y="14"/>
                  <a:pt x="271465" y="14"/>
                  <a:pt x="63577" y="99944"/>
                </a:cubicBezTo>
                <a:cubicBezTo>
                  <a:pt x="42598" y="109552"/>
                  <a:pt x="17804" y="101866"/>
                  <a:pt x="8268" y="80727"/>
                </a:cubicBezTo>
                <a:cubicBezTo>
                  <a:pt x="-3175" y="59588"/>
                  <a:pt x="6361" y="34605"/>
                  <a:pt x="27340" y="24997"/>
                </a:cubicBezTo>
                <a:cubicBezTo>
                  <a:pt x="27340" y="24997"/>
                  <a:pt x="27340" y="24997"/>
                  <a:pt x="76928" y="14"/>
                </a:cubicBezTo>
                <a:close/>
                <a:moveTo>
                  <a:pt x="583733" y="12"/>
                </a:moveTo>
                <a:cubicBezTo>
                  <a:pt x="583733" y="12"/>
                  <a:pt x="583733" y="12"/>
                  <a:pt x="792167" y="12"/>
                </a:cubicBezTo>
                <a:cubicBezTo>
                  <a:pt x="792167" y="12"/>
                  <a:pt x="792167" y="12"/>
                  <a:pt x="604767" y="83832"/>
                </a:cubicBezTo>
                <a:cubicBezTo>
                  <a:pt x="583733" y="95262"/>
                  <a:pt x="558874" y="85737"/>
                  <a:pt x="549312" y="62877"/>
                </a:cubicBezTo>
                <a:cubicBezTo>
                  <a:pt x="539751" y="41922"/>
                  <a:pt x="549312" y="17157"/>
                  <a:pt x="570347" y="7632"/>
                </a:cubicBezTo>
                <a:cubicBezTo>
                  <a:pt x="570347" y="7632"/>
                  <a:pt x="570347" y="7632"/>
                  <a:pt x="583733" y="12"/>
                </a:cubicBezTo>
                <a:close/>
                <a:moveTo>
                  <a:pt x="1102307" y="10"/>
                </a:moveTo>
                <a:cubicBezTo>
                  <a:pt x="1102307" y="10"/>
                  <a:pt x="1102307" y="10"/>
                  <a:pt x="1312869" y="10"/>
                </a:cubicBezTo>
                <a:cubicBezTo>
                  <a:pt x="1312869" y="10"/>
                  <a:pt x="1312869" y="10"/>
                  <a:pt x="1153525" y="71334"/>
                </a:cubicBezTo>
                <a:cubicBezTo>
                  <a:pt x="1130761" y="80973"/>
                  <a:pt x="1104204" y="69406"/>
                  <a:pt x="1094719" y="48202"/>
                </a:cubicBezTo>
                <a:cubicBezTo>
                  <a:pt x="1089028" y="30853"/>
                  <a:pt x="1090925" y="13503"/>
                  <a:pt x="1102307" y="10"/>
                </a:cubicBezTo>
                <a:close/>
                <a:moveTo>
                  <a:pt x="1643393" y="7"/>
                </a:moveTo>
                <a:cubicBezTo>
                  <a:pt x="1643393" y="7"/>
                  <a:pt x="1643393" y="7"/>
                  <a:pt x="1838335" y="7"/>
                </a:cubicBezTo>
                <a:cubicBezTo>
                  <a:pt x="1838335" y="7"/>
                  <a:pt x="1838335" y="7"/>
                  <a:pt x="1704551" y="55524"/>
                </a:cubicBezTo>
                <a:cubicBezTo>
                  <a:pt x="1681617" y="65095"/>
                  <a:pt x="1654860" y="53609"/>
                  <a:pt x="1645304" y="30637"/>
                </a:cubicBezTo>
                <a:cubicBezTo>
                  <a:pt x="1641482" y="21065"/>
                  <a:pt x="1641482" y="9579"/>
                  <a:pt x="1643393" y="7"/>
                </a:cubicBezTo>
                <a:close/>
                <a:moveTo>
                  <a:pt x="2197113" y="5"/>
                </a:moveTo>
                <a:cubicBezTo>
                  <a:pt x="2197113" y="5"/>
                  <a:pt x="2197113" y="5"/>
                  <a:pt x="2363803" y="5"/>
                </a:cubicBezTo>
                <a:cubicBezTo>
                  <a:pt x="2363803" y="5"/>
                  <a:pt x="2363803" y="5"/>
                  <a:pt x="2260341" y="41647"/>
                </a:cubicBezTo>
                <a:cubicBezTo>
                  <a:pt x="2235433" y="49218"/>
                  <a:pt x="2208609" y="37861"/>
                  <a:pt x="2199030" y="15147"/>
                </a:cubicBezTo>
                <a:cubicBezTo>
                  <a:pt x="2197113" y="9469"/>
                  <a:pt x="2197113" y="5683"/>
                  <a:pt x="2197113" y="5"/>
                </a:cubicBezTo>
                <a:close/>
                <a:moveTo>
                  <a:pt x="9742488" y="4"/>
                </a:moveTo>
                <a:cubicBezTo>
                  <a:pt x="9742488" y="4"/>
                  <a:pt x="9742488" y="4"/>
                  <a:pt x="9866419" y="4"/>
                </a:cubicBezTo>
                <a:cubicBezTo>
                  <a:pt x="9866419" y="4"/>
                  <a:pt x="9866419" y="4"/>
                  <a:pt x="9542293" y="201631"/>
                </a:cubicBezTo>
                <a:cubicBezTo>
                  <a:pt x="9527040" y="211142"/>
                  <a:pt x="9506067" y="207338"/>
                  <a:pt x="9496534" y="192120"/>
                </a:cubicBezTo>
                <a:cubicBezTo>
                  <a:pt x="9487001" y="176903"/>
                  <a:pt x="9492721" y="155980"/>
                  <a:pt x="9507974" y="146469"/>
                </a:cubicBezTo>
                <a:cubicBezTo>
                  <a:pt x="9507974" y="146469"/>
                  <a:pt x="9507974" y="146469"/>
                  <a:pt x="9742488" y="4"/>
                </a:cubicBezTo>
                <a:close/>
                <a:moveTo>
                  <a:pt x="10304665" y="2"/>
                </a:moveTo>
                <a:cubicBezTo>
                  <a:pt x="10304665" y="2"/>
                  <a:pt x="10304665" y="2"/>
                  <a:pt x="10436339" y="2"/>
                </a:cubicBezTo>
                <a:cubicBezTo>
                  <a:pt x="10436339" y="2"/>
                  <a:pt x="10436339" y="2"/>
                  <a:pt x="10125283" y="187296"/>
                </a:cubicBezTo>
                <a:cubicBezTo>
                  <a:pt x="10108109" y="196852"/>
                  <a:pt x="10087117" y="193029"/>
                  <a:pt x="10077576" y="175829"/>
                </a:cubicBezTo>
                <a:cubicBezTo>
                  <a:pt x="10068034" y="160540"/>
                  <a:pt x="10073759" y="139517"/>
                  <a:pt x="10089025" y="129961"/>
                </a:cubicBezTo>
                <a:cubicBezTo>
                  <a:pt x="10089025" y="129961"/>
                  <a:pt x="10089025" y="129961"/>
                  <a:pt x="10304665" y="2"/>
                </a:cubicBezTo>
                <a:close/>
                <a:moveTo>
                  <a:pt x="10857477" y="0"/>
                </a:moveTo>
                <a:cubicBezTo>
                  <a:pt x="10857477" y="0"/>
                  <a:pt x="10857477" y="0"/>
                  <a:pt x="10998322" y="0"/>
                </a:cubicBezTo>
                <a:cubicBezTo>
                  <a:pt x="10998322" y="0"/>
                  <a:pt x="10998322" y="0"/>
                  <a:pt x="10701405" y="173054"/>
                </a:cubicBezTo>
                <a:cubicBezTo>
                  <a:pt x="10684275" y="182563"/>
                  <a:pt x="10663338" y="176857"/>
                  <a:pt x="10653822" y="159742"/>
                </a:cubicBezTo>
                <a:cubicBezTo>
                  <a:pt x="10644305" y="142627"/>
                  <a:pt x="10650015" y="121708"/>
                  <a:pt x="10665241" y="112200"/>
                </a:cubicBezTo>
                <a:cubicBezTo>
                  <a:pt x="10665241" y="112200"/>
                  <a:pt x="10665241" y="112200"/>
                  <a:pt x="10857477" y="0"/>
                </a:cubicBezTo>
                <a:close/>
              </a:path>
            </a:pathLst>
          </a:custGeom>
          <a:solidFill>
            <a:srgbClr val="3E82C4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28" y="396241"/>
            <a:ext cx="988808" cy="739139"/>
          </a:xfrm>
          <a:prstGeom prst="rect">
            <a:avLst/>
          </a:prstGeom>
          <a:ln>
            <a:noFill/>
          </a:ln>
        </p:spPr>
      </p:pic>
      <p:sp>
        <p:nvSpPr>
          <p:cNvPr id="15" name="Text Placeholder 107"/>
          <p:cNvSpPr>
            <a:spLocks noGrp="1"/>
          </p:cNvSpPr>
          <p:nvPr>
            <p:ph type="body" sz="quarter" idx="18" hasCustomPrompt="1"/>
          </p:nvPr>
        </p:nvSpPr>
        <p:spPr bwMode="white">
          <a:xfrm>
            <a:off x="548640" y="1276358"/>
            <a:ext cx="10165080" cy="3242641"/>
          </a:xfrm>
          <a:prstGeom prst="rect">
            <a:avLst/>
          </a:prstGeom>
        </p:spPr>
        <p:txBody>
          <a:bodyPr lIns="68577" tIns="34289" rIns="68577" bIns="34289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4399" b="1" spc="-151">
                <a:solidFill>
                  <a:schemeClr val="bg1"/>
                </a:solidFill>
              </a:defRPr>
            </a:lvl1pPr>
            <a:lvl2pPr marL="341216" indent="0" algn="ctr">
              <a:buNone/>
              <a:defRPr>
                <a:solidFill>
                  <a:schemeClr val="bg1"/>
                </a:solidFill>
              </a:defRPr>
            </a:lvl2pPr>
            <a:lvl3pPr marL="679258" indent="0" algn="ctr">
              <a:buNone/>
              <a:defRPr>
                <a:solidFill>
                  <a:schemeClr val="bg1"/>
                </a:solidFill>
              </a:defRPr>
            </a:lvl3pPr>
            <a:lvl4pPr marL="966514" indent="0" algn="ctr">
              <a:buNone/>
              <a:defRPr>
                <a:solidFill>
                  <a:schemeClr val="bg1"/>
                </a:solidFill>
              </a:defRPr>
            </a:lvl4pPr>
            <a:lvl5pPr marL="114584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quote</a:t>
            </a:r>
          </a:p>
        </p:txBody>
      </p:sp>
      <p:sp>
        <p:nvSpPr>
          <p:cNvPr id="17" name="Text Placeholder 110"/>
          <p:cNvSpPr>
            <a:spLocks noGrp="1"/>
          </p:cNvSpPr>
          <p:nvPr>
            <p:ph type="body" sz="quarter" idx="19" hasCustomPrompt="1"/>
          </p:nvPr>
        </p:nvSpPr>
        <p:spPr>
          <a:xfrm>
            <a:off x="519703" y="4623891"/>
            <a:ext cx="10165080" cy="876300"/>
          </a:xfrm>
          <a:prstGeom prst="rect">
            <a:avLst/>
          </a:prstGeom>
        </p:spPr>
        <p:txBody>
          <a:bodyPr lIns="68577" tIns="34289" rIns="68577" bIns="34289"/>
          <a:lstStyle>
            <a:lvl1pPr marL="0" indent="0" algn="l">
              <a:buNone/>
              <a:defRPr sz="2399" b="1" spc="0" baseline="0">
                <a:solidFill>
                  <a:schemeClr val="tx1"/>
                </a:solidFill>
              </a:defRPr>
            </a:lvl1pPr>
            <a:lvl2pPr marL="341216" indent="0">
              <a:buNone/>
              <a:defRPr/>
            </a:lvl2pPr>
            <a:lvl3pPr marL="679258" indent="0">
              <a:buNone/>
              <a:defRPr/>
            </a:lvl3pPr>
            <a:lvl4pPr marL="966514" indent="0">
              <a:buNone/>
              <a:defRPr/>
            </a:lvl4pPr>
            <a:lvl5pPr marL="1145849" indent="0">
              <a:buNone/>
              <a:defRPr/>
            </a:lvl5pPr>
          </a:lstStyle>
          <a:p>
            <a:pPr lvl="0"/>
            <a:r>
              <a:rPr lang="en-US"/>
              <a:t>Click to edit quote source</a:t>
            </a:r>
          </a:p>
        </p:txBody>
      </p:sp>
      <p:sp>
        <p:nvSpPr>
          <p:cNvPr id="28" name="TextBox slide number"/>
          <p:cNvSpPr txBox="1"/>
          <p:nvPr userDrawn="1"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5305" y="5505444"/>
            <a:ext cx="1330103" cy="443301"/>
          </a:xfrm>
          <a:prstGeom prst="rect">
            <a:avLst/>
          </a:prstGeom>
        </p:spPr>
      </p:pic>
      <p:sp>
        <p:nvSpPr>
          <p:cNvPr id="11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6" name="Picture 2" descr="C:\Users\mherboth\Dropbox (WW Brand Design)\WW Brand Design Team Folder\Product\Think\2017_08_LEN_ThinkPad 25 Raleigh Onsite Event_Think_Product\01_Project\Reference Files\Logo\Thinkpad 25_WHTBG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426848" y="424275"/>
            <a:ext cx="1195179" cy="2740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80419446"/>
      </p:ext>
    </p:extLst>
  </p:cSld>
  <p:clrMapOvr>
    <a:masterClrMapping/>
  </p:clrMapOvr>
  <p:transition spd="med"/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 Produc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2" y="0"/>
            <a:ext cx="6565392" cy="6858000"/>
          </a:xfrm>
          <a:prstGeom prst="rect">
            <a:avLst/>
          </a:prstGeom>
          <a:solidFill>
            <a:srgbClr val="E11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25818" y="-3177"/>
            <a:ext cx="6530351" cy="6858285"/>
          </a:xfrm>
          <a:custGeom>
            <a:avLst/>
            <a:gdLst>
              <a:gd name="connsiteX0" fmla="*/ 6502939 w 6530351"/>
              <a:gd name="connsiteY0" fmla="*/ 6648860 h 6858285"/>
              <a:gd name="connsiteX1" fmla="*/ 6526293 w 6530351"/>
              <a:gd name="connsiteY1" fmla="*/ 6669131 h 6858285"/>
              <a:gd name="connsiteX2" fmla="*/ 6507229 w 6530351"/>
              <a:gd name="connsiteY2" fmla="*/ 6724457 h 6858285"/>
              <a:gd name="connsiteX3" fmla="*/ 6226983 w 6530351"/>
              <a:gd name="connsiteY3" fmla="*/ 6858002 h 6858285"/>
              <a:gd name="connsiteX4" fmla="*/ 6108783 w 6530351"/>
              <a:gd name="connsiteY4" fmla="*/ 6858002 h 6858285"/>
              <a:gd name="connsiteX5" fmla="*/ 6108783 w 6530351"/>
              <a:gd name="connsiteY5" fmla="*/ 6850371 h 6858285"/>
              <a:gd name="connsiteX6" fmla="*/ 6131661 w 6530351"/>
              <a:gd name="connsiteY6" fmla="*/ 6812215 h 6858285"/>
              <a:gd name="connsiteX7" fmla="*/ 6471007 w 6530351"/>
              <a:gd name="connsiteY7" fmla="*/ 6650053 h 6858285"/>
              <a:gd name="connsiteX8" fmla="*/ 6502939 w 6530351"/>
              <a:gd name="connsiteY8" fmla="*/ 6648860 h 6858285"/>
              <a:gd name="connsiteX9" fmla="*/ 5955459 w 6530351"/>
              <a:gd name="connsiteY9" fmla="*/ 6635423 h 6858285"/>
              <a:gd name="connsiteX10" fmla="*/ 5978591 w 6530351"/>
              <a:gd name="connsiteY10" fmla="*/ 6656349 h 6858285"/>
              <a:gd name="connsiteX11" fmla="*/ 5961421 w 6530351"/>
              <a:gd name="connsiteY11" fmla="*/ 6709616 h 6858285"/>
              <a:gd name="connsiteX12" fmla="*/ 5656161 w 6530351"/>
              <a:gd name="connsiteY12" fmla="*/ 6858002 h 6858285"/>
              <a:gd name="connsiteX13" fmla="*/ 5568399 w 6530351"/>
              <a:gd name="connsiteY13" fmla="*/ 6858002 h 6858285"/>
              <a:gd name="connsiteX14" fmla="*/ 5566491 w 6530351"/>
              <a:gd name="connsiteY14" fmla="*/ 6858002 h 6858285"/>
              <a:gd name="connsiteX15" fmla="*/ 5562675 w 6530351"/>
              <a:gd name="connsiteY15" fmla="*/ 6838978 h 6858285"/>
              <a:gd name="connsiteX16" fmla="*/ 5585569 w 6530351"/>
              <a:gd name="connsiteY16" fmla="*/ 6802833 h 6858285"/>
              <a:gd name="connsiteX17" fmla="*/ 5925171 w 6530351"/>
              <a:gd name="connsiteY17" fmla="*/ 6637326 h 6858285"/>
              <a:gd name="connsiteX18" fmla="*/ 5955459 w 6530351"/>
              <a:gd name="connsiteY18" fmla="*/ 6635423 h 6858285"/>
              <a:gd name="connsiteX19" fmla="*/ 396080 w 6530351"/>
              <a:gd name="connsiteY19" fmla="*/ 6635423 h 6858285"/>
              <a:gd name="connsiteX20" fmla="*/ 419126 w 6530351"/>
              <a:gd name="connsiteY20" fmla="*/ 6656349 h 6858285"/>
              <a:gd name="connsiteX21" fmla="*/ 400119 w 6530351"/>
              <a:gd name="connsiteY21" fmla="*/ 6709616 h 6858285"/>
              <a:gd name="connsiteX22" fmla="*/ 97899 w 6530351"/>
              <a:gd name="connsiteY22" fmla="*/ 6858002 h 6858285"/>
              <a:gd name="connsiteX23" fmla="*/ 10464 w 6530351"/>
              <a:gd name="connsiteY23" fmla="*/ 6858002 h 6858285"/>
              <a:gd name="connsiteX24" fmla="*/ 8564 w 6530351"/>
              <a:gd name="connsiteY24" fmla="*/ 6858002 h 6858285"/>
              <a:gd name="connsiteX25" fmla="*/ 4762 w 6530351"/>
              <a:gd name="connsiteY25" fmla="*/ 6838978 h 6858285"/>
              <a:gd name="connsiteX26" fmla="*/ 27571 w 6530351"/>
              <a:gd name="connsiteY26" fmla="*/ 6802833 h 6858285"/>
              <a:gd name="connsiteX27" fmla="*/ 365905 w 6530351"/>
              <a:gd name="connsiteY27" fmla="*/ 6637326 h 6858285"/>
              <a:gd name="connsiteX28" fmla="*/ 396080 w 6530351"/>
              <a:gd name="connsiteY28" fmla="*/ 6635423 h 6858285"/>
              <a:gd name="connsiteX29" fmla="*/ 5405399 w 6530351"/>
              <a:gd name="connsiteY29" fmla="*/ 6619807 h 6858285"/>
              <a:gd name="connsiteX30" fmla="*/ 5427751 w 6530351"/>
              <a:gd name="connsiteY30" fmla="*/ 6640551 h 6858285"/>
              <a:gd name="connsiteX31" fmla="*/ 5410631 w 6530351"/>
              <a:gd name="connsiteY31" fmla="*/ 6693960 h 6858285"/>
              <a:gd name="connsiteX32" fmla="*/ 5083459 w 6530351"/>
              <a:gd name="connsiteY32" fmla="*/ 6858002 h 6858285"/>
              <a:gd name="connsiteX33" fmla="*/ 5028295 w 6530351"/>
              <a:gd name="connsiteY33" fmla="*/ 6858002 h 6858285"/>
              <a:gd name="connsiteX34" fmla="*/ 5020687 w 6530351"/>
              <a:gd name="connsiteY34" fmla="*/ 6846557 h 6858285"/>
              <a:gd name="connsiteX35" fmla="*/ 5014979 w 6530351"/>
              <a:gd name="connsiteY35" fmla="*/ 6829390 h 6858285"/>
              <a:gd name="connsiteX36" fmla="*/ 5037807 w 6530351"/>
              <a:gd name="connsiteY36" fmla="*/ 6793148 h 6858285"/>
              <a:gd name="connsiteX37" fmla="*/ 5374489 w 6530351"/>
              <a:gd name="connsiteY37" fmla="*/ 6623384 h 6858285"/>
              <a:gd name="connsiteX38" fmla="*/ 5405399 w 6530351"/>
              <a:gd name="connsiteY38" fmla="*/ 6619807 h 6858285"/>
              <a:gd name="connsiteX39" fmla="*/ 939737 w 6530351"/>
              <a:gd name="connsiteY39" fmla="*/ 6619807 h 6858285"/>
              <a:gd name="connsiteX40" fmla="*/ 963603 w 6530351"/>
              <a:gd name="connsiteY40" fmla="*/ 6640551 h 6858285"/>
              <a:gd name="connsiteX41" fmla="*/ 944510 w 6530351"/>
              <a:gd name="connsiteY41" fmla="*/ 6693960 h 6858285"/>
              <a:gd name="connsiteX42" fmla="*/ 618017 w 6530351"/>
              <a:gd name="connsiteY42" fmla="*/ 6858002 h 6858285"/>
              <a:gd name="connsiteX43" fmla="*/ 562647 w 6530351"/>
              <a:gd name="connsiteY43" fmla="*/ 6858002 h 6858285"/>
              <a:gd name="connsiteX44" fmla="*/ 553101 w 6530351"/>
              <a:gd name="connsiteY44" fmla="*/ 6846557 h 6858285"/>
              <a:gd name="connsiteX45" fmla="*/ 549282 w 6530351"/>
              <a:gd name="connsiteY45" fmla="*/ 6829390 h 6858285"/>
              <a:gd name="connsiteX46" fmla="*/ 570284 w 6530351"/>
              <a:gd name="connsiteY46" fmla="*/ 6793148 h 6858285"/>
              <a:gd name="connsiteX47" fmla="*/ 910143 w 6530351"/>
              <a:gd name="connsiteY47" fmla="*/ 6623384 h 6858285"/>
              <a:gd name="connsiteX48" fmla="*/ 939737 w 6530351"/>
              <a:gd name="connsiteY48" fmla="*/ 6619807 h 6858285"/>
              <a:gd name="connsiteX49" fmla="*/ 4850617 w 6530351"/>
              <a:gd name="connsiteY49" fmla="*/ 6606629 h 6858285"/>
              <a:gd name="connsiteX50" fmla="*/ 4873699 w 6530351"/>
              <a:gd name="connsiteY50" fmla="*/ 6625941 h 6858285"/>
              <a:gd name="connsiteX51" fmla="*/ 4856565 w 6530351"/>
              <a:gd name="connsiteY51" fmla="*/ 6677438 h 6858285"/>
              <a:gd name="connsiteX52" fmla="*/ 4519631 w 6530351"/>
              <a:gd name="connsiteY52" fmla="*/ 6852909 h 6858285"/>
              <a:gd name="connsiteX53" fmla="*/ 4466331 w 6530351"/>
              <a:gd name="connsiteY53" fmla="*/ 6837650 h 6858285"/>
              <a:gd name="connsiteX54" fmla="*/ 4462523 w 6530351"/>
              <a:gd name="connsiteY54" fmla="*/ 6818577 h 6858285"/>
              <a:gd name="connsiteX55" fmla="*/ 4483463 w 6530351"/>
              <a:gd name="connsiteY55" fmla="*/ 6784246 h 6858285"/>
              <a:gd name="connsiteX56" fmla="*/ 4820397 w 6530351"/>
              <a:gd name="connsiteY56" fmla="*/ 6608775 h 6858285"/>
              <a:gd name="connsiteX57" fmla="*/ 4850617 w 6530351"/>
              <a:gd name="connsiteY57" fmla="*/ 6606629 h 6858285"/>
              <a:gd name="connsiteX58" fmla="*/ 1485707 w 6530351"/>
              <a:gd name="connsiteY58" fmla="*/ 6606629 h 6858285"/>
              <a:gd name="connsiteX59" fmla="*/ 1507836 w 6530351"/>
              <a:gd name="connsiteY59" fmla="*/ 6625941 h 6858285"/>
              <a:gd name="connsiteX60" fmla="*/ 1492608 w 6530351"/>
              <a:gd name="connsiteY60" fmla="*/ 6677438 h 6858285"/>
              <a:gd name="connsiteX61" fmla="*/ 1153769 w 6530351"/>
              <a:gd name="connsiteY61" fmla="*/ 6852909 h 6858285"/>
              <a:gd name="connsiteX62" fmla="*/ 1102372 w 6530351"/>
              <a:gd name="connsiteY62" fmla="*/ 6837650 h 6858285"/>
              <a:gd name="connsiteX63" fmla="*/ 1098565 w 6530351"/>
              <a:gd name="connsiteY63" fmla="*/ 6818577 h 6858285"/>
              <a:gd name="connsiteX64" fmla="*/ 1119504 w 6530351"/>
              <a:gd name="connsiteY64" fmla="*/ 6784246 h 6858285"/>
              <a:gd name="connsiteX65" fmla="*/ 1456440 w 6530351"/>
              <a:gd name="connsiteY65" fmla="*/ 6608775 h 6858285"/>
              <a:gd name="connsiteX66" fmla="*/ 1485707 w 6530351"/>
              <a:gd name="connsiteY66" fmla="*/ 6606629 h 6858285"/>
              <a:gd name="connsiteX67" fmla="*/ 4291151 w 6530351"/>
              <a:gd name="connsiteY67" fmla="*/ 6592968 h 6858285"/>
              <a:gd name="connsiteX68" fmla="*/ 4313295 w 6530351"/>
              <a:gd name="connsiteY68" fmla="*/ 6611304 h 6858285"/>
              <a:gd name="connsiteX69" fmla="*/ 4298055 w 6530351"/>
              <a:gd name="connsiteY69" fmla="*/ 6662739 h 6858285"/>
              <a:gd name="connsiteX70" fmla="*/ 3960865 w 6530351"/>
              <a:gd name="connsiteY70" fmla="*/ 6841809 h 6858285"/>
              <a:gd name="connsiteX71" fmla="*/ 3909431 w 6530351"/>
              <a:gd name="connsiteY71" fmla="*/ 6826569 h 6858285"/>
              <a:gd name="connsiteX72" fmla="*/ 3903715 w 6530351"/>
              <a:gd name="connsiteY72" fmla="*/ 6809424 h 6858285"/>
              <a:gd name="connsiteX73" fmla="*/ 3924671 w 6530351"/>
              <a:gd name="connsiteY73" fmla="*/ 6775134 h 6858285"/>
              <a:gd name="connsiteX74" fmla="*/ 4261861 w 6530351"/>
              <a:gd name="connsiteY74" fmla="*/ 6596064 h 6858285"/>
              <a:gd name="connsiteX75" fmla="*/ 4291151 w 6530351"/>
              <a:gd name="connsiteY75" fmla="*/ 6592968 h 6858285"/>
              <a:gd name="connsiteX76" fmla="*/ 2037028 w 6530351"/>
              <a:gd name="connsiteY76" fmla="*/ 6592968 h 6858285"/>
              <a:gd name="connsiteX77" fmla="*/ 2060603 w 6530351"/>
              <a:gd name="connsiteY77" fmla="*/ 6611304 h 6858285"/>
              <a:gd name="connsiteX78" fmla="*/ 2043458 w 6530351"/>
              <a:gd name="connsiteY78" fmla="*/ 6662739 h 6858285"/>
              <a:gd name="connsiteX79" fmla="*/ 1706268 w 6530351"/>
              <a:gd name="connsiteY79" fmla="*/ 6841809 h 6858285"/>
              <a:gd name="connsiteX80" fmla="*/ 1654832 w 6530351"/>
              <a:gd name="connsiteY80" fmla="*/ 6826569 h 6858285"/>
              <a:gd name="connsiteX81" fmla="*/ 1651022 w 6530351"/>
              <a:gd name="connsiteY81" fmla="*/ 6809424 h 6858285"/>
              <a:gd name="connsiteX82" fmla="*/ 1670072 w 6530351"/>
              <a:gd name="connsiteY82" fmla="*/ 6775134 h 6858285"/>
              <a:gd name="connsiteX83" fmla="*/ 2009167 w 6530351"/>
              <a:gd name="connsiteY83" fmla="*/ 6596064 h 6858285"/>
              <a:gd name="connsiteX84" fmla="*/ 2037028 w 6530351"/>
              <a:gd name="connsiteY84" fmla="*/ 6592968 h 6858285"/>
              <a:gd name="connsiteX85" fmla="*/ 3727793 w 6530351"/>
              <a:gd name="connsiteY85" fmla="*/ 6578028 h 6858285"/>
              <a:gd name="connsiteX86" fmla="*/ 3749717 w 6530351"/>
              <a:gd name="connsiteY86" fmla="*/ 6595371 h 6858285"/>
              <a:gd name="connsiteX87" fmla="*/ 3734465 w 6530351"/>
              <a:gd name="connsiteY87" fmla="*/ 6646685 h 6858285"/>
              <a:gd name="connsiteX88" fmla="*/ 3397020 w 6530351"/>
              <a:gd name="connsiteY88" fmla="*/ 6831037 h 6858285"/>
              <a:gd name="connsiteX89" fmla="*/ 3347451 w 6530351"/>
              <a:gd name="connsiteY89" fmla="*/ 6815832 h 6858285"/>
              <a:gd name="connsiteX90" fmla="*/ 3341732 w 6530351"/>
              <a:gd name="connsiteY90" fmla="*/ 6798728 h 6858285"/>
              <a:gd name="connsiteX91" fmla="*/ 3362703 w 6530351"/>
              <a:gd name="connsiteY91" fmla="*/ 6764518 h 6858285"/>
              <a:gd name="connsiteX92" fmla="*/ 3700149 w 6530351"/>
              <a:gd name="connsiteY92" fmla="*/ 6582067 h 6858285"/>
              <a:gd name="connsiteX93" fmla="*/ 3727793 w 6530351"/>
              <a:gd name="connsiteY93" fmla="*/ 6578028 h 6858285"/>
              <a:gd name="connsiteX94" fmla="*/ 2592715 w 6530351"/>
              <a:gd name="connsiteY94" fmla="*/ 6578028 h 6858285"/>
              <a:gd name="connsiteX95" fmla="*/ 2614640 w 6530351"/>
              <a:gd name="connsiteY95" fmla="*/ 6595371 h 6858285"/>
              <a:gd name="connsiteX96" fmla="*/ 2599388 w 6530351"/>
              <a:gd name="connsiteY96" fmla="*/ 6646685 h 6858285"/>
              <a:gd name="connsiteX97" fmla="*/ 2261942 w 6530351"/>
              <a:gd name="connsiteY97" fmla="*/ 6831037 h 6858285"/>
              <a:gd name="connsiteX98" fmla="*/ 2212373 w 6530351"/>
              <a:gd name="connsiteY98" fmla="*/ 6815832 h 6858285"/>
              <a:gd name="connsiteX99" fmla="*/ 2206654 w 6530351"/>
              <a:gd name="connsiteY99" fmla="*/ 6798728 h 6858285"/>
              <a:gd name="connsiteX100" fmla="*/ 2225719 w 6530351"/>
              <a:gd name="connsiteY100" fmla="*/ 6764518 h 6858285"/>
              <a:gd name="connsiteX101" fmla="*/ 2565071 w 6530351"/>
              <a:gd name="connsiteY101" fmla="*/ 6582067 h 6858285"/>
              <a:gd name="connsiteX102" fmla="*/ 2592715 w 6530351"/>
              <a:gd name="connsiteY102" fmla="*/ 6578028 h 6858285"/>
              <a:gd name="connsiteX103" fmla="*/ 3153207 w 6530351"/>
              <a:gd name="connsiteY103" fmla="*/ 6564133 h 6858285"/>
              <a:gd name="connsiteX104" fmla="*/ 3175065 w 6530351"/>
              <a:gd name="connsiteY104" fmla="*/ 6580744 h 6858285"/>
              <a:gd name="connsiteX105" fmla="*/ 3161760 w 6530351"/>
              <a:gd name="connsiteY105" fmla="*/ 6630101 h 6858285"/>
              <a:gd name="connsiteX106" fmla="*/ 2825344 w 6530351"/>
              <a:gd name="connsiteY106" fmla="*/ 6819936 h 6858285"/>
              <a:gd name="connsiteX107" fmla="*/ 2775927 w 6530351"/>
              <a:gd name="connsiteY107" fmla="*/ 6804749 h 6858285"/>
              <a:gd name="connsiteX108" fmla="*/ 2770225 w 6530351"/>
              <a:gd name="connsiteY108" fmla="*/ 6787664 h 6858285"/>
              <a:gd name="connsiteX109" fmla="*/ 2789232 w 6530351"/>
              <a:gd name="connsiteY109" fmla="*/ 6757290 h 6858285"/>
              <a:gd name="connsiteX110" fmla="*/ 3125648 w 6530351"/>
              <a:gd name="connsiteY110" fmla="*/ 6567455 h 6858285"/>
              <a:gd name="connsiteX111" fmla="*/ 3153207 w 6530351"/>
              <a:gd name="connsiteY111" fmla="*/ 6564133 h 6858285"/>
              <a:gd name="connsiteX112" fmla="*/ 6502939 w 6530351"/>
              <a:gd name="connsiteY112" fmla="*/ 6327421 h 6858285"/>
              <a:gd name="connsiteX113" fmla="*/ 6526293 w 6530351"/>
              <a:gd name="connsiteY113" fmla="*/ 6348272 h 6858285"/>
              <a:gd name="connsiteX114" fmla="*/ 6507229 w 6530351"/>
              <a:gd name="connsiteY114" fmla="*/ 6401346 h 6858285"/>
              <a:gd name="connsiteX115" fmla="*/ 6167883 w 6530351"/>
              <a:gd name="connsiteY115" fmla="*/ 6564361 h 6858285"/>
              <a:gd name="connsiteX116" fmla="*/ 6112595 w 6530351"/>
              <a:gd name="connsiteY116" fmla="*/ 6545406 h 6858285"/>
              <a:gd name="connsiteX117" fmla="*/ 6108783 w 6530351"/>
              <a:gd name="connsiteY117" fmla="*/ 6528346 h 6858285"/>
              <a:gd name="connsiteX118" fmla="*/ 6131661 w 6530351"/>
              <a:gd name="connsiteY118" fmla="*/ 6490436 h 6858285"/>
              <a:gd name="connsiteX119" fmla="*/ 6471007 w 6530351"/>
              <a:gd name="connsiteY119" fmla="*/ 6329316 h 6858285"/>
              <a:gd name="connsiteX120" fmla="*/ 6502939 w 6530351"/>
              <a:gd name="connsiteY120" fmla="*/ 6327421 h 6858285"/>
              <a:gd name="connsiteX121" fmla="*/ 5955879 w 6530351"/>
              <a:gd name="connsiteY121" fmla="*/ 6313171 h 6858285"/>
              <a:gd name="connsiteX122" fmla="*/ 5978279 w 6530351"/>
              <a:gd name="connsiteY122" fmla="*/ 6334126 h 6858285"/>
              <a:gd name="connsiteX123" fmla="*/ 5961121 w 6530351"/>
              <a:gd name="connsiteY123" fmla="*/ 6387466 h 6858285"/>
              <a:gd name="connsiteX124" fmla="*/ 5621775 w 6530351"/>
              <a:gd name="connsiteY124" fmla="*/ 6553201 h 6858285"/>
              <a:gd name="connsiteX125" fmla="*/ 5566487 w 6530351"/>
              <a:gd name="connsiteY125" fmla="*/ 6534151 h 6858285"/>
              <a:gd name="connsiteX126" fmla="*/ 5562675 w 6530351"/>
              <a:gd name="connsiteY126" fmla="*/ 6517006 h 6858285"/>
              <a:gd name="connsiteX127" fmla="*/ 5585553 w 6530351"/>
              <a:gd name="connsiteY127" fmla="*/ 6478906 h 6858285"/>
              <a:gd name="connsiteX128" fmla="*/ 5924899 w 6530351"/>
              <a:gd name="connsiteY128" fmla="*/ 6315076 h 6858285"/>
              <a:gd name="connsiteX129" fmla="*/ 5955879 w 6530351"/>
              <a:gd name="connsiteY129" fmla="*/ 6313171 h 6858285"/>
              <a:gd name="connsiteX130" fmla="*/ 396080 w 6530351"/>
              <a:gd name="connsiteY130" fmla="*/ 6313171 h 6858285"/>
              <a:gd name="connsiteX131" fmla="*/ 419126 w 6530351"/>
              <a:gd name="connsiteY131" fmla="*/ 6334126 h 6858285"/>
              <a:gd name="connsiteX132" fmla="*/ 400119 w 6530351"/>
              <a:gd name="connsiteY132" fmla="*/ 6387466 h 6858285"/>
              <a:gd name="connsiteX133" fmla="*/ 63685 w 6530351"/>
              <a:gd name="connsiteY133" fmla="*/ 6553201 h 6858285"/>
              <a:gd name="connsiteX134" fmla="*/ 8564 w 6530351"/>
              <a:gd name="connsiteY134" fmla="*/ 6534151 h 6858285"/>
              <a:gd name="connsiteX135" fmla="*/ 4762 w 6530351"/>
              <a:gd name="connsiteY135" fmla="*/ 6517006 h 6858285"/>
              <a:gd name="connsiteX136" fmla="*/ 27571 w 6530351"/>
              <a:gd name="connsiteY136" fmla="*/ 6478906 h 6858285"/>
              <a:gd name="connsiteX137" fmla="*/ 365905 w 6530351"/>
              <a:gd name="connsiteY137" fmla="*/ 6315076 h 6858285"/>
              <a:gd name="connsiteX138" fmla="*/ 396080 w 6530351"/>
              <a:gd name="connsiteY138" fmla="*/ 6313171 h 6858285"/>
              <a:gd name="connsiteX139" fmla="*/ 5405347 w 6530351"/>
              <a:gd name="connsiteY139" fmla="*/ 6300224 h 6858285"/>
              <a:gd name="connsiteX140" fmla="*/ 5429345 w 6530351"/>
              <a:gd name="connsiteY140" fmla="*/ 6319488 h 6858285"/>
              <a:gd name="connsiteX141" fmla="*/ 5410337 w 6530351"/>
              <a:gd name="connsiteY141" fmla="*/ 6372763 h 6858285"/>
              <a:gd name="connsiteX142" fmla="*/ 5072003 w 6530351"/>
              <a:gd name="connsiteY142" fmla="*/ 6540198 h 6858285"/>
              <a:gd name="connsiteX143" fmla="*/ 5018781 w 6530351"/>
              <a:gd name="connsiteY143" fmla="*/ 6523074 h 6858285"/>
              <a:gd name="connsiteX144" fmla="*/ 5014979 w 6530351"/>
              <a:gd name="connsiteY144" fmla="*/ 6505950 h 6858285"/>
              <a:gd name="connsiteX145" fmla="*/ 5037789 w 6530351"/>
              <a:gd name="connsiteY145" fmla="*/ 6469799 h 6858285"/>
              <a:gd name="connsiteX146" fmla="*/ 5374223 w 6530351"/>
              <a:gd name="connsiteY146" fmla="*/ 6302364 h 6858285"/>
              <a:gd name="connsiteX147" fmla="*/ 5405347 w 6530351"/>
              <a:gd name="connsiteY147" fmla="*/ 6300224 h 6858285"/>
              <a:gd name="connsiteX148" fmla="*/ 940479 w 6530351"/>
              <a:gd name="connsiteY148" fmla="*/ 6300224 h 6858285"/>
              <a:gd name="connsiteX149" fmla="*/ 963612 w 6530351"/>
              <a:gd name="connsiteY149" fmla="*/ 6319488 h 6858285"/>
              <a:gd name="connsiteX150" fmla="*/ 944533 w 6530351"/>
              <a:gd name="connsiteY150" fmla="*/ 6372763 h 6858285"/>
              <a:gd name="connsiteX151" fmla="*/ 606839 w 6530351"/>
              <a:gd name="connsiteY151" fmla="*/ 6540198 h 6858285"/>
              <a:gd name="connsiteX152" fmla="*/ 551511 w 6530351"/>
              <a:gd name="connsiteY152" fmla="*/ 6523074 h 6858285"/>
              <a:gd name="connsiteX153" fmla="*/ 547695 w 6530351"/>
              <a:gd name="connsiteY153" fmla="*/ 6505950 h 6858285"/>
              <a:gd name="connsiteX154" fmla="*/ 570589 w 6530351"/>
              <a:gd name="connsiteY154" fmla="*/ 6469799 h 6858285"/>
              <a:gd name="connsiteX155" fmla="*/ 910191 w 6530351"/>
              <a:gd name="connsiteY155" fmla="*/ 6302364 h 6858285"/>
              <a:gd name="connsiteX156" fmla="*/ 940479 w 6530351"/>
              <a:gd name="connsiteY156" fmla="*/ 6300224 h 6858285"/>
              <a:gd name="connsiteX157" fmla="*/ 4851417 w 6530351"/>
              <a:gd name="connsiteY157" fmla="*/ 6285982 h 6858285"/>
              <a:gd name="connsiteX158" fmla="*/ 4875265 w 6530351"/>
              <a:gd name="connsiteY158" fmla="*/ 6305364 h 6858285"/>
              <a:gd name="connsiteX159" fmla="*/ 4856185 w 6530351"/>
              <a:gd name="connsiteY159" fmla="*/ 6358966 h 6858285"/>
              <a:gd name="connsiteX160" fmla="*/ 4518493 w 6530351"/>
              <a:gd name="connsiteY160" fmla="*/ 6529342 h 6858285"/>
              <a:gd name="connsiteX161" fmla="*/ 4465071 w 6530351"/>
              <a:gd name="connsiteY161" fmla="*/ 6512113 h 6858285"/>
              <a:gd name="connsiteX162" fmla="*/ 4459347 w 6530351"/>
              <a:gd name="connsiteY162" fmla="*/ 6494884 h 6858285"/>
              <a:gd name="connsiteX163" fmla="*/ 4482243 w 6530351"/>
              <a:gd name="connsiteY163" fmla="*/ 6458512 h 6858285"/>
              <a:gd name="connsiteX164" fmla="*/ 4821845 w 6530351"/>
              <a:gd name="connsiteY164" fmla="*/ 6288135 h 6858285"/>
              <a:gd name="connsiteX165" fmla="*/ 4851417 w 6530351"/>
              <a:gd name="connsiteY165" fmla="*/ 6285982 h 6858285"/>
              <a:gd name="connsiteX166" fmla="*/ 1486683 w 6530351"/>
              <a:gd name="connsiteY166" fmla="*/ 6285982 h 6858285"/>
              <a:gd name="connsiteX167" fmla="*/ 1509747 w 6530351"/>
              <a:gd name="connsiteY167" fmla="*/ 6305364 h 6858285"/>
              <a:gd name="connsiteX168" fmla="*/ 1492628 w 6530351"/>
              <a:gd name="connsiteY168" fmla="*/ 6358966 h 6858285"/>
              <a:gd name="connsiteX169" fmla="*/ 1154042 w 6530351"/>
              <a:gd name="connsiteY169" fmla="*/ 6529342 h 6858285"/>
              <a:gd name="connsiteX170" fmla="*/ 1100781 w 6530351"/>
              <a:gd name="connsiteY170" fmla="*/ 6512113 h 6858285"/>
              <a:gd name="connsiteX171" fmla="*/ 1096977 w 6530351"/>
              <a:gd name="connsiteY171" fmla="*/ 6494884 h 6858285"/>
              <a:gd name="connsiteX172" fmla="*/ 1117901 w 6530351"/>
              <a:gd name="connsiteY172" fmla="*/ 6458512 h 6858285"/>
              <a:gd name="connsiteX173" fmla="*/ 1456487 w 6530351"/>
              <a:gd name="connsiteY173" fmla="*/ 6288135 h 6858285"/>
              <a:gd name="connsiteX174" fmla="*/ 1486683 w 6530351"/>
              <a:gd name="connsiteY174" fmla="*/ 6285982 h 6858285"/>
              <a:gd name="connsiteX175" fmla="*/ 4292547 w 6530351"/>
              <a:gd name="connsiteY175" fmla="*/ 6273228 h 6858285"/>
              <a:gd name="connsiteX176" fmla="*/ 4314899 w 6530351"/>
              <a:gd name="connsiteY176" fmla="*/ 6292469 h 6858285"/>
              <a:gd name="connsiteX177" fmla="*/ 4297779 w 6530351"/>
              <a:gd name="connsiteY177" fmla="*/ 6345679 h 6858285"/>
              <a:gd name="connsiteX178" fmla="*/ 3961095 w 6530351"/>
              <a:gd name="connsiteY178" fmla="*/ 6516712 h 6858285"/>
              <a:gd name="connsiteX179" fmla="*/ 3907835 w 6530351"/>
              <a:gd name="connsiteY179" fmla="*/ 6499609 h 6858285"/>
              <a:gd name="connsiteX180" fmla="*/ 3902127 w 6530351"/>
              <a:gd name="connsiteY180" fmla="*/ 6482505 h 6858285"/>
              <a:gd name="connsiteX181" fmla="*/ 3924955 w 6530351"/>
              <a:gd name="connsiteY181" fmla="*/ 6446398 h 6858285"/>
              <a:gd name="connsiteX182" fmla="*/ 4261637 w 6530351"/>
              <a:gd name="connsiteY182" fmla="*/ 6275366 h 6858285"/>
              <a:gd name="connsiteX183" fmla="*/ 4292547 w 6530351"/>
              <a:gd name="connsiteY183" fmla="*/ 6273228 h 6858285"/>
              <a:gd name="connsiteX184" fmla="*/ 2038428 w 6530351"/>
              <a:gd name="connsiteY184" fmla="*/ 6273228 h 6858285"/>
              <a:gd name="connsiteX185" fmla="*/ 2062205 w 6530351"/>
              <a:gd name="connsiteY185" fmla="*/ 6292469 h 6858285"/>
              <a:gd name="connsiteX186" fmla="*/ 2045086 w 6530351"/>
              <a:gd name="connsiteY186" fmla="*/ 6345679 h 6858285"/>
              <a:gd name="connsiteX187" fmla="*/ 1706500 w 6530351"/>
              <a:gd name="connsiteY187" fmla="*/ 6516712 h 6858285"/>
              <a:gd name="connsiteX188" fmla="*/ 1653239 w 6530351"/>
              <a:gd name="connsiteY188" fmla="*/ 6499609 h 6858285"/>
              <a:gd name="connsiteX189" fmla="*/ 1649435 w 6530351"/>
              <a:gd name="connsiteY189" fmla="*/ 6482505 h 6858285"/>
              <a:gd name="connsiteX190" fmla="*/ 1670359 w 6530351"/>
              <a:gd name="connsiteY190" fmla="*/ 6446398 h 6858285"/>
              <a:gd name="connsiteX191" fmla="*/ 2008945 w 6530351"/>
              <a:gd name="connsiteY191" fmla="*/ 6275366 h 6858285"/>
              <a:gd name="connsiteX192" fmla="*/ 2038428 w 6530351"/>
              <a:gd name="connsiteY192" fmla="*/ 6273228 h 6858285"/>
              <a:gd name="connsiteX193" fmla="*/ 3729191 w 6530351"/>
              <a:gd name="connsiteY193" fmla="*/ 6260519 h 6858285"/>
              <a:gd name="connsiteX194" fmla="*/ 3751321 w 6530351"/>
              <a:gd name="connsiteY194" fmla="*/ 6279737 h 6858285"/>
              <a:gd name="connsiteX195" fmla="*/ 3736091 w 6530351"/>
              <a:gd name="connsiteY195" fmla="*/ 6330986 h 6858285"/>
              <a:gd name="connsiteX196" fmla="*/ 3397253 w 6530351"/>
              <a:gd name="connsiteY196" fmla="*/ 6505611 h 6858285"/>
              <a:gd name="connsiteX197" fmla="*/ 3345856 w 6530351"/>
              <a:gd name="connsiteY197" fmla="*/ 6488528 h 6858285"/>
              <a:gd name="connsiteX198" fmla="*/ 3340145 w 6530351"/>
              <a:gd name="connsiteY198" fmla="*/ 6469547 h 6858285"/>
              <a:gd name="connsiteX199" fmla="*/ 3361084 w 6530351"/>
              <a:gd name="connsiteY199" fmla="*/ 6435381 h 6858285"/>
              <a:gd name="connsiteX200" fmla="*/ 3699923 w 6530351"/>
              <a:gd name="connsiteY200" fmla="*/ 6262654 h 6858285"/>
              <a:gd name="connsiteX201" fmla="*/ 3729191 w 6530351"/>
              <a:gd name="connsiteY201" fmla="*/ 6260519 h 6858285"/>
              <a:gd name="connsiteX202" fmla="*/ 2595581 w 6530351"/>
              <a:gd name="connsiteY202" fmla="*/ 6260519 h 6858285"/>
              <a:gd name="connsiteX203" fmla="*/ 2617794 w 6530351"/>
              <a:gd name="connsiteY203" fmla="*/ 6279737 h 6858285"/>
              <a:gd name="connsiteX204" fmla="*/ 2600597 w 6530351"/>
              <a:gd name="connsiteY204" fmla="*/ 6330986 h 6858285"/>
              <a:gd name="connsiteX205" fmla="*/ 2262390 w 6530351"/>
              <a:gd name="connsiteY205" fmla="*/ 6505611 h 6858285"/>
              <a:gd name="connsiteX206" fmla="*/ 2210799 w 6530351"/>
              <a:gd name="connsiteY206" fmla="*/ 6488528 h 6858285"/>
              <a:gd name="connsiteX207" fmla="*/ 2205067 w 6530351"/>
              <a:gd name="connsiteY207" fmla="*/ 6469547 h 6858285"/>
              <a:gd name="connsiteX208" fmla="*/ 2226086 w 6530351"/>
              <a:gd name="connsiteY208" fmla="*/ 6435381 h 6858285"/>
              <a:gd name="connsiteX209" fmla="*/ 2566203 w 6530351"/>
              <a:gd name="connsiteY209" fmla="*/ 6262654 h 6858285"/>
              <a:gd name="connsiteX210" fmla="*/ 2595581 w 6530351"/>
              <a:gd name="connsiteY210" fmla="*/ 6260519 h 6858285"/>
              <a:gd name="connsiteX211" fmla="*/ 3155654 w 6530351"/>
              <a:gd name="connsiteY211" fmla="*/ 6245321 h 6858285"/>
              <a:gd name="connsiteX212" fmla="*/ 3177866 w 6530351"/>
              <a:gd name="connsiteY212" fmla="*/ 6263701 h 6858285"/>
              <a:gd name="connsiteX213" fmla="*/ 3162580 w 6530351"/>
              <a:gd name="connsiteY213" fmla="*/ 6317169 h 6858285"/>
              <a:gd name="connsiteX214" fmla="*/ 2822462 w 6530351"/>
              <a:gd name="connsiteY214" fmla="*/ 6492853 h 6858285"/>
              <a:gd name="connsiteX215" fmla="*/ 2770872 w 6530351"/>
              <a:gd name="connsiteY215" fmla="*/ 6477576 h 6858285"/>
              <a:gd name="connsiteX216" fmla="*/ 2767050 w 6530351"/>
              <a:gd name="connsiteY216" fmla="*/ 6458480 h 6858285"/>
              <a:gd name="connsiteX217" fmla="*/ 2788069 w 6530351"/>
              <a:gd name="connsiteY217" fmla="*/ 6426017 h 6858285"/>
              <a:gd name="connsiteX218" fmla="*/ 3126275 w 6530351"/>
              <a:gd name="connsiteY218" fmla="*/ 6248424 h 6858285"/>
              <a:gd name="connsiteX219" fmla="*/ 3155654 w 6530351"/>
              <a:gd name="connsiteY219" fmla="*/ 6245321 h 6858285"/>
              <a:gd name="connsiteX220" fmla="*/ 6502939 w 6530351"/>
              <a:gd name="connsiteY220" fmla="*/ 6003608 h 6858285"/>
              <a:gd name="connsiteX221" fmla="*/ 6526293 w 6530351"/>
              <a:gd name="connsiteY221" fmla="*/ 6024563 h 6858285"/>
              <a:gd name="connsiteX222" fmla="*/ 6507229 w 6530351"/>
              <a:gd name="connsiteY222" fmla="*/ 6079808 h 6858285"/>
              <a:gd name="connsiteX223" fmla="*/ 6167883 w 6530351"/>
              <a:gd name="connsiteY223" fmla="*/ 6243638 h 6858285"/>
              <a:gd name="connsiteX224" fmla="*/ 6112595 w 6530351"/>
              <a:gd name="connsiteY224" fmla="*/ 6224588 h 6858285"/>
              <a:gd name="connsiteX225" fmla="*/ 6108783 w 6530351"/>
              <a:gd name="connsiteY225" fmla="*/ 6207443 h 6858285"/>
              <a:gd name="connsiteX226" fmla="*/ 6131661 w 6530351"/>
              <a:gd name="connsiteY226" fmla="*/ 6169343 h 6858285"/>
              <a:gd name="connsiteX227" fmla="*/ 6471007 w 6530351"/>
              <a:gd name="connsiteY227" fmla="*/ 6005513 h 6858285"/>
              <a:gd name="connsiteX228" fmla="*/ 6502939 w 6530351"/>
              <a:gd name="connsiteY228" fmla="*/ 6003608 h 6858285"/>
              <a:gd name="connsiteX229" fmla="*/ 5940775 w 6530351"/>
              <a:gd name="connsiteY229" fmla="*/ 5988309 h 6858285"/>
              <a:gd name="connsiteX230" fmla="*/ 5980185 w 6530351"/>
              <a:gd name="connsiteY230" fmla="*/ 6010276 h 6858285"/>
              <a:gd name="connsiteX231" fmla="*/ 5961121 w 6530351"/>
              <a:gd name="connsiteY231" fmla="*/ 6065521 h 6858285"/>
              <a:gd name="connsiteX232" fmla="*/ 5621775 w 6530351"/>
              <a:gd name="connsiteY232" fmla="*/ 6229351 h 6858285"/>
              <a:gd name="connsiteX233" fmla="*/ 5566487 w 6530351"/>
              <a:gd name="connsiteY233" fmla="*/ 6210301 h 6858285"/>
              <a:gd name="connsiteX234" fmla="*/ 5562675 w 6530351"/>
              <a:gd name="connsiteY234" fmla="*/ 6193156 h 6858285"/>
              <a:gd name="connsiteX235" fmla="*/ 5585553 w 6530351"/>
              <a:gd name="connsiteY235" fmla="*/ 6156961 h 6858285"/>
              <a:gd name="connsiteX236" fmla="*/ 5924899 w 6530351"/>
              <a:gd name="connsiteY236" fmla="*/ 5993131 h 6858285"/>
              <a:gd name="connsiteX237" fmla="*/ 5940775 w 6530351"/>
              <a:gd name="connsiteY237" fmla="*/ 5988309 h 6858285"/>
              <a:gd name="connsiteX238" fmla="*/ 380903 w 6530351"/>
              <a:gd name="connsiteY238" fmla="*/ 5988309 h 6858285"/>
              <a:gd name="connsiteX239" fmla="*/ 419126 w 6530351"/>
              <a:gd name="connsiteY239" fmla="*/ 6010276 h 6858285"/>
              <a:gd name="connsiteX240" fmla="*/ 400119 w 6530351"/>
              <a:gd name="connsiteY240" fmla="*/ 6065521 h 6858285"/>
              <a:gd name="connsiteX241" fmla="*/ 63685 w 6530351"/>
              <a:gd name="connsiteY241" fmla="*/ 6229351 h 6858285"/>
              <a:gd name="connsiteX242" fmla="*/ 8564 w 6530351"/>
              <a:gd name="connsiteY242" fmla="*/ 6210301 h 6858285"/>
              <a:gd name="connsiteX243" fmla="*/ 4762 w 6530351"/>
              <a:gd name="connsiteY243" fmla="*/ 6193156 h 6858285"/>
              <a:gd name="connsiteX244" fmla="*/ 27571 w 6530351"/>
              <a:gd name="connsiteY244" fmla="*/ 6156961 h 6858285"/>
              <a:gd name="connsiteX245" fmla="*/ 365905 w 6530351"/>
              <a:gd name="connsiteY245" fmla="*/ 5993131 h 6858285"/>
              <a:gd name="connsiteX246" fmla="*/ 380903 w 6530351"/>
              <a:gd name="connsiteY246" fmla="*/ 5988309 h 6858285"/>
              <a:gd name="connsiteX247" fmla="*/ 5406299 w 6530351"/>
              <a:gd name="connsiteY247" fmla="*/ 5978208 h 6858285"/>
              <a:gd name="connsiteX248" fmla="*/ 5429345 w 6530351"/>
              <a:gd name="connsiteY248" fmla="*/ 5999163 h 6858285"/>
              <a:gd name="connsiteX249" fmla="*/ 5410337 w 6530351"/>
              <a:gd name="connsiteY249" fmla="*/ 6052503 h 6858285"/>
              <a:gd name="connsiteX250" fmla="*/ 5072003 w 6530351"/>
              <a:gd name="connsiteY250" fmla="*/ 6218238 h 6858285"/>
              <a:gd name="connsiteX251" fmla="*/ 5018781 w 6530351"/>
              <a:gd name="connsiteY251" fmla="*/ 6199188 h 6858285"/>
              <a:gd name="connsiteX252" fmla="*/ 5014979 w 6530351"/>
              <a:gd name="connsiteY252" fmla="*/ 6180138 h 6858285"/>
              <a:gd name="connsiteX253" fmla="*/ 5037789 w 6530351"/>
              <a:gd name="connsiteY253" fmla="*/ 6143943 h 6858285"/>
              <a:gd name="connsiteX254" fmla="*/ 5376123 w 6530351"/>
              <a:gd name="connsiteY254" fmla="*/ 5980113 h 6858285"/>
              <a:gd name="connsiteX255" fmla="*/ 5406299 w 6530351"/>
              <a:gd name="connsiteY255" fmla="*/ 5978208 h 6858285"/>
              <a:gd name="connsiteX256" fmla="*/ 940184 w 6530351"/>
              <a:gd name="connsiteY256" fmla="*/ 5978208 h 6858285"/>
              <a:gd name="connsiteX257" fmla="*/ 963299 w 6530351"/>
              <a:gd name="connsiteY257" fmla="*/ 5999163 h 6858285"/>
              <a:gd name="connsiteX258" fmla="*/ 944235 w 6530351"/>
              <a:gd name="connsiteY258" fmla="*/ 6052503 h 6858285"/>
              <a:gd name="connsiteX259" fmla="*/ 606795 w 6530351"/>
              <a:gd name="connsiteY259" fmla="*/ 6218238 h 6858285"/>
              <a:gd name="connsiteX260" fmla="*/ 551508 w 6530351"/>
              <a:gd name="connsiteY260" fmla="*/ 6199188 h 6858285"/>
              <a:gd name="connsiteX261" fmla="*/ 547695 w 6530351"/>
              <a:gd name="connsiteY261" fmla="*/ 6180138 h 6858285"/>
              <a:gd name="connsiteX262" fmla="*/ 570572 w 6530351"/>
              <a:gd name="connsiteY262" fmla="*/ 6143943 h 6858285"/>
              <a:gd name="connsiteX263" fmla="*/ 909919 w 6530351"/>
              <a:gd name="connsiteY263" fmla="*/ 5980113 h 6858285"/>
              <a:gd name="connsiteX264" fmla="*/ 940184 w 6530351"/>
              <a:gd name="connsiteY264" fmla="*/ 5978208 h 6858285"/>
              <a:gd name="connsiteX265" fmla="*/ 4852131 w 6530351"/>
              <a:gd name="connsiteY265" fmla="*/ 5966222 h 6858285"/>
              <a:gd name="connsiteX266" fmla="*/ 4875265 w 6530351"/>
              <a:gd name="connsiteY266" fmla="*/ 5986463 h 6858285"/>
              <a:gd name="connsiteX267" fmla="*/ 4856185 w 6530351"/>
              <a:gd name="connsiteY267" fmla="*/ 6041708 h 6858285"/>
              <a:gd name="connsiteX268" fmla="*/ 4516585 w 6530351"/>
              <a:gd name="connsiteY268" fmla="*/ 6205538 h 6858285"/>
              <a:gd name="connsiteX269" fmla="*/ 4463163 w 6530351"/>
              <a:gd name="connsiteY269" fmla="*/ 6186488 h 6858285"/>
              <a:gd name="connsiteX270" fmla="*/ 4459347 w 6530351"/>
              <a:gd name="connsiteY270" fmla="*/ 6169343 h 6858285"/>
              <a:gd name="connsiteX271" fmla="*/ 4482243 w 6530351"/>
              <a:gd name="connsiteY271" fmla="*/ 6131243 h 6858285"/>
              <a:gd name="connsiteX272" fmla="*/ 4821845 w 6530351"/>
              <a:gd name="connsiteY272" fmla="*/ 5967413 h 6858285"/>
              <a:gd name="connsiteX273" fmla="*/ 4852131 w 6530351"/>
              <a:gd name="connsiteY273" fmla="*/ 5966222 h 6858285"/>
              <a:gd name="connsiteX274" fmla="*/ 1487959 w 6530351"/>
              <a:gd name="connsiteY274" fmla="*/ 5966222 h 6858285"/>
              <a:gd name="connsiteX275" fmla="*/ 1511313 w 6530351"/>
              <a:gd name="connsiteY275" fmla="*/ 5986463 h 6858285"/>
              <a:gd name="connsiteX276" fmla="*/ 1492248 w 6530351"/>
              <a:gd name="connsiteY276" fmla="*/ 6041708 h 6858285"/>
              <a:gd name="connsiteX277" fmla="*/ 1152902 w 6530351"/>
              <a:gd name="connsiteY277" fmla="*/ 6205538 h 6858285"/>
              <a:gd name="connsiteX278" fmla="*/ 1097615 w 6530351"/>
              <a:gd name="connsiteY278" fmla="*/ 6186488 h 6858285"/>
              <a:gd name="connsiteX279" fmla="*/ 1093802 w 6530351"/>
              <a:gd name="connsiteY279" fmla="*/ 6169343 h 6858285"/>
              <a:gd name="connsiteX280" fmla="*/ 1116679 w 6530351"/>
              <a:gd name="connsiteY280" fmla="*/ 6131243 h 6858285"/>
              <a:gd name="connsiteX281" fmla="*/ 1456026 w 6530351"/>
              <a:gd name="connsiteY281" fmla="*/ 5967413 h 6858285"/>
              <a:gd name="connsiteX282" fmla="*/ 1487959 w 6530351"/>
              <a:gd name="connsiteY282" fmla="*/ 5966222 h 6858285"/>
              <a:gd name="connsiteX283" fmla="*/ 4293447 w 6530351"/>
              <a:gd name="connsiteY283" fmla="*/ 5952817 h 6858285"/>
              <a:gd name="connsiteX284" fmla="*/ 4316493 w 6530351"/>
              <a:gd name="connsiteY284" fmla="*/ 5973798 h 6858285"/>
              <a:gd name="connsiteX285" fmla="*/ 4297485 w 6530351"/>
              <a:gd name="connsiteY285" fmla="*/ 6027205 h 6858285"/>
              <a:gd name="connsiteX286" fmla="*/ 3959151 w 6530351"/>
              <a:gd name="connsiteY286" fmla="*/ 6191239 h 6858285"/>
              <a:gd name="connsiteX287" fmla="*/ 3905929 w 6530351"/>
              <a:gd name="connsiteY287" fmla="*/ 6172165 h 6858285"/>
              <a:gd name="connsiteX288" fmla="*/ 3902127 w 6530351"/>
              <a:gd name="connsiteY288" fmla="*/ 6154999 h 6858285"/>
              <a:gd name="connsiteX289" fmla="*/ 3924937 w 6530351"/>
              <a:gd name="connsiteY289" fmla="*/ 6118759 h 6858285"/>
              <a:gd name="connsiteX290" fmla="*/ 4263271 w 6530351"/>
              <a:gd name="connsiteY290" fmla="*/ 5954725 h 6858285"/>
              <a:gd name="connsiteX291" fmla="*/ 4293447 w 6530351"/>
              <a:gd name="connsiteY291" fmla="*/ 5952817 h 6858285"/>
              <a:gd name="connsiteX292" fmla="*/ 2039827 w 6530351"/>
              <a:gd name="connsiteY292" fmla="*/ 5952817 h 6858285"/>
              <a:gd name="connsiteX293" fmla="*/ 2063806 w 6530351"/>
              <a:gd name="connsiteY293" fmla="*/ 5973798 h 6858285"/>
              <a:gd name="connsiteX294" fmla="*/ 2044813 w 6530351"/>
              <a:gd name="connsiteY294" fmla="*/ 6027205 h 6858285"/>
              <a:gd name="connsiteX295" fmla="*/ 1706727 w 6530351"/>
              <a:gd name="connsiteY295" fmla="*/ 6191239 h 6858285"/>
              <a:gd name="connsiteX296" fmla="*/ 1651646 w 6530351"/>
              <a:gd name="connsiteY296" fmla="*/ 6172165 h 6858285"/>
              <a:gd name="connsiteX297" fmla="*/ 1647847 w 6530351"/>
              <a:gd name="connsiteY297" fmla="*/ 6154999 h 6858285"/>
              <a:gd name="connsiteX298" fmla="*/ 1670639 w 6530351"/>
              <a:gd name="connsiteY298" fmla="*/ 6118759 h 6858285"/>
              <a:gd name="connsiteX299" fmla="*/ 2008725 w 6530351"/>
              <a:gd name="connsiteY299" fmla="*/ 5954725 h 6858285"/>
              <a:gd name="connsiteX300" fmla="*/ 2039827 w 6530351"/>
              <a:gd name="connsiteY300" fmla="*/ 5952817 h 6858285"/>
              <a:gd name="connsiteX301" fmla="*/ 3730413 w 6530351"/>
              <a:gd name="connsiteY301" fmla="*/ 5940108 h 6858285"/>
              <a:gd name="connsiteX302" fmla="*/ 3754481 w 6530351"/>
              <a:gd name="connsiteY302" fmla="*/ 5961063 h 6858285"/>
              <a:gd name="connsiteX303" fmla="*/ 3735417 w 6530351"/>
              <a:gd name="connsiteY303" fmla="*/ 6016308 h 6858285"/>
              <a:gd name="connsiteX304" fmla="*/ 3396070 w 6530351"/>
              <a:gd name="connsiteY304" fmla="*/ 6180138 h 6858285"/>
              <a:gd name="connsiteX305" fmla="*/ 3340783 w 6530351"/>
              <a:gd name="connsiteY305" fmla="*/ 6161088 h 6858285"/>
              <a:gd name="connsiteX306" fmla="*/ 3336970 w 6530351"/>
              <a:gd name="connsiteY306" fmla="*/ 6142038 h 6858285"/>
              <a:gd name="connsiteX307" fmla="*/ 3359847 w 6530351"/>
              <a:gd name="connsiteY307" fmla="*/ 6105843 h 6858285"/>
              <a:gd name="connsiteX308" fmla="*/ 3699193 w 6530351"/>
              <a:gd name="connsiteY308" fmla="*/ 5942013 h 6858285"/>
              <a:gd name="connsiteX309" fmla="*/ 3730413 w 6530351"/>
              <a:gd name="connsiteY309" fmla="*/ 5940108 h 6858285"/>
              <a:gd name="connsiteX310" fmla="*/ 2596921 w 6530351"/>
              <a:gd name="connsiteY310" fmla="*/ 5940108 h 6858285"/>
              <a:gd name="connsiteX311" fmla="*/ 2620990 w 6530351"/>
              <a:gd name="connsiteY311" fmla="*/ 5961063 h 6858285"/>
              <a:gd name="connsiteX312" fmla="*/ 2601925 w 6530351"/>
              <a:gd name="connsiteY312" fmla="*/ 6016308 h 6858285"/>
              <a:gd name="connsiteX313" fmla="*/ 2262579 w 6530351"/>
              <a:gd name="connsiteY313" fmla="*/ 6180138 h 6858285"/>
              <a:gd name="connsiteX314" fmla="*/ 2207292 w 6530351"/>
              <a:gd name="connsiteY314" fmla="*/ 6161088 h 6858285"/>
              <a:gd name="connsiteX315" fmla="*/ 2203479 w 6530351"/>
              <a:gd name="connsiteY315" fmla="*/ 6142038 h 6858285"/>
              <a:gd name="connsiteX316" fmla="*/ 2226356 w 6530351"/>
              <a:gd name="connsiteY316" fmla="*/ 6105843 h 6858285"/>
              <a:gd name="connsiteX317" fmla="*/ 2565703 w 6530351"/>
              <a:gd name="connsiteY317" fmla="*/ 5942013 h 6858285"/>
              <a:gd name="connsiteX318" fmla="*/ 2596921 w 6530351"/>
              <a:gd name="connsiteY318" fmla="*/ 5940108 h 6858285"/>
              <a:gd name="connsiteX319" fmla="*/ 3158032 w 6530351"/>
              <a:gd name="connsiteY319" fmla="*/ 5928122 h 6858285"/>
              <a:gd name="connsiteX320" fmla="*/ 3181386 w 6530351"/>
              <a:gd name="connsiteY320" fmla="*/ 5948363 h 6858285"/>
              <a:gd name="connsiteX321" fmla="*/ 3162321 w 6530351"/>
              <a:gd name="connsiteY321" fmla="*/ 6003608 h 6858285"/>
              <a:gd name="connsiteX322" fmla="*/ 2822975 w 6530351"/>
              <a:gd name="connsiteY322" fmla="*/ 6167438 h 6858285"/>
              <a:gd name="connsiteX323" fmla="*/ 2769594 w 6530351"/>
              <a:gd name="connsiteY323" fmla="*/ 6148388 h 6858285"/>
              <a:gd name="connsiteX324" fmla="*/ 2763875 w 6530351"/>
              <a:gd name="connsiteY324" fmla="*/ 6131243 h 6858285"/>
              <a:gd name="connsiteX325" fmla="*/ 2788659 w 6530351"/>
              <a:gd name="connsiteY325" fmla="*/ 6093143 h 6858285"/>
              <a:gd name="connsiteX326" fmla="*/ 3126099 w 6530351"/>
              <a:gd name="connsiteY326" fmla="*/ 5929313 h 6858285"/>
              <a:gd name="connsiteX327" fmla="*/ 3158032 w 6530351"/>
              <a:gd name="connsiteY327" fmla="*/ 5928122 h 6858285"/>
              <a:gd name="connsiteX328" fmla="*/ 6486883 w 6530351"/>
              <a:gd name="connsiteY328" fmla="*/ 5678738 h 6858285"/>
              <a:gd name="connsiteX329" fmla="*/ 6526293 w 6530351"/>
              <a:gd name="connsiteY329" fmla="*/ 5700678 h 6858285"/>
              <a:gd name="connsiteX330" fmla="*/ 6507229 w 6530351"/>
              <a:gd name="connsiteY330" fmla="*/ 5755855 h 6858285"/>
              <a:gd name="connsiteX331" fmla="*/ 6167883 w 6530351"/>
              <a:gd name="connsiteY331" fmla="*/ 5921387 h 6858285"/>
              <a:gd name="connsiteX332" fmla="*/ 6114503 w 6530351"/>
              <a:gd name="connsiteY332" fmla="*/ 5902361 h 6858285"/>
              <a:gd name="connsiteX333" fmla="*/ 6108783 w 6530351"/>
              <a:gd name="connsiteY333" fmla="*/ 5883334 h 6858285"/>
              <a:gd name="connsiteX334" fmla="*/ 6131661 w 6530351"/>
              <a:gd name="connsiteY334" fmla="*/ 5847183 h 6858285"/>
              <a:gd name="connsiteX335" fmla="*/ 6471007 w 6530351"/>
              <a:gd name="connsiteY335" fmla="*/ 5683554 h 6858285"/>
              <a:gd name="connsiteX336" fmla="*/ 6486883 w 6530351"/>
              <a:gd name="connsiteY336" fmla="*/ 5678738 h 6858285"/>
              <a:gd name="connsiteX337" fmla="*/ 5956831 w 6530351"/>
              <a:gd name="connsiteY337" fmla="*/ 5667772 h 6858285"/>
              <a:gd name="connsiteX338" fmla="*/ 5980185 w 6530351"/>
              <a:gd name="connsiteY338" fmla="*/ 5688013 h 6858285"/>
              <a:gd name="connsiteX339" fmla="*/ 5961121 w 6530351"/>
              <a:gd name="connsiteY339" fmla="*/ 5743258 h 6858285"/>
              <a:gd name="connsiteX340" fmla="*/ 5621775 w 6530351"/>
              <a:gd name="connsiteY340" fmla="*/ 5907088 h 6858285"/>
              <a:gd name="connsiteX341" fmla="*/ 5566487 w 6530351"/>
              <a:gd name="connsiteY341" fmla="*/ 5888038 h 6858285"/>
              <a:gd name="connsiteX342" fmla="*/ 5562675 w 6530351"/>
              <a:gd name="connsiteY342" fmla="*/ 5868988 h 6858285"/>
              <a:gd name="connsiteX343" fmla="*/ 5585553 w 6530351"/>
              <a:gd name="connsiteY343" fmla="*/ 5832793 h 6858285"/>
              <a:gd name="connsiteX344" fmla="*/ 5924899 w 6530351"/>
              <a:gd name="connsiteY344" fmla="*/ 5668963 h 6858285"/>
              <a:gd name="connsiteX345" fmla="*/ 5956831 w 6530351"/>
              <a:gd name="connsiteY345" fmla="*/ 5667772 h 6858285"/>
              <a:gd name="connsiteX346" fmla="*/ 397251 w 6530351"/>
              <a:gd name="connsiteY346" fmla="*/ 5667772 h 6858285"/>
              <a:gd name="connsiteX347" fmla="*/ 420366 w 6530351"/>
              <a:gd name="connsiteY347" fmla="*/ 5688013 h 6858285"/>
              <a:gd name="connsiteX348" fmla="*/ 401302 w 6530351"/>
              <a:gd name="connsiteY348" fmla="*/ 5743258 h 6858285"/>
              <a:gd name="connsiteX349" fmla="*/ 63862 w 6530351"/>
              <a:gd name="connsiteY349" fmla="*/ 5907088 h 6858285"/>
              <a:gd name="connsiteX350" fmla="*/ 8575 w 6530351"/>
              <a:gd name="connsiteY350" fmla="*/ 5888038 h 6858285"/>
              <a:gd name="connsiteX351" fmla="*/ 4762 w 6530351"/>
              <a:gd name="connsiteY351" fmla="*/ 5868988 h 6858285"/>
              <a:gd name="connsiteX352" fmla="*/ 27639 w 6530351"/>
              <a:gd name="connsiteY352" fmla="*/ 5832793 h 6858285"/>
              <a:gd name="connsiteX353" fmla="*/ 366986 w 6530351"/>
              <a:gd name="connsiteY353" fmla="*/ 5668963 h 6858285"/>
              <a:gd name="connsiteX354" fmla="*/ 397251 w 6530351"/>
              <a:gd name="connsiteY354" fmla="*/ 5667772 h 6858285"/>
              <a:gd name="connsiteX355" fmla="*/ 5407607 w 6530351"/>
              <a:gd name="connsiteY355" fmla="*/ 5656671 h 6858285"/>
              <a:gd name="connsiteX356" fmla="*/ 5432463 w 6530351"/>
              <a:gd name="connsiteY356" fmla="*/ 5676936 h 6858285"/>
              <a:gd name="connsiteX357" fmla="*/ 5411429 w 6530351"/>
              <a:gd name="connsiteY357" fmla="*/ 5732250 h 6858285"/>
              <a:gd name="connsiteX358" fmla="*/ 5071079 w 6530351"/>
              <a:gd name="connsiteY358" fmla="*/ 5894377 h 6858285"/>
              <a:gd name="connsiteX359" fmla="*/ 5015629 w 6530351"/>
              <a:gd name="connsiteY359" fmla="*/ 5873396 h 6858285"/>
              <a:gd name="connsiteX360" fmla="*/ 5011805 w 6530351"/>
              <a:gd name="connsiteY360" fmla="*/ 5856229 h 6858285"/>
              <a:gd name="connsiteX361" fmla="*/ 5036663 w 6530351"/>
              <a:gd name="connsiteY361" fmla="*/ 5818082 h 6858285"/>
              <a:gd name="connsiteX362" fmla="*/ 5377013 w 6530351"/>
              <a:gd name="connsiteY362" fmla="*/ 5657863 h 6858285"/>
              <a:gd name="connsiteX363" fmla="*/ 5407607 w 6530351"/>
              <a:gd name="connsiteY363" fmla="*/ 5656671 h 6858285"/>
              <a:gd name="connsiteX364" fmla="*/ 941852 w 6530351"/>
              <a:gd name="connsiteY364" fmla="*/ 5656671 h 6858285"/>
              <a:gd name="connsiteX365" fmla="*/ 965206 w 6530351"/>
              <a:gd name="connsiteY365" fmla="*/ 5676936 h 6858285"/>
              <a:gd name="connsiteX366" fmla="*/ 946141 w 6530351"/>
              <a:gd name="connsiteY366" fmla="*/ 5732250 h 6858285"/>
              <a:gd name="connsiteX367" fmla="*/ 606795 w 6530351"/>
              <a:gd name="connsiteY367" fmla="*/ 5894377 h 6858285"/>
              <a:gd name="connsiteX368" fmla="*/ 551508 w 6530351"/>
              <a:gd name="connsiteY368" fmla="*/ 5873396 h 6858285"/>
              <a:gd name="connsiteX369" fmla="*/ 547695 w 6530351"/>
              <a:gd name="connsiteY369" fmla="*/ 5856229 h 6858285"/>
              <a:gd name="connsiteX370" fmla="*/ 570572 w 6530351"/>
              <a:gd name="connsiteY370" fmla="*/ 5818082 h 6858285"/>
              <a:gd name="connsiteX371" fmla="*/ 909919 w 6530351"/>
              <a:gd name="connsiteY371" fmla="*/ 5657863 h 6858285"/>
              <a:gd name="connsiteX372" fmla="*/ 941852 w 6530351"/>
              <a:gd name="connsiteY372" fmla="*/ 5656671 h 6858285"/>
              <a:gd name="connsiteX373" fmla="*/ 4853529 w 6530351"/>
              <a:gd name="connsiteY373" fmla="*/ 5644852 h 6858285"/>
              <a:gd name="connsiteX374" fmla="*/ 4876865 w 6530351"/>
              <a:gd name="connsiteY374" fmla="*/ 5665859 h 6858285"/>
              <a:gd name="connsiteX375" fmla="*/ 4855911 w 6530351"/>
              <a:gd name="connsiteY375" fmla="*/ 5723153 h 6858285"/>
              <a:gd name="connsiteX376" fmla="*/ 4516815 w 6530351"/>
              <a:gd name="connsiteY376" fmla="*/ 5881664 h 6858285"/>
              <a:gd name="connsiteX377" fmla="*/ 4461571 w 6530351"/>
              <a:gd name="connsiteY377" fmla="*/ 5860656 h 6858285"/>
              <a:gd name="connsiteX378" fmla="*/ 4457759 w 6530351"/>
              <a:gd name="connsiteY378" fmla="*/ 5843468 h 6858285"/>
              <a:gd name="connsiteX379" fmla="*/ 4482525 w 6530351"/>
              <a:gd name="connsiteY379" fmla="*/ 5805273 h 6858285"/>
              <a:gd name="connsiteX380" fmla="*/ 4821621 w 6530351"/>
              <a:gd name="connsiteY380" fmla="*/ 5646762 h 6858285"/>
              <a:gd name="connsiteX381" fmla="*/ 4853529 w 6530351"/>
              <a:gd name="connsiteY381" fmla="*/ 5644852 h 6858285"/>
              <a:gd name="connsiteX382" fmla="*/ 1487905 w 6530351"/>
              <a:gd name="connsiteY382" fmla="*/ 5644852 h 6858285"/>
              <a:gd name="connsiteX383" fmla="*/ 1512908 w 6530351"/>
              <a:gd name="connsiteY383" fmla="*/ 5665859 h 6858285"/>
              <a:gd name="connsiteX384" fmla="*/ 1491953 w 6530351"/>
              <a:gd name="connsiteY384" fmla="*/ 5723153 h 6858285"/>
              <a:gd name="connsiteX385" fmla="*/ 1152858 w 6530351"/>
              <a:gd name="connsiteY385" fmla="*/ 5881664 h 6858285"/>
              <a:gd name="connsiteX386" fmla="*/ 1097612 w 6530351"/>
              <a:gd name="connsiteY386" fmla="*/ 5860656 h 6858285"/>
              <a:gd name="connsiteX387" fmla="*/ 1093802 w 6530351"/>
              <a:gd name="connsiteY387" fmla="*/ 5843468 h 6858285"/>
              <a:gd name="connsiteX388" fmla="*/ 1116662 w 6530351"/>
              <a:gd name="connsiteY388" fmla="*/ 5805273 h 6858285"/>
              <a:gd name="connsiteX389" fmla="*/ 1455757 w 6530351"/>
              <a:gd name="connsiteY389" fmla="*/ 5646762 h 6858285"/>
              <a:gd name="connsiteX390" fmla="*/ 1487905 w 6530351"/>
              <a:gd name="connsiteY390" fmla="*/ 5644852 h 6858285"/>
              <a:gd name="connsiteX391" fmla="*/ 4280353 w 6530351"/>
              <a:gd name="connsiteY391" fmla="*/ 5631126 h 6858285"/>
              <a:gd name="connsiteX392" fmla="*/ 4319611 w 6530351"/>
              <a:gd name="connsiteY392" fmla="*/ 5654878 h 6858285"/>
              <a:gd name="connsiteX393" fmla="*/ 4298577 w 6530351"/>
              <a:gd name="connsiteY393" fmla="*/ 5711813 h 6858285"/>
              <a:gd name="connsiteX394" fmla="*/ 3958227 w 6530351"/>
              <a:gd name="connsiteY394" fmla="*/ 5867437 h 6858285"/>
              <a:gd name="connsiteX395" fmla="*/ 3902777 w 6530351"/>
              <a:gd name="connsiteY395" fmla="*/ 5846560 h 6858285"/>
              <a:gd name="connsiteX396" fmla="*/ 3898953 w 6530351"/>
              <a:gd name="connsiteY396" fmla="*/ 5829480 h 6858285"/>
              <a:gd name="connsiteX397" fmla="*/ 3923811 w 6530351"/>
              <a:gd name="connsiteY397" fmla="*/ 5789625 h 6858285"/>
              <a:gd name="connsiteX398" fmla="*/ 4264161 w 6530351"/>
              <a:gd name="connsiteY398" fmla="*/ 5635900 h 6858285"/>
              <a:gd name="connsiteX399" fmla="*/ 4280353 w 6530351"/>
              <a:gd name="connsiteY399" fmla="*/ 5631126 h 6858285"/>
              <a:gd name="connsiteX400" fmla="*/ 2025816 w 6530351"/>
              <a:gd name="connsiteY400" fmla="*/ 5631125 h 6858285"/>
              <a:gd name="connsiteX401" fmla="*/ 2066925 w 6530351"/>
              <a:gd name="connsiteY401" fmla="*/ 5654878 h 6858285"/>
              <a:gd name="connsiteX402" fmla="*/ 2045908 w 6530351"/>
              <a:gd name="connsiteY402" fmla="*/ 5711813 h 6858285"/>
              <a:gd name="connsiteX403" fmla="*/ 1705813 w 6530351"/>
              <a:gd name="connsiteY403" fmla="*/ 5867437 h 6858285"/>
              <a:gd name="connsiteX404" fmla="*/ 1648493 w 6530351"/>
              <a:gd name="connsiteY404" fmla="*/ 5846560 h 6858285"/>
              <a:gd name="connsiteX405" fmla="*/ 1644672 w 6530351"/>
              <a:gd name="connsiteY405" fmla="*/ 5829480 h 6858285"/>
              <a:gd name="connsiteX406" fmla="*/ 1669510 w 6530351"/>
              <a:gd name="connsiteY406" fmla="*/ 5789625 h 6858285"/>
              <a:gd name="connsiteX407" fmla="*/ 2009605 w 6530351"/>
              <a:gd name="connsiteY407" fmla="*/ 5635900 h 6858285"/>
              <a:gd name="connsiteX408" fmla="*/ 2025816 w 6530351"/>
              <a:gd name="connsiteY408" fmla="*/ 5631125 h 6858285"/>
              <a:gd name="connsiteX409" fmla="*/ 3732525 w 6530351"/>
              <a:gd name="connsiteY409" fmla="*/ 5620418 h 6858285"/>
              <a:gd name="connsiteX410" fmla="*/ 3756081 w 6530351"/>
              <a:gd name="connsiteY410" fmla="*/ 5642408 h 6858285"/>
              <a:gd name="connsiteX411" fmla="*/ 3735143 w 6530351"/>
              <a:gd name="connsiteY411" fmla="*/ 5699775 h 6858285"/>
              <a:gd name="connsiteX412" fmla="*/ 3396298 w 6530351"/>
              <a:gd name="connsiteY412" fmla="*/ 5854665 h 6858285"/>
              <a:gd name="connsiteX413" fmla="*/ 3339189 w 6530351"/>
              <a:gd name="connsiteY413" fmla="*/ 5833630 h 6858285"/>
              <a:gd name="connsiteX414" fmla="*/ 3335382 w 6530351"/>
              <a:gd name="connsiteY414" fmla="*/ 5814508 h 6858285"/>
              <a:gd name="connsiteX415" fmla="*/ 3360129 w 6530351"/>
              <a:gd name="connsiteY415" fmla="*/ 5776264 h 6858285"/>
              <a:gd name="connsiteX416" fmla="*/ 3698973 w 6530351"/>
              <a:gd name="connsiteY416" fmla="*/ 5621374 h 6858285"/>
              <a:gd name="connsiteX417" fmla="*/ 3732525 w 6530351"/>
              <a:gd name="connsiteY417" fmla="*/ 5620418 h 6858285"/>
              <a:gd name="connsiteX418" fmla="*/ 2598321 w 6530351"/>
              <a:gd name="connsiteY418" fmla="*/ 5620418 h 6858285"/>
              <a:gd name="connsiteX419" fmla="*/ 2622592 w 6530351"/>
              <a:gd name="connsiteY419" fmla="*/ 5642408 h 6858285"/>
              <a:gd name="connsiteX420" fmla="*/ 2601652 w 6530351"/>
              <a:gd name="connsiteY420" fmla="*/ 5699775 h 6858285"/>
              <a:gd name="connsiteX421" fmla="*/ 2262808 w 6530351"/>
              <a:gd name="connsiteY421" fmla="*/ 5854665 h 6858285"/>
              <a:gd name="connsiteX422" fmla="*/ 2205699 w 6530351"/>
              <a:gd name="connsiteY422" fmla="*/ 5833630 h 6858285"/>
              <a:gd name="connsiteX423" fmla="*/ 2201892 w 6530351"/>
              <a:gd name="connsiteY423" fmla="*/ 5814508 h 6858285"/>
              <a:gd name="connsiteX424" fmla="*/ 2226639 w 6530351"/>
              <a:gd name="connsiteY424" fmla="*/ 5776264 h 6858285"/>
              <a:gd name="connsiteX425" fmla="*/ 2565483 w 6530351"/>
              <a:gd name="connsiteY425" fmla="*/ 5621374 h 6858285"/>
              <a:gd name="connsiteX426" fmla="*/ 2598321 w 6530351"/>
              <a:gd name="connsiteY426" fmla="*/ 5620418 h 6858285"/>
              <a:gd name="connsiteX427" fmla="*/ 3160328 w 6530351"/>
              <a:gd name="connsiteY427" fmla="*/ 5609262 h 6858285"/>
              <a:gd name="connsiteX428" fmla="*/ 3184582 w 6530351"/>
              <a:gd name="connsiteY428" fmla="*/ 5631142 h 6858285"/>
              <a:gd name="connsiteX429" fmla="*/ 3161755 w 6530351"/>
              <a:gd name="connsiteY429" fmla="*/ 5688219 h 6858285"/>
              <a:gd name="connsiteX430" fmla="*/ 2823158 w 6530351"/>
              <a:gd name="connsiteY430" fmla="*/ 5840426 h 6858285"/>
              <a:gd name="connsiteX431" fmla="*/ 2766091 w 6530351"/>
              <a:gd name="connsiteY431" fmla="*/ 5817595 h 6858285"/>
              <a:gd name="connsiteX432" fmla="*/ 2762287 w 6530351"/>
              <a:gd name="connsiteY432" fmla="*/ 5800472 h 6858285"/>
              <a:gd name="connsiteX433" fmla="*/ 2787016 w 6530351"/>
              <a:gd name="connsiteY433" fmla="*/ 5760517 h 6858285"/>
              <a:gd name="connsiteX434" fmla="*/ 3127515 w 6530351"/>
              <a:gd name="connsiteY434" fmla="*/ 5610214 h 6858285"/>
              <a:gd name="connsiteX435" fmla="*/ 3160328 w 6530351"/>
              <a:gd name="connsiteY435" fmla="*/ 5609262 h 6858285"/>
              <a:gd name="connsiteX436" fmla="*/ 6501987 w 6530351"/>
              <a:gd name="connsiteY436" fmla="*/ 5357485 h 6858285"/>
              <a:gd name="connsiteX437" fmla="*/ 6524387 w 6530351"/>
              <a:gd name="connsiteY437" fmla="*/ 5378415 h 6858285"/>
              <a:gd name="connsiteX438" fmla="*/ 6507229 w 6530351"/>
              <a:gd name="connsiteY438" fmla="*/ 5431690 h 6858285"/>
              <a:gd name="connsiteX439" fmla="*/ 6167883 w 6530351"/>
              <a:gd name="connsiteY439" fmla="*/ 5597222 h 6858285"/>
              <a:gd name="connsiteX440" fmla="*/ 6114503 w 6530351"/>
              <a:gd name="connsiteY440" fmla="*/ 5580098 h 6858285"/>
              <a:gd name="connsiteX441" fmla="*/ 6108783 w 6530351"/>
              <a:gd name="connsiteY441" fmla="*/ 5561071 h 6858285"/>
              <a:gd name="connsiteX442" fmla="*/ 6131661 w 6530351"/>
              <a:gd name="connsiteY442" fmla="*/ 5524920 h 6858285"/>
              <a:gd name="connsiteX443" fmla="*/ 6471007 w 6530351"/>
              <a:gd name="connsiteY443" fmla="*/ 5359388 h 6858285"/>
              <a:gd name="connsiteX444" fmla="*/ 6501987 w 6530351"/>
              <a:gd name="connsiteY444" fmla="*/ 5357485 h 6858285"/>
              <a:gd name="connsiteX445" fmla="*/ 5956831 w 6530351"/>
              <a:gd name="connsiteY445" fmla="*/ 5347056 h 6858285"/>
              <a:gd name="connsiteX446" fmla="*/ 5980185 w 6530351"/>
              <a:gd name="connsiteY446" fmla="*/ 5367196 h 6858285"/>
              <a:gd name="connsiteX447" fmla="*/ 5961121 w 6530351"/>
              <a:gd name="connsiteY447" fmla="*/ 5422166 h 6858285"/>
              <a:gd name="connsiteX448" fmla="*/ 5621775 w 6530351"/>
              <a:gd name="connsiteY448" fmla="*/ 5583285 h 6858285"/>
              <a:gd name="connsiteX449" fmla="*/ 5566487 w 6530351"/>
              <a:gd name="connsiteY449" fmla="*/ 5564330 h 6858285"/>
              <a:gd name="connsiteX450" fmla="*/ 5562675 w 6530351"/>
              <a:gd name="connsiteY450" fmla="*/ 5547270 h 6858285"/>
              <a:gd name="connsiteX451" fmla="*/ 5585553 w 6530351"/>
              <a:gd name="connsiteY451" fmla="*/ 5509360 h 6858285"/>
              <a:gd name="connsiteX452" fmla="*/ 5924899 w 6530351"/>
              <a:gd name="connsiteY452" fmla="*/ 5348240 h 6858285"/>
              <a:gd name="connsiteX453" fmla="*/ 5956831 w 6530351"/>
              <a:gd name="connsiteY453" fmla="*/ 5347056 h 6858285"/>
              <a:gd name="connsiteX454" fmla="*/ 398204 w 6530351"/>
              <a:gd name="connsiteY454" fmla="*/ 5347056 h 6858285"/>
              <a:gd name="connsiteX455" fmla="*/ 422273 w 6530351"/>
              <a:gd name="connsiteY455" fmla="*/ 5367196 h 6858285"/>
              <a:gd name="connsiteX456" fmla="*/ 401302 w 6530351"/>
              <a:gd name="connsiteY456" fmla="*/ 5422166 h 6858285"/>
              <a:gd name="connsiteX457" fmla="*/ 63862 w 6530351"/>
              <a:gd name="connsiteY457" fmla="*/ 5583285 h 6858285"/>
              <a:gd name="connsiteX458" fmla="*/ 8575 w 6530351"/>
              <a:gd name="connsiteY458" fmla="*/ 5564330 h 6858285"/>
              <a:gd name="connsiteX459" fmla="*/ 4762 w 6530351"/>
              <a:gd name="connsiteY459" fmla="*/ 5547270 h 6858285"/>
              <a:gd name="connsiteX460" fmla="*/ 27639 w 6530351"/>
              <a:gd name="connsiteY460" fmla="*/ 5509360 h 6858285"/>
              <a:gd name="connsiteX461" fmla="*/ 366986 w 6530351"/>
              <a:gd name="connsiteY461" fmla="*/ 5348240 h 6858285"/>
              <a:gd name="connsiteX462" fmla="*/ 398204 w 6530351"/>
              <a:gd name="connsiteY462" fmla="*/ 5347056 h 6858285"/>
              <a:gd name="connsiteX463" fmla="*/ 5409041 w 6530351"/>
              <a:gd name="connsiteY463" fmla="*/ 5334657 h 6858285"/>
              <a:gd name="connsiteX464" fmla="*/ 5432463 w 6530351"/>
              <a:gd name="connsiteY464" fmla="*/ 5356619 h 6858285"/>
              <a:gd name="connsiteX465" fmla="*/ 5411429 w 6530351"/>
              <a:gd name="connsiteY465" fmla="*/ 5412003 h 6858285"/>
              <a:gd name="connsiteX466" fmla="*/ 5071079 w 6530351"/>
              <a:gd name="connsiteY466" fmla="*/ 5570514 h 6858285"/>
              <a:gd name="connsiteX467" fmla="*/ 5015629 w 6530351"/>
              <a:gd name="connsiteY467" fmla="*/ 5549506 h 6858285"/>
              <a:gd name="connsiteX468" fmla="*/ 5011805 w 6530351"/>
              <a:gd name="connsiteY468" fmla="*/ 5532318 h 6858285"/>
              <a:gd name="connsiteX469" fmla="*/ 5036663 w 6530351"/>
              <a:gd name="connsiteY469" fmla="*/ 5494123 h 6858285"/>
              <a:gd name="connsiteX470" fmla="*/ 5377013 w 6530351"/>
              <a:gd name="connsiteY470" fmla="*/ 5335612 h 6858285"/>
              <a:gd name="connsiteX471" fmla="*/ 5409041 w 6530351"/>
              <a:gd name="connsiteY471" fmla="*/ 5334657 h 6858285"/>
              <a:gd name="connsiteX472" fmla="*/ 941876 w 6530351"/>
              <a:gd name="connsiteY472" fmla="*/ 5334657 h 6858285"/>
              <a:gd name="connsiteX473" fmla="*/ 965213 w 6530351"/>
              <a:gd name="connsiteY473" fmla="*/ 5356619 h 6858285"/>
              <a:gd name="connsiteX474" fmla="*/ 946163 w 6530351"/>
              <a:gd name="connsiteY474" fmla="*/ 5412003 h 6858285"/>
              <a:gd name="connsiteX475" fmla="*/ 605163 w 6530351"/>
              <a:gd name="connsiteY475" fmla="*/ 5570514 h 6858285"/>
              <a:gd name="connsiteX476" fmla="*/ 549917 w 6530351"/>
              <a:gd name="connsiteY476" fmla="*/ 5549506 h 6858285"/>
              <a:gd name="connsiteX477" fmla="*/ 546107 w 6530351"/>
              <a:gd name="connsiteY477" fmla="*/ 5532318 h 6858285"/>
              <a:gd name="connsiteX478" fmla="*/ 570872 w 6530351"/>
              <a:gd name="connsiteY478" fmla="*/ 5494123 h 6858285"/>
              <a:gd name="connsiteX479" fmla="*/ 909967 w 6530351"/>
              <a:gd name="connsiteY479" fmla="*/ 5335612 h 6858285"/>
              <a:gd name="connsiteX480" fmla="*/ 941876 w 6530351"/>
              <a:gd name="connsiteY480" fmla="*/ 5334657 h 6858285"/>
              <a:gd name="connsiteX481" fmla="*/ 4854215 w 6530351"/>
              <a:gd name="connsiteY481" fmla="*/ 5323794 h 6858285"/>
              <a:gd name="connsiteX482" fmla="*/ 4878467 w 6530351"/>
              <a:gd name="connsiteY482" fmla="*/ 5347457 h 6858285"/>
              <a:gd name="connsiteX483" fmla="*/ 4855641 w 6530351"/>
              <a:gd name="connsiteY483" fmla="*/ 5402912 h 6858285"/>
              <a:gd name="connsiteX484" fmla="*/ 4517045 w 6530351"/>
              <a:gd name="connsiteY484" fmla="*/ 5555889 h 6858285"/>
              <a:gd name="connsiteX485" fmla="*/ 4459977 w 6530351"/>
              <a:gd name="connsiteY485" fmla="*/ 5534855 h 6858285"/>
              <a:gd name="connsiteX486" fmla="*/ 4456173 w 6530351"/>
              <a:gd name="connsiteY486" fmla="*/ 5517645 h 6858285"/>
              <a:gd name="connsiteX487" fmla="*/ 4482805 w 6530351"/>
              <a:gd name="connsiteY487" fmla="*/ 5477488 h 6858285"/>
              <a:gd name="connsiteX488" fmla="*/ 4821401 w 6530351"/>
              <a:gd name="connsiteY488" fmla="*/ 5324511 h 6858285"/>
              <a:gd name="connsiteX489" fmla="*/ 4854215 w 6530351"/>
              <a:gd name="connsiteY489" fmla="*/ 5323794 h 6858285"/>
              <a:gd name="connsiteX490" fmla="*/ 1489595 w 6530351"/>
              <a:gd name="connsiteY490" fmla="*/ 5323794 h 6858285"/>
              <a:gd name="connsiteX491" fmla="*/ 1512914 w 6530351"/>
              <a:gd name="connsiteY491" fmla="*/ 5347457 h 6858285"/>
              <a:gd name="connsiteX492" fmla="*/ 1491974 w 6530351"/>
              <a:gd name="connsiteY492" fmla="*/ 5402912 h 6858285"/>
              <a:gd name="connsiteX493" fmla="*/ 1153130 w 6530351"/>
              <a:gd name="connsiteY493" fmla="*/ 5555889 h 6858285"/>
              <a:gd name="connsiteX494" fmla="*/ 1096021 w 6530351"/>
              <a:gd name="connsiteY494" fmla="*/ 5534855 h 6858285"/>
              <a:gd name="connsiteX495" fmla="*/ 1092214 w 6530351"/>
              <a:gd name="connsiteY495" fmla="*/ 5517645 h 6858285"/>
              <a:gd name="connsiteX496" fmla="*/ 1116961 w 6530351"/>
              <a:gd name="connsiteY496" fmla="*/ 5477488 h 6858285"/>
              <a:gd name="connsiteX497" fmla="*/ 1457709 w 6530351"/>
              <a:gd name="connsiteY497" fmla="*/ 5324511 h 6858285"/>
              <a:gd name="connsiteX498" fmla="*/ 1489595 w 6530351"/>
              <a:gd name="connsiteY498" fmla="*/ 5323794 h 6858285"/>
              <a:gd name="connsiteX499" fmla="*/ 4281207 w 6530351"/>
              <a:gd name="connsiteY499" fmla="*/ 5309970 h 6858285"/>
              <a:gd name="connsiteX500" fmla="*/ 4321211 w 6530351"/>
              <a:gd name="connsiteY500" fmla="*/ 5336223 h 6858285"/>
              <a:gd name="connsiteX501" fmla="*/ 4298301 w 6530351"/>
              <a:gd name="connsiteY501" fmla="*/ 5395278 h 6858285"/>
              <a:gd name="connsiteX502" fmla="*/ 3958461 w 6530351"/>
              <a:gd name="connsiteY502" fmla="*/ 5541963 h 6858285"/>
              <a:gd name="connsiteX503" fmla="*/ 3901183 w 6530351"/>
              <a:gd name="connsiteY503" fmla="*/ 5519103 h 6858285"/>
              <a:gd name="connsiteX504" fmla="*/ 3897365 w 6530351"/>
              <a:gd name="connsiteY504" fmla="*/ 5501958 h 6858285"/>
              <a:gd name="connsiteX505" fmla="*/ 3924095 w 6530351"/>
              <a:gd name="connsiteY505" fmla="*/ 5461953 h 6858285"/>
              <a:gd name="connsiteX506" fmla="*/ 4263935 w 6530351"/>
              <a:gd name="connsiteY506" fmla="*/ 5313363 h 6858285"/>
              <a:gd name="connsiteX507" fmla="*/ 4281207 w 6530351"/>
              <a:gd name="connsiteY507" fmla="*/ 5309970 h 6858285"/>
              <a:gd name="connsiteX508" fmla="*/ 2026943 w 6530351"/>
              <a:gd name="connsiteY508" fmla="*/ 5309969 h 6858285"/>
              <a:gd name="connsiteX509" fmla="*/ 2068527 w 6530351"/>
              <a:gd name="connsiteY509" fmla="*/ 5336223 h 6858285"/>
              <a:gd name="connsiteX510" fmla="*/ 2045633 w 6530351"/>
              <a:gd name="connsiteY510" fmla="*/ 5395278 h 6858285"/>
              <a:gd name="connsiteX511" fmla="*/ 1704135 w 6530351"/>
              <a:gd name="connsiteY511" fmla="*/ 5541963 h 6858285"/>
              <a:gd name="connsiteX512" fmla="*/ 1646901 w 6530351"/>
              <a:gd name="connsiteY512" fmla="*/ 5519103 h 6858285"/>
              <a:gd name="connsiteX513" fmla="*/ 1643085 w 6530351"/>
              <a:gd name="connsiteY513" fmla="*/ 5501958 h 6858285"/>
              <a:gd name="connsiteX514" fmla="*/ 1669794 w 6530351"/>
              <a:gd name="connsiteY514" fmla="*/ 5461953 h 6858285"/>
              <a:gd name="connsiteX515" fmla="*/ 2009385 w 6530351"/>
              <a:gd name="connsiteY515" fmla="*/ 5313363 h 6858285"/>
              <a:gd name="connsiteX516" fmla="*/ 2026943 w 6530351"/>
              <a:gd name="connsiteY516" fmla="*/ 5309969 h 6858285"/>
              <a:gd name="connsiteX517" fmla="*/ 3719263 w 6530351"/>
              <a:gd name="connsiteY517" fmla="*/ 5298894 h 6858285"/>
              <a:gd name="connsiteX518" fmla="*/ 3759237 w 6530351"/>
              <a:gd name="connsiteY518" fmla="*/ 5327059 h 6858285"/>
              <a:gd name="connsiteX519" fmla="*/ 3736343 w 6530351"/>
              <a:gd name="connsiteY519" fmla="*/ 5386191 h 6858285"/>
              <a:gd name="connsiteX520" fmla="*/ 3394845 w 6530351"/>
              <a:gd name="connsiteY520" fmla="*/ 5529250 h 6858285"/>
              <a:gd name="connsiteX521" fmla="*/ 3337611 w 6530351"/>
              <a:gd name="connsiteY521" fmla="*/ 5504453 h 6858285"/>
              <a:gd name="connsiteX522" fmla="*/ 3333795 w 6530351"/>
              <a:gd name="connsiteY522" fmla="*/ 5487286 h 6858285"/>
              <a:gd name="connsiteX523" fmla="*/ 3360504 w 6530351"/>
              <a:gd name="connsiteY523" fmla="*/ 5447229 h 6858285"/>
              <a:gd name="connsiteX524" fmla="*/ 3702003 w 6530351"/>
              <a:gd name="connsiteY524" fmla="*/ 5302262 h 6858285"/>
              <a:gd name="connsiteX525" fmla="*/ 3719263 w 6530351"/>
              <a:gd name="connsiteY525" fmla="*/ 5298894 h 6858285"/>
              <a:gd name="connsiteX526" fmla="*/ 2583562 w 6530351"/>
              <a:gd name="connsiteY526" fmla="*/ 5298894 h 6858285"/>
              <a:gd name="connsiteX527" fmla="*/ 2624193 w 6530351"/>
              <a:gd name="connsiteY527" fmla="*/ 5327059 h 6858285"/>
              <a:gd name="connsiteX528" fmla="*/ 2601383 w 6530351"/>
              <a:gd name="connsiteY528" fmla="*/ 5386191 h 6858285"/>
              <a:gd name="connsiteX529" fmla="*/ 2261131 w 6530351"/>
              <a:gd name="connsiteY529" fmla="*/ 5529250 h 6858285"/>
              <a:gd name="connsiteX530" fmla="*/ 2204106 w 6530351"/>
              <a:gd name="connsiteY530" fmla="*/ 5504453 h 6858285"/>
              <a:gd name="connsiteX531" fmla="*/ 2200304 w 6530351"/>
              <a:gd name="connsiteY531" fmla="*/ 5487286 h 6858285"/>
              <a:gd name="connsiteX532" fmla="*/ 2226916 w 6530351"/>
              <a:gd name="connsiteY532" fmla="*/ 5447229 h 6858285"/>
              <a:gd name="connsiteX533" fmla="*/ 2567167 w 6530351"/>
              <a:gd name="connsiteY533" fmla="*/ 5302262 h 6858285"/>
              <a:gd name="connsiteX534" fmla="*/ 2583562 w 6530351"/>
              <a:gd name="connsiteY534" fmla="*/ 5298894 h 6858285"/>
              <a:gd name="connsiteX535" fmla="*/ 3161728 w 6530351"/>
              <a:gd name="connsiteY535" fmla="*/ 5292225 h 6858285"/>
              <a:gd name="connsiteX536" fmla="*/ 3186184 w 6530351"/>
              <a:gd name="connsiteY536" fmla="*/ 5317400 h 6858285"/>
              <a:gd name="connsiteX537" fmla="*/ 3161490 w 6530351"/>
              <a:gd name="connsiteY537" fmla="*/ 5376300 h 6858285"/>
              <a:gd name="connsiteX538" fmla="*/ 2821483 w 6530351"/>
              <a:gd name="connsiteY538" fmla="*/ 5515000 h 6858285"/>
              <a:gd name="connsiteX539" fmla="*/ 2762599 w 6530351"/>
              <a:gd name="connsiteY539" fmla="*/ 5488400 h 6858285"/>
              <a:gd name="connsiteX540" fmla="*/ 2760700 w 6530351"/>
              <a:gd name="connsiteY540" fmla="*/ 5471300 h 6858285"/>
              <a:gd name="connsiteX541" fmla="*/ 2787293 w 6530351"/>
              <a:gd name="connsiteY541" fmla="*/ 5429500 h 6858285"/>
              <a:gd name="connsiteX542" fmla="*/ 3127300 w 6530351"/>
              <a:gd name="connsiteY542" fmla="*/ 5292700 h 6858285"/>
              <a:gd name="connsiteX543" fmla="*/ 3161728 w 6530351"/>
              <a:gd name="connsiteY543" fmla="*/ 5292225 h 6858285"/>
              <a:gd name="connsiteX544" fmla="*/ 6485691 w 6530351"/>
              <a:gd name="connsiteY544" fmla="*/ 5032625 h 6858285"/>
              <a:gd name="connsiteX545" fmla="*/ 6523141 w 6530351"/>
              <a:gd name="connsiteY545" fmla="*/ 5054565 h 6858285"/>
              <a:gd name="connsiteX546" fmla="*/ 6506021 w 6530351"/>
              <a:gd name="connsiteY546" fmla="*/ 5107840 h 6858285"/>
              <a:gd name="connsiteX547" fmla="*/ 6167435 w 6530351"/>
              <a:gd name="connsiteY547" fmla="*/ 5275274 h 6858285"/>
              <a:gd name="connsiteX548" fmla="*/ 6114175 w 6530351"/>
              <a:gd name="connsiteY548" fmla="*/ 5258150 h 6858285"/>
              <a:gd name="connsiteX549" fmla="*/ 6110371 w 6530351"/>
              <a:gd name="connsiteY549" fmla="*/ 5239124 h 6858285"/>
              <a:gd name="connsiteX550" fmla="*/ 6131293 w 6530351"/>
              <a:gd name="connsiteY550" fmla="*/ 5202973 h 6858285"/>
              <a:gd name="connsiteX551" fmla="*/ 6469879 w 6530351"/>
              <a:gd name="connsiteY551" fmla="*/ 5037441 h 6858285"/>
              <a:gd name="connsiteX552" fmla="*/ 6485691 w 6530351"/>
              <a:gd name="connsiteY552" fmla="*/ 5032625 h 6858285"/>
              <a:gd name="connsiteX553" fmla="*/ 5956831 w 6530351"/>
              <a:gd name="connsiteY553" fmla="*/ 5024845 h 6858285"/>
              <a:gd name="connsiteX554" fmla="*/ 5980185 w 6530351"/>
              <a:gd name="connsiteY554" fmla="*/ 5045110 h 6858285"/>
              <a:gd name="connsiteX555" fmla="*/ 5961121 w 6530351"/>
              <a:gd name="connsiteY555" fmla="*/ 5100424 h 6858285"/>
              <a:gd name="connsiteX556" fmla="*/ 5621775 w 6530351"/>
              <a:gd name="connsiteY556" fmla="*/ 5262551 h 6858285"/>
              <a:gd name="connsiteX557" fmla="*/ 5566487 w 6530351"/>
              <a:gd name="connsiteY557" fmla="*/ 5241570 h 6858285"/>
              <a:gd name="connsiteX558" fmla="*/ 5562675 w 6530351"/>
              <a:gd name="connsiteY558" fmla="*/ 5224403 h 6858285"/>
              <a:gd name="connsiteX559" fmla="*/ 5585553 w 6530351"/>
              <a:gd name="connsiteY559" fmla="*/ 5186256 h 6858285"/>
              <a:gd name="connsiteX560" fmla="*/ 5924899 w 6530351"/>
              <a:gd name="connsiteY560" fmla="*/ 5026037 h 6858285"/>
              <a:gd name="connsiteX561" fmla="*/ 5956831 w 6530351"/>
              <a:gd name="connsiteY561" fmla="*/ 5024845 h 6858285"/>
              <a:gd name="connsiteX562" fmla="*/ 398944 w 6530351"/>
              <a:gd name="connsiteY562" fmla="*/ 5024845 h 6858285"/>
              <a:gd name="connsiteX563" fmla="*/ 422281 w 6530351"/>
              <a:gd name="connsiteY563" fmla="*/ 5045110 h 6858285"/>
              <a:gd name="connsiteX564" fmla="*/ 401326 w 6530351"/>
              <a:gd name="connsiteY564" fmla="*/ 5100424 h 6858285"/>
              <a:gd name="connsiteX565" fmla="*/ 62231 w 6530351"/>
              <a:gd name="connsiteY565" fmla="*/ 5262551 h 6858285"/>
              <a:gd name="connsiteX566" fmla="*/ 8890 w 6530351"/>
              <a:gd name="connsiteY566" fmla="*/ 5241570 h 6858285"/>
              <a:gd name="connsiteX567" fmla="*/ 3175 w 6530351"/>
              <a:gd name="connsiteY567" fmla="*/ 5224403 h 6858285"/>
              <a:gd name="connsiteX568" fmla="*/ 27940 w 6530351"/>
              <a:gd name="connsiteY568" fmla="*/ 5186256 h 6858285"/>
              <a:gd name="connsiteX569" fmla="*/ 367035 w 6530351"/>
              <a:gd name="connsiteY569" fmla="*/ 5026037 h 6858285"/>
              <a:gd name="connsiteX570" fmla="*/ 398944 w 6530351"/>
              <a:gd name="connsiteY570" fmla="*/ 5024845 h 6858285"/>
              <a:gd name="connsiteX571" fmla="*/ 5409065 w 6530351"/>
              <a:gd name="connsiteY571" fmla="*/ 5014175 h 6858285"/>
              <a:gd name="connsiteX572" fmla="*/ 5432471 w 6530351"/>
              <a:gd name="connsiteY572" fmla="*/ 5037690 h 6858285"/>
              <a:gd name="connsiteX573" fmla="*/ 5411453 w 6530351"/>
              <a:gd name="connsiteY573" fmla="*/ 5092795 h 6858285"/>
              <a:gd name="connsiteX574" fmla="*/ 5071359 w 6530351"/>
              <a:gd name="connsiteY574" fmla="*/ 5246711 h 6858285"/>
              <a:gd name="connsiteX575" fmla="*/ 5014039 w 6530351"/>
              <a:gd name="connsiteY575" fmla="*/ 5225809 h 6858285"/>
              <a:gd name="connsiteX576" fmla="*/ 5010219 w 6530351"/>
              <a:gd name="connsiteY576" fmla="*/ 5208707 h 6858285"/>
              <a:gd name="connsiteX577" fmla="*/ 5036967 w 6530351"/>
              <a:gd name="connsiteY577" fmla="*/ 5168803 h 6858285"/>
              <a:gd name="connsiteX578" fmla="*/ 5377063 w 6530351"/>
              <a:gd name="connsiteY578" fmla="*/ 5014888 h 6858285"/>
              <a:gd name="connsiteX579" fmla="*/ 5409065 w 6530351"/>
              <a:gd name="connsiteY579" fmla="*/ 5014175 h 6858285"/>
              <a:gd name="connsiteX580" fmla="*/ 942536 w 6530351"/>
              <a:gd name="connsiteY580" fmla="*/ 5014175 h 6858285"/>
              <a:gd name="connsiteX581" fmla="*/ 966807 w 6530351"/>
              <a:gd name="connsiteY581" fmla="*/ 5037690 h 6858285"/>
              <a:gd name="connsiteX582" fmla="*/ 945867 w 6530351"/>
              <a:gd name="connsiteY582" fmla="*/ 5092795 h 6858285"/>
              <a:gd name="connsiteX583" fmla="*/ 605119 w 6530351"/>
              <a:gd name="connsiteY583" fmla="*/ 5246711 h 6858285"/>
              <a:gd name="connsiteX584" fmla="*/ 549914 w 6530351"/>
              <a:gd name="connsiteY584" fmla="*/ 5225809 h 6858285"/>
              <a:gd name="connsiteX585" fmla="*/ 546107 w 6530351"/>
              <a:gd name="connsiteY585" fmla="*/ 5208707 h 6858285"/>
              <a:gd name="connsiteX586" fmla="*/ 570854 w 6530351"/>
              <a:gd name="connsiteY586" fmla="*/ 5168803 h 6858285"/>
              <a:gd name="connsiteX587" fmla="*/ 909698 w 6530351"/>
              <a:gd name="connsiteY587" fmla="*/ 5014888 h 6858285"/>
              <a:gd name="connsiteX588" fmla="*/ 942536 w 6530351"/>
              <a:gd name="connsiteY588" fmla="*/ 5014175 h 6858285"/>
              <a:gd name="connsiteX589" fmla="*/ 4856099 w 6530351"/>
              <a:gd name="connsiteY589" fmla="*/ 5004627 h 6858285"/>
              <a:gd name="connsiteX590" fmla="*/ 4879707 w 6530351"/>
              <a:gd name="connsiteY590" fmla="*/ 5028079 h 6858285"/>
              <a:gd name="connsiteX591" fmla="*/ 4856813 w 6530351"/>
              <a:gd name="connsiteY591" fmla="*/ 5084934 h 6858285"/>
              <a:gd name="connsiteX592" fmla="*/ 4517223 w 6530351"/>
              <a:gd name="connsiteY592" fmla="*/ 5230861 h 6858285"/>
              <a:gd name="connsiteX593" fmla="*/ 4459989 w 6530351"/>
              <a:gd name="connsiteY593" fmla="*/ 5208119 h 6858285"/>
              <a:gd name="connsiteX594" fmla="*/ 4456173 w 6530351"/>
              <a:gd name="connsiteY594" fmla="*/ 5191063 h 6858285"/>
              <a:gd name="connsiteX595" fmla="*/ 4482883 w 6530351"/>
              <a:gd name="connsiteY595" fmla="*/ 5151264 h 6858285"/>
              <a:gd name="connsiteX596" fmla="*/ 4822473 w 6530351"/>
              <a:gd name="connsiteY596" fmla="*/ 5005338 h 6858285"/>
              <a:gd name="connsiteX597" fmla="*/ 4856099 w 6530351"/>
              <a:gd name="connsiteY597" fmla="*/ 5004627 h 6858285"/>
              <a:gd name="connsiteX598" fmla="*/ 1491745 w 6530351"/>
              <a:gd name="connsiteY598" fmla="*/ 5004627 h 6858285"/>
              <a:gd name="connsiteX599" fmla="*/ 1516069 w 6530351"/>
              <a:gd name="connsiteY599" fmla="*/ 5028079 h 6858285"/>
              <a:gd name="connsiteX600" fmla="*/ 1493175 w 6530351"/>
              <a:gd name="connsiteY600" fmla="*/ 5084934 h 6858285"/>
              <a:gd name="connsiteX601" fmla="*/ 1153585 w 6530351"/>
              <a:gd name="connsiteY601" fmla="*/ 5230861 h 6858285"/>
              <a:gd name="connsiteX602" fmla="*/ 1094443 w 6530351"/>
              <a:gd name="connsiteY602" fmla="*/ 5208119 h 6858285"/>
              <a:gd name="connsiteX603" fmla="*/ 1090627 w 6530351"/>
              <a:gd name="connsiteY603" fmla="*/ 5191063 h 6858285"/>
              <a:gd name="connsiteX604" fmla="*/ 1117336 w 6530351"/>
              <a:gd name="connsiteY604" fmla="*/ 5151264 h 6858285"/>
              <a:gd name="connsiteX605" fmla="*/ 1458835 w 6530351"/>
              <a:gd name="connsiteY605" fmla="*/ 5005338 h 6858285"/>
              <a:gd name="connsiteX606" fmla="*/ 1491745 w 6530351"/>
              <a:gd name="connsiteY606" fmla="*/ 5004627 h 6858285"/>
              <a:gd name="connsiteX607" fmla="*/ 4281261 w 6530351"/>
              <a:gd name="connsiteY607" fmla="*/ 4989339 h 6858285"/>
              <a:gd name="connsiteX608" fmla="*/ 4322813 w 6530351"/>
              <a:gd name="connsiteY608" fmla="*/ 5017541 h 6858285"/>
              <a:gd name="connsiteX609" fmla="*/ 4298031 w 6530351"/>
              <a:gd name="connsiteY609" fmla="*/ 5076750 h 6858285"/>
              <a:gd name="connsiteX610" fmla="*/ 3958689 w 6530351"/>
              <a:gd name="connsiteY610" fmla="*/ 5218087 h 6858285"/>
              <a:gd name="connsiteX611" fmla="*/ 3899591 w 6530351"/>
              <a:gd name="connsiteY611" fmla="*/ 5193257 h 6858285"/>
              <a:gd name="connsiteX612" fmla="*/ 3895779 w 6530351"/>
              <a:gd name="connsiteY612" fmla="*/ 5176068 h 6858285"/>
              <a:gd name="connsiteX613" fmla="*/ 3924375 w 6530351"/>
              <a:gd name="connsiteY613" fmla="*/ 5134049 h 6858285"/>
              <a:gd name="connsiteX614" fmla="*/ 4263715 w 6530351"/>
              <a:gd name="connsiteY614" fmla="*/ 4992712 h 6858285"/>
              <a:gd name="connsiteX615" fmla="*/ 4281261 w 6530351"/>
              <a:gd name="connsiteY615" fmla="*/ 4989339 h 6858285"/>
              <a:gd name="connsiteX616" fmla="*/ 2028604 w 6530351"/>
              <a:gd name="connsiteY616" fmla="*/ 4989339 h 6858285"/>
              <a:gd name="connsiteX617" fmla="*/ 2070128 w 6530351"/>
              <a:gd name="connsiteY617" fmla="*/ 5017541 h 6858285"/>
              <a:gd name="connsiteX618" fmla="*/ 2045363 w 6530351"/>
              <a:gd name="connsiteY618" fmla="*/ 5076750 h 6858285"/>
              <a:gd name="connsiteX619" fmla="*/ 1704363 w 6530351"/>
              <a:gd name="connsiteY619" fmla="*/ 5218087 h 6858285"/>
              <a:gd name="connsiteX620" fmla="*/ 1645307 w 6530351"/>
              <a:gd name="connsiteY620" fmla="*/ 5193257 h 6858285"/>
              <a:gd name="connsiteX621" fmla="*/ 1641497 w 6530351"/>
              <a:gd name="connsiteY621" fmla="*/ 5176068 h 6858285"/>
              <a:gd name="connsiteX622" fmla="*/ 1670072 w 6530351"/>
              <a:gd name="connsiteY622" fmla="*/ 5134049 h 6858285"/>
              <a:gd name="connsiteX623" fmla="*/ 2011072 w 6530351"/>
              <a:gd name="connsiteY623" fmla="*/ 4992712 h 6858285"/>
              <a:gd name="connsiteX624" fmla="*/ 2028604 w 6530351"/>
              <a:gd name="connsiteY624" fmla="*/ 4989339 h 6858285"/>
              <a:gd name="connsiteX625" fmla="*/ 3720415 w 6530351"/>
              <a:gd name="connsiteY625" fmla="*/ 4979828 h 6858285"/>
              <a:gd name="connsiteX626" fmla="*/ 3762743 w 6530351"/>
              <a:gd name="connsiteY626" fmla="*/ 5009832 h 6858285"/>
              <a:gd name="connsiteX627" fmla="*/ 3736073 w 6530351"/>
              <a:gd name="connsiteY627" fmla="*/ 5068887 h 6858285"/>
              <a:gd name="connsiteX628" fmla="*/ 3395073 w 6530351"/>
              <a:gd name="connsiteY628" fmla="*/ 5202237 h 6858285"/>
              <a:gd name="connsiteX629" fmla="*/ 3334112 w 6530351"/>
              <a:gd name="connsiteY629" fmla="*/ 5175567 h 6858285"/>
              <a:gd name="connsiteX630" fmla="*/ 3332207 w 6530351"/>
              <a:gd name="connsiteY630" fmla="*/ 5158422 h 6858285"/>
              <a:gd name="connsiteX631" fmla="*/ 3360782 w 6530351"/>
              <a:gd name="connsiteY631" fmla="*/ 5116512 h 6858285"/>
              <a:gd name="connsiteX632" fmla="*/ 3701783 w 6530351"/>
              <a:gd name="connsiteY632" fmla="*/ 4983162 h 6858285"/>
              <a:gd name="connsiteX633" fmla="*/ 3720415 w 6530351"/>
              <a:gd name="connsiteY633" fmla="*/ 4979828 h 6858285"/>
              <a:gd name="connsiteX634" fmla="*/ 2585938 w 6530351"/>
              <a:gd name="connsiteY634" fmla="*/ 4979828 h 6858285"/>
              <a:gd name="connsiteX635" fmla="*/ 2629225 w 6530351"/>
              <a:gd name="connsiteY635" fmla="*/ 5009832 h 6858285"/>
              <a:gd name="connsiteX636" fmla="*/ 2602458 w 6530351"/>
              <a:gd name="connsiteY636" fmla="*/ 5068887 h 6858285"/>
              <a:gd name="connsiteX637" fmla="*/ 2260223 w 6530351"/>
              <a:gd name="connsiteY637" fmla="*/ 5202237 h 6858285"/>
              <a:gd name="connsiteX638" fmla="*/ 2199041 w 6530351"/>
              <a:gd name="connsiteY638" fmla="*/ 5175567 h 6858285"/>
              <a:gd name="connsiteX639" fmla="*/ 2197129 w 6530351"/>
              <a:gd name="connsiteY639" fmla="*/ 5158422 h 6858285"/>
              <a:gd name="connsiteX640" fmla="*/ 2225808 w 6530351"/>
              <a:gd name="connsiteY640" fmla="*/ 5116512 h 6858285"/>
              <a:gd name="connsiteX641" fmla="*/ 2568043 w 6530351"/>
              <a:gd name="connsiteY641" fmla="*/ 4983162 h 6858285"/>
              <a:gd name="connsiteX642" fmla="*/ 2585938 w 6530351"/>
              <a:gd name="connsiteY642" fmla="*/ 4979828 h 6858285"/>
              <a:gd name="connsiteX643" fmla="*/ 3148516 w 6530351"/>
              <a:gd name="connsiteY643" fmla="*/ 4969031 h 6858285"/>
              <a:gd name="connsiteX644" fmla="*/ 3190904 w 6530351"/>
              <a:gd name="connsiteY644" fmla="*/ 5000728 h 6858285"/>
              <a:gd name="connsiteX645" fmla="*/ 3162288 w 6530351"/>
              <a:gd name="connsiteY645" fmla="*/ 5061853 h 6858285"/>
              <a:gd name="connsiteX646" fmla="*/ 2820801 w 6530351"/>
              <a:gd name="connsiteY646" fmla="*/ 5187924 h 6858285"/>
              <a:gd name="connsiteX647" fmla="*/ 2759753 w 6530351"/>
              <a:gd name="connsiteY647" fmla="*/ 5161182 h 6858285"/>
              <a:gd name="connsiteX648" fmla="*/ 2755937 w 6530351"/>
              <a:gd name="connsiteY648" fmla="*/ 5143990 h 6858285"/>
              <a:gd name="connsiteX649" fmla="*/ 2788369 w 6530351"/>
              <a:gd name="connsiteY649" fmla="*/ 5098146 h 6858285"/>
              <a:gd name="connsiteX650" fmla="*/ 3129856 w 6530351"/>
              <a:gd name="connsiteY650" fmla="*/ 4972076 h 6858285"/>
              <a:gd name="connsiteX651" fmla="*/ 3148516 w 6530351"/>
              <a:gd name="connsiteY651" fmla="*/ 4969031 h 6858285"/>
              <a:gd name="connsiteX652" fmla="*/ 6500077 w 6530351"/>
              <a:gd name="connsiteY652" fmla="*/ 4711372 h 6858285"/>
              <a:gd name="connsiteX653" fmla="*/ 6523141 w 6530351"/>
              <a:gd name="connsiteY653" fmla="*/ 4732302 h 6858285"/>
              <a:gd name="connsiteX654" fmla="*/ 6506021 w 6530351"/>
              <a:gd name="connsiteY654" fmla="*/ 4785577 h 6858285"/>
              <a:gd name="connsiteX655" fmla="*/ 6167435 w 6530351"/>
              <a:gd name="connsiteY655" fmla="*/ 4953011 h 6858285"/>
              <a:gd name="connsiteX656" fmla="*/ 6114175 w 6530351"/>
              <a:gd name="connsiteY656" fmla="*/ 4935887 h 6858285"/>
              <a:gd name="connsiteX657" fmla="*/ 6110371 w 6530351"/>
              <a:gd name="connsiteY657" fmla="*/ 4916861 h 6858285"/>
              <a:gd name="connsiteX658" fmla="*/ 6131293 w 6530351"/>
              <a:gd name="connsiteY658" fmla="*/ 4882613 h 6858285"/>
              <a:gd name="connsiteX659" fmla="*/ 6469879 w 6530351"/>
              <a:gd name="connsiteY659" fmla="*/ 4713275 h 6858285"/>
              <a:gd name="connsiteX660" fmla="*/ 6500077 w 6530351"/>
              <a:gd name="connsiteY660" fmla="*/ 4711372 h 6858285"/>
              <a:gd name="connsiteX661" fmla="*/ 5956831 w 6530351"/>
              <a:gd name="connsiteY661" fmla="*/ 4701876 h 6858285"/>
              <a:gd name="connsiteX662" fmla="*/ 5980185 w 6530351"/>
              <a:gd name="connsiteY662" fmla="*/ 4722883 h 6858285"/>
              <a:gd name="connsiteX663" fmla="*/ 5961121 w 6530351"/>
              <a:gd name="connsiteY663" fmla="*/ 4778267 h 6858285"/>
              <a:gd name="connsiteX664" fmla="*/ 5621775 w 6530351"/>
              <a:gd name="connsiteY664" fmla="*/ 4938688 h 6858285"/>
              <a:gd name="connsiteX665" fmla="*/ 5566487 w 6530351"/>
              <a:gd name="connsiteY665" fmla="*/ 4919590 h 6858285"/>
              <a:gd name="connsiteX666" fmla="*/ 5562675 w 6530351"/>
              <a:gd name="connsiteY666" fmla="*/ 4900492 h 6858285"/>
              <a:gd name="connsiteX667" fmla="*/ 5585553 w 6530351"/>
              <a:gd name="connsiteY667" fmla="*/ 4864207 h 6858285"/>
              <a:gd name="connsiteX668" fmla="*/ 5924899 w 6530351"/>
              <a:gd name="connsiteY668" fmla="*/ 4703786 h 6858285"/>
              <a:gd name="connsiteX669" fmla="*/ 5956831 w 6530351"/>
              <a:gd name="connsiteY669" fmla="*/ 4701876 h 6858285"/>
              <a:gd name="connsiteX670" fmla="*/ 398944 w 6530351"/>
              <a:gd name="connsiteY670" fmla="*/ 4701876 h 6858285"/>
              <a:gd name="connsiteX671" fmla="*/ 422281 w 6530351"/>
              <a:gd name="connsiteY671" fmla="*/ 4722883 h 6858285"/>
              <a:gd name="connsiteX672" fmla="*/ 401326 w 6530351"/>
              <a:gd name="connsiteY672" fmla="*/ 4778267 h 6858285"/>
              <a:gd name="connsiteX673" fmla="*/ 62231 w 6530351"/>
              <a:gd name="connsiteY673" fmla="*/ 4938688 h 6858285"/>
              <a:gd name="connsiteX674" fmla="*/ 6985 w 6530351"/>
              <a:gd name="connsiteY674" fmla="*/ 4919590 h 6858285"/>
              <a:gd name="connsiteX675" fmla="*/ 3175 w 6530351"/>
              <a:gd name="connsiteY675" fmla="*/ 4900492 h 6858285"/>
              <a:gd name="connsiteX676" fmla="*/ 27940 w 6530351"/>
              <a:gd name="connsiteY676" fmla="*/ 4864207 h 6858285"/>
              <a:gd name="connsiteX677" fmla="*/ 367035 w 6530351"/>
              <a:gd name="connsiteY677" fmla="*/ 4703786 h 6858285"/>
              <a:gd name="connsiteX678" fmla="*/ 398944 w 6530351"/>
              <a:gd name="connsiteY678" fmla="*/ 4701876 h 6858285"/>
              <a:gd name="connsiteX679" fmla="*/ 5409723 w 6530351"/>
              <a:gd name="connsiteY679" fmla="*/ 4693284 h 6858285"/>
              <a:gd name="connsiteX680" fmla="*/ 5434065 w 6530351"/>
              <a:gd name="connsiteY680" fmla="*/ 4715192 h 6858285"/>
              <a:gd name="connsiteX681" fmla="*/ 5411155 w 6530351"/>
              <a:gd name="connsiteY681" fmla="*/ 4772342 h 6858285"/>
              <a:gd name="connsiteX682" fmla="*/ 5071313 w 6530351"/>
              <a:gd name="connsiteY682" fmla="*/ 4922837 h 6858285"/>
              <a:gd name="connsiteX683" fmla="*/ 5014037 w 6530351"/>
              <a:gd name="connsiteY683" fmla="*/ 4901882 h 6858285"/>
              <a:gd name="connsiteX684" fmla="*/ 5010219 w 6530351"/>
              <a:gd name="connsiteY684" fmla="*/ 4882832 h 6858285"/>
              <a:gd name="connsiteX685" fmla="*/ 5036947 w 6530351"/>
              <a:gd name="connsiteY685" fmla="*/ 4842827 h 6858285"/>
              <a:gd name="connsiteX686" fmla="*/ 5376789 w 6530351"/>
              <a:gd name="connsiteY686" fmla="*/ 4694237 h 6858285"/>
              <a:gd name="connsiteX687" fmla="*/ 5409723 w 6530351"/>
              <a:gd name="connsiteY687" fmla="*/ 4693284 h 6858285"/>
              <a:gd name="connsiteX688" fmla="*/ 943153 w 6530351"/>
              <a:gd name="connsiteY688" fmla="*/ 4693284 h 6858285"/>
              <a:gd name="connsiteX689" fmla="*/ 966779 w 6530351"/>
              <a:gd name="connsiteY689" fmla="*/ 4715192 h 6858285"/>
              <a:gd name="connsiteX690" fmla="*/ 945777 w 6530351"/>
              <a:gd name="connsiteY690" fmla="*/ 4772342 h 6858285"/>
              <a:gd name="connsiteX691" fmla="*/ 604027 w 6530351"/>
              <a:gd name="connsiteY691" fmla="*/ 4922837 h 6858285"/>
              <a:gd name="connsiteX692" fmla="*/ 546750 w 6530351"/>
              <a:gd name="connsiteY692" fmla="*/ 4901882 h 6858285"/>
              <a:gd name="connsiteX693" fmla="*/ 542932 w 6530351"/>
              <a:gd name="connsiteY693" fmla="*/ 4882832 h 6858285"/>
              <a:gd name="connsiteX694" fmla="*/ 569661 w 6530351"/>
              <a:gd name="connsiteY694" fmla="*/ 4842827 h 6858285"/>
              <a:gd name="connsiteX695" fmla="*/ 909502 w 6530351"/>
              <a:gd name="connsiteY695" fmla="*/ 4694237 h 6858285"/>
              <a:gd name="connsiteX696" fmla="*/ 943153 w 6530351"/>
              <a:gd name="connsiteY696" fmla="*/ 4693284 h 6858285"/>
              <a:gd name="connsiteX697" fmla="*/ 4840067 w 6530351"/>
              <a:gd name="connsiteY697" fmla="*/ 4679736 h 6858285"/>
              <a:gd name="connsiteX698" fmla="*/ 4881621 w 6530351"/>
              <a:gd name="connsiteY698" fmla="*/ 4707755 h 6858285"/>
              <a:gd name="connsiteX699" fmla="*/ 4856837 w 6530351"/>
              <a:gd name="connsiteY699" fmla="*/ 4766579 h 6858285"/>
              <a:gd name="connsiteX700" fmla="*/ 4517497 w 6530351"/>
              <a:gd name="connsiteY700" fmla="*/ 4906999 h 6858285"/>
              <a:gd name="connsiteX701" fmla="*/ 4458397 w 6530351"/>
              <a:gd name="connsiteY701" fmla="*/ 4882331 h 6858285"/>
              <a:gd name="connsiteX702" fmla="*/ 4454585 w 6530351"/>
              <a:gd name="connsiteY702" fmla="*/ 4865253 h 6858285"/>
              <a:gd name="connsiteX703" fmla="*/ 4483181 w 6530351"/>
              <a:gd name="connsiteY703" fmla="*/ 4823506 h 6858285"/>
              <a:gd name="connsiteX704" fmla="*/ 4822523 w 6530351"/>
              <a:gd name="connsiteY704" fmla="*/ 4683087 h 6858285"/>
              <a:gd name="connsiteX705" fmla="*/ 4840067 w 6530351"/>
              <a:gd name="connsiteY705" fmla="*/ 4679736 h 6858285"/>
              <a:gd name="connsiteX706" fmla="*/ 1476109 w 6530351"/>
              <a:gd name="connsiteY706" fmla="*/ 4679736 h 6858285"/>
              <a:gd name="connsiteX707" fmla="*/ 1517663 w 6530351"/>
              <a:gd name="connsiteY707" fmla="*/ 4707755 h 6858285"/>
              <a:gd name="connsiteX708" fmla="*/ 1492880 w 6530351"/>
              <a:gd name="connsiteY708" fmla="*/ 4766579 h 6858285"/>
              <a:gd name="connsiteX709" fmla="*/ 1151632 w 6530351"/>
              <a:gd name="connsiteY709" fmla="*/ 4906999 h 6858285"/>
              <a:gd name="connsiteX710" fmla="*/ 1094440 w 6530351"/>
              <a:gd name="connsiteY710" fmla="*/ 4882331 h 6858285"/>
              <a:gd name="connsiteX711" fmla="*/ 1090627 w 6530351"/>
              <a:gd name="connsiteY711" fmla="*/ 4865253 h 6858285"/>
              <a:gd name="connsiteX712" fmla="*/ 1117317 w 6530351"/>
              <a:gd name="connsiteY712" fmla="*/ 4823506 h 6858285"/>
              <a:gd name="connsiteX713" fmla="*/ 1458564 w 6530351"/>
              <a:gd name="connsiteY713" fmla="*/ 4683087 h 6858285"/>
              <a:gd name="connsiteX714" fmla="*/ 1476109 w 6530351"/>
              <a:gd name="connsiteY714" fmla="*/ 4679736 h 6858285"/>
              <a:gd name="connsiteX715" fmla="*/ 4282923 w 6530351"/>
              <a:gd name="connsiteY715" fmla="*/ 4670533 h 6858285"/>
              <a:gd name="connsiteX716" fmla="*/ 4324415 w 6530351"/>
              <a:gd name="connsiteY716" fmla="*/ 4700269 h 6858285"/>
              <a:gd name="connsiteX717" fmla="*/ 4297765 w 6530351"/>
              <a:gd name="connsiteY717" fmla="*/ 4761229 h 6858285"/>
              <a:gd name="connsiteX718" fmla="*/ 3957011 w 6530351"/>
              <a:gd name="connsiteY718" fmla="*/ 4892674 h 6858285"/>
              <a:gd name="connsiteX719" fmla="*/ 3897997 w 6530351"/>
              <a:gd name="connsiteY719" fmla="*/ 4866004 h 6858285"/>
              <a:gd name="connsiteX720" fmla="*/ 3894191 w 6530351"/>
              <a:gd name="connsiteY720" fmla="*/ 4848859 h 6858285"/>
              <a:gd name="connsiteX721" fmla="*/ 3924649 w 6530351"/>
              <a:gd name="connsiteY721" fmla="*/ 4805044 h 6858285"/>
              <a:gd name="connsiteX722" fmla="*/ 4265403 w 6530351"/>
              <a:gd name="connsiteY722" fmla="*/ 4673599 h 6858285"/>
              <a:gd name="connsiteX723" fmla="*/ 4282923 w 6530351"/>
              <a:gd name="connsiteY723" fmla="*/ 4670533 h 6858285"/>
              <a:gd name="connsiteX724" fmla="*/ 2029462 w 6530351"/>
              <a:gd name="connsiteY724" fmla="*/ 4670533 h 6858285"/>
              <a:gd name="connsiteX725" fmla="*/ 2071729 w 6530351"/>
              <a:gd name="connsiteY725" fmla="*/ 4700269 h 6858285"/>
              <a:gd name="connsiteX726" fmla="*/ 2045097 w 6530351"/>
              <a:gd name="connsiteY726" fmla="*/ 4761229 h 6858285"/>
              <a:gd name="connsiteX727" fmla="*/ 1704587 w 6530351"/>
              <a:gd name="connsiteY727" fmla="*/ 4892674 h 6858285"/>
              <a:gd name="connsiteX728" fmla="*/ 1643714 w 6530351"/>
              <a:gd name="connsiteY728" fmla="*/ 4866004 h 6858285"/>
              <a:gd name="connsiteX729" fmla="*/ 1639909 w 6530351"/>
              <a:gd name="connsiteY729" fmla="*/ 4848859 h 6858285"/>
              <a:gd name="connsiteX730" fmla="*/ 1670346 w 6530351"/>
              <a:gd name="connsiteY730" fmla="*/ 4805044 h 6858285"/>
              <a:gd name="connsiteX731" fmla="*/ 2010855 w 6530351"/>
              <a:gd name="connsiteY731" fmla="*/ 4673599 h 6858285"/>
              <a:gd name="connsiteX732" fmla="*/ 2029462 w 6530351"/>
              <a:gd name="connsiteY732" fmla="*/ 4670533 h 6858285"/>
              <a:gd name="connsiteX733" fmla="*/ 3720845 w 6530351"/>
              <a:gd name="connsiteY733" fmla="*/ 4661020 h 6858285"/>
              <a:gd name="connsiteX734" fmla="*/ 3764007 w 6530351"/>
              <a:gd name="connsiteY734" fmla="*/ 4692545 h 6858285"/>
              <a:gd name="connsiteX735" fmla="*/ 3735411 w 6530351"/>
              <a:gd name="connsiteY735" fmla="*/ 4755238 h 6858285"/>
              <a:gd name="connsiteX736" fmla="*/ 3392262 w 6530351"/>
              <a:gd name="connsiteY736" fmla="*/ 4876825 h 6858285"/>
              <a:gd name="connsiteX737" fmla="*/ 3331258 w 6530351"/>
              <a:gd name="connsiteY737" fmla="*/ 4848328 h 6858285"/>
              <a:gd name="connsiteX738" fmla="*/ 3327445 w 6530351"/>
              <a:gd name="connsiteY738" fmla="*/ 4831230 h 6858285"/>
              <a:gd name="connsiteX739" fmla="*/ 3359854 w 6530351"/>
              <a:gd name="connsiteY739" fmla="*/ 4785635 h 6858285"/>
              <a:gd name="connsiteX740" fmla="*/ 3701097 w 6530351"/>
              <a:gd name="connsiteY740" fmla="*/ 4664048 h 6858285"/>
              <a:gd name="connsiteX741" fmla="*/ 3720845 w 6530351"/>
              <a:gd name="connsiteY741" fmla="*/ 4661020 h 6858285"/>
              <a:gd name="connsiteX742" fmla="*/ 2587354 w 6530351"/>
              <a:gd name="connsiteY742" fmla="*/ 4661020 h 6858285"/>
              <a:gd name="connsiteX743" fmla="*/ 2630516 w 6530351"/>
              <a:gd name="connsiteY743" fmla="*/ 4692545 h 6858285"/>
              <a:gd name="connsiteX744" fmla="*/ 2601920 w 6530351"/>
              <a:gd name="connsiteY744" fmla="*/ 4755238 h 6858285"/>
              <a:gd name="connsiteX745" fmla="*/ 2258771 w 6530351"/>
              <a:gd name="connsiteY745" fmla="*/ 4876825 h 6858285"/>
              <a:gd name="connsiteX746" fmla="*/ 2197767 w 6530351"/>
              <a:gd name="connsiteY746" fmla="*/ 4848328 h 6858285"/>
              <a:gd name="connsiteX747" fmla="*/ 2193954 w 6530351"/>
              <a:gd name="connsiteY747" fmla="*/ 4831230 h 6858285"/>
              <a:gd name="connsiteX748" fmla="*/ 2226363 w 6530351"/>
              <a:gd name="connsiteY748" fmla="*/ 4785635 h 6858285"/>
              <a:gd name="connsiteX749" fmla="*/ 2567605 w 6530351"/>
              <a:gd name="connsiteY749" fmla="*/ 4664048 h 6858285"/>
              <a:gd name="connsiteX750" fmla="*/ 2587354 w 6530351"/>
              <a:gd name="connsiteY750" fmla="*/ 4661020 h 6858285"/>
              <a:gd name="connsiteX751" fmla="*/ 3149672 w 6530351"/>
              <a:gd name="connsiteY751" fmla="*/ 4651820 h 6858285"/>
              <a:gd name="connsiteX752" fmla="*/ 3194410 w 6530351"/>
              <a:gd name="connsiteY752" fmla="*/ 4685085 h 6858285"/>
              <a:gd name="connsiteX753" fmla="*/ 3162024 w 6530351"/>
              <a:gd name="connsiteY753" fmla="*/ 4748038 h 6858285"/>
              <a:gd name="connsiteX754" fmla="*/ 2819120 w 6530351"/>
              <a:gd name="connsiteY754" fmla="*/ 4862498 h 6858285"/>
              <a:gd name="connsiteX755" fmla="*/ 2756254 w 6530351"/>
              <a:gd name="connsiteY755" fmla="*/ 4830068 h 6858285"/>
              <a:gd name="connsiteX756" fmla="*/ 2754349 w 6530351"/>
              <a:gd name="connsiteY756" fmla="*/ 4814807 h 6858285"/>
              <a:gd name="connsiteX757" fmla="*/ 2788639 w 6530351"/>
              <a:gd name="connsiteY757" fmla="*/ 4767115 h 6858285"/>
              <a:gd name="connsiteX758" fmla="*/ 3129639 w 6530351"/>
              <a:gd name="connsiteY758" fmla="*/ 4654562 h 6858285"/>
              <a:gd name="connsiteX759" fmla="*/ 3149672 w 6530351"/>
              <a:gd name="connsiteY759" fmla="*/ 4651820 h 6858285"/>
              <a:gd name="connsiteX760" fmla="*/ 6484889 w 6530351"/>
              <a:gd name="connsiteY760" fmla="*/ 4386504 h 6858285"/>
              <a:gd name="connsiteX761" fmla="*/ 6523141 w 6530351"/>
              <a:gd name="connsiteY761" fmla="*/ 4408417 h 6858285"/>
              <a:gd name="connsiteX762" fmla="*/ 6506021 w 6530351"/>
              <a:gd name="connsiteY762" fmla="*/ 4461627 h 6858285"/>
              <a:gd name="connsiteX763" fmla="*/ 6167435 w 6530351"/>
              <a:gd name="connsiteY763" fmla="*/ 4630760 h 6858285"/>
              <a:gd name="connsiteX764" fmla="*/ 6114175 w 6530351"/>
              <a:gd name="connsiteY764" fmla="*/ 4613657 h 6858285"/>
              <a:gd name="connsiteX765" fmla="*/ 6110371 w 6530351"/>
              <a:gd name="connsiteY765" fmla="*/ 4594653 h 6858285"/>
              <a:gd name="connsiteX766" fmla="*/ 6131293 w 6530351"/>
              <a:gd name="connsiteY766" fmla="*/ 4560446 h 6858285"/>
              <a:gd name="connsiteX767" fmla="*/ 6469879 w 6530351"/>
              <a:gd name="connsiteY767" fmla="*/ 4391314 h 6858285"/>
              <a:gd name="connsiteX768" fmla="*/ 6484889 w 6530351"/>
              <a:gd name="connsiteY768" fmla="*/ 4386504 h 6858285"/>
              <a:gd name="connsiteX769" fmla="*/ 5956857 w 6530351"/>
              <a:gd name="connsiteY769" fmla="*/ 4379613 h 6858285"/>
              <a:gd name="connsiteX770" fmla="*/ 5980193 w 6530351"/>
              <a:gd name="connsiteY770" fmla="*/ 4400620 h 6858285"/>
              <a:gd name="connsiteX771" fmla="*/ 5961143 w 6530351"/>
              <a:gd name="connsiteY771" fmla="*/ 4456004 h 6858285"/>
              <a:gd name="connsiteX772" fmla="*/ 5622049 w 6530351"/>
              <a:gd name="connsiteY772" fmla="*/ 4616425 h 6858285"/>
              <a:gd name="connsiteX773" fmla="*/ 5564899 w 6530351"/>
              <a:gd name="connsiteY773" fmla="*/ 4595417 h 6858285"/>
              <a:gd name="connsiteX774" fmla="*/ 5561087 w 6530351"/>
              <a:gd name="connsiteY774" fmla="*/ 4578229 h 6858285"/>
              <a:gd name="connsiteX775" fmla="*/ 5585853 w 6530351"/>
              <a:gd name="connsiteY775" fmla="*/ 4540034 h 6858285"/>
              <a:gd name="connsiteX776" fmla="*/ 5924949 w 6530351"/>
              <a:gd name="connsiteY776" fmla="*/ 4381523 h 6858285"/>
              <a:gd name="connsiteX777" fmla="*/ 5956857 w 6530351"/>
              <a:gd name="connsiteY777" fmla="*/ 4379613 h 6858285"/>
              <a:gd name="connsiteX778" fmla="*/ 398944 w 6530351"/>
              <a:gd name="connsiteY778" fmla="*/ 4379613 h 6858285"/>
              <a:gd name="connsiteX779" fmla="*/ 422281 w 6530351"/>
              <a:gd name="connsiteY779" fmla="*/ 4400620 h 6858285"/>
              <a:gd name="connsiteX780" fmla="*/ 401326 w 6530351"/>
              <a:gd name="connsiteY780" fmla="*/ 4456004 h 6858285"/>
              <a:gd name="connsiteX781" fmla="*/ 62231 w 6530351"/>
              <a:gd name="connsiteY781" fmla="*/ 4616425 h 6858285"/>
              <a:gd name="connsiteX782" fmla="*/ 6985 w 6530351"/>
              <a:gd name="connsiteY782" fmla="*/ 4595417 h 6858285"/>
              <a:gd name="connsiteX783" fmla="*/ 3175 w 6530351"/>
              <a:gd name="connsiteY783" fmla="*/ 4578229 h 6858285"/>
              <a:gd name="connsiteX784" fmla="*/ 27940 w 6530351"/>
              <a:gd name="connsiteY784" fmla="*/ 4540034 h 6858285"/>
              <a:gd name="connsiteX785" fmla="*/ 367035 w 6530351"/>
              <a:gd name="connsiteY785" fmla="*/ 4381523 h 6858285"/>
              <a:gd name="connsiteX786" fmla="*/ 398944 w 6530351"/>
              <a:gd name="connsiteY786" fmla="*/ 4379613 h 6858285"/>
              <a:gd name="connsiteX787" fmla="*/ 5410439 w 6530351"/>
              <a:gd name="connsiteY787" fmla="*/ 4371271 h 6858285"/>
              <a:gd name="connsiteX788" fmla="*/ 5434065 w 6530351"/>
              <a:gd name="connsiteY788" fmla="*/ 4394876 h 6858285"/>
              <a:gd name="connsiteX789" fmla="*/ 5411155 w 6530351"/>
              <a:gd name="connsiteY789" fmla="*/ 4452100 h 6858285"/>
              <a:gd name="connsiteX790" fmla="*/ 5071313 w 6530351"/>
              <a:gd name="connsiteY790" fmla="*/ 4598974 h 6858285"/>
              <a:gd name="connsiteX791" fmla="*/ 5014037 w 6530351"/>
              <a:gd name="connsiteY791" fmla="*/ 4576085 h 6858285"/>
              <a:gd name="connsiteX792" fmla="*/ 5010219 w 6530351"/>
              <a:gd name="connsiteY792" fmla="*/ 4558918 h 6858285"/>
              <a:gd name="connsiteX793" fmla="*/ 5036947 w 6530351"/>
              <a:gd name="connsiteY793" fmla="*/ 4518861 h 6858285"/>
              <a:gd name="connsiteX794" fmla="*/ 5376789 w 6530351"/>
              <a:gd name="connsiteY794" fmla="*/ 4371986 h 6858285"/>
              <a:gd name="connsiteX795" fmla="*/ 5410439 w 6530351"/>
              <a:gd name="connsiteY795" fmla="*/ 4371271 h 6858285"/>
              <a:gd name="connsiteX796" fmla="*/ 943811 w 6530351"/>
              <a:gd name="connsiteY796" fmla="*/ 4371271 h 6858285"/>
              <a:gd name="connsiteX797" fmla="*/ 968374 w 6530351"/>
              <a:gd name="connsiteY797" fmla="*/ 4394876 h 6858285"/>
              <a:gd name="connsiteX798" fmla="*/ 945480 w 6530351"/>
              <a:gd name="connsiteY798" fmla="*/ 4452100 h 6858285"/>
              <a:gd name="connsiteX799" fmla="*/ 603982 w 6530351"/>
              <a:gd name="connsiteY799" fmla="*/ 4598974 h 6858285"/>
              <a:gd name="connsiteX800" fmla="*/ 546748 w 6530351"/>
              <a:gd name="connsiteY800" fmla="*/ 4576085 h 6858285"/>
              <a:gd name="connsiteX801" fmla="*/ 542932 w 6530351"/>
              <a:gd name="connsiteY801" fmla="*/ 4558918 h 6858285"/>
              <a:gd name="connsiteX802" fmla="*/ 569641 w 6530351"/>
              <a:gd name="connsiteY802" fmla="*/ 4518861 h 6858285"/>
              <a:gd name="connsiteX803" fmla="*/ 909232 w 6530351"/>
              <a:gd name="connsiteY803" fmla="*/ 4371986 h 6858285"/>
              <a:gd name="connsiteX804" fmla="*/ 943811 w 6530351"/>
              <a:gd name="connsiteY804" fmla="*/ 4371271 h 6858285"/>
              <a:gd name="connsiteX805" fmla="*/ 4841693 w 6530351"/>
              <a:gd name="connsiteY805" fmla="*/ 4359077 h 6858285"/>
              <a:gd name="connsiteX806" fmla="*/ 4883215 w 6530351"/>
              <a:gd name="connsiteY806" fmla="*/ 4387168 h 6858285"/>
              <a:gd name="connsiteX807" fmla="*/ 4856545 w 6530351"/>
              <a:gd name="connsiteY807" fmla="*/ 4448048 h 6858285"/>
              <a:gd name="connsiteX808" fmla="*/ 4517451 w 6530351"/>
              <a:gd name="connsiteY808" fmla="*/ 4583124 h 6858285"/>
              <a:gd name="connsiteX809" fmla="*/ 4456491 w 6530351"/>
              <a:gd name="connsiteY809" fmla="*/ 4556490 h 6858285"/>
              <a:gd name="connsiteX810" fmla="*/ 4454585 w 6530351"/>
              <a:gd name="connsiteY810" fmla="*/ 4539367 h 6858285"/>
              <a:gd name="connsiteX811" fmla="*/ 4483161 w 6530351"/>
              <a:gd name="connsiteY811" fmla="*/ 4497513 h 6858285"/>
              <a:gd name="connsiteX812" fmla="*/ 4824161 w 6530351"/>
              <a:gd name="connsiteY812" fmla="*/ 4362436 h 6858285"/>
              <a:gd name="connsiteX813" fmla="*/ 4841693 w 6530351"/>
              <a:gd name="connsiteY813" fmla="*/ 4359077 h 6858285"/>
              <a:gd name="connsiteX814" fmla="*/ 1477218 w 6530351"/>
              <a:gd name="connsiteY814" fmla="*/ 4359077 h 6858285"/>
              <a:gd name="connsiteX815" fmla="*/ 1517670 w 6530351"/>
              <a:gd name="connsiteY815" fmla="*/ 4387168 h 6858285"/>
              <a:gd name="connsiteX816" fmla="*/ 1492905 w 6530351"/>
              <a:gd name="connsiteY816" fmla="*/ 4448048 h 6858285"/>
              <a:gd name="connsiteX817" fmla="*/ 1151905 w 6530351"/>
              <a:gd name="connsiteY817" fmla="*/ 4583124 h 6858285"/>
              <a:gd name="connsiteX818" fmla="*/ 1092849 w 6530351"/>
              <a:gd name="connsiteY818" fmla="*/ 4556490 h 6858285"/>
              <a:gd name="connsiteX819" fmla="*/ 1089039 w 6530351"/>
              <a:gd name="connsiteY819" fmla="*/ 4539367 h 6858285"/>
              <a:gd name="connsiteX820" fmla="*/ 1117614 w 6530351"/>
              <a:gd name="connsiteY820" fmla="*/ 4497513 h 6858285"/>
              <a:gd name="connsiteX821" fmla="*/ 1458614 w 6530351"/>
              <a:gd name="connsiteY821" fmla="*/ 4362436 h 6858285"/>
              <a:gd name="connsiteX822" fmla="*/ 1477218 w 6530351"/>
              <a:gd name="connsiteY822" fmla="*/ 4359077 h 6858285"/>
              <a:gd name="connsiteX823" fmla="*/ 4284047 w 6530351"/>
              <a:gd name="connsiteY823" fmla="*/ 4349914 h 6858285"/>
              <a:gd name="connsiteX824" fmla="*/ 4326017 w 6530351"/>
              <a:gd name="connsiteY824" fmla="*/ 4381655 h 6858285"/>
              <a:gd name="connsiteX825" fmla="*/ 4297503 w 6530351"/>
              <a:gd name="connsiteY825" fmla="*/ 4442865 h 6858285"/>
              <a:gd name="connsiteX826" fmla="*/ 3957235 w 6530351"/>
              <a:gd name="connsiteY826" fmla="*/ 4569111 h 6858285"/>
              <a:gd name="connsiteX827" fmla="*/ 3896405 w 6530351"/>
              <a:gd name="connsiteY827" fmla="*/ 4538506 h 6858285"/>
              <a:gd name="connsiteX828" fmla="*/ 3892603 w 6530351"/>
              <a:gd name="connsiteY828" fmla="*/ 4523203 h 6858285"/>
              <a:gd name="connsiteX829" fmla="*/ 3924919 w 6530351"/>
              <a:gd name="connsiteY829" fmla="*/ 4477296 h 6858285"/>
              <a:gd name="connsiteX830" fmla="*/ 4265187 w 6530351"/>
              <a:gd name="connsiteY830" fmla="*/ 4352963 h 6858285"/>
              <a:gd name="connsiteX831" fmla="*/ 4284047 w 6530351"/>
              <a:gd name="connsiteY831" fmla="*/ 4349914 h 6858285"/>
              <a:gd name="connsiteX832" fmla="*/ 2029797 w 6530351"/>
              <a:gd name="connsiteY832" fmla="*/ 4349914 h 6858285"/>
              <a:gd name="connsiteX833" fmla="*/ 2073637 w 6530351"/>
              <a:gd name="connsiteY833" fmla="*/ 4381655 h 6858285"/>
              <a:gd name="connsiteX834" fmla="*/ 2045123 w 6530351"/>
              <a:gd name="connsiteY834" fmla="*/ 4442865 h 6858285"/>
              <a:gd name="connsiteX835" fmla="*/ 1702954 w 6530351"/>
              <a:gd name="connsiteY835" fmla="*/ 4569111 h 6858285"/>
              <a:gd name="connsiteX836" fmla="*/ 1642124 w 6530351"/>
              <a:gd name="connsiteY836" fmla="*/ 4538506 h 6858285"/>
              <a:gd name="connsiteX837" fmla="*/ 1638322 w 6530351"/>
              <a:gd name="connsiteY837" fmla="*/ 4523203 h 6858285"/>
              <a:gd name="connsiteX838" fmla="*/ 1670638 w 6530351"/>
              <a:gd name="connsiteY838" fmla="*/ 4477296 h 6858285"/>
              <a:gd name="connsiteX839" fmla="*/ 2010906 w 6530351"/>
              <a:gd name="connsiteY839" fmla="*/ 4352963 h 6858285"/>
              <a:gd name="connsiteX840" fmla="*/ 2029797 w 6530351"/>
              <a:gd name="connsiteY840" fmla="*/ 4349914 h 6858285"/>
              <a:gd name="connsiteX841" fmla="*/ 3722775 w 6530351"/>
              <a:gd name="connsiteY841" fmla="*/ 4341193 h 6858285"/>
              <a:gd name="connsiteX842" fmla="*/ 3765607 w 6530351"/>
              <a:gd name="connsiteY842" fmla="*/ 4375580 h 6858285"/>
              <a:gd name="connsiteX843" fmla="*/ 3733245 w 6530351"/>
              <a:gd name="connsiteY843" fmla="*/ 4438622 h 6858285"/>
              <a:gd name="connsiteX844" fmla="*/ 3392486 w 6530351"/>
              <a:gd name="connsiteY844" fmla="*/ 4551335 h 6858285"/>
              <a:gd name="connsiteX845" fmla="*/ 3329664 w 6530351"/>
              <a:gd name="connsiteY845" fmla="*/ 4518858 h 6858285"/>
              <a:gd name="connsiteX846" fmla="*/ 3325857 w 6530351"/>
              <a:gd name="connsiteY846" fmla="*/ 4503575 h 6858285"/>
              <a:gd name="connsiteX847" fmla="*/ 3360123 w 6530351"/>
              <a:gd name="connsiteY847" fmla="*/ 4455816 h 6858285"/>
              <a:gd name="connsiteX848" fmla="*/ 3702787 w 6530351"/>
              <a:gd name="connsiteY848" fmla="*/ 4343103 h 6858285"/>
              <a:gd name="connsiteX849" fmla="*/ 3722775 w 6530351"/>
              <a:gd name="connsiteY849" fmla="*/ 4341193 h 6858285"/>
              <a:gd name="connsiteX850" fmla="*/ 2589285 w 6530351"/>
              <a:gd name="connsiteY850" fmla="*/ 4341193 h 6858285"/>
              <a:gd name="connsiteX851" fmla="*/ 2632118 w 6530351"/>
              <a:gd name="connsiteY851" fmla="*/ 4375580 h 6858285"/>
              <a:gd name="connsiteX852" fmla="*/ 2599755 w 6530351"/>
              <a:gd name="connsiteY852" fmla="*/ 4438622 h 6858285"/>
              <a:gd name="connsiteX853" fmla="*/ 2258996 w 6530351"/>
              <a:gd name="connsiteY853" fmla="*/ 4551335 h 6858285"/>
              <a:gd name="connsiteX854" fmla="*/ 2196174 w 6530351"/>
              <a:gd name="connsiteY854" fmla="*/ 4518858 h 6858285"/>
              <a:gd name="connsiteX855" fmla="*/ 2192367 w 6530351"/>
              <a:gd name="connsiteY855" fmla="*/ 4503575 h 6858285"/>
              <a:gd name="connsiteX856" fmla="*/ 2226633 w 6530351"/>
              <a:gd name="connsiteY856" fmla="*/ 4455816 h 6858285"/>
              <a:gd name="connsiteX857" fmla="*/ 2569296 w 6530351"/>
              <a:gd name="connsiteY857" fmla="*/ 4343103 h 6858285"/>
              <a:gd name="connsiteX858" fmla="*/ 2589285 w 6530351"/>
              <a:gd name="connsiteY858" fmla="*/ 4341193 h 6858285"/>
              <a:gd name="connsiteX859" fmla="*/ 3152162 w 6530351"/>
              <a:gd name="connsiteY859" fmla="*/ 4331988 h 6858285"/>
              <a:gd name="connsiteX860" fmla="*/ 3195706 w 6530351"/>
              <a:gd name="connsiteY860" fmla="*/ 4369816 h 6858285"/>
              <a:gd name="connsiteX861" fmla="*/ 3161512 w 6530351"/>
              <a:gd name="connsiteY861" fmla="*/ 4434681 h 6858285"/>
              <a:gd name="connsiteX862" fmla="*/ 2819564 w 6530351"/>
              <a:gd name="connsiteY862" fmla="*/ 4535794 h 6858285"/>
              <a:gd name="connsiteX863" fmla="*/ 2753074 w 6530351"/>
              <a:gd name="connsiteY863" fmla="*/ 4499546 h 6858285"/>
              <a:gd name="connsiteX864" fmla="*/ 2751174 w 6530351"/>
              <a:gd name="connsiteY864" fmla="*/ 4486191 h 6858285"/>
              <a:gd name="connsiteX865" fmla="*/ 2789168 w 6530351"/>
              <a:gd name="connsiteY865" fmla="*/ 4434681 h 6858285"/>
              <a:gd name="connsiteX866" fmla="*/ 3131116 w 6530351"/>
              <a:gd name="connsiteY866" fmla="*/ 4333568 h 6858285"/>
              <a:gd name="connsiteX867" fmla="*/ 3152162 w 6530351"/>
              <a:gd name="connsiteY867" fmla="*/ 4331988 h 6858285"/>
              <a:gd name="connsiteX868" fmla="*/ 6500077 w 6530351"/>
              <a:gd name="connsiteY868" fmla="*/ 4065058 h 6858285"/>
              <a:gd name="connsiteX869" fmla="*/ 6523141 w 6530351"/>
              <a:gd name="connsiteY869" fmla="*/ 4084416 h 6858285"/>
              <a:gd name="connsiteX870" fmla="*/ 6506021 w 6530351"/>
              <a:gd name="connsiteY870" fmla="*/ 4137951 h 6858285"/>
              <a:gd name="connsiteX871" fmla="*/ 6167435 w 6530351"/>
              <a:gd name="connsiteY871" fmla="*/ 4310027 h 6858285"/>
              <a:gd name="connsiteX872" fmla="*/ 6114175 w 6530351"/>
              <a:gd name="connsiteY872" fmla="*/ 4292819 h 6858285"/>
              <a:gd name="connsiteX873" fmla="*/ 6110371 w 6530351"/>
              <a:gd name="connsiteY873" fmla="*/ 4273700 h 6858285"/>
              <a:gd name="connsiteX874" fmla="*/ 6131293 w 6530351"/>
              <a:gd name="connsiteY874" fmla="*/ 4239285 h 6858285"/>
              <a:gd name="connsiteX875" fmla="*/ 6469879 w 6530351"/>
              <a:gd name="connsiteY875" fmla="*/ 4067209 h 6858285"/>
              <a:gd name="connsiteX876" fmla="*/ 6500077 w 6530351"/>
              <a:gd name="connsiteY876" fmla="*/ 4065058 h 6858285"/>
              <a:gd name="connsiteX877" fmla="*/ 5941081 w 6530351"/>
              <a:gd name="connsiteY877" fmla="*/ 4054778 h 6858285"/>
              <a:gd name="connsiteX878" fmla="*/ 5980193 w 6530351"/>
              <a:gd name="connsiteY878" fmla="*/ 4078680 h 6858285"/>
              <a:gd name="connsiteX879" fmla="*/ 5961143 w 6530351"/>
              <a:gd name="connsiteY879" fmla="*/ 4135973 h 6858285"/>
              <a:gd name="connsiteX880" fmla="*/ 5622049 w 6530351"/>
              <a:gd name="connsiteY880" fmla="*/ 4292575 h 6858285"/>
              <a:gd name="connsiteX881" fmla="*/ 5564899 w 6530351"/>
              <a:gd name="connsiteY881" fmla="*/ 4271567 h 6858285"/>
              <a:gd name="connsiteX882" fmla="*/ 5561087 w 6530351"/>
              <a:gd name="connsiteY882" fmla="*/ 4254379 h 6858285"/>
              <a:gd name="connsiteX883" fmla="*/ 5585853 w 6530351"/>
              <a:gd name="connsiteY883" fmla="*/ 4216184 h 6858285"/>
              <a:gd name="connsiteX884" fmla="*/ 5924949 w 6530351"/>
              <a:gd name="connsiteY884" fmla="*/ 4059583 h 6858285"/>
              <a:gd name="connsiteX885" fmla="*/ 5941081 w 6530351"/>
              <a:gd name="connsiteY885" fmla="*/ 4054778 h 6858285"/>
              <a:gd name="connsiteX886" fmla="*/ 383168 w 6530351"/>
              <a:gd name="connsiteY886" fmla="*/ 4054778 h 6858285"/>
              <a:gd name="connsiteX887" fmla="*/ 422281 w 6530351"/>
              <a:gd name="connsiteY887" fmla="*/ 4078680 h 6858285"/>
              <a:gd name="connsiteX888" fmla="*/ 401326 w 6530351"/>
              <a:gd name="connsiteY888" fmla="*/ 4135973 h 6858285"/>
              <a:gd name="connsiteX889" fmla="*/ 62231 w 6530351"/>
              <a:gd name="connsiteY889" fmla="*/ 4292575 h 6858285"/>
              <a:gd name="connsiteX890" fmla="*/ 6985 w 6530351"/>
              <a:gd name="connsiteY890" fmla="*/ 4271567 h 6858285"/>
              <a:gd name="connsiteX891" fmla="*/ 3175 w 6530351"/>
              <a:gd name="connsiteY891" fmla="*/ 4254379 h 6858285"/>
              <a:gd name="connsiteX892" fmla="*/ 27940 w 6530351"/>
              <a:gd name="connsiteY892" fmla="*/ 4216184 h 6858285"/>
              <a:gd name="connsiteX893" fmla="*/ 367035 w 6530351"/>
              <a:gd name="connsiteY893" fmla="*/ 4059583 h 6858285"/>
              <a:gd name="connsiteX894" fmla="*/ 383168 w 6530351"/>
              <a:gd name="connsiteY894" fmla="*/ 4054778 h 6858285"/>
              <a:gd name="connsiteX895" fmla="*/ 5394113 w 6530351"/>
              <a:gd name="connsiteY895" fmla="*/ 4046334 h 6858285"/>
              <a:gd name="connsiteX896" fmla="*/ 5435665 w 6530351"/>
              <a:gd name="connsiteY896" fmla="*/ 4072655 h 6858285"/>
              <a:gd name="connsiteX897" fmla="*/ 5410883 w 6530351"/>
              <a:gd name="connsiteY897" fmla="*/ 4131864 h 6858285"/>
              <a:gd name="connsiteX898" fmla="*/ 5071541 w 6530351"/>
              <a:gd name="connsiteY898" fmla="*/ 4275111 h 6858285"/>
              <a:gd name="connsiteX899" fmla="*/ 5012443 w 6530351"/>
              <a:gd name="connsiteY899" fmla="*/ 4252191 h 6858285"/>
              <a:gd name="connsiteX900" fmla="*/ 5008631 w 6530351"/>
              <a:gd name="connsiteY900" fmla="*/ 4235002 h 6858285"/>
              <a:gd name="connsiteX901" fmla="*/ 5037227 w 6530351"/>
              <a:gd name="connsiteY901" fmla="*/ 4192983 h 6858285"/>
              <a:gd name="connsiteX902" fmla="*/ 5376567 w 6530351"/>
              <a:gd name="connsiteY902" fmla="*/ 4049736 h 6858285"/>
              <a:gd name="connsiteX903" fmla="*/ 5394113 w 6530351"/>
              <a:gd name="connsiteY903" fmla="*/ 4046334 h 6858285"/>
              <a:gd name="connsiteX904" fmla="*/ 926790 w 6530351"/>
              <a:gd name="connsiteY904" fmla="*/ 4046333 h 6858285"/>
              <a:gd name="connsiteX905" fmla="*/ 968374 w 6530351"/>
              <a:gd name="connsiteY905" fmla="*/ 4072655 h 6858285"/>
              <a:gd name="connsiteX906" fmla="*/ 945480 w 6530351"/>
              <a:gd name="connsiteY906" fmla="*/ 4131864 h 6858285"/>
              <a:gd name="connsiteX907" fmla="*/ 603982 w 6530351"/>
              <a:gd name="connsiteY907" fmla="*/ 4275111 h 6858285"/>
              <a:gd name="connsiteX908" fmla="*/ 544840 w 6530351"/>
              <a:gd name="connsiteY908" fmla="*/ 4252191 h 6858285"/>
              <a:gd name="connsiteX909" fmla="*/ 542932 w 6530351"/>
              <a:gd name="connsiteY909" fmla="*/ 4235002 h 6858285"/>
              <a:gd name="connsiteX910" fmla="*/ 569641 w 6530351"/>
              <a:gd name="connsiteY910" fmla="*/ 4192983 h 6858285"/>
              <a:gd name="connsiteX911" fmla="*/ 909232 w 6530351"/>
              <a:gd name="connsiteY911" fmla="*/ 4049736 h 6858285"/>
              <a:gd name="connsiteX912" fmla="*/ 926790 w 6530351"/>
              <a:gd name="connsiteY912" fmla="*/ 4046333 h 6858285"/>
              <a:gd name="connsiteX913" fmla="*/ 4823945 w 6530351"/>
              <a:gd name="connsiteY913" fmla="*/ 4041415 h 6858285"/>
              <a:gd name="connsiteX914" fmla="*/ 4884817 w 6530351"/>
              <a:gd name="connsiteY914" fmla="*/ 4069836 h 6858285"/>
              <a:gd name="connsiteX915" fmla="*/ 4856283 w 6530351"/>
              <a:gd name="connsiteY915" fmla="*/ 4130469 h 6858285"/>
              <a:gd name="connsiteX916" fmla="*/ 4515773 w 6530351"/>
              <a:gd name="connsiteY916" fmla="*/ 4259312 h 6858285"/>
              <a:gd name="connsiteX917" fmla="*/ 4454901 w 6530351"/>
              <a:gd name="connsiteY917" fmla="*/ 4230891 h 6858285"/>
              <a:gd name="connsiteX918" fmla="*/ 4452999 w 6530351"/>
              <a:gd name="connsiteY918" fmla="*/ 4215733 h 6858285"/>
              <a:gd name="connsiteX919" fmla="*/ 4483435 w 6530351"/>
              <a:gd name="connsiteY919" fmla="*/ 4170258 h 6858285"/>
              <a:gd name="connsiteX920" fmla="*/ 4823945 w 6530351"/>
              <a:gd name="connsiteY920" fmla="*/ 4041415 h 6858285"/>
              <a:gd name="connsiteX921" fmla="*/ 1458398 w 6530351"/>
              <a:gd name="connsiteY921" fmla="*/ 4041415 h 6858285"/>
              <a:gd name="connsiteX922" fmla="*/ 1519272 w 6530351"/>
              <a:gd name="connsiteY922" fmla="*/ 4069836 h 6858285"/>
              <a:gd name="connsiteX923" fmla="*/ 1492639 w 6530351"/>
              <a:gd name="connsiteY923" fmla="*/ 4130469 h 6858285"/>
              <a:gd name="connsiteX924" fmla="*/ 1152130 w 6530351"/>
              <a:gd name="connsiteY924" fmla="*/ 4259312 h 6858285"/>
              <a:gd name="connsiteX925" fmla="*/ 1091257 w 6530351"/>
              <a:gd name="connsiteY925" fmla="*/ 4230891 h 6858285"/>
              <a:gd name="connsiteX926" fmla="*/ 1087452 w 6530351"/>
              <a:gd name="connsiteY926" fmla="*/ 4215733 h 6858285"/>
              <a:gd name="connsiteX927" fmla="*/ 1117889 w 6530351"/>
              <a:gd name="connsiteY927" fmla="*/ 4170258 h 6858285"/>
              <a:gd name="connsiteX928" fmla="*/ 1458398 w 6530351"/>
              <a:gd name="connsiteY928" fmla="*/ 4041415 h 6858285"/>
              <a:gd name="connsiteX929" fmla="*/ 4286123 w 6530351"/>
              <a:gd name="connsiteY929" fmla="*/ 4031097 h 6858285"/>
              <a:gd name="connsiteX930" fmla="*/ 4329137 w 6530351"/>
              <a:gd name="connsiteY930" fmla="*/ 4064316 h 6858285"/>
              <a:gd name="connsiteX931" fmla="*/ 4298549 w 6530351"/>
              <a:gd name="connsiteY931" fmla="*/ 4127181 h 6858285"/>
              <a:gd name="connsiteX932" fmla="*/ 3956339 w 6530351"/>
              <a:gd name="connsiteY932" fmla="*/ 4243386 h 6858285"/>
              <a:gd name="connsiteX933" fmla="*/ 3893251 w 6530351"/>
              <a:gd name="connsiteY933" fmla="*/ 4212906 h 6858285"/>
              <a:gd name="connsiteX934" fmla="*/ 3889427 w 6530351"/>
              <a:gd name="connsiteY934" fmla="*/ 4195761 h 6858285"/>
              <a:gd name="connsiteX935" fmla="*/ 3923839 w 6530351"/>
              <a:gd name="connsiteY935" fmla="*/ 4150041 h 6858285"/>
              <a:gd name="connsiteX936" fmla="*/ 4266049 w 6530351"/>
              <a:gd name="connsiteY936" fmla="*/ 4033836 h 6858285"/>
              <a:gd name="connsiteX937" fmla="*/ 4286123 w 6530351"/>
              <a:gd name="connsiteY937" fmla="*/ 4031097 h 6858285"/>
              <a:gd name="connsiteX938" fmla="*/ 2031420 w 6530351"/>
              <a:gd name="connsiteY938" fmla="*/ 4031097 h 6858285"/>
              <a:gd name="connsiteX939" fmla="*/ 2075230 w 6530351"/>
              <a:gd name="connsiteY939" fmla="*/ 4064316 h 6858285"/>
              <a:gd name="connsiteX940" fmla="*/ 2042936 w 6530351"/>
              <a:gd name="connsiteY940" fmla="*/ 4127181 h 6858285"/>
              <a:gd name="connsiteX941" fmla="*/ 1702908 w 6530351"/>
              <a:gd name="connsiteY941" fmla="*/ 4243386 h 6858285"/>
              <a:gd name="connsiteX942" fmla="*/ 1640222 w 6530351"/>
              <a:gd name="connsiteY942" fmla="*/ 4212906 h 6858285"/>
              <a:gd name="connsiteX943" fmla="*/ 1638322 w 6530351"/>
              <a:gd name="connsiteY943" fmla="*/ 4195761 h 6858285"/>
              <a:gd name="connsiteX944" fmla="*/ 1670615 w 6530351"/>
              <a:gd name="connsiteY944" fmla="*/ 4150041 h 6858285"/>
              <a:gd name="connsiteX945" fmla="*/ 2012543 w 6530351"/>
              <a:gd name="connsiteY945" fmla="*/ 4033836 h 6858285"/>
              <a:gd name="connsiteX946" fmla="*/ 2031420 w 6530351"/>
              <a:gd name="connsiteY946" fmla="*/ 4031097 h 6858285"/>
              <a:gd name="connsiteX947" fmla="*/ 3725869 w 6530351"/>
              <a:gd name="connsiteY947" fmla="*/ 4022416 h 6858285"/>
              <a:gd name="connsiteX948" fmla="*/ 3770671 w 6530351"/>
              <a:gd name="connsiteY948" fmla="*/ 4060189 h 6858285"/>
              <a:gd name="connsiteX949" fmla="*/ 3734425 w 6530351"/>
              <a:gd name="connsiteY949" fmla="*/ 4124959 h 6858285"/>
              <a:gd name="connsiteX950" fmla="*/ 3391039 w 6530351"/>
              <a:gd name="connsiteY950" fmla="*/ 4225924 h 6858285"/>
              <a:gd name="connsiteX951" fmla="*/ 3326178 w 6530351"/>
              <a:gd name="connsiteY951" fmla="*/ 4191634 h 6858285"/>
              <a:gd name="connsiteX952" fmla="*/ 3324270 w 6530351"/>
              <a:gd name="connsiteY952" fmla="*/ 4176394 h 6858285"/>
              <a:gd name="connsiteX953" fmla="*/ 3362424 w 6530351"/>
              <a:gd name="connsiteY953" fmla="*/ 4126864 h 6858285"/>
              <a:gd name="connsiteX954" fmla="*/ 3705809 w 6530351"/>
              <a:gd name="connsiteY954" fmla="*/ 4023994 h 6858285"/>
              <a:gd name="connsiteX955" fmla="*/ 3725869 w 6530351"/>
              <a:gd name="connsiteY955" fmla="*/ 4022416 h 6858285"/>
              <a:gd name="connsiteX956" fmla="*/ 2590975 w 6530351"/>
              <a:gd name="connsiteY956" fmla="*/ 4022416 h 6858285"/>
              <a:gd name="connsiteX957" fmla="*/ 2635619 w 6530351"/>
              <a:gd name="connsiteY957" fmla="*/ 4060189 h 6858285"/>
              <a:gd name="connsiteX958" fmla="*/ 2599499 w 6530351"/>
              <a:gd name="connsiteY958" fmla="*/ 4124959 h 6858285"/>
              <a:gd name="connsiteX959" fmla="*/ 2257315 w 6530351"/>
              <a:gd name="connsiteY959" fmla="*/ 4225924 h 6858285"/>
              <a:gd name="connsiteX960" fmla="*/ 2192680 w 6530351"/>
              <a:gd name="connsiteY960" fmla="*/ 4191634 h 6858285"/>
              <a:gd name="connsiteX961" fmla="*/ 2190779 w 6530351"/>
              <a:gd name="connsiteY961" fmla="*/ 4176394 h 6858285"/>
              <a:gd name="connsiteX962" fmla="*/ 2228800 w 6530351"/>
              <a:gd name="connsiteY962" fmla="*/ 4126864 h 6858285"/>
              <a:gd name="connsiteX963" fmla="*/ 2570984 w 6530351"/>
              <a:gd name="connsiteY963" fmla="*/ 4023994 h 6858285"/>
              <a:gd name="connsiteX964" fmla="*/ 2590975 w 6530351"/>
              <a:gd name="connsiteY964" fmla="*/ 4022416 h 6858285"/>
              <a:gd name="connsiteX965" fmla="*/ 3155340 w 6530351"/>
              <a:gd name="connsiteY965" fmla="*/ 4014776 h 6858285"/>
              <a:gd name="connsiteX966" fmla="*/ 3200739 w 6530351"/>
              <a:gd name="connsiteY966" fmla="*/ 4054156 h 6858285"/>
              <a:gd name="connsiteX967" fmla="*/ 3160623 w 6530351"/>
              <a:gd name="connsiteY967" fmla="*/ 4120831 h 6858285"/>
              <a:gd name="connsiteX968" fmla="*/ 2816770 w 6530351"/>
              <a:gd name="connsiteY968" fmla="*/ 4210366 h 6858285"/>
              <a:gd name="connsiteX969" fmla="*/ 2749909 w 6530351"/>
              <a:gd name="connsiteY969" fmla="*/ 4170361 h 6858285"/>
              <a:gd name="connsiteX970" fmla="*/ 2747999 w 6530351"/>
              <a:gd name="connsiteY970" fmla="*/ 4157026 h 6858285"/>
              <a:gd name="connsiteX971" fmla="*/ 2788115 w 6530351"/>
              <a:gd name="connsiteY971" fmla="*/ 4103686 h 6858285"/>
              <a:gd name="connsiteX972" fmla="*/ 3133879 w 6530351"/>
              <a:gd name="connsiteY972" fmla="*/ 4016056 h 6858285"/>
              <a:gd name="connsiteX973" fmla="*/ 3155340 w 6530351"/>
              <a:gd name="connsiteY973" fmla="*/ 4014776 h 6858285"/>
              <a:gd name="connsiteX974" fmla="*/ 6500077 w 6530351"/>
              <a:gd name="connsiteY974" fmla="*/ 3741436 h 6858285"/>
              <a:gd name="connsiteX975" fmla="*/ 6523141 w 6530351"/>
              <a:gd name="connsiteY975" fmla="*/ 3762442 h 6858285"/>
              <a:gd name="connsiteX976" fmla="*/ 6506021 w 6530351"/>
              <a:gd name="connsiteY976" fmla="*/ 3814001 h 6858285"/>
              <a:gd name="connsiteX977" fmla="*/ 6167435 w 6530351"/>
              <a:gd name="connsiteY977" fmla="*/ 3987775 h 6858285"/>
              <a:gd name="connsiteX978" fmla="*/ 6114175 w 6530351"/>
              <a:gd name="connsiteY978" fmla="*/ 3970588 h 6858285"/>
              <a:gd name="connsiteX979" fmla="*/ 6110371 w 6530351"/>
              <a:gd name="connsiteY979" fmla="*/ 3951492 h 6858285"/>
              <a:gd name="connsiteX980" fmla="*/ 6131293 w 6530351"/>
              <a:gd name="connsiteY980" fmla="*/ 3917120 h 6858285"/>
              <a:gd name="connsiteX981" fmla="*/ 6469879 w 6530351"/>
              <a:gd name="connsiteY981" fmla="*/ 3743346 h 6858285"/>
              <a:gd name="connsiteX982" fmla="*/ 6500077 w 6530351"/>
              <a:gd name="connsiteY982" fmla="*/ 3741436 h 6858285"/>
              <a:gd name="connsiteX983" fmla="*/ 5958263 w 6530351"/>
              <a:gd name="connsiteY983" fmla="*/ 3734455 h 6858285"/>
              <a:gd name="connsiteX984" fmla="*/ 5983341 w 6530351"/>
              <a:gd name="connsiteY984" fmla="*/ 3756417 h 6858285"/>
              <a:gd name="connsiteX985" fmla="*/ 5962323 w 6530351"/>
              <a:gd name="connsiteY985" fmla="*/ 3813710 h 6858285"/>
              <a:gd name="connsiteX986" fmla="*/ 5622229 w 6530351"/>
              <a:gd name="connsiteY986" fmla="*/ 3970312 h 6858285"/>
              <a:gd name="connsiteX987" fmla="*/ 5564909 w 6530351"/>
              <a:gd name="connsiteY987" fmla="*/ 3949304 h 6858285"/>
              <a:gd name="connsiteX988" fmla="*/ 5561087 w 6530351"/>
              <a:gd name="connsiteY988" fmla="*/ 3930207 h 6858285"/>
              <a:gd name="connsiteX989" fmla="*/ 5585927 w 6530351"/>
              <a:gd name="connsiteY989" fmla="*/ 3892011 h 6858285"/>
              <a:gd name="connsiteX990" fmla="*/ 5926021 w 6530351"/>
              <a:gd name="connsiteY990" fmla="*/ 3735410 h 6858285"/>
              <a:gd name="connsiteX991" fmla="*/ 5958263 w 6530351"/>
              <a:gd name="connsiteY991" fmla="*/ 3734455 h 6858285"/>
              <a:gd name="connsiteX992" fmla="*/ 398944 w 6530351"/>
              <a:gd name="connsiteY992" fmla="*/ 3734455 h 6858285"/>
              <a:gd name="connsiteX993" fmla="*/ 422281 w 6530351"/>
              <a:gd name="connsiteY993" fmla="*/ 3756417 h 6858285"/>
              <a:gd name="connsiteX994" fmla="*/ 401326 w 6530351"/>
              <a:gd name="connsiteY994" fmla="*/ 3813710 h 6858285"/>
              <a:gd name="connsiteX995" fmla="*/ 62231 w 6530351"/>
              <a:gd name="connsiteY995" fmla="*/ 3970312 h 6858285"/>
              <a:gd name="connsiteX996" fmla="*/ 6985 w 6530351"/>
              <a:gd name="connsiteY996" fmla="*/ 3949304 h 6858285"/>
              <a:gd name="connsiteX997" fmla="*/ 3175 w 6530351"/>
              <a:gd name="connsiteY997" fmla="*/ 3930207 h 6858285"/>
              <a:gd name="connsiteX998" fmla="*/ 27940 w 6530351"/>
              <a:gd name="connsiteY998" fmla="*/ 3892011 h 6858285"/>
              <a:gd name="connsiteX999" fmla="*/ 367035 w 6530351"/>
              <a:gd name="connsiteY999" fmla="*/ 3735410 h 6858285"/>
              <a:gd name="connsiteX1000" fmla="*/ 398944 w 6530351"/>
              <a:gd name="connsiteY1000" fmla="*/ 3734455 h 6858285"/>
              <a:gd name="connsiteX1001" fmla="*/ 5394113 w 6530351"/>
              <a:gd name="connsiteY1001" fmla="*/ 3725656 h 6858285"/>
              <a:gd name="connsiteX1002" fmla="*/ 5435665 w 6530351"/>
              <a:gd name="connsiteY1002" fmla="*/ 3753711 h 6858285"/>
              <a:gd name="connsiteX1003" fmla="*/ 5410883 w 6530351"/>
              <a:gd name="connsiteY1003" fmla="*/ 3812611 h 6858285"/>
              <a:gd name="connsiteX1004" fmla="*/ 5071541 w 6530351"/>
              <a:gd name="connsiteY1004" fmla="*/ 3951311 h 6858285"/>
              <a:gd name="connsiteX1005" fmla="*/ 5012443 w 6530351"/>
              <a:gd name="connsiteY1005" fmla="*/ 3928511 h 6858285"/>
              <a:gd name="connsiteX1006" fmla="*/ 5008631 w 6530351"/>
              <a:gd name="connsiteY1006" fmla="*/ 3911411 h 6858285"/>
              <a:gd name="connsiteX1007" fmla="*/ 5037227 w 6530351"/>
              <a:gd name="connsiteY1007" fmla="*/ 3869611 h 6858285"/>
              <a:gd name="connsiteX1008" fmla="*/ 5376567 w 6530351"/>
              <a:gd name="connsiteY1008" fmla="*/ 3729011 h 6858285"/>
              <a:gd name="connsiteX1009" fmla="*/ 5394113 w 6530351"/>
              <a:gd name="connsiteY1009" fmla="*/ 3725656 h 6858285"/>
              <a:gd name="connsiteX1010" fmla="*/ 927631 w 6530351"/>
              <a:gd name="connsiteY1010" fmla="*/ 3725656 h 6858285"/>
              <a:gd name="connsiteX1011" fmla="*/ 968380 w 6530351"/>
              <a:gd name="connsiteY1011" fmla="*/ 3753711 h 6858285"/>
              <a:gd name="connsiteX1012" fmla="*/ 945503 w 6530351"/>
              <a:gd name="connsiteY1012" fmla="*/ 3812611 h 6858285"/>
              <a:gd name="connsiteX1013" fmla="*/ 604256 w 6530351"/>
              <a:gd name="connsiteY1013" fmla="*/ 3951311 h 6858285"/>
              <a:gd name="connsiteX1014" fmla="*/ 545157 w 6530351"/>
              <a:gd name="connsiteY1014" fmla="*/ 3928511 h 6858285"/>
              <a:gd name="connsiteX1015" fmla="*/ 541344 w 6530351"/>
              <a:gd name="connsiteY1015" fmla="*/ 3911411 h 6858285"/>
              <a:gd name="connsiteX1016" fmla="*/ 569940 w 6530351"/>
              <a:gd name="connsiteY1016" fmla="*/ 3869611 h 6858285"/>
              <a:gd name="connsiteX1017" fmla="*/ 909281 w 6530351"/>
              <a:gd name="connsiteY1017" fmla="*/ 3729011 h 6858285"/>
              <a:gd name="connsiteX1018" fmla="*/ 927631 w 6530351"/>
              <a:gd name="connsiteY1018" fmla="*/ 3725656 h 6858285"/>
              <a:gd name="connsiteX1019" fmla="*/ 4842671 w 6530351"/>
              <a:gd name="connsiteY1019" fmla="*/ 3718044 h 6858285"/>
              <a:gd name="connsiteX1020" fmla="*/ 4884791 w 6530351"/>
              <a:gd name="connsiteY1020" fmla="*/ 3749569 h 6858285"/>
              <a:gd name="connsiteX1021" fmla="*/ 4856173 w 6530351"/>
              <a:gd name="connsiteY1021" fmla="*/ 3810362 h 6858285"/>
              <a:gd name="connsiteX1022" fmla="*/ 4514687 w 6530351"/>
              <a:gd name="connsiteY1022" fmla="*/ 3933849 h 6858285"/>
              <a:gd name="connsiteX1023" fmla="*/ 4453639 w 6530351"/>
              <a:gd name="connsiteY1023" fmla="*/ 3905352 h 6858285"/>
              <a:gd name="connsiteX1024" fmla="*/ 4449823 w 6530351"/>
              <a:gd name="connsiteY1024" fmla="*/ 3890154 h 6858285"/>
              <a:gd name="connsiteX1025" fmla="*/ 4482255 w 6530351"/>
              <a:gd name="connsiteY1025" fmla="*/ 3844559 h 6858285"/>
              <a:gd name="connsiteX1026" fmla="*/ 4823743 w 6530351"/>
              <a:gd name="connsiteY1026" fmla="*/ 3721072 h 6858285"/>
              <a:gd name="connsiteX1027" fmla="*/ 4842671 w 6530351"/>
              <a:gd name="connsiteY1027" fmla="*/ 3718044 h 6858285"/>
              <a:gd name="connsiteX1028" fmla="*/ 1478630 w 6530351"/>
              <a:gd name="connsiteY1028" fmla="*/ 3718044 h 6858285"/>
              <a:gd name="connsiteX1029" fmla="*/ 1520866 w 6530351"/>
              <a:gd name="connsiteY1029" fmla="*/ 3749569 h 6858285"/>
              <a:gd name="connsiteX1030" fmla="*/ 1492352 w 6530351"/>
              <a:gd name="connsiteY1030" fmla="*/ 3810362 h 6858285"/>
              <a:gd name="connsiteX1031" fmla="*/ 1152084 w 6530351"/>
              <a:gd name="connsiteY1031" fmla="*/ 3933849 h 6858285"/>
              <a:gd name="connsiteX1032" fmla="*/ 1089353 w 6530351"/>
              <a:gd name="connsiteY1032" fmla="*/ 3905352 h 6858285"/>
              <a:gd name="connsiteX1033" fmla="*/ 1087452 w 6530351"/>
              <a:gd name="connsiteY1033" fmla="*/ 3890154 h 6858285"/>
              <a:gd name="connsiteX1034" fmla="*/ 1117867 w 6530351"/>
              <a:gd name="connsiteY1034" fmla="*/ 3844559 h 6858285"/>
              <a:gd name="connsiteX1035" fmla="*/ 1460036 w 6530351"/>
              <a:gd name="connsiteY1035" fmla="*/ 3721072 h 6858285"/>
              <a:gd name="connsiteX1036" fmla="*/ 1478630 w 6530351"/>
              <a:gd name="connsiteY1036" fmla="*/ 3718044 h 6858285"/>
              <a:gd name="connsiteX1037" fmla="*/ 4287785 w 6530351"/>
              <a:gd name="connsiteY1037" fmla="*/ 3710433 h 6858285"/>
              <a:gd name="connsiteX1038" fmla="*/ 4330739 w 6530351"/>
              <a:gd name="connsiteY1038" fmla="*/ 3745426 h 6858285"/>
              <a:gd name="connsiteX1039" fmla="*/ 4298285 w 6530351"/>
              <a:gd name="connsiteY1039" fmla="*/ 3810012 h 6858285"/>
              <a:gd name="connsiteX1040" fmla="*/ 3954657 w 6530351"/>
              <a:gd name="connsiteY1040" fmla="*/ 3916388 h 6858285"/>
              <a:gd name="connsiteX1041" fmla="*/ 3891659 w 6530351"/>
              <a:gd name="connsiteY1041" fmla="*/ 3884095 h 6858285"/>
              <a:gd name="connsiteX1042" fmla="*/ 3887839 w 6530351"/>
              <a:gd name="connsiteY1042" fmla="*/ 3868899 h 6858285"/>
              <a:gd name="connsiteX1043" fmla="*/ 3924111 w 6530351"/>
              <a:gd name="connsiteY1043" fmla="*/ 3819510 h 6858285"/>
              <a:gd name="connsiteX1044" fmla="*/ 4267741 w 6530351"/>
              <a:gd name="connsiteY1044" fmla="*/ 3713134 h 6858285"/>
              <a:gd name="connsiteX1045" fmla="*/ 4287785 w 6530351"/>
              <a:gd name="connsiteY1045" fmla="*/ 3710433 h 6858285"/>
              <a:gd name="connsiteX1046" fmla="*/ 2033497 w 6530351"/>
              <a:gd name="connsiteY1046" fmla="*/ 3710433 h 6858285"/>
              <a:gd name="connsiteX1047" fmla="*/ 2078361 w 6530351"/>
              <a:gd name="connsiteY1047" fmla="*/ 3745426 h 6858285"/>
              <a:gd name="connsiteX1048" fmla="*/ 2043974 w 6530351"/>
              <a:gd name="connsiteY1048" fmla="*/ 3810012 h 6858285"/>
              <a:gd name="connsiteX1049" fmla="*/ 1702011 w 6530351"/>
              <a:gd name="connsiteY1049" fmla="*/ 3916388 h 6858285"/>
              <a:gd name="connsiteX1050" fmla="*/ 1637057 w 6530351"/>
              <a:gd name="connsiteY1050" fmla="*/ 3884095 h 6858285"/>
              <a:gd name="connsiteX1051" fmla="*/ 1635147 w 6530351"/>
              <a:gd name="connsiteY1051" fmla="*/ 3868899 h 6858285"/>
              <a:gd name="connsiteX1052" fmla="*/ 1669534 w 6530351"/>
              <a:gd name="connsiteY1052" fmla="*/ 3819510 h 6858285"/>
              <a:gd name="connsiteX1053" fmla="*/ 2013408 w 6530351"/>
              <a:gd name="connsiteY1053" fmla="*/ 3713134 h 6858285"/>
              <a:gd name="connsiteX1054" fmla="*/ 2033497 w 6530351"/>
              <a:gd name="connsiteY1054" fmla="*/ 3710433 h 6858285"/>
              <a:gd name="connsiteX1055" fmla="*/ 3726993 w 6530351"/>
              <a:gd name="connsiteY1055" fmla="*/ 3702861 h 6858285"/>
              <a:gd name="connsiteX1056" fmla="*/ 3772267 w 6530351"/>
              <a:gd name="connsiteY1056" fmla="*/ 3743251 h 6858285"/>
              <a:gd name="connsiteX1057" fmla="*/ 3734167 w 6530351"/>
              <a:gd name="connsiteY1057" fmla="*/ 3807924 h 6858285"/>
              <a:gd name="connsiteX1058" fmla="*/ 3391263 w 6530351"/>
              <a:gd name="connsiteY1058" fmla="*/ 3899227 h 6858285"/>
              <a:gd name="connsiteX1059" fmla="*/ 3324587 w 6530351"/>
              <a:gd name="connsiteY1059" fmla="*/ 3861184 h 6858285"/>
              <a:gd name="connsiteX1060" fmla="*/ 3322682 w 6530351"/>
              <a:gd name="connsiteY1060" fmla="*/ 3847869 h 6858285"/>
              <a:gd name="connsiteX1061" fmla="*/ 3362688 w 6530351"/>
              <a:gd name="connsiteY1061" fmla="*/ 3796512 h 6858285"/>
              <a:gd name="connsiteX1062" fmla="*/ 3705593 w 6530351"/>
              <a:gd name="connsiteY1062" fmla="*/ 3705209 h 6858285"/>
              <a:gd name="connsiteX1063" fmla="*/ 3726993 w 6530351"/>
              <a:gd name="connsiteY1063" fmla="*/ 3702861 h 6858285"/>
              <a:gd name="connsiteX1064" fmla="*/ 2593320 w 6530351"/>
              <a:gd name="connsiteY1064" fmla="*/ 3702861 h 6858285"/>
              <a:gd name="connsiteX1065" fmla="*/ 2638751 w 6530351"/>
              <a:gd name="connsiteY1065" fmla="*/ 3743251 h 6858285"/>
              <a:gd name="connsiteX1066" fmla="*/ 2600519 w 6530351"/>
              <a:gd name="connsiteY1066" fmla="*/ 3807924 h 6858285"/>
              <a:gd name="connsiteX1067" fmla="*/ 2256423 w 6530351"/>
              <a:gd name="connsiteY1067" fmla="*/ 3899227 h 6858285"/>
              <a:gd name="connsiteX1068" fmla="*/ 2189516 w 6530351"/>
              <a:gd name="connsiteY1068" fmla="*/ 3861184 h 6858285"/>
              <a:gd name="connsiteX1069" fmla="*/ 2187604 w 6530351"/>
              <a:gd name="connsiteY1069" fmla="*/ 3847869 h 6858285"/>
              <a:gd name="connsiteX1070" fmla="*/ 2227748 w 6530351"/>
              <a:gd name="connsiteY1070" fmla="*/ 3796512 h 6858285"/>
              <a:gd name="connsiteX1071" fmla="*/ 2571844 w 6530351"/>
              <a:gd name="connsiteY1071" fmla="*/ 3705209 h 6858285"/>
              <a:gd name="connsiteX1072" fmla="*/ 2593320 w 6530351"/>
              <a:gd name="connsiteY1072" fmla="*/ 3702861 h 6858285"/>
              <a:gd name="connsiteX1073" fmla="*/ 3135570 w 6530351"/>
              <a:gd name="connsiteY1073" fmla="*/ 3696651 h 6858285"/>
              <a:gd name="connsiteX1074" fmla="*/ 3202337 w 6530351"/>
              <a:gd name="connsiteY1074" fmla="*/ 3740466 h 6858285"/>
              <a:gd name="connsiteX1075" fmla="*/ 3160369 w 6530351"/>
              <a:gd name="connsiteY1075" fmla="*/ 3809046 h 6858285"/>
              <a:gd name="connsiteX1076" fmla="*/ 2815087 w 6530351"/>
              <a:gd name="connsiteY1076" fmla="*/ 3883341 h 6858285"/>
              <a:gd name="connsiteX1077" fmla="*/ 2746412 w 6530351"/>
              <a:gd name="connsiteY1077" fmla="*/ 3841431 h 6858285"/>
              <a:gd name="connsiteX1078" fmla="*/ 2746412 w 6530351"/>
              <a:gd name="connsiteY1078" fmla="*/ 3828096 h 6858285"/>
              <a:gd name="connsiteX1079" fmla="*/ 2790288 w 6530351"/>
              <a:gd name="connsiteY1079" fmla="*/ 3772851 h 6858285"/>
              <a:gd name="connsiteX1080" fmla="*/ 3135570 w 6530351"/>
              <a:gd name="connsiteY1080" fmla="*/ 3696651 h 6858285"/>
              <a:gd name="connsiteX1081" fmla="*/ 6499363 w 6530351"/>
              <a:gd name="connsiteY1081" fmla="*/ 3418935 h 6858285"/>
              <a:gd name="connsiteX1082" fmla="*/ 6523141 w 6530351"/>
              <a:gd name="connsiteY1082" fmla="*/ 3438269 h 6858285"/>
              <a:gd name="connsiteX1083" fmla="*/ 6506021 w 6530351"/>
              <a:gd name="connsiteY1083" fmla="*/ 3491738 h 6858285"/>
              <a:gd name="connsiteX1084" fmla="*/ 6167435 w 6530351"/>
              <a:gd name="connsiteY1084" fmla="*/ 3663602 h 6858285"/>
              <a:gd name="connsiteX1085" fmla="*/ 6116077 w 6530351"/>
              <a:gd name="connsiteY1085" fmla="*/ 3648325 h 6858285"/>
              <a:gd name="connsiteX1086" fmla="*/ 6110371 w 6530351"/>
              <a:gd name="connsiteY1086" fmla="*/ 3629229 h 6858285"/>
              <a:gd name="connsiteX1087" fmla="*/ 6131293 w 6530351"/>
              <a:gd name="connsiteY1087" fmla="*/ 3594857 h 6858285"/>
              <a:gd name="connsiteX1088" fmla="*/ 6469879 w 6530351"/>
              <a:gd name="connsiteY1088" fmla="*/ 3421085 h 6858285"/>
              <a:gd name="connsiteX1089" fmla="*/ 6499363 w 6530351"/>
              <a:gd name="connsiteY1089" fmla="*/ 3418935 h 6858285"/>
              <a:gd name="connsiteX1090" fmla="*/ 5958981 w 6530351"/>
              <a:gd name="connsiteY1090" fmla="*/ 3413738 h 6858285"/>
              <a:gd name="connsiteX1091" fmla="*/ 5983341 w 6530351"/>
              <a:gd name="connsiteY1091" fmla="*/ 3435588 h 6858285"/>
              <a:gd name="connsiteX1092" fmla="*/ 5962323 w 6530351"/>
              <a:gd name="connsiteY1092" fmla="*/ 3492594 h 6858285"/>
              <a:gd name="connsiteX1093" fmla="*/ 5622229 w 6530351"/>
              <a:gd name="connsiteY1093" fmla="*/ 3646509 h 6858285"/>
              <a:gd name="connsiteX1094" fmla="*/ 5564909 w 6530351"/>
              <a:gd name="connsiteY1094" fmla="*/ 3625607 h 6858285"/>
              <a:gd name="connsiteX1095" fmla="*/ 5561087 w 6530351"/>
              <a:gd name="connsiteY1095" fmla="*/ 3608505 h 6858285"/>
              <a:gd name="connsiteX1096" fmla="*/ 5585927 w 6530351"/>
              <a:gd name="connsiteY1096" fmla="*/ 3568601 h 6858285"/>
              <a:gd name="connsiteX1097" fmla="*/ 5926021 w 6530351"/>
              <a:gd name="connsiteY1097" fmla="*/ 3414687 h 6858285"/>
              <a:gd name="connsiteX1098" fmla="*/ 5958981 w 6530351"/>
              <a:gd name="connsiteY1098" fmla="*/ 3413738 h 6858285"/>
              <a:gd name="connsiteX1099" fmla="*/ 398652 w 6530351"/>
              <a:gd name="connsiteY1099" fmla="*/ 3413736 h 6858285"/>
              <a:gd name="connsiteX1100" fmla="*/ 421971 w 6530351"/>
              <a:gd name="connsiteY1100" fmla="*/ 3435588 h 6858285"/>
              <a:gd name="connsiteX1101" fmla="*/ 401031 w 6530351"/>
              <a:gd name="connsiteY1101" fmla="*/ 3492594 h 6858285"/>
              <a:gd name="connsiteX1102" fmla="*/ 62187 w 6530351"/>
              <a:gd name="connsiteY1102" fmla="*/ 3646509 h 6858285"/>
              <a:gd name="connsiteX1103" fmla="*/ 6982 w 6530351"/>
              <a:gd name="connsiteY1103" fmla="*/ 3625607 h 6858285"/>
              <a:gd name="connsiteX1104" fmla="*/ 3175 w 6530351"/>
              <a:gd name="connsiteY1104" fmla="*/ 3608505 h 6858285"/>
              <a:gd name="connsiteX1105" fmla="*/ 27922 w 6530351"/>
              <a:gd name="connsiteY1105" fmla="*/ 3568601 h 6858285"/>
              <a:gd name="connsiteX1106" fmla="*/ 366766 w 6530351"/>
              <a:gd name="connsiteY1106" fmla="*/ 3414687 h 6858285"/>
              <a:gd name="connsiteX1107" fmla="*/ 398652 w 6530351"/>
              <a:gd name="connsiteY1107" fmla="*/ 3413736 h 6858285"/>
              <a:gd name="connsiteX1108" fmla="*/ 5394971 w 6530351"/>
              <a:gd name="connsiteY1108" fmla="*/ 3403425 h 6858285"/>
              <a:gd name="connsiteX1109" fmla="*/ 5437269 w 6530351"/>
              <a:gd name="connsiteY1109" fmla="*/ 3433348 h 6858285"/>
              <a:gd name="connsiteX1110" fmla="*/ 5410617 w 6530351"/>
              <a:gd name="connsiteY1110" fmla="*/ 3492248 h 6858285"/>
              <a:gd name="connsiteX1111" fmla="*/ 5069863 w 6530351"/>
              <a:gd name="connsiteY1111" fmla="*/ 3629048 h 6858285"/>
              <a:gd name="connsiteX1112" fmla="*/ 5010851 w 6530351"/>
              <a:gd name="connsiteY1112" fmla="*/ 3602448 h 6858285"/>
              <a:gd name="connsiteX1113" fmla="*/ 5007043 w 6530351"/>
              <a:gd name="connsiteY1113" fmla="*/ 3585348 h 6858285"/>
              <a:gd name="connsiteX1114" fmla="*/ 5037501 w 6530351"/>
              <a:gd name="connsiteY1114" fmla="*/ 3543548 h 6858285"/>
              <a:gd name="connsiteX1115" fmla="*/ 5376351 w 6530351"/>
              <a:gd name="connsiteY1115" fmla="*/ 3406750 h 6858285"/>
              <a:gd name="connsiteX1116" fmla="*/ 5394971 w 6530351"/>
              <a:gd name="connsiteY1116" fmla="*/ 3403425 h 6858285"/>
              <a:gd name="connsiteX1117" fmla="*/ 928451 w 6530351"/>
              <a:gd name="connsiteY1117" fmla="*/ 3403423 h 6858285"/>
              <a:gd name="connsiteX1118" fmla="*/ 969975 w 6530351"/>
              <a:gd name="connsiteY1118" fmla="*/ 3433348 h 6858285"/>
              <a:gd name="connsiteX1119" fmla="*/ 945210 w 6530351"/>
              <a:gd name="connsiteY1119" fmla="*/ 3492248 h 6858285"/>
              <a:gd name="connsiteX1120" fmla="*/ 604210 w 6530351"/>
              <a:gd name="connsiteY1120" fmla="*/ 3629048 h 6858285"/>
              <a:gd name="connsiteX1121" fmla="*/ 543249 w 6530351"/>
              <a:gd name="connsiteY1121" fmla="*/ 3602448 h 6858285"/>
              <a:gd name="connsiteX1122" fmla="*/ 541344 w 6530351"/>
              <a:gd name="connsiteY1122" fmla="*/ 3585348 h 6858285"/>
              <a:gd name="connsiteX1123" fmla="*/ 569919 w 6530351"/>
              <a:gd name="connsiteY1123" fmla="*/ 3543548 h 6858285"/>
              <a:gd name="connsiteX1124" fmla="*/ 910919 w 6530351"/>
              <a:gd name="connsiteY1124" fmla="*/ 3406748 h 6858285"/>
              <a:gd name="connsiteX1125" fmla="*/ 928451 w 6530351"/>
              <a:gd name="connsiteY1125" fmla="*/ 3403423 h 6858285"/>
              <a:gd name="connsiteX1126" fmla="*/ 4843491 w 6530351"/>
              <a:gd name="connsiteY1126" fmla="*/ 3396586 h 6858285"/>
              <a:gd name="connsiteX1127" fmla="*/ 4886385 w 6530351"/>
              <a:gd name="connsiteY1127" fmla="*/ 3428999 h 6858285"/>
              <a:gd name="connsiteX1128" fmla="*/ 4855883 w 6530351"/>
              <a:gd name="connsiteY1128" fmla="*/ 3491863 h 6858285"/>
              <a:gd name="connsiteX1129" fmla="*/ 4514641 w 6530351"/>
              <a:gd name="connsiteY1129" fmla="*/ 3609973 h 6858285"/>
              <a:gd name="connsiteX1130" fmla="*/ 4451729 w 6530351"/>
              <a:gd name="connsiteY1130" fmla="*/ 3579493 h 6858285"/>
              <a:gd name="connsiteX1131" fmla="*/ 4449823 w 6530351"/>
              <a:gd name="connsiteY1131" fmla="*/ 3564253 h 6858285"/>
              <a:gd name="connsiteX1132" fmla="*/ 4482231 w 6530351"/>
              <a:gd name="connsiteY1132" fmla="*/ 3518533 h 6858285"/>
              <a:gd name="connsiteX1133" fmla="*/ 4823475 w 6530351"/>
              <a:gd name="connsiteY1133" fmla="*/ 3398521 h 6858285"/>
              <a:gd name="connsiteX1134" fmla="*/ 4843491 w 6530351"/>
              <a:gd name="connsiteY1134" fmla="*/ 3396586 h 6858285"/>
              <a:gd name="connsiteX1135" fmla="*/ 1478780 w 6530351"/>
              <a:gd name="connsiteY1135" fmla="*/ 3396584 h 6858285"/>
              <a:gd name="connsiteX1136" fmla="*/ 1522745 w 6530351"/>
              <a:gd name="connsiteY1136" fmla="*/ 3428999 h 6858285"/>
              <a:gd name="connsiteX1137" fmla="*/ 1492243 w 6530351"/>
              <a:gd name="connsiteY1137" fmla="*/ 3491863 h 6858285"/>
              <a:gd name="connsiteX1138" fmla="*/ 1149094 w 6530351"/>
              <a:gd name="connsiteY1138" fmla="*/ 3609973 h 6858285"/>
              <a:gd name="connsiteX1139" fmla="*/ 1088090 w 6530351"/>
              <a:gd name="connsiteY1139" fmla="*/ 3579493 h 6858285"/>
              <a:gd name="connsiteX1140" fmla="*/ 1084277 w 6530351"/>
              <a:gd name="connsiteY1140" fmla="*/ 3564253 h 6858285"/>
              <a:gd name="connsiteX1141" fmla="*/ 1116686 w 6530351"/>
              <a:gd name="connsiteY1141" fmla="*/ 3518533 h 6858285"/>
              <a:gd name="connsiteX1142" fmla="*/ 1459835 w 6530351"/>
              <a:gd name="connsiteY1142" fmla="*/ 3398519 h 6858285"/>
              <a:gd name="connsiteX1143" fmla="*/ 1478780 w 6530351"/>
              <a:gd name="connsiteY1143" fmla="*/ 3396584 h 6858285"/>
              <a:gd name="connsiteX1144" fmla="*/ 4288643 w 6530351"/>
              <a:gd name="connsiteY1144" fmla="*/ 3390089 h 6858285"/>
              <a:gd name="connsiteX1145" fmla="*/ 4332339 w 6530351"/>
              <a:gd name="connsiteY1145" fmla="*/ 3426840 h 6858285"/>
              <a:gd name="connsiteX1146" fmla="*/ 4298025 w 6530351"/>
              <a:gd name="connsiteY1146" fmla="*/ 3491704 h 6858285"/>
              <a:gd name="connsiteX1147" fmla="*/ 3954881 w 6530351"/>
              <a:gd name="connsiteY1147" fmla="*/ 3592817 h 6858285"/>
              <a:gd name="connsiteX1148" fmla="*/ 3888159 w 6530351"/>
              <a:gd name="connsiteY1148" fmla="*/ 3556569 h 6858285"/>
              <a:gd name="connsiteX1149" fmla="*/ 3886251 w 6530351"/>
              <a:gd name="connsiteY1149" fmla="*/ 3541306 h 6858285"/>
              <a:gd name="connsiteX1150" fmla="*/ 3924379 w 6530351"/>
              <a:gd name="connsiteY1150" fmla="*/ 3491704 h 6858285"/>
              <a:gd name="connsiteX1151" fmla="*/ 4267523 w 6530351"/>
              <a:gd name="connsiteY1151" fmla="*/ 3392503 h 6858285"/>
              <a:gd name="connsiteX1152" fmla="*/ 4288643 w 6530351"/>
              <a:gd name="connsiteY1152" fmla="*/ 3390089 h 6858285"/>
              <a:gd name="connsiteX1153" fmla="*/ 2035427 w 6530351"/>
              <a:gd name="connsiteY1153" fmla="*/ 3390086 h 6858285"/>
              <a:gd name="connsiteX1154" fmla="*/ 2079959 w 6530351"/>
              <a:gd name="connsiteY1154" fmla="*/ 3426840 h 6858285"/>
              <a:gd name="connsiteX1155" fmla="*/ 2043713 w 6530351"/>
              <a:gd name="connsiteY1155" fmla="*/ 3491704 h 6858285"/>
              <a:gd name="connsiteX1156" fmla="*/ 1700328 w 6530351"/>
              <a:gd name="connsiteY1156" fmla="*/ 3592817 h 6858285"/>
              <a:gd name="connsiteX1157" fmla="*/ 1635467 w 6530351"/>
              <a:gd name="connsiteY1157" fmla="*/ 3556569 h 6858285"/>
              <a:gd name="connsiteX1158" fmla="*/ 1633559 w 6530351"/>
              <a:gd name="connsiteY1158" fmla="*/ 3541306 h 6858285"/>
              <a:gd name="connsiteX1159" fmla="*/ 1671713 w 6530351"/>
              <a:gd name="connsiteY1159" fmla="*/ 3491704 h 6858285"/>
              <a:gd name="connsiteX1160" fmla="*/ 2015098 w 6530351"/>
              <a:gd name="connsiteY1160" fmla="*/ 3392501 h 6858285"/>
              <a:gd name="connsiteX1161" fmla="*/ 2035427 w 6530351"/>
              <a:gd name="connsiteY1161" fmla="*/ 3390086 h 6858285"/>
              <a:gd name="connsiteX1162" fmla="*/ 3729547 w 6530351"/>
              <a:gd name="connsiteY1162" fmla="*/ 3384850 h 6858285"/>
              <a:gd name="connsiteX1163" fmla="*/ 3773841 w 6530351"/>
              <a:gd name="connsiteY1163" fmla="*/ 3427575 h 6858285"/>
              <a:gd name="connsiteX1164" fmla="*/ 3733751 w 6530351"/>
              <a:gd name="connsiteY1164" fmla="*/ 3494041 h 6858285"/>
              <a:gd name="connsiteX1165" fmla="*/ 3388230 w 6530351"/>
              <a:gd name="connsiteY1165" fmla="*/ 3575701 h 6858285"/>
              <a:gd name="connsiteX1166" fmla="*/ 3321416 w 6530351"/>
              <a:gd name="connsiteY1166" fmla="*/ 3533921 h 6858285"/>
              <a:gd name="connsiteX1167" fmla="*/ 3319507 w 6530351"/>
              <a:gd name="connsiteY1167" fmla="*/ 3520628 h 6858285"/>
              <a:gd name="connsiteX1168" fmla="*/ 3361504 w 6530351"/>
              <a:gd name="connsiteY1168" fmla="*/ 3465555 h 6858285"/>
              <a:gd name="connsiteX1169" fmla="*/ 3707027 w 6530351"/>
              <a:gd name="connsiteY1169" fmla="*/ 3385799 h 6858285"/>
              <a:gd name="connsiteX1170" fmla="*/ 3729547 w 6530351"/>
              <a:gd name="connsiteY1170" fmla="*/ 3384850 h 6858285"/>
              <a:gd name="connsiteX1171" fmla="*/ 2596056 w 6530351"/>
              <a:gd name="connsiteY1171" fmla="*/ 3384845 h 6858285"/>
              <a:gd name="connsiteX1172" fmla="*/ 2640350 w 6530351"/>
              <a:gd name="connsiteY1172" fmla="*/ 3427574 h 6858285"/>
              <a:gd name="connsiteX1173" fmla="*/ 2598353 w 6530351"/>
              <a:gd name="connsiteY1173" fmla="*/ 3494041 h 6858285"/>
              <a:gd name="connsiteX1174" fmla="*/ 2254740 w 6530351"/>
              <a:gd name="connsiteY1174" fmla="*/ 3575701 h 6858285"/>
              <a:gd name="connsiteX1175" fmla="*/ 2187926 w 6530351"/>
              <a:gd name="connsiteY1175" fmla="*/ 3533921 h 6858285"/>
              <a:gd name="connsiteX1176" fmla="*/ 2186017 w 6530351"/>
              <a:gd name="connsiteY1176" fmla="*/ 3520628 h 6858285"/>
              <a:gd name="connsiteX1177" fmla="*/ 2228014 w 6530351"/>
              <a:gd name="connsiteY1177" fmla="*/ 3465555 h 6858285"/>
              <a:gd name="connsiteX1178" fmla="*/ 2573536 w 6530351"/>
              <a:gd name="connsiteY1178" fmla="*/ 3385794 h 6858285"/>
              <a:gd name="connsiteX1179" fmla="*/ 2596056 w 6530351"/>
              <a:gd name="connsiteY1179" fmla="*/ 3384845 h 6858285"/>
              <a:gd name="connsiteX1180" fmla="*/ 3137310 w 6530351"/>
              <a:gd name="connsiteY1180" fmla="*/ 3377570 h 6858285"/>
              <a:gd name="connsiteX1181" fmla="*/ 3205845 w 6530351"/>
              <a:gd name="connsiteY1181" fmla="*/ 3425189 h 6858285"/>
              <a:gd name="connsiteX1182" fmla="*/ 3158251 w 6530351"/>
              <a:gd name="connsiteY1182" fmla="*/ 3493768 h 6858285"/>
              <a:gd name="connsiteX1183" fmla="*/ 2813675 w 6530351"/>
              <a:gd name="connsiteY1183" fmla="*/ 3556633 h 6858285"/>
              <a:gd name="connsiteX1184" fmla="*/ 2745141 w 6530351"/>
              <a:gd name="connsiteY1184" fmla="*/ 3509008 h 6858285"/>
              <a:gd name="connsiteX1185" fmla="*/ 2743237 w 6530351"/>
              <a:gd name="connsiteY1185" fmla="*/ 3497578 h 6858285"/>
              <a:gd name="connsiteX1186" fmla="*/ 2792734 w 6530351"/>
              <a:gd name="connsiteY1186" fmla="*/ 3440428 h 6858285"/>
              <a:gd name="connsiteX1187" fmla="*/ 3137310 w 6530351"/>
              <a:gd name="connsiteY1187" fmla="*/ 3377570 h 6858285"/>
              <a:gd name="connsiteX1188" fmla="*/ 6499125 w 6530351"/>
              <a:gd name="connsiteY1188" fmla="*/ 3095110 h 6858285"/>
              <a:gd name="connsiteX1189" fmla="*/ 6521239 w 6530351"/>
              <a:gd name="connsiteY1189" fmla="*/ 3114446 h 6858285"/>
              <a:gd name="connsiteX1190" fmla="*/ 6506021 w 6530351"/>
              <a:gd name="connsiteY1190" fmla="*/ 3167912 h 6858285"/>
              <a:gd name="connsiteX1191" fmla="*/ 6167435 w 6530351"/>
              <a:gd name="connsiteY1191" fmla="*/ 3341681 h 6858285"/>
              <a:gd name="connsiteX1192" fmla="*/ 6116077 w 6530351"/>
              <a:gd name="connsiteY1192" fmla="*/ 3326402 h 6858285"/>
              <a:gd name="connsiteX1193" fmla="*/ 6110371 w 6530351"/>
              <a:gd name="connsiteY1193" fmla="*/ 3307308 h 6858285"/>
              <a:gd name="connsiteX1194" fmla="*/ 6131293 w 6530351"/>
              <a:gd name="connsiteY1194" fmla="*/ 3272939 h 6858285"/>
              <a:gd name="connsiteX1195" fmla="*/ 6469879 w 6530351"/>
              <a:gd name="connsiteY1195" fmla="*/ 3097261 h 6858285"/>
              <a:gd name="connsiteX1196" fmla="*/ 6499125 w 6530351"/>
              <a:gd name="connsiteY1196" fmla="*/ 3095110 h 6858285"/>
              <a:gd name="connsiteX1197" fmla="*/ 5958981 w 6530351"/>
              <a:gd name="connsiteY1197" fmla="*/ 3091501 h 6858285"/>
              <a:gd name="connsiteX1198" fmla="*/ 5983341 w 6530351"/>
              <a:gd name="connsiteY1198" fmla="*/ 3113352 h 6858285"/>
              <a:gd name="connsiteX1199" fmla="*/ 5962323 w 6530351"/>
              <a:gd name="connsiteY1199" fmla="*/ 3170357 h 6858285"/>
              <a:gd name="connsiteX1200" fmla="*/ 5620319 w 6530351"/>
              <a:gd name="connsiteY1200" fmla="*/ 3324265 h 6858285"/>
              <a:gd name="connsiteX1201" fmla="*/ 5564909 w 6530351"/>
              <a:gd name="connsiteY1201" fmla="*/ 3301466 h 6858285"/>
              <a:gd name="connsiteX1202" fmla="*/ 5561087 w 6530351"/>
              <a:gd name="connsiteY1202" fmla="*/ 3284366 h 6858285"/>
              <a:gd name="connsiteX1203" fmla="*/ 5585927 w 6530351"/>
              <a:gd name="connsiteY1203" fmla="*/ 3246361 h 6858285"/>
              <a:gd name="connsiteX1204" fmla="*/ 5926021 w 6530351"/>
              <a:gd name="connsiteY1204" fmla="*/ 3092452 h 6858285"/>
              <a:gd name="connsiteX1205" fmla="*/ 5958981 w 6530351"/>
              <a:gd name="connsiteY1205" fmla="*/ 3091501 h 6858285"/>
              <a:gd name="connsiteX1206" fmla="*/ 399604 w 6530351"/>
              <a:gd name="connsiteY1206" fmla="*/ 3091489 h 6858285"/>
              <a:gd name="connsiteX1207" fmla="*/ 423875 w 6530351"/>
              <a:gd name="connsiteY1207" fmla="*/ 3113341 h 6858285"/>
              <a:gd name="connsiteX1208" fmla="*/ 401031 w 6530351"/>
              <a:gd name="connsiteY1208" fmla="*/ 3170346 h 6858285"/>
              <a:gd name="connsiteX1209" fmla="*/ 62187 w 6530351"/>
              <a:gd name="connsiteY1209" fmla="*/ 3324257 h 6858285"/>
              <a:gd name="connsiteX1210" fmla="*/ 6982 w 6530351"/>
              <a:gd name="connsiteY1210" fmla="*/ 3301458 h 6858285"/>
              <a:gd name="connsiteX1211" fmla="*/ 3175 w 6530351"/>
              <a:gd name="connsiteY1211" fmla="*/ 3284355 h 6858285"/>
              <a:gd name="connsiteX1212" fmla="*/ 27922 w 6530351"/>
              <a:gd name="connsiteY1212" fmla="*/ 3246351 h 6858285"/>
              <a:gd name="connsiteX1213" fmla="*/ 366766 w 6530351"/>
              <a:gd name="connsiteY1213" fmla="*/ 3092440 h 6858285"/>
              <a:gd name="connsiteX1214" fmla="*/ 399604 w 6530351"/>
              <a:gd name="connsiteY1214" fmla="*/ 3091489 h 6858285"/>
              <a:gd name="connsiteX1215" fmla="*/ 5376351 w 6530351"/>
              <a:gd name="connsiteY1215" fmla="*/ 3084221 h 6858285"/>
              <a:gd name="connsiteX1216" fmla="*/ 5437269 w 6530351"/>
              <a:gd name="connsiteY1216" fmla="*/ 3110889 h 6858285"/>
              <a:gd name="connsiteX1217" fmla="*/ 5410617 w 6530351"/>
              <a:gd name="connsiteY1217" fmla="*/ 3171849 h 6858285"/>
              <a:gd name="connsiteX1218" fmla="*/ 5069863 w 6530351"/>
              <a:gd name="connsiteY1218" fmla="*/ 3305194 h 6858285"/>
              <a:gd name="connsiteX1219" fmla="*/ 5010851 w 6530351"/>
              <a:gd name="connsiteY1219" fmla="*/ 3278527 h 6858285"/>
              <a:gd name="connsiteX1220" fmla="*/ 5007043 w 6530351"/>
              <a:gd name="connsiteY1220" fmla="*/ 3261383 h 6858285"/>
              <a:gd name="connsiteX1221" fmla="*/ 5037501 w 6530351"/>
              <a:gd name="connsiteY1221" fmla="*/ 3217569 h 6858285"/>
              <a:gd name="connsiteX1222" fmla="*/ 5376351 w 6530351"/>
              <a:gd name="connsiteY1222" fmla="*/ 3084221 h 6858285"/>
              <a:gd name="connsiteX1223" fmla="*/ 910969 w 6530351"/>
              <a:gd name="connsiteY1223" fmla="*/ 3084205 h 6858285"/>
              <a:gd name="connsiteX1224" fmla="*/ 969983 w 6530351"/>
              <a:gd name="connsiteY1224" fmla="*/ 3110874 h 6858285"/>
              <a:gd name="connsiteX1225" fmla="*/ 945235 w 6530351"/>
              <a:gd name="connsiteY1225" fmla="*/ 3171835 h 6858285"/>
              <a:gd name="connsiteX1226" fmla="*/ 604481 w 6530351"/>
              <a:gd name="connsiteY1226" fmla="*/ 3305182 h 6858285"/>
              <a:gd name="connsiteX1227" fmla="*/ 543564 w 6530351"/>
              <a:gd name="connsiteY1227" fmla="*/ 3278513 h 6858285"/>
              <a:gd name="connsiteX1228" fmla="*/ 539757 w 6530351"/>
              <a:gd name="connsiteY1228" fmla="*/ 3261369 h 6858285"/>
              <a:gd name="connsiteX1229" fmla="*/ 570215 w 6530351"/>
              <a:gd name="connsiteY1229" fmla="*/ 3217554 h 6858285"/>
              <a:gd name="connsiteX1230" fmla="*/ 910969 w 6530351"/>
              <a:gd name="connsiteY1230" fmla="*/ 3084205 h 6858285"/>
              <a:gd name="connsiteX1231" fmla="*/ 4845165 w 6530351"/>
              <a:gd name="connsiteY1231" fmla="*/ 3075490 h 6858285"/>
              <a:gd name="connsiteX1232" fmla="*/ 4888295 w 6530351"/>
              <a:gd name="connsiteY1232" fmla="*/ 3110630 h 6858285"/>
              <a:gd name="connsiteX1233" fmla="*/ 4855911 w 6530351"/>
              <a:gd name="connsiteY1233" fmla="*/ 3173582 h 6858285"/>
              <a:gd name="connsiteX1234" fmla="*/ 4514911 w 6530351"/>
              <a:gd name="connsiteY1234" fmla="*/ 3286132 h 6858285"/>
              <a:gd name="connsiteX1235" fmla="*/ 4450141 w 6530351"/>
              <a:gd name="connsiteY1235" fmla="*/ 3253702 h 6858285"/>
              <a:gd name="connsiteX1236" fmla="*/ 4448235 w 6530351"/>
              <a:gd name="connsiteY1236" fmla="*/ 3238438 h 6858285"/>
              <a:gd name="connsiteX1237" fmla="*/ 4482525 w 6530351"/>
              <a:gd name="connsiteY1237" fmla="*/ 3190752 h 6858285"/>
              <a:gd name="connsiteX1238" fmla="*/ 4825431 w 6530351"/>
              <a:gd name="connsiteY1238" fmla="*/ 3078201 h 6858285"/>
              <a:gd name="connsiteX1239" fmla="*/ 4845165 w 6530351"/>
              <a:gd name="connsiteY1239" fmla="*/ 3075490 h 6858285"/>
              <a:gd name="connsiteX1240" fmla="*/ 1479607 w 6530351"/>
              <a:gd name="connsiteY1240" fmla="*/ 3075472 h 6858285"/>
              <a:gd name="connsiteX1241" fmla="*/ 1522440 w 6530351"/>
              <a:gd name="connsiteY1241" fmla="*/ 3110614 h 6858285"/>
              <a:gd name="connsiteX1242" fmla="*/ 1491981 w 6530351"/>
              <a:gd name="connsiteY1242" fmla="*/ 3173568 h 6858285"/>
              <a:gd name="connsiteX1243" fmla="*/ 1149318 w 6530351"/>
              <a:gd name="connsiteY1243" fmla="*/ 3286117 h 6858285"/>
              <a:gd name="connsiteX1244" fmla="*/ 1086496 w 6530351"/>
              <a:gd name="connsiteY1244" fmla="*/ 3253688 h 6858285"/>
              <a:gd name="connsiteX1245" fmla="*/ 1082689 w 6530351"/>
              <a:gd name="connsiteY1245" fmla="*/ 3238426 h 6858285"/>
              <a:gd name="connsiteX1246" fmla="*/ 1118859 w 6530351"/>
              <a:gd name="connsiteY1246" fmla="*/ 3190736 h 6858285"/>
              <a:gd name="connsiteX1247" fmla="*/ 1459618 w 6530351"/>
              <a:gd name="connsiteY1247" fmla="*/ 3078184 h 6858285"/>
              <a:gd name="connsiteX1248" fmla="*/ 1479607 w 6530351"/>
              <a:gd name="connsiteY1248" fmla="*/ 3075472 h 6858285"/>
              <a:gd name="connsiteX1249" fmla="*/ 4290303 w 6530351"/>
              <a:gd name="connsiteY1249" fmla="*/ 3070230 h 6858285"/>
              <a:gd name="connsiteX1250" fmla="*/ 4333941 w 6530351"/>
              <a:gd name="connsiteY1250" fmla="*/ 3109551 h 6858285"/>
              <a:gd name="connsiteX1251" fmla="*/ 4295867 w 6530351"/>
              <a:gd name="connsiteY1251" fmla="*/ 3176122 h 6858285"/>
              <a:gd name="connsiteX1252" fmla="*/ 3953199 w 6530351"/>
              <a:gd name="connsiteY1252" fmla="*/ 3267426 h 6858285"/>
              <a:gd name="connsiteX1253" fmla="*/ 3886569 w 6530351"/>
              <a:gd name="connsiteY1253" fmla="*/ 3229382 h 6858285"/>
              <a:gd name="connsiteX1254" fmla="*/ 3884665 w 6530351"/>
              <a:gd name="connsiteY1254" fmla="*/ 3216071 h 6858285"/>
              <a:gd name="connsiteX1255" fmla="*/ 3924643 w 6530351"/>
              <a:gd name="connsiteY1255" fmla="*/ 3164714 h 6858285"/>
              <a:gd name="connsiteX1256" fmla="*/ 4269215 w 6530351"/>
              <a:gd name="connsiteY1256" fmla="*/ 3071510 h 6858285"/>
              <a:gd name="connsiteX1257" fmla="*/ 4290303 w 6530351"/>
              <a:gd name="connsiteY1257" fmla="*/ 3070230 h 6858285"/>
              <a:gd name="connsiteX1258" fmla="*/ 2036284 w 6530351"/>
              <a:gd name="connsiteY1258" fmla="*/ 3070212 h 6858285"/>
              <a:gd name="connsiteX1259" fmla="*/ 2081558 w 6530351"/>
              <a:gd name="connsiteY1259" fmla="*/ 3109532 h 6858285"/>
              <a:gd name="connsiteX1260" fmla="*/ 2043457 w 6530351"/>
              <a:gd name="connsiteY1260" fmla="*/ 3176106 h 6858285"/>
              <a:gd name="connsiteX1261" fmla="*/ 1700553 w 6530351"/>
              <a:gd name="connsiteY1261" fmla="*/ 3267409 h 6858285"/>
              <a:gd name="connsiteX1262" fmla="*/ 1633877 w 6530351"/>
              <a:gd name="connsiteY1262" fmla="*/ 3229366 h 6858285"/>
              <a:gd name="connsiteX1263" fmla="*/ 1631972 w 6530351"/>
              <a:gd name="connsiteY1263" fmla="*/ 3216051 h 6858285"/>
              <a:gd name="connsiteX1264" fmla="*/ 1671978 w 6530351"/>
              <a:gd name="connsiteY1264" fmla="*/ 3164695 h 6858285"/>
              <a:gd name="connsiteX1265" fmla="*/ 2014882 w 6530351"/>
              <a:gd name="connsiteY1265" fmla="*/ 3071490 h 6858285"/>
              <a:gd name="connsiteX1266" fmla="*/ 2036284 w 6530351"/>
              <a:gd name="connsiteY1266" fmla="*/ 3070212 h 6858285"/>
              <a:gd name="connsiteX1267" fmla="*/ 3731235 w 6530351"/>
              <a:gd name="connsiteY1267" fmla="*/ 3064526 h 6858285"/>
              <a:gd name="connsiteX1268" fmla="*/ 3777345 w 6530351"/>
              <a:gd name="connsiteY1268" fmla="*/ 3109067 h 6858285"/>
              <a:gd name="connsiteX1269" fmla="*/ 3731593 w 6530351"/>
              <a:gd name="connsiteY1269" fmla="*/ 3177757 h 6858285"/>
              <a:gd name="connsiteX1270" fmla="*/ 3386548 w 6530351"/>
              <a:gd name="connsiteY1270" fmla="*/ 3250258 h 6858285"/>
              <a:gd name="connsiteX1271" fmla="*/ 3317920 w 6530351"/>
              <a:gd name="connsiteY1271" fmla="*/ 3204467 h 6858285"/>
              <a:gd name="connsiteX1272" fmla="*/ 3317920 w 6530351"/>
              <a:gd name="connsiteY1272" fmla="*/ 3193018 h 6858285"/>
              <a:gd name="connsiteX1273" fmla="*/ 3363672 w 6530351"/>
              <a:gd name="connsiteY1273" fmla="*/ 3135781 h 6858285"/>
              <a:gd name="connsiteX1274" fmla="*/ 3708717 w 6530351"/>
              <a:gd name="connsiteY1274" fmla="*/ 3065182 h 6858285"/>
              <a:gd name="connsiteX1275" fmla="*/ 3731235 w 6530351"/>
              <a:gd name="connsiteY1275" fmla="*/ 3064526 h 6858285"/>
              <a:gd name="connsiteX1276" fmla="*/ 2597745 w 6530351"/>
              <a:gd name="connsiteY1276" fmla="*/ 3064505 h 6858285"/>
              <a:gd name="connsiteX1277" fmla="*/ 2643854 w 6530351"/>
              <a:gd name="connsiteY1277" fmla="*/ 3109046 h 6858285"/>
              <a:gd name="connsiteX1278" fmla="*/ 2598102 w 6530351"/>
              <a:gd name="connsiteY1278" fmla="*/ 3177737 h 6858285"/>
              <a:gd name="connsiteX1279" fmla="*/ 2253057 w 6530351"/>
              <a:gd name="connsiteY1279" fmla="*/ 3250241 h 6858285"/>
              <a:gd name="connsiteX1280" fmla="*/ 2184429 w 6530351"/>
              <a:gd name="connsiteY1280" fmla="*/ 3204449 h 6858285"/>
              <a:gd name="connsiteX1281" fmla="*/ 2184429 w 6530351"/>
              <a:gd name="connsiteY1281" fmla="*/ 3193000 h 6858285"/>
              <a:gd name="connsiteX1282" fmla="*/ 2230181 w 6530351"/>
              <a:gd name="connsiteY1282" fmla="*/ 3135760 h 6858285"/>
              <a:gd name="connsiteX1283" fmla="*/ 2575226 w 6530351"/>
              <a:gd name="connsiteY1283" fmla="*/ 3065161 h 6858285"/>
              <a:gd name="connsiteX1284" fmla="*/ 2597745 w 6530351"/>
              <a:gd name="connsiteY1284" fmla="*/ 3064505 h 6858285"/>
              <a:gd name="connsiteX1285" fmla="*/ 3138997 w 6530351"/>
              <a:gd name="connsiteY1285" fmla="*/ 3058185 h 6858285"/>
              <a:gd name="connsiteX1286" fmla="*/ 3209341 w 6530351"/>
              <a:gd name="connsiteY1286" fmla="*/ 3111524 h 6858285"/>
              <a:gd name="connsiteX1287" fmla="*/ 3156107 w 6530351"/>
              <a:gd name="connsiteY1287" fmla="*/ 3180105 h 6858285"/>
              <a:gd name="connsiteX1288" fmla="*/ 2811993 w 6530351"/>
              <a:gd name="connsiteY1288" fmla="*/ 3231532 h 6858285"/>
              <a:gd name="connsiteX1289" fmla="*/ 2741649 w 6530351"/>
              <a:gd name="connsiteY1289" fmla="*/ 3180105 h 6858285"/>
              <a:gd name="connsiteX1290" fmla="*/ 2741649 w 6530351"/>
              <a:gd name="connsiteY1290" fmla="*/ 3170578 h 6858285"/>
              <a:gd name="connsiteX1291" fmla="*/ 2792981 w 6530351"/>
              <a:gd name="connsiteY1291" fmla="*/ 3109621 h 6858285"/>
              <a:gd name="connsiteX1292" fmla="*/ 3138997 w 6530351"/>
              <a:gd name="connsiteY1292" fmla="*/ 3058185 h 6858285"/>
              <a:gd name="connsiteX1293" fmla="*/ 6499417 w 6530351"/>
              <a:gd name="connsiteY1293" fmla="*/ 2774395 h 6858285"/>
              <a:gd name="connsiteX1294" fmla="*/ 6521545 w 6530351"/>
              <a:gd name="connsiteY1294" fmla="*/ 2793610 h 6858285"/>
              <a:gd name="connsiteX1295" fmla="*/ 6506317 w 6530351"/>
              <a:gd name="connsiteY1295" fmla="*/ 2844860 h 6858285"/>
              <a:gd name="connsiteX1296" fmla="*/ 6167477 w 6530351"/>
              <a:gd name="connsiteY1296" fmla="*/ 3019485 h 6858285"/>
              <a:gd name="connsiteX1297" fmla="*/ 6116081 w 6530351"/>
              <a:gd name="connsiteY1297" fmla="*/ 3002403 h 6858285"/>
              <a:gd name="connsiteX1298" fmla="*/ 6110371 w 6530351"/>
              <a:gd name="connsiteY1298" fmla="*/ 2985319 h 6858285"/>
              <a:gd name="connsiteX1299" fmla="*/ 6131309 w 6530351"/>
              <a:gd name="connsiteY1299" fmla="*/ 2951155 h 6858285"/>
              <a:gd name="connsiteX1300" fmla="*/ 6470149 w 6530351"/>
              <a:gd name="connsiteY1300" fmla="*/ 2776528 h 6858285"/>
              <a:gd name="connsiteX1301" fmla="*/ 6499417 w 6530351"/>
              <a:gd name="connsiteY1301" fmla="*/ 2774395 h 6858285"/>
              <a:gd name="connsiteX1302" fmla="*/ 5959697 w 6530351"/>
              <a:gd name="connsiteY1302" fmla="*/ 2769251 h 6858285"/>
              <a:gd name="connsiteX1303" fmla="*/ 5983341 w 6530351"/>
              <a:gd name="connsiteY1303" fmla="*/ 2791128 h 6858285"/>
              <a:gd name="connsiteX1304" fmla="*/ 5962323 w 6530351"/>
              <a:gd name="connsiteY1304" fmla="*/ 2848205 h 6858285"/>
              <a:gd name="connsiteX1305" fmla="*/ 5620319 w 6530351"/>
              <a:gd name="connsiteY1305" fmla="*/ 3000413 h 6858285"/>
              <a:gd name="connsiteX1306" fmla="*/ 5564909 w 6530351"/>
              <a:gd name="connsiteY1306" fmla="*/ 2979484 h 6858285"/>
              <a:gd name="connsiteX1307" fmla="*/ 5561087 w 6530351"/>
              <a:gd name="connsiteY1307" fmla="*/ 2960461 h 6858285"/>
              <a:gd name="connsiteX1308" fmla="*/ 5585927 w 6530351"/>
              <a:gd name="connsiteY1308" fmla="*/ 2922407 h 6858285"/>
              <a:gd name="connsiteX1309" fmla="*/ 5926021 w 6530351"/>
              <a:gd name="connsiteY1309" fmla="*/ 2770203 h 6858285"/>
              <a:gd name="connsiteX1310" fmla="*/ 5959697 w 6530351"/>
              <a:gd name="connsiteY1310" fmla="*/ 2769251 h 6858285"/>
              <a:gd name="connsiteX1311" fmla="*/ 399604 w 6530351"/>
              <a:gd name="connsiteY1311" fmla="*/ 2769236 h 6858285"/>
              <a:gd name="connsiteX1312" fmla="*/ 423875 w 6530351"/>
              <a:gd name="connsiteY1312" fmla="*/ 2791116 h 6858285"/>
              <a:gd name="connsiteX1313" fmla="*/ 401031 w 6530351"/>
              <a:gd name="connsiteY1313" fmla="*/ 2848194 h 6858285"/>
              <a:gd name="connsiteX1314" fmla="*/ 62187 w 6530351"/>
              <a:gd name="connsiteY1314" fmla="*/ 3000399 h 6858285"/>
              <a:gd name="connsiteX1315" fmla="*/ 6982 w 6530351"/>
              <a:gd name="connsiteY1315" fmla="*/ 2979471 h 6858285"/>
              <a:gd name="connsiteX1316" fmla="*/ 3175 w 6530351"/>
              <a:gd name="connsiteY1316" fmla="*/ 2960446 h 6858285"/>
              <a:gd name="connsiteX1317" fmla="*/ 27922 w 6530351"/>
              <a:gd name="connsiteY1317" fmla="*/ 2922394 h 6858285"/>
              <a:gd name="connsiteX1318" fmla="*/ 366766 w 6530351"/>
              <a:gd name="connsiteY1318" fmla="*/ 2770189 h 6858285"/>
              <a:gd name="connsiteX1319" fmla="*/ 399604 w 6530351"/>
              <a:gd name="connsiteY1319" fmla="*/ 2769236 h 6858285"/>
              <a:gd name="connsiteX1320" fmla="*/ 5396043 w 6530351"/>
              <a:gd name="connsiteY1320" fmla="*/ 2760541 h 6858285"/>
              <a:gd name="connsiteX1321" fmla="*/ 5437269 w 6530351"/>
              <a:gd name="connsiteY1321" fmla="*/ 2790581 h 6858285"/>
              <a:gd name="connsiteX1322" fmla="*/ 5410617 w 6530351"/>
              <a:gd name="connsiteY1322" fmla="*/ 2851623 h 6858285"/>
              <a:gd name="connsiteX1323" fmla="*/ 5069863 w 6530351"/>
              <a:gd name="connsiteY1323" fmla="*/ 2981339 h 6858285"/>
              <a:gd name="connsiteX1324" fmla="*/ 5008947 w 6530351"/>
              <a:gd name="connsiteY1324" fmla="*/ 2954633 h 6858285"/>
              <a:gd name="connsiteX1325" fmla="*/ 5007043 w 6530351"/>
              <a:gd name="connsiteY1325" fmla="*/ 2937464 h 6858285"/>
              <a:gd name="connsiteX1326" fmla="*/ 5037501 w 6530351"/>
              <a:gd name="connsiteY1326" fmla="*/ 2893591 h 6858285"/>
              <a:gd name="connsiteX1327" fmla="*/ 5378255 w 6530351"/>
              <a:gd name="connsiteY1327" fmla="*/ 2763877 h 6858285"/>
              <a:gd name="connsiteX1328" fmla="*/ 5396043 w 6530351"/>
              <a:gd name="connsiteY1328" fmla="*/ 2760541 h 6858285"/>
              <a:gd name="connsiteX1329" fmla="*/ 930712 w 6530351"/>
              <a:gd name="connsiteY1329" fmla="*/ 2760523 h 6858285"/>
              <a:gd name="connsiteX1330" fmla="*/ 973130 w 6530351"/>
              <a:gd name="connsiteY1330" fmla="*/ 2790565 h 6858285"/>
              <a:gd name="connsiteX1331" fmla="*/ 946402 w 6530351"/>
              <a:gd name="connsiteY1331" fmla="*/ 2851609 h 6858285"/>
              <a:gd name="connsiteX1332" fmla="*/ 604668 w 6530351"/>
              <a:gd name="connsiteY1332" fmla="*/ 2981323 h 6858285"/>
              <a:gd name="connsiteX1333" fmla="*/ 543575 w 6530351"/>
              <a:gd name="connsiteY1333" fmla="*/ 2954616 h 6858285"/>
              <a:gd name="connsiteX1334" fmla="*/ 539757 w 6530351"/>
              <a:gd name="connsiteY1334" fmla="*/ 2937448 h 6858285"/>
              <a:gd name="connsiteX1335" fmla="*/ 570303 w 6530351"/>
              <a:gd name="connsiteY1335" fmla="*/ 2893575 h 6858285"/>
              <a:gd name="connsiteX1336" fmla="*/ 912038 w 6530351"/>
              <a:gd name="connsiteY1336" fmla="*/ 2763862 h 6858285"/>
              <a:gd name="connsiteX1337" fmla="*/ 930712 w 6530351"/>
              <a:gd name="connsiteY1337" fmla="*/ 2760523 h 6858285"/>
              <a:gd name="connsiteX1338" fmla="*/ 4845219 w 6530351"/>
              <a:gd name="connsiteY1338" fmla="*/ 2755581 h 6858285"/>
              <a:gd name="connsiteX1339" fmla="*/ 4889895 w 6530351"/>
              <a:gd name="connsiteY1339" fmla="*/ 2791423 h 6858285"/>
              <a:gd name="connsiteX1340" fmla="*/ 4855653 w 6530351"/>
              <a:gd name="connsiteY1340" fmla="*/ 2856101 h 6858285"/>
              <a:gd name="connsiteX1341" fmla="*/ 4513231 w 6530351"/>
              <a:gd name="connsiteY1341" fmla="*/ 2962630 h 6858285"/>
              <a:gd name="connsiteX1342" fmla="*/ 4448551 w 6530351"/>
              <a:gd name="connsiteY1342" fmla="*/ 2928389 h 6858285"/>
              <a:gd name="connsiteX1343" fmla="*/ 4446647 w 6530351"/>
              <a:gd name="connsiteY1343" fmla="*/ 2913171 h 6858285"/>
              <a:gd name="connsiteX1344" fmla="*/ 4482793 w 6530351"/>
              <a:gd name="connsiteY1344" fmla="*/ 2863710 h 6858285"/>
              <a:gd name="connsiteX1345" fmla="*/ 4825215 w 6530351"/>
              <a:gd name="connsiteY1345" fmla="*/ 2757187 h 6858285"/>
              <a:gd name="connsiteX1346" fmla="*/ 4845219 w 6530351"/>
              <a:gd name="connsiteY1346" fmla="*/ 2755581 h 6858285"/>
              <a:gd name="connsiteX1347" fmla="*/ 1482634 w 6530351"/>
              <a:gd name="connsiteY1347" fmla="*/ 2755562 h 6858285"/>
              <a:gd name="connsiteX1348" fmla="*/ 1525588 w 6530351"/>
              <a:gd name="connsiteY1348" fmla="*/ 2791407 h 6858285"/>
              <a:gd name="connsiteX1349" fmla="*/ 1493134 w 6530351"/>
              <a:gd name="connsiteY1349" fmla="*/ 2856085 h 6858285"/>
              <a:gd name="connsiteX1350" fmla="*/ 1149506 w 6530351"/>
              <a:gd name="connsiteY1350" fmla="*/ 2962612 h 6858285"/>
              <a:gd name="connsiteX1351" fmla="*/ 1084598 w 6530351"/>
              <a:gd name="connsiteY1351" fmla="*/ 2928370 h 6858285"/>
              <a:gd name="connsiteX1352" fmla="*/ 1082689 w 6530351"/>
              <a:gd name="connsiteY1352" fmla="*/ 2913153 h 6858285"/>
              <a:gd name="connsiteX1353" fmla="*/ 1118961 w 6530351"/>
              <a:gd name="connsiteY1353" fmla="*/ 2863693 h 6858285"/>
              <a:gd name="connsiteX1354" fmla="*/ 1462589 w 6530351"/>
              <a:gd name="connsiteY1354" fmla="*/ 2757168 h 6858285"/>
              <a:gd name="connsiteX1355" fmla="*/ 1482634 w 6530351"/>
              <a:gd name="connsiteY1355" fmla="*/ 2755562 h 6858285"/>
              <a:gd name="connsiteX1356" fmla="*/ 4291673 w 6530351"/>
              <a:gd name="connsiteY1356" fmla="*/ 2750396 h 6858285"/>
              <a:gd name="connsiteX1357" fmla="*/ 4335845 w 6530351"/>
              <a:gd name="connsiteY1357" fmla="*/ 2792582 h 6858285"/>
              <a:gd name="connsiteX1358" fmla="*/ 4295867 w 6530351"/>
              <a:gd name="connsiteY1358" fmla="*/ 2859465 h 6858285"/>
              <a:gd name="connsiteX1359" fmla="*/ 3953199 w 6530351"/>
              <a:gd name="connsiteY1359" fmla="*/ 2943545 h 6858285"/>
              <a:gd name="connsiteX1360" fmla="*/ 3884665 w 6530351"/>
              <a:gd name="connsiteY1360" fmla="*/ 2901507 h 6858285"/>
              <a:gd name="connsiteX1361" fmla="*/ 3884665 w 6530351"/>
              <a:gd name="connsiteY1361" fmla="*/ 2888131 h 6858285"/>
              <a:gd name="connsiteX1362" fmla="*/ 3926547 w 6530351"/>
              <a:gd name="connsiteY1362" fmla="*/ 2834624 h 6858285"/>
              <a:gd name="connsiteX1363" fmla="*/ 4269215 w 6530351"/>
              <a:gd name="connsiteY1363" fmla="*/ 2750546 h 6858285"/>
              <a:gd name="connsiteX1364" fmla="*/ 4291673 w 6530351"/>
              <a:gd name="connsiteY1364" fmla="*/ 2750396 h 6858285"/>
              <a:gd name="connsiteX1365" fmla="*/ 2037944 w 6530351"/>
              <a:gd name="connsiteY1365" fmla="*/ 2750376 h 6858285"/>
              <a:gd name="connsiteX1366" fmla="*/ 2083155 w 6530351"/>
              <a:gd name="connsiteY1366" fmla="*/ 2792565 h 6858285"/>
              <a:gd name="connsiteX1367" fmla="*/ 2043205 w 6530351"/>
              <a:gd name="connsiteY1367" fmla="*/ 2859446 h 6858285"/>
              <a:gd name="connsiteX1368" fmla="*/ 1698870 w 6530351"/>
              <a:gd name="connsiteY1368" fmla="*/ 2943524 h 6858285"/>
              <a:gd name="connsiteX1369" fmla="*/ 1632286 w 6530351"/>
              <a:gd name="connsiteY1369" fmla="*/ 2901486 h 6858285"/>
              <a:gd name="connsiteX1370" fmla="*/ 1630384 w 6530351"/>
              <a:gd name="connsiteY1370" fmla="*/ 2888109 h 6858285"/>
              <a:gd name="connsiteX1371" fmla="*/ 1672237 w 6530351"/>
              <a:gd name="connsiteY1371" fmla="*/ 2834604 h 6858285"/>
              <a:gd name="connsiteX1372" fmla="*/ 2016571 w 6530351"/>
              <a:gd name="connsiteY1372" fmla="*/ 2750526 h 6858285"/>
              <a:gd name="connsiteX1373" fmla="*/ 2037944 w 6530351"/>
              <a:gd name="connsiteY1373" fmla="*/ 2750376 h 6858285"/>
              <a:gd name="connsiteX1374" fmla="*/ 3710455 w 6530351"/>
              <a:gd name="connsiteY1374" fmla="*/ 2745765 h 6858285"/>
              <a:gd name="connsiteX1375" fmla="*/ 3778943 w 6530351"/>
              <a:gd name="connsiteY1375" fmla="*/ 2795292 h 6858285"/>
              <a:gd name="connsiteX1376" fmla="*/ 3731383 w 6530351"/>
              <a:gd name="connsiteY1376" fmla="*/ 2863875 h 6858285"/>
              <a:gd name="connsiteX1377" fmla="*/ 3385136 w 6530351"/>
              <a:gd name="connsiteY1377" fmla="*/ 2924837 h 6858285"/>
              <a:gd name="connsiteX1378" fmla="*/ 3316647 w 6530351"/>
              <a:gd name="connsiteY1378" fmla="*/ 2875305 h 6858285"/>
              <a:gd name="connsiteX1379" fmla="*/ 3314745 w 6530351"/>
              <a:gd name="connsiteY1379" fmla="*/ 2865779 h 6858285"/>
              <a:gd name="connsiteX1380" fmla="*/ 3364209 w 6530351"/>
              <a:gd name="connsiteY1380" fmla="*/ 2806724 h 6858285"/>
              <a:gd name="connsiteX1381" fmla="*/ 3710455 w 6530351"/>
              <a:gd name="connsiteY1381" fmla="*/ 2745765 h 6858285"/>
              <a:gd name="connsiteX1382" fmla="*/ 2576964 w 6530351"/>
              <a:gd name="connsiteY1382" fmla="*/ 2745743 h 6858285"/>
              <a:gd name="connsiteX1383" fmla="*/ 2645453 w 6530351"/>
              <a:gd name="connsiteY1383" fmla="*/ 2795273 h 6858285"/>
              <a:gd name="connsiteX1384" fmla="*/ 2595989 w 6530351"/>
              <a:gd name="connsiteY1384" fmla="*/ 2863852 h 6858285"/>
              <a:gd name="connsiteX1385" fmla="*/ 2251645 w 6530351"/>
              <a:gd name="connsiteY1385" fmla="*/ 2924813 h 6858285"/>
              <a:gd name="connsiteX1386" fmla="*/ 2183156 w 6530351"/>
              <a:gd name="connsiteY1386" fmla="*/ 2875282 h 6858285"/>
              <a:gd name="connsiteX1387" fmla="*/ 2181254 w 6530351"/>
              <a:gd name="connsiteY1387" fmla="*/ 2865758 h 6858285"/>
              <a:gd name="connsiteX1388" fmla="*/ 2230718 w 6530351"/>
              <a:gd name="connsiteY1388" fmla="*/ 2806703 h 6858285"/>
              <a:gd name="connsiteX1389" fmla="*/ 2576964 w 6530351"/>
              <a:gd name="connsiteY1389" fmla="*/ 2745743 h 6858285"/>
              <a:gd name="connsiteX1390" fmla="*/ 3140484 w 6530351"/>
              <a:gd name="connsiteY1390" fmla="*/ 2739127 h 6858285"/>
              <a:gd name="connsiteX1391" fmla="*/ 3210923 w 6530351"/>
              <a:gd name="connsiteY1391" fmla="*/ 2796693 h 6858285"/>
              <a:gd name="connsiteX1392" fmla="*/ 3153811 w 6530351"/>
              <a:gd name="connsiteY1392" fmla="*/ 2867695 h 6858285"/>
              <a:gd name="connsiteX1393" fmla="*/ 2807326 w 6530351"/>
              <a:gd name="connsiteY1393" fmla="*/ 2906076 h 6858285"/>
              <a:gd name="connsiteX1394" fmla="*/ 2736887 w 6530351"/>
              <a:gd name="connsiteY1394" fmla="*/ 2848505 h 6858285"/>
              <a:gd name="connsiteX1395" fmla="*/ 2736887 w 6530351"/>
              <a:gd name="connsiteY1395" fmla="*/ 2840828 h 6858285"/>
              <a:gd name="connsiteX1396" fmla="*/ 2794000 w 6530351"/>
              <a:gd name="connsiteY1396" fmla="*/ 2777505 h 6858285"/>
              <a:gd name="connsiteX1397" fmla="*/ 3140484 w 6530351"/>
              <a:gd name="connsiteY1397" fmla="*/ 2739127 h 6858285"/>
              <a:gd name="connsiteX1398" fmla="*/ 6499393 w 6530351"/>
              <a:gd name="connsiteY1398" fmla="*/ 2450537 h 6858285"/>
              <a:gd name="connsiteX1399" fmla="*/ 6521539 w 6530351"/>
              <a:gd name="connsiteY1399" fmla="*/ 2469736 h 6858285"/>
              <a:gd name="connsiteX1400" fmla="*/ 6506299 w 6530351"/>
              <a:gd name="connsiteY1400" fmla="*/ 2520927 h 6858285"/>
              <a:gd name="connsiteX1401" fmla="*/ 6167203 w 6530351"/>
              <a:gd name="connsiteY1401" fmla="*/ 2697229 h 6858285"/>
              <a:gd name="connsiteX1402" fmla="*/ 6115769 w 6530351"/>
              <a:gd name="connsiteY1402" fmla="*/ 2680166 h 6858285"/>
              <a:gd name="connsiteX1403" fmla="*/ 6111959 w 6530351"/>
              <a:gd name="connsiteY1403" fmla="*/ 2663100 h 6858285"/>
              <a:gd name="connsiteX1404" fmla="*/ 6131009 w 6530351"/>
              <a:gd name="connsiteY1404" fmla="*/ 2628979 h 6858285"/>
              <a:gd name="connsiteX1405" fmla="*/ 6470103 w 6530351"/>
              <a:gd name="connsiteY1405" fmla="*/ 2452670 h 6858285"/>
              <a:gd name="connsiteX1406" fmla="*/ 6499393 w 6530351"/>
              <a:gd name="connsiteY1406" fmla="*/ 2450537 h 6858285"/>
              <a:gd name="connsiteX1407" fmla="*/ 5959697 w 6530351"/>
              <a:gd name="connsiteY1407" fmla="*/ 2446989 h 6858285"/>
              <a:gd name="connsiteX1408" fmla="*/ 5983341 w 6530351"/>
              <a:gd name="connsiteY1408" fmla="*/ 2468876 h 6858285"/>
              <a:gd name="connsiteX1409" fmla="*/ 5962323 w 6530351"/>
              <a:gd name="connsiteY1409" fmla="*/ 2525955 h 6858285"/>
              <a:gd name="connsiteX1410" fmla="*/ 5620319 w 6530351"/>
              <a:gd name="connsiteY1410" fmla="*/ 2676242 h 6858285"/>
              <a:gd name="connsiteX1411" fmla="*/ 5564909 w 6530351"/>
              <a:gd name="connsiteY1411" fmla="*/ 2655316 h 6858285"/>
              <a:gd name="connsiteX1412" fmla="*/ 5561087 w 6530351"/>
              <a:gd name="connsiteY1412" fmla="*/ 2638194 h 6858285"/>
              <a:gd name="connsiteX1413" fmla="*/ 5585927 w 6530351"/>
              <a:gd name="connsiteY1413" fmla="*/ 2598244 h 6858285"/>
              <a:gd name="connsiteX1414" fmla="*/ 5926021 w 6530351"/>
              <a:gd name="connsiteY1414" fmla="*/ 2447940 h 6858285"/>
              <a:gd name="connsiteX1415" fmla="*/ 5959697 w 6530351"/>
              <a:gd name="connsiteY1415" fmla="*/ 2446989 h 6858285"/>
              <a:gd name="connsiteX1416" fmla="*/ 399505 w 6530351"/>
              <a:gd name="connsiteY1416" fmla="*/ 2446974 h 6858285"/>
              <a:gd name="connsiteX1417" fmla="*/ 423847 w 6530351"/>
              <a:gd name="connsiteY1417" fmla="*/ 2468859 h 6858285"/>
              <a:gd name="connsiteX1418" fmla="*/ 400936 w 6530351"/>
              <a:gd name="connsiteY1418" fmla="*/ 2525937 h 6858285"/>
              <a:gd name="connsiteX1419" fmla="*/ 61095 w 6530351"/>
              <a:gd name="connsiteY1419" fmla="*/ 2676233 h 6858285"/>
              <a:gd name="connsiteX1420" fmla="*/ 3818 w 6530351"/>
              <a:gd name="connsiteY1420" fmla="*/ 2655306 h 6858285"/>
              <a:gd name="connsiteX1421" fmla="*/ 0 w 6530351"/>
              <a:gd name="connsiteY1421" fmla="*/ 2638182 h 6858285"/>
              <a:gd name="connsiteX1422" fmla="*/ 26729 w 6530351"/>
              <a:gd name="connsiteY1422" fmla="*/ 2598228 h 6858285"/>
              <a:gd name="connsiteX1423" fmla="*/ 366570 w 6530351"/>
              <a:gd name="connsiteY1423" fmla="*/ 2447925 h 6858285"/>
              <a:gd name="connsiteX1424" fmla="*/ 399505 w 6530351"/>
              <a:gd name="connsiteY1424" fmla="*/ 2446974 h 6858285"/>
              <a:gd name="connsiteX1425" fmla="*/ 5396633 w 6530351"/>
              <a:gd name="connsiteY1425" fmla="*/ 2440126 h 6858285"/>
              <a:gd name="connsiteX1426" fmla="*/ 5438869 w 6530351"/>
              <a:gd name="connsiteY1426" fmla="*/ 2471616 h 6858285"/>
              <a:gd name="connsiteX1427" fmla="*/ 5410355 w 6530351"/>
              <a:gd name="connsiteY1427" fmla="*/ 2532335 h 6858285"/>
              <a:gd name="connsiteX1428" fmla="*/ 5070087 w 6530351"/>
              <a:gd name="connsiteY1428" fmla="*/ 2657533 h 6858285"/>
              <a:gd name="connsiteX1429" fmla="*/ 5009257 w 6530351"/>
              <a:gd name="connsiteY1429" fmla="*/ 2629079 h 6858285"/>
              <a:gd name="connsiteX1430" fmla="*/ 5005455 w 6530351"/>
              <a:gd name="connsiteY1430" fmla="*/ 2613902 h 6858285"/>
              <a:gd name="connsiteX1431" fmla="*/ 5037771 w 6530351"/>
              <a:gd name="connsiteY1431" fmla="*/ 2568377 h 6858285"/>
              <a:gd name="connsiteX1432" fmla="*/ 5378039 w 6530351"/>
              <a:gd name="connsiteY1432" fmla="*/ 2443151 h 6858285"/>
              <a:gd name="connsiteX1433" fmla="*/ 5396633 w 6530351"/>
              <a:gd name="connsiteY1433" fmla="*/ 2440126 h 6858285"/>
              <a:gd name="connsiteX1434" fmla="*/ 930712 w 6530351"/>
              <a:gd name="connsiteY1434" fmla="*/ 2440109 h 6858285"/>
              <a:gd name="connsiteX1435" fmla="*/ 973130 w 6530351"/>
              <a:gd name="connsiteY1435" fmla="*/ 2471595 h 6858285"/>
              <a:gd name="connsiteX1436" fmla="*/ 944493 w 6530351"/>
              <a:gd name="connsiteY1436" fmla="*/ 2532310 h 6858285"/>
              <a:gd name="connsiteX1437" fmla="*/ 602758 w 6530351"/>
              <a:gd name="connsiteY1437" fmla="*/ 2657520 h 6858285"/>
              <a:gd name="connsiteX1438" fmla="*/ 541666 w 6530351"/>
              <a:gd name="connsiteY1438" fmla="*/ 2629065 h 6858285"/>
              <a:gd name="connsiteX1439" fmla="*/ 539757 w 6530351"/>
              <a:gd name="connsiteY1439" fmla="*/ 2613887 h 6858285"/>
              <a:gd name="connsiteX1440" fmla="*/ 570303 w 6530351"/>
              <a:gd name="connsiteY1440" fmla="*/ 2568357 h 6858285"/>
              <a:gd name="connsiteX1441" fmla="*/ 912038 w 6530351"/>
              <a:gd name="connsiteY1441" fmla="*/ 2443134 h 6858285"/>
              <a:gd name="connsiteX1442" fmla="*/ 930712 w 6530351"/>
              <a:gd name="connsiteY1442" fmla="*/ 2440109 h 6858285"/>
              <a:gd name="connsiteX1443" fmla="*/ 4847413 w 6530351"/>
              <a:gd name="connsiteY1443" fmla="*/ 2434954 h 6858285"/>
              <a:gd name="connsiteX1444" fmla="*/ 4891141 w 6530351"/>
              <a:gd name="connsiteY1444" fmla="*/ 2472786 h 6858285"/>
              <a:gd name="connsiteX1445" fmla="*/ 4856803 w 6530351"/>
              <a:gd name="connsiteY1445" fmla="*/ 2537659 h 6858285"/>
              <a:gd name="connsiteX1446" fmla="*/ 4513417 w 6530351"/>
              <a:gd name="connsiteY1446" fmla="*/ 2638754 h 6858285"/>
              <a:gd name="connsiteX1447" fmla="*/ 4448555 w 6530351"/>
              <a:gd name="connsiteY1447" fmla="*/ 2602511 h 6858285"/>
              <a:gd name="connsiteX1448" fmla="*/ 4446647 w 6530351"/>
              <a:gd name="connsiteY1448" fmla="*/ 2587251 h 6858285"/>
              <a:gd name="connsiteX1449" fmla="*/ 4482895 w 6530351"/>
              <a:gd name="connsiteY1449" fmla="*/ 2537659 h 6858285"/>
              <a:gd name="connsiteX1450" fmla="*/ 4826279 w 6530351"/>
              <a:gd name="connsiteY1450" fmla="*/ 2436532 h 6858285"/>
              <a:gd name="connsiteX1451" fmla="*/ 4847413 w 6530351"/>
              <a:gd name="connsiteY1451" fmla="*/ 2434954 h 6858285"/>
              <a:gd name="connsiteX1452" fmla="*/ 1482970 w 6530351"/>
              <a:gd name="connsiteY1452" fmla="*/ 2434934 h 6858285"/>
              <a:gd name="connsiteX1453" fmla="*/ 1527502 w 6530351"/>
              <a:gd name="connsiteY1453" fmla="*/ 2472764 h 6858285"/>
              <a:gd name="connsiteX1454" fmla="*/ 1491256 w 6530351"/>
              <a:gd name="connsiteY1454" fmla="*/ 2537631 h 6858285"/>
              <a:gd name="connsiteX1455" fmla="*/ 1147871 w 6530351"/>
              <a:gd name="connsiteY1455" fmla="*/ 2638738 h 6858285"/>
              <a:gd name="connsiteX1456" fmla="*/ 1083010 w 6530351"/>
              <a:gd name="connsiteY1456" fmla="*/ 2602491 h 6858285"/>
              <a:gd name="connsiteX1457" fmla="*/ 1081102 w 6530351"/>
              <a:gd name="connsiteY1457" fmla="*/ 2587229 h 6858285"/>
              <a:gd name="connsiteX1458" fmla="*/ 1119256 w 6530351"/>
              <a:gd name="connsiteY1458" fmla="*/ 2537631 h 6858285"/>
              <a:gd name="connsiteX1459" fmla="*/ 1462641 w 6530351"/>
              <a:gd name="connsiteY1459" fmla="*/ 2436514 h 6858285"/>
              <a:gd name="connsiteX1460" fmla="*/ 1482970 w 6530351"/>
              <a:gd name="connsiteY1460" fmla="*/ 2434934 h 6858285"/>
              <a:gd name="connsiteX1461" fmla="*/ 4270903 w 6530351"/>
              <a:gd name="connsiteY1461" fmla="*/ 2431440 h 6858285"/>
              <a:gd name="connsiteX1462" fmla="*/ 4339343 w 6530351"/>
              <a:gd name="connsiteY1462" fmla="*/ 2475259 h 6858285"/>
              <a:gd name="connsiteX1463" fmla="*/ 4295617 w 6530351"/>
              <a:gd name="connsiteY1463" fmla="*/ 2543850 h 6858285"/>
              <a:gd name="connsiteX1464" fmla="*/ 3951517 w 6530351"/>
              <a:gd name="connsiteY1464" fmla="*/ 2618129 h 6858285"/>
              <a:gd name="connsiteX1465" fmla="*/ 3883077 w 6530351"/>
              <a:gd name="connsiteY1465" fmla="*/ 2574325 h 6858285"/>
              <a:gd name="connsiteX1466" fmla="*/ 3883077 w 6530351"/>
              <a:gd name="connsiteY1466" fmla="*/ 2562897 h 6858285"/>
              <a:gd name="connsiteX1467" fmla="*/ 3926803 w 6530351"/>
              <a:gd name="connsiteY1467" fmla="*/ 2507652 h 6858285"/>
              <a:gd name="connsiteX1468" fmla="*/ 4270903 w 6530351"/>
              <a:gd name="connsiteY1468" fmla="*/ 2431440 h 6858285"/>
              <a:gd name="connsiteX1469" fmla="*/ 2016623 w 6530351"/>
              <a:gd name="connsiteY1469" fmla="*/ 2431420 h 6858285"/>
              <a:gd name="connsiteX1470" fmla="*/ 2085063 w 6530351"/>
              <a:gd name="connsiteY1470" fmla="*/ 2475236 h 6858285"/>
              <a:gd name="connsiteX1471" fmla="*/ 2041337 w 6530351"/>
              <a:gd name="connsiteY1471" fmla="*/ 2543819 h 6858285"/>
              <a:gd name="connsiteX1472" fmla="*/ 1697237 w 6530351"/>
              <a:gd name="connsiteY1472" fmla="*/ 2618110 h 6858285"/>
              <a:gd name="connsiteX1473" fmla="*/ 1630698 w 6530351"/>
              <a:gd name="connsiteY1473" fmla="*/ 2574297 h 6858285"/>
              <a:gd name="connsiteX1474" fmla="*/ 1628797 w 6530351"/>
              <a:gd name="connsiteY1474" fmla="*/ 2562869 h 6858285"/>
              <a:gd name="connsiteX1475" fmla="*/ 1674424 w 6530351"/>
              <a:gd name="connsiteY1475" fmla="*/ 2507623 h 6858285"/>
              <a:gd name="connsiteX1476" fmla="*/ 2016623 w 6530351"/>
              <a:gd name="connsiteY1476" fmla="*/ 2431420 h 6858285"/>
              <a:gd name="connsiteX1477" fmla="*/ 2799526 w 6530351"/>
              <a:gd name="connsiteY1477" fmla="*/ 2428900 h 6858285"/>
              <a:gd name="connsiteX1478" fmla="*/ 3148596 w 6530351"/>
              <a:gd name="connsiteY1478" fmla="*/ 2428900 h 6858285"/>
              <a:gd name="connsiteX1479" fmla="*/ 3221081 w 6530351"/>
              <a:gd name="connsiteY1479" fmla="*/ 2499556 h 6858285"/>
              <a:gd name="connsiteX1480" fmla="*/ 3148596 w 6530351"/>
              <a:gd name="connsiteY1480" fmla="*/ 2570198 h 6858285"/>
              <a:gd name="connsiteX1481" fmla="*/ 2799526 w 6530351"/>
              <a:gd name="connsiteY1481" fmla="*/ 2570198 h 6858285"/>
              <a:gd name="connsiteX1482" fmla="*/ 2728949 w 6530351"/>
              <a:gd name="connsiteY1482" fmla="*/ 2499556 h 6858285"/>
              <a:gd name="connsiteX1483" fmla="*/ 2799526 w 6530351"/>
              <a:gd name="connsiteY1483" fmla="*/ 2428900 h 6858285"/>
              <a:gd name="connsiteX1484" fmla="*/ 3713481 w 6530351"/>
              <a:gd name="connsiteY1484" fmla="*/ 2424773 h 6858285"/>
              <a:gd name="connsiteX1485" fmla="*/ 3782107 w 6530351"/>
              <a:gd name="connsiteY1485" fmla="*/ 2478118 h 6858285"/>
              <a:gd name="connsiteX1486" fmla="*/ 3730637 w 6530351"/>
              <a:gd name="connsiteY1486" fmla="*/ 2546706 h 6858285"/>
              <a:gd name="connsiteX1487" fmla="*/ 3383690 w 6530351"/>
              <a:gd name="connsiteY1487" fmla="*/ 2598127 h 6858285"/>
              <a:gd name="connsiteX1488" fmla="*/ 3315063 w 6530351"/>
              <a:gd name="connsiteY1488" fmla="*/ 2546706 h 6858285"/>
              <a:gd name="connsiteX1489" fmla="*/ 3313157 w 6530351"/>
              <a:gd name="connsiteY1489" fmla="*/ 2537183 h 6858285"/>
              <a:gd name="connsiteX1490" fmla="*/ 3366533 w 6530351"/>
              <a:gd name="connsiteY1490" fmla="*/ 2476213 h 6858285"/>
              <a:gd name="connsiteX1491" fmla="*/ 3713481 w 6530351"/>
              <a:gd name="connsiteY1491" fmla="*/ 2424773 h 6858285"/>
              <a:gd name="connsiteX1492" fmla="*/ 2578402 w 6530351"/>
              <a:gd name="connsiteY1492" fmla="*/ 2424750 h 6858285"/>
              <a:gd name="connsiteX1493" fmla="*/ 2647029 w 6530351"/>
              <a:gd name="connsiteY1493" fmla="*/ 2478093 h 6858285"/>
              <a:gd name="connsiteX1494" fmla="*/ 2595559 w 6530351"/>
              <a:gd name="connsiteY1494" fmla="*/ 2546673 h 6858285"/>
              <a:gd name="connsiteX1495" fmla="*/ 2248612 w 6530351"/>
              <a:gd name="connsiteY1495" fmla="*/ 2598105 h 6858285"/>
              <a:gd name="connsiteX1496" fmla="*/ 2179985 w 6530351"/>
              <a:gd name="connsiteY1496" fmla="*/ 2546673 h 6858285"/>
              <a:gd name="connsiteX1497" fmla="*/ 2178079 w 6530351"/>
              <a:gd name="connsiteY1497" fmla="*/ 2537148 h 6858285"/>
              <a:gd name="connsiteX1498" fmla="*/ 2231455 w 6530351"/>
              <a:gd name="connsiteY1498" fmla="*/ 2476187 h 6858285"/>
              <a:gd name="connsiteX1499" fmla="*/ 2578402 w 6530351"/>
              <a:gd name="connsiteY1499" fmla="*/ 2424750 h 6858285"/>
              <a:gd name="connsiteX1500" fmla="*/ 6500049 w 6530351"/>
              <a:gd name="connsiteY1500" fmla="*/ 2128300 h 6858285"/>
              <a:gd name="connsiteX1501" fmla="*/ 6522179 w 6530351"/>
              <a:gd name="connsiteY1501" fmla="*/ 2147616 h 6858285"/>
              <a:gd name="connsiteX1502" fmla="*/ 6527889 w 6530351"/>
              <a:gd name="connsiteY1502" fmla="*/ 2164783 h 6858285"/>
              <a:gd name="connsiteX1503" fmla="*/ 6506949 w 6530351"/>
              <a:gd name="connsiteY1503" fmla="*/ 2199112 h 6858285"/>
              <a:gd name="connsiteX1504" fmla="*/ 6168111 w 6530351"/>
              <a:gd name="connsiteY1504" fmla="*/ 2374577 h 6858285"/>
              <a:gd name="connsiteX1505" fmla="*/ 6116713 w 6530351"/>
              <a:gd name="connsiteY1505" fmla="*/ 2359320 h 6858285"/>
              <a:gd name="connsiteX1506" fmla="*/ 6131943 w 6530351"/>
              <a:gd name="connsiteY1506" fmla="*/ 2305905 h 6858285"/>
              <a:gd name="connsiteX1507" fmla="*/ 6470781 w 6530351"/>
              <a:gd name="connsiteY1507" fmla="*/ 2130447 h 6858285"/>
              <a:gd name="connsiteX1508" fmla="*/ 6500049 w 6530351"/>
              <a:gd name="connsiteY1508" fmla="*/ 2128300 h 6858285"/>
              <a:gd name="connsiteX1509" fmla="*/ 5959179 w 6530351"/>
              <a:gd name="connsiteY1509" fmla="*/ 2123124 h 6858285"/>
              <a:gd name="connsiteX1510" fmla="*/ 5982737 w 6530351"/>
              <a:gd name="connsiteY1510" fmla="*/ 2145006 h 6858285"/>
              <a:gd name="connsiteX1511" fmla="*/ 5986543 w 6530351"/>
              <a:gd name="connsiteY1511" fmla="*/ 2164031 h 6858285"/>
              <a:gd name="connsiteX1512" fmla="*/ 5961797 w 6530351"/>
              <a:gd name="connsiteY1512" fmla="*/ 2202083 h 6858285"/>
              <a:gd name="connsiteX1513" fmla="*/ 5621049 w 6530351"/>
              <a:gd name="connsiteY1513" fmla="*/ 2354284 h 6858285"/>
              <a:gd name="connsiteX1514" fmla="*/ 5565845 w 6530351"/>
              <a:gd name="connsiteY1514" fmla="*/ 2333356 h 6858285"/>
              <a:gd name="connsiteX1515" fmla="*/ 5586783 w 6530351"/>
              <a:gd name="connsiteY1515" fmla="*/ 2276277 h 6858285"/>
              <a:gd name="connsiteX1516" fmla="*/ 5925629 w 6530351"/>
              <a:gd name="connsiteY1516" fmla="*/ 2124073 h 6858285"/>
              <a:gd name="connsiteX1517" fmla="*/ 5959179 w 6530351"/>
              <a:gd name="connsiteY1517" fmla="*/ 2123124 h 6858285"/>
              <a:gd name="connsiteX1518" fmla="*/ 398985 w 6530351"/>
              <a:gd name="connsiteY1518" fmla="*/ 2123120 h 6858285"/>
              <a:gd name="connsiteX1519" fmla="*/ 423239 w 6530351"/>
              <a:gd name="connsiteY1519" fmla="*/ 2145003 h 6858285"/>
              <a:gd name="connsiteX1520" fmla="*/ 427043 w 6530351"/>
              <a:gd name="connsiteY1520" fmla="*/ 2164030 h 6858285"/>
              <a:gd name="connsiteX1521" fmla="*/ 402314 w 6530351"/>
              <a:gd name="connsiteY1521" fmla="*/ 2202079 h 6858285"/>
              <a:gd name="connsiteX1522" fmla="*/ 61815 w 6530351"/>
              <a:gd name="connsiteY1522" fmla="*/ 2354282 h 6858285"/>
              <a:gd name="connsiteX1523" fmla="*/ 6650 w 6530351"/>
              <a:gd name="connsiteY1523" fmla="*/ 2333354 h 6858285"/>
              <a:gd name="connsiteX1524" fmla="*/ 27575 w 6530351"/>
              <a:gd name="connsiteY1524" fmla="*/ 2276277 h 6858285"/>
              <a:gd name="connsiteX1525" fmla="*/ 366172 w 6530351"/>
              <a:gd name="connsiteY1525" fmla="*/ 2124071 h 6858285"/>
              <a:gd name="connsiteX1526" fmla="*/ 398985 w 6530351"/>
              <a:gd name="connsiteY1526" fmla="*/ 2123120 h 6858285"/>
              <a:gd name="connsiteX1527" fmla="*/ 5396861 w 6530351"/>
              <a:gd name="connsiteY1527" fmla="*/ 2116224 h 6858285"/>
              <a:gd name="connsiteX1528" fmla="*/ 5438205 w 6530351"/>
              <a:gd name="connsiteY1528" fmla="*/ 2145799 h 6858285"/>
              <a:gd name="connsiteX1529" fmla="*/ 5442023 w 6530351"/>
              <a:gd name="connsiteY1529" fmla="*/ 2162853 h 6858285"/>
              <a:gd name="connsiteX1530" fmla="*/ 5411477 w 6530351"/>
              <a:gd name="connsiteY1530" fmla="*/ 2206431 h 6858285"/>
              <a:gd name="connsiteX1531" fmla="*/ 5069743 w 6530351"/>
              <a:gd name="connsiteY1531" fmla="*/ 2335273 h 6858285"/>
              <a:gd name="connsiteX1532" fmla="*/ 5008651 w 6530351"/>
              <a:gd name="connsiteY1532" fmla="*/ 2308740 h 6858285"/>
              <a:gd name="connsiteX1533" fmla="*/ 5037287 w 6530351"/>
              <a:gd name="connsiteY1533" fmla="*/ 2248114 h 6858285"/>
              <a:gd name="connsiteX1534" fmla="*/ 5379023 w 6530351"/>
              <a:gd name="connsiteY1534" fmla="*/ 2119273 h 6858285"/>
              <a:gd name="connsiteX1535" fmla="*/ 5396861 w 6530351"/>
              <a:gd name="connsiteY1535" fmla="*/ 2116224 h 6858285"/>
              <a:gd name="connsiteX1536" fmla="*/ 930378 w 6530351"/>
              <a:gd name="connsiteY1536" fmla="*/ 2116219 h 6858285"/>
              <a:gd name="connsiteX1537" fmla="*/ 972827 w 6530351"/>
              <a:gd name="connsiteY1537" fmla="*/ 2145797 h 6858285"/>
              <a:gd name="connsiteX1538" fmla="*/ 974738 w 6530351"/>
              <a:gd name="connsiteY1538" fmla="*/ 2162851 h 6858285"/>
              <a:gd name="connsiteX1539" fmla="*/ 944170 w 6530351"/>
              <a:gd name="connsiteY1539" fmla="*/ 2206429 h 6858285"/>
              <a:gd name="connsiteX1540" fmla="*/ 602186 w 6530351"/>
              <a:gd name="connsiteY1540" fmla="*/ 2335271 h 6858285"/>
              <a:gd name="connsiteX1541" fmla="*/ 542960 w 6530351"/>
              <a:gd name="connsiteY1541" fmla="*/ 2308740 h 6858285"/>
              <a:gd name="connsiteX1542" fmla="*/ 569707 w 6530351"/>
              <a:gd name="connsiteY1542" fmla="*/ 2248111 h 6858285"/>
              <a:gd name="connsiteX1543" fmla="*/ 911691 w 6530351"/>
              <a:gd name="connsiteY1543" fmla="*/ 2119271 h 6858285"/>
              <a:gd name="connsiteX1544" fmla="*/ 930378 w 6530351"/>
              <a:gd name="connsiteY1544" fmla="*/ 2116219 h 6858285"/>
              <a:gd name="connsiteX1545" fmla="*/ 4846001 w 6530351"/>
              <a:gd name="connsiteY1545" fmla="*/ 2110276 h 6858285"/>
              <a:gd name="connsiteX1546" fmla="*/ 4890833 w 6530351"/>
              <a:gd name="connsiteY1546" fmla="*/ 2147137 h 6858285"/>
              <a:gd name="connsiteX1547" fmla="*/ 4892743 w 6530351"/>
              <a:gd name="connsiteY1547" fmla="*/ 2162335 h 6858285"/>
              <a:gd name="connsiteX1548" fmla="*/ 4856471 w 6530351"/>
              <a:gd name="connsiteY1548" fmla="*/ 2209823 h 6858285"/>
              <a:gd name="connsiteX1549" fmla="*/ 4512841 w 6530351"/>
              <a:gd name="connsiteY1549" fmla="*/ 2316194 h 6858285"/>
              <a:gd name="connsiteX1550" fmla="*/ 4449843 w 6530351"/>
              <a:gd name="connsiteY1550" fmla="*/ 2283894 h 6858285"/>
              <a:gd name="connsiteX1551" fmla="*/ 4482297 w 6530351"/>
              <a:gd name="connsiteY1551" fmla="*/ 2219319 h 6858285"/>
              <a:gd name="connsiteX1552" fmla="*/ 4825925 w 6530351"/>
              <a:gd name="connsiteY1552" fmla="*/ 2112946 h 6858285"/>
              <a:gd name="connsiteX1553" fmla="*/ 4846001 w 6530351"/>
              <a:gd name="connsiteY1553" fmla="*/ 2110276 h 6858285"/>
              <a:gd name="connsiteX1554" fmla="*/ 1482460 w 6530351"/>
              <a:gd name="connsiteY1554" fmla="*/ 2110273 h 6858285"/>
              <a:gd name="connsiteX1555" fmla="*/ 1525292 w 6530351"/>
              <a:gd name="connsiteY1555" fmla="*/ 2147134 h 6858285"/>
              <a:gd name="connsiteX1556" fmla="*/ 1527196 w 6530351"/>
              <a:gd name="connsiteY1556" fmla="*/ 2162332 h 6858285"/>
              <a:gd name="connsiteX1557" fmla="*/ 1492930 w 6530351"/>
              <a:gd name="connsiteY1557" fmla="*/ 2209820 h 6858285"/>
              <a:gd name="connsiteX1558" fmla="*/ 1150267 w 6530351"/>
              <a:gd name="connsiteY1558" fmla="*/ 2316193 h 6858285"/>
              <a:gd name="connsiteX1559" fmla="*/ 1085542 w 6530351"/>
              <a:gd name="connsiteY1559" fmla="*/ 2283894 h 6858285"/>
              <a:gd name="connsiteX1560" fmla="*/ 1119808 w 6530351"/>
              <a:gd name="connsiteY1560" fmla="*/ 2219317 h 6858285"/>
              <a:gd name="connsiteX1561" fmla="*/ 1462471 w 6530351"/>
              <a:gd name="connsiteY1561" fmla="*/ 2112944 h 6858285"/>
              <a:gd name="connsiteX1562" fmla="*/ 1482460 w 6530351"/>
              <a:gd name="connsiteY1562" fmla="*/ 2110273 h 6858285"/>
              <a:gd name="connsiteX1563" fmla="*/ 4292491 w 6530351"/>
              <a:gd name="connsiteY1563" fmla="*/ 2106610 h 6858285"/>
              <a:gd name="connsiteX1564" fmla="*/ 4338695 w 6530351"/>
              <a:gd name="connsiteY1564" fmla="*/ 2147674 h 6858285"/>
              <a:gd name="connsiteX1565" fmla="*/ 4338695 w 6530351"/>
              <a:gd name="connsiteY1565" fmla="*/ 2160948 h 6858285"/>
              <a:gd name="connsiteX1566" fmla="*/ 4296669 w 6530351"/>
              <a:gd name="connsiteY1566" fmla="*/ 2214040 h 6858285"/>
              <a:gd name="connsiteX1567" fmla="*/ 3952817 w 6530351"/>
              <a:gd name="connsiteY1567" fmla="*/ 2297465 h 6858285"/>
              <a:gd name="connsiteX1568" fmla="*/ 3884045 w 6530351"/>
              <a:gd name="connsiteY1568" fmla="*/ 2257651 h 6858285"/>
              <a:gd name="connsiteX1569" fmla="*/ 3926073 w 6530351"/>
              <a:gd name="connsiteY1569" fmla="*/ 2191286 h 6858285"/>
              <a:gd name="connsiteX1570" fmla="*/ 4269925 w 6530351"/>
              <a:gd name="connsiteY1570" fmla="*/ 2107856 h 6858285"/>
              <a:gd name="connsiteX1571" fmla="*/ 4292491 w 6530351"/>
              <a:gd name="connsiteY1571" fmla="*/ 2106610 h 6858285"/>
              <a:gd name="connsiteX1572" fmla="*/ 2038726 w 6530351"/>
              <a:gd name="connsiteY1572" fmla="*/ 2106607 h 6858285"/>
              <a:gd name="connsiteX1573" fmla="*/ 2084094 w 6530351"/>
              <a:gd name="connsiteY1573" fmla="*/ 2147672 h 6858285"/>
              <a:gd name="connsiteX1574" fmla="*/ 2086003 w 6530351"/>
              <a:gd name="connsiteY1574" fmla="*/ 2160946 h 6858285"/>
              <a:gd name="connsiteX1575" fmla="*/ 2044006 w 6530351"/>
              <a:gd name="connsiteY1575" fmla="*/ 2214037 h 6858285"/>
              <a:gd name="connsiteX1576" fmla="*/ 1698484 w 6530351"/>
              <a:gd name="connsiteY1576" fmla="*/ 2297465 h 6858285"/>
              <a:gd name="connsiteX1577" fmla="*/ 1631670 w 6530351"/>
              <a:gd name="connsiteY1577" fmla="*/ 2257649 h 6858285"/>
              <a:gd name="connsiteX1578" fmla="*/ 1671758 w 6530351"/>
              <a:gd name="connsiteY1578" fmla="*/ 2191284 h 6858285"/>
              <a:gd name="connsiteX1579" fmla="*/ 2017280 w 6530351"/>
              <a:gd name="connsiteY1579" fmla="*/ 2107852 h 6858285"/>
              <a:gd name="connsiteX1580" fmla="*/ 2038726 w 6530351"/>
              <a:gd name="connsiteY1580" fmla="*/ 2106607 h 6858285"/>
              <a:gd name="connsiteX1581" fmla="*/ 3734761 w 6530351"/>
              <a:gd name="connsiteY1581" fmla="*/ 2101210 h 6858285"/>
              <a:gd name="connsiteX1582" fmla="*/ 3779887 w 6530351"/>
              <a:gd name="connsiteY1582" fmla="*/ 2149163 h 6858285"/>
              <a:gd name="connsiteX1583" fmla="*/ 3779887 w 6530351"/>
              <a:gd name="connsiteY1583" fmla="*/ 2158688 h 6858285"/>
              <a:gd name="connsiteX1584" fmla="*/ 3732133 w 6530351"/>
              <a:gd name="connsiteY1584" fmla="*/ 2217741 h 6858285"/>
              <a:gd name="connsiteX1585" fmla="*/ 3384479 w 6530351"/>
              <a:gd name="connsiteY1585" fmla="*/ 2278699 h 6858285"/>
              <a:gd name="connsiteX1586" fmla="*/ 3315713 w 6530351"/>
              <a:gd name="connsiteY1586" fmla="*/ 2231076 h 6858285"/>
              <a:gd name="connsiteX1587" fmla="*/ 3363467 w 6530351"/>
              <a:gd name="connsiteY1587" fmla="*/ 2160593 h 6858285"/>
              <a:gd name="connsiteX1588" fmla="*/ 3711121 w 6530351"/>
              <a:gd name="connsiteY1588" fmla="*/ 2101538 h 6858285"/>
              <a:gd name="connsiteX1589" fmla="*/ 3734761 w 6530351"/>
              <a:gd name="connsiteY1589" fmla="*/ 2101210 h 6858285"/>
              <a:gd name="connsiteX1590" fmla="*/ 2601270 w 6530351"/>
              <a:gd name="connsiteY1590" fmla="*/ 2101207 h 6858285"/>
              <a:gd name="connsiteX1591" fmla="*/ 2646398 w 6530351"/>
              <a:gd name="connsiteY1591" fmla="*/ 2149158 h 6858285"/>
              <a:gd name="connsiteX1592" fmla="*/ 2646398 w 6530351"/>
              <a:gd name="connsiteY1592" fmla="*/ 2158685 h 6858285"/>
              <a:gd name="connsiteX1593" fmla="*/ 2596733 w 6530351"/>
              <a:gd name="connsiteY1593" fmla="*/ 2217739 h 6858285"/>
              <a:gd name="connsiteX1594" fmla="*/ 2250989 w 6530351"/>
              <a:gd name="connsiteY1594" fmla="*/ 2278698 h 6858285"/>
              <a:gd name="connsiteX1595" fmla="*/ 2182223 w 6530351"/>
              <a:gd name="connsiteY1595" fmla="*/ 2231074 h 6858285"/>
              <a:gd name="connsiteX1596" fmla="*/ 2229977 w 6530351"/>
              <a:gd name="connsiteY1596" fmla="*/ 2160590 h 6858285"/>
              <a:gd name="connsiteX1597" fmla="*/ 2577631 w 6530351"/>
              <a:gd name="connsiteY1597" fmla="*/ 2101535 h 6858285"/>
              <a:gd name="connsiteX1598" fmla="*/ 2601270 w 6530351"/>
              <a:gd name="connsiteY1598" fmla="*/ 2101207 h 6858285"/>
              <a:gd name="connsiteX1599" fmla="*/ 3141117 w 6530351"/>
              <a:gd name="connsiteY1599" fmla="*/ 2094543 h 6858285"/>
              <a:gd name="connsiteX1600" fmla="*/ 3211556 w 6530351"/>
              <a:gd name="connsiteY1600" fmla="*/ 2151589 h 6858285"/>
              <a:gd name="connsiteX1601" fmla="*/ 3211556 w 6530351"/>
              <a:gd name="connsiteY1601" fmla="*/ 2159195 h 6858285"/>
              <a:gd name="connsiteX1602" fmla="*/ 3156347 w 6530351"/>
              <a:gd name="connsiteY1602" fmla="*/ 2221944 h 6858285"/>
              <a:gd name="connsiteX1603" fmla="*/ 2807959 w 6530351"/>
              <a:gd name="connsiteY1603" fmla="*/ 2259975 h 6858285"/>
              <a:gd name="connsiteX1604" fmla="*/ 2737520 w 6530351"/>
              <a:gd name="connsiteY1604" fmla="*/ 2202929 h 6858285"/>
              <a:gd name="connsiteX1605" fmla="*/ 2794632 w 6530351"/>
              <a:gd name="connsiteY1605" fmla="*/ 2132570 h 6858285"/>
              <a:gd name="connsiteX1606" fmla="*/ 3141117 w 6530351"/>
              <a:gd name="connsiteY1606" fmla="*/ 2094543 h 6858285"/>
              <a:gd name="connsiteX1607" fmla="*/ 6499963 w 6530351"/>
              <a:gd name="connsiteY1607" fmla="*/ 1806060 h 6858285"/>
              <a:gd name="connsiteX1608" fmla="*/ 6522161 w 6530351"/>
              <a:gd name="connsiteY1608" fmla="*/ 1825395 h 6858285"/>
              <a:gd name="connsiteX1609" fmla="*/ 6527887 w 6530351"/>
              <a:gd name="connsiteY1609" fmla="*/ 1842582 h 6858285"/>
              <a:gd name="connsiteX1610" fmla="*/ 6506885 w 6530351"/>
              <a:gd name="connsiteY1610" fmla="*/ 1876955 h 6858285"/>
              <a:gd name="connsiteX1611" fmla="*/ 6167027 w 6530351"/>
              <a:gd name="connsiteY1611" fmla="*/ 2052636 h 6858285"/>
              <a:gd name="connsiteX1612" fmla="*/ 6115475 w 6530351"/>
              <a:gd name="connsiteY1612" fmla="*/ 2035451 h 6858285"/>
              <a:gd name="connsiteX1613" fmla="*/ 6130751 w 6530351"/>
              <a:gd name="connsiteY1613" fmla="*/ 1983892 h 6858285"/>
              <a:gd name="connsiteX1614" fmla="*/ 6470609 w 6530351"/>
              <a:gd name="connsiteY1614" fmla="*/ 1808208 h 6858285"/>
              <a:gd name="connsiteX1615" fmla="*/ 6499963 w 6530351"/>
              <a:gd name="connsiteY1615" fmla="*/ 1806060 h 6858285"/>
              <a:gd name="connsiteX1616" fmla="*/ 5958465 w 6530351"/>
              <a:gd name="connsiteY1616" fmla="*/ 1800926 h 6858285"/>
              <a:gd name="connsiteX1617" fmla="*/ 5982737 w 6530351"/>
              <a:gd name="connsiteY1617" fmla="*/ 1822945 h 6858285"/>
              <a:gd name="connsiteX1618" fmla="*/ 5986543 w 6530351"/>
              <a:gd name="connsiteY1618" fmla="*/ 1840178 h 6858285"/>
              <a:gd name="connsiteX1619" fmla="*/ 5961797 w 6530351"/>
              <a:gd name="connsiteY1619" fmla="*/ 1878473 h 6858285"/>
              <a:gd name="connsiteX1620" fmla="*/ 5622953 w 6530351"/>
              <a:gd name="connsiteY1620" fmla="*/ 2033561 h 6858285"/>
              <a:gd name="connsiteX1621" fmla="*/ 5565845 w 6530351"/>
              <a:gd name="connsiteY1621" fmla="*/ 2012501 h 6858285"/>
              <a:gd name="connsiteX1622" fmla="*/ 5586783 w 6530351"/>
              <a:gd name="connsiteY1622" fmla="*/ 1955060 h 6858285"/>
              <a:gd name="connsiteX1623" fmla="*/ 5925629 w 6530351"/>
              <a:gd name="connsiteY1623" fmla="*/ 1801884 h 6858285"/>
              <a:gd name="connsiteX1624" fmla="*/ 5958465 w 6530351"/>
              <a:gd name="connsiteY1624" fmla="*/ 1800926 h 6858285"/>
              <a:gd name="connsiteX1625" fmla="*/ 398965 w 6530351"/>
              <a:gd name="connsiteY1625" fmla="*/ 1800917 h 6858285"/>
              <a:gd name="connsiteX1626" fmla="*/ 423236 w 6530351"/>
              <a:gd name="connsiteY1626" fmla="*/ 1822936 h 6858285"/>
              <a:gd name="connsiteX1627" fmla="*/ 427043 w 6530351"/>
              <a:gd name="connsiteY1627" fmla="*/ 1840169 h 6858285"/>
              <a:gd name="connsiteX1628" fmla="*/ 400392 w 6530351"/>
              <a:gd name="connsiteY1628" fmla="*/ 1878463 h 6858285"/>
              <a:gd name="connsiteX1629" fmla="*/ 61548 w 6530351"/>
              <a:gd name="connsiteY1629" fmla="*/ 2033553 h 6858285"/>
              <a:gd name="connsiteX1630" fmla="*/ 6343 w 6530351"/>
              <a:gd name="connsiteY1630" fmla="*/ 2012491 h 6858285"/>
              <a:gd name="connsiteX1631" fmla="*/ 27283 w 6530351"/>
              <a:gd name="connsiteY1631" fmla="*/ 1955050 h 6858285"/>
              <a:gd name="connsiteX1632" fmla="*/ 366127 w 6530351"/>
              <a:gd name="connsiteY1632" fmla="*/ 1801874 h 6858285"/>
              <a:gd name="connsiteX1633" fmla="*/ 398965 w 6530351"/>
              <a:gd name="connsiteY1633" fmla="*/ 1800917 h 6858285"/>
              <a:gd name="connsiteX1634" fmla="*/ 5395755 w 6530351"/>
              <a:gd name="connsiteY1634" fmla="*/ 1792151 h 6858285"/>
              <a:gd name="connsiteX1635" fmla="*/ 5438203 w 6530351"/>
              <a:gd name="connsiteY1635" fmla="*/ 1822155 h 6858285"/>
              <a:gd name="connsiteX1636" fmla="*/ 5442023 w 6530351"/>
              <a:gd name="connsiteY1636" fmla="*/ 1839301 h 6858285"/>
              <a:gd name="connsiteX1637" fmla="*/ 5411455 w 6530351"/>
              <a:gd name="connsiteY1637" fmla="*/ 1883116 h 6858285"/>
              <a:gd name="connsiteX1638" fmla="*/ 5069471 w 6530351"/>
              <a:gd name="connsiteY1638" fmla="*/ 2014560 h 6858285"/>
              <a:gd name="connsiteX1639" fmla="*/ 5010245 w 6530351"/>
              <a:gd name="connsiteY1639" fmla="*/ 1989796 h 6858285"/>
              <a:gd name="connsiteX1640" fmla="*/ 5036993 w 6530351"/>
              <a:gd name="connsiteY1640" fmla="*/ 1928836 h 6858285"/>
              <a:gd name="connsiteX1641" fmla="*/ 5377067 w 6530351"/>
              <a:gd name="connsiteY1641" fmla="*/ 1795485 h 6858285"/>
              <a:gd name="connsiteX1642" fmla="*/ 5395755 w 6530351"/>
              <a:gd name="connsiteY1642" fmla="*/ 1792151 h 6858285"/>
              <a:gd name="connsiteX1643" fmla="*/ 929274 w 6530351"/>
              <a:gd name="connsiteY1643" fmla="*/ 1792140 h 6858285"/>
              <a:gd name="connsiteX1644" fmla="*/ 970917 w 6530351"/>
              <a:gd name="connsiteY1644" fmla="*/ 1822144 h 6858285"/>
              <a:gd name="connsiteX1645" fmla="*/ 974738 w 6530351"/>
              <a:gd name="connsiteY1645" fmla="*/ 1839289 h 6858285"/>
              <a:gd name="connsiteX1646" fmla="*/ 946080 w 6530351"/>
              <a:gd name="connsiteY1646" fmla="*/ 1883104 h 6858285"/>
              <a:gd name="connsiteX1647" fmla="*/ 604096 w 6530351"/>
              <a:gd name="connsiteY1647" fmla="*/ 2014549 h 6858285"/>
              <a:gd name="connsiteX1648" fmla="*/ 542960 w 6530351"/>
              <a:gd name="connsiteY1648" fmla="*/ 1989784 h 6858285"/>
              <a:gd name="connsiteX1649" fmla="*/ 569707 w 6530351"/>
              <a:gd name="connsiteY1649" fmla="*/ 1928824 h 6858285"/>
              <a:gd name="connsiteX1650" fmla="*/ 911691 w 6530351"/>
              <a:gd name="connsiteY1650" fmla="*/ 1795473 h 6858285"/>
              <a:gd name="connsiteX1651" fmla="*/ 929274 w 6530351"/>
              <a:gd name="connsiteY1651" fmla="*/ 1792140 h 6858285"/>
              <a:gd name="connsiteX1652" fmla="*/ 4845315 w 6530351"/>
              <a:gd name="connsiteY1652" fmla="*/ 1786416 h 6858285"/>
              <a:gd name="connsiteX1653" fmla="*/ 4889249 w 6530351"/>
              <a:gd name="connsiteY1653" fmla="*/ 1819728 h 6858285"/>
              <a:gd name="connsiteX1654" fmla="*/ 4891155 w 6530351"/>
              <a:gd name="connsiteY1654" fmla="*/ 1836922 h 6858285"/>
              <a:gd name="connsiteX1655" fmla="*/ 4856863 w 6530351"/>
              <a:gd name="connsiteY1655" fmla="*/ 1884682 h 6858285"/>
              <a:gd name="connsiteX1656" fmla="*/ 4515863 w 6530351"/>
              <a:gd name="connsiteY1656" fmla="*/ 1997394 h 6858285"/>
              <a:gd name="connsiteX1657" fmla="*/ 4451093 w 6530351"/>
              <a:gd name="connsiteY1657" fmla="*/ 1964918 h 6858285"/>
              <a:gd name="connsiteX1658" fmla="*/ 4483479 w 6530351"/>
              <a:gd name="connsiteY1658" fmla="*/ 1901876 h 6858285"/>
              <a:gd name="connsiteX1659" fmla="*/ 4826383 w 6530351"/>
              <a:gd name="connsiteY1659" fmla="*/ 1789162 h 6858285"/>
              <a:gd name="connsiteX1660" fmla="*/ 4845315 w 6530351"/>
              <a:gd name="connsiteY1660" fmla="*/ 1786416 h 6858285"/>
              <a:gd name="connsiteX1661" fmla="*/ 1480556 w 6530351"/>
              <a:gd name="connsiteY1661" fmla="*/ 1786402 h 6858285"/>
              <a:gd name="connsiteX1662" fmla="*/ 1523389 w 6530351"/>
              <a:gd name="connsiteY1662" fmla="*/ 1819714 h 6858285"/>
              <a:gd name="connsiteX1663" fmla="*/ 1527196 w 6530351"/>
              <a:gd name="connsiteY1663" fmla="*/ 1836908 h 6858285"/>
              <a:gd name="connsiteX1664" fmla="*/ 1492930 w 6530351"/>
              <a:gd name="connsiteY1664" fmla="*/ 1884667 h 6858285"/>
              <a:gd name="connsiteX1665" fmla="*/ 1150267 w 6530351"/>
              <a:gd name="connsiteY1665" fmla="*/ 1997380 h 6858285"/>
              <a:gd name="connsiteX1666" fmla="*/ 1087445 w 6530351"/>
              <a:gd name="connsiteY1666" fmla="*/ 1964903 h 6858285"/>
              <a:gd name="connsiteX1667" fmla="*/ 1119808 w 6530351"/>
              <a:gd name="connsiteY1667" fmla="*/ 1901861 h 6858285"/>
              <a:gd name="connsiteX1668" fmla="*/ 1460567 w 6530351"/>
              <a:gd name="connsiteY1668" fmla="*/ 1789148 h 6858285"/>
              <a:gd name="connsiteX1669" fmla="*/ 1480556 w 6530351"/>
              <a:gd name="connsiteY1669" fmla="*/ 1786402 h 6858285"/>
              <a:gd name="connsiteX1670" fmla="*/ 4289949 w 6530351"/>
              <a:gd name="connsiteY1670" fmla="*/ 1779638 h 6858285"/>
              <a:gd name="connsiteX1671" fmla="*/ 4333615 w 6530351"/>
              <a:gd name="connsiteY1671" fmla="*/ 1819255 h 6858285"/>
              <a:gd name="connsiteX1672" fmla="*/ 4335521 w 6530351"/>
              <a:gd name="connsiteY1672" fmla="*/ 1834586 h 6858285"/>
              <a:gd name="connsiteX1673" fmla="*/ 4295515 w 6530351"/>
              <a:gd name="connsiteY1673" fmla="*/ 1886331 h 6858285"/>
              <a:gd name="connsiteX1674" fmla="*/ 3952611 w 6530351"/>
              <a:gd name="connsiteY1674" fmla="*/ 1978320 h 6858285"/>
              <a:gd name="connsiteX1675" fmla="*/ 3885935 w 6530351"/>
              <a:gd name="connsiteY1675" fmla="*/ 1939991 h 6858285"/>
              <a:gd name="connsiteX1676" fmla="*/ 3924035 w 6530351"/>
              <a:gd name="connsiteY1676" fmla="*/ 1872916 h 6858285"/>
              <a:gd name="connsiteX1677" fmla="*/ 4268845 w 6530351"/>
              <a:gd name="connsiteY1677" fmla="*/ 1780925 h 6858285"/>
              <a:gd name="connsiteX1678" fmla="*/ 4289949 w 6530351"/>
              <a:gd name="connsiteY1678" fmla="*/ 1779638 h 6858285"/>
              <a:gd name="connsiteX1679" fmla="*/ 2035648 w 6530351"/>
              <a:gd name="connsiteY1679" fmla="*/ 1779621 h 6858285"/>
              <a:gd name="connsiteX1680" fmla="*/ 2080922 w 6530351"/>
              <a:gd name="connsiteY1680" fmla="*/ 1819238 h 6858285"/>
              <a:gd name="connsiteX1681" fmla="*/ 2082827 w 6530351"/>
              <a:gd name="connsiteY1681" fmla="*/ 1834569 h 6858285"/>
              <a:gd name="connsiteX1682" fmla="*/ 2042821 w 6530351"/>
              <a:gd name="connsiteY1682" fmla="*/ 1886314 h 6858285"/>
              <a:gd name="connsiteX1683" fmla="*/ 1699917 w 6530351"/>
              <a:gd name="connsiteY1683" fmla="*/ 1978302 h 6858285"/>
              <a:gd name="connsiteX1684" fmla="*/ 1633241 w 6530351"/>
              <a:gd name="connsiteY1684" fmla="*/ 1939974 h 6858285"/>
              <a:gd name="connsiteX1685" fmla="*/ 1671342 w 6530351"/>
              <a:gd name="connsiteY1685" fmla="*/ 1872898 h 6858285"/>
              <a:gd name="connsiteX1686" fmla="*/ 2014246 w 6530351"/>
              <a:gd name="connsiteY1686" fmla="*/ 1780909 h 6858285"/>
              <a:gd name="connsiteX1687" fmla="*/ 2035648 w 6530351"/>
              <a:gd name="connsiteY1687" fmla="*/ 1779621 h 6858285"/>
              <a:gd name="connsiteX1688" fmla="*/ 3732191 w 6530351"/>
              <a:gd name="connsiteY1688" fmla="*/ 1775473 h 6858285"/>
              <a:gd name="connsiteX1689" fmla="*/ 3778301 w 6530351"/>
              <a:gd name="connsiteY1689" fmla="*/ 1820015 h 6858285"/>
              <a:gd name="connsiteX1690" fmla="*/ 3778301 w 6530351"/>
              <a:gd name="connsiteY1690" fmla="*/ 1831463 h 6858285"/>
              <a:gd name="connsiteX1691" fmla="*/ 3732549 w 6530351"/>
              <a:gd name="connsiteY1691" fmla="*/ 1888705 h 6858285"/>
              <a:gd name="connsiteX1692" fmla="*/ 3387504 w 6530351"/>
              <a:gd name="connsiteY1692" fmla="*/ 1959303 h 6858285"/>
              <a:gd name="connsiteX1693" fmla="*/ 3318876 w 6530351"/>
              <a:gd name="connsiteY1693" fmla="*/ 1915418 h 6858285"/>
              <a:gd name="connsiteX1694" fmla="*/ 3364628 w 6530351"/>
              <a:gd name="connsiteY1694" fmla="*/ 1846728 h 6858285"/>
              <a:gd name="connsiteX1695" fmla="*/ 3709673 w 6530351"/>
              <a:gd name="connsiteY1695" fmla="*/ 1776129 h 6858285"/>
              <a:gd name="connsiteX1696" fmla="*/ 3732191 w 6530351"/>
              <a:gd name="connsiteY1696" fmla="*/ 1775473 h 6858285"/>
              <a:gd name="connsiteX1697" fmla="*/ 2597114 w 6530351"/>
              <a:gd name="connsiteY1697" fmla="*/ 1775454 h 6858285"/>
              <a:gd name="connsiteX1698" fmla="*/ 2643223 w 6530351"/>
              <a:gd name="connsiteY1698" fmla="*/ 1819995 h 6858285"/>
              <a:gd name="connsiteX1699" fmla="*/ 2643223 w 6530351"/>
              <a:gd name="connsiteY1699" fmla="*/ 1831444 h 6858285"/>
              <a:gd name="connsiteX1700" fmla="*/ 2597471 w 6530351"/>
              <a:gd name="connsiteY1700" fmla="*/ 1888685 h 6858285"/>
              <a:gd name="connsiteX1701" fmla="*/ 2252426 w 6530351"/>
              <a:gd name="connsiteY1701" fmla="*/ 1959283 h 6858285"/>
              <a:gd name="connsiteX1702" fmla="*/ 2183798 w 6530351"/>
              <a:gd name="connsiteY1702" fmla="*/ 1915398 h 6858285"/>
              <a:gd name="connsiteX1703" fmla="*/ 2229550 w 6530351"/>
              <a:gd name="connsiteY1703" fmla="*/ 1846708 h 6858285"/>
              <a:gd name="connsiteX1704" fmla="*/ 2574595 w 6530351"/>
              <a:gd name="connsiteY1704" fmla="*/ 1776110 h 6858285"/>
              <a:gd name="connsiteX1705" fmla="*/ 2597114 w 6530351"/>
              <a:gd name="connsiteY1705" fmla="*/ 1775454 h 6858285"/>
              <a:gd name="connsiteX1706" fmla="*/ 3139435 w 6530351"/>
              <a:gd name="connsiteY1706" fmla="*/ 1767852 h 6858285"/>
              <a:gd name="connsiteX1707" fmla="*/ 3209968 w 6530351"/>
              <a:gd name="connsiteY1707" fmla="*/ 1819198 h 6858285"/>
              <a:gd name="connsiteX1708" fmla="*/ 3209968 w 6530351"/>
              <a:gd name="connsiteY1708" fmla="*/ 1828706 h 6858285"/>
              <a:gd name="connsiteX1709" fmla="*/ 3156592 w 6530351"/>
              <a:gd name="connsiteY1709" fmla="*/ 1889561 h 6858285"/>
              <a:gd name="connsiteX1710" fmla="*/ 2811551 w 6530351"/>
              <a:gd name="connsiteY1710" fmla="*/ 1939005 h 6858285"/>
              <a:gd name="connsiteX1711" fmla="*/ 2741018 w 6530351"/>
              <a:gd name="connsiteY1711" fmla="*/ 1887660 h 6858285"/>
              <a:gd name="connsiteX1712" fmla="*/ 2792488 w 6530351"/>
              <a:gd name="connsiteY1712" fmla="*/ 1819198 h 6858285"/>
              <a:gd name="connsiteX1713" fmla="*/ 3139435 w 6530351"/>
              <a:gd name="connsiteY1713" fmla="*/ 1767852 h 6858285"/>
              <a:gd name="connsiteX1714" fmla="*/ 6500203 w 6530351"/>
              <a:gd name="connsiteY1714" fmla="*/ 1483796 h 6858285"/>
              <a:gd name="connsiteX1715" fmla="*/ 6524069 w 6530351"/>
              <a:gd name="connsiteY1715" fmla="*/ 1503130 h 6858285"/>
              <a:gd name="connsiteX1716" fmla="*/ 6527887 w 6530351"/>
              <a:gd name="connsiteY1716" fmla="*/ 1520316 h 6858285"/>
              <a:gd name="connsiteX1717" fmla="*/ 6506885 w 6530351"/>
              <a:gd name="connsiteY1717" fmla="*/ 1554689 h 6858285"/>
              <a:gd name="connsiteX1718" fmla="*/ 6167027 w 6530351"/>
              <a:gd name="connsiteY1718" fmla="*/ 1728465 h 6858285"/>
              <a:gd name="connsiteX1719" fmla="*/ 6113567 w 6530351"/>
              <a:gd name="connsiteY1719" fmla="*/ 1711279 h 6858285"/>
              <a:gd name="connsiteX1720" fmla="*/ 6130751 w 6530351"/>
              <a:gd name="connsiteY1720" fmla="*/ 1659718 h 6858285"/>
              <a:gd name="connsiteX1721" fmla="*/ 6470609 w 6530351"/>
              <a:gd name="connsiteY1721" fmla="*/ 1485944 h 6858285"/>
              <a:gd name="connsiteX1722" fmla="*/ 6500203 w 6530351"/>
              <a:gd name="connsiteY1722" fmla="*/ 1483796 h 6858285"/>
              <a:gd name="connsiteX1723" fmla="*/ 5958465 w 6530351"/>
              <a:gd name="connsiteY1723" fmla="*/ 1477063 h 6858285"/>
              <a:gd name="connsiteX1724" fmla="*/ 5982737 w 6530351"/>
              <a:gd name="connsiteY1724" fmla="*/ 1499053 h 6858285"/>
              <a:gd name="connsiteX1725" fmla="*/ 5986543 w 6530351"/>
              <a:gd name="connsiteY1725" fmla="*/ 1516262 h 6858285"/>
              <a:gd name="connsiteX1726" fmla="*/ 5961797 w 6530351"/>
              <a:gd name="connsiteY1726" fmla="*/ 1556419 h 6858285"/>
              <a:gd name="connsiteX1727" fmla="*/ 5622953 w 6530351"/>
              <a:gd name="connsiteY1727" fmla="*/ 1711312 h 6858285"/>
              <a:gd name="connsiteX1728" fmla="*/ 5565845 w 6530351"/>
              <a:gd name="connsiteY1728" fmla="*/ 1690277 h 6858285"/>
              <a:gd name="connsiteX1729" fmla="*/ 5586783 w 6530351"/>
              <a:gd name="connsiteY1729" fmla="*/ 1632909 h 6858285"/>
              <a:gd name="connsiteX1730" fmla="*/ 5925629 w 6530351"/>
              <a:gd name="connsiteY1730" fmla="*/ 1478018 h 6858285"/>
              <a:gd name="connsiteX1731" fmla="*/ 5958465 w 6530351"/>
              <a:gd name="connsiteY1731" fmla="*/ 1477063 h 6858285"/>
              <a:gd name="connsiteX1732" fmla="*/ 398251 w 6530351"/>
              <a:gd name="connsiteY1732" fmla="*/ 1477054 h 6858285"/>
              <a:gd name="connsiteX1733" fmla="*/ 423236 w 6530351"/>
              <a:gd name="connsiteY1733" fmla="*/ 1499043 h 6858285"/>
              <a:gd name="connsiteX1734" fmla="*/ 427043 w 6530351"/>
              <a:gd name="connsiteY1734" fmla="*/ 1516254 h 6858285"/>
              <a:gd name="connsiteX1735" fmla="*/ 402296 w 6530351"/>
              <a:gd name="connsiteY1735" fmla="*/ 1556411 h 6858285"/>
              <a:gd name="connsiteX1736" fmla="*/ 61548 w 6530351"/>
              <a:gd name="connsiteY1736" fmla="*/ 1711302 h 6858285"/>
              <a:gd name="connsiteX1737" fmla="*/ 6343 w 6530351"/>
              <a:gd name="connsiteY1737" fmla="*/ 1690267 h 6858285"/>
              <a:gd name="connsiteX1738" fmla="*/ 27283 w 6530351"/>
              <a:gd name="connsiteY1738" fmla="*/ 1632900 h 6858285"/>
              <a:gd name="connsiteX1739" fmla="*/ 366127 w 6530351"/>
              <a:gd name="connsiteY1739" fmla="*/ 1478010 h 6858285"/>
              <a:gd name="connsiteX1740" fmla="*/ 398251 w 6530351"/>
              <a:gd name="connsiteY1740" fmla="*/ 1477054 h 6858285"/>
              <a:gd name="connsiteX1741" fmla="*/ 5394617 w 6530351"/>
              <a:gd name="connsiteY1741" fmla="*/ 1468282 h 6858285"/>
              <a:gd name="connsiteX1742" fmla="*/ 5436943 w 6530351"/>
              <a:gd name="connsiteY1742" fmla="*/ 1498207 h 6858285"/>
              <a:gd name="connsiteX1743" fmla="*/ 5438849 w 6530351"/>
              <a:gd name="connsiteY1743" fmla="*/ 1515306 h 6858285"/>
              <a:gd name="connsiteX1744" fmla="*/ 5410273 w 6530351"/>
              <a:gd name="connsiteY1744" fmla="*/ 1557108 h 6858285"/>
              <a:gd name="connsiteX1745" fmla="*/ 5069273 w 6530351"/>
              <a:gd name="connsiteY1745" fmla="*/ 1693909 h 6858285"/>
              <a:gd name="connsiteX1746" fmla="*/ 5010219 w 6530351"/>
              <a:gd name="connsiteY1746" fmla="*/ 1667309 h 6858285"/>
              <a:gd name="connsiteX1747" fmla="*/ 5036889 w 6530351"/>
              <a:gd name="connsiteY1747" fmla="*/ 1608408 h 6858285"/>
              <a:gd name="connsiteX1748" fmla="*/ 5375983 w 6530351"/>
              <a:gd name="connsiteY1748" fmla="*/ 1471608 h 6858285"/>
              <a:gd name="connsiteX1749" fmla="*/ 5394617 w 6530351"/>
              <a:gd name="connsiteY1749" fmla="*/ 1468282 h 6858285"/>
              <a:gd name="connsiteX1750" fmla="*/ 929404 w 6530351"/>
              <a:gd name="connsiteY1750" fmla="*/ 1468271 h 6858285"/>
              <a:gd name="connsiteX1751" fmla="*/ 970928 w 6530351"/>
              <a:gd name="connsiteY1751" fmla="*/ 1498195 h 6858285"/>
              <a:gd name="connsiteX1752" fmla="*/ 974738 w 6530351"/>
              <a:gd name="connsiteY1752" fmla="*/ 1515296 h 6858285"/>
              <a:gd name="connsiteX1753" fmla="*/ 946163 w 6530351"/>
              <a:gd name="connsiteY1753" fmla="*/ 1557096 h 6858285"/>
              <a:gd name="connsiteX1754" fmla="*/ 605163 w 6530351"/>
              <a:gd name="connsiteY1754" fmla="*/ 1693897 h 6858285"/>
              <a:gd name="connsiteX1755" fmla="*/ 546107 w 6530351"/>
              <a:gd name="connsiteY1755" fmla="*/ 1667296 h 6858285"/>
              <a:gd name="connsiteX1756" fmla="*/ 570872 w 6530351"/>
              <a:gd name="connsiteY1756" fmla="*/ 1608396 h 6858285"/>
              <a:gd name="connsiteX1757" fmla="*/ 911872 w 6530351"/>
              <a:gd name="connsiteY1757" fmla="*/ 1471596 h 6858285"/>
              <a:gd name="connsiteX1758" fmla="*/ 929404 w 6530351"/>
              <a:gd name="connsiteY1758" fmla="*/ 1468271 h 6858285"/>
              <a:gd name="connsiteX1759" fmla="*/ 4844481 w 6530351"/>
              <a:gd name="connsiteY1759" fmla="*/ 1461443 h 6858285"/>
              <a:gd name="connsiteX1760" fmla="*/ 4887343 w 6530351"/>
              <a:gd name="connsiteY1760" fmla="*/ 1493857 h 6858285"/>
              <a:gd name="connsiteX1761" fmla="*/ 4891155 w 6530351"/>
              <a:gd name="connsiteY1761" fmla="*/ 1511001 h 6858285"/>
              <a:gd name="connsiteX1762" fmla="*/ 4856863 w 6530351"/>
              <a:gd name="connsiteY1762" fmla="*/ 1556723 h 6858285"/>
              <a:gd name="connsiteX1763" fmla="*/ 4515863 w 6530351"/>
              <a:gd name="connsiteY1763" fmla="*/ 1674834 h 6858285"/>
              <a:gd name="connsiteX1764" fmla="*/ 4452999 w 6530351"/>
              <a:gd name="connsiteY1764" fmla="*/ 1644353 h 6858285"/>
              <a:gd name="connsiteX1765" fmla="*/ 4483479 w 6530351"/>
              <a:gd name="connsiteY1765" fmla="*/ 1583392 h 6858285"/>
              <a:gd name="connsiteX1766" fmla="*/ 4824479 w 6530351"/>
              <a:gd name="connsiteY1766" fmla="*/ 1463377 h 6858285"/>
              <a:gd name="connsiteX1767" fmla="*/ 4844481 w 6530351"/>
              <a:gd name="connsiteY1767" fmla="*/ 1461443 h 6858285"/>
              <a:gd name="connsiteX1768" fmla="*/ 1479736 w 6530351"/>
              <a:gd name="connsiteY1768" fmla="*/ 1461429 h 6858285"/>
              <a:gd name="connsiteX1769" fmla="*/ 1523702 w 6530351"/>
              <a:gd name="connsiteY1769" fmla="*/ 1493843 h 6858285"/>
              <a:gd name="connsiteX1770" fmla="*/ 1525608 w 6530351"/>
              <a:gd name="connsiteY1770" fmla="*/ 1510988 h 6858285"/>
              <a:gd name="connsiteX1771" fmla="*/ 1493199 w 6530351"/>
              <a:gd name="connsiteY1771" fmla="*/ 1556708 h 6858285"/>
              <a:gd name="connsiteX1772" fmla="*/ 1150050 w 6530351"/>
              <a:gd name="connsiteY1772" fmla="*/ 1674820 h 6858285"/>
              <a:gd name="connsiteX1773" fmla="*/ 1089046 w 6530351"/>
              <a:gd name="connsiteY1773" fmla="*/ 1644339 h 6858285"/>
              <a:gd name="connsiteX1774" fmla="*/ 1117642 w 6530351"/>
              <a:gd name="connsiteY1774" fmla="*/ 1583379 h 6858285"/>
              <a:gd name="connsiteX1775" fmla="*/ 1460791 w 6530351"/>
              <a:gd name="connsiteY1775" fmla="*/ 1463363 h 6858285"/>
              <a:gd name="connsiteX1776" fmla="*/ 1479736 w 6530351"/>
              <a:gd name="connsiteY1776" fmla="*/ 1461429 h 6858285"/>
              <a:gd name="connsiteX1777" fmla="*/ 4288013 w 6530351"/>
              <a:gd name="connsiteY1777" fmla="*/ 1454945 h 6858285"/>
              <a:gd name="connsiteX1778" fmla="*/ 4331709 w 6530351"/>
              <a:gd name="connsiteY1778" fmla="*/ 1491699 h 6858285"/>
              <a:gd name="connsiteX1779" fmla="*/ 4335523 w 6530351"/>
              <a:gd name="connsiteY1779" fmla="*/ 1506961 h 6858285"/>
              <a:gd name="connsiteX1780" fmla="*/ 4297395 w 6530351"/>
              <a:gd name="connsiteY1780" fmla="*/ 1558472 h 6858285"/>
              <a:gd name="connsiteX1781" fmla="*/ 3954251 w 6530351"/>
              <a:gd name="connsiteY1781" fmla="*/ 1657678 h 6858285"/>
              <a:gd name="connsiteX1782" fmla="*/ 3887529 w 6530351"/>
              <a:gd name="connsiteY1782" fmla="*/ 1621430 h 6858285"/>
              <a:gd name="connsiteX1783" fmla="*/ 3923749 w 6530351"/>
              <a:gd name="connsiteY1783" fmla="*/ 1556564 h 6858285"/>
              <a:gd name="connsiteX1784" fmla="*/ 4266893 w 6530351"/>
              <a:gd name="connsiteY1784" fmla="*/ 1457360 h 6858285"/>
              <a:gd name="connsiteX1785" fmla="*/ 4288013 w 6530351"/>
              <a:gd name="connsiteY1785" fmla="*/ 1454945 h 6858285"/>
              <a:gd name="connsiteX1786" fmla="*/ 2034963 w 6530351"/>
              <a:gd name="connsiteY1786" fmla="*/ 1454929 h 6858285"/>
              <a:gd name="connsiteX1787" fmla="*/ 2079340 w 6530351"/>
              <a:gd name="connsiteY1787" fmla="*/ 1491683 h 6858285"/>
              <a:gd name="connsiteX1788" fmla="*/ 2081241 w 6530351"/>
              <a:gd name="connsiteY1788" fmla="*/ 1506945 h 6858285"/>
              <a:gd name="connsiteX1789" fmla="*/ 2043221 w 6530351"/>
              <a:gd name="connsiteY1789" fmla="*/ 1558456 h 6858285"/>
              <a:gd name="connsiteX1790" fmla="*/ 1701036 w 6530351"/>
              <a:gd name="connsiteY1790" fmla="*/ 1657662 h 6858285"/>
              <a:gd name="connsiteX1791" fmla="*/ 1636401 w 6530351"/>
              <a:gd name="connsiteY1791" fmla="*/ 1621413 h 6858285"/>
              <a:gd name="connsiteX1792" fmla="*/ 1672521 w 6530351"/>
              <a:gd name="connsiteY1792" fmla="*/ 1556548 h 6858285"/>
              <a:gd name="connsiteX1793" fmla="*/ 2014705 w 6530351"/>
              <a:gd name="connsiteY1793" fmla="*/ 1457343 h 6858285"/>
              <a:gd name="connsiteX1794" fmla="*/ 2034963 w 6530351"/>
              <a:gd name="connsiteY1794" fmla="*/ 1454929 h 6858285"/>
              <a:gd name="connsiteX1795" fmla="*/ 3729081 w 6530351"/>
              <a:gd name="connsiteY1795" fmla="*/ 1449674 h 6858285"/>
              <a:gd name="connsiteX1796" fmla="*/ 3773223 w 6530351"/>
              <a:gd name="connsiteY1796" fmla="*/ 1490533 h 6858285"/>
              <a:gd name="connsiteX1797" fmla="*/ 3775127 w 6530351"/>
              <a:gd name="connsiteY1797" fmla="*/ 1503826 h 6858285"/>
              <a:gd name="connsiteX1798" fmla="*/ 3733273 w 6530351"/>
              <a:gd name="connsiteY1798" fmla="*/ 1558900 h 6858285"/>
              <a:gd name="connsiteX1799" fmla="*/ 3388939 w 6530351"/>
              <a:gd name="connsiteY1799" fmla="*/ 1638661 h 6858285"/>
              <a:gd name="connsiteX1800" fmla="*/ 3322355 w 6530351"/>
              <a:gd name="connsiteY1800" fmla="*/ 1598781 h 6858285"/>
              <a:gd name="connsiteX1801" fmla="*/ 3362305 w 6530351"/>
              <a:gd name="connsiteY1801" fmla="*/ 1530413 h 6858285"/>
              <a:gd name="connsiteX1802" fmla="*/ 3706639 w 6530351"/>
              <a:gd name="connsiteY1802" fmla="*/ 1450653 h 6858285"/>
              <a:gd name="connsiteX1803" fmla="*/ 3729081 w 6530351"/>
              <a:gd name="connsiteY1803" fmla="*/ 1449674 h 6858285"/>
              <a:gd name="connsiteX1804" fmla="*/ 2595324 w 6530351"/>
              <a:gd name="connsiteY1804" fmla="*/ 1449656 h 6858285"/>
              <a:gd name="connsiteX1805" fmla="*/ 2639733 w 6530351"/>
              <a:gd name="connsiteY1805" fmla="*/ 1490515 h 6858285"/>
              <a:gd name="connsiteX1806" fmla="*/ 2641635 w 6530351"/>
              <a:gd name="connsiteY1806" fmla="*/ 1503809 h 6858285"/>
              <a:gd name="connsiteX1807" fmla="*/ 2597880 w 6530351"/>
              <a:gd name="connsiteY1807" fmla="*/ 1558882 h 6858285"/>
              <a:gd name="connsiteX1808" fmla="*/ 2255448 w 6530351"/>
              <a:gd name="connsiteY1808" fmla="*/ 1638643 h 6858285"/>
              <a:gd name="connsiteX1809" fmla="*/ 2188864 w 6530351"/>
              <a:gd name="connsiteY1809" fmla="*/ 1598762 h 6858285"/>
              <a:gd name="connsiteX1810" fmla="*/ 2228814 w 6530351"/>
              <a:gd name="connsiteY1810" fmla="*/ 1530396 h 6858285"/>
              <a:gd name="connsiteX1811" fmla="*/ 2573149 w 6530351"/>
              <a:gd name="connsiteY1811" fmla="*/ 1450635 h 6858285"/>
              <a:gd name="connsiteX1812" fmla="*/ 2595324 w 6530351"/>
              <a:gd name="connsiteY1812" fmla="*/ 1449656 h 6858285"/>
              <a:gd name="connsiteX1813" fmla="*/ 3137752 w 6530351"/>
              <a:gd name="connsiteY1813" fmla="*/ 1442422 h 6858285"/>
              <a:gd name="connsiteX1814" fmla="*/ 3206472 w 6530351"/>
              <a:gd name="connsiteY1814" fmla="*/ 1490047 h 6858285"/>
              <a:gd name="connsiteX1815" fmla="*/ 3208381 w 6530351"/>
              <a:gd name="connsiteY1815" fmla="*/ 1499571 h 6858285"/>
              <a:gd name="connsiteX1816" fmla="*/ 3158750 w 6530351"/>
              <a:gd name="connsiteY1816" fmla="*/ 1558627 h 6858285"/>
              <a:gd name="connsiteX1817" fmla="*/ 2813242 w 6530351"/>
              <a:gd name="connsiteY1817" fmla="*/ 1621493 h 6858285"/>
              <a:gd name="connsiteX1818" fmla="*/ 2744523 w 6530351"/>
              <a:gd name="connsiteY1818" fmla="*/ 1573867 h 6858285"/>
              <a:gd name="connsiteX1819" fmla="*/ 2792245 w 6530351"/>
              <a:gd name="connsiteY1819" fmla="*/ 1505286 h 6858285"/>
              <a:gd name="connsiteX1820" fmla="*/ 3137752 w 6530351"/>
              <a:gd name="connsiteY1820" fmla="*/ 1442422 h 6858285"/>
              <a:gd name="connsiteX1821" fmla="*/ 6500919 w 6530351"/>
              <a:gd name="connsiteY1821" fmla="*/ 1161543 h 6858285"/>
              <a:gd name="connsiteX1822" fmla="*/ 6524069 w 6530351"/>
              <a:gd name="connsiteY1822" fmla="*/ 1180903 h 6858285"/>
              <a:gd name="connsiteX1823" fmla="*/ 6527887 w 6530351"/>
              <a:gd name="connsiteY1823" fmla="*/ 1198110 h 6858285"/>
              <a:gd name="connsiteX1824" fmla="*/ 6506885 w 6530351"/>
              <a:gd name="connsiteY1824" fmla="*/ 1234435 h 6858285"/>
              <a:gd name="connsiteX1825" fmla="*/ 6167027 w 6530351"/>
              <a:gd name="connsiteY1825" fmla="*/ 1406514 h 6858285"/>
              <a:gd name="connsiteX1826" fmla="*/ 6113567 w 6530351"/>
              <a:gd name="connsiteY1826" fmla="*/ 1389305 h 6858285"/>
              <a:gd name="connsiteX1827" fmla="*/ 6130751 w 6530351"/>
              <a:gd name="connsiteY1827" fmla="*/ 1335769 h 6858285"/>
              <a:gd name="connsiteX1828" fmla="*/ 6470609 w 6530351"/>
              <a:gd name="connsiteY1828" fmla="*/ 1163695 h 6858285"/>
              <a:gd name="connsiteX1829" fmla="*/ 6500919 w 6530351"/>
              <a:gd name="connsiteY1829" fmla="*/ 1161543 h 6858285"/>
              <a:gd name="connsiteX1830" fmla="*/ 5957751 w 6530351"/>
              <a:gd name="connsiteY1830" fmla="*/ 1155623 h 6858285"/>
              <a:gd name="connsiteX1831" fmla="*/ 5982737 w 6530351"/>
              <a:gd name="connsiteY1831" fmla="*/ 1178188 h 6858285"/>
              <a:gd name="connsiteX1832" fmla="*/ 5986543 w 6530351"/>
              <a:gd name="connsiteY1832" fmla="*/ 1195291 h 6858285"/>
              <a:gd name="connsiteX1833" fmla="*/ 5961797 w 6530351"/>
              <a:gd name="connsiteY1833" fmla="*/ 1233291 h 6858285"/>
              <a:gd name="connsiteX1834" fmla="*/ 5622953 w 6530351"/>
              <a:gd name="connsiteY1834" fmla="*/ 1389109 h 6858285"/>
              <a:gd name="connsiteX1835" fmla="*/ 5565845 w 6530351"/>
              <a:gd name="connsiteY1835" fmla="*/ 1368207 h 6858285"/>
              <a:gd name="connsiteX1836" fmla="*/ 5586783 w 6530351"/>
              <a:gd name="connsiteY1836" fmla="*/ 1313099 h 6858285"/>
              <a:gd name="connsiteX1837" fmla="*/ 5925629 w 6530351"/>
              <a:gd name="connsiteY1837" fmla="*/ 1157286 h 6858285"/>
              <a:gd name="connsiteX1838" fmla="*/ 5957751 w 6530351"/>
              <a:gd name="connsiteY1838" fmla="*/ 1155623 h 6858285"/>
              <a:gd name="connsiteX1839" fmla="*/ 398309 w 6530351"/>
              <a:gd name="connsiteY1839" fmla="*/ 1155612 h 6858285"/>
              <a:gd name="connsiteX1840" fmla="*/ 421646 w 6530351"/>
              <a:gd name="connsiteY1840" fmla="*/ 1178178 h 6858285"/>
              <a:gd name="connsiteX1841" fmla="*/ 425456 w 6530351"/>
              <a:gd name="connsiteY1841" fmla="*/ 1195279 h 6858285"/>
              <a:gd name="connsiteX1842" fmla="*/ 402596 w 6530351"/>
              <a:gd name="connsiteY1842" fmla="*/ 1233281 h 6858285"/>
              <a:gd name="connsiteX1843" fmla="*/ 61596 w 6530351"/>
              <a:gd name="connsiteY1843" fmla="*/ 1389098 h 6858285"/>
              <a:gd name="connsiteX1844" fmla="*/ 6350 w 6530351"/>
              <a:gd name="connsiteY1844" fmla="*/ 1368196 h 6858285"/>
              <a:gd name="connsiteX1845" fmla="*/ 27305 w 6530351"/>
              <a:gd name="connsiteY1845" fmla="*/ 1313089 h 6858285"/>
              <a:gd name="connsiteX1846" fmla="*/ 366400 w 6530351"/>
              <a:gd name="connsiteY1846" fmla="*/ 1157275 h 6858285"/>
              <a:gd name="connsiteX1847" fmla="*/ 398309 w 6530351"/>
              <a:gd name="connsiteY1847" fmla="*/ 1155612 h 6858285"/>
              <a:gd name="connsiteX1848" fmla="*/ 5393481 w 6530351"/>
              <a:gd name="connsiteY1848" fmla="*/ 1144397 h 6858285"/>
              <a:gd name="connsiteX1849" fmla="*/ 5435035 w 6530351"/>
              <a:gd name="connsiteY1849" fmla="*/ 1172416 h 6858285"/>
              <a:gd name="connsiteX1850" fmla="*/ 5438847 w 6530351"/>
              <a:gd name="connsiteY1850" fmla="*/ 1189495 h 6858285"/>
              <a:gd name="connsiteX1851" fmla="*/ 5410251 w 6530351"/>
              <a:gd name="connsiteY1851" fmla="*/ 1231239 h 6858285"/>
              <a:gd name="connsiteX1852" fmla="*/ 5070911 w 6530351"/>
              <a:gd name="connsiteY1852" fmla="*/ 1371660 h 6858285"/>
              <a:gd name="connsiteX1853" fmla="*/ 5011813 w 6530351"/>
              <a:gd name="connsiteY1853" fmla="*/ 1346990 h 6858285"/>
              <a:gd name="connsiteX1854" fmla="*/ 5036595 w 6530351"/>
              <a:gd name="connsiteY1854" fmla="*/ 1288164 h 6858285"/>
              <a:gd name="connsiteX1855" fmla="*/ 5375937 w 6530351"/>
              <a:gd name="connsiteY1855" fmla="*/ 1147747 h 6858285"/>
              <a:gd name="connsiteX1856" fmla="*/ 5393481 w 6530351"/>
              <a:gd name="connsiteY1856" fmla="*/ 1144397 h 6858285"/>
              <a:gd name="connsiteX1857" fmla="*/ 929392 w 6530351"/>
              <a:gd name="connsiteY1857" fmla="*/ 1144384 h 6858285"/>
              <a:gd name="connsiteX1858" fmla="*/ 969337 w 6530351"/>
              <a:gd name="connsiteY1858" fmla="*/ 1172402 h 6858285"/>
              <a:gd name="connsiteX1859" fmla="*/ 973150 w 6530351"/>
              <a:gd name="connsiteY1859" fmla="*/ 1189481 h 6858285"/>
              <a:gd name="connsiteX1860" fmla="*/ 946460 w 6530351"/>
              <a:gd name="connsiteY1860" fmla="*/ 1231226 h 6858285"/>
              <a:gd name="connsiteX1861" fmla="*/ 605213 w 6530351"/>
              <a:gd name="connsiteY1861" fmla="*/ 1371647 h 6858285"/>
              <a:gd name="connsiteX1862" fmla="*/ 546114 w 6530351"/>
              <a:gd name="connsiteY1862" fmla="*/ 1346978 h 6858285"/>
              <a:gd name="connsiteX1863" fmla="*/ 570897 w 6530351"/>
              <a:gd name="connsiteY1863" fmla="*/ 1288153 h 6858285"/>
              <a:gd name="connsiteX1864" fmla="*/ 912145 w 6530351"/>
              <a:gd name="connsiteY1864" fmla="*/ 1147734 h 6858285"/>
              <a:gd name="connsiteX1865" fmla="*/ 929392 w 6530351"/>
              <a:gd name="connsiteY1865" fmla="*/ 1144384 h 6858285"/>
              <a:gd name="connsiteX1866" fmla="*/ 4842207 w 6530351"/>
              <a:gd name="connsiteY1866" fmla="*/ 1136792 h 6858285"/>
              <a:gd name="connsiteX1867" fmla="*/ 4884177 w 6530351"/>
              <a:gd name="connsiteY1867" fmla="*/ 1168317 h 6858285"/>
              <a:gd name="connsiteX1868" fmla="*/ 4887979 w 6530351"/>
              <a:gd name="connsiteY1868" fmla="*/ 1185417 h 6858285"/>
              <a:gd name="connsiteX1869" fmla="*/ 4855663 w 6530351"/>
              <a:gd name="connsiteY1869" fmla="*/ 1231009 h 6858285"/>
              <a:gd name="connsiteX1870" fmla="*/ 4515395 w 6530351"/>
              <a:gd name="connsiteY1870" fmla="*/ 1354496 h 6858285"/>
              <a:gd name="connsiteX1871" fmla="*/ 4454565 w 6530351"/>
              <a:gd name="connsiteY1871" fmla="*/ 1325999 h 6858285"/>
              <a:gd name="connsiteX1872" fmla="*/ 4483079 w 6530351"/>
              <a:gd name="connsiteY1872" fmla="*/ 1263303 h 6858285"/>
              <a:gd name="connsiteX1873" fmla="*/ 4823347 w 6530351"/>
              <a:gd name="connsiteY1873" fmla="*/ 1139820 h 6858285"/>
              <a:gd name="connsiteX1874" fmla="*/ 4842207 w 6530351"/>
              <a:gd name="connsiteY1874" fmla="*/ 1136792 h 6858285"/>
              <a:gd name="connsiteX1875" fmla="*/ 1478264 w 6530351"/>
              <a:gd name="connsiteY1875" fmla="*/ 1136777 h 6858285"/>
              <a:gd name="connsiteX1876" fmla="*/ 1520531 w 6530351"/>
              <a:gd name="connsiteY1876" fmla="*/ 1168302 h 6858285"/>
              <a:gd name="connsiteX1877" fmla="*/ 1522433 w 6530351"/>
              <a:gd name="connsiteY1877" fmla="*/ 1185401 h 6858285"/>
              <a:gd name="connsiteX1878" fmla="*/ 1491996 w 6530351"/>
              <a:gd name="connsiteY1878" fmla="*/ 1230995 h 6858285"/>
              <a:gd name="connsiteX1879" fmla="*/ 1151487 w 6530351"/>
              <a:gd name="connsiteY1879" fmla="*/ 1354481 h 6858285"/>
              <a:gd name="connsiteX1880" fmla="*/ 1088711 w 6530351"/>
              <a:gd name="connsiteY1880" fmla="*/ 1325984 h 6858285"/>
              <a:gd name="connsiteX1881" fmla="*/ 1117245 w 6530351"/>
              <a:gd name="connsiteY1881" fmla="*/ 1263291 h 6858285"/>
              <a:gd name="connsiteX1882" fmla="*/ 1459657 w 6530351"/>
              <a:gd name="connsiteY1882" fmla="*/ 1139805 h 6858285"/>
              <a:gd name="connsiteX1883" fmla="*/ 1478264 w 6530351"/>
              <a:gd name="connsiteY1883" fmla="*/ 1136777 h 6858285"/>
              <a:gd name="connsiteX1884" fmla="*/ 4287327 w 6530351"/>
              <a:gd name="connsiteY1884" fmla="*/ 1129708 h 6858285"/>
              <a:gd name="connsiteX1885" fmla="*/ 4330129 w 6530351"/>
              <a:gd name="connsiteY1885" fmla="*/ 1165821 h 6858285"/>
              <a:gd name="connsiteX1886" fmla="*/ 4333935 w 6530351"/>
              <a:gd name="connsiteY1886" fmla="*/ 1181040 h 6858285"/>
              <a:gd name="connsiteX1887" fmla="*/ 4297789 w 6530351"/>
              <a:gd name="connsiteY1887" fmla="*/ 1228594 h 6858285"/>
              <a:gd name="connsiteX1888" fmla="*/ 3955367 w 6530351"/>
              <a:gd name="connsiteY1888" fmla="*/ 1337024 h 6858285"/>
              <a:gd name="connsiteX1889" fmla="*/ 3890687 w 6530351"/>
              <a:gd name="connsiteY1889" fmla="*/ 1302782 h 6858285"/>
              <a:gd name="connsiteX1890" fmla="*/ 3924929 w 6530351"/>
              <a:gd name="connsiteY1890" fmla="*/ 1240007 h 6858285"/>
              <a:gd name="connsiteX1891" fmla="*/ 4267351 w 6530351"/>
              <a:gd name="connsiteY1891" fmla="*/ 1131580 h 6858285"/>
              <a:gd name="connsiteX1892" fmla="*/ 4287327 w 6530351"/>
              <a:gd name="connsiteY1892" fmla="*/ 1129708 h 6858285"/>
              <a:gd name="connsiteX1893" fmla="*/ 2033043 w 6530351"/>
              <a:gd name="connsiteY1893" fmla="*/ 1129690 h 6858285"/>
              <a:gd name="connsiteX1894" fmla="*/ 2077749 w 6530351"/>
              <a:gd name="connsiteY1894" fmla="*/ 1165803 h 6858285"/>
              <a:gd name="connsiteX1895" fmla="*/ 2079653 w 6530351"/>
              <a:gd name="connsiteY1895" fmla="*/ 1181022 h 6858285"/>
              <a:gd name="connsiteX1896" fmla="*/ 2043483 w 6530351"/>
              <a:gd name="connsiteY1896" fmla="*/ 1228577 h 6858285"/>
              <a:gd name="connsiteX1897" fmla="*/ 1702724 w 6530351"/>
              <a:gd name="connsiteY1897" fmla="*/ 1337007 h 6858285"/>
              <a:gd name="connsiteX1898" fmla="*/ 1637999 w 6530351"/>
              <a:gd name="connsiteY1898" fmla="*/ 1302766 h 6858285"/>
              <a:gd name="connsiteX1899" fmla="*/ 1670361 w 6530351"/>
              <a:gd name="connsiteY1899" fmla="*/ 1239991 h 6858285"/>
              <a:gd name="connsiteX1900" fmla="*/ 2013024 w 6530351"/>
              <a:gd name="connsiteY1900" fmla="*/ 1131563 h 6858285"/>
              <a:gd name="connsiteX1901" fmla="*/ 2033043 w 6530351"/>
              <a:gd name="connsiteY1901" fmla="*/ 1129690 h 6858285"/>
              <a:gd name="connsiteX1902" fmla="*/ 3726359 w 6530351"/>
              <a:gd name="connsiteY1902" fmla="*/ 1122412 h 6858285"/>
              <a:gd name="connsiteX1903" fmla="*/ 3771633 w 6530351"/>
              <a:gd name="connsiteY1903" fmla="*/ 1162029 h 6858285"/>
              <a:gd name="connsiteX1904" fmla="*/ 3773539 w 6530351"/>
              <a:gd name="connsiteY1904" fmla="*/ 1175444 h 6858285"/>
              <a:gd name="connsiteX1905" fmla="*/ 3733533 w 6530351"/>
              <a:gd name="connsiteY1905" fmla="*/ 1229103 h 6858285"/>
              <a:gd name="connsiteX1906" fmla="*/ 3390628 w 6530351"/>
              <a:gd name="connsiteY1906" fmla="*/ 1321092 h 6858285"/>
              <a:gd name="connsiteX1907" fmla="*/ 3323952 w 6530351"/>
              <a:gd name="connsiteY1907" fmla="*/ 1282761 h 6858285"/>
              <a:gd name="connsiteX1908" fmla="*/ 3362053 w 6530351"/>
              <a:gd name="connsiteY1908" fmla="*/ 1215690 h 6858285"/>
              <a:gd name="connsiteX1909" fmla="*/ 3704957 w 6530351"/>
              <a:gd name="connsiteY1909" fmla="*/ 1123700 h 6858285"/>
              <a:gd name="connsiteX1910" fmla="*/ 3726359 w 6530351"/>
              <a:gd name="connsiteY1910" fmla="*/ 1122412 h 6858285"/>
              <a:gd name="connsiteX1911" fmla="*/ 2592869 w 6530351"/>
              <a:gd name="connsiteY1911" fmla="*/ 1122392 h 6858285"/>
              <a:gd name="connsiteX1912" fmla="*/ 2638143 w 6530351"/>
              <a:gd name="connsiteY1912" fmla="*/ 1162008 h 6858285"/>
              <a:gd name="connsiteX1913" fmla="*/ 2640048 w 6530351"/>
              <a:gd name="connsiteY1913" fmla="*/ 1175424 h 6858285"/>
              <a:gd name="connsiteX1914" fmla="*/ 2600042 w 6530351"/>
              <a:gd name="connsiteY1914" fmla="*/ 1229084 h 6858285"/>
              <a:gd name="connsiteX1915" fmla="*/ 2257138 w 6530351"/>
              <a:gd name="connsiteY1915" fmla="*/ 1321073 h 6858285"/>
              <a:gd name="connsiteX1916" fmla="*/ 2190462 w 6530351"/>
              <a:gd name="connsiteY1916" fmla="*/ 1282744 h 6858285"/>
              <a:gd name="connsiteX1917" fmla="*/ 2228563 w 6530351"/>
              <a:gd name="connsiteY1917" fmla="*/ 1215669 h 6858285"/>
              <a:gd name="connsiteX1918" fmla="*/ 2571467 w 6530351"/>
              <a:gd name="connsiteY1918" fmla="*/ 1123680 h 6858285"/>
              <a:gd name="connsiteX1919" fmla="*/ 2592869 w 6530351"/>
              <a:gd name="connsiteY1919" fmla="*/ 1122392 h 6858285"/>
              <a:gd name="connsiteX1920" fmla="*/ 3157606 w 6530351"/>
              <a:gd name="connsiteY1920" fmla="*/ 1116352 h 6858285"/>
              <a:gd name="connsiteX1921" fmla="*/ 3201718 w 6530351"/>
              <a:gd name="connsiteY1921" fmla="*/ 1159215 h 6858285"/>
              <a:gd name="connsiteX1922" fmla="*/ 3203619 w 6530351"/>
              <a:gd name="connsiteY1922" fmla="*/ 1172550 h 6858285"/>
              <a:gd name="connsiteX1923" fmla="*/ 3159894 w 6530351"/>
              <a:gd name="connsiteY1923" fmla="*/ 1227794 h 6858285"/>
              <a:gd name="connsiteX1924" fmla="*/ 2815793 w 6530351"/>
              <a:gd name="connsiteY1924" fmla="*/ 1303992 h 6858285"/>
              <a:gd name="connsiteX1925" fmla="*/ 2747353 w 6530351"/>
              <a:gd name="connsiteY1925" fmla="*/ 1260177 h 6858285"/>
              <a:gd name="connsiteX1926" fmla="*/ 2791079 w 6530351"/>
              <a:gd name="connsiteY1926" fmla="*/ 1191600 h 6858285"/>
              <a:gd name="connsiteX1927" fmla="*/ 3135179 w 6530351"/>
              <a:gd name="connsiteY1927" fmla="*/ 1117304 h 6858285"/>
              <a:gd name="connsiteX1928" fmla="*/ 3157606 w 6530351"/>
              <a:gd name="connsiteY1928" fmla="*/ 1116352 h 6858285"/>
              <a:gd name="connsiteX1929" fmla="*/ 6485675 w 6530351"/>
              <a:gd name="connsiteY1929" fmla="*/ 836904 h 6858285"/>
              <a:gd name="connsiteX1930" fmla="*/ 6524069 w 6530351"/>
              <a:gd name="connsiteY1930" fmla="*/ 858924 h 6858285"/>
              <a:gd name="connsiteX1931" fmla="*/ 6527887 w 6530351"/>
              <a:gd name="connsiteY1931" fmla="*/ 876110 h 6858285"/>
              <a:gd name="connsiteX1932" fmla="*/ 6506885 w 6530351"/>
              <a:gd name="connsiteY1932" fmla="*/ 912393 h 6858285"/>
              <a:gd name="connsiteX1933" fmla="*/ 6167027 w 6530351"/>
              <a:gd name="connsiteY1933" fmla="*/ 1082352 h 6858285"/>
              <a:gd name="connsiteX1934" fmla="*/ 6113567 w 6530351"/>
              <a:gd name="connsiteY1934" fmla="*/ 1065166 h 6858285"/>
              <a:gd name="connsiteX1935" fmla="*/ 6130751 w 6530351"/>
              <a:gd name="connsiteY1935" fmla="*/ 1011692 h 6858285"/>
              <a:gd name="connsiteX1936" fmla="*/ 6470609 w 6530351"/>
              <a:gd name="connsiteY1936" fmla="*/ 841738 h 6858285"/>
              <a:gd name="connsiteX1937" fmla="*/ 6485675 w 6530351"/>
              <a:gd name="connsiteY1937" fmla="*/ 836904 h 6858285"/>
              <a:gd name="connsiteX1938" fmla="*/ 5957811 w 6530351"/>
              <a:gd name="connsiteY1938" fmla="*/ 832471 h 6858285"/>
              <a:gd name="connsiteX1939" fmla="*/ 5981147 w 6530351"/>
              <a:gd name="connsiteY1939" fmla="*/ 854296 h 6858285"/>
              <a:gd name="connsiteX1940" fmla="*/ 5984957 w 6530351"/>
              <a:gd name="connsiteY1940" fmla="*/ 871376 h 6858285"/>
              <a:gd name="connsiteX1941" fmla="*/ 5962097 w 6530351"/>
              <a:gd name="connsiteY1941" fmla="*/ 909333 h 6858285"/>
              <a:gd name="connsiteX1942" fmla="*/ 5623001 w 6530351"/>
              <a:gd name="connsiteY1942" fmla="*/ 1066858 h 6858285"/>
              <a:gd name="connsiteX1943" fmla="*/ 5565851 w 6530351"/>
              <a:gd name="connsiteY1943" fmla="*/ 1045977 h 6858285"/>
              <a:gd name="connsiteX1944" fmla="*/ 5586807 w 6530351"/>
              <a:gd name="connsiteY1944" fmla="*/ 990940 h 6858285"/>
              <a:gd name="connsiteX1945" fmla="*/ 5925901 w 6530351"/>
              <a:gd name="connsiteY1945" fmla="*/ 833419 h 6858285"/>
              <a:gd name="connsiteX1946" fmla="*/ 5957811 w 6530351"/>
              <a:gd name="connsiteY1946" fmla="*/ 832471 h 6858285"/>
              <a:gd name="connsiteX1947" fmla="*/ 398309 w 6530351"/>
              <a:gd name="connsiteY1947" fmla="*/ 832461 h 6858285"/>
              <a:gd name="connsiteX1948" fmla="*/ 421646 w 6530351"/>
              <a:gd name="connsiteY1948" fmla="*/ 854286 h 6858285"/>
              <a:gd name="connsiteX1949" fmla="*/ 425456 w 6530351"/>
              <a:gd name="connsiteY1949" fmla="*/ 871366 h 6858285"/>
              <a:gd name="connsiteX1950" fmla="*/ 400691 w 6530351"/>
              <a:gd name="connsiteY1950" fmla="*/ 909323 h 6858285"/>
              <a:gd name="connsiteX1951" fmla="*/ 61596 w 6530351"/>
              <a:gd name="connsiteY1951" fmla="*/ 1066847 h 6858285"/>
              <a:gd name="connsiteX1952" fmla="*/ 6350 w 6530351"/>
              <a:gd name="connsiteY1952" fmla="*/ 1045967 h 6858285"/>
              <a:gd name="connsiteX1953" fmla="*/ 27305 w 6530351"/>
              <a:gd name="connsiteY1953" fmla="*/ 990930 h 6858285"/>
              <a:gd name="connsiteX1954" fmla="*/ 366400 w 6530351"/>
              <a:gd name="connsiteY1954" fmla="*/ 833409 h 6858285"/>
              <a:gd name="connsiteX1955" fmla="*/ 398309 w 6530351"/>
              <a:gd name="connsiteY1955" fmla="*/ 832461 h 6858285"/>
              <a:gd name="connsiteX1956" fmla="*/ 5410491 w 6530351"/>
              <a:gd name="connsiteY1956" fmla="*/ 824769 h 6858285"/>
              <a:gd name="connsiteX1957" fmla="*/ 5435035 w 6530351"/>
              <a:gd name="connsiteY1957" fmla="*/ 848252 h 6858285"/>
              <a:gd name="connsiteX1958" fmla="*/ 5438847 w 6530351"/>
              <a:gd name="connsiteY1958" fmla="*/ 865330 h 6858285"/>
              <a:gd name="connsiteX1959" fmla="*/ 5410251 w 6530351"/>
              <a:gd name="connsiteY1959" fmla="*/ 907076 h 6858285"/>
              <a:gd name="connsiteX1960" fmla="*/ 5070911 w 6530351"/>
              <a:gd name="connsiteY1960" fmla="*/ 1049392 h 6858285"/>
              <a:gd name="connsiteX1961" fmla="*/ 5011813 w 6530351"/>
              <a:gd name="connsiteY1961" fmla="*/ 1024725 h 6858285"/>
              <a:gd name="connsiteX1962" fmla="*/ 5034689 w 6530351"/>
              <a:gd name="connsiteY1962" fmla="*/ 967798 h 6858285"/>
              <a:gd name="connsiteX1963" fmla="*/ 5375937 w 6530351"/>
              <a:gd name="connsiteY1963" fmla="*/ 825481 h 6858285"/>
              <a:gd name="connsiteX1964" fmla="*/ 5410491 w 6530351"/>
              <a:gd name="connsiteY1964" fmla="*/ 824769 h 6858285"/>
              <a:gd name="connsiteX1965" fmla="*/ 944792 w 6530351"/>
              <a:gd name="connsiteY1965" fmla="*/ 824757 h 6858285"/>
              <a:gd name="connsiteX1966" fmla="*/ 969337 w 6530351"/>
              <a:gd name="connsiteY1966" fmla="*/ 848240 h 6858285"/>
              <a:gd name="connsiteX1967" fmla="*/ 973150 w 6530351"/>
              <a:gd name="connsiteY1967" fmla="*/ 865318 h 6858285"/>
              <a:gd name="connsiteX1968" fmla="*/ 946460 w 6530351"/>
              <a:gd name="connsiteY1968" fmla="*/ 907064 h 6858285"/>
              <a:gd name="connsiteX1969" fmla="*/ 605213 w 6530351"/>
              <a:gd name="connsiteY1969" fmla="*/ 1049381 h 6858285"/>
              <a:gd name="connsiteX1970" fmla="*/ 546114 w 6530351"/>
              <a:gd name="connsiteY1970" fmla="*/ 1024713 h 6858285"/>
              <a:gd name="connsiteX1971" fmla="*/ 570897 w 6530351"/>
              <a:gd name="connsiteY1971" fmla="*/ 967786 h 6858285"/>
              <a:gd name="connsiteX1972" fmla="*/ 910238 w 6530351"/>
              <a:gd name="connsiteY1972" fmla="*/ 825469 h 6858285"/>
              <a:gd name="connsiteX1973" fmla="*/ 944792 w 6530351"/>
              <a:gd name="connsiteY1973" fmla="*/ 824757 h 6858285"/>
              <a:gd name="connsiteX1974" fmla="*/ 4842191 w 6530351"/>
              <a:gd name="connsiteY1974" fmla="*/ 812936 h 6858285"/>
              <a:gd name="connsiteX1975" fmla="*/ 4884489 w 6530351"/>
              <a:gd name="connsiteY1975" fmla="*/ 842712 h 6858285"/>
              <a:gd name="connsiteX1976" fmla="*/ 4886391 w 6530351"/>
              <a:gd name="connsiteY1976" fmla="*/ 859880 h 6858285"/>
              <a:gd name="connsiteX1977" fmla="*/ 4855933 w 6530351"/>
              <a:gd name="connsiteY1977" fmla="*/ 903754 h 6858285"/>
              <a:gd name="connsiteX1978" fmla="*/ 4515179 w 6530351"/>
              <a:gd name="connsiteY1978" fmla="*/ 1033468 h 6858285"/>
              <a:gd name="connsiteX1979" fmla="*/ 4454263 w 6530351"/>
              <a:gd name="connsiteY1979" fmla="*/ 1006762 h 6858285"/>
              <a:gd name="connsiteX1980" fmla="*/ 4482817 w 6530351"/>
              <a:gd name="connsiteY1980" fmla="*/ 945720 h 6858285"/>
              <a:gd name="connsiteX1981" fmla="*/ 4823571 w 6530351"/>
              <a:gd name="connsiteY1981" fmla="*/ 816006 h 6858285"/>
              <a:gd name="connsiteX1982" fmla="*/ 4842191 w 6530351"/>
              <a:gd name="connsiteY1982" fmla="*/ 812936 h 6858285"/>
              <a:gd name="connsiteX1983" fmla="*/ 1476362 w 6530351"/>
              <a:gd name="connsiteY1983" fmla="*/ 812922 h 6858285"/>
              <a:gd name="connsiteX1984" fmla="*/ 1518628 w 6530351"/>
              <a:gd name="connsiteY1984" fmla="*/ 842698 h 6858285"/>
              <a:gd name="connsiteX1985" fmla="*/ 1522433 w 6530351"/>
              <a:gd name="connsiteY1985" fmla="*/ 859866 h 6858285"/>
              <a:gd name="connsiteX1986" fmla="*/ 1491996 w 6530351"/>
              <a:gd name="connsiteY1986" fmla="*/ 903740 h 6858285"/>
              <a:gd name="connsiteX1987" fmla="*/ 1151487 w 6530351"/>
              <a:gd name="connsiteY1987" fmla="*/ 1033454 h 6858285"/>
              <a:gd name="connsiteX1988" fmla="*/ 1090613 w 6530351"/>
              <a:gd name="connsiteY1988" fmla="*/ 1006748 h 6858285"/>
              <a:gd name="connsiteX1989" fmla="*/ 1117245 w 6530351"/>
              <a:gd name="connsiteY1989" fmla="*/ 945706 h 6858285"/>
              <a:gd name="connsiteX1990" fmla="*/ 1457755 w 6530351"/>
              <a:gd name="connsiteY1990" fmla="*/ 815992 h 6858285"/>
              <a:gd name="connsiteX1991" fmla="*/ 1476362 w 6530351"/>
              <a:gd name="connsiteY1991" fmla="*/ 812922 h 6858285"/>
              <a:gd name="connsiteX1992" fmla="*/ 4285673 w 6530351"/>
              <a:gd name="connsiteY1992" fmla="*/ 804253 h 6858285"/>
              <a:gd name="connsiteX1993" fmla="*/ 4328535 w 6530351"/>
              <a:gd name="connsiteY1993" fmla="*/ 838591 h 6858285"/>
              <a:gd name="connsiteX1994" fmla="*/ 4332347 w 6530351"/>
              <a:gd name="connsiteY1994" fmla="*/ 853852 h 6858285"/>
              <a:gd name="connsiteX1995" fmla="*/ 4298055 w 6530351"/>
              <a:gd name="connsiteY1995" fmla="*/ 901544 h 6858285"/>
              <a:gd name="connsiteX1996" fmla="*/ 3957055 w 6530351"/>
              <a:gd name="connsiteY1996" fmla="*/ 1017912 h 6858285"/>
              <a:gd name="connsiteX1997" fmla="*/ 3894191 w 6530351"/>
              <a:gd name="connsiteY1997" fmla="*/ 985481 h 6858285"/>
              <a:gd name="connsiteX1998" fmla="*/ 3924671 w 6530351"/>
              <a:gd name="connsiteY1998" fmla="*/ 922528 h 6858285"/>
              <a:gd name="connsiteX1999" fmla="*/ 4265671 w 6530351"/>
              <a:gd name="connsiteY1999" fmla="*/ 806161 h 6858285"/>
              <a:gd name="connsiteX2000" fmla="*/ 4285673 w 6530351"/>
              <a:gd name="connsiteY2000" fmla="*/ 804253 h 6858285"/>
              <a:gd name="connsiteX2001" fmla="*/ 2032225 w 6530351"/>
              <a:gd name="connsiteY2001" fmla="*/ 804237 h 6858285"/>
              <a:gd name="connsiteX2002" fmla="*/ 2076160 w 6530351"/>
              <a:gd name="connsiteY2002" fmla="*/ 838575 h 6858285"/>
              <a:gd name="connsiteX2003" fmla="*/ 2078065 w 6530351"/>
              <a:gd name="connsiteY2003" fmla="*/ 853837 h 6858285"/>
              <a:gd name="connsiteX2004" fmla="*/ 2043775 w 6530351"/>
              <a:gd name="connsiteY2004" fmla="*/ 901528 h 6858285"/>
              <a:gd name="connsiteX2005" fmla="*/ 1702775 w 6530351"/>
              <a:gd name="connsiteY2005" fmla="*/ 1017896 h 6858285"/>
              <a:gd name="connsiteX2006" fmla="*/ 1639909 w 6530351"/>
              <a:gd name="connsiteY2006" fmla="*/ 985466 h 6858285"/>
              <a:gd name="connsiteX2007" fmla="*/ 1670390 w 6530351"/>
              <a:gd name="connsiteY2007" fmla="*/ 922513 h 6858285"/>
              <a:gd name="connsiteX2008" fmla="*/ 2013294 w 6530351"/>
              <a:gd name="connsiteY2008" fmla="*/ 806145 h 6858285"/>
              <a:gd name="connsiteX2009" fmla="*/ 2032225 w 6530351"/>
              <a:gd name="connsiteY2009" fmla="*/ 804237 h 6858285"/>
              <a:gd name="connsiteX2010" fmla="*/ 3725241 w 6530351"/>
              <a:gd name="connsiteY2010" fmla="*/ 796615 h 6858285"/>
              <a:gd name="connsiteX2011" fmla="*/ 3770043 w 6530351"/>
              <a:gd name="connsiteY2011" fmla="*/ 832564 h 6858285"/>
              <a:gd name="connsiteX2012" fmla="*/ 3771951 w 6530351"/>
              <a:gd name="connsiteY2012" fmla="*/ 847826 h 6858285"/>
              <a:gd name="connsiteX2013" fmla="*/ 3733797 w 6530351"/>
              <a:gd name="connsiteY2013" fmla="*/ 897429 h 6858285"/>
              <a:gd name="connsiteX2014" fmla="*/ 3390412 w 6530351"/>
              <a:gd name="connsiteY2014" fmla="*/ 1000449 h 6858285"/>
              <a:gd name="connsiteX2015" fmla="*/ 3325551 w 6530351"/>
              <a:gd name="connsiteY2015" fmla="*/ 964201 h 6858285"/>
              <a:gd name="connsiteX2016" fmla="*/ 3361797 w 6530351"/>
              <a:gd name="connsiteY2016" fmla="*/ 899337 h 6858285"/>
              <a:gd name="connsiteX2017" fmla="*/ 3705181 w 6530351"/>
              <a:gd name="connsiteY2017" fmla="*/ 798224 h 6858285"/>
              <a:gd name="connsiteX2018" fmla="*/ 3725241 w 6530351"/>
              <a:gd name="connsiteY2018" fmla="*/ 796615 h 6858285"/>
              <a:gd name="connsiteX2019" fmla="*/ 2591752 w 6530351"/>
              <a:gd name="connsiteY2019" fmla="*/ 796597 h 6858285"/>
              <a:gd name="connsiteX2020" fmla="*/ 2636552 w 6530351"/>
              <a:gd name="connsiteY2020" fmla="*/ 832546 h 6858285"/>
              <a:gd name="connsiteX2021" fmla="*/ 2638460 w 6530351"/>
              <a:gd name="connsiteY2021" fmla="*/ 847809 h 6858285"/>
              <a:gd name="connsiteX2022" fmla="*/ 2600306 w 6530351"/>
              <a:gd name="connsiteY2022" fmla="*/ 897411 h 6858285"/>
              <a:gd name="connsiteX2023" fmla="*/ 2256921 w 6530351"/>
              <a:gd name="connsiteY2023" fmla="*/ 1000432 h 6858285"/>
              <a:gd name="connsiteX2024" fmla="*/ 2192060 w 6530351"/>
              <a:gd name="connsiteY2024" fmla="*/ 964184 h 6858285"/>
              <a:gd name="connsiteX2025" fmla="*/ 2228306 w 6530351"/>
              <a:gd name="connsiteY2025" fmla="*/ 899319 h 6858285"/>
              <a:gd name="connsiteX2026" fmla="*/ 2571691 w 6530351"/>
              <a:gd name="connsiteY2026" fmla="*/ 798206 h 6858285"/>
              <a:gd name="connsiteX2027" fmla="*/ 2591752 w 6530351"/>
              <a:gd name="connsiteY2027" fmla="*/ 796597 h 6858285"/>
              <a:gd name="connsiteX2028" fmla="*/ 3154884 w 6530351"/>
              <a:gd name="connsiteY2028" fmla="*/ 787706 h 6858285"/>
              <a:gd name="connsiteX2029" fmla="*/ 3200127 w 6530351"/>
              <a:gd name="connsiteY2029" fmla="*/ 828693 h 6858285"/>
              <a:gd name="connsiteX2030" fmla="*/ 3202031 w 6530351"/>
              <a:gd name="connsiteY2030" fmla="*/ 842028 h 6858285"/>
              <a:gd name="connsiteX2031" fmla="*/ 3160149 w 6530351"/>
              <a:gd name="connsiteY2031" fmla="*/ 895367 h 6858285"/>
              <a:gd name="connsiteX2032" fmla="*/ 2817482 w 6530351"/>
              <a:gd name="connsiteY2032" fmla="*/ 982997 h 6858285"/>
              <a:gd name="connsiteX2033" fmla="*/ 2750852 w 6530351"/>
              <a:gd name="connsiteY2033" fmla="*/ 944898 h 6858285"/>
              <a:gd name="connsiteX2034" fmla="*/ 2788926 w 6530351"/>
              <a:gd name="connsiteY2034" fmla="*/ 878223 h 6858285"/>
              <a:gd name="connsiteX2035" fmla="*/ 3133497 w 6530351"/>
              <a:gd name="connsiteY2035" fmla="*/ 788688 h 6858285"/>
              <a:gd name="connsiteX2036" fmla="*/ 3154884 w 6530351"/>
              <a:gd name="connsiteY2036" fmla="*/ 787706 h 6858285"/>
              <a:gd name="connsiteX2037" fmla="*/ 6500919 w 6530351"/>
              <a:gd name="connsiteY2037" fmla="*/ 517209 h 6858285"/>
              <a:gd name="connsiteX2038" fmla="*/ 6524069 w 6530351"/>
              <a:gd name="connsiteY2038" fmla="*/ 538113 h 6858285"/>
              <a:gd name="connsiteX2039" fmla="*/ 6527887 w 6530351"/>
              <a:gd name="connsiteY2039" fmla="*/ 555216 h 6858285"/>
              <a:gd name="connsiteX2040" fmla="*/ 6506885 w 6530351"/>
              <a:gd name="connsiteY2040" fmla="*/ 591323 h 6858285"/>
              <a:gd name="connsiteX2041" fmla="*/ 6167027 w 6530351"/>
              <a:gd name="connsiteY2041" fmla="*/ 760455 h 6858285"/>
              <a:gd name="connsiteX2042" fmla="*/ 6113567 w 6530351"/>
              <a:gd name="connsiteY2042" fmla="*/ 743352 h 6858285"/>
              <a:gd name="connsiteX2043" fmla="*/ 6130751 w 6530351"/>
              <a:gd name="connsiteY2043" fmla="*/ 690142 h 6858285"/>
              <a:gd name="connsiteX2044" fmla="*/ 6470609 w 6530351"/>
              <a:gd name="connsiteY2044" fmla="*/ 519109 h 6858285"/>
              <a:gd name="connsiteX2045" fmla="*/ 6500919 w 6530351"/>
              <a:gd name="connsiteY2045" fmla="*/ 517209 h 6858285"/>
              <a:gd name="connsiteX2046" fmla="*/ 5942035 w 6530351"/>
              <a:gd name="connsiteY2046" fmla="*/ 506688 h 6858285"/>
              <a:gd name="connsiteX2047" fmla="*/ 5981147 w 6530351"/>
              <a:gd name="connsiteY2047" fmla="*/ 530411 h 6858285"/>
              <a:gd name="connsiteX2048" fmla="*/ 5984957 w 6530351"/>
              <a:gd name="connsiteY2048" fmla="*/ 547470 h 6858285"/>
              <a:gd name="connsiteX2049" fmla="*/ 5962097 w 6530351"/>
              <a:gd name="connsiteY2049" fmla="*/ 585381 h 6858285"/>
              <a:gd name="connsiteX2050" fmla="*/ 5623001 w 6530351"/>
              <a:gd name="connsiteY2050" fmla="*/ 744604 h 6858285"/>
              <a:gd name="connsiteX2051" fmla="*/ 5565851 w 6530351"/>
              <a:gd name="connsiteY2051" fmla="*/ 723754 h 6858285"/>
              <a:gd name="connsiteX2052" fmla="*/ 5586807 w 6530351"/>
              <a:gd name="connsiteY2052" fmla="*/ 668784 h 6858285"/>
              <a:gd name="connsiteX2053" fmla="*/ 5925901 w 6530351"/>
              <a:gd name="connsiteY2053" fmla="*/ 511455 h 6858285"/>
              <a:gd name="connsiteX2054" fmla="*/ 5942035 w 6530351"/>
              <a:gd name="connsiteY2054" fmla="*/ 506688 h 6858285"/>
              <a:gd name="connsiteX2055" fmla="*/ 382533 w 6530351"/>
              <a:gd name="connsiteY2055" fmla="*/ 506676 h 6858285"/>
              <a:gd name="connsiteX2056" fmla="*/ 421646 w 6530351"/>
              <a:gd name="connsiteY2056" fmla="*/ 530400 h 6858285"/>
              <a:gd name="connsiteX2057" fmla="*/ 425456 w 6530351"/>
              <a:gd name="connsiteY2057" fmla="*/ 547459 h 6858285"/>
              <a:gd name="connsiteX2058" fmla="*/ 400691 w 6530351"/>
              <a:gd name="connsiteY2058" fmla="*/ 585369 h 6858285"/>
              <a:gd name="connsiteX2059" fmla="*/ 61596 w 6530351"/>
              <a:gd name="connsiteY2059" fmla="*/ 744593 h 6858285"/>
              <a:gd name="connsiteX2060" fmla="*/ 6350 w 6530351"/>
              <a:gd name="connsiteY2060" fmla="*/ 723742 h 6858285"/>
              <a:gd name="connsiteX2061" fmla="*/ 27305 w 6530351"/>
              <a:gd name="connsiteY2061" fmla="*/ 668772 h 6858285"/>
              <a:gd name="connsiteX2062" fmla="*/ 366400 w 6530351"/>
              <a:gd name="connsiteY2062" fmla="*/ 511444 h 6858285"/>
              <a:gd name="connsiteX2063" fmla="*/ 382533 w 6530351"/>
              <a:gd name="connsiteY2063" fmla="*/ 506676 h 6858285"/>
              <a:gd name="connsiteX2064" fmla="*/ 5409837 w 6530351"/>
              <a:gd name="connsiteY2064" fmla="*/ 500968 h 6858285"/>
              <a:gd name="connsiteX2065" fmla="*/ 5433445 w 6530351"/>
              <a:gd name="connsiteY2065" fmla="*/ 524572 h 6858285"/>
              <a:gd name="connsiteX2066" fmla="*/ 5437261 w 6530351"/>
              <a:gd name="connsiteY2066" fmla="*/ 541739 h 6858285"/>
              <a:gd name="connsiteX2067" fmla="*/ 5410551 w 6530351"/>
              <a:gd name="connsiteY2067" fmla="*/ 581796 h 6858285"/>
              <a:gd name="connsiteX2068" fmla="*/ 5070961 w 6530351"/>
              <a:gd name="connsiteY2068" fmla="*/ 728671 h 6858285"/>
              <a:gd name="connsiteX2069" fmla="*/ 5011819 w 6530351"/>
              <a:gd name="connsiteY2069" fmla="*/ 705781 h 6858285"/>
              <a:gd name="connsiteX2070" fmla="*/ 5034713 w 6530351"/>
              <a:gd name="connsiteY2070" fmla="*/ 648557 h 6858285"/>
              <a:gd name="connsiteX2071" fmla="*/ 5376211 w 6530351"/>
              <a:gd name="connsiteY2071" fmla="*/ 501683 h 6858285"/>
              <a:gd name="connsiteX2072" fmla="*/ 5409837 w 6530351"/>
              <a:gd name="connsiteY2072" fmla="*/ 500968 h 6858285"/>
              <a:gd name="connsiteX2073" fmla="*/ 943582 w 6530351"/>
              <a:gd name="connsiteY2073" fmla="*/ 500954 h 6858285"/>
              <a:gd name="connsiteX2074" fmla="*/ 968073 w 6530351"/>
              <a:gd name="connsiteY2074" fmla="*/ 524559 h 6858285"/>
              <a:gd name="connsiteX2075" fmla="*/ 969975 w 6530351"/>
              <a:gd name="connsiteY2075" fmla="*/ 541726 h 6858285"/>
              <a:gd name="connsiteX2076" fmla="*/ 945246 w 6530351"/>
              <a:gd name="connsiteY2076" fmla="*/ 581783 h 6858285"/>
              <a:gd name="connsiteX2077" fmla="*/ 604747 w 6530351"/>
              <a:gd name="connsiteY2077" fmla="*/ 728657 h 6858285"/>
              <a:gd name="connsiteX2078" fmla="*/ 547680 w 6530351"/>
              <a:gd name="connsiteY2078" fmla="*/ 705768 h 6858285"/>
              <a:gd name="connsiteX2079" fmla="*/ 570507 w 6530351"/>
              <a:gd name="connsiteY2079" fmla="*/ 648544 h 6858285"/>
              <a:gd name="connsiteX2080" fmla="*/ 909104 w 6530351"/>
              <a:gd name="connsiteY2080" fmla="*/ 501669 h 6858285"/>
              <a:gd name="connsiteX2081" fmla="*/ 943582 w 6530351"/>
              <a:gd name="connsiteY2081" fmla="*/ 500954 h 6858285"/>
              <a:gd name="connsiteX2082" fmla="*/ 4841091 w 6530351"/>
              <a:gd name="connsiteY2082" fmla="*/ 488774 h 6858285"/>
              <a:gd name="connsiteX2083" fmla="*/ 4882585 w 6530351"/>
              <a:gd name="connsiteY2083" fmla="*/ 516865 h 6858285"/>
              <a:gd name="connsiteX2084" fmla="*/ 4886391 w 6530351"/>
              <a:gd name="connsiteY2084" fmla="*/ 533988 h 6858285"/>
              <a:gd name="connsiteX2085" fmla="*/ 4855933 w 6530351"/>
              <a:gd name="connsiteY2085" fmla="*/ 577744 h 6858285"/>
              <a:gd name="connsiteX2086" fmla="*/ 4517083 w 6530351"/>
              <a:gd name="connsiteY2086" fmla="*/ 712820 h 6858285"/>
              <a:gd name="connsiteX2087" fmla="*/ 4456167 w 6530351"/>
              <a:gd name="connsiteY2087" fmla="*/ 686186 h 6858285"/>
              <a:gd name="connsiteX2088" fmla="*/ 4482817 w 6530351"/>
              <a:gd name="connsiteY2088" fmla="*/ 627209 h 6858285"/>
              <a:gd name="connsiteX2089" fmla="*/ 4823571 w 6530351"/>
              <a:gd name="connsiteY2089" fmla="*/ 492133 h 6858285"/>
              <a:gd name="connsiteX2090" fmla="*/ 4841091 w 6530351"/>
              <a:gd name="connsiteY2090" fmla="*/ 488774 h 6858285"/>
              <a:gd name="connsiteX2091" fmla="*/ 1475779 w 6530351"/>
              <a:gd name="connsiteY2091" fmla="*/ 488758 h 6858285"/>
              <a:gd name="connsiteX2092" fmla="*/ 1517035 w 6530351"/>
              <a:gd name="connsiteY2092" fmla="*/ 516849 h 6858285"/>
              <a:gd name="connsiteX2093" fmla="*/ 1520845 w 6530351"/>
              <a:gd name="connsiteY2093" fmla="*/ 533972 h 6858285"/>
              <a:gd name="connsiteX2094" fmla="*/ 1492270 w 6530351"/>
              <a:gd name="connsiteY2094" fmla="*/ 577729 h 6858285"/>
              <a:gd name="connsiteX2095" fmla="*/ 1151270 w 6530351"/>
              <a:gd name="connsiteY2095" fmla="*/ 712805 h 6858285"/>
              <a:gd name="connsiteX2096" fmla="*/ 1092214 w 6530351"/>
              <a:gd name="connsiteY2096" fmla="*/ 686170 h 6858285"/>
              <a:gd name="connsiteX2097" fmla="*/ 1116979 w 6530351"/>
              <a:gd name="connsiteY2097" fmla="*/ 627193 h 6858285"/>
              <a:gd name="connsiteX2098" fmla="*/ 1457979 w 6530351"/>
              <a:gd name="connsiteY2098" fmla="*/ 492117 h 6858285"/>
              <a:gd name="connsiteX2099" fmla="*/ 1475779 w 6530351"/>
              <a:gd name="connsiteY2099" fmla="*/ 488758 h 6858285"/>
              <a:gd name="connsiteX2100" fmla="*/ 4284555 w 6530351"/>
              <a:gd name="connsiteY2100" fmla="*/ 479567 h 6858285"/>
              <a:gd name="connsiteX2101" fmla="*/ 4326943 w 6530351"/>
              <a:gd name="connsiteY2101" fmla="*/ 511091 h 6858285"/>
              <a:gd name="connsiteX2102" fmla="*/ 4330759 w 6530351"/>
              <a:gd name="connsiteY2102" fmla="*/ 528189 h 6858285"/>
              <a:gd name="connsiteX2103" fmla="*/ 4298327 w 6530351"/>
              <a:gd name="connsiteY2103" fmla="*/ 571884 h 6858285"/>
              <a:gd name="connsiteX2104" fmla="*/ 3956839 w 6530351"/>
              <a:gd name="connsiteY2104" fmla="*/ 695371 h 6858285"/>
              <a:gd name="connsiteX2105" fmla="*/ 3895791 w 6530351"/>
              <a:gd name="connsiteY2105" fmla="*/ 666874 h 6858285"/>
              <a:gd name="connsiteX2106" fmla="*/ 3924409 w 6530351"/>
              <a:gd name="connsiteY2106" fmla="*/ 606080 h 6858285"/>
              <a:gd name="connsiteX2107" fmla="*/ 4265895 w 6530351"/>
              <a:gd name="connsiteY2107" fmla="*/ 482594 h 6858285"/>
              <a:gd name="connsiteX2108" fmla="*/ 4284555 w 6530351"/>
              <a:gd name="connsiteY2108" fmla="*/ 479567 h 6858285"/>
              <a:gd name="connsiteX2109" fmla="*/ 2030573 w 6530351"/>
              <a:gd name="connsiteY2109" fmla="*/ 479549 h 6858285"/>
              <a:gd name="connsiteX2110" fmla="*/ 2074570 w 6530351"/>
              <a:gd name="connsiteY2110" fmla="*/ 511073 h 6858285"/>
              <a:gd name="connsiteX2111" fmla="*/ 2076478 w 6530351"/>
              <a:gd name="connsiteY2111" fmla="*/ 528172 h 6858285"/>
              <a:gd name="connsiteX2112" fmla="*/ 2045954 w 6530351"/>
              <a:gd name="connsiteY2112" fmla="*/ 571867 h 6858285"/>
              <a:gd name="connsiteX2113" fmla="*/ 1702559 w 6530351"/>
              <a:gd name="connsiteY2113" fmla="*/ 695353 h 6858285"/>
              <a:gd name="connsiteX2114" fmla="*/ 1641511 w 6530351"/>
              <a:gd name="connsiteY2114" fmla="*/ 666857 h 6858285"/>
              <a:gd name="connsiteX2115" fmla="*/ 1670127 w 6530351"/>
              <a:gd name="connsiteY2115" fmla="*/ 606063 h 6858285"/>
              <a:gd name="connsiteX2116" fmla="*/ 2011614 w 6530351"/>
              <a:gd name="connsiteY2116" fmla="*/ 482577 h 6858285"/>
              <a:gd name="connsiteX2117" fmla="*/ 2030573 w 6530351"/>
              <a:gd name="connsiteY2117" fmla="*/ 479549 h 6858285"/>
              <a:gd name="connsiteX2118" fmla="*/ 3723559 w 6530351"/>
              <a:gd name="connsiteY2118" fmla="*/ 470397 h 6858285"/>
              <a:gd name="connsiteX2119" fmla="*/ 3766543 w 6530351"/>
              <a:gd name="connsiteY2119" fmla="*/ 505539 h 6858285"/>
              <a:gd name="connsiteX2120" fmla="*/ 3770363 w 6530351"/>
              <a:gd name="connsiteY2120" fmla="*/ 520800 h 6858285"/>
              <a:gd name="connsiteX2121" fmla="*/ 3734065 w 6530351"/>
              <a:gd name="connsiteY2121" fmla="*/ 568492 h 6858285"/>
              <a:gd name="connsiteX2122" fmla="*/ 3392102 w 6530351"/>
              <a:gd name="connsiteY2122" fmla="*/ 681044 h 6858285"/>
              <a:gd name="connsiteX2123" fmla="*/ 3329059 w 6530351"/>
              <a:gd name="connsiteY2123" fmla="*/ 648614 h 6858285"/>
              <a:gd name="connsiteX2124" fmla="*/ 3359626 w 6530351"/>
              <a:gd name="connsiteY2124" fmla="*/ 585661 h 6858285"/>
              <a:gd name="connsiteX2125" fmla="*/ 3703499 w 6530351"/>
              <a:gd name="connsiteY2125" fmla="*/ 473109 h 6858285"/>
              <a:gd name="connsiteX2126" fmla="*/ 3723559 w 6530351"/>
              <a:gd name="connsiteY2126" fmla="*/ 470397 h 6858285"/>
              <a:gd name="connsiteX2127" fmla="*/ 2590068 w 6530351"/>
              <a:gd name="connsiteY2127" fmla="*/ 470376 h 6858285"/>
              <a:gd name="connsiteX2128" fmla="*/ 2633052 w 6530351"/>
              <a:gd name="connsiteY2128" fmla="*/ 505519 h 6858285"/>
              <a:gd name="connsiteX2129" fmla="*/ 2636873 w 6530351"/>
              <a:gd name="connsiteY2129" fmla="*/ 520780 h 6858285"/>
              <a:gd name="connsiteX2130" fmla="*/ 2600575 w 6530351"/>
              <a:gd name="connsiteY2130" fmla="*/ 568472 h 6858285"/>
              <a:gd name="connsiteX2131" fmla="*/ 2258612 w 6530351"/>
              <a:gd name="connsiteY2131" fmla="*/ 681025 h 6858285"/>
              <a:gd name="connsiteX2132" fmla="*/ 2195569 w 6530351"/>
              <a:gd name="connsiteY2132" fmla="*/ 648594 h 6858285"/>
              <a:gd name="connsiteX2133" fmla="*/ 2226136 w 6530351"/>
              <a:gd name="connsiteY2133" fmla="*/ 585641 h 6858285"/>
              <a:gd name="connsiteX2134" fmla="*/ 2570009 w 6530351"/>
              <a:gd name="connsiteY2134" fmla="*/ 473089 h 6858285"/>
              <a:gd name="connsiteX2135" fmla="*/ 2590068 w 6530351"/>
              <a:gd name="connsiteY2135" fmla="*/ 470376 h 6858285"/>
              <a:gd name="connsiteX2136" fmla="*/ 3153221 w 6530351"/>
              <a:gd name="connsiteY2136" fmla="*/ 461684 h 6858285"/>
              <a:gd name="connsiteX2137" fmla="*/ 3196948 w 6530351"/>
              <a:gd name="connsiteY2137" fmla="*/ 499511 h 6858285"/>
              <a:gd name="connsiteX2138" fmla="*/ 3198856 w 6530351"/>
              <a:gd name="connsiteY2138" fmla="*/ 512866 h 6858285"/>
              <a:gd name="connsiteX2139" fmla="*/ 3162610 w 6530351"/>
              <a:gd name="connsiteY2139" fmla="*/ 564376 h 6858285"/>
              <a:gd name="connsiteX2140" fmla="*/ 2819225 w 6530351"/>
              <a:gd name="connsiteY2140" fmla="*/ 665488 h 6858285"/>
              <a:gd name="connsiteX2141" fmla="*/ 2754363 w 6530351"/>
              <a:gd name="connsiteY2141" fmla="*/ 629241 h 6858285"/>
              <a:gd name="connsiteX2142" fmla="*/ 2788702 w 6530351"/>
              <a:gd name="connsiteY2142" fmla="*/ 564376 h 6858285"/>
              <a:gd name="connsiteX2143" fmla="*/ 3132087 w 6530351"/>
              <a:gd name="connsiteY2143" fmla="*/ 463264 h 6858285"/>
              <a:gd name="connsiteX2144" fmla="*/ 3153221 w 6530351"/>
              <a:gd name="connsiteY2144" fmla="*/ 461684 h 6858285"/>
              <a:gd name="connsiteX2145" fmla="*/ 6500919 w 6530351"/>
              <a:gd name="connsiteY2145" fmla="*/ 194958 h 6858285"/>
              <a:gd name="connsiteX2146" fmla="*/ 6524069 w 6530351"/>
              <a:gd name="connsiteY2146" fmla="*/ 215887 h 6858285"/>
              <a:gd name="connsiteX2147" fmla="*/ 6527887 w 6530351"/>
              <a:gd name="connsiteY2147" fmla="*/ 233011 h 6858285"/>
              <a:gd name="connsiteX2148" fmla="*/ 6506885 w 6530351"/>
              <a:gd name="connsiteY2148" fmla="*/ 269161 h 6858285"/>
              <a:gd name="connsiteX2149" fmla="*/ 6167027 w 6530351"/>
              <a:gd name="connsiteY2149" fmla="*/ 436596 h 6858285"/>
              <a:gd name="connsiteX2150" fmla="*/ 6113567 w 6530351"/>
              <a:gd name="connsiteY2150" fmla="*/ 419472 h 6858285"/>
              <a:gd name="connsiteX2151" fmla="*/ 6130751 w 6530351"/>
              <a:gd name="connsiteY2151" fmla="*/ 366197 h 6858285"/>
              <a:gd name="connsiteX2152" fmla="*/ 6470609 w 6530351"/>
              <a:gd name="connsiteY2152" fmla="*/ 196860 h 6858285"/>
              <a:gd name="connsiteX2153" fmla="*/ 6500919 w 6530351"/>
              <a:gd name="connsiteY2153" fmla="*/ 194958 h 6858285"/>
              <a:gd name="connsiteX2154" fmla="*/ 5957811 w 6530351"/>
              <a:gd name="connsiteY2154" fmla="*/ 186362 h 6858285"/>
              <a:gd name="connsiteX2155" fmla="*/ 5981147 w 6530351"/>
              <a:gd name="connsiteY2155" fmla="*/ 208187 h 6858285"/>
              <a:gd name="connsiteX2156" fmla="*/ 5984957 w 6530351"/>
              <a:gd name="connsiteY2156" fmla="*/ 225268 h 6858285"/>
              <a:gd name="connsiteX2157" fmla="*/ 5962097 w 6530351"/>
              <a:gd name="connsiteY2157" fmla="*/ 263225 h 6858285"/>
              <a:gd name="connsiteX2158" fmla="*/ 5623001 w 6530351"/>
              <a:gd name="connsiteY2158" fmla="*/ 420745 h 6858285"/>
              <a:gd name="connsiteX2159" fmla="*/ 5567757 w 6530351"/>
              <a:gd name="connsiteY2159" fmla="*/ 401767 h 6858285"/>
              <a:gd name="connsiteX2160" fmla="*/ 5586807 w 6530351"/>
              <a:gd name="connsiteY2160" fmla="*/ 346729 h 6858285"/>
              <a:gd name="connsiteX2161" fmla="*/ 5925901 w 6530351"/>
              <a:gd name="connsiteY2161" fmla="*/ 187311 h 6858285"/>
              <a:gd name="connsiteX2162" fmla="*/ 5957811 w 6530351"/>
              <a:gd name="connsiteY2162" fmla="*/ 186362 h 6858285"/>
              <a:gd name="connsiteX2163" fmla="*/ 398309 w 6530351"/>
              <a:gd name="connsiteY2163" fmla="*/ 186349 h 6858285"/>
              <a:gd name="connsiteX2164" fmla="*/ 421646 w 6530351"/>
              <a:gd name="connsiteY2164" fmla="*/ 208174 h 6858285"/>
              <a:gd name="connsiteX2165" fmla="*/ 425456 w 6530351"/>
              <a:gd name="connsiteY2165" fmla="*/ 225255 h 6858285"/>
              <a:gd name="connsiteX2166" fmla="*/ 400691 w 6530351"/>
              <a:gd name="connsiteY2166" fmla="*/ 263212 h 6858285"/>
              <a:gd name="connsiteX2167" fmla="*/ 61596 w 6530351"/>
              <a:gd name="connsiteY2167" fmla="*/ 420733 h 6858285"/>
              <a:gd name="connsiteX2168" fmla="*/ 6350 w 6530351"/>
              <a:gd name="connsiteY2168" fmla="*/ 401754 h 6858285"/>
              <a:gd name="connsiteX2169" fmla="*/ 27305 w 6530351"/>
              <a:gd name="connsiteY2169" fmla="*/ 346717 h 6858285"/>
              <a:gd name="connsiteX2170" fmla="*/ 366400 w 6530351"/>
              <a:gd name="connsiteY2170" fmla="*/ 187298 h 6858285"/>
              <a:gd name="connsiteX2171" fmla="*/ 398309 w 6530351"/>
              <a:gd name="connsiteY2171" fmla="*/ 186349 h 6858285"/>
              <a:gd name="connsiteX2172" fmla="*/ 5409203 w 6530351"/>
              <a:gd name="connsiteY2172" fmla="*/ 176869 h 6858285"/>
              <a:gd name="connsiteX2173" fmla="*/ 5433457 w 6530351"/>
              <a:gd name="connsiteY2173" fmla="*/ 198777 h 6858285"/>
              <a:gd name="connsiteX2174" fmla="*/ 5437261 w 6530351"/>
              <a:gd name="connsiteY2174" fmla="*/ 217827 h 6858285"/>
              <a:gd name="connsiteX2175" fmla="*/ 5410629 w 6530351"/>
              <a:gd name="connsiteY2175" fmla="*/ 255927 h 6858285"/>
              <a:gd name="connsiteX2176" fmla="*/ 5072033 w 6530351"/>
              <a:gd name="connsiteY2176" fmla="*/ 406421 h 6858285"/>
              <a:gd name="connsiteX2177" fmla="*/ 5014967 w 6530351"/>
              <a:gd name="connsiteY2177" fmla="*/ 385466 h 6858285"/>
              <a:gd name="connsiteX2178" fmla="*/ 5035891 w 6530351"/>
              <a:gd name="connsiteY2178" fmla="*/ 328316 h 6858285"/>
              <a:gd name="connsiteX2179" fmla="*/ 5376389 w 6530351"/>
              <a:gd name="connsiteY2179" fmla="*/ 177822 h 6858285"/>
              <a:gd name="connsiteX2180" fmla="*/ 5409203 w 6530351"/>
              <a:gd name="connsiteY2180" fmla="*/ 176869 h 6858285"/>
              <a:gd name="connsiteX2181" fmla="*/ 942630 w 6530351"/>
              <a:gd name="connsiteY2181" fmla="*/ 176854 h 6858285"/>
              <a:gd name="connsiteX2182" fmla="*/ 966171 w 6530351"/>
              <a:gd name="connsiteY2182" fmla="*/ 198761 h 6858285"/>
              <a:gd name="connsiteX2183" fmla="*/ 969975 w 6530351"/>
              <a:gd name="connsiteY2183" fmla="*/ 217811 h 6858285"/>
              <a:gd name="connsiteX2184" fmla="*/ 945246 w 6530351"/>
              <a:gd name="connsiteY2184" fmla="*/ 255911 h 6858285"/>
              <a:gd name="connsiteX2185" fmla="*/ 604747 w 6530351"/>
              <a:gd name="connsiteY2185" fmla="*/ 406406 h 6858285"/>
              <a:gd name="connsiteX2186" fmla="*/ 547680 w 6530351"/>
              <a:gd name="connsiteY2186" fmla="*/ 385451 h 6858285"/>
              <a:gd name="connsiteX2187" fmla="*/ 570507 w 6530351"/>
              <a:gd name="connsiteY2187" fmla="*/ 328301 h 6858285"/>
              <a:gd name="connsiteX2188" fmla="*/ 909104 w 6530351"/>
              <a:gd name="connsiteY2188" fmla="*/ 177807 h 6858285"/>
              <a:gd name="connsiteX2189" fmla="*/ 942630 w 6530351"/>
              <a:gd name="connsiteY2189" fmla="*/ 176854 h 6858285"/>
              <a:gd name="connsiteX2190" fmla="*/ 4856445 w 6530351"/>
              <a:gd name="connsiteY2190" fmla="*/ 167559 h 6858285"/>
              <a:gd name="connsiteX2191" fmla="*/ 4880991 w 6530351"/>
              <a:gd name="connsiteY2191" fmla="*/ 191072 h 6858285"/>
              <a:gd name="connsiteX2192" fmla="*/ 4884803 w 6530351"/>
              <a:gd name="connsiteY2192" fmla="*/ 208171 h 6858285"/>
              <a:gd name="connsiteX2193" fmla="*/ 4856207 w 6530351"/>
              <a:gd name="connsiteY2193" fmla="*/ 249971 h 6858285"/>
              <a:gd name="connsiteX2194" fmla="*/ 4516865 w 6530351"/>
              <a:gd name="connsiteY2194" fmla="*/ 390571 h 6858285"/>
              <a:gd name="connsiteX2195" fmla="*/ 4457767 w 6530351"/>
              <a:gd name="connsiteY2195" fmla="*/ 367771 h 6858285"/>
              <a:gd name="connsiteX2196" fmla="*/ 4482551 w 6530351"/>
              <a:gd name="connsiteY2196" fmla="*/ 308871 h 6858285"/>
              <a:gd name="connsiteX2197" fmla="*/ 4821891 w 6530351"/>
              <a:gd name="connsiteY2197" fmla="*/ 168272 h 6858285"/>
              <a:gd name="connsiteX2198" fmla="*/ 4856445 w 6530351"/>
              <a:gd name="connsiteY2198" fmla="*/ 167559 h 6858285"/>
              <a:gd name="connsiteX2199" fmla="*/ 1492487 w 6530351"/>
              <a:gd name="connsiteY2199" fmla="*/ 167542 h 6858285"/>
              <a:gd name="connsiteX2200" fmla="*/ 1517032 w 6530351"/>
              <a:gd name="connsiteY2200" fmla="*/ 191054 h 6858285"/>
              <a:gd name="connsiteX2201" fmla="*/ 1520845 w 6530351"/>
              <a:gd name="connsiteY2201" fmla="*/ 208154 h 6858285"/>
              <a:gd name="connsiteX2202" fmla="*/ 1492249 w 6530351"/>
              <a:gd name="connsiteY2202" fmla="*/ 249954 h 6858285"/>
              <a:gd name="connsiteX2203" fmla="*/ 1151001 w 6530351"/>
              <a:gd name="connsiteY2203" fmla="*/ 390554 h 6858285"/>
              <a:gd name="connsiteX2204" fmla="*/ 1093809 w 6530351"/>
              <a:gd name="connsiteY2204" fmla="*/ 367754 h 6858285"/>
              <a:gd name="connsiteX2205" fmla="*/ 1116686 w 6530351"/>
              <a:gd name="connsiteY2205" fmla="*/ 308854 h 6858285"/>
              <a:gd name="connsiteX2206" fmla="*/ 1457933 w 6530351"/>
              <a:gd name="connsiteY2206" fmla="*/ 168254 h 6858285"/>
              <a:gd name="connsiteX2207" fmla="*/ 1492487 w 6530351"/>
              <a:gd name="connsiteY2207" fmla="*/ 167542 h 6858285"/>
              <a:gd name="connsiteX2208" fmla="*/ 4266123 w 6530351"/>
              <a:gd name="connsiteY2208" fmla="*/ 156877 h 6858285"/>
              <a:gd name="connsiteX2209" fmla="*/ 4325349 w 6530351"/>
              <a:gd name="connsiteY2209" fmla="*/ 183583 h 6858285"/>
              <a:gd name="connsiteX2210" fmla="*/ 4329171 w 6530351"/>
              <a:gd name="connsiteY2210" fmla="*/ 200751 h 6858285"/>
              <a:gd name="connsiteX2211" fmla="*/ 4298603 w 6530351"/>
              <a:gd name="connsiteY2211" fmla="*/ 244625 h 6858285"/>
              <a:gd name="connsiteX2212" fmla="*/ 3956619 w 6530351"/>
              <a:gd name="connsiteY2212" fmla="*/ 376246 h 6858285"/>
              <a:gd name="connsiteX2213" fmla="*/ 3897393 w 6530351"/>
              <a:gd name="connsiteY2213" fmla="*/ 349541 h 6858285"/>
              <a:gd name="connsiteX2214" fmla="*/ 3924139 w 6530351"/>
              <a:gd name="connsiteY2214" fmla="*/ 290406 h 6858285"/>
              <a:gd name="connsiteX2215" fmla="*/ 4266123 w 6530351"/>
              <a:gd name="connsiteY2215" fmla="*/ 156877 h 6858285"/>
              <a:gd name="connsiteX2216" fmla="*/ 2010482 w 6530351"/>
              <a:gd name="connsiteY2216" fmla="*/ 156857 h 6858285"/>
              <a:gd name="connsiteX2217" fmla="*/ 2071399 w 6530351"/>
              <a:gd name="connsiteY2217" fmla="*/ 183563 h 6858285"/>
              <a:gd name="connsiteX2218" fmla="*/ 2073303 w 6530351"/>
              <a:gd name="connsiteY2218" fmla="*/ 200731 h 6858285"/>
              <a:gd name="connsiteX2219" fmla="*/ 2044748 w 6530351"/>
              <a:gd name="connsiteY2219" fmla="*/ 244605 h 6858285"/>
              <a:gd name="connsiteX2220" fmla="*/ 1703994 w 6530351"/>
              <a:gd name="connsiteY2220" fmla="*/ 376227 h 6858285"/>
              <a:gd name="connsiteX2221" fmla="*/ 1643077 w 6530351"/>
              <a:gd name="connsiteY2221" fmla="*/ 349521 h 6858285"/>
              <a:gd name="connsiteX2222" fmla="*/ 1669728 w 6530351"/>
              <a:gd name="connsiteY2222" fmla="*/ 290387 h 6858285"/>
              <a:gd name="connsiteX2223" fmla="*/ 2010482 w 6530351"/>
              <a:gd name="connsiteY2223" fmla="*/ 156857 h 6858285"/>
              <a:gd name="connsiteX2224" fmla="*/ 3720661 w 6530351"/>
              <a:gd name="connsiteY2224" fmla="*/ 144606 h 6858285"/>
              <a:gd name="connsiteX2225" fmla="*/ 3763701 w 6530351"/>
              <a:gd name="connsiteY2225" fmla="*/ 176130 h 6858285"/>
              <a:gd name="connsiteX2226" fmla="*/ 3765601 w 6530351"/>
              <a:gd name="connsiteY2226" fmla="*/ 193228 h 6858285"/>
              <a:gd name="connsiteX2227" fmla="*/ 3735185 w 6530351"/>
              <a:gd name="connsiteY2227" fmla="*/ 238823 h 6858285"/>
              <a:gd name="connsiteX2228" fmla="*/ 3393017 w 6530351"/>
              <a:gd name="connsiteY2228" fmla="*/ 360410 h 6858285"/>
              <a:gd name="connsiteX2229" fmla="*/ 3332187 w 6530351"/>
              <a:gd name="connsiteY2229" fmla="*/ 331913 h 6858285"/>
              <a:gd name="connsiteX2230" fmla="*/ 3360701 w 6530351"/>
              <a:gd name="connsiteY2230" fmla="*/ 271120 h 6858285"/>
              <a:gd name="connsiteX2231" fmla="*/ 3700969 w 6530351"/>
              <a:gd name="connsiteY2231" fmla="*/ 147634 h 6858285"/>
              <a:gd name="connsiteX2232" fmla="*/ 3720661 w 6530351"/>
              <a:gd name="connsiteY2232" fmla="*/ 144606 h 6858285"/>
              <a:gd name="connsiteX2233" fmla="*/ 2587010 w 6530351"/>
              <a:gd name="connsiteY2233" fmla="*/ 144584 h 6858285"/>
              <a:gd name="connsiteX2234" fmla="*/ 2630202 w 6530351"/>
              <a:gd name="connsiteY2234" fmla="*/ 176109 h 6858285"/>
              <a:gd name="connsiteX2235" fmla="*/ 2632110 w 6530351"/>
              <a:gd name="connsiteY2235" fmla="*/ 193207 h 6858285"/>
              <a:gd name="connsiteX2236" fmla="*/ 2601586 w 6530351"/>
              <a:gd name="connsiteY2236" fmla="*/ 238802 h 6858285"/>
              <a:gd name="connsiteX2237" fmla="*/ 2258191 w 6530351"/>
              <a:gd name="connsiteY2237" fmla="*/ 360389 h 6858285"/>
              <a:gd name="connsiteX2238" fmla="*/ 2197143 w 6530351"/>
              <a:gd name="connsiteY2238" fmla="*/ 331892 h 6858285"/>
              <a:gd name="connsiteX2239" fmla="*/ 2225759 w 6530351"/>
              <a:gd name="connsiteY2239" fmla="*/ 271098 h 6858285"/>
              <a:gd name="connsiteX2240" fmla="*/ 2567246 w 6530351"/>
              <a:gd name="connsiteY2240" fmla="*/ 147612 h 6858285"/>
              <a:gd name="connsiteX2241" fmla="*/ 2587010 w 6530351"/>
              <a:gd name="connsiteY2241" fmla="*/ 144584 h 6858285"/>
              <a:gd name="connsiteX2242" fmla="*/ 3149041 w 6530351"/>
              <a:gd name="connsiteY2242" fmla="*/ 135359 h 6858285"/>
              <a:gd name="connsiteX2243" fmla="*/ 3191874 w 6530351"/>
              <a:gd name="connsiteY2243" fmla="*/ 168391 h 6858285"/>
              <a:gd name="connsiteX2244" fmla="*/ 3195681 w 6530351"/>
              <a:gd name="connsiteY2244" fmla="*/ 185439 h 6858285"/>
              <a:gd name="connsiteX2245" fmla="*/ 3161415 w 6530351"/>
              <a:gd name="connsiteY2245" fmla="*/ 232797 h 6858285"/>
              <a:gd name="connsiteX2246" fmla="*/ 2818752 w 6530351"/>
              <a:gd name="connsiteY2246" fmla="*/ 344562 h 6858285"/>
              <a:gd name="connsiteX2247" fmla="*/ 2755930 w 6530351"/>
              <a:gd name="connsiteY2247" fmla="*/ 314253 h 6858285"/>
              <a:gd name="connsiteX2248" fmla="*/ 2788293 w 6530351"/>
              <a:gd name="connsiteY2248" fmla="*/ 249846 h 6858285"/>
              <a:gd name="connsiteX2249" fmla="*/ 3129052 w 6530351"/>
              <a:gd name="connsiteY2249" fmla="*/ 138082 h 6858285"/>
              <a:gd name="connsiteX2250" fmla="*/ 3149041 w 6530351"/>
              <a:gd name="connsiteY2250" fmla="*/ 135359 h 6858285"/>
              <a:gd name="connsiteX2251" fmla="*/ 6214753 w 6530351"/>
              <a:gd name="connsiteY2251" fmla="*/ 24 h 6858285"/>
              <a:gd name="connsiteX2252" fmla="*/ 6396123 w 6530351"/>
              <a:gd name="connsiteY2252" fmla="*/ 24 h 6858285"/>
              <a:gd name="connsiteX2253" fmla="*/ 6167023 w 6530351"/>
              <a:gd name="connsiteY2253" fmla="*/ 114324 h 6858285"/>
              <a:gd name="connsiteX2254" fmla="*/ 6113565 w 6530351"/>
              <a:gd name="connsiteY2254" fmla="*/ 95274 h 6858285"/>
              <a:gd name="connsiteX2255" fmla="*/ 6130749 w 6530351"/>
              <a:gd name="connsiteY2255" fmla="*/ 41934 h 6858285"/>
              <a:gd name="connsiteX2256" fmla="*/ 6214753 w 6530351"/>
              <a:gd name="connsiteY2256" fmla="*/ 24 h 6858285"/>
              <a:gd name="connsiteX2257" fmla="*/ 5637645 w 6530351"/>
              <a:gd name="connsiteY2257" fmla="*/ 24 h 6858285"/>
              <a:gd name="connsiteX2258" fmla="*/ 5829379 w 6530351"/>
              <a:gd name="connsiteY2258" fmla="*/ 24 h 6858285"/>
              <a:gd name="connsiteX2259" fmla="*/ 5622457 w 6530351"/>
              <a:gd name="connsiteY2259" fmla="*/ 99953 h 6858285"/>
              <a:gd name="connsiteX2260" fmla="*/ 5567405 w 6530351"/>
              <a:gd name="connsiteY2260" fmla="*/ 80736 h 6858285"/>
              <a:gd name="connsiteX2261" fmla="*/ 5586389 w 6530351"/>
              <a:gd name="connsiteY2261" fmla="*/ 25006 h 6858285"/>
              <a:gd name="connsiteX2262" fmla="*/ 5637645 w 6530351"/>
              <a:gd name="connsiteY2262" fmla="*/ 24 h 6858285"/>
              <a:gd name="connsiteX2263" fmla="*/ 5051003 w 6530351"/>
              <a:gd name="connsiteY2263" fmla="*/ 24 h 6858285"/>
              <a:gd name="connsiteX2264" fmla="*/ 5257871 w 6530351"/>
              <a:gd name="connsiteY2264" fmla="*/ 24 h 6858285"/>
              <a:gd name="connsiteX2265" fmla="*/ 5071881 w 6530351"/>
              <a:gd name="connsiteY2265" fmla="*/ 83844 h 6858285"/>
              <a:gd name="connsiteX2266" fmla="*/ 5014945 w 6530351"/>
              <a:gd name="connsiteY2266" fmla="*/ 62889 h 6858285"/>
              <a:gd name="connsiteX2267" fmla="*/ 5037719 w 6530351"/>
              <a:gd name="connsiteY2267" fmla="*/ 7644 h 6858285"/>
              <a:gd name="connsiteX2268" fmla="*/ 5051003 w 6530351"/>
              <a:gd name="connsiteY2268" fmla="*/ 24 h 6858285"/>
              <a:gd name="connsiteX2269" fmla="*/ 4468153 w 6530351"/>
              <a:gd name="connsiteY2269" fmla="*/ 24 h 6858285"/>
              <a:gd name="connsiteX2270" fmla="*/ 4678427 w 6530351"/>
              <a:gd name="connsiteY2270" fmla="*/ 24 h 6858285"/>
              <a:gd name="connsiteX2271" fmla="*/ 4517407 w 6530351"/>
              <a:gd name="connsiteY2271" fmla="*/ 71348 h 6858285"/>
              <a:gd name="connsiteX2272" fmla="*/ 4460575 w 6530351"/>
              <a:gd name="connsiteY2272" fmla="*/ 48216 h 6858285"/>
              <a:gd name="connsiteX2273" fmla="*/ 4468153 w 6530351"/>
              <a:gd name="connsiteY2273" fmla="*/ 24 h 6858285"/>
              <a:gd name="connsiteX2274" fmla="*/ 3898007 w 6530351"/>
              <a:gd name="connsiteY2274" fmla="*/ 24 h 6858285"/>
              <a:gd name="connsiteX2275" fmla="*/ 4092631 w 6530351"/>
              <a:gd name="connsiteY2275" fmla="*/ 24 h 6858285"/>
              <a:gd name="connsiteX2276" fmla="*/ 3959065 w 6530351"/>
              <a:gd name="connsiteY2276" fmla="*/ 55540 h 6858285"/>
              <a:gd name="connsiteX2277" fmla="*/ 3899915 w 6530351"/>
              <a:gd name="connsiteY2277" fmla="*/ 30653 h 6858285"/>
              <a:gd name="connsiteX2278" fmla="*/ 3898007 w 6530351"/>
              <a:gd name="connsiteY2278" fmla="*/ 24 h 6858285"/>
              <a:gd name="connsiteX2279" fmla="*/ 3332207 w 6530351"/>
              <a:gd name="connsiteY2279" fmla="*/ 24 h 6858285"/>
              <a:gd name="connsiteX2280" fmla="*/ 3497309 w 6530351"/>
              <a:gd name="connsiteY2280" fmla="*/ 24 h 6858285"/>
              <a:gd name="connsiteX2281" fmla="*/ 3394832 w 6530351"/>
              <a:gd name="connsiteY2281" fmla="*/ 41665 h 6858285"/>
              <a:gd name="connsiteX2282" fmla="*/ 3334105 w 6530351"/>
              <a:gd name="connsiteY2282" fmla="*/ 15166 h 6858285"/>
              <a:gd name="connsiteX2283" fmla="*/ 3332207 w 6530351"/>
              <a:gd name="connsiteY2283" fmla="*/ 24 h 6858285"/>
              <a:gd name="connsiteX2284" fmla="*/ 2760700 w 6530351"/>
              <a:gd name="connsiteY2284" fmla="*/ 23 h 6858285"/>
              <a:gd name="connsiteX2285" fmla="*/ 2890877 w 6530351"/>
              <a:gd name="connsiteY2285" fmla="*/ 23 h 6858285"/>
              <a:gd name="connsiteX2286" fmla="*/ 2821072 w 6530351"/>
              <a:gd name="connsiteY2286" fmla="*/ 27187 h 6858285"/>
              <a:gd name="connsiteX2287" fmla="*/ 2760700 w 6530351"/>
              <a:gd name="connsiteY2287" fmla="*/ 23 h 6858285"/>
              <a:gd name="connsiteX2288" fmla="*/ 76929 w 6530351"/>
              <a:gd name="connsiteY2288" fmla="*/ 9 h 6858285"/>
              <a:gd name="connsiteX2289" fmla="*/ 271466 w 6530351"/>
              <a:gd name="connsiteY2289" fmla="*/ 9 h 6858285"/>
              <a:gd name="connsiteX2290" fmla="*/ 63578 w 6530351"/>
              <a:gd name="connsiteY2290" fmla="*/ 99939 h 6858285"/>
              <a:gd name="connsiteX2291" fmla="*/ 8268 w 6530351"/>
              <a:gd name="connsiteY2291" fmla="*/ 80722 h 6858285"/>
              <a:gd name="connsiteX2292" fmla="*/ 27341 w 6530351"/>
              <a:gd name="connsiteY2292" fmla="*/ 24992 h 6858285"/>
              <a:gd name="connsiteX2293" fmla="*/ 76929 w 6530351"/>
              <a:gd name="connsiteY2293" fmla="*/ 9 h 6858285"/>
              <a:gd name="connsiteX2294" fmla="*/ 583739 w 6530351"/>
              <a:gd name="connsiteY2294" fmla="*/ 7 h 6858285"/>
              <a:gd name="connsiteX2295" fmla="*/ 792173 w 6530351"/>
              <a:gd name="connsiteY2295" fmla="*/ 7 h 6858285"/>
              <a:gd name="connsiteX2296" fmla="*/ 604773 w 6530351"/>
              <a:gd name="connsiteY2296" fmla="*/ 83827 h 6858285"/>
              <a:gd name="connsiteX2297" fmla="*/ 549318 w 6530351"/>
              <a:gd name="connsiteY2297" fmla="*/ 62872 h 6858285"/>
              <a:gd name="connsiteX2298" fmla="*/ 570353 w 6530351"/>
              <a:gd name="connsiteY2298" fmla="*/ 7627 h 6858285"/>
              <a:gd name="connsiteX2299" fmla="*/ 583739 w 6530351"/>
              <a:gd name="connsiteY2299" fmla="*/ 7 h 6858285"/>
              <a:gd name="connsiteX2300" fmla="*/ 1102318 w 6530351"/>
              <a:gd name="connsiteY2300" fmla="*/ 5 h 6858285"/>
              <a:gd name="connsiteX2301" fmla="*/ 1312880 w 6530351"/>
              <a:gd name="connsiteY2301" fmla="*/ 5 h 6858285"/>
              <a:gd name="connsiteX2302" fmla="*/ 1153536 w 6530351"/>
              <a:gd name="connsiteY2302" fmla="*/ 71329 h 6858285"/>
              <a:gd name="connsiteX2303" fmla="*/ 1094730 w 6530351"/>
              <a:gd name="connsiteY2303" fmla="*/ 48197 h 6858285"/>
              <a:gd name="connsiteX2304" fmla="*/ 1102318 w 6530351"/>
              <a:gd name="connsiteY2304" fmla="*/ 5 h 6858285"/>
              <a:gd name="connsiteX2305" fmla="*/ 1643408 w 6530351"/>
              <a:gd name="connsiteY2305" fmla="*/ 2 h 6858285"/>
              <a:gd name="connsiteX2306" fmla="*/ 1838350 w 6530351"/>
              <a:gd name="connsiteY2306" fmla="*/ 2 h 6858285"/>
              <a:gd name="connsiteX2307" fmla="*/ 1704566 w 6530351"/>
              <a:gd name="connsiteY2307" fmla="*/ 55519 h 6858285"/>
              <a:gd name="connsiteX2308" fmla="*/ 1645319 w 6530351"/>
              <a:gd name="connsiteY2308" fmla="*/ 30632 h 6858285"/>
              <a:gd name="connsiteX2309" fmla="*/ 1643408 w 6530351"/>
              <a:gd name="connsiteY2309" fmla="*/ 2 h 6858285"/>
              <a:gd name="connsiteX2310" fmla="*/ 2197129 w 6530351"/>
              <a:gd name="connsiteY2310" fmla="*/ 0 h 6858285"/>
              <a:gd name="connsiteX2311" fmla="*/ 2363819 w 6530351"/>
              <a:gd name="connsiteY2311" fmla="*/ 0 h 6858285"/>
              <a:gd name="connsiteX2312" fmla="*/ 2260356 w 6530351"/>
              <a:gd name="connsiteY2312" fmla="*/ 41642 h 6858285"/>
              <a:gd name="connsiteX2313" fmla="*/ 2199045 w 6530351"/>
              <a:gd name="connsiteY2313" fmla="*/ 15142 h 6858285"/>
              <a:gd name="connsiteX2314" fmla="*/ 2197129 w 6530351"/>
              <a:gd name="connsiteY2314" fmla="*/ 0 h 6858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</a:cxnLst>
            <a:rect l="l" t="t" r="r" b="b"/>
            <a:pathLst>
              <a:path w="6530351" h="6858285">
                <a:moveTo>
                  <a:pt x="6502939" y="6648860"/>
                </a:moveTo>
                <a:cubicBezTo>
                  <a:pt x="6512949" y="6652438"/>
                  <a:pt x="6521527" y="6659592"/>
                  <a:pt x="6526293" y="6669131"/>
                </a:cubicBezTo>
                <a:cubicBezTo>
                  <a:pt x="6535827" y="6690116"/>
                  <a:pt x="6528201" y="6714918"/>
                  <a:pt x="6507229" y="6724457"/>
                </a:cubicBezTo>
                <a:cubicBezTo>
                  <a:pt x="6507229" y="6724457"/>
                  <a:pt x="6507229" y="6724457"/>
                  <a:pt x="6226983" y="6858002"/>
                </a:cubicBezTo>
                <a:cubicBezTo>
                  <a:pt x="6226983" y="6858002"/>
                  <a:pt x="6226983" y="6858002"/>
                  <a:pt x="6108783" y="6858002"/>
                </a:cubicBezTo>
                <a:cubicBezTo>
                  <a:pt x="6108783" y="6856094"/>
                  <a:pt x="6108783" y="6852279"/>
                  <a:pt x="6108783" y="6850371"/>
                </a:cubicBezTo>
                <a:cubicBezTo>
                  <a:pt x="6108783" y="6835109"/>
                  <a:pt x="6118315" y="6819846"/>
                  <a:pt x="6131661" y="6812215"/>
                </a:cubicBezTo>
                <a:cubicBezTo>
                  <a:pt x="6131661" y="6812215"/>
                  <a:pt x="6131661" y="6812215"/>
                  <a:pt x="6471007" y="6650053"/>
                </a:cubicBezTo>
                <a:cubicBezTo>
                  <a:pt x="6481493" y="6645283"/>
                  <a:pt x="6492931" y="6645283"/>
                  <a:pt x="6502939" y="6648860"/>
                </a:cubicBezTo>
                <a:close/>
                <a:moveTo>
                  <a:pt x="5955459" y="6635423"/>
                </a:moveTo>
                <a:cubicBezTo>
                  <a:pt x="5965237" y="6638752"/>
                  <a:pt x="5973823" y="6645886"/>
                  <a:pt x="5978591" y="6656349"/>
                </a:cubicBezTo>
                <a:cubicBezTo>
                  <a:pt x="5988131" y="6675373"/>
                  <a:pt x="5980499" y="6700104"/>
                  <a:pt x="5961421" y="6709616"/>
                </a:cubicBezTo>
                <a:cubicBezTo>
                  <a:pt x="5961421" y="6709616"/>
                  <a:pt x="5961421" y="6709616"/>
                  <a:pt x="5656161" y="6858002"/>
                </a:cubicBezTo>
                <a:cubicBezTo>
                  <a:pt x="5656161" y="6858002"/>
                  <a:pt x="5656161" y="6858002"/>
                  <a:pt x="5568399" y="6858002"/>
                </a:cubicBezTo>
                <a:cubicBezTo>
                  <a:pt x="5568399" y="6858002"/>
                  <a:pt x="5568399" y="6858002"/>
                  <a:pt x="5566491" y="6858002"/>
                </a:cubicBezTo>
                <a:cubicBezTo>
                  <a:pt x="5564583" y="6852295"/>
                  <a:pt x="5562675" y="6844686"/>
                  <a:pt x="5562675" y="6838978"/>
                </a:cubicBezTo>
                <a:cubicBezTo>
                  <a:pt x="5562675" y="6823759"/>
                  <a:pt x="5572215" y="6810443"/>
                  <a:pt x="5585569" y="6802833"/>
                </a:cubicBezTo>
                <a:cubicBezTo>
                  <a:pt x="5585569" y="6802833"/>
                  <a:pt x="5585569" y="6802833"/>
                  <a:pt x="5925171" y="6637326"/>
                </a:cubicBezTo>
                <a:cubicBezTo>
                  <a:pt x="5934711" y="6632570"/>
                  <a:pt x="5945681" y="6632094"/>
                  <a:pt x="5955459" y="6635423"/>
                </a:cubicBezTo>
                <a:close/>
                <a:moveTo>
                  <a:pt x="396080" y="6635423"/>
                </a:moveTo>
                <a:cubicBezTo>
                  <a:pt x="405821" y="6638752"/>
                  <a:pt x="414374" y="6645886"/>
                  <a:pt x="419126" y="6656349"/>
                </a:cubicBezTo>
                <a:cubicBezTo>
                  <a:pt x="428630" y="6675373"/>
                  <a:pt x="421027" y="6700104"/>
                  <a:pt x="400119" y="6709616"/>
                </a:cubicBezTo>
                <a:cubicBezTo>
                  <a:pt x="400119" y="6709616"/>
                  <a:pt x="400119" y="6709616"/>
                  <a:pt x="97899" y="6858002"/>
                </a:cubicBezTo>
                <a:cubicBezTo>
                  <a:pt x="97899" y="6858002"/>
                  <a:pt x="97899" y="6858002"/>
                  <a:pt x="10464" y="6858002"/>
                </a:cubicBezTo>
                <a:cubicBezTo>
                  <a:pt x="10464" y="6858002"/>
                  <a:pt x="8564" y="6858002"/>
                  <a:pt x="8564" y="6858002"/>
                </a:cubicBezTo>
                <a:cubicBezTo>
                  <a:pt x="6663" y="6852295"/>
                  <a:pt x="4762" y="6844686"/>
                  <a:pt x="4762" y="6838978"/>
                </a:cubicBezTo>
                <a:cubicBezTo>
                  <a:pt x="4762" y="6823759"/>
                  <a:pt x="12365" y="6810443"/>
                  <a:pt x="27571" y="6802833"/>
                </a:cubicBezTo>
                <a:cubicBezTo>
                  <a:pt x="27571" y="6802833"/>
                  <a:pt x="27571" y="6802833"/>
                  <a:pt x="365905" y="6637326"/>
                </a:cubicBezTo>
                <a:cubicBezTo>
                  <a:pt x="375409" y="6632570"/>
                  <a:pt x="386338" y="6632094"/>
                  <a:pt x="396080" y="6635423"/>
                </a:cubicBezTo>
                <a:close/>
                <a:moveTo>
                  <a:pt x="5405399" y="6619807"/>
                </a:moveTo>
                <a:cubicBezTo>
                  <a:pt x="5414911" y="6622907"/>
                  <a:pt x="5422995" y="6630060"/>
                  <a:pt x="5427751" y="6640551"/>
                </a:cubicBezTo>
                <a:cubicBezTo>
                  <a:pt x="5437261" y="6659625"/>
                  <a:pt x="5429653" y="6682515"/>
                  <a:pt x="5410631" y="6693960"/>
                </a:cubicBezTo>
                <a:cubicBezTo>
                  <a:pt x="5410631" y="6693960"/>
                  <a:pt x="5410631" y="6693960"/>
                  <a:pt x="5083459" y="6858002"/>
                </a:cubicBezTo>
                <a:cubicBezTo>
                  <a:pt x="5083459" y="6858002"/>
                  <a:pt x="5083459" y="6858002"/>
                  <a:pt x="5028295" y="6858002"/>
                </a:cubicBezTo>
                <a:cubicBezTo>
                  <a:pt x="5024491" y="6856095"/>
                  <a:pt x="5022589" y="6852280"/>
                  <a:pt x="5020687" y="6846557"/>
                </a:cubicBezTo>
                <a:cubicBezTo>
                  <a:pt x="5016883" y="6840835"/>
                  <a:pt x="5014979" y="6835113"/>
                  <a:pt x="5014979" y="6829390"/>
                </a:cubicBezTo>
                <a:cubicBezTo>
                  <a:pt x="5014979" y="6814131"/>
                  <a:pt x="5024491" y="6800778"/>
                  <a:pt x="5037807" y="6793148"/>
                </a:cubicBezTo>
                <a:cubicBezTo>
                  <a:pt x="5037807" y="6793148"/>
                  <a:pt x="5037807" y="6793148"/>
                  <a:pt x="5374489" y="6623384"/>
                </a:cubicBezTo>
                <a:cubicBezTo>
                  <a:pt x="5384951" y="6617661"/>
                  <a:pt x="5395889" y="6616708"/>
                  <a:pt x="5405399" y="6619807"/>
                </a:cubicBezTo>
                <a:close/>
                <a:moveTo>
                  <a:pt x="939737" y="6619807"/>
                </a:moveTo>
                <a:cubicBezTo>
                  <a:pt x="949284" y="6622907"/>
                  <a:pt x="957876" y="6630060"/>
                  <a:pt x="963603" y="6640551"/>
                </a:cubicBezTo>
                <a:cubicBezTo>
                  <a:pt x="973150" y="6659625"/>
                  <a:pt x="965513" y="6682515"/>
                  <a:pt x="944510" y="6693960"/>
                </a:cubicBezTo>
                <a:cubicBezTo>
                  <a:pt x="944510" y="6693960"/>
                  <a:pt x="944510" y="6693960"/>
                  <a:pt x="618017" y="6858002"/>
                </a:cubicBezTo>
                <a:cubicBezTo>
                  <a:pt x="618017" y="6858002"/>
                  <a:pt x="618017" y="6858002"/>
                  <a:pt x="562647" y="6858002"/>
                </a:cubicBezTo>
                <a:cubicBezTo>
                  <a:pt x="558829" y="6856095"/>
                  <a:pt x="555010" y="6852280"/>
                  <a:pt x="553101" y="6846557"/>
                </a:cubicBezTo>
                <a:cubicBezTo>
                  <a:pt x="549282" y="6840835"/>
                  <a:pt x="549282" y="6835113"/>
                  <a:pt x="549282" y="6829390"/>
                </a:cubicBezTo>
                <a:cubicBezTo>
                  <a:pt x="549282" y="6814131"/>
                  <a:pt x="556919" y="6800778"/>
                  <a:pt x="570284" y="6793148"/>
                </a:cubicBezTo>
                <a:cubicBezTo>
                  <a:pt x="570284" y="6793148"/>
                  <a:pt x="570284" y="6793148"/>
                  <a:pt x="910143" y="6623384"/>
                </a:cubicBezTo>
                <a:cubicBezTo>
                  <a:pt x="919690" y="6617661"/>
                  <a:pt x="930191" y="6616707"/>
                  <a:pt x="939737" y="6619807"/>
                </a:cubicBezTo>
                <a:close/>
                <a:moveTo>
                  <a:pt x="4850617" y="6606629"/>
                </a:moveTo>
                <a:cubicBezTo>
                  <a:pt x="4860373" y="6609729"/>
                  <a:pt x="4868941" y="6616404"/>
                  <a:pt x="4873699" y="6625941"/>
                </a:cubicBezTo>
                <a:cubicBezTo>
                  <a:pt x="4883215" y="6645014"/>
                  <a:pt x="4875601" y="6667901"/>
                  <a:pt x="4856565" y="6677438"/>
                </a:cubicBezTo>
                <a:cubicBezTo>
                  <a:pt x="4856565" y="6677438"/>
                  <a:pt x="4856565" y="6677438"/>
                  <a:pt x="4519631" y="6852909"/>
                </a:cubicBezTo>
                <a:cubicBezTo>
                  <a:pt x="4500595" y="6864352"/>
                  <a:pt x="4477751" y="6856723"/>
                  <a:pt x="4466331" y="6837650"/>
                </a:cubicBezTo>
                <a:cubicBezTo>
                  <a:pt x="4464427" y="6831928"/>
                  <a:pt x="4462523" y="6824299"/>
                  <a:pt x="4462523" y="6818577"/>
                </a:cubicBezTo>
                <a:cubicBezTo>
                  <a:pt x="4462523" y="6805226"/>
                  <a:pt x="4470137" y="6791875"/>
                  <a:pt x="4483463" y="6784246"/>
                </a:cubicBezTo>
                <a:cubicBezTo>
                  <a:pt x="4483463" y="6784246"/>
                  <a:pt x="4483463" y="6784246"/>
                  <a:pt x="4820397" y="6608775"/>
                </a:cubicBezTo>
                <a:cubicBezTo>
                  <a:pt x="4829915" y="6604007"/>
                  <a:pt x="4840861" y="6603530"/>
                  <a:pt x="4850617" y="6606629"/>
                </a:cubicBezTo>
                <a:close/>
                <a:moveTo>
                  <a:pt x="1485707" y="6606629"/>
                </a:moveTo>
                <a:cubicBezTo>
                  <a:pt x="1494987" y="6609729"/>
                  <a:pt x="1503078" y="6616404"/>
                  <a:pt x="1507836" y="6625941"/>
                </a:cubicBezTo>
                <a:cubicBezTo>
                  <a:pt x="1519258" y="6645014"/>
                  <a:pt x="1511644" y="6667901"/>
                  <a:pt x="1492608" y="6677438"/>
                </a:cubicBezTo>
                <a:cubicBezTo>
                  <a:pt x="1492608" y="6677438"/>
                  <a:pt x="1492608" y="6677438"/>
                  <a:pt x="1153769" y="6852909"/>
                </a:cubicBezTo>
                <a:cubicBezTo>
                  <a:pt x="1134733" y="6864352"/>
                  <a:pt x="1111890" y="6856723"/>
                  <a:pt x="1102372" y="6837650"/>
                </a:cubicBezTo>
                <a:cubicBezTo>
                  <a:pt x="1098565" y="6831928"/>
                  <a:pt x="1098565" y="6824299"/>
                  <a:pt x="1098565" y="6818577"/>
                </a:cubicBezTo>
                <a:cubicBezTo>
                  <a:pt x="1098565" y="6805226"/>
                  <a:pt x="1106179" y="6791875"/>
                  <a:pt x="1119504" y="6784246"/>
                </a:cubicBezTo>
                <a:cubicBezTo>
                  <a:pt x="1119504" y="6784246"/>
                  <a:pt x="1119504" y="6784246"/>
                  <a:pt x="1456440" y="6608775"/>
                </a:cubicBezTo>
                <a:cubicBezTo>
                  <a:pt x="1465958" y="6604007"/>
                  <a:pt x="1476427" y="6603530"/>
                  <a:pt x="1485707" y="6606629"/>
                </a:cubicBezTo>
                <a:close/>
                <a:moveTo>
                  <a:pt x="4291151" y="6592968"/>
                </a:moveTo>
                <a:cubicBezTo>
                  <a:pt x="4300437" y="6595588"/>
                  <a:pt x="4308533" y="6601779"/>
                  <a:pt x="4313295" y="6611304"/>
                </a:cubicBezTo>
                <a:cubicBezTo>
                  <a:pt x="4322821" y="6630354"/>
                  <a:pt x="4317105" y="6653214"/>
                  <a:pt x="4298055" y="6662739"/>
                </a:cubicBezTo>
                <a:cubicBezTo>
                  <a:pt x="4298055" y="6662739"/>
                  <a:pt x="4298055" y="6662739"/>
                  <a:pt x="3960865" y="6841809"/>
                </a:cubicBezTo>
                <a:cubicBezTo>
                  <a:pt x="3941815" y="6853239"/>
                  <a:pt x="3918955" y="6845619"/>
                  <a:pt x="3909431" y="6826569"/>
                </a:cubicBezTo>
                <a:cubicBezTo>
                  <a:pt x="3905621" y="6820854"/>
                  <a:pt x="3903715" y="6815139"/>
                  <a:pt x="3903715" y="6809424"/>
                </a:cubicBezTo>
                <a:cubicBezTo>
                  <a:pt x="3903715" y="6796089"/>
                  <a:pt x="3911335" y="6782754"/>
                  <a:pt x="3924671" y="6775134"/>
                </a:cubicBezTo>
                <a:cubicBezTo>
                  <a:pt x="3924671" y="6775134"/>
                  <a:pt x="3924671" y="6775134"/>
                  <a:pt x="4261861" y="6596064"/>
                </a:cubicBezTo>
                <a:cubicBezTo>
                  <a:pt x="4271387" y="6591301"/>
                  <a:pt x="4281863" y="6590349"/>
                  <a:pt x="4291151" y="6592968"/>
                </a:cubicBezTo>
                <a:close/>
                <a:moveTo>
                  <a:pt x="2037028" y="6592968"/>
                </a:moveTo>
                <a:cubicBezTo>
                  <a:pt x="2046315" y="6595587"/>
                  <a:pt x="2054888" y="6601779"/>
                  <a:pt x="2060603" y="6611304"/>
                </a:cubicBezTo>
                <a:cubicBezTo>
                  <a:pt x="2070128" y="6630354"/>
                  <a:pt x="2062508" y="6653214"/>
                  <a:pt x="2043458" y="6662739"/>
                </a:cubicBezTo>
                <a:cubicBezTo>
                  <a:pt x="2043458" y="6662739"/>
                  <a:pt x="2043458" y="6662739"/>
                  <a:pt x="1706268" y="6841809"/>
                </a:cubicBezTo>
                <a:cubicBezTo>
                  <a:pt x="1687218" y="6853239"/>
                  <a:pt x="1664357" y="6845619"/>
                  <a:pt x="1654832" y="6826569"/>
                </a:cubicBezTo>
                <a:cubicBezTo>
                  <a:pt x="1652927" y="6820854"/>
                  <a:pt x="1651022" y="6815139"/>
                  <a:pt x="1651022" y="6809424"/>
                </a:cubicBezTo>
                <a:cubicBezTo>
                  <a:pt x="1651022" y="6796089"/>
                  <a:pt x="1658642" y="6782754"/>
                  <a:pt x="1670072" y="6775134"/>
                </a:cubicBezTo>
                <a:cubicBezTo>
                  <a:pt x="1670072" y="6775134"/>
                  <a:pt x="1670072" y="6775134"/>
                  <a:pt x="2009167" y="6596064"/>
                </a:cubicBezTo>
                <a:cubicBezTo>
                  <a:pt x="2017740" y="6591301"/>
                  <a:pt x="2027741" y="6590349"/>
                  <a:pt x="2037028" y="6592968"/>
                </a:cubicBezTo>
                <a:close/>
                <a:moveTo>
                  <a:pt x="3727793" y="6578028"/>
                </a:moveTo>
                <a:cubicBezTo>
                  <a:pt x="3736849" y="6580642"/>
                  <a:pt x="3744951" y="6586818"/>
                  <a:pt x="3749717" y="6595371"/>
                </a:cubicBezTo>
                <a:cubicBezTo>
                  <a:pt x="3759251" y="6614376"/>
                  <a:pt x="3753531" y="6635282"/>
                  <a:pt x="3734465" y="6646685"/>
                </a:cubicBezTo>
                <a:cubicBezTo>
                  <a:pt x="3734465" y="6646685"/>
                  <a:pt x="3734465" y="6646685"/>
                  <a:pt x="3397020" y="6831037"/>
                </a:cubicBezTo>
                <a:cubicBezTo>
                  <a:pt x="3379861" y="6840539"/>
                  <a:pt x="3356984" y="6832937"/>
                  <a:pt x="3347451" y="6815832"/>
                </a:cubicBezTo>
                <a:cubicBezTo>
                  <a:pt x="3343638" y="6810131"/>
                  <a:pt x="3341732" y="6804429"/>
                  <a:pt x="3341732" y="6798728"/>
                </a:cubicBezTo>
                <a:cubicBezTo>
                  <a:pt x="3341732" y="6785424"/>
                  <a:pt x="3349358" y="6772120"/>
                  <a:pt x="3362703" y="6764518"/>
                </a:cubicBezTo>
                <a:cubicBezTo>
                  <a:pt x="3362703" y="6764518"/>
                  <a:pt x="3362703" y="6764518"/>
                  <a:pt x="3700149" y="6582067"/>
                </a:cubicBezTo>
                <a:cubicBezTo>
                  <a:pt x="3708729" y="6576365"/>
                  <a:pt x="3718737" y="6575415"/>
                  <a:pt x="3727793" y="6578028"/>
                </a:cubicBezTo>
                <a:close/>
                <a:moveTo>
                  <a:pt x="2592715" y="6578028"/>
                </a:moveTo>
                <a:cubicBezTo>
                  <a:pt x="2601771" y="6580641"/>
                  <a:pt x="2609874" y="6586818"/>
                  <a:pt x="2614640" y="6595371"/>
                </a:cubicBezTo>
                <a:cubicBezTo>
                  <a:pt x="2624172" y="6614376"/>
                  <a:pt x="2618453" y="6635282"/>
                  <a:pt x="2599388" y="6646685"/>
                </a:cubicBezTo>
                <a:cubicBezTo>
                  <a:pt x="2599388" y="6646685"/>
                  <a:pt x="2599388" y="6646685"/>
                  <a:pt x="2261942" y="6831037"/>
                </a:cubicBezTo>
                <a:cubicBezTo>
                  <a:pt x="2244783" y="6840539"/>
                  <a:pt x="2221906" y="6832937"/>
                  <a:pt x="2212373" y="6815832"/>
                </a:cubicBezTo>
                <a:cubicBezTo>
                  <a:pt x="2208560" y="6810131"/>
                  <a:pt x="2206654" y="6804429"/>
                  <a:pt x="2206654" y="6798728"/>
                </a:cubicBezTo>
                <a:cubicBezTo>
                  <a:pt x="2206654" y="6785424"/>
                  <a:pt x="2214280" y="6772120"/>
                  <a:pt x="2225719" y="6764518"/>
                </a:cubicBezTo>
                <a:cubicBezTo>
                  <a:pt x="2225719" y="6764518"/>
                  <a:pt x="2225719" y="6764518"/>
                  <a:pt x="2565071" y="6582067"/>
                </a:cubicBezTo>
                <a:cubicBezTo>
                  <a:pt x="2573651" y="6576365"/>
                  <a:pt x="2583660" y="6575415"/>
                  <a:pt x="2592715" y="6578028"/>
                </a:cubicBezTo>
                <a:close/>
                <a:moveTo>
                  <a:pt x="3153207" y="6564133"/>
                </a:moveTo>
                <a:cubicBezTo>
                  <a:pt x="3162235" y="6566506"/>
                  <a:pt x="3170313" y="6572201"/>
                  <a:pt x="3175065" y="6580744"/>
                </a:cubicBezTo>
                <a:cubicBezTo>
                  <a:pt x="3184568" y="6599727"/>
                  <a:pt x="3178866" y="6620609"/>
                  <a:pt x="3161760" y="6630101"/>
                </a:cubicBezTo>
                <a:cubicBezTo>
                  <a:pt x="3161760" y="6630101"/>
                  <a:pt x="3161760" y="6630101"/>
                  <a:pt x="2825344" y="6819936"/>
                </a:cubicBezTo>
                <a:cubicBezTo>
                  <a:pt x="2808238" y="6829427"/>
                  <a:pt x="2785430" y="6823732"/>
                  <a:pt x="2775927" y="6804749"/>
                </a:cubicBezTo>
                <a:cubicBezTo>
                  <a:pt x="2772126" y="6799054"/>
                  <a:pt x="2770225" y="6793359"/>
                  <a:pt x="2770225" y="6787664"/>
                </a:cubicBezTo>
                <a:cubicBezTo>
                  <a:pt x="2770225" y="6774375"/>
                  <a:pt x="2777828" y="6762985"/>
                  <a:pt x="2789232" y="6757290"/>
                </a:cubicBezTo>
                <a:cubicBezTo>
                  <a:pt x="2789232" y="6757290"/>
                  <a:pt x="2789232" y="6757290"/>
                  <a:pt x="3125648" y="6567455"/>
                </a:cubicBezTo>
                <a:cubicBezTo>
                  <a:pt x="3134201" y="6562710"/>
                  <a:pt x="3144179" y="6561760"/>
                  <a:pt x="3153207" y="6564133"/>
                </a:cubicBezTo>
                <a:close/>
                <a:moveTo>
                  <a:pt x="6502939" y="6327421"/>
                </a:moveTo>
                <a:cubicBezTo>
                  <a:pt x="6512949" y="6330738"/>
                  <a:pt x="6521527" y="6337846"/>
                  <a:pt x="6526293" y="6348272"/>
                </a:cubicBezTo>
                <a:cubicBezTo>
                  <a:pt x="6535827" y="6367227"/>
                  <a:pt x="6528201" y="6391869"/>
                  <a:pt x="6507229" y="6401346"/>
                </a:cubicBezTo>
                <a:cubicBezTo>
                  <a:pt x="6507229" y="6401346"/>
                  <a:pt x="6507229" y="6401346"/>
                  <a:pt x="6167883" y="6564361"/>
                </a:cubicBezTo>
                <a:cubicBezTo>
                  <a:pt x="6146911" y="6573839"/>
                  <a:pt x="6122129" y="6566257"/>
                  <a:pt x="6112595" y="6545406"/>
                </a:cubicBezTo>
                <a:cubicBezTo>
                  <a:pt x="6110689" y="6539719"/>
                  <a:pt x="6108783" y="6534033"/>
                  <a:pt x="6108783" y="6528346"/>
                </a:cubicBezTo>
                <a:cubicBezTo>
                  <a:pt x="6108783" y="6513182"/>
                  <a:pt x="6118315" y="6498018"/>
                  <a:pt x="6131661" y="6490436"/>
                </a:cubicBezTo>
                <a:cubicBezTo>
                  <a:pt x="6131661" y="6490436"/>
                  <a:pt x="6131661" y="6490436"/>
                  <a:pt x="6471007" y="6329316"/>
                </a:cubicBezTo>
                <a:cubicBezTo>
                  <a:pt x="6481493" y="6324578"/>
                  <a:pt x="6492931" y="6324104"/>
                  <a:pt x="6502939" y="6327421"/>
                </a:cubicBezTo>
                <a:close/>
                <a:moveTo>
                  <a:pt x="5955879" y="6313171"/>
                </a:moveTo>
                <a:cubicBezTo>
                  <a:pt x="5965411" y="6316505"/>
                  <a:pt x="5973513" y="6323648"/>
                  <a:pt x="5978279" y="6334126"/>
                </a:cubicBezTo>
                <a:cubicBezTo>
                  <a:pt x="5989719" y="6353176"/>
                  <a:pt x="5980185" y="6377941"/>
                  <a:pt x="5961121" y="6387466"/>
                </a:cubicBezTo>
                <a:cubicBezTo>
                  <a:pt x="5961121" y="6387466"/>
                  <a:pt x="5961121" y="6387466"/>
                  <a:pt x="5621775" y="6553201"/>
                </a:cubicBezTo>
                <a:cubicBezTo>
                  <a:pt x="5600803" y="6562726"/>
                  <a:pt x="5576021" y="6553201"/>
                  <a:pt x="5566487" y="6534151"/>
                </a:cubicBezTo>
                <a:cubicBezTo>
                  <a:pt x="5564581" y="6528436"/>
                  <a:pt x="5562675" y="6522721"/>
                  <a:pt x="5562675" y="6517006"/>
                </a:cubicBezTo>
                <a:cubicBezTo>
                  <a:pt x="5562675" y="6501766"/>
                  <a:pt x="5572207" y="6486526"/>
                  <a:pt x="5585553" y="6478906"/>
                </a:cubicBezTo>
                <a:cubicBezTo>
                  <a:pt x="5585553" y="6478906"/>
                  <a:pt x="5585553" y="6478906"/>
                  <a:pt x="5924899" y="6315076"/>
                </a:cubicBezTo>
                <a:cubicBezTo>
                  <a:pt x="5935385" y="6310313"/>
                  <a:pt x="5946347" y="6309837"/>
                  <a:pt x="5955879" y="6313171"/>
                </a:cubicBezTo>
                <a:close/>
                <a:moveTo>
                  <a:pt x="396080" y="6313171"/>
                </a:moveTo>
                <a:cubicBezTo>
                  <a:pt x="405821" y="6316504"/>
                  <a:pt x="414374" y="6323648"/>
                  <a:pt x="419126" y="6334126"/>
                </a:cubicBezTo>
                <a:cubicBezTo>
                  <a:pt x="428630" y="6353176"/>
                  <a:pt x="421027" y="6377941"/>
                  <a:pt x="400119" y="6387466"/>
                </a:cubicBezTo>
                <a:cubicBezTo>
                  <a:pt x="400119" y="6387466"/>
                  <a:pt x="400119" y="6387466"/>
                  <a:pt x="63685" y="6553201"/>
                </a:cubicBezTo>
                <a:cubicBezTo>
                  <a:pt x="42777" y="6562726"/>
                  <a:pt x="18067" y="6553201"/>
                  <a:pt x="8564" y="6534151"/>
                </a:cubicBezTo>
                <a:cubicBezTo>
                  <a:pt x="6663" y="6528436"/>
                  <a:pt x="4762" y="6522721"/>
                  <a:pt x="4762" y="6517006"/>
                </a:cubicBezTo>
                <a:cubicBezTo>
                  <a:pt x="4762" y="6501766"/>
                  <a:pt x="12365" y="6486526"/>
                  <a:pt x="27571" y="6478906"/>
                </a:cubicBezTo>
                <a:cubicBezTo>
                  <a:pt x="27571" y="6478906"/>
                  <a:pt x="27571" y="6478906"/>
                  <a:pt x="365905" y="6315076"/>
                </a:cubicBezTo>
                <a:cubicBezTo>
                  <a:pt x="375409" y="6310313"/>
                  <a:pt x="386338" y="6309837"/>
                  <a:pt x="396080" y="6313171"/>
                </a:cubicBezTo>
                <a:close/>
                <a:moveTo>
                  <a:pt x="5405347" y="6300224"/>
                </a:moveTo>
                <a:cubicBezTo>
                  <a:pt x="5415089" y="6303315"/>
                  <a:pt x="5423643" y="6309975"/>
                  <a:pt x="5429345" y="6319488"/>
                </a:cubicBezTo>
                <a:cubicBezTo>
                  <a:pt x="5438847" y="6340417"/>
                  <a:pt x="5431245" y="6363250"/>
                  <a:pt x="5410337" y="6372763"/>
                </a:cubicBezTo>
                <a:cubicBezTo>
                  <a:pt x="5410337" y="6372763"/>
                  <a:pt x="5410337" y="6372763"/>
                  <a:pt x="5072003" y="6540198"/>
                </a:cubicBezTo>
                <a:cubicBezTo>
                  <a:pt x="5052995" y="6551614"/>
                  <a:pt x="5028285" y="6542100"/>
                  <a:pt x="5018781" y="6523074"/>
                </a:cubicBezTo>
                <a:cubicBezTo>
                  <a:pt x="5016881" y="6517366"/>
                  <a:pt x="5014979" y="6511658"/>
                  <a:pt x="5014979" y="6505950"/>
                </a:cubicBezTo>
                <a:cubicBezTo>
                  <a:pt x="5014979" y="6490728"/>
                  <a:pt x="5022583" y="6475507"/>
                  <a:pt x="5037789" y="6469799"/>
                </a:cubicBezTo>
                <a:cubicBezTo>
                  <a:pt x="5037789" y="6469799"/>
                  <a:pt x="5037789" y="6469799"/>
                  <a:pt x="5374223" y="6302364"/>
                </a:cubicBezTo>
                <a:cubicBezTo>
                  <a:pt x="5384677" y="6297608"/>
                  <a:pt x="5395607" y="6297132"/>
                  <a:pt x="5405347" y="6300224"/>
                </a:cubicBezTo>
                <a:close/>
                <a:moveTo>
                  <a:pt x="940479" y="6300224"/>
                </a:moveTo>
                <a:cubicBezTo>
                  <a:pt x="950257" y="6303315"/>
                  <a:pt x="958842" y="6309975"/>
                  <a:pt x="963612" y="6319488"/>
                </a:cubicBezTo>
                <a:cubicBezTo>
                  <a:pt x="973151" y="6340417"/>
                  <a:pt x="965519" y="6363250"/>
                  <a:pt x="944533" y="6372763"/>
                </a:cubicBezTo>
                <a:cubicBezTo>
                  <a:pt x="944533" y="6372763"/>
                  <a:pt x="944533" y="6372763"/>
                  <a:pt x="606839" y="6540198"/>
                </a:cubicBezTo>
                <a:cubicBezTo>
                  <a:pt x="585852" y="6551614"/>
                  <a:pt x="562958" y="6542100"/>
                  <a:pt x="551511" y="6523074"/>
                </a:cubicBezTo>
                <a:cubicBezTo>
                  <a:pt x="549603" y="6517366"/>
                  <a:pt x="547695" y="6511658"/>
                  <a:pt x="547695" y="6505950"/>
                </a:cubicBezTo>
                <a:cubicBezTo>
                  <a:pt x="547695" y="6490728"/>
                  <a:pt x="557234" y="6475507"/>
                  <a:pt x="570589" y="6469799"/>
                </a:cubicBezTo>
                <a:cubicBezTo>
                  <a:pt x="570589" y="6469799"/>
                  <a:pt x="570589" y="6469799"/>
                  <a:pt x="910191" y="6302364"/>
                </a:cubicBezTo>
                <a:cubicBezTo>
                  <a:pt x="919731" y="6297608"/>
                  <a:pt x="930701" y="6297132"/>
                  <a:pt x="940479" y="6300224"/>
                </a:cubicBezTo>
                <a:close/>
                <a:moveTo>
                  <a:pt x="4851417" y="6285982"/>
                </a:moveTo>
                <a:cubicBezTo>
                  <a:pt x="4860955" y="6289093"/>
                  <a:pt x="4869541" y="6295793"/>
                  <a:pt x="4875265" y="6305364"/>
                </a:cubicBezTo>
                <a:cubicBezTo>
                  <a:pt x="4884803" y="6324508"/>
                  <a:pt x="4877173" y="6349394"/>
                  <a:pt x="4856185" y="6358966"/>
                </a:cubicBezTo>
                <a:cubicBezTo>
                  <a:pt x="4856185" y="6358966"/>
                  <a:pt x="4856185" y="6358966"/>
                  <a:pt x="4518493" y="6529342"/>
                </a:cubicBezTo>
                <a:cubicBezTo>
                  <a:pt x="4497505" y="6538914"/>
                  <a:pt x="4474611" y="6531256"/>
                  <a:pt x="4465071" y="6512113"/>
                </a:cubicBezTo>
                <a:cubicBezTo>
                  <a:pt x="4461255" y="6506370"/>
                  <a:pt x="4459347" y="6500627"/>
                  <a:pt x="4459347" y="6494884"/>
                </a:cubicBezTo>
                <a:cubicBezTo>
                  <a:pt x="4459347" y="6479569"/>
                  <a:pt x="4468887" y="6466169"/>
                  <a:pt x="4482243" y="6458512"/>
                </a:cubicBezTo>
                <a:cubicBezTo>
                  <a:pt x="4482243" y="6458512"/>
                  <a:pt x="4482243" y="6458512"/>
                  <a:pt x="4821845" y="6288135"/>
                </a:cubicBezTo>
                <a:cubicBezTo>
                  <a:pt x="4831385" y="6283350"/>
                  <a:pt x="4841877" y="6282871"/>
                  <a:pt x="4851417" y="6285982"/>
                </a:cubicBezTo>
                <a:close/>
                <a:moveTo>
                  <a:pt x="1486683" y="6285982"/>
                </a:moveTo>
                <a:cubicBezTo>
                  <a:pt x="1496432" y="6289093"/>
                  <a:pt x="1504992" y="6295793"/>
                  <a:pt x="1509747" y="6305364"/>
                </a:cubicBezTo>
                <a:cubicBezTo>
                  <a:pt x="1519258" y="6324508"/>
                  <a:pt x="1511649" y="6349394"/>
                  <a:pt x="1492628" y="6358966"/>
                </a:cubicBezTo>
                <a:cubicBezTo>
                  <a:pt x="1492628" y="6358966"/>
                  <a:pt x="1492628" y="6358966"/>
                  <a:pt x="1154042" y="6529342"/>
                </a:cubicBezTo>
                <a:cubicBezTo>
                  <a:pt x="1135020" y="6538914"/>
                  <a:pt x="1110292" y="6531256"/>
                  <a:pt x="1100781" y="6512113"/>
                </a:cubicBezTo>
                <a:cubicBezTo>
                  <a:pt x="1098879" y="6506370"/>
                  <a:pt x="1096977" y="6500627"/>
                  <a:pt x="1096977" y="6494884"/>
                </a:cubicBezTo>
                <a:cubicBezTo>
                  <a:pt x="1096977" y="6479569"/>
                  <a:pt x="1104586" y="6466169"/>
                  <a:pt x="1117901" y="6458512"/>
                </a:cubicBezTo>
                <a:cubicBezTo>
                  <a:pt x="1117901" y="6458512"/>
                  <a:pt x="1117901" y="6458512"/>
                  <a:pt x="1456487" y="6288135"/>
                </a:cubicBezTo>
                <a:cubicBezTo>
                  <a:pt x="1465998" y="6283350"/>
                  <a:pt x="1476935" y="6282871"/>
                  <a:pt x="1486683" y="6285982"/>
                </a:cubicBezTo>
                <a:close/>
                <a:moveTo>
                  <a:pt x="4292547" y="6273228"/>
                </a:moveTo>
                <a:cubicBezTo>
                  <a:pt x="4302059" y="6276316"/>
                  <a:pt x="4310143" y="6282967"/>
                  <a:pt x="4314899" y="6292469"/>
                </a:cubicBezTo>
                <a:cubicBezTo>
                  <a:pt x="4324409" y="6311473"/>
                  <a:pt x="4316801" y="6334277"/>
                  <a:pt x="4297779" y="6345679"/>
                </a:cubicBezTo>
                <a:cubicBezTo>
                  <a:pt x="4297779" y="6345679"/>
                  <a:pt x="4297779" y="6345679"/>
                  <a:pt x="3961095" y="6516712"/>
                </a:cubicBezTo>
                <a:cubicBezTo>
                  <a:pt x="3940171" y="6526214"/>
                  <a:pt x="3917345" y="6518612"/>
                  <a:pt x="3907835" y="6499609"/>
                </a:cubicBezTo>
                <a:cubicBezTo>
                  <a:pt x="3904031" y="6493908"/>
                  <a:pt x="3902127" y="6488206"/>
                  <a:pt x="3902127" y="6482505"/>
                </a:cubicBezTo>
                <a:cubicBezTo>
                  <a:pt x="3902127" y="6467302"/>
                  <a:pt x="3911639" y="6454000"/>
                  <a:pt x="3924955" y="6446398"/>
                </a:cubicBezTo>
                <a:cubicBezTo>
                  <a:pt x="3924955" y="6446398"/>
                  <a:pt x="3924955" y="6446398"/>
                  <a:pt x="4261637" y="6275366"/>
                </a:cubicBezTo>
                <a:cubicBezTo>
                  <a:pt x="4272099" y="6270615"/>
                  <a:pt x="4283037" y="6270140"/>
                  <a:pt x="4292547" y="6273228"/>
                </a:cubicBezTo>
                <a:close/>
                <a:moveTo>
                  <a:pt x="2038428" y="6273228"/>
                </a:moveTo>
                <a:cubicBezTo>
                  <a:pt x="2047939" y="6276316"/>
                  <a:pt x="2056499" y="6282967"/>
                  <a:pt x="2062205" y="6292469"/>
                </a:cubicBezTo>
                <a:cubicBezTo>
                  <a:pt x="2071716" y="6311473"/>
                  <a:pt x="2064107" y="6334277"/>
                  <a:pt x="2045086" y="6345679"/>
                </a:cubicBezTo>
                <a:cubicBezTo>
                  <a:pt x="2045086" y="6345679"/>
                  <a:pt x="2045086" y="6345679"/>
                  <a:pt x="1706500" y="6516712"/>
                </a:cubicBezTo>
                <a:cubicBezTo>
                  <a:pt x="1687478" y="6526214"/>
                  <a:pt x="1662750" y="6518612"/>
                  <a:pt x="1653239" y="6499609"/>
                </a:cubicBezTo>
                <a:cubicBezTo>
                  <a:pt x="1651337" y="6493908"/>
                  <a:pt x="1649435" y="6488206"/>
                  <a:pt x="1649435" y="6482505"/>
                </a:cubicBezTo>
                <a:cubicBezTo>
                  <a:pt x="1649435" y="6467302"/>
                  <a:pt x="1657044" y="6454000"/>
                  <a:pt x="1670359" y="6446398"/>
                </a:cubicBezTo>
                <a:cubicBezTo>
                  <a:pt x="1670359" y="6446398"/>
                  <a:pt x="1670359" y="6446398"/>
                  <a:pt x="2008945" y="6275366"/>
                </a:cubicBezTo>
                <a:cubicBezTo>
                  <a:pt x="2018456" y="6270615"/>
                  <a:pt x="2028917" y="6270140"/>
                  <a:pt x="2038428" y="6273228"/>
                </a:cubicBezTo>
                <a:close/>
                <a:moveTo>
                  <a:pt x="3729191" y="6260519"/>
                </a:moveTo>
                <a:cubicBezTo>
                  <a:pt x="3738471" y="6263603"/>
                  <a:pt x="3746563" y="6270247"/>
                  <a:pt x="3751321" y="6279737"/>
                </a:cubicBezTo>
                <a:cubicBezTo>
                  <a:pt x="3760839" y="6298718"/>
                  <a:pt x="3755127" y="6321495"/>
                  <a:pt x="3736091" y="6330986"/>
                </a:cubicBezTo>
                <a:cubicBezTo>
                  <a:pt x="3736091" y="6330986"/>
                  <a:pt x="3736091" y="6330986"/>
                  <a:pt x="3397253" y="6505611"/>
                </a:cubicBezTo>
                <a:cubicBezTo>
                  <a:pt x="3378217" y="6515102"/>
                  <a:pt x="3355374" y="6507509"/>
                  <a:pt x="3345856" y="6488528"/>
                </a:cubicBezTo>
                <a:cubicBezTo>
                  <a:pt x="3342049" y="6482834"/>
                  <a:pt x="3340145" y="6477140"/>
                  <a:pt x="3340145" y="6469547"/>
                </a:cubicBezTo>
                <a:cubicBezTo>
                  <a:pt x="3340145" y="6456261"/>
                  <a:pt x="3347759" y="6442974"/>
                  <a:pt x="3361084" y="6435381"/>
                </a:cubicBezTo>
                <a:cubicBezTo>
                  <a:pt x="3361084" y="6435381"/>
                  <a:pt x="3361084" y="6435381"/>
                  <a:pt x="3699923" y="6262654"/>
                </a:cubicBezTo>
                <a:cubicBezTo>
                  <a:pt x="3709441" y="6257909"/>
                  <a:pt x="3719911" y="6257435"/>
                  <a:pt x="3729191" y="6260519"/>
                </a:cubicBezTo>
                <a:close/>
                <a:moveTo>
                  <a:pt x="2595581" y="6260519"/>
                </a:moveTo>
                <a:cubicBezTo>
                  <a:pt x="2604896" y="6263603"/>
                  <a:pt x="2613017" y="6270247"/>
                  <a:pt x="2617794" y="6279737"/>
                </a:cubicBezTo>
                <a:cubicBezTo>
                  <a:pt x="2627348" y="6298718"/>
                  <a:pt x="2621616" y="6321495"/>
                  <a:pt x="2600597" y="6330986"/>
                </a:cubicBezTo>
                <a:cubicBezTo>
                  <a:pt x="2600597" y="6330986"/>
                  <a:pt x="2600597" y="6330986"/>
                  <a:pt x="2262390" y="6505611"/>
                </a:cubicBezTo>
                <a:cubicBezTo>
                  <a:pt x="2243282" y="6515102"/>
                  <a:pt x="2220353" y="6507509"/>
                  <a:pt x="2210799" y="6488528"/>
                </a:cubicBezTo>
                <a:cubicBezTo>
                  <a:pt x="2206978" y="6482834"/>
                  <a:pt x="2205067" y="6477140"/>
                  <a:pt x="2205067" y="6469547"/>
                </a:cubicBezTo>
                <a:cubicBezTo>
                  <a:pt x="2205067" y="6456261"/>
                  <a:pt x="2212710" y="6442974"/>
                  <a:pt x="2226086" y="6435381"/>
                </a:cubicBezTo>
                <a:cubicBezTo>
                  <a:pt x="2226086" y="6435381"/>
                  <a:pt x="2226086" y="6435381"/>
                  <a:pt x="2566203" y="6262654"/>
                </a:cubicBezTo>
                <a:cubicBezTo>
                  <a:pt x="2575757" y="6257909"/>
                  <a:pt x="2586266" y="6257435"/>
                  <a:pt x="2595581" y="6260519"/>
                </a:cubicBezTo>
                <a:close/>
                <a:moveTo>
                  <a:pt x="3155654" y="6245321"/>
                </a:moveTo>
                <a:cubicBezTo>
                  <a:pt x="3164969" y="6247947"/>
                  <a:pt x="3173090" y="6254153"/>
                  <a:pt x="3177866" y="6263701"/>
                </a:cubicBezTo>
                <a:cubicBezTo>
                  <a:pt x="3189331" y="6282797"/>
                  <a:pt x="3181688" y="6305712"/>
                  <a:pt x="3162580" y="6317169"/>
                </a:cubicBezTo>
                <a:cubicBezTo>
                  <a:pt x="3162580" y="6317169"/>
                  <a:pt x="3162580" y="6317169"/>
                  <a:pt x="2822462" y="6492853"/>
                </a:cubicBezTo>
                <a:cubicBezTo>
                  <a:pt x="2805265" y="6502401"/>
                  <a:pt x="2780425" y="6496672"/>
                  <a:pt x="2770872" y="6477576"/>
                </a:cubicBezTo>
                <a:cubicBezTo>
                  <a:pt x="2768961" y="6471847"/>
                  <a:pt x="2767050" y="6466118"/>
                  <a:pt x="2767050" y="6458480"/>
                </a:cubicBezTo>
                <a:cubicBezTo>
                  <a:pt x="2767050" y="6445113"/>
                  <a:pt x="2774693" y="6431746"/>
                  <a:pt x="2788069" y="6426017"/>
                </a:cubicBezTo>
                <a:cubicBezTo>
                  <a:pt x="2788069" y="6426017"/>
                  <a:pt x="2788069" y="6426017"/>
                  <a:pt x="3126275" y="6248424"/>
                </a:cubicBezTo>
                <a:cubicBezTo>
                  <a:pt x="3135829" y="6243650"/>
                  <a:pt x="3146339" y="6242695"/>
                  <a:pt x="3155654" y="6245321"/>
                </a:cubicBezTo>
                <a:close/>
                <a:moveTo>
                  <a:pt x="6502939" y="6003608"/>
                </a:moveTo>
                <a:cubicBezTo>
                  <a:pt x="6512947" y="6006942"/>
                  <a:pt x="6521527" y="6014085"/>
                  <a:pt x="6526293" y="6024563"/>
                </a:cubicBezTo>
                <a:cubicBezTo>
                  <a:pt x="6535827" y="6045518"/>
                  <a:pt x="6526293" y="6070283"/>
                  <a:pt x="6507229" y="6079808"/>
                </a:cubicBezTo>
                <a:cubicBezTo>
                  <a:pt x="6507229" y="6079808"/>
                  <a:pt x="6507229" y="6079808"/>
                  <a:pt x="6167883" y="6243638"/>
                </a:cubicBezTo>
                <a:cubicBezTo>
                  <a:pt x="6146911" y="6253163"/>
                  <a:pt x="6124035" y="6243638"/>
                  <a:pt x="6112595" y="6224588"/>
                </a:cubicBezTo>
                <a:cubicBezTo>
                  <a:pt x="6110689" y="6218873"/>
                  <a:pt x="6108783" y="6213158"/>
                  <a:pt x="6108783" y="6207443"/>
                </a:cubicBezTo>
                <a:cubicBezTo>
                  <a:pt x="6108783" y="6192203"/>
                  <a:pt x="6118315" y="6176963"/>
                  <a:pt x="6131661" y="6169343"/>
                </a:cubicBezTo>
                <a:cubicBezTo>
                  <a:pt x="6131661" y="6169343"/>
                  <a:pt x="6131661" y="6169343"/>
                  <a:pt x="6471007" y="6005513"/>
                </a:cubicBezTo>
                <a:cubicBezTo>
                  <a:pt x="6481493" y="6000750"/>
                  <a:pt x="6492931" y="6000274"/>
                  <a:pt x="6502939" y="6003608"/>
                </a:cubicBezTo>
                <a:close/>
                <a:moveTo>
                  <a:pt x="5940775" y="5988309"/>
                </a:moveTo>
                <a:cubicBezTo>
                  <a:pt x="5956593" y="5987059"/>
                  <a:pt x="5971607" y="5995988"/>
                  <a:pt x="5980185" y="6010276"/>
                </a:cubicBezTo>
                <a:cubicBezTo>
                  <a:pt x="5989719" y="6031231"/>
                  <a:pt x="5980185" y="6055996"/>
                  <a:pt x="5961121" y="6065521"/>
                </a:cubicBezTo>
                <a:cubicBezTo>
                  <a:pt x="5961121" y="6065521"/>
                  <a:pt x="5961121" y="6065521"/>
                  <a:pt x="5621775" y="6229351"/>
                </a:cubicBezTo>
                <a:cubicBezTo>
                  <a:pt x="5600803" y="6238876"/>
                  <a:pt x="5576021" y="6231256"/>
                  <a:pt x="5566487" y="6210301"/>
                </a:cubicBezTo>
                <a:cubicBezTo>
                  <a:pt x="5564581" y="6204586"/>
                  <a:pt x="5562675" y="6198871"/>
                  <a:pt x="5562675" y="6193156"/>
                </a:cubicBezTo>
                <a:cubicBezTo>
                  <a:pt x="5562675" y="6177916"/>
                  <a:pt x="5570301" y="6162676"/>
                  <a:pt x="5585553" y="6156961"/>
                </a:cubicBezTo>
                <a:cubicBezTo>
                  <a:pt x="5585553" y="6156961"/>
                  <a:pt x="5585553" y="6156961"/>
                  <a:pt x="5924899" y="5993131"/>
                </a:cubicBezTo>
                <a:cubicBezTo>
                  <a:pt x="5930141" y="5990273"/>
                  <a:pt x="5935503" y="5988725"/>
                  <a:pt x="5940775" y="5988309"/>
                </a:cubicBezTo>
                <a:close/>
                <a:moveTo>
                  <a:pt x="380903" y="5988309"/>
                </a:moveTo>
                <a:cubicBezTo>
                  <a:pt x="396317" y="5987059"/>
                  <a:pt x="411998" y="5995988"/>
                  <a:pt x="419126" y="6010276"/>
                </a:cubicBezTo>
                <a:cubicBezTo>
                  <a:pt x="428630" y="6031231"/>
                  <a:pt x="421027" y="6055996"/>
                  <a:pt x="400119" y="6065521"/>
                </a:cubicBezTo>
                <a:cubicBezTo>
                  <a:pt x="400119" y="6065521"/>
                  <a:pt x="400119" y="6065521"/>
                  <a:pt x="63685" y="6229351"/>
                </a:cubicBezTo>
                <a:cubicBezTo>
                  <a:pt x="42777" y="6238876"/>
                  <a:pt x="18067" y="6231256"/>
                  <a:pt x="8564" y="6210301"/>
                </a:cubicBezTo>
                <a:cubicBezTo>
                  <a:pt x="6663" y="6204586"/>
                  <a:pt x="4762" y="6198871"/>
                  <a:pt x="4762" y="6193156"/>
                </a:cubicBezTo>
                <a:cubicBezTo>
                  <a:pt x="4762" y="6177916"/>
                  <a:pt x="12365" y="6162676"/>
                  <a:pt x="27571" y="6156961"/>
                </a:cubicBezTo>
                <a:cubicBezTo>
                  <a:pt x="27571" y="6156961"/>
                  <a:pt x="27571" y="6156961"/>
                  <a:pt x="365905" y="5993131"/>
                </a:cubicBezTo>
                <a:cubicBezTo>
                  <a:pt x="370657" y="5990273"/>
                  <a:pt x="375765" y="5988725"/>
                  <a:pt x="380903" y="5988309"/>
                </a:cubicBezTo>
                <a:close/>
                <a:moveTo>
                  <a:pt x="5406299" y="5978208"/>
                </a:moveTo>
                <a:cubicBezTo>
                  <a:pt x="5416039" y="5981542"/>
                  <a:pt x="5424593" y="5988685"/>
                  <a:pt x="5429345" y="5999163"/>
                </a:cubicBezTo>
                <a:cubicBezTo>
                  <a:pt x="5438847" y="6018213"/>
                  <a:pt x="5431245" y="6042978"/>
                  <a:pt x="5410337" y="6052503"/>
                </a:cubicBezTo>
                <a:cubicBezTo>
                  <a:pt x="5410337" y="6052503"/>
                  <a:pt x="5410337" y="6052503"/>
                  <a:pt x="5072003" y="6218238"/>
                </a:cubicBezTo>
                <a:cubicBezTo>
                  <a:pt x="5052995" y="6227763"/>
                  <a:pt x="5028285" y="6218238"/>
                  <a:pt x="5018781" y="6199188"/>
                </a:cubicBezTo>
                <a:cubicBezTo>
                  <a:pt x="5014979" y="6193473"/>
                  <a:pt x="5014979" y="6185853"/>
                  <a:pt x="5014979" y="6180138"/>
                </a:cubicBezTo>
                <a:cubicBezTo>
                  <a:pt x="5014979" y="6164898"/>
                  <a:pt x="5022583" y="6151563"/>
                  <a:pt x="5037789" y="6143943"/>
                </a:cubicBezTo>
                <a:cubicBezTo>
                  <a:pt x="5037789" y="6143943"/>
                  <a:pt x="5037789" y="6143943"/>
                  <a:pt x="5376123" y="5980113"/>
                </a:cubicBezTo>
                <a:cubicBezTo>
                  <a:pt x="5385627" y="5975350"/>
                  <a:pt x="5396557" y="5974874"/>
                  <a:pt x="5406299" y="5978208"/>
                </a:cubicBezTo>
                <a:close/>
                <a:moveTo>
                  <a:pt x="940184" y="5978208"/>
                </a:moveTo>
                <a:cubicBezTo>
                  <a:pt x="949954" y="5981541"/>
                  <a:pt x="958533" y="5988685"/>
                  <a:pt x="963299" y="5999163"/>
                </a:cubicBezTo>
                <a:cubicBezTo>
                  <a:pt x="974738" y="6018213"/>
                  <a:pt x="965206" y="6042978"/>
                  <a:pt x="944235" y="6052503"/>
                </a:cubicBezTo>
                <a:cubicBezTo>
                  <a:pt x="944235" y="6052503"/>
                  <a:pt x="944235" y="6052503"/>
                  <a:pt x="606795" y="6218238"/>
                </a:cubicBezTo>
                <a:cubicBezTo>
                  <a:pt x="585824" y="6227763"/>
                  <a:pt x="561040" y="6218238"/>
                  <a:pt x="551508" y="6199188"/>
                </a:cubicBezTo>
                <a:cubicBezTo>
                  <a:pt x="549601" y="6193473"/>
                  <a:pt x="547695" y="6185853"/>
                  <a:pt x="547695" y="6180138"/>
                </a:cubicBezTo>
                <a:cubicBezTo>
                  <a:pt x="547695" y="6164898"/>
                  <a:pt x="555321" y="6151563"/>
                  <a:pt x="570572" y="6143943"/>
                </a:cubicBezTo>
                <a:cubicBezTo>
                  <a:pt x="570572" y="6143943"/>
                  <a:pt x="570572" y="6143943"/>
                  <a:pt x="909919" y="5980113"/>
                </a:cubicBezTo>
                <a:cubicBezTo>
                  <a:pt x="919451" y="5975350"/>
                  <a:pt x="930413" y="5974874"/>
                  <a:pt x="940184" y="5978208"/>
                </a:cubicBezTo>
                <a:close/>
                <a:moveTo>
                  <a:pt x="4852131" y="5966222"/>
                </a:moveTo>
                <a:cubicBezTo>
                  <a:pt x="4861909" y="5969794"/>
                  <a:pt x="4870495" y="5976938"/>
                  <a:pt x="4875265" y="5986463"/>
                </a:cubicBezTo>
                <a:cubicBezTo>
                  <a:pt x="4884803" y="6007418"/>
                  <a:pt x="4877173" y="6032183"/>
                  <a:pt x="4856185" y="6041708"/>
                </a:cubicBezTo>
                <a:cubicBezTo>
                  <a:pt x="4856185" y="6041708"/>
                  <a:pt x="4856185" y="6041708"/>
                  <a:pt x="4516585" y="6205538"/>
                </a:cubicBezTo>
                <a:cubicBezTo>
                  <a:pt x="4497505" y="6215063"/>
                  <a:pt x="4472703" y="6207443"/>
                  <a:pt x="4463163" y="6186488"/>
                </a:cubicBezTo>
                <a:cubicBezTo>
                  <a:pt x="4459347" y="6180773"/>
                  <a:pt x="4459347" y="6175058"/>
                  <a:pt x="4459347" y="6169343"/>
                </a:cubicBezTo>
                <a:cubicBezTo>
                  <a:pt x="4459347" y="6154103"/>
                  <a:pt x="4466979" y="6138863"/>
                  <a:pt x="4482243" y="6131243"/>
                </a:cubicBezTo>
                <a:cubicBezTo>
                  <a:pt x="4482243" y="6131243"/>
                  <a:pt x="4482243" y="6131243"/>
                  <a:pt x="4821845" y="5967413"/>
                </a:cubicBezTo>
                <a:cubicBezTo>
                  <a:pt x="4831385" y="5962650"/>
                  <a:pt x="4842355" y="5962650"/>
                  <a:pt x="4852131" y="5966222"/>
                </a:cubicBezTo>
                <a:close/>
                <a:moveTo>
                  <a:pt x="1487959" y="5966222"/>
                </a:moveTo>
                <a:cubicBezTo>
                  <a:pt x="1497968" y="5969794"/>
                  <a:pt x="1506547" y="5976938"/>
                  <a:pt x="1511313" y="5986463"/>
                </a:cubicBezTo>
                <a:cubicBezTo>
                  <a:pt x="1520845" y="6007418"/>
                  <a:pt x="1513219" y="6032183"/>
                  <a:pt x="1492248" y="6041708"/>
                </a:cubicBezTo>
                <a:cubicBezTo>
                  <a:pt x="1492248" y="6041708"/>
                  <a:pt x="1492248" y="6041708"/>
                  <a:pt x="1152902" y="6205538"/>
                </a:cubicBezTo>
                <a:cubicBezTo>
                  <a:pt x="1131931" y="6215063"/>
                  <a:pt x="1109054" y="6207443"/>
                  <a:pt x="1097615" y="6186488"/>
                </a:cubicBezTo>
                <a:cubicBezTo>
                  <a:pt x="1095708" y="6180773"/>
                  <a:pt x="1093802" y="6175058"/>
                  <a:pt x="1093802" y="6169343"/>
                </a:cubicBezTo>
                <a:cubicBezTo>
                  <a:pt x="1093802" y="6154103"/>
                  <a:pt x="1103334" y="6138863"/>
                  <a:pt x="1116679" y="6131243"/>
                </a:cubicBezTo>
                <a:cubicBezTo>
                  <a:pt x="1116679" y="6131243"/>
                  <a:pt x="1116679" y="6131243"/>
                  <a:pt x="1456026" y="5967413"/>
                </a:cubicBezTo>
                <a:cubicBezTo>
                  <a:pt x="1466512" y="5962650"/>
                  <a:pt x="1477950" y="5962650"/>
                  <a:pt x="1487959" y="5966222"/>
                </a:cubicBezTo>
                <a:close/>
                <a:moveTo>
                  <a:pt x="4293447" y="5952817"/>
                </a:moveTo>
                <a:cubicBezTo>
                  <a:pt x="4303187" y="5956155"/>
                  <a:pt x="4311741" y="5963308"/>
                  <a:pt x="4316493" y="5973798"/>
                </a:cubicBezTo>
                <a:cubicBezTo>
                  <a:pt x="4325995" y="5992872"/>
                  <a:pt x="4318393" y="6017668"/>
                  <a:pt x="4297485" y="6027205"/>
                </a:cubicBezTo>
                <a:cubicBezTo>
                  <a:pt x="4297485" y="6027205"/>
                  <a:pt x="4297485" y="6027205"/>
                  <a:pt x="3959151" y="6191239"/>
                </a:cubicBezTo>
                <a:cubicBezTo>
                  <a:pt x="3940143" y="6200776"/>
                  <a:pt x="3915433" y="6193146"/>
                  <a:pt x="3905929" y="6172165"/>
                </a:cubicBezTo>
                <a:cubicBezTo>
                  <a:pt x="3902127" y="6166443"/>
                  <a:pt x="3902127" y="6160721"/>
                  <a:pt x="3902127" y="6154999"/>
                </a:cubicBezTo>
                <a:cubicBezTo>
                  <a:pt x="3902127" y="6139740"/>
                  <a:pt x="3909731" y="6124481"/>
                  <a:pt x="3924937" y="6118759"/>
                </a:cubicBezTo>
                <a:cubicBezTo>
                  <a:pt x="3924937" y="6118759"/>
                  <a:pt x="3924937" y="6118759"/>
                  <a:pt x="4263271" y="5954725"/>
                </a:cubicBezTo>
                <a:cubicBezTo>
                  <a:pt x="4272775" y="5949956"/>
                  <a:pt x="4283705" y="5949479"/>
                  <a:pt x="4293447" y="5952817"/>
                </a:cubicBezTo>
                <a:close/>
                <a:moveTo>
                  <a:pt x="2039827" y="5952817"/>
                </a:moveTo>
                <a:cubicBezTo>
                  <a:pt x="2049561" y="5956155"/>
                  <a:pt x="2058108" y="5963308"/>
                  <a:pt x="2063806" y="5973798"/>
                </a:cubicBezTo>
                <a:cubicBezTo>
                  <a:pt x="2073303" y="5992872"/>
                  <a:pt x="2063806" y="6017668"/>
                  <a:pt x="2044813" y="6027205"/>
                </a:cubicBezTo>
                <a:cubicBezTo>
                  <a:pt x="2044813" y="6027205"/>
                  <a:pt x="2044813" y="6027205"/>
                  <a:pt x="1706727" y="6191239"/>
                </a:cubicBezTo>
                <a:cubicBezTo>
                  <a:pt x="1685834" y="6200776"/>
                  <a:pt x="1661143" y="6193146"/>
                  <a:pt x="1651646" y="6172165"/>
                </a:cubicBezTo>
                <a:cubicBezTo>
                  <a:pt x="1649746" y="6166443"/>
                  <a:pt x="1647847" y="6160721"/>
                  <a:pt x="1647847" y="6154999"/>
                </a:cubicBezTo>
                <a:cubicBezTo>
                  <a:pt x="1647847" y="6139740"/>
                  <a:pt x="1655444" y="6124481"/>
                  <a:pt x="1670639" y="6118759"/>
                </a:cubicBezTo>
                <a:cubicBezTo>
                  <a:pt x="1670639" y="6118759"/>
                  <a:pt x="1670639" y="6118759"/>
                  <a:pt x="2008725" y="5954725"/>
                </a:cubicBezTo>
                <a:cubicBezTo>
                  <a:pt x="2019172" y="5949956"/>
                  <a:pt x="2030093" y="5949479"/>
                  <a:pt x="2039827" y="5952817"/>
                </a:cubicBezTo>
                <a:close/>
                <a:moveTo>
                  <a:pt x="3730413" y="5940108"/>
                </a:moveTo>
                <a:cubicBezTo>
                  <a:pt x="3740183" y="5943442"/>
                  <a:pt x="3748763" y="5950585"/>
                  <a:pt x="3754481" y="5961063"/>
                </a:cubicBezTo>
                <a:cubicBezTo>
                  <a:pt x="3764013" y="5982018"/>
                  <a:pt x="3754481" y="6004878"/>
                  <a:pt x="3735417" y="6016308"/>
                </a:cubicBezTo>
                <a:cubicBezTo>
                  <a:pt x="3735417" y="6016308"/>
                  <a:pt x="3735417" y="6016308"/>
                  <a:pt x="3396070" y="6180138"/>
                </a:cubicBezTo>
                <a:cubicBezTo>
                  <a:pt x="3375099" y="6189663"/>
                  <a:pt x="3350315" y="6180138"/>
                  <a:pt x="3340783" y="6161088"/>
                </a:cubicBezTo>
                <a:cubicBezTo>
                  <a:pt x="3338876" y="6155373"/>
                  <a:pt x="3336970" y="6149658"/>
                  <a:pt x="3336970" y="6142038"/>
                </a:cubicBezTo>
                <a:cubicBezTo>
                  <a:pt x="3336970" y="6126798"/>
                  <a:pt x="3346502" y="6113463"/>
                  <a:pt x="3359847" y="6105843"/>
                </a:cubicBezTo>
                <a:cubicBezTo>
                  <a:pt x="3359847" y="6105843"/>
                  <a:pt x="3359847" y="6105843"/>
                  <a:pt x="3699193" y="5942013"/>
                </a:cubicBezTo>
                <a:cubicBezTo>
                  <a:pt x="3709679" y="5937250"/>
                  <a:pt x="3720641" y="5936774"/>
                  <a:pt x="3730413" y="5940108"/>
                </a:cubicBezTo>
                <a:close/>
                <a:moveTo>
                  <a:pt x="2596921" y="5940108"/>
                </a:moveTo>
                <a:cubicBezTo>
                  <a:pt x="2606692" y="5943442"/>
                  <a:pt x="2615271" y="5950585"/>
                  <a:pt x="2620990" y="5961063"/>
                </a:cubicBezTo>
                <a:cubicBezTo>
                  <a:pt x="2630522" y="5982018"/>
                  <a:pt x="2620990" y="6004878"/>
                  <a:pt x="2601925" y="6016308"/>
                </a:cubicBezTo>
                <a:cubicBezTo>
                  <a:pt x="2601925" y="6016308"/>
                  <a:pt x="2601925" y="6016308"/>
                  <a:pt x="2262579" y="6180138"/>
                </a:cubicBezTo>
                <a:cubicBezTo>
                  <a:pt x="2241608" y="6189663"/>
                  <a:pt x="2216824" y="6180138"/>
                  <a:pt x="2207292" y="6161088"/>
                </a:cubicBezTo>
                <a:cubicBezTo>
                  <a:pt x="2205385" y="6155373"/>
                  <a:pt x="2203479" y="6149658"/>
                  <a:pt x="2203479" y="6142038"/>
                </a:cubicBezTo>
                <a:cubicBezTo>
                  <a:pt x="2203479" y="6126798"/>
                  <a:pt x="2211105" y="6113463"/>
                  <a:pt x="2226356" y="6105843"/>
                </a:cubicBezTo>
                <a:cubicBezTo>
                  <a:pt x="2226356" y="6105843"/>
                  <a:pt x="2226356" y="6105843"/>
                  <a:pt x="2565703" y="5942013"/>
                </a:cubicBezTo>
                <a:cubicBezTo>
                  <a:pt x="2576189" y="5937250"/>
                  <a:pt x="2587151" y="5936774"/>
                  <a:pt x="2596921" y="5940108"/>
                </a:cubicBezTo>
                <a:close/>
                <a:moveTo>
                  <a:pt x="3158032" y="5928122"/>
                </a:moveTo>
                <a:cubicBezTo>
                  <a:pt x="3168041" y="5931694"/>
                  <a:pt x="3176620" y="5938838"/>
                  <a:pt x="3181386" y="5948363"/>
                </a:cubicBezTo>
                <a:cubicBezTo>
                  <a:pt x="3190918" y="5969318"/>
                  <a:pt x="3183292" y="5994083"/>
                  <a:pt x="3162321" y="6003608"/>
                </a:cubicBezTo>
                <a:cubicBezTo>
                  <a:pt x="3162321" y="6003608"/>
                  <a:pt x="3162321" y="6003608"/>
                  <a:pt x="2822975" y="6167438"/>
                </a:cubicBezTo>
                <a:cubicBezTo>
                  <a:pt x="2803910" y="6176963"/>
                  <a:pt x="2779127" y="6169343"/>
                  <a:pt x="2769594" y="6148388"/>
                </a:cubicBezTo>
                <a:cubicBezTo>
                  <a:pt x="2765781" y="6142673"/>
                  <a:pt x="2763875" y="6136958"/>
                  <a:pt x="2763875" y="6131243"/>
                </a:cubicBezTo>
                <a:cubicBezTo>
                  <a:pt x="2763875" y="6116003"/>
                  <a:pt x="2773407" y="6100763"/>
                  <a:pt x="2788659" y="6093143"/>
                </a:cubicBezTo>
                <a:cubicBezTo>
                  <a:pt x="2788659" y="6093143"/>
                  <a:pt x="2788659" y="6093143"/>
                  <a:pt x="3126099" y="5929313"/>
                </a:cubicBezTo>
                <a:cubicBezTo>
                  <a:pt x="3136585" y="5924550"/>
                  <a:pt x="3148023" y="5924550"/>
                  <a:pt x="3158032" y="5928122"/>
                </a:cubicBezTo>
                <a:close/>
                <a:moveTo>
                  <a:pt x="6486883" y="5678738"/>
                </a:moveTo>
                <a:cubicBezTo>
                  <a:pt x="6502701" y="5677489"/>
                  <a:pt x="6517715" y="5686408"/>
                  <a:pt x="6526293" y="5700678"/>
                </a:cubicBezTo>
                <a:cubicBezTo>
                  <a:pt x="6535827" y="5721607"/>
                  <a:pt x="6526293" y="5746342"/>
                  <a:pt x="6507229" y="5755855"/>
                </a:cubicBezTo>
                <a:cubicBezTo>
                  <a:pt x="6507229" y="5755855"/>
                  <a:pt x="6507229" y="5755855"/>
                  <a:pt x="6167883" y="5921387"/>
                </a:cubicBezTo>
                <a:cubicBezTo>
                  <a:pt x="6146911" y="5930901"/>
                  <a:pt x="6124035" y="5921387"/>
                  <a:pt x="6114503" y="5902361"/>
                </a:cubicBezTo>
                <a:cubicBezTo>
                  <a:pt x="6110689" y="5896653"/>
                  <a:pt x="6108783" y="5890945"/>
                  <a:pt x="6108783" y="5883334"/>
                </a:cubicBezTo>
                <a:cubicBezTo>
                  <a:pt x="6108783" y="5870015"/>
                  <a:pt x="6118315" y="5854794"/>
                  <a:pt x="6131661" y="5847183"/>
                </a:cubicBezTo>
                <a:cubicBezTo>
                  <a:pt x="6131661" y="5847183"/>
                  <a:pt x="6131661" y="5847183"/>
                  <a:pt x="6471007" y="5683554"/>
                </a:cubicBezTo>
                <a:cubicBezTo>
                  <a:pt x="6476249" y="5680700"/>
                  <a:pt x="6481611" y="5679154"/>
                  <a:pt x="6486883" y="5678738"/>
                </a:cubicBezTo>
                <a:close/>
                <a:moveTo>
                  <a:pt x="5956831" y="5667772"/>
                </a:moveTo>
                <a:cubicBezTo>
                  <a:pt x="5966841" y="5671344"/>
                  <a:pt x="5975419" y="5678488"/>
                  <a:pt x="5980185" y="5688013"/>
                </a:cubicBezTo>
                <a:cubicBezTo>
                  <a:pt x="5989719" y="5708968"/>
                  <a:pt x="5980185" y="5733733"/>
                  <a:pt x="5961121" y="5743258"/>
                </a:cubicBezTo>
                <a:cubicBezTo>
                  <a:pt x="5961121" y="5743258"/>
                  <a:pt x="5961121" y="5743258"/>
                  <a:pt x="5621775" y="5907088"/>
                </a:cubicBezTo>
                <a:cubicBezTo>
                  <a:pt x="5600803" y="5916613"/>
                  <a:pt x="5576021" y="5907088"/>
                  <a:pt x="5566487" y="5888038"/>
                </a:cubicBezTo>
                <a:cubicBezTo>
                  <a:pt x="5564581" y="5882323"/>
                  <a:pt x="5562675" y="5874703"/>
                  <a:pt x="5562675" y="5868988"/>
                </a:cubicBezTo>
                <a:cubicBezTo>
                  <a:pt x="5562675" y="5853748"/>
                  <a:pt x="5570301" y="5840413"/>
                  <a:pt x="5585553" y="5832793"/>
                </a:cubicBezTo>
                <a:cubicBezTo>
                  <a:pt x="5585553" y="5832793"/>
                  <a:pt x="5585553" y="5832793"/>
                  <a:pt x="5924899" y="5668963"/>
                </a:cubicBezTo>
                <a:cubicBezTo>
                  <a:pt x="5935385" y="5664200"/>
                  <a:pt x="5946823" y="5664200"/>
                  <a:pt x="5956831" y="5667772"/>
                </a:cubicBezTo>
                <a:close/>
                <a:moveTo>
                  <a:pt x="397251" y="5667772"/>
                </a:moveTo>
                <a:cubicBezTo>
                  <a:pt x="407021" y="5671344"/>
                  <a:pt x="415600" y="5678488"/>
                  <a:pt x="420366" y="5688013"/>
                </a:cubicBezTo>
                <a:cubicBezTo>
                  <a:pt x="431805" y="5708968"/>
                  <a:pt x="422273" y="5733733"/>
                  <a:pt x="401302" y="5743258"/>
                </a:cubicBezTo>
                <a:cubicBezTo>
                  <a:pt x="401302" y="5743258"/>
                  <a:pt x="401302" y="5743258"/>
                  <a:pt x="63862" y="5907088"/>
                </a:cubicBezTo>
                <a:cubicBezTo>
                  <a:pt x="42891" y="5916613"/>
                  <a:pt x="18107" y="5907088"/>
                  <a:pt x="8575" y="5888038"/>
                </a:cubicBezTo>
                <a:cubicBezTo>
                  <a:pt x="4762" y="5882323"/>
                  <a:pt x="4762" y="5874703"/>
                  <a:pt x="4762" y="5868988"/>
                </a:cubicBezTo>
                <a:cubicBezTo>
                  <a:pt x="4762" y="5853748"/>
                  <a:pt x="12388" y="5840413"/>
                  <a:pt x="27639" y="5832793"/>
                </a:cubicBezTo>
                <a:cubicBezTo>
                  <a:pt x="27639" y="5832793"/>
                  <a:pt x="27639" y="5832793"/>
                  <a:pt x="366986" y="5668963"/>
                </a:cubicBezTo>
                <a:cubicBezTo>
                  <a:pt x="376518" y="5664200"/>
                  <a:pt x="387480" y="5664200"/>
                  <a:pt x="397251" y="5667772"/>
                </a:cubicBezTo>
                <a:close/>
                <a:moveTo>
                  <a:pt x="5407607" y="5656671"/>
                </a:moveTo>
                <a:cubicBezTo>
                  <a:pt x="5417645" y="5660247"/>
                  <a:pt x="5426727" y="5667400"/>
                  <a:pt x="5432463" y="5676936"/>
                </a:cubicBezTo>
                <a:cubicBezTo>
                  <a:pt x="5442023" y="5697917"/>
                  <a:pt x="5432463" y="5722713"/>
                  <a:pt x="5411429" y="5732250"/>
                </a:cubicBezTo>
                <a:cubicBezTo>
                  <a:pt x="5411429" y="5732250"/>
                  <a:pt x="5411429" y="5732250"/>
                  <a:pt x="5071079" y="5894377"/>
                </a:cubicBezTo>
                <a:cubicBezTo>
                  <a:pt x="5050047" y="5903914"/>
                  <a:pt x="5025189" y="5894377"/>
                  <a:pt x="5015629" y="5873396"/>
                </a:cubicBezTo>
                <a:cubicBezTo>
                  <a:pt x="5013717" y="5867674"/>
                  <a:pt x="5011805" y="5861952"/>
                  <a:pt x="5011805" y="5856229"/>
                </a:cubicBezTo>
                <a:cubicBezTo>
                  <a:pt x="5011805" y="5840970"/>
                  <a:pt x="5021365" y="5825711"/>
                  <a:pt x="5036663" y="5818082"/>
                </a:cubicBezTo>
                <a:cubicBezTo>
                  <a:pt x="5036663" y="5818082"/>
                  <a:pt x="5036663" y="5818082"/>
                  <a:pt x="5377013" y="5657863"/>
                </a:cubicBezTo>
                <a:cubicBezTo>
                  <a:pt x="5386573" y="5653094"/>
                  <a:pt x="5397567" y="5653094"/>
                  <a:pt x="5407607" y="5656671"/>
                </a:cubicBezTo>
                <a:close/>
                <a:moveTo>
                  <a:pt x="941852" y="5656671"/>
                </a:moveTo>
                <a:cubicBezTo>
                  <a:pt x="951861" y="5660247"/>
                  <a:pt x="960440" y="5667400"/>
                  <a:pt x="965206" y="5676936"/>
                </a:cubicBezTo>
                <a:cubicBezTo>
                  <a:pt x="974738" y="5697917"/>
                  <a:pt x="965206" y="5722713"/>
                  <a:pt x="946141" y="5732250"/>
                </a:cubicBezTo>
                <a:cubicBezTo>
                  <a:pt x="946141" y="5732250"/>
                  <a:pt x="946141" y="5732250"/>
                  <a:pt x="606795" y="5894377"/>
                </a:cubicBezTo>
                <a:cubicBezTo>
                  <a:pt x="585824" y="5903914"/>
                  <a:pt x="561040" y="5894377"/>
                  <a:pt x="551508" y="5873396"/>
                </a:cubicBezTo>
                <a:cubicBezTo>
                  <a:pt x="547695" y="5867674"/>
                  <a:pt x="547695" y="5861952"/>
                  <a:pt x="547695" y="5856229"/>
                </a:cubicBezTo>
                <a:cubicBezTo>
                  <a:pt x="547695" y="5840970"/>
                  <a:pt x="555321" y="5825711"/>
                  <a:pt x="570572" y="5818082"/>
                </a:cubicBezTo>
                <a:cubicBezTo>
                  <a:pt x="570572" y="5818082"/>
                  <a:pt x="570572" y="5818082"/>
                  <a:pt x="909919" y="5657863"/>
                </a:cubicBezTo>
                <a:cubicBezTo>
                  <a:pt x="920405" y="5653094"/>
                  <a:pt x="931843" y="5653094"/>
                  <a:pt x="941852" y="5656671"/>
                </a:cubicBezTo>
                <a:close/>
                <a:moveTo>
                  <a:pt x="4853529" y="5644852"/>
                </a:moveTo>
                <a:cubicBezTo>
                  <a:pt x="4863531" y="5648194"/>
                  <a:pt x="4872103" y="5655356"/>
                  <a:pt x="4876865" y="5665859"/>
                </a:cubicBezTo>
                <a:cubicBezTo>
                  <a:pt x="4886391" y="5686867"/>
                  <a:pt x="4876865" y="5711694"/>
                  <a:pt x="4855911" y="5723153"/>
                </a:cubicBezTo>
                <a:cubicBezTo>
                  <a:pt x="4855911" y="5723153"/>
                  <a:pt x="4855911" y="5723153"/>
                  <a:pt x="4516815" y="5881664"/>
                </a:cubicBezTo>
                <a:cubicBezTo>
                  <a:pt x="4495861" y="5891213"/>
                  <a:pt x="4471095" y="5881664"/>
                  <a:pt x="4461571" y="5860656"/>
                </a:cubicBezTo>
                <a:cubicBezTo>
                  <a:pt x="4459665" y="5854927"/>
                  <a:pt x="4457759" y="5849198"/>
                  <a:pt x="4457759" y="5843468"/>
                </a:cubicBezTo>
                <a:cubicBezTo>
                  <a:pt x="4457759" y="5828190"/>
                  <a:pt x="4467285" y="5812912"/>
                  <a:pt x="4482525" y="5805273"/>
                </a:cubicBezTo>
                <a:cubicBezTo>
                  <a:pt x="4482525" y="5805273"/>
                  <a:pt x="4482525" y="5805273"/>
                  <a:pt x="4821621" y="5646762"/>
                </a:cubicBezTo>
                <a:cubicBezTo>
                  <a:pt x="4832099" y="5641987"/>
                  <a:pt x="4843529" y="5641510"/>
                  <a:pt x="4853529" y="5644852"/>
                </a:cubicBezTo>
                <a:close/>
                <a:moveTo>
                  <a:pt x="1487905" y="5644852"/>
                </a:moveTo>
                <a:cubicBezTo>
                  <a:pt x="1498144" y="5648194"/>
                  <a:pt x="1507193" y="5655356"/>
                  <a:pt x="1512908" y="5665859"/>
                </a:cubicBezTo>
                <a:cubicBezTo>
                  <a:pt x="1522433" y="5686867"/>
                  <a:pt x="1512908" y="5711694"/>
                  <a:pt x="1491953" y="5723153"/>
                </a:cubicBezTo>
                <a:cubicBezTo>
                  <a:pt x="1491953" y="5723153"/>
                  <a:pt x="1491953" y="5723153"/>
                  <a:pt x="1152858" y="5881664"/>
                </a:cubicBezTo>
                <a:cubicBezTo>
                  <a:pt x="1131903" y="5891213"/>
                  <a:pt x="1107137" y="5881664"/>
                  <a:pt x="1097612" y="5860656"/>
                </a:cubicBezTo>
                <a:cubicBezTo>
                  <a:pt x="1093802" y="5854927"/>
                  <a:pt x="1093802" y="5849198"/>
                  <a:pt x="1093802" y="5843468"/>
                </a:cubicBezTo>
                <a:cubicBezTo>
                  <a:pt x="1093802" y="5828190"/>
                  <a:pt x="1101422" y="5812912"/>
                  <a:pt x="1116662" y="5805273"/>
                </a:cubicBezTo>
                <a:cubicBezTo>
                  <a:pt x="1116662" y="5805273"/>
                  <a:pt x="1116662" y="5805273"/>
                  <a:pt x="1455757" y="5646762"/>
                </a:cubicBezTo>
                <a:cubicBezTo>
                  <a:pt x="1466235" y="5641987"/>
                  <a:pt x="1477665" y="5641510"/>
                  <a:pt x="1487905" y="5644852"/>
                </a:cubicBezTo>
                <a:close/>
                <a:moveTo>
                  <a:pt x="4280353" y="5631126"/>
                </a:moveTo>
                <a:cubicBezTo>
                  <a:pt x="4296665" y="5629969"/>
                  <a:pt x="4312441" y="5639221"/>
                  <a:pt x="4319611" y="5654878"/>
                </a:cubicBezTo>
                <a:cubicBezTo>
                  <a:pt x="4329171" y="5677652"/>
                  <a:pt x="4319611" y="5702324"/>
                  <a:pt x="4298577" y="5711813"/>
                </a:cubicBezTo>
                <a:cubicBezTo>
                  <a:pt x="4298577" y="5711813"/>
                  <a:pt x="4298577" y="5711813"/>
                  <a:pt x="3958227" y="5867437"/>
                </a:cubicBezTo>
                <a:cubicBezTo>
                  <a:pt x="3937195" y="5876926"/>
                  <a:pt x="3912337" y="5867437"/>
                  <a:pt x="3902777" y="5846560"/>
                </a:cubicBezTo>
                <a:cubicBezTo>
                  <a:pt x="3898953" y="5840867"/>
                  <a:pt x="3898953" y="5835173"/>
                  <a:pt x="3898953" y="5829480"/>
                </a:cubicBezTo>
                <a:cubicBezTo>
                  <a:pt x="3898953" y="5812399"/>
                  <a:pt x="3906601" y="5797216"/>
                  <a:pt x="3923811" y="5789625"/>
                </a:cubicBezTo>
                <a:cubicBezTo>
                  <a:pt x="3923811" y="5789625"/>
                  <a:pt x="3923811" y="5789625"/>
                  <a:pt x="4264161" y="5635900"/>
                </a:cubicBezTo>
                <a:cubicBezTo>
                  <a:pt x="4269419" y="5633053"/>
                  <a:pt x="4274917" y="5631511"/>
                  <a:pt x="4280353" y="5631126"/>
                </a:cubicBezTo>
                <a:close/>
                <a:moveTo>
                  <a:pt x="2025816" y="5631125"/>
                </a:moveTo>
                <a:cubicBezTo>
                  <a:pt x="2042206" y="5629969"/>
                  <a:pt x="2058327" y="5639221"/>
                  <a:pt x="2066925" y="5654878"/>
                </a:cubicBezTo>
                <a:cubicBezTo>
                  <a:pt x="2076478" y="5677652"/>
                  <a:pt x="2066925" y="5702324"/>
                  <a:pt x="2045908" y="5711813"/>
                </a:cubicBezTo>
                <a:cubicBezTo>
                  <a:pt x="2045908" y="5711813"/>
                  <a:pt x="2045908" y="5711813"/>
                  <a:pt x="1705813" y="5867437"/>
                </a:cubicBezTo>
                <a:cubicBezTo>
                  <a:pt x="1682885" y="5876926"/>
                  <a:pt x="1658047" y="5867437"/>
                  <a:pt x="1648493" y="5846560"/>
                </a:cubicBezTo>
                <a:cubicBezTo>
                  <a:pt x="1646583" y="5840867"/>
                  <a:pt x="1644672" y="5835173"/>
                  <a:pt x="1644672" y="5829480"/>
                </a:cubicBezTo>
                <a:cubicBezTo>
                  <a:pt x="1644672" y="5812399"/>
                  <a:pt x="1654225" y="5797216"/>
                  <a:pt x="1669510" y="5789625"/>
                </a:cubicBezTo>
                <a:cubicBezTo>
                  <a:pt x="1669510" y="5789625"/>
                  <a:pt x="1669510" y="5789625"/>
                  <a:pt x="2009605" y="5635900"/>
                </a:cubicBezTo>
                <a:cubicBezTo>
                  <a:pt x="2014860" y="5633053"/>
                  <a:pt x="2020353" y="5631511"/>
                  <a:pt x="2025816" y="5631125"/>
                </a:cubicBezTo>
                <a:close/>
                <a:moveTo>
                  <a:pt x="3732525" y="5620418"/>
                </a:moveTo>
                <a:cubicBezTo>
                  <a:pt x="3742757" y="5624242"/>
                  <a:pt x="3751323" y="5631891"/>
                  <a:pt x="3756081" y="5642408"/>
                </a:cubicBezTo>
                <a:cubicBezTo>
                  <a:pt x="3765599" y="5665355"/>
                  <a:pt x="3756081" y="5690214"/>
                  <a:pt x="3735143" y="5699775"/>
                </a:cubicBezTo>
                <a:cubicBezTo>
                  <a:pt x="3735143" y="5699775"/>
                  <a:pt x="3735143" y="5699775"/>
                  <a:pt x="3396298" y="5854665"/>
                </a:cubicBezTo>
                <a:cubicBezTo>
                  <a:pt x="3373454" y="5864226"/>
                  <a:pt x="3348707" y="5854665"/>
                  <a:pt x="3339189" y="5833630"/>
                </a:cubicBezTo>
                <a:cubicBezTo>
                  <a:pt x="3337286" y="5827894"/>
                  <a:pt x="3335382" y="5820245"/>
                  <a:pt x="3335382" y="5814508"/>
                </a:cubicBezTo>
                <a:cubicBezTo>
                  <a:pt x="3335382" y="5799210"/>
                  <a:pt x="3344900" y="5783913"/>
                  <a:pt x="3360129" y="5776264"/>
                </a:cubicBezTo>
                <a:cubicBezTo>
                  <a:pt x="3360129" y="5776264"/>
                  <a:pt x="3360129" y="5776264"/>
                  <a:pt x="3698973" y="5621374"/>
                </a:cubicBezTo>
                <a:cubicBezTo>
                  <a:pt x="3710395" y="5616593"/>
                  <a:pt x="3722293" y="5616593"/>
                  <a:pt x="3732525" y="5620418"/>
                </a:cubicBezTo>
                <a:close/>
                <a:moveTo>
                  <a:pt x="2598321" y="5620418"/>
                </a:moveTo>
                <a:cubicBezTo>
                  <a:pt x="2608791" y="5624242"/>
                  <a:pt x="2617833" y="5631891"/>
                  <a:pt x="2622592" y="5642408"/>
                </a:cubicBezTo>
                <a:cubicBezTo>
                  <a:pt x="2632110" y="5665355"/>
                  <a:pt x="2622592" y="5690214"/>
                  <a:pt x="2601652" y="5699775"/>
                </a:cubicBezTo>
                <a:cubicBezTo>
                  <a:pt x="2601652" y="5699775"/>
                  <a:pt x="2601652" y="5699775"/>
                  <a:pt x="2262808" y="5854665"/>
                </a:cubicBezTo>
                <a:cubicBezTo>
                  <a:pt x="2239964" y="5864226"/>
                  <a:pt x="2215217" y="5854665"/>
                  <a:pt x="2205699" y="5833630"/>
                </a:cubicBezTo>
                <a:cubicBezTo>
                  <a:pt x="2203796" y="5827894"/>
                  <a:pt x="2201892" y="5820245"/>
                  <a:pt x="2201892" y="5814508"/>
                </a:cubicBezTo>
                <a:cubicBezTo>
                  <a:pt x="2201892" y="5799210"/>
                  <a:pt x="2211410" y="5783913"/>
                  <a:pt x="2226639" y="5776264"/>
                </a:cubicBezTo>
                <a:cubicBezTo>
                  <a:pt x="2226639" y="5776264"/>
                  <a:pt x="2226639" y="5776264"/>
                  <a:pt x="2565483" y="5621374"/>
                </a:cubicBezTo>
                <a:cubicBezTo>
                  <a:pt x="2575953" y="5616593"/>
                  <a:pt x="2587851" y="5616593"/>
                  <a:pt x="2598321" y="5620418"/>
                </a:cubicBezTo>
                <a:close/>
                <a:moveTo>
                  <a:pt x="3160328" y="5609262"/>
                </a:moveTo>
                <a:cubicBezTo>
                  <a:pt x="3170791" y="5613068"/>
                  <a:pt x="3179827" y="5620678"/>
                  <a:pt x="3184582" y="5631142"/>
                </a:cubicBezTo>
                <a:cubicBezTo>
                  <a:pt x="3194093" y="5653973"/>
                  <a:pt x="3184582" y="5678707"/>
                  <a:pt x="3161755" y="5688219"/>
                </a:cubicBezTo>
                <a:cubicBezTo>
                  <a:pt x="3161755" y="5688219"/>
                  <a:pt x="3161755" y="5688219"/>
                  <a:pt x="2823158" y="5840426"/>
                </a:cubicBezTo>
                <a:cubicBezTo>
                  <a:pt x="2800332" y="5849939"/>
                  <a:pt x="2775603" y="5840426"/>
                  <a:pt x="2766091" y="5817595"/>
                </a:cubicBezTo>
                <a:cubicBezTo>
                  <a:pt x="2764189" y="5811887"/>
                  <a:pt x="2762287" y="5806179"/>
                  <a:pt x="2762287" y="5800472"/>
                </a:cubicBezTo>
                <a:cubicBezTo>
                  <a:pt x="2762287" y="5783348"/>
                  <a:pt x="2771798" y="5768128"/>
                  <a:pt x="2787016" y="5760517"/>
                </a:cubicBezTo>
                <a:cubicBezTo>
                  <a:pt x="2787016" y="5760517"/>
                  <a:pt x="2787016" y="5760517"/>
                  <a:pt x="3127515" y="5610214"/>
                </a:cubicBezTo>
                <a:cubicBezTo>
                  <a:pt x="3137977" y="5605457"/>
                  <a:pt x="3149866" y="5605457"/>
                  <a:pt x="3160328" y="5609262"/>
                </a:cubicBezTo>
                <a:close/>
                <a:moveTo>
                  <a:pt x="6501987" y="5357485"/>
                </a:moveTo>
                <a:cubicBezTo>
                  <a:pt x="6511519" y="5360815"/>
                  <a:pt x="6519621" y="5367950"/>
                  <a:pt x="6524387" y="5378415"/>
                </a:cubicBezTo>
                <a:cubicBezTo>
                  <a:pt x="6535827" y="5397441"/>
                  <a:pt x="6526293" y="5422176"/>
                  <a:pt x="6507229" y="5431690"/>
                </a:cubicBezTo>
                <a:cubicBezTo>
                  <a:pt x="6507229" y="5431690"/>
                  <a:pt x="6507229" y="5431690"/>
                  <a:pt x="6167883" y="5597222"/>
                </a:cubicBezTo>
                <a:cubicBezTo>
                  <a:pt x="6148819" y="5608638"/>
                  <a:pt x="6124035" y="5599124"/>
                  <a:pt x="6114503" y="5580098"/>
                </a:cubicBezTo>
                <a:cubicBezTo>
                  <a:pt x="6110689" y="5574390"/>
                  <a:pt x="6108783" y="5568682"/>
                  <a:pt x="6108783" y="5561071"/>
                </a:cubicBezTo>
                <a:cubicBezTo>
                  <a:pt x="6108783" y="5547752"/>
                  <a:pt x="6118315" y="5532531"/>
                  <a:pt x="6131661" y="5524920"/>
                </a:cubicBezTo>
                <a:cubicBezTo>
                  <a:pt x="6131661" y="5524920"/>
                  <a:pt x="6131661" y="5524920"/>
                  <a:pt x="6471007" y="5359388"/>
                </a:cubicBezTo>
                <a:cubicBezTo>
                  <a:pt x="6481493" y="5354632"/>
                  <a:pt x="6492455" y="5354156"/>
                  <a:pt x="6501987" y="5357485"/>
                </a:cubicBezTo>
                <a:close/>
                <a:moveTo>
                  <a:pt x="5956831" y="5347056"/>
                </a:moveTo>
                <a:cubicBezTo>
                  <a:pt x="5966841" y="5350610"/>
                  <a:pt x="5975419" y="5357718"/>
                  <a:pt x="5980185" y="5367196"/>
                </a:cubicBezTo>
                <a:cubicBezTo>
                  <a:pt x="5989719" y="5388046"/>
                  <a:pt x="5980185" y="5412688"/>
                  <a:pt x="5961121" y="5422166"/>
                </a:cubicBezTo>
                <a:cubicBezTo>
                  <a:pt x="5961121" y="5422166"/>
                  <a:pt x="5961121" y="5422166"/>
                  <a:pt x="5621775" y="5583285"/>
                </a:cubicBezTo>
                <a:cubicBezTo>
                  <a:pt x="5600803" y="5592763"/>
                  <a:pt x="5576021" y="5585181"/>
                  <a:pt x="5566487" y="5564330"/>
                </a:cubicBezTo>
                <a:cubicBezTo>
                  <a:pt x="5562675" y="5558643"/>
                  <a:pt x="5562675" y="5552957"/>
                  <a:pt x="5562675" y="5547270"/>
                </a:cubicBezTo>
                <a:cubicBezTo>
                  <a:pt x="5562675" y="5532106"/>
                  <a:pt x="5570301" y="5516942"/>
                  <a:pt x="5585553" y="5509360"/>
                </a:cubicBezTo>
                <a:cubicBezTo>
                  <a:pt x="5585553" y="5509360"/>
                  <a:pt x="5585553" y="5509360"/>
                  <a:pt x="5924899" y="5348240"/>
                </a:cubicBezTo>
                <a:cubicBezTo>
                  <a:pt x="5935385" y="5343502"/>
                  <a:pt x="5946823" y="5343502"/>
                  <a:pt x="5956831" y="5347056"/>
                </a:cubicBezTo>
                <a:close/>
                <a:moveTo>
                  <a:pt x="398204" y="5347056"/>
                </a:moveTo>
                <a:cubicBezTo>
                  <a:pt x="407975" y="5350610"/>
                  <a:pt x="416554" y="5357718"/>
                  <a:pt x="422273" y="5367196"/>
                </a:cubicBezTo>
                <a:cubicBezTo>
                  <a:pt x="431805" y="5388046"/>
                  <a:pt x="422273" y="5412688"/>
                  <a:pt x="401302" y="5422166"/>
                </a:cubicBezTo>
                <a:cubicBezTo>
                  <a:pt x="401302" y="5422166"/>
                  <a:pt x="401302" y="5422166"/>
                  <a:pt x="63862" y="5583285"/>
                </a:cubicBezTo>
                <a:cubicBezTo>
                  <a:pt x="42891" y="5592763"/>
                  <a:pt x="18107" y="5585181"/>
                  <a:pt x="8575" y="5564330"/>
                </a:cubicBezTo>
                <a:cubicBezTo>
                  <a:pt x="4762" y="5558643"/>
                  <a:pt x="4762" y="5552957"/>
                  <a:pt x="4762" y="5547270"/>
                </a:cubicBezTo>
                <a:cubicBezTo>
                  <a:pt x="4762" y="5532106"/>
                  <a:pt x="12388" y="5516942"/>
                  <a:pt x="27639" y="5509360"/>
                </a:cubicBezTo>
                <a:cubicBezTo>
                  <a:pt x="27639" y="5509360"/>
                  <a:pt x="27639" y="5509360"/>
                  <a:pt x="366986" y="5348240"/>
                </a:cubicBezTo>
                <a:cubicBezTo>
                  <a:pt x="377472" y="5343502"/>
                  <a:pt x="388434" y="5343502"/>
                  <a:pt x="398204" y="5347056"/>
                </a:cubicBezTo>
                <a:close/>
                <a:moveTo>
                  <a:pt x="5409041" y="5334657"/>
                </a:moveTo>
                <a:cubicBezTo>
                  <a:pt x="5419079" y="5338476"/>
                  <a:pt x="5427683" y="5346116"/>
                  <a:pt x="5432463" y="5356619"/>
                </a:cubicBezTo>
                <a:cubicBezTo>
                  <a:pt x="5442023" y="5377627"/>
                  <a:pt x="5432463" y="5402454"/>
                  <a:pt x="5411429" y="5412003"/>
                </a:cubicBezTo>
                <a:cubicBezTo>
                  <a:pt x="5411429" y="5412003"/>
                  <a:pt x="5411429" y="5412003"/>
                  <a:pt x="5071079" y="5570514"/>
                </a:cubicBezTo>
                <a:cubicBezTo>
                  <a:pt x="5050047" y="5580063"/>
                  <a:pt x="5025189" y="5570514"/>
                  <a:pt x="5015629" y="5549506"/>
                </a:cubicBezTo>
                <a:cubicBezTo>
                  <a:pt x="5011805" y="5543777"/>
                  <a:pt x="5011805" y="5538048"/>
                  <a:pt x="5011805" y="5532318"/>
                </a:cubicBezTo>
                <a:cubicBezTo>
                  <a:pt x="5011805" y="5515130"/>
                  <a:pt x="5021365" y="5499852"/>
                  <a:pt x="5036663" y="5494123"/>
                </a:cubicBezTo>
                <a:cubicBezTo>
                  <a:pt x="5036663" y="5494123"/>
                  <a:pt x="5036663" y="5494123"/>
                  <a:pt x="5377013" y="5335612"/>
                </a:cubicBezTo>
                <a:cubicBezTo>
                  <a:pt x="5387529" y="5330837"/>
                  <a:pt x="5399001" y="5330837"/>
                  <a:pt x="5409041" y="5334657"/>
                </a:cubicBezTo>
                <a:close/>
                <a:moveTo>
                  <a:pt x="941876" y="5334657"/>
                </a:moveTo>
                <a:cubicBezTo>
                  <a:pt x="951878" y="5338476"/>
                  <a:pt x="960451" y="5346116"/>
                  <a:pt x="965213" y="5356619"/>
                </a:cubicBezTo>
                <a:cubicBezTo>
                  <a:pt x="974738" y="5377627"/>
                  <a:pt x="967118" y="5402454"/>
                  <a:pt x="946163" y="5412003"/>
                </a:cubicBezTo>
                <a:cubicBezTo>
                  <a:pt x="946163" y="5412003"/>
                  <a:pt x="946163" y="5412003"/>
                  <a:pt x="605163" y="5570514"/>
                </a:cubicBezTo>
                <a:cubicBezTo>
                  <a:pt x="584208" y="5580063"/>
                  <a:pt x="559442" y="5570514"/>
                  <a:pt x="549917" y="5549506"/>
                </a:cubicBezTo>
                <a:cubicBezTo>
                  <a:pt x="548012" y="5543777"/>
                  <a:pt x="546107" y="5538048"/>
                  <a:pt x="546107" y="5532318"/>
                </a:cubicBezTo>
                <a:cubicBezTo>
                  <a:pt x="546107" y="5515130"/>
                  <a:pt x="555632" y="5499852"/>
                  <a:pt x="570872" y="5494123"/>
                </a:cubicBezTo>
                <a:cubicBezTo>
                  <a:pt x="570872" y="5494123"/>
                  <a:pt x="570872" y="5494123"/>
                  <a:pt x="909967" y="5335612"/>
                </a:cubicBezTo>
                <a:cubicBezTo>
                  <a:pt x="920445" y="5330837"/>
                  <a:pt x="931875" y="5330837"/>
                  <a:pt x="941876" y="5334657"/>
                </a:cubicBezTo>
                <a:close/>
                <a:moveTo>
                  <a:pt x="4854215" y="5323794"/>
                </a:moveTo>
                <a:cubicBezTo>
                  <a:pt x="4864677" y="5327857"/>
                  <a:pt x="4873713" y="5335984"/>
                  <a:pt x="4878467" y="5347457"/>
                </a:cubicBezTo>
                <a:cubicBezTo>
                  <a:pt x="4887979" y="5368492"/>
                  <a:pt x="4878467" y="5393351"/>
                  <a:pt x="4855641" y="5402912"/>
                </a:cubicBezTo>
                <a:cubicBezTo>
                  <a:pt x="4855641" y="5402912"/>
                  <a:pt x="4855641" y="5402912"/>
                  <a:pt x="4517045" y="5555889"/>
                </a:cubicBezTo>
                <a:cubicBezTo>
                  <a:pt x="4496119" y="5567363"/>
                  <a:pt x="4471391" y="5557802"/>
                  <a:pt x="4459977" y="5534855"/>
                </a:cubicBezTo>
                <a:cubicBezTo>
                  <a:pt x="4458075" y="5529118"/>
                  <a:pt x="4456173" y="5523382"/>
                  <a:pt x="4456173" y="5517645"/>
                </a:cubicBezTo>
                <a:cubicBezTo>
                  <a:pt x="4456173" y="5500435"/>
                  <a:pt x="4465685" y="5485137"/>
                  <a:pt x="4482805" y="5477488"/>
                </a:cubicBezTo>
                <a:cubicBezTo>
                  <a:pt x="4482805" y="5477488"/>
                  <a:pt x="4482805" y="5477488"/>
                  <a:pt x="4821401" y="5324511"/>
                </a:cubicBezTo>
                <a:cubicBezTo>
                  <a:pt x="4831863" y="5319730"/>
                  <a:pt x="4843753" y="5319730"/>
                  <a:pt x="4854215" y="5323794"/>
                </a:cubicBezTo>
                <a:close/>
                <a:moveTo>
                  <a:pt x="1489595" y="5323794"/>
                </a:moveTo>
                <a:cubicBezTo>
                  <a:pt x="1499589" y="5327857"/>
                  <a:pt x="1508155" y="5335984"/>
                  <a:pt x="1512914" y="5347457"/>
                </a:cubicBezTo>
                <a:cubicBezTo>
                  <a:pt x="1522432" y="5368492"/>
                  <a:pt x="1512914" y="5393351"/>
                  <a:pt x="1491974" y="5402912"/>
                </a:cubicBezTo>
                <a:cubicBezTo>
                  <a:pt x="1491974" y="5402912"/>
                  <a:pt x="1491974" y="5402912"/>
                  <a:pt x="1153130" y="5555889"/>
                </a:cubicBezTo>
                <a:cubicBezTo>
                  <a:pt x="1130286" y="5567363"/>
                  <a:pt x="1105539" y="5557802"/>
                  <a:pt x="1096021" y="5534855"/>
                </a:cubicBezTo>
                <a:cubicBezTo>
                  <a:pt x="1094118" y="5529118"/>
                  <a:pt x="1092214" y="5523382"/>
                  <a:pt x="1092214" y="5517645"/>
                </a:cubicBezTo>
                <a:cubicBezTo>
                  <a:pt x="1092214" y="5500435"/>
                  <a:pt x="1101732" y="5485137"/>
                  <a:pt x="1116961" y="5477488"/>
                </a:cubicBezTo>
                <a:cubicBezTo>
                  <a:pt x="1116961" y="5477488"/>
                  <a:pt x="1116961" y="5477488"/>
                  <a:pt x="1457709" y="5324511"/>
                </a:cubicBezTo>
                <a:cubicBezTo>
                  <a:pt x="1468179" y="5319730"/>
                  <a:pt x="1479601" y="5319730"/>
                  <a:pt x="1489595" y="5323794"/>
                </a:cubicBezTo>
                <a:close/>
                <a:moveTo>
                  <a:pt x="4281207" y="5309970"/>
                </a:moveTo>
                <a:cubicBezTo>
                  <a:pt x="4298301" y="5310148"/>
                  <a:pt x="4314051" y="5320507"/>
                  <a:pt x="4321211" y="5336223"/>
                </a:cubicBezTo>
                <a:cubicBezTo>
                  <a:pt x="4330759" y="5359083"/>
                  <a:pt x="4321211" y="5383848"/>
                  <a:pt x="4298301" y="5395278"/>
                </a:cubicBezTo>
                <a:cubicBezTo>
                  <a:pt x="4298301" y="5395278"/>
                  <a:pt x="4298301" y="5395278"/>
                  <a:pt x="3958461" y="5541963"/>
                </a:cubicBezTo>
                <a:cubicBezTo>
                  <a:pt x="3935549" y="5551488"/>
                  <a:pt x="3910729" y="5541963"/>
                  <a:pt x="3901183" y="5519103"/>
                </a:cubicBezTo>
                <a:cubicBezTo>
                  <a:pt x="3897365" y="5513388"/>
                  <a:pt x="3897365" y="5507673"/>
                  <a:pt x="3897365" y="5501958"/>
                </a:cubicBezTo>
                <a:cubicBezTo>
                  <a:pt x="3897365" y="5484813"/>
                  <a:pt x="3906911" y="5469573"/>
                  <a:pt x="3924095" y="5461953"/>
                </a:cubicBezTo>
                <a:cubicBezTo>
                  <a:pt x="3924095" y="5461953"/>
                  <a:pt x="3924095" y="5461953"/>
                  <a:pt x="4263935" y="5313363"/>
                </a:cubicBezTo>
                <a:cubicBezTo>
                  <a:pt x="4269663" y="5310982"/>
                  <a:pt x="4275509" y="5309910"/>
                  <a:pt x="4281207" y="5309970"/>
                </a:cubicBezTo>
                <a:close/>
                <a:moveTo>
                  <a:pt x="2026943" y="5309969"/>
                </a:moveTo>
                <a:cubicBezTo>
                  <a:pt x="2044561" y="5310148"/>
                  <a:pt x="2061373" y="5320506"/>
                  <a:pt x="2068527" y="5336223"/>
                </a:cubicBezTo>
                <a:cubicBezTo>
                  <a:pt x="2078066" y="5359083"/>
                  <a:pt x="2066619" y="5383848"/>
                  <a:pt x="2045633" y="5395278"/>
                </a:cubicBezTo>
                <a:cubicBezTo>
                  <a:pt x="2045633" y="5395278"/>
                  <a:pt x="2045633" y="5395278"/>
                  <a:pt x="1704135" y="5541963"/>
                </a:cubicBezTo>
                <a:cubicBezTo>
                  <a:pt x="1683149" y="5551488"/>
                  <a:pt x="1656440" y="5541963"/>
                  <a:pt x="1646901" y="5519103"/>
                </a:cubicBezTo>
                <a:cubicBezTo>
                  <a:pt x="1644993" y="5513388"/>
                  <a:pt x="1643085" y="5507673"/>
                  <a:pt x="1643085" y="5501958"/>
                </a:cubicBezTo>
                <a:cubicBezTo>
                  <a:pt x="1643085" y="5484813"/>
                  <a:pt x="1652624" y="5469573"/>
                  <a:pt x="1669794" y="5461953"/>
                </a:cubicBezTo>
                <a:cubicBezTo>
                  <a:pt x="1669794" y="5461953"/>
                  <a:pt x="1669794" y="5461953"/>
                  <a:pt x="2009385" y="5313363"/>
                </a:cubicBezTo>
                <a:cubicBezTo>
                  <a:pt x="2015109" y="5310981"/>
                  <a:pt x="2021071" y="5309910"/>
                  <a:pt x="2026943" y="5309969"/>
                </a:cubicBezTo>
                <a:close/>
                <a:moveTo>
                  <a:pt x="3719263" y="5298894"/>
                </a:moveTo>
                <a:cubicBezTo>
                  <a:pt x="3736343" y="5299163"/>
                  <a:pt x="3752083" y="5309892"/>
                  <a:pt x="3759237" y="5327059"/>
                </a:cubicBezTo>
                <a:cubicBezTo>
                  <a:pt x="3768775" y="5349949"/>
                  <a:pt x="3759237" y="5376653"/>
                  <a:pt x="3736343" y="5386191"/>
                </a:cubicBezTo>
                <a:cubicBezTo>
                  <a:pt x="3736343" y="5386191"/>
                  <a:pt x="3736343" y="5386191"/>
                  <a:pt x="3394845" y="5529250"/>
                </a:cubicBezTo>
                <a:cubicBezTo>
                  <a:pt x="3371951" y="5538788"/>
                  <a:pt x="3347150" y="5527343"/>
                  <a:pt x="3337611" y="5504453"/>
                </a:cubicBezTo>
                <a:cubicBezTo>
                  <a:pt x="3333795" y="5498731"/>
                  <a:pt x="3333795" y="5493009"/>
                  <a:pt x="3333795" y="5487286"/>
                </a:cubicBezTo>
                <a:cubicBezTo>
                  <a:pt x="3333795" y="5470119"/>
                  <a:pt x="3343334" y="5454859"/>
                  <a:pt x="3360504" y="5447229"/>
                </a:cubicBezTo>
                <a:cubicBezTo>
                  <a:pt x="3360504" y="5447229"/>
                  <a:pt x="3360504" y="5447229"/>
                  <a:pt x="3702003" y="5302262"/>
                </a:cubicBezTo>
                <a:cubicBezTo>
                  <a:pt x="3707727" y="5299878"/>
                  <a:pt x="3713569" y="5298805"/>
                  <a:pt x="3719263" y="5298894"/>
                </a:cubicBezTo>
                <a:close/>
                <a:moveTo>
                  <a:pt x="2583562" y="5298894"/>
                </a:moveTo>
                <a:cubicBezTo>
                  <a:pt x="2600314" y="5299163"/>
                  <a:pt x="2617065" y="5309892"/>
                  <a:pt x="2624193" y="5327059"/>
                </a:cubicBezTo>
                <a:cubicBezTo>
                  <a:pt x="2633697" y="5349949"/>
                  <a:pt x="2624193" y="5376653"/>
                  <a:pt x="2601383" y="5386191"/>
                </a:cubicBezTo>
                <a:cubicBezTo>
                  <a:pt x="2601383" y="5386191"/>
                  <a:pt x="2601383" y="5386191"/>
                  <a:pt x="2261131" y="5529250"/>
                </a:cubicBezTo>
                <a:cubicBezTo>
                  <a:pt x="2238321" y="5538788"/>
                  <a:pt x="2213610" y="5527343"/>
                  <a:pt x="2204106" y="5504453"/>
                </a:cubicBezTo>
                <a:cubicBezTo>
                  <a:pt x="2200304" y="5498731"/>
                  <a:pt x="2200304" y="5493009"/>
                  <a:pt x="2200304" y="5487286"/>
                </a:cubicBezTo>
                <a:cubicBezTo>
                  <a:pt x="2200304" y="5470119"/>
                  <a:pt x="2209808" y="5454859"/>
                  <a:pt x="2226916" y="5447229"/>
                </a:cubicBezTo>
                <a:cubicBezTo>
                  <a:pt x="2226916" y="5447229"/>
                  <a:pt x="2226916" y="5447229"/>
                  <a:pt x="2567167" y="5302262"/>
                </a:cubicBezTo>
                <a:cubicBezTo>
                  <a:pt x="2572395" y="5299878"/>
                  <a:pt x="2577979" y="5298805"/>
                  <a:pt x="2583562" y="5298894"/>
                </a:cubicBezTo>
                <a:close/>
                <a:moveTo>
                  <a:pt x="3161728" y="5292225"/>
                </a:moveTo>
                <a:cubicBezTo>
                  <a:pt x="3172412" y="5296500"/>
                  <a:pt x="3181435" y="5305050"/>
                  <a:pt x="3186184" y="5317400"/>
                </a:cubicBezTo>
                <a:cubicBezTo>
                  <a:pt x="3195681" y="5340200"/>
                  <a:pt x="3184284" y="5366800"/>
                  <a:pt x="3161490" y="5376300"/>
                </a:cubicBezTo>
                <a:cubicBezTo>
                  <a:pt x="3161490" y="5376300"/>
                  <a:pt x="3161490" y="5376300"/>
                  <a:pt x="2821483" y="5515000"/>
                </a:cubicBezTo>
                <a:cubicBezTo>
                  <a:pt x="2798690" y="5524500"/>
                  <a:pt x="2772097" y="5513100"/>
                  <a:pt x="2762599" y="5488400"/>
                </a:cubicBezTo>
                <a:cubicBezTo>
                  <a:pt x="2760700" y="5484600"/>
                  <a:pt x="2760700" y="5477000"/>
                  <a:pt x="2760700" y="5471300"/>
                </a:cubicBezTo>
                <a:cubicBezTo>
                  <a:pt x="2760700" y="5454200"/>
                  <a:pt x="2770197" y="5437100"/>
                  <a:pt x="2787293" y="5429500"/>
                </a:cubicBezTo>
                <a:cubicBezTo>
                  <a:pt x="2787293" y="5429500"/>
                  <a:pt x="2787293" y="5429500"/>
                  <a:pt x="3127300" y="5292700"/>
                </a:cubicBezTo>
                <a:cubicBezTo>
                  <a:pt x="3138697" y="5287950"/>
                  <a:pt x="3151043" y="5287950"/>
                  <a:pt x="3161728" y="5292225"/>
                </a:cubicBezTo>
                <a:close/>
                <a:moveTo>
                  <a:pt x="6485691" y="5032625"/>
                </a:moveTo>
                <a:cubicBezTo>
                  <a:pt x="6501383" y="5031376"/>
                  <a:pt x="6516007" y="5040295"/>
                  <a:pt x="6523141" y="5054565"/>
                </a:cubicBezTo>
                <a:cubicBezTo>
                  <a:pt x="6532651" y="5075494"/>
                  <a:pt x="6525043" y="5098326"/>
                  <a:pt x="6506021" y="5107840"/>
                </a:cubicBezTo>
                <a:cubicBezTo>
                  <a:pt x="6506021" y="5107840"/>
                  <a:pt x="6506021" y="5107840"/>
                  <a:pt x="6167435" y="5275274"/>
                </a:cubicBezTo>
                <a:cubicBezTo>
                  <a:pt x="6148413" y="5284788"/>
                  <a:pt x="6123685" y="5277177"/>
                  <a:pt x="6114175" y="5258150"/>
                </a:cubicBezTo>
                <a:cubicBezTo>
                  <a:pt x="6110371" y="5252442"/>
                  <a:pt x="6110371" y="5246734"/>
                  <a:pt x="6110371" y="5239124"/>
                </a:cubicBezTo>
                <a:cubicBezTo>
                  <a:pt x="6110371" y="5225805"/>
                  <a:pt x="6117979" y="5210584"/>
                  <a:pt x="6131293" y="5202973"/>
                </a:cubicBezTo>
                <a:cubicBezTo>
                  <a:pt x="6131293" y="5202973"/>
                  <a:pt x="6131293" y="5202973"/>
                  <a:pt x="6469879" y="5037441"/>
                </a:cubicBezTo>
                <a:cubicBezTo>
                  <a:pt x="6475111" y="5034587"/>
                  <a:pt x="6480459" y="5033041"/>
                  <a:pt x="6485691" y="5032625"/>
                </a:cubicBezTo>
                <a:close/>
                <a:moveTo>
                  <a:pt x="5956831" y="5024845"/>
                </a:moveTo>
                <a:cubicBezTo>
                  <a:pt x="5966841" y="5028421"/>
                  <a:pt x="5975419" y="5035574"/>
                  <a:pt x="5980185" y="5045110"/>
                </a:cubicBezTo>
                <a:cubicBezTo>
                  <a:pt x="5989719" y="5066091"/>
                  <a:pt x="5980185" y="5090887"/>
                  <a:pt x="5961121" y="5100424"/>
                </a:cubicBezTo>
                <a:cubicBezTo>
                  <a:pt x="5961121" y="5100424"/>
                  <a:pt x="5961121" y="5100424"/>
                  <a:pt x="5621775" y="5262551"/>
                </a:cubicBezTo>
                <a:cubicBezTo>
                  <a:pt x="5600803" y="5272088"/>
                  <a:pt x="5576021" y="5262551"/>
                  <a:pt x="5566487" y="5241570"/>
                </a:cubicBezTo>
                <a:cubicBezTo>
                  <a:pt x="5562675" y="5235848"/>
                  <a:pt x="5562675" y="5230126"/>
                  <a:pt x="5562675" y="5224403"/>
                </a:cubicBezTo>
                <a:cubicBezTo>
                  <a:pt x="5562675" y="5209144"/>
                  <a:pt x="5570301" y="5193885"/>
                  <a:pt x="5585553" y="5186256"/>
                </a:cubicBezTo>
                <a:cubicBezTo>
                  <a:pt x="5585553" y="5186256"/>
                  <a:pt x="5585553" y="5186256"/>
                  <a:pt x="5924899" y="5026037"/>
                </a:cubicBezTo>
                <a:cubicBezTo>
                  <a:pt x="5935385" y="5021268"/>
                  <a:pt x="5946823" y="5021268"/>
                  <a:pt x="5956831" y="5024845"/>
                </a:cubicBezTo>
                <a:close/>
                <a:moveTo>
                  <a:pt x="398944" y="5024845"/>
                </a:moveTo>
                <a:cubicBezTo>
                  <a:pt x="408946" y="5028421"/>
                  <a:pt x="417519" y="5035573"/>
                  <a:pt x="422281" y="5045110"/>
                </a:cubicBezTo>
                <a:cubicBezTo>
                  <a:pt x="431806" y="5066091"/>
                  <a:pt x="422281" y="5090887"/>
                  <a:pt x="401326" y="5100424"/>
                </a:cubicBezTo>
                <a:cubicBezTo>
                  <a:pt x="401326" y="5100424"/>
                  <a:pt x="401326" y="5100424"/>
                  <a:pt x="62231" y="5262551"/>
                </a:cubicBezTo>
                <a:cubicBezTo>
                  <a:pt x="43181" y="5272088"/>
                  <a:pt x="18415" y="5262551"/>
                  <a:pt x="8890" y="5241570"/>
                </a:cubicBezTo>
                <a:cubicBezTo>
                  <a:pt x="5080" y="5235848"/>
                  <a:pt x="3175" y="5230126"/>
                  <a:pt x="3175" y="5224403"/>
                </a:cubicBezTo>
                <a:cubicBezTo>
                  <a:pt x="3175" y="5209144"/>
                  <a:pt x="12700" y="5193885"/>
                  <a:pt x="27940" y="5186256"/>
                </a:cubicBezTo>
                <a:cubicBezTo>
                  <a:pt x="27940" y="5186256"/>
                  <a:pt x="27940" y="5186256"/>
                  <a:pt x="367035" y="5026037"/>
                </a:cubicBezTo>
                <a:cubicBezTo>
                  <a:pt x="377513" y="5021268"/>
                  <a:pt x="388943" y="5021268"/>
                  <a:pt x="398944" y="5024845"/>
                </a:cubicBezTo>
                <a:close/>
                <a:moveTo>
                  <a:pt x="5409065" y="5014175"/>
                </a:moveTo>
                <a:cubicBezTo>
                  <a:pt x="5419097" y="5018213"/>
                  <a:pt x="5427695" y="5026289"/>
                  <a:pt x="5432471" y="5037690"/>
                </a:cubicBezTo>
                <a:cubicBezTo>
                  <a:pt x="5442023" y="5058592"/>
                  <a:pt x="5434381" y="5083295"/>
                  <a:pt x="5411453" y="5092795"/>
                </a:cubicBezTo>
                <a:cubicBezTo>
                  <a:pt x="5411453" y="5092795"/>
                  <a:pt x="5411453" y="5092795"/>
                  <a:pt x="5071359" y="5246711"/>
                </a:cubicBezTo>
                <a:cubicBezTo>
                  <a:pt x="5050341" y="5256212"/>
                  <a:pt x="5025503" y="5246711"/>
                  <a:pt x="5014039" y="5225809"/>
                </a:cubicBezTo>
                <a:cubicBezTo>
                  <a:pt x="5012129" y="5220108"/>
                  <a:pt x="5010219" y="5214408"/>
                  <a:pt x="5010219" y="5208707"/>
                </a:cubicBezTo>
                <a:cubicBezTo>
                  <a:pt x="5010219" y="5191605"/>
                  <a:pt x="5019771" y="5176404"/>
                  <a:pt x="5036967" y="5168803"/>
                </a:cubicBezTo>
                <a:cubicBezTo>
                  <a:pt x="5036967" y="5168803"/>
                  <a:pt x="5036967" y="5168803"/>
                  <a:pt x="5377063" y="5014888"/>
                </a:cubicBezTo>
                <a:cubicBezTo>
                  <a:pt x="5387571" y="5010137"/>
                  <a:pt x="5399035" y="5010137"/>
                  <a:pt x="5409065" y="5014175"/>
                </a:cubicBezTo>
                <a:close/>
                <a:moveTo>
                  <a:pt x="942536" y="5014175"/>
                </a:moveTo>
                <a:cubicBezTo>
                  <a:pt x="953006" y="5018213"/>
                  <a:pt x="962048" y="5026289"/>
                  <a:pt x="966807" y="5037690"/>
                </a:cubicBezTo>
                <a:cubicBezTo>
                  <a:pt x="976325" y="5058592"/>
                  <a:pt x="966807" y="5083295"/>
                  <a:pt x="945867" y="5092795"/>
                </a:cubicBezTo>
                <a:cubicBezTo>
                  <a:pt x="945867" y="5092795"/>
                  <a:pt x="945867" y="5092795"/>
                  <a:pt x="605119" y="5246711"/>
                </a:cubicBezTo>
                <a:cubicBezTo>
                  <a:pt x="584179" y="5256212"/>
                  <a:pt x="559432" y="5246711"/>
                  <a:pt x="549914" y="5225809"/>
                </a:cubicBezTo>
                <a:cubicBezTo>
                  <a:pt x="546107" y="5220108"/>
                  <a:pt x="546107" y="5214408"/>
                  <a:pt x="546107" y="5208707"/>
                </a:cubicBezTo>
                <a:cubicBezTo>
                  <a:pt x="546107" y="5191605"/>
                  <a:pt x="555625" y="5176404"/>
                  <a:pt x="570854" y="5168803"/>
                </a:cubicBezTo>
                <a:cubicBezTo>
                  <a:pt x="570854" y="5168803"/>
                  <a:pt x="570854" y="5168803"/>
                  <a:pt x="909698" y="5014888"/>
                </a:cubicBezTo>
                <a:cubicBezTo>
                  <a:pt x="920168" y="5010137"/>
                  <a:pt x="932066" y="5010137"/>
                  <a:pt x="942536" y="5014175"/>
                </a:cubicBezTo>
                <a:close/>
                <a:moveTo>
                  <a:pt x="4856099" y="5004627"/>
                </a:moveTo>
                <a:cubicBezTo>
                  <a:pt x="4866353" y="5008654"/>
                  <a:pt x="4874939" y="5016709"/>
                  <a:pt x="4879707" y="5028079"/>
                </a:cubicBezTo>
                <a:cubicBezTo>
                  <a:pt x="4891155" y="5050821"/>
                  <a:pt x="4879707" y="5075458"/>
                  <a:pt x="4856813" y="5084934"/>
                </a:cubicBezTo>
                <a:cubicBezTo>
                  <a:pt x="4856813" y="5084934"/>
                  <a:pt x="4856813" y="5084934"/>
                  <a:pt x="4517223" y="5230861"/>
                </a:cubicBezTo>
                <a:cubicBezTo>
                  <a:pt x="4494329" y="5240337"/>
                  <a:pt x="4469527" y="5230861"/>
                  <a:pt x="4459989" y="5208119"/>
                </a:cubicBezTo>
                <a:cubicBezTo>
                  <a:pt x="4456173" y="5202434"/>
                  <a:pt x="4456173" y="5196748"/>
                  <a:pt x="4456173" y="5191063"/>
                </a:cubicBezTo>
                <a:cubicBezTo>
                  <a:pt x="4456173" y="5174006"/>
                  <a:pt x="4465713" y="5158845"/>
                  <a:pt x="4482883" y="5151264"/>
                </a:cubicBezTo>
                <a:cubicBezTo>
                  <a:pt x="4482883" y="5151264"/>
                  <a:pt x="4482883" y="5151264"/>
                  <a:pt x="4822473" y="5005338"/>
                </a:cubicBezTo>
                <a:cubicBezTo>
                  <a:pt x="4833921" y="5000600"/>
                  <a:pt x="4845845" y="5000600"/>
                  <a:pt x="4856099" y="5004627"/>
                </a:cubicBezTo>
                <a:close/>
                <a:moveTo>
                  <a:pt x="1491745" y="5004627"/>
                </a:moveTo>
                <a:cubicBezTo>
                  <a:pt x="1502238" y="5008654"/>
                  <a:pt x="1511300" y="5016708"/>
                  <a:pt x="1516069" y="5028079"/>
                </a:cubicBezTo>
                <a:cubicBezTo>
                  <a:pt x="1525608" y="5050821"/>
                  <a:pt x="1516069" y="5075458"/>
                  <a:pt x="1493175" y="5084934"/>
                </a:cubicBezTo>
                <a:cubicBezTo>
                  <a:pt x="1493175" y="5084934"/>
                  <a:pt x="1493175" y="5084934"/>
                  <a:pt x="1153585" y="5230861"/>
                </a:cubicBezTo>
                <a:cubicBezTo>
                  <a:pt x="1130691" y="5240337"/>
                  <a:pt x="1103982" y="5230861"/>
                  <a:pt x="1094443" y="5208119"/>
                </a:cubicBezTo>
                <a:cubicBezTo>
                  <a:pt x="1092535" y="5202434"/>
                  <a:pt x="1090627" y="5196748"/>
                  <a:pt x="1090627" y="5191063"/>
                </a:cubicBezTo>
                <a:cubicBezTo>
                  <a:pt x="1090627" y="5174006"/>
                  <a:pt x="1102074" y="5158845"/>
                  <a:pt x="1117336" y="5151264"/>
                </a:cubicBezTo>
                <a:cubicBezTo>
                  <a:pt x="1117336" y="5151264"/>
                  <a:pt x="1117336" y="5151264"/>
                  <a:pt x="1458835" y="5005338"/>
                </a:cubicBezTo>
                <a:cubicBezTo>
                  <a:pt x="1469328" y="5000600"/>
                  <a:pt x="1481252" y="5000600"/>
                  <a:pt x="1491745" y="5004627"/>
                </a:cubicBezTo>
                <a:close/>
                <a:moveTo>
                  <a:pt x="4281261" y="4989339"/>
                </a:moveTo>
                <a:cubicBezTo>
                  <a:pt x="4298865" y="4989608"/>
                  <a:pt x="4315665" y="5000352"/>
                  <a:pt x="4322813" y="5017541"/>
                </a:cubicBezTo>
                <a:cubicBezTo>
                  <a:pt x="4332347" y="5040461"/>
                  <a:pt x="4320907" y="5067200"/>
                  <a:pt x="4298031" y="5076750"/>
                </a:cubicBezTo>
                <a:cubicBezTo>
                  <a:pt x="4298031" y="5076750"/>
                  <a:pt x="4298031" y="5076750"/>
                  <a:pt x="3958689" y="5218087"/>
                </a:cubicBezTo>
                <a:cubicBezTo>
                  <a:pt x="3933907" y="5227637"/>
                  <a:pt x="3909123" y="5216177"/>
                  <a:pt x="3899591" y="5193257"/>
                </a:cubicBezTo>
                <a:cubicBezTo>
                  <a:pt x="3895779" y="5187528"/>
                  <a:pt x="3895779" y="5181798"/>
                  <a:pt x="3895779" y="5176068"/>
                </a:cubicBezTo>
                <a:cubicBezTo>
                  <a:pt x="3895779" y="5156968"/>
                  <a:pt x="3905311" y="5141689"/>
                  <a:pt x="3924375" y="5134049"/>
                </a:cubicBezTo>
                <a:cubicBezTo>
                  <a:pt x="3924375" y="5134049"/>
                  <a:pt x="3924375" y="5134049"/>
                  <a:pt x="4263715" y="4992712"/>
                </a:cubicBezTo>
                <a:cubicBezTo>
                  <a:pt x="4269435" y="4990324"/>
                  <a:pt x="4275393" y="4989250"/>
                  <a:pt x="4281261" y="4989339"/>
                </a:cubicBezTo>
                <a:close/>
                <a:moveTo>
                  <a:pt x="2028604" y="4989339"/>
                </a:moveTo>
                <a:cubicBezTo>
                  <a:pt x="2046196" y="4989608"/>
                  <a:pt x="2062984" y="5000352"/>
                  <a:pt x="2070128" y="5017541"/>
                </a:cubicBezTo>
                <a:cubicBezTo>
                  <a:pt x="2079653" y="5040461"/>
                  <a:pt x="2068223" y="5067200"/>
                  <a:pt x="2045363" y="5076750"/>
                </a:cubicBezTo>
                <a:cubicBezTo>
                  <a:pt x="2045363" y="5076750"/>
                  <a:pt x="2045363" y="5076750"/>
                  <a:pt x="1704363" y="5218087"/>
                </a:cubicBezTo>
                <a:cubicBezTo>
                  <a:pt x="1681503" y="5227637"/>
                  <a:pt x="1654832" y="5216177"/>
                  <a:pt x="1645307" y="5193257"/>
                </a:cubicBezTo>
                <a:cubicBezTo>
                  <a:pt x="1643402" y="5187528"/>
                  <a:pt x="1641497" y="5181798"/>
                  <a:pt x="1641497" y="5176068"/>
                </a:cubicBezTo>
                <a:cubicBezTo>
                  <a:pt x="1641497" y="5156968"/>
                  <a:pt x="1652927" y="5141689"/>
                  <a:pt x="1670072" y="5134049"/>
                </a:cubicBezTo>
                <a:cubicBezTo>
                  <a:pt x="1670072" y="5134049"/>
                  <a:pt x="1670072" y="5134049"/>
                  <a:pt x="2011072" y="4992712"/>
                </a:cubicBezTo>
                <a:cubicBezTo>
                  <a:pt x="2016787" y="4990324"/>
                  <a:pt x="2022740" y="4989250"/>
                  <a:pt x="2028604" y="4989339"/>
                </a:cubicBezTo>
                <a:close/>
                <a:moveTo>
                  <a:pt x="3720415" y="4979828"/>
                </a:moveTo>
                <a:cubicBezTo>
                  <a:pt x="3738811" y="4980185"/>
                  <a:pt x="3755599" y="4991258"/>
                  <a:pt x="3762743" y="5009832"/>
                </a:cubicBezTo>
                <a:cubicBezTo>
                  <a:pt x="3770363" y="5032692"/>
                  <a:pt x="3758933" y="5059362"/>
                  <a:pt x="3736073" y="5068887"/>
                </a:cubicBezTo>
                <a:cubicBezTo>
                  <a:pt x="3736073" y="5068887"/>
                  <a:pt x="3736073" y="5068887"/>
                  <a:pt x="3395073" y="5202237"/>
                </a:cubicBezTo>
                <a:cubicBezTo>
                  <a:pt x="3370308" y="5211762"/>
                  <a:pt x="3343637" y="5200332"/>
                  <a:pt x="3334112" y="5175567"/>
                </a:cubicBezTo>
                <a:cubicBezTo>
                  <a:pt x="3332207" y="5169852"/>
                  <a:pt x="3332207" y="5164137"/>
                  <a:pt x="3332207" y="5158422"/>
                </a:cubicBezTo>
                <a:cubicBezTo>
                  <a:pt x="3332207" y="5141277"/>
                  <a:pt x="3343637" y="5122227"/>
                  <a:pt x="3360782" y="5116512"/>
                </a:cubicBezTo>
                <a:cubicBezTo>
                  <a:pt x="3360782" y="5116512"/>
                  <a:pt x="3360782" y="5116512"/>
                  <a:pt x="3701783" y="4983162"/>
                </a:cubicBezTo>
                <a:cubicBezTo>
                  <a:pt x="3707975" y="4980781"/>
                  <a:pt x="3714285" y="4979709"/>
                  <a:pt x="3720415" y="4979828"/>
                </a:cubicBezTo>
                <a:close/>
                <a:moveTo>
                  <a:pt x="2585938" y="4979828"/>
                </a:moveTo>
                <a:cubicBezTo>
                  <a:pt x="2604132" y="4980185"/>
                  <a:pt x="2622056" y="4991258"/>
                  <a:pt x="2629225" y="5009832"/>
                </a:cubicBezTo>
                <a:cubicBezTo>
                  <a:pt x="2636873" y="5032692"/>
                  <a:pt x="2625401" y="5059362"/>
                  <a:pt x="2602458" y="5068887"/>
                </a:cubicBezTo>
                <a:cubicBezTo>
                  <a:pt x="2602458" y="5068887"/>
                  <a:pt x="2602458" y="5068887"/>
                  <a:pt x="2260223" y="5202237"/>
                </a:cubicBezTo>
                <a:cubicBezTo>
                  <a:pt x="2235368" y="5211762"/>
                  <a:pt x="2208601" y="5200332"/>
                  <a:pt x="2199041" y="5175567"/>
                </a:cubicBezTo>
                <a:cubicBezTo>
                  <a:pt x="2197129" y="5169852"/>
                  <a:pt x="2197129" y="5164137"/>
                  <a:pt x="2197129" y="5158422"/>
                </a:cubicBezTo>
                <a:cubicBezTo>
                  <a:pt x="2197129" y="5141277"/>
                  <a:pt x="2206689" y="5122227"/>
                  <a:pt x="2225808" y="5116512"/>
                </a:cubicBezTo>
                <a:cubicBezTo>
                  <a:pt x="2225808" y="5116512"/>
                  <a:pt x="2225808" y="5116512"/>
                  <a:pt x="2568043" y="4983162"/>
                </a:cubicBezTo>
                <a:cubicBezTo>
                  <a:pt x="2573779" y="4980780"/>
                  <a:pt x="2579874" y="4979709"/>
                  <a:pt x="2585938" y="4979828"/>
                </a:cubicBezTo>
                <a:close/>
                <a:moveTo>
                  <a:pt x="3148516" y="4969031"/>
                </a:moveTo>
                <a:cubicBezTo>
                  <a:pt x="3166938" y="4969927"/>
                  <a:pt x="3183750" y="4982104"/>
                  <a:pt x="3190904" y="5000728"/>
                </a:cubicBezTo>
                <a:cubicBezTo>
                  <a:pt x="3200443" y="5025560"/>
                  <a:pt x="3187089" y="5052302"/>
                  <a:pt x="3162288" y="5061853"/>
                </a:cubicBezTo>
                <a:cubicBezTo>
                  <a:pt x="3162288" y="5061853"/>
                  <a:pt x="3162288" y="5061853"/>
                  <a:pt x="2820801" y="5187924"/>
                </a:cubicBezTo>
                <a:cubicBezTo>
                  <a:pt x="2796000" y="5197475"/>
                  <a:pt x="2769291" y="5184104"/>
                  <a:pt x="2759753" y="5161182"/>
                </a:cubicBezTo>
                <a:cubicBezTo>
                  <a:pt x="2757845" y="5155451"/>
                  <a:pt x="2755937" y="5149721"/>
                  <a:pt x="2755937" y="5143990"/>
                </a:cubicBezTo>
                <a:cubicBezTo>
                  <a:pt x="2755937" y="5124889"/>
                  <a:pt x="2767384" y="5105787"/>
                  <a:pt x="2788369" y="5098146"/>
                </a:cubicBezTo>
                <a:cubicBezTo>
                  <a:pt x="2788369" y="5098146"/>
                  <a:pt x="2788369" y="5098146"/>
                  <a:pt x="3129856" y="4972076"/>
                </a:cubicBezTo>
                <a:cubicBezTo>
                  <a:pt x="3136056" y="4969688"/>
                  <a:pt x="3142376" y="4968733"/>
                  <a:pt x="3148516" y="4969031"/>
                </a:cubicBezTo>
                <a:close/>
                <a:moveTo>
                  <a:pt x="6500077" y="4711372"/>
                </a:moveTo>
                <a:cubicBezTo>
                  <a:pt x="6509825" y="4714702"/>
                  <a:pt x="6518385" y="4721837"/>
                  <a:pt x="6523141" y="4732302"/>
                </a:cubicBezTo>
                <a:cubicBezTo>
                  <a:pt x="6532651" y="4751328"/>
                  <a:pt x="6525043" y="4774161"/>
                  <a:pt x="6506021" y="4785577"/>
                </a:cubicBezTo>
                <a:cubicBezTo>
                  <a:pt x="6506021" y="4785577"/>
                  <a:pt x="6506021" y="4785577"/>
                  <a:pt x="6167435" y="4953011"/>
                </a:cubicBezTo>
                <a:cubicBezTo>
                  <a:pt x="6148413" y="4962525"/>
                  <a:pt x="6123685" y="4954914"/>
                  <a:pt x="6114175" y="4935887"/>
                </a:cubicBezTo>
                <a:cubicBezTo>
                  <a:pt x="6110371" y="4930179"/>
                  <a:pt x="6110371" y="4924471"/>
                  <a:pt x="6110371" y="4916861"/>
                </a:cubicBezTo>
                <a:cubicBezTo>
                  <a:pt x="6110371" y="4903542"/>
                  <a:pt x="6117979" y="4888321"/>
                  <a:pt x="6131293" y="4882613"/>
                </a:cubicBezTo>
                <a:cubicBezTo>
                  <a:pt x="6131293" y="4882613"/>
                  <a:pt x="6131293" y="4882613"/>
                  <a:pt x="6469879" y="4713275"/>
                </a:cubicBezTo>
                <a:cubicBezTo>
                  <a:pt x="6479389" y="4708519"/>
                  <a:pt x="6490327" y="4708043"/>
                  <a:pt x="6500077" y="4711372"/>
                </a:cubicBezTo>
                <a:close/>
                <a:moveTo>
                  <a:pt x="5956831" y="4701876"/>
                </a:moveTo>
                <a:cubicBezTo>
                  <a:pt x="5966841" y="4705218"/>
                  <a:pt x="5975419" y="4712380"/>
                  <a:pt x="5980185" y="4722883"/>
                </a:cubicBezTo>
                <a:cubicBezTo>
                  <a:pt x="5989719" y="4743891"/>
                  <a:pt x="5982093" y="4768718"/>
                  <a:pt x="5961121" y="4778267"/>
                </a:cubicBezTo>
                <a:cubicBezTo>
                  <a:pt x="5961121" y="4778267"/>
                  <a:pt x="5961121" y="4778267"/>
                  <a:pt x="5621775" y="4938688"/>
                </a:cubicBezTo>
                <a:cubicBezTo>
                  <a:pt x="5600803" y="4948237"/>
                  <a:pt x="5576021" y="4940598"/>
                  <a:pt x="5566487" y="4919590"/>
                </a:cubicBezTo>
                <a:cubicBezTo>
                  <a:pt x="5562675" y="4913861"/>
                  <a:pt x="5562675" y="4906222"/>
                  <a:pt x="5562675" y="4900492"/>
                </a:cubicBezTo>
                <a:cubicBezTo>
                  <a:pt x="5562675" y="4885214"/>
                  <a:pt x="5570301" y="4869936"/>
                  <a:pt x="5585553" y="4864207"/>
                </a:cubicBezTo>
                <a:cubicBezTo>
                  <a:pt x="5585553" y="4864207"/>
                  <a:pt x="5585553" y="4864207"/>
                  <a:pt x="5924899" y="4703786"/>
                </a:cubicBezTo>
                <a:cubicBezTo>
                  <a:pt x="5935385" y="4699011"/>
                  <a:pt x="5946823" y="4698534"/>
                  <a:pt x="5956831" y="4701876"/>
                </a:cubicBezTo>
                <a:close/>
                <a:moveTo>
                  <a:pt x="398944" y="4701876"/>
                </a:moveTo>
                <a:cubicBezTo>
                  <a:pt x="408946" y="4705218"/>
                  <a:pt x="417519" y="4712380"/>
                  <a:pt x="422281" y="4722883"/>
                </a:cubicBezTo>
                <a:cubicBezTo>
                  <a:pt x="431806" y="4743891"/>
                  <a:pt x="422281" y="4768718"/>
                  <a:pt x="401326" y="4778267"/>
                </a:cubicBezTo>
                <a:cubicBezTo>
                  <a:pt x="401326" y="4778267"/>
                  <a:pt x="401326" y="4778267"/>
                  <a:pt x="62231" y="4938688"/>
                </a:cubicBezTo>
                <a:cubicBezTo>
                  <a:pt x="43181" y="4948237"/>
                  <a:pt x="16510" y="4940598"/>
                  <a:pt x="6985" y="4919590"/>
                </a:cubicBezTo>
                <a:cubicBezTo>
                  <a:pt x="5080" y="4913861"/>
                  <a:pt x="3175" y="4906222"/>
                  <a:pt x="3175" y="4900492"/>
                </a:cubicBezTo>
                <a:cubicBezTo>
                  <a:pt x="3175" y="4885214"/>
                  <a:pt x="12700" y="4869936"/>
                  <a:pt x="27940" y="4864207"/>
                </a:cubicBezTo>
                <a:cubicBezTo>
                  <a:pt x="27940" y="4864207"/>
                  <a:pt x="27940" y="4864207"/>
                  <a:pt x="367035" y="4703786"/>
                </a:cubicBezTo>
                <a:cubicBezTo>
                  <a:pt x="377513" y="4699011"/>
                  <a:pt x="388943" y="4698534"/>
                  <a:pt x="398944" y="4701876"/>
                </a:cubicBezTo>
                <a:close/>
                <a:moveTo>
                  <a:pt x="5409723" y="4693284"/>
                </a:moveTo>
                <a:cubicBezTo>
                  <a:pt x="5420223" y="4697094"/>
                  <a:pt x="5429293" y="4704714"/>
                  <a:pt x="5434065" y="4715192"/>
                </a:cubicBezTo>
                <a:cubicBezTo>
                  <a:pt x="5443611" y="4738052"/>
                  <a:pt x="5434065" y="4762817"/>
                  <a:pt x="5411155" y="4772342"/>
                </a:cubicBezTo>
                <a:cubicBezTo>
                  <a:pt x="5411155" y="4772342"/>
                  <a:pt x="5411155" y="4772342"/>
                  <a:pt x="5071313" y="4922837"/>
                </a:cubicBezTo>
                <a:cubicBezTo>
                  <a:pt x="5048403" y="4932362"/>
                  <a:pt x="5023583" y="4922837"/>
                  <a:pt x="5014037" y="4901882"/>
                </a:cubicBezTo>
                <a:cubicBezTo>
                  <a:pt x="5012127" y="4894262"/>
                  <a:pt x="5010219" y="4888547"/>
                  <a:pt x="5010219" y="4882832"/>
                </a:cubicBezTo>
                <a:cubicBezTo>
                  <a:pt x="5010219" y="4867592"/>
                  <a:pt x="5019765" y="4850447"/>
                  <a:pt x="5036947" y="4842827"/>
                </a:cubicBezTo>
                <a:cubicBezTo>
                  <a:pt x="5036947" y="4842827"/>
                  <a:pt x="5036947" y="4842827"/>
                  <a:pt x="5376789" y="4694237"/>
                </a:cubicBezTo>
                <a:cubicBezTo>
                  <a:pt x="5387289" y="4689474"/>
                  <a:pt x="5399221" y="4689474"/>
                  <a:pt x="5409723" y="4693284"/>
                </a:cubicBezTo>
                <a:close/>
                <a:moveTo>
                  <a:pt x="943153" y="4693284"/>
                </a:moveTo>
                <a:cubicBezTo>
                  <a:pt x="953415" y="4697094"/>
                  <a:pt x="962006" y="4704714"/>
                  <a:pt x="966779" y="4715192"/>
                </a:cubicBezTo>
                <a:cubicBezTo>
                  <a:pt x="976325" y="4738052"/>
                  <a:pt x="966779" y="4762817"/>
                  <a:pt x="945777" y="4772342"/>
                </a:cubicBezTo>
                <a:cubicBezTo>
                  <a:pt x="945777" y="4772342"/>
                  <a:pt x="945777" y="4772342"/>
                  <a:pt x="604027" y="4922837"/>
                </a:cubicBezTo>
                <a:cubicBezTo>
                  <a:pt x="583026" y="4932362"/>
                  <a:pt x="556297" y="4922837"/>
                  <a:pt x="546750" y="4901882"/>
                </a:cubicBezTo>
                <a:cubicBezTo>
                  <a:pt x="544841" y="4894262"/>
                  <a:pt x="542932" y="4888547"/>
                  <a:pt x="542932" y="4882832"/>
                </a:cubicBezTo>
                <a:cubicBezTo>
                  <a:pt x="542932" y="4867592"/>
                  <a:pt x="552478" y="4850447"/>
                  <a:pt x="569661" y="4842827"/>
                </a:cubicBezTo>
                <a:cubicBezTo>
                  <a:pt x="569661" y="4842827"/>
                  <a:pt x="569661" y="4842827"/>
                  <a:pt x="909502" y="4694237"/>
                </a:cubicBezTo>
                <a:cubicBezTo>
                  <a:pt x="920958" y="4689474"/>
                  <a:pt x="932890" y="4689474"/>
                  <a:pt x="943153" y="4693284"/>
                </a:cubicBezTo>
                <a:close/>
                <a:moveTo>
                  <a:pt x="4840067" y="4679736"/>
                </a:moveTo>
                <a:cubicBezTo>
                  <a:pt x="4857671" y="4680003"/>
                  <a:pt x="4874473" y="4690677"/>
                  <a:pt x="4881621" y="4707755"/>
                </a:cubicBezTo>
                <a:cubicBezTo>
                  <a:pt x="4891153" y="4730526"/>
                  <a:pt x="4879715" y="4757092"/>
                  <a:pt x="4856837" y="4766579"/>
                </a:cubicBezTo>
                <a:cubicBezTo>
                  <a:pt x="4856837" y="4766579"/>
                  <a:pt x="4856837" y="4766579"/>
                  <a:pt x="4517497" y="4906999"/>
                </a:cubicBezTo>
                <a:cubicBezTo>
                  <a:pt x="4494619" y="4916487"/>
                  <a:pt x="4467929" y="4905101"/>
                  <a:pt x="4458397" y="4882331"/>
                </a:cubicBezTo>
                <a:cubicBezTo>
                  <a:pt x="4456491" y="4876638"/>
                  <a:pt x="4454585" y="4870945"/>
                  <a:pt x="4454585" y="4865253"/>
                </a:cubicBezTo>
                <a:cubicBezTo>
                  <a:pt x="4454585" y="4848175"/>
                  <a:pt x="4466023" y="4831096"/>
                  <a:pt x="4483181" y="4823506"/>
                </a:cubicBezTo>
                <a:cubicBezTo>
                  <a:pt x="4483181" y="4823506"/>
                  <a:pt x="4483181" y="4823506"/>
                  <a:pt x="4822523" y="4683087"/>
                </a:cubicBezTo>
                <a:cubicBezTo>
                  <a:pt x="4828243" y="4680715"/>
                  <a:pt x="4834199" y="4679647"/>
                  <a:pt x="4840067" y="4679736"/>
                </a:cubicBezTo>
                <a:close/>
                <a:moveTo>
                  <a:pt x="1476109" y="4679736"/>
                </a:moveTo>
                <a:cubicBezTo>
                  <a:pt x="1493714" y="4680003"/>
                  <a:pt x="1510514" y="4690677"/>
                  <a:pt x="1517663" y="4707755"/>
                </a:cubicBezTo>
                <a:cubicBezTo>
                  <a:pt x="1527195" y="4730526"/>
                  <a:pt x="1515757" y="4757092"/>
                  <a:pt x="1492880" y="4766579"/>
                </a:cubicBezTo>
                <a:cubicBezTo>
                  <a:pt x="1492880" y="4766579"/>
                  <a:pt x="1492880" y="4766579"/>
                  <a:pt x="1151632" y="4906999"/>
                </a:cubicBezTo>
                <a:cubicBezTo>
                  <a:pt x="1128755" y="4916487"/>
                  <a:pt x="1102065" y="4905101"/>
                  <a:pt x="1094440" y="4882331"/>
                </a:cubicBezTo>
                <a:cubicBezTo>
                  <a:pt x="1090627" y="4876638"/>
                  <a:pt x="1090627" y="4870945"/>
                  <a:pt x="1090627" y="4865253"/>
                </a:cubicBezTo>
                <a:cubicBezTo>
                  <a:pt x="1090627" y="4848175"/>
                  <a:pt x="1100159" y="4831096"/>
                  <a:pt x="1117317" y="4823506"/>
                </a:cubicBezTo>
                <a:cubicBezTo>
                  <a:pt x="1117317" y="4823506"/>
                  <a:pt x="1117317" y="4823506"/>
                  <a:pt x="1458564" y="4683087"/>
                </a:cubicBezTo>
                <a:cubicBezTo>
                  <a:pt x="1464283" y="4680715"/>
                  <a:pt x="1470241" y="4679647"/>
                  <a:pt x="1476109" y="4679736"/>
                </a:cubicBezTo>
                <a:close/>
                <a:moveTo>
                  <a:pt x="4282923" y="4670533"/>
                </a:moveTo>
                <a:cubicBezTo>
                  <a:pt x="4300501" y="4671337"/>
                  <a:pt x="4317277" y="4683124"/>
                  <a:pt x="4324415" y="4700269"/>
                </a:cubicBezTo>
                <a:cubicBezTo>
                  <a:pt x="4333935" y="4725034"/>
                  <a:pt x="4322513" y="4751704"/>
                  <a:pt x="4297765" y="4761229"/>
                </a:cubicBezTo>
                <a:cubicBezTo>
                  <a:pt x="4297765" y="4761229"/>
                  <a:pt x="4297765" y="4761229"/>
                  <a:pt x="3957011" y="4892674"/>
                </a:cubicBezTo>
                <a:cubicBezTo>
                  <a:pt x="3934167" y="4902199"/>
                  <a:pt x="3907515" y="4890769"/>
                  <a:pt x="3897997" y="4866004"/>
                </a:cubicBezTo>
                <a:cubicBezTo>
                  <a:pt x="3896093" y="4860289"/>
                  <a:pt x="3894191" y="4854574"/>
                  <a:pt x="3894191" y="4848859"/>
                </a:cubicBezTo>
                <a:cubicBezTo>
                  <a:pt x="3894191" y="4829809"/>
                  <a:pt x="3905611" y="4812664"/>
                  <a:pt x="3924649" y="4805044"/>
                </a:cubicBezTo>
                <a:cubicBezTo>
                  <a:pt x="3924649" y="4805044"/>
                  <a:pt x="3924649" y="4805044"/>
                  <a:pt x="4265403" y="4673599"/>
                </a:cubicBezTo>
                <a:cubicBezTo>
                  <a:pt x="4271115" y="4671218"/>
                  <a:pt x="4277063" y="4670265"/>
                  <a:pt x="4282923" y="4670533"/>
                </a:cubicBezTo>
                <a:close/>
                <a:moveTo>
                  <a:pt x="2029462" y="4670533"/>
                </a:moveTo>
                <a:cubicBezTo>
                  <a:pt x="2047831" y="4671337"/>
                  <a:pt x="2064595" y="4683124"/>
                  <a:pt x="2071729" y="4700269"/>
                </a:cubicBezTo>
                <a:cubicBezTo>
                  <a:pt x="2081240" y="4725034"/>
                  <a:pt x="2067924" y="4751704"/>
                  <a:pt x="2045097" y="4761229"/>
                </a:cubicBezTo>
                <a:cubicBezTo>
                  <a:pt x="2045097" y="4761229"/>
                  <a:pt x="2045097" y="4761229"/>
                  <a:pt x="1704587" y="4892674"/>
                </a:cubicBezTo>
                <a:cubicBezTo>
                  <a:pt x="1679857" y="4902199"/>
                  <a:pt x="1653225" y="4890769"/>
                  <a:pt x="1643714" y="4866004"/>
                </a:cubicBezTo>
                <a:cubicBezTo>
                  <a:pt x="1641811" y="4860289"/>
                  <a:pt x="1639909" y="4854574"/>
                  <a:pt x="1639909" y="4848859"/>
                </a:cubicBezTo>
                <a:cubicBezTo>
                  <a:pt x="1639909" y="4829809"/>
                  <a:pt x="1651323" y="4812664"/>
                  <a:pt x="1670346" y="4805044"/>
                </a:cubicBezTo>
                <a:cubicBezTo>
                  <a:pt x="1670346" y="4805044"/>
                  <a:pt x="1670346" y="4805044"/>
                  <a:pt x="2010855" y="4673599"/>
                </a:cubicBezTo>
                <a:cubicBezTo>
                  <a:pt x="2017038" y="4671218"/>
                  <a:pt x="2023339" y="4670265"/>
                  <a:pt x="2029462" y="4670533"/>
                </a:cubicBezTo>
                <a:close/>
                <a:moveTo>
                  <a:pt x="3720845" y="4661020"/>
                </a:moveTo>
                <a:cubicBezTo>
                  <a:pt x="3740057" y="4661910"/>
                  <a:pt x="3756859" y="4674022"/>
                  <a:pt x="3764007" y="4692545"/>
                </a:cubicBezTo>
                <a:cubicBezTo>
                  <a:pt x="3773539" y="4717242"/>
                  <a:pt x="3760195" y="4745739"/>
                  <a:pt x="3735411" y="4755238"/>
                </a:cubicBezTo>
                <a:cubicBezTo>
                  <a:pt x="3735411" y="4755238"/>
                  <a:pt x="3735411" y="4755238"/>
                  <a:pt x="3392262" y="4876825"/>
                </a:cubicBezTo>
                <a:cubicBezTo>
                  <a:pt x="3367479" y="4886324"/>
                  <a:pt x="3340790" y="4873025"/>
                  <a:pt x="3331258" y="4848328"/>
                </a:cubicBezTo>
                <a:cubicBezTo>
                  <a:pt x="3329351" y="4842628"/>
                  <a:pt x="3327445" y="4836929"/>
                  <a:pt x="3327445" y="4831230"/>
                </a:cubicBezTo>
                <a:cubicBezTo>
                  <a:pt x="3327445" y="4812232"/>
                  <a:pt x="3340790" y="4793234"/>
                  <a:pt x="3359854" y="4785635"/>
                </a:cubicBezTo>
                <a:cubicBezTo>
                  <a:pt x="3359854" y="4785635"/>
                  <a:pt x="3359854" y="4785635"/>
                  <a:pt x="3701097" y="4664048"/>
                </a:cubicBezTo>
                <a:cubicBezTo>
                  <a:pt x="3707769" y="4661673"/>
                  <a:pt x="3714441" y="4660723"/>
                  <a:pt x="3720845" y="4661020"/>
                </a:cubicBezTo>
                <a:close/>
                <a:moveTo>
                  <a:pt x="2587354" y="4661020"/>
                </a:moveTo>
                <a:cubicBezTo>
                  <a:pt x="2606567" y="4661910"/>
                  <a:pt x="2623367" y="4674022"/>
                  <a:pt x="2630516" y="4692545"/>
                </a:cubicBezTo>
                <a:cubicBezTo>
                  <a:pt x="2640048" y="4717242"/>
                  <a:pt x="2626703" y="4745739"/>
                  <a:pt x="2601920" y="4755238"/>
                </a:cubicBezTo>
                <a:cubicBezTo>
                  <a:pt x="2601920" y="4755238"/>
                  <a:pt x="2601920" y="4755238"/>
                  <a:pt x="2258771" y="4876825"/>
                </a:cubicBezTo>
                <a:cubicBezTo>
                  <a:pt x="2233988" y="4886324"/>
                  <a:pt x="2207299" y="4873025"/>
                  <a:pt x="2197767" y="4848328"/>
                </a:cubicBezTo>
                <a:cubicBezTo>
                  <a:pt x="2195860" y="4842628"/>
                  <a:pt x="2193954" y="4836929"/>
                  <a:pt x="2193954" y="4831230"/>
                </a:cubicBezTo>
                <a:cubicBezTo>
                  <a:pt x="2193954" y="4812232"/>
                  <a:pt x="2207299" y="4793234"/>
                  <a:pt x="2226363" y="4785635"/>
                </a:cubicBezTo>
                <a:cubicBezTo>
                  <a:pt x="2226363" y="4785635"/>
                  <a:pt x="2226363" y="4785635"/>
                  <a:pt x="2567605" y="4664048"/>
                </a:cubicBezTo>
                <a:cubicBezTo>
                  <a:pt x="2574278" y="4661673"/>
                  <a:pt x="2580950" y="4660723"/>
                  <a:pt x="2587354" y="4661020"/>
                </a:cubicBezTo>
                <a:close/>
                <a:moveTo>
                  <a:pt x="3149672" y="4651820"/>
                </a:moveTo>
                <a:cubicBezTo>
                  <a:pt x="3169406" y="4653251"/>
                  <a:pt x="3187266" y="4666485"/>
                  <a:pt x="3194410" y="4685085"/>
                </a:cubicBezTo>
                <a:cubicBezTo>
                  <a:pt x="3202030" y="4711792"/>
                  <a:pt x="3188695" y="4740407"/>
                  <a:pt x="3162024" y="4748038"/>
                </a:cubicBezTo>
                <a:cubicBezTo>
                  <a:pt x="3162024" y="4748038"/>
                  <a:pt x="3162024" y="4748038"/>
                  <a:pt x="2819120" y="4862498"/>
                </a:cubicBezTo>
                <a:cubicBezTo>
                  <a:pt x="2794355" y="4872037"/>
                  <a:pt x="2765779" y="4856775"/>
                  <a:pt x="2756254" y="4830068"/>
                </a:cubicBezTo>
                <a:cubicBezTo>
                  <a:pt x="2754349" y="4826253"/>
                  <a:pt x="2754349" y="4820530"/>
                  <a:pt x="2754349" y="4814807"/>
                </a:cubicBezTo>
                <a:cubicBezTo>
                  <a:pt x="2754349" y="4793822"/>
                  <a:pt x="2767684" y="4774745"/>
                  <a:pt x="2788639" y="4767115"/>
                </a:cubicBezTo>
                <a:cubicBezTo>
                  <a:pt x="2788639" y="4767115"/>
                  <a:pt x="2788639" y="4767115"/>
                  <a:pt x="3129639" y="4654562"/>
                </a:cubicBezTo>
                <a:cubicBezTo>
                  <a:pt x="3136307" y="4652178"/>
                  <a:pt x="3143093" y="4651343"/>
                  <a:pt x="3149672" y="4651820"/>
                </a:cubicBezTo>
                <a:close/>
                <a:moveTo>
                  <a:pt x="6484889" y="4386504"/>
                </a:moveTo>
                <a:cubicBezTo>
                  <a:pt x="6500315" y="4385257"/>
                  <a:pt x="6516007" y="4394165"/>
                  <a:pt x="6523141" y="4408417"/>
                </a:cubicBezTo>
                <a:cubicBezTo>
                  <a:pt x="6532651" y="4427421"/>
                  <a:pt x="6525043" y="4452126"/>
                  <a:pt x="6506021" y="4461627"/>
                </a:cubicBezTo>
                <a:cubicBezTo>
                  <a:pt x="6506021" y="4461627"/>
                  <a:pt x="6506021" y="4461627"/>
                  <a:pt x="6167435" y="4630760"/>
                </a:cubicBezTo>
                <a:cubicBezTo>
                  <a:pt x="6148413" y="4640262"/>
                  <a:pt x="6123685" y="4632660"/>
                  <a:pt x="6114175" y="4613657"/>
                </a:cubicBezTo>
                <a:cubicBezTo>
                  <a:pt x="6112273" y="4607956"/>
                  <a:pt x="6110371" y="4600354"/>
                  <a:pt x="6110371" y="4594653"/>
                </a:cubicBezTo>
                <a:cubicBezTo>
                  <a:pt x="6110371" y="4581350"/>
                  <a:pt x="6117979" y="4566148"/>
                  <a:pt x="6131293" y="4560446"/>
                </a:cubicBezTo>
                <a:cubicBezTo>
                  <a:pt x="6131293" y="4560446"/>
                  <a:pt x="6131293" y="4560446"/>
                  <a:pt x="6469879" y="4391314"/>
                </a:cubicBezTo>
                <a:cubicBezTo>
                  <a:pt x="6474635" y="4388463"/>
                  <a:pt x="6479747" y="4386919"/>
                  <a:pt x="6484889" y="4386504"/>
                </a:cubicBezTo>
                <a:close/>
                <a:moveTo>
                  <a:pt x="5956857" y="4379613"/>
                </a:moveTo>
                <a:cubicBezTo>
                  <a:pt x="5966859" y="4382955"/>
                  <a:pt x="5975431" y="4390117"/>
                  <a:pt x="5980193" y="4400620"/>
                </a:cubicBezTo>
                <a:cubicBezTo>
                  <a:pt x="5989719" y="4421628"/>
                  <a:pt x="5982099" y="4446455"/>
                  <a:pt x="5961143" y="4456004"/>
                </a:cubicBezTo>
                <a:cubicBezTo>
                  <a:pt x="5961143" y="4456004"/>
                  <a:pt x="5961143" y="4456004"/>
                  <a:pt x="5622049" y="4616425"/>
                </a:cubicBezTo>
                <a:cubicBezTo>
                  <a:pt x="5601093" y="4625974"/>
                  <a:pt x="5576329" y="4616425"/>
                  <a:pt x="5564899" y="4595417"/>
                </a:cubicBezTo>
                <a:cubicBezTo>
                  <a:pt x="5562993" y="4589688"/>
                  <a:pt x="5561087" y="4583959"/>
                  <a:pt x="5561087" y="4578229"/>
                </a:cubicBezTo>
                <a:cubicBezTo>
                  <a:pt x="5561087" y="4561041"/>
                  <a:pt x="5570613" y="4547673"/>
                  <a:pt x="5585853" y="4540034"/>
                </a:cubicBezTo>
                <a:cubicBezTo>
                  <a:pt x="5585853" y="4540034"/>
                  <a:pt x="5585853" y="4540034"/>
                  <a:pt x="5924949" y="4381523"/>
                </a:cubicBezTo>
                <a:cubicBezTo>
                  <a:pt x="5935427" y="4376748"/>
                  <a:pt x="5946857" y="4376271"/>
                  <a:pt x="5956857" y="4379613"/>
                </a:cubicBezTo>
                <a:close/>
                <a:moveTo>
                  <a:pt x="398944" y="4379613"/>
                </a:moveTo>
                <a:cubicBezTo>
                  <a:pt x="408946" y="4382955"/>
                  <a:pt x="417519" y="4390116"/>
                  <a:pt x="422281" y="4400620"/>
                </a:cubicBezTo>
                <a:cubicBezTo>
                  <a:pt x="431806" y="4421628"/>
                  <a:pt x="422281" y="4446455"/>
                  <a:pt x="401326" y="4456004"/>
                </a:cubicBezTo>
                <a:cubicBezTo>
                  <a:pt x="401326" y="4456004"/>
                  <a:pt x="401326" y="4456004"/>
                  <a:pt x="62231" y="4616425"/>
                </a:cubicBezTo>
                <a:cubicBezTo>
                  <a:pt x="41276" y="4625974"/>
                  <a:pt x="16510" y="4616425"/>
                  <a:pt x="6985" y="4595417"/>
                </a:cubicBezTo>
                <a:cubicBezTo>
                  <a:pt x="5080" y="4589688"/>
                  <a:pt x="3175" y="4583959"/>
                  <a:pt x="3175" y="4578229"/>
                </a:cubicBezTo>
                <a:cubicBezTo>
                  <a:pt x="3175" y="4561041"/>
                  <a:pt x="12700" y="4547673"/>
                  <a:pt x="27940" y="4540034"/>
                </a:cubicBezTo>
                <a:cubicBezTo>
                  <a:pt x="27940" y="4540034"/>
                  <a:pt x="27940" y="4540034"/>
                  <a:pt x="367035" y="4381523"/>
                </a:cubicBezTo>
                <a:cubicBezTo>
                  <a:pt x="377513" y="4376748"/>
                  <a:pt x="388943" y="4376271"/>
                  <a:pt x="398944" y="4379613"/>
                </a:cubicBezTo>
                <a:close/>
                <a:moveTo>
                  <a:pt x="5410439" y="4371271"/>
                </a:moveTo>
                <a:cubicBezTo>
                  <a:pt x="5420701" y="4375324"/>
                  <a:pt x="5429293" y="4383431"/>
                  <a:pt x="5434065" y="4394876"/>
                </a:cubicBezTo>
                <a:cubicBezTo>
                  <a:pt x="5443611" y="4415858"/>
                  <a:pt x="5434065" y="4442562"/>
                  <a:pt x="5411155" y="4452100"/>
                </a:cubicBezTo>
                <a:cubicBezTo>
                  <a:pt x="5411155" y="4452100"/>
                  <a:pt x="5411155" y="4452100"/>
                  <a:pt x="5071313" y="4598974"/>
                </a:cubicBezTo>
                <a:cubicBezTo>
                  <a:pt x="5048403" y="4608512"/>
                  <a:pt x="5023583" y="4598974"/>
                  <a:pt x="5014037" y="4576085"/>
                </a:cubicBezTo>
                <a:cubicBezTo>
                  <a:pt x="5010219" y="4570362"/>
                  <a:pt x="5010219" y="4564640"/>
                  <a:pt x="5010219" y="4558918"/>
                </a:cubicBezTo>
                <a:cubicBezTo>
                  <a:pt x="5010219" y="4541750"/>
                  <a:pt x="5019765" y="4526491"/>
                  <a:pt x="5036947" y="4518861"/>
                </a:cubicBezTo>
                <a:cubicBezTo>
                  <a:pt x="5036947" y="4518861"/>
                  <a:pt x="5036947" y="4518861"/>
                  <a:pt x="5376789" y="4371986"/>
                </a:cubicBezTo>
                <a:cubicBezTo>
                  <a:pt x="5388245" y="4367218"/>
                  <a:pt x="5400177" y="4367218"/>
                  <a:pt x="5410439" y="4371271"/>
                </a:cubicBezTo>
                <a:close/>
                <a:moveTo>
                  <a:pt x="943811" y="4371271"/>
                </a:moveTo>
                <a:cubicBezTo>
                  <a:pt x="954543" y="4375324"/>
                  <a:pt x="963605" y="4383431"/>
                  <a:pt x="968374" y="4394876"/>
                </a:cubicBezTo>
                <a:cubicBezTo>
                  <a:pt x="977913" y="4415858"/>
                  <a:pt x="966466" y="4442562"/>
                  <a:pt x="945480" y="4452100"/>
                </a:cubicBezTo>
                <a:cubicBezTo>
                  <a:pt x="945480" y="4452100"/>
                  <a:pt x="945480" y="4452100"/>
                  <a:pt x="603982" y="4598974"/>
                </a:cubicBezTo>
                <a:cubicBezTo>
                  <a:pt x="581088" y="4608512"/>
                  <a:pt x="556287" y="4598974"/>
                  <a:pt x="546748" y="4576085"/>
                </a:cubicBezTo>
                <a:cubicBezTo>
                  <a:pt x="544840" y="4570362"/>
                  <a:pt x="542932" y="4564640"/>
                  <a:pt x="542932" y="4558918"/>
                </a:cubicBezTo>
                <a:cubicBezTo>
                  <a:pt x="542932" y="4541750"/>
                  <a:pt x="552471" y="4526491"/>
                  <a:pt x="569641" y="4518861"/>
                </a:cubicBezTo>
                <a:cubicBezTo>
                  <a:pt x="569641" y="4518861"/>
                  <a:pt x="569641" y="4518861"/>
                  <a:pt x="909232" y="4371986"/>
                </a:cubicBezTo>
                <a:cubicBezTo>
                  <a:pt x="920679" y="4367218"/>
                  <a:pt x="933080" y="4367218"/>
                  <a:pt x="943811" y="4371271"/>
                </a:cubicBezTo>
                <a:close/>
                <a:moveTo>
                  <a:pt x="4841693" y="4359077"/>
                </a:moveTo>
                <a:cubicBezTo>
                  <a:pt x="4859285" y="4359345"/>
                  <a:pt x="4876073" y="4370046"/>
                  <a:pt x="4883215" y="4387168"/>
                </a:cubicBezTo>
                <a:cubicBezTo>
                  <a:pt x="4892741" y="4411901"/>
                  <a:pt x="4881311" y="4438536"/>
                  <a:pt x="4856545" y="4448048"/>
                </a:cubicBezTo>
                <a:cubicBezTo>
                  <a:pt x="4856545" y="4448048"/>
                  <a:pt x="4856545" y="4448048"/>
                  <a:pt x="4517451" y="4583124"/>
                </a:cubicBezTo>
                <a:cubicBezTo>
                  <a:pt x="4492685" y="4592637"/>
                  <a:pt x="4466015" y="4581222"/>
                  <a:pt x="4456491" y="4556490"/>
                </a:cubicBezTo>
                <a:cubicBezTo>
                  <a:pt x="4454585" y="4550782"/>
                  <a:pt x="4454585" y="4545075"/>
                  <a:pt x="4454585" y="4539367"/>
                </a:cubicBezTo>
                <a:cubicBezTo>
                  <a:pt x="4454585" y="4522245"/>
                  <a:pt x="4464111" y="4505122"/>
                  <a:pt x="4483161" y="4497513"/>
                </a:cubicBezTo>
                <a:cubicBezTo>
                  <a:pt x="4483161" y="4497513"/>
                  <a:pt x="4483161" y="4497513"/>
                  <a:pt x="4824161" y="4362436"/>
                </a:cubicBezTo>
                <a:cubicBezTo>
                  <a:pt x="4829877" y="4360058"/>
                  <a:pt x="4835829" y="4358988"/>
                  <a:pt x="4841693" y="4359077"/>
                </a:cubicBezTo>
                <a:close/>
                <a:moveTo>
                  <a:pt x="1477218" y="4359077"/>
                </a:moveTo>
                <a:cubicBezTo>
                  <a:pt x="1495524" y="4359345"/>
                  <a:pt x="1511955" y="4370046"/>
                  <a:pt x="1517670" y="4387168"/>
                </a:cubicBezTo>
                <a:cubicBezTo>
                  <a:pt x="1527195" y="4411901"/>
                  <a:pt x="1515765" y="4438536"/>
                  <a:pt x="1492905" y="4448048"/>
                </a:cubicBezTo>
                <a:cubicBezTo>
                  <a:pt x="1492905" y="4448048"/>
                  <a:pt x="1492905" y="4448048"/>
                  <a:pt x="1151905" y="4583124"/>
                </a:cubicBezTo>
                <a:cubicBezTo>
                  <a:pt x="1129045" y="4592637"/>
                  <a:pt x="1102374" y="4581222"/>
                  <a:pt x="1092849" y="4556490"/>
                </a:cubicBezTo>
                <a:cubicBezTo>
                  <a:pt x="1090944" y="4550782"/>
                  <a:pt x="1089039" y="4545075"/>
                  <a:pt x="1089039" y="4539367"/>
                </a:cubicBezTo>
                <a:cubicBezTo>
                  <a:pt x="1089039" y="4522245"/>
                  <a:pt x="1100469" y="4505122"/>
                  <a:pt x="1117614" y="4497513"/>
                </a:cubicBezTo>
                <a:cubicBezTo>
                  <a:pt x="1117614" y="4497513"/>
                  <a:pt x="1117614" y="4497513"/>
                  <a:pt x="1458614" y="4362436"/>
                </a:cubicBezTo>
                <a:cubicBezTo>
                  <a:pt x="1464805" y="4360058"/>
                  <a:pt x="1471116" y="4358988"/>
                  <a:pt x="1477218" y="4359077"/>
                </a:cubicBezTo>
                <a:close/>
                <a:moveTo>
                  <a:pt x="4284047" y="4349914"/>
                </a:moveTo>
                <a:cubicBezTo>
                  <a:pt x="4302849" y="4350811"/>
                  <a:pt x="4320315" y="4363005"/>
                  <a:pt x="4326017" y="4381655"/>
                </a:cubicBezTo>
                <a:cubicBezTo>
                  <a:pt x="4335523" y="4406522"/>
                  <a:pt x="4322215" y="4435214"/>
                  <a:pt x="4297503" y="4442865"/>
                </a:cubicBezTo>
                <a:cubicBezTo>
                  <a:pt x="4297503" y="4442865"/>
                  <a:pt x="4297503" y="4442865"/>
                  <a:pt x="3957235" y="4569111"/>
                </a:cubicBezTo>
                <a:cubicBezTo>
                  <a:pt x="3932523" y="4576762"/>
                  <a:pt x="3904009" y="4565285"/>
                  <a:pt x="3896405" y="4538506"/>
                </a:cubicBezTo>
                <a:cubicBezTo>
                  <a:pt x="3894503" y="4534680"/>
                  <a:pt x="3892603" y="4528941"/>
                  <a:pt x="3892603" y="4523203"/>
                </a:cubicBezTo>
                <a:cubicBezTo>
                  <a:pt x="3892603" y="4502162"/>
                  <a:pt x="3904009" y="4484947"/>
                  <a:pt x="3924919" y="4477296"/>
                </a:cubicBezTo>
                <a:cubicBezTo>
                  <a:pt x="3924919" y="4477296"/>
                  <a:pt x="3924919" y="4477296"/>
                  <a:pt x="4265187" y="4352963"/>
                </a:cubicBezTo>
                <a:cubicBezTo>
                  <a:pt x="4271365" y="4350572"/>
                  <a:pt x="4277781" y="4349615"/>
                  <a:pt x="4284047" y="4349914"/>
                </a:cubicBezTo>
                <a:close/>
                <a:moveTo>
                  <a:pt x="2029797" y="4349914"/>
                </a:moveTo>
                <a:cubicBezTo>
                  <a:pt x="2048687" y="4350811"/>
                  <a:pt x="2066509" y="4363005"/>
                  <a:pt x="2073637" y="4381655"/>
                </a:cubicBezTo>
                <a:cubicBezTo>
                  <a:pt x="2081241" y="4406522"/>
                  <a:pt x="2069835" y="4435214"/>
                  <a:pt x="2045123" y="4442865"/>
                </a:cubicBezTo>
                <a:cubicBezTo>
                  <a:pt x="2045123" y="4442865"/>
                  <a:pt x="2045123" y="4442865"/>
                  <a:pt x="1702954" y="4569111"/>
                </a:cubicBezTo>
                <a:cubicBezTo>
                  <a:pt x="1678242" y="4576762"/>
                  <a:pt x="1651629" y="4565285"/>
                  <a:pt x="1642124" y="4538506"/>
                </a:cubicBezTo>
                <a:cubicBezTo>
                  <a:pt x="1640223" y="4534680"/>
                  <a:pt x="1638322" y="4528941"/>
                  <a:pt x="1638322" y="4523203"/>
                </a:cubicBezTo>
                <a:cubicBezTo>
                  <a:pt x="1638322" y="4502162"/>
                  <a:pt x="1651629" y="4484947"/>
                  <a:pt x="1670638" y="4477296"/>
                </a:cubicBezTo>
                <a:cubicBezTo>
                  <a:pt x="1670638" y="4477296"/>
                  <a:pt x="1670638" y="4477296"/>
                  <a:pt x="2010906" y="4352963"/>
                </a:cubicBezTo>
                <a:cubicBezTo>
                  <a:pt x="2017084" y="4350572"/>
                  <a:pt x="2023500" y="4349615"/>
                  <a:pt x="2029797" y="4349914"/>
                </a:cubicBezTo>
                <a:close/>
                <a:moveTo>
                  <a:pt x="3722775" y="4341193"/>
                </a:moveTo>
                <a:cubicBezTo>
                  <a:pt x="3742407" y="4342984"/>
                  <a:pt x="3759897" y="4355521"/>
                  <a:pt x="3765607" y="4375580"/>
                </a:cubicBezTo>
                <a:cubicBezTo>
                  <a:pt x="3775127" y="4402325"/>
                  <a:pt x="3759897" y="4430981"/>
                  <a:pt x="3733245" y="4438622"/>
                </a:cubicBezTo>
                <a:cubicBezTo>
                  <a:pt x="3733245" y="4438622"/>
                  <a:pt x="3733245" y="4438622"/>
                  <a:pt x="3392486" y="4551335"/>
                </a:cubicBezTo>
                <a:cubicBezTo>
                  <a:pt x="3365834" y="4560887"/>
                  <a:pt x="3337279" y="4545604"/>
                  <a:pt x="3329664" y="4518858"/>
                </a:cubicBezTo>
                <a:cubicBezTo>
                  <a:pt x="3327761" y="4515038"/>
                  <a:pt x="3325857" y="4509306"/>
                  <a:pt x="3325857" y="4503575"/>
                </a:cubicBezTo>
                <a:cubicBezTo>
                  <a:pt x="3325857" y="4482561"/>
                  <a:pt x="3339183" y="4463457"/>
                  <a:pt x="3360123" y="4455816"/>
                </a:cubicBezTo>
                <a:cubicBezTo>
                  <a:pt x="3360123" y="4455816"/>
                  <a:pt x="3360123" y="4455816"/>
                  <a:pt x="3702787" y="4343103"/>
                </a:cubicBezTo>
                <a:cubicBezTo>
                  <a:pt x="3709449" y="4341193"/>
                  <a:pt x="3716231" y="4340596"/>
                  <a:pt x="3722775" y="4341193"/>
                </a:cubicBezTo>
                <a:close/>
                <a:moveTo>
                  <a:pt x="2589285" y="4341193"/>
                </a:moveTo>
                <a:cubicBezTo>
                  <a:pt x="2608917" y="4342984"/>
                  <a:pt x="2626407" y="4355521"/>
                  <a:pt x="2632118" y="4375580"/>
                </a:cubicBezTo>
                <a:cubicBezTo>
                  <a:pt x="2641636" y="4402325"/>
                  <a:pt x="2626407" y="4430981"/>
                  <a:pt x="2599755" y="4438622"/>
                </a:cubicBezTo>
                <a:cubicBezTo>
                  <a:pt x="2599755" y="4438622"/>
                  <a:pt x="2599755" y="4438622"/>
                  <a:pt x="2258996" y="4551335"/>
                </a:cubicBezTo>
                <a:cubicBezTo>
                  <a:pt x="2232344" y="4560887"/>
                  <a:pt x="2203789" y="4545604"/>
                  <a:pt x="2196174" y="4518858"/>
                </a:cubicBezTo>
                <a:cubicBezTo>
                  <a:pt x="2194271" y="4515038"/>
                  <a:pt x="2192367" y="4509306"/>
                  <a:pt x="2192367" y="4503575"/>
                </a:cubicBezTo>
                <a:cubicBezTo>
                  <a:pt x="2192367" y="4482561"/>
                  <a:pt x="2205693" y="4463457"/>
                  <a:pt x="2226633" y="4455816"/>
                </a:cubicBezTo>
                <a:cubicBezTo>
                  <a:pt x="2226633" y="4455816"/>
                  <a:pt x="2226633" y="4455816"/>
                  <a:pt x="2569296" y="4343103"/>
                </a:cubicBezTo>
                <a:cubicBezTo>
                  <a:pt x="2575959" y="4341193"/>
                  <a:pt x="2582741" y="4340596"/>
                  <a:pt x="2589285" y="4341193"/>
                </a:cubicBezTo>
                <a:close/>
                <a:moveTo>
                  <a:pt x="3152162" y="4331988"/>
                </a:moveTo>
                <a:cubicBezTo>
                  <a:pt x="3172554" y="4334403"/>
                  <a:pt x="3190008" y="4348353"/>
                  <a:pt x="3195706" y="4369816"/>
                </a:cubicBezTo>
                <a:cubicBezTo>
                  <a:pt x="3205205" y="4396525"/>
                  <a:pt x="3188108" y="4427050"/>
                  <a:pt x="3161512" y="4434681"/>
                </a:cubicBezTo>
                <a:cubicBezTo>
                  <a:pt x="3161512" y="4434681"/>
                  <a:pt x="3161512" y="4434681"/>
                  <a:pt x="2819564" y="4535794"/>
                </a:cubicBezTo>
                <a:cubicBezTo>
                  <a:pt x="2791068" y="4543425"/>
                  <a:pt x="2762572" y="4528162"/>
                  <a:pt x="2753074" y="4499546"/>
                </a:cubicBezTo>
                <a:cubicBezTo>
                  <a:pt x="2753074" y="4495730"/>
                  <a:pt x="2751174" y="4490007"/>
                  <a:pt x="2751174" y="4486191"/>
                </a:cubicBezTo>
                <a:cubicBezTo>
                  <a:pt x="2751174" y="4463298"/>
                  <a:pt x="2766372" y="4442312"/>
                  <a:pt x="2789168" y="4434681"/>
                </a:cubicBezTo>
                <a:cubicBezTo>
                  <a:pt x="2789168" y="4434681"/>
                  <a:pt x="2789168" y="4434681"/>
                  <a:pt x="3131116" y="4333568"/>
                </a:cubicBezTo>
                <a:cubicBezTo>
                  <a:pt x="3138240" y="4331660"/>
                  <a:pt x="3145364" y="4331183"/>
                  <a:pt x="3152162" y="4331988"/>
                </a:cubicBezTo>
                <a:close/>
                <a:moveTo>
                  <a:pt x="6500077" y="4065058"/>
                </a:moveTo>
                <a:cubicBezTo>
                  <a:pt x="6509825" y="4068165"/>
                  <a:pt x="6518385" y="4074857"/>
                  <a:pt x="6523141" y="4084416"/>
                </a:cubicBezTo>
                <a:cubicBezTo>
                  <a:pt x="6532651" y="4103536"/>
                  <a:pt x="6525043" y="4128391"/>
                  <a:pt x="6506021" y="4137951"/>
                </a:cubicBezTo>
                <a:cubicBezTo>
                  <a:pt x="6506021" y="4137951"/>
                  <a:pt x="6506021" y="4137951"/>
                  <a:pt x="6167435" y="4310027"/>
                </a:cubicBezTo>
                <a:cubicBezTo>
                  <a:pt x="6148413" y="4319587"/>
                  <a:pt x="6123685" y="4311939"/>
                  <a:pt x="6114175" y="4292819"/>
                </a:cubicBezTo>
                <a:cubicBezTo>
                  <a:pt x="6112273" y="4287084"/>
                  <a:pt x="6110371" y="4279436"/>
                  <a:pt x="6110371" y="4273700"/>
                </a:cubicBezTo>
                <a:cubicBezTo>
                  <a:pt x="6110371" y="4260316"/>
                  <a:pt x="6117979" y="4245020"/>
                  <a:pt x="6131293" y="4239285"/>
                </a:cubicBezTo>
                <a:cubicBezTo>
                  <a:pt x="6131293" y="4239285"/>
                  <a:pt x="6131293" y="4239285"/>
                  <a:pt x="6469879" y="4067209"/>
                </a:cubicBezTo>
                <a:cubicBezTo>
                  <a:pt x="6479389" y="4062429"/>
                  <a:pt x="6490327" y="4061951"/>
                  <a:pt x="6500077" y="4065058"/>
                </a:cubicBezTo>
                <a:close/>
                <a:moveTo>
                  <a:pt x="5941081" y="4054778"/>
                </a:moveTo>
                <a:cubicBezTo>
                  <a:pt x="5957333" y="4053614"/>
                  <a:pt x="5973051" y="4062925"/>
                  <a:pt x="5980193" y="4078680"/>
                </a:cubicBezTo>
                <a:cubicBezTo>
                  <a:pt x="5989719" y="4099688"/>
                  <a:pt x="5982099" y="4124515"/>
                  <a:pt x="5961143" y="4135973"/>
                </a:cubicBezTo>
                <a:cubicBezTo>
                  <a:pt x="5961143" y="4135973"/>
                  <a:pt x="5961143" y="4135973"/>
                  <a:pt x="5622049" y="4292575"/>
                </a:cubicBezTo>
                <a:cubicBezTo>
                  <a:pt x="5601093" y="4302124"/>
                  <a:pt x="5574423" y="4292575"/>
                  <a:pt x="5564899" y="4271567"/>
                </a:cubicBezTo>
                <a:cubicBezTo>
                  <a:pt x="5562993" y="4265838"/>
                  <a:pt x="5561087" y="4260109"/>
                  <a:pt x="5561087" y="4254379"/>
                </a:cubicBezTo>
                <a:cubicBezTo>
                  <a:pt x="5561087" y="4239101"/>
                  <a:pt x="5570613" y="4223823"/>
                  <a:pt x="5585853" y="4216184"/>
                </a:cubicBezTo>
                <a:cubicBezTo>
                  <a:pt x="5585853" y="4216184"/>
                  <a:pt x="5585853" y="4216184"/>
                  <a:pt x="5924949" y="4059583"/>
                </a:cubicBezTo>
                <a:cubicBezTo>
                  <a:pt x="5930187" y="4056718"/>
                  <a:pt x="5935665" y="4055166"/>
                  <a:pt x="5941081" y="4054778"/>
                </a:cubicBezTo>
                <a:close/>
                <a:moveTo>
                  <a:pt x="383168" y="4054778"/>
                </a:moveTo>
                <a:cubicBezTo>
                  <a:pt x="399421" y="4053614"/>
                  <a:pt x="415137" y="4062925"/>
                  <a:pt x="422281" y="4078680"/>
                </a:cubicBezTo>
                <a:cubicBezTo>
                  <a:pt x="431806" y="4099688"/>
                  <a:pt x="424186" y="4124515"/>
                  <a:pt x="401326" y="4135973"/>
                </a:cubicBezTo>
                <a:cubicBezTo>
                  <a:pt x="401326" y="4135973"/>
                  <a:pt x="401326" y="4135973"/>
                  <a:pt x="62231" y="4292575"/>
                </a:cubicBezTo>
                <a:cubicBezTo>
                  <a:pt x="41276" y="4302124"/>
                  <a:pt x="16510" y="4292575"/>
                  <a:pt x="6985" y="4271567"/>
                </a:cubicBezTo>
                <a:cubicBezTo>
                  <a:pt x="5080" y="4265838"/>
                  <a:pt x="3175" y="4260109"/>
                  <a:pt x="3175" y="4254379"/>
                </a:cubicBezTo>
                <a:cubicBezTo>
                  <a:pt x="3175" y="4239101"/>
                  <a:pt x="12700" y="4223823"/>
                  <a:pt x="27940" y="4216184"/>
                </a:cubicBezTo>
                <a:cubicBezTo>
                  <a:pt x="27940" y="4216184"/>
                  <a:pt x="27940" y="4216184"/>
                  <a:pt x="367035" y="4059583"/>
                </a:cubicBezTo>
                <a:cubicBezTo>
                  <a:pt x="372274" y="4056718"/>
                  <a:pt x="377751" y="4055166"/>
                  <a:pt x="383168" y="4054778"/>
                </a:cubicBezTo>
                <a:close/>
                <a:moveTo>
                  <a:pt x="5394113" y="4046334"/>
                </a:moveTo>
                <a:cubicBezTo>
                  <a:pt x="5411717" y="4046513"/>
                  <a:pt x="5428517" y="4056898"/>
                  <a:pt x="5435665" y="4072655"/>
                </a:cubicBezTo>
                <a:cubicBezTo>
                  <a:pt x="5445199" y="4095575"/>
                  <a:pt x="5433759" y="4122314"/>
                  <a:pt x="5410883" y="4131864"/>
                </a:cubicBezTo>
                <a:cubicBezTo>
                  <a:pt x="5410883" y="4131864"/>
                  <a:pt x="5410883" y="4131864"/>
                  <a:pt x="5071541" y="4275111"/>
                </a:cubicBezTo>
                <a:cubicBezTo>
                  <a:pt x="5048665" y="4284661"/>
                  <a:pt x="5021975" y="4275111"/>
                  <a:pt x="5012443" y="4252191"/>
                </a:cubicBezTo>
                <a:cubicBezTo>
                  <a:pt x="5010537" y="4246462"/>
                  <a:pt x="5008631" y="4240732"/>
                  <a:pt x="5008631" y="4235002"/>
                </a:cubicBezTo>
                <a:cubicBezTo>
                  <a:pt x="5008631" y="4217812"/>
                  <a:pt x="5020069" y="4200622"/>
                  <a:pt x="5037227" y="4192983"/>
                </a:cubicBezTo>
                <a:cubicBezTo>
                  <a:pt x="5037227" y="4192983"/>
                  <a:pt x="5037227" y="4192983"/>
                  <a:pt x="5376567" y="4049736"/>
                </a:cubicBezTo>
                <a:cubicBezTo>
                  <a:pt x="5382287" y="4047348"/>
                  <a:pt x="5388245" y="4046274"/>
                  <a:pt x="5394113" y="4046334"/>
                </a:cubicBezTo>
                <a:close/>
                <a:moveTo>
                  <a:pt x="926790" y="4046333"/>
                </a:moveTo>
                <a:cubicBezTo>
                  <a:pt x="944408" y="4046513"/>
                  <a:pt x="961220" y="4056898"/>
                  <a:pt x="968374" y="4072655"/>
                </a:cubicBezTo>
                <a:cubicBezTo>
                  <a:pt x="977913" y="4095575"/>
                  <a:pt x="966466" y="4122314"/>
                  <a:pt x="945480" y="4131864"/>
                </a:cubicBezTo>
                <a:cubicBezTo>
                  <a:pt x="945480" y="4131864"/>
                  <a:pt x="945480" y="4131864"/>
                  <a:pt x="603982" y="4275111"/>
                </a:cubicBezTo>
                <a:cubicBezTo>
                  <a:pt x="581088" y="4284661"/>
                  <a:pt x="554379" y="4275111"/>
                  <a:pt x="544840" y="4252191"/>
                </a:cubicBezTo>
                <a:cubicBezTo>
                  <a:pt x="542932" y="4246462"/>
                  <a:pt x="542932" y="4240732"/>
                  <a:pt x="542932" y="4235002"/>
                </a:cubicBezTo>
                <a:cubicBezTo>
                  <a:pt x="542932" y="4217812"/>
                  <a:pt x="552471" y="4200622"/>
                  <a:pt x="569641" y="4192983"/>
                </a:cubicBezTo>
                <a:cubicBezTo>
                  <a:pt x="569641" y="4192983"/>
                  <a:pt x="569641" y="4192983"/>
                  <a:pt x="909232" y="4049736"/>
                </a:cubicBezTo>
                <a:cubicBezTo>
                  <a:pt x="914956" y="4047348"/>
                  <a:pt x="920918" y="4046274"/>
                  <a:pt x="926790" y="4046333"/>
                </a:cubicBezTo>
                <a:close/>
                <a:moveTo>
                  <a:pt x="4823945" y="4041415"/>
                </a:moveTo>
                <a:cubicBezTo>
                  <a:pt x="4848675" y="4033836"/>
                  <a:pt x="4875307" y="4045204"/>
                  <a:pt x="4884817" y="4069836"/>
                </a:cubicBezTo>
                <a:cubicBezTo>
                  <a:pt x="4894329" y="4092573"/>
                  <a:pt x="4881013" y="4120995"/>
                  <a:pt x="4856283" y="4130469"/>
                </a:cubicBezTo>
                <a:cubicBezTo>
                  <a:pt x="4856283" y="4130469"/>
                  <a:pt x="4856283" y="4130469"/>
                  <a:pt x="4515773" y="4259312"/>
                </a:cubicBezTo>
                <a:cubicBezTo>
                  <a:pt x="4492947" y="4268786"/>
                  <a:pt x="4464411" y="4255522"/>
                  <a:pt x="4454901" y="4230891"/>
                </a:cubicBezTo>
                <a:cubicBezTo>
                  <a:pt x="4452999" y="4225206"/>
                  <a:pt x="4452999" y="4219522"/>
                  <a:pt x="4452999" y="4215733"/>
                </a:cubicBezTo>
                <a:cubicBezTo>
                  <a:pt x="4452999" y="4196785"/>
                  <a:pt x="4464411" y="4177837"/>
                  <a:pt x="4483435" y="4170258"/>
                </a:cubicBezTo>
                <a:cubicBezTo>
                  <a:pt x="4483435" y="4170258"/>
                  <a:pt x="4483435" y="4170258"/>
                  <a:pt x="4823945" y="4041415"/>
                </a:cubicBezTo>
                <a:close/>
                <a:moveTo>
                  <a:pt x="1458398" y="4041415"/>
                </a:moveTo>
                <a:cubicBezTo>
                  <a:pt x="1483128" y="4033836"/>
                  <a:pt x="1509760" y="4045204"/>
                  <a:pt x="1519272" y="4069836"/>
                </a:cubicBezTo>
                <a:cubicBezTo>
                  <a:pt x="1528783" y="4092573"/>
                  <a:pt x="1517369" y="4120995"/>
                  <a:pt x="1492639" y="4130469"/>
                </a:cubicBezTo>
                <a:cubicBezTo>
                  <a:pt x="1492639" y="4130469"/>
                  <a:pt x="1492639" y="4130469"/>
                  <a:pt x="1152130" y="4259312"/>
                </a:cubicBezTo>
                <a:cubicBezTo>
                  <a:pt x="1127400" y="4268786"/>
                  <a:pt x="1100768" y="4255522"/>
                  <a:pt x="1091257" y="4230891"/>
                </a:cubicBezTo>
                <a:cubicBezTo>
                  <a:pt x="1089354" y="4225206"/>
                  <a:pt x="1087452" y="4219522"/>
                  <a:pt x="1087452" y="4215733"/>
                </a:cubicBezTo>
                <a:cubicBezTo>
                  <a:pt x="1087452" y="4196785"/>
                  <a:pt x="1098866" y="4177837"/>
                  <a:pt x="1117889" y="4170258"/>
                </a:cubicBezTo>
                <a:cubicBezTo>
                  <a:pt x="1117889" y="4170258"/>
                  <a:pt x="1117889" y="4170258"/>
                  <a:pt x="1458398" y="4041415"/>
                </a:cubicBezTo>
                <a:close/>
                <a:moveTo>
                  <a:pt x="4286123" y="4031097"/>
                </a:moveTo>
                <a:cubicBezTo>
                  <a:pt x="4305837" y="4032526"/>
                  <a:pt x="4323401" y="4045742"/>
                  <a:pt x="4329137" y="4064316"/>
                </a:cubicBezTo>
                <a:cubicBezTo>
                  <a:pt x="4338695" y="4090986"/>
                  <a:pt x="4325313" y="4119561"/>
                  <a:pt x="4298549" y="4127181"/>
                </a:cubicBezTo>
                <a:cubicBezTo>
                  <a:pt x="4298549" y="4127181"/>
                  <a:pt x="4298549" y="4127181"/>
                  <a:pt x="3956339" y="4243386"/>
                </a:cubicBezTo>
                <a:cubicBezTo>
                  <a:pt x="3929575" y="4252911"/>
                  <a:pt x="3900897" y="4237671"/>
                  <a:pt x="3893251" y="4212906"/>
                </a:cubicBezTo>
                <a:cubicBezTo>
                  <a:pt x="3891339" y="4207191"/>
                  <a:pt x="3889427" y="4201476"/>
                  <a:pt x="3889427" y="4195761"/>
                </a:cubicBezTo>
                <a:cubicBezTo>
                  <a:pt x="3889427" y="4174806"/>
                  <a:pt x="3902809" y="4155756"/>
                  <a:pt x="3923839" y="4150041"/>
                </a:cubicBezTo>
                <a:cubicBezTo>
                  <a:pt x="3923839" y="4150041"/>
                  <a:pt x="3923839" y="4150041"/>
                  <a:pt x="4266049" y="4033836"/>
                </a:cubicBezTo>
                <a:cubicBezTo>
                  <a:pt x="4272741" y="4031455"/>
                  <a:pt x="4279551" y="4030621"/>
                  <a:pt x="4286123" y="4031097"/>
                </a:cubicBezTo>
                <a:close/>
                <a:moveTo>
                  <a:pt x="2031420" y="4031097"/>
                </a:moveTo>
                <a:cubicBezTo>
                  <a:pt x="2050298" y="4032526"/>
                  <a:pt x="2068107" y="4045742"/>
                  <a:pt x="2075230" y="4064316"/>
                </a:cubicBezTo>
                <a:cubicBezTo>
                  <a:pt x="2082828" y="4090986"/>
                  <a:pt x="2069531" y="4119561"/>
                  <a:pt x="2042936" y="4127181"/>
                </a:cubicBezTo>
                <a:cubicBezTo>
                  <a:pt x="2042936" y="4127181"/>
                  <a:pt x="2042936" y="4127181"/>
                  <a:pt x="1702908" y="4243386"/>
                </a:cubicBezTo>
                <a:cubicBezTo>
                  <a:pt x="1676314" y="4252911"/>
                  <a:pt x="1649720" y="4237671"/>
                  <a:pt x="1640222" y="4212906"/>
                </a:cubicBezTo>
                <a:cubicBezTo>
                  <a:pt x="1638322" y="4207191"/>
                  <a:pt x="1638322" y="4201476"/>
                  <a:pt x="1638322" y="4195761"/>
                </a:cubicBezTo>
                <a:cubicBezTo>
                  <a:pt x="1638322" y="4174806"/>
                  <a:pt x="1649720" y="4155756"/>
                  <a:pt x="1670615" y="4150041"/>
                </a:cubicBezTo>
                <a:cubicBezTo>
                  <a:pt x="1670615" y="4150041"/>
                  <a:pt x="1670615" y="4150041"/>
                  <a:pt x="2012543" y="4033836"/>
                </a:cubicBezTo>
                <a:cubicBezTo>
                  <a:pt x="2018717" y="4031455"/>
                  <a:pt x="2025128" y="4030621"/>
                  <a:pt x="2031420" y="4031097"/>
                </a:cubicBezTo>
                <a:close/>
                <a:moveTo>
                  <a:pt x="3725869" y="4022416"/>
                </a:moveTo>
                <a:cubicBezTo>
                  <a:pt x="3745631" y="4024827"/>
                  <a:pt x="3763517" y="4038758"/>
                  <a:pt x="3770671" y="4060189"/>
                </a:cubicBezTo>
                <a:cubicBezTo>
                  <a:pt x="3778301" y="4086859"/>
                  <a:pt x="3763039" y="4115434"/>
                  <a:pt x="3734425" y="4124959"/>
                </a:cubicBezTo>
                <a:cubicBezTo>
                  <a:pt x="3734425" y="4124959"/>
                  <a:pt x="3734425" y="4124959"/>
                  <a:pt x="3391039" y="4225924"/>
                </a:cubicBezTo>
                <a:cubicBezTo>
                  <a:pt x="3364332" y="4235449"/>
                  <a:pt x="3335716" y="4218304"/>
                  <a:pt x="3326178" y="4191634"/>
                </a:cubicBezTo>
                <a:cubicBezTo>
                  <a:pt x="3326178" y="4185919"/>
                  <a:pt x="3324270" y="4182109"/>
                  <a:pt x="3324270" y="4176394"/>
                </a:cubicBezTo>
                <a:cubicBezTo>
                  <a:pt x="3324270" y="4153534"/>
                  <a:pt x="3339532" y="4132579"/>
                  <a:pt x="3362424" y="4126864"/>
                </a:cubicBezTo>
                <a:cubicBezTo>
                  <a:pt x="3362424" y="4126864"/>
                  <a:pt x="3362424" y="4126864"/>
                  <a:pt x="3705809" y="4023994"/>
                </a:cubicBezTo>
                <a:cubicBezTo>
                  <a:pt x="3712487" y="4022089"/>
                  <a:pt x="3719283" y="4021613"/>
                  <a:pt x="3725869" y="4022416"/>
                </a:cubicBezTo>
                <a:close/>
                <a:moveTo>
                  <a:pt x="2590975" y="4022416"/>
                </a:moveTo>
                <a:cubicBezTo>
                  <a:pt x="2610668" y="4024827"/>
                  <a:pt x="2628490" y="4038758"/>
                  <a:pt x="2635619" y="4060189"/>
                </a:cubicBezTo>
                <a:cubicBezTo>
                  <a:pt x="2643223" y="4086859"/>
                  <a:pt x="2628015" y="4115434"/>
                  <a:pt x="2599499" y="4124959"/>
                </a:cubicBezTo>
                <a:cubicBezTo>
                  <a:pt x="2599499" y="4124959"/>
                  <a:pt x="2599499" y="4124959"/>
                  <a:pt x="2257315" y="4225924"/>
                </a:cubicBezTo>
                <a:cubicBezTo>
                  <a:pt x="2230701" y="4235449"/>
                  <a:pt x="2202185" y="4218304"/>
                  <a:pt x="2192680" y="4191634"/>
                </a:cubicBezTo>
                <a:cubicBezTo>
                  <a:pt x="2190779" y="4185919"/>
                  <a:pt x="2190779" y="4182109"/>
                  <a:pt x="2190779" y="4176394"/>
                </a:cubicBezTo>
                <a:cubicBezTo>
                  <a:pt x="2190779" y="4153534"/>
                  <a:pt x="2205987" y="4132579"/>
                  <a:pt x="2228800" y="4126864"/>
                </a:cubicBezTo>
                <a:cubicBezTo>
                  <a:pt x="2228800" y="4126864"/>
                  <a:pt x="2228800" y="4126864"/>
                  <a:pt x="2570984" y="4023994"/>
                </a:cubicBezTo>
                <a:cubicBezTo>
                  <a:pt x="2577638" y="4022089"/>
                  <a:pt x="2584410" y="4021613"/>
                  <a:pt x="2590975" y="4022416"/>
                </a:cubicBezTo>
                <a:close/>
                <a:moveTo>
                  <a:pt x="3155340" y="4014776"/>
                </a:moveTo>
                <a:cubicBezTo>
                  <a:pt x="3176383" y="4017723"/>
                  <a:pt x="3195008" y="4032725"/>
                  <a:pt x="3200739" y="4054156"/>
                </a:cubicBezTo>
                <a:cubicBezTo>
                  <a:pt x="3208380" y="4084636"/>
                  <a:pt x="3189277" y="4113211"/>
                  <a:pt x="3160623" y="4120831"/>
                </a:cubicBezTo>
                <a:cubicBezTo>
                  <a:pt x="3160623" y="4120831"/>
                  <a:pt x="3160623" y="4120831"/>
                  <a:pt x="2816770" y="4210366"/>
                </a:cubicBezTo>
                <a:cubicBezTo>
                  <a:pt x="2786205" y="4217986"/>
                  <a:pt x="2757550" y="4198936"/>
                  <a:pt x="2749909" y="4170361"/>
                </a:cubicBezTo>
                <a:cubicBezTo>
                  <a:pt x="2747999" y="4166551"/>
                  <a:pt x="2747999" y="4160836"/>
                  <a:pt x="2747999" y="4157026"/>
                </a:cubicBezTo>
                <a:cubicBezTo>
                  <a:pt x="2747999" y="4132261"/>
                  <a:pt x="2765192" y="4109401"/>
                  <a:pt x="2788115" y="4103686"/>
                </a:cubicBezTo>
                <a:cubicBezTo>
                  <a:pt x="2788115" y="4103686"/>
                  <a:pt x="2788115" y="4103686"/>
                  <a:pt x="3133879" y="4016056"/>
                </a:cubicBezTo>
                <a:cubicBezTo>
                  <a:pt x="3141043" y="4014151"/>
                  <a:pt x="3148326" y="4013794"/>
                  <a:pt x="3155340" y="4014776"/>
                </a:cubicBezTo>
                <a:close/>
                <a:moveTo>
                  <a:pt x="6500077" y="3741436"/>
                </a:moveTo>
                <a:cubicBezTo>
                  <a:pt x="6509825" y="3744778"/>
                  <a:pt x="6518385" y="3751939"/>
                  <a:pt x="6523141" y="3762442"/>
                </a:cubicBezTo>
                <a:cubicBezTo>
                  <a:pt x="6532651" y="3781538"/>
                  <a:pt x="6525043" y="3804453"/>
                  <a:pt x="6506021" y="3814001"/>
                </a:cubicBezTo>
                <a:cubicBezTo>
                  <a:pt x="6506021" y="3814001"/>
                  <a:pt x="6506021" y="3814001"/>
                  <a:pt x="6167435" y="3987775"/>
                </a:cubicBezTo>
                <a:cubicBezTo>
                  <a:pt x="6148413" y="3997323"/>
                  <a:pt x="6125587" y="3989684"/>
                  <a:pt x="6114175" y="3970588"/>
                </a:cubicBezTo>
                <a:cubicBezTo>
                  <a:pt x="6112273" y="3964860"/>
                  <a:pt x="6110371" y="3957221"/>
                  <a:pt x="6110371" y="3951492"/>
                </a:cubicBezTo>
                <a:cubicBezTo>
                  <a:pt x="6110371" y="3938125"/>
                  <a:pt x="6117979" y="3922848"/>
                  <a:pt x="6131293" y="3917120"/>
                </a:cubicBezTo>
                <a:cubicBezTo>
                  <a:pt x="6131293" y="3917120"/>
                  <a:pt x="6131293" y="3917120"/>
                  <a:pt x="6469879" y="3743346"/>
                </a:cubicBezTo>
                <a:cubicBezTo>
                  <a:pt x="6479391" y="3738572"/>
                  <a:pt x="6490327" y="3738095"/>
                  <a:pt x="6500077" y="3741436"/>
                </a:cubicBezTo>
                <a:close/>
                <a:moveTo>
                  <a:pt x="5958263" y="3734455"/>
                </a:moveTo>
                <a:cubicBezTo>
                  <a:pt x="5968533" y="3738274"/>
                  <a:pt x="5977609" y="3745914"/>
                  <a:pt x="5983341" y="3756417"/>
                </a:cubicBezTo>
                <a:cubicBezTo>
                  <a:pt x="5992895" y="3777425"/>
                  <a:pt x="5983341" y="3804162"/>
                  <a:pt x="5962323" y="3813710"/>
                </a:cubicBezTo>
                <a:cubicBezTo>
                  <a:pt x="5962323" y="3813710"/>
                  <a:pt x="5962323" y="3813710"/>
                  <a:pt x="5622229" y="3970312"/>
                </a:cubicBezTo>
                <a:cubicBezTo>
                  <a:pt x="5599301" y="3979861"/>
                  <a:pt x="5574463" y="3970312"/>
                  <a:pt x="5564909" y="3949304"/>
                </a:cubicBezTo>
                <a:cubicBezTo>
                  <a:pt x="5562999" y="3943575"/>
                  <a:pt x="5561087" y="3935936"/>
                  <a:pt x="5561087" y="3930207"/>
                </a:cubicBezTo>
                <a:cubicBezTo>
                  <a:pt x="5561087" y="3914929"/>
                  <a:pt x="5570641" y="3899650"/>
                  <a:pt x="5585927" y="3892011"/>
                </a:cubicBezTo>
                <a:cubicBezTo>
                  <a:pt x="5585927" y="3892011"/>
                  <a:pt x="5585927" y="3892011"/>
                  <a:pt x="5926021" y="3735410"/>
                </a:cubicBezTo>
                <a:cubicBezTo>
                  <a:pt x="5936531" y="3730635"/>
                  <a:pt x="5947995" y="3730635"/>
                  <a:pt x="5958263" y="3734455"/>
                </a:cubicBezTo>
                <a:close/>
                <a:moveTo>
                  <a:pt x="398944" y="3734455"/>
                </a:moveTo>
                <a:cubicBezTo>
                  <a:pt x="408946" y="3738274"/>
                  <a:pt x="417519" y="3745914"/>
                  <a:pt x="422281" y="3756417"/>
                </a:cubicBezTo>
                <a:cubicBezTo>
                  <a:pt x="431806" y="3777425"/>
                  <a:pt x="424186" y="3804162"/>
                  <a:pt x="401326" y="3813710"/>
                </a:cubicBezTo>
                <a:cubicBezTo>
                  <a:pt x="401326" y="3813710"/>
                  <a:pt x="401326" y="3813710"/>
                  <a:pt x="62231" y="3970312"/>
                </a:cubicBezTo>
                <a:cubicBezTo>
                  <a:pt x="41276" y="3979861"/>
                  <a:pt x="16510" y="3970312"/>
                  <a:pt x="6985" y="3949304"/>
                </a:cubicBezTo>
                <a:cubicBezTo>
                  <a:pt x="5080" y="3943575"/>
                  <a:pt x="3175" y="3935936"/>
                  <a:pt x="3175" y="3930207"/>
                </a:cubicBezTo>
                <a:cubicBezTo>
                  <a:pt x="3175" y="3914929"/>
                  <a:pt x="12700" y="3899650"/>
                  <a:pt x="27940" y="3892011"/>
                </a:cubicBezTo>
                <a:cubicBezTo>
                  <a:pt x="27940" y="3892011"/>
                  <a:pt x="27940" y="3892011"/>
                  <a:pt x="367035" y="3735410"/>
                </a:cubicBezTo>
                <a:cubicBezTo>
                  <a:pt x="377513" y="3730635"/>
                  <a:pt x="388943" y="3730635"/>
                  <a:pt x="398944" y="3734455"/>
                </a:cubicBezTo>
                <a:close/>
                <a:moveTo>
                  <a:pt x="5394113" y="3725656"/>
                </a:moveTo>
                <a:cubicBezTo>
                  <a:pt x="5411717" y="3725923"/>
                  <a:pt x="5428517" y="3736611"/>
                  <a:pt x="5435665" y="3753711"/>
                </a:cubicBezTo>
                <a:cubicBezTo>
                  <a:pt x="5445199" y="3776511"/>
                  <a:pt x="5433759" y="3803111"/>
                  <a:pt x="5410883" y="3812611"/>
                </a:cubicBezTo>
                <a:cubicBezTo>
                  <a:pt x="5410883" y="3812611"/>
                  <a:pt x="5410883" y="3812611"/>
                  <a:pt x="5071541" y="3951311"/>
                </a:cubicBezTo>
                <a:cubicBezTo>
                  <a:pt x="5046759" y="3960811"/>
                  <a:pt x="5021975" y="3951311"/>
                  <a:pt x="5012443" y="3928511"/>
                </a:cubicBezTo>
                <a:cubicBezTo>
                  <a:pt x="5008631" y="3922811"/>
                  <a:pt x="5008631" y="3917111"/>
                  <a:pt x="5008631" y="3911411"/>
                </a:cubicBezTo>
                <a:cubicBezTo>
                  <a:pt x="5008631" y="3892411"/>
                  <a:pt x="5018163" y="3875311"/>
                  <a:pt x="5037227" y="3869611"/>
                </a:cubicBezTo>
                <a:cubicBezTo>
                  <a:pt x="5037227" y="3869611"/>
                  <a:pt x="5037227" y="3869611"/>
                  <a:pt x="5376567" y="3729011"/>
                </a:cubicBezTo>
                <a:cubicBezTo>
                  <a:pt x="5382287" y="3726636"/>
                  <a:pt x="5388245" y="3725567"/>
                  <a:pt x="5394113" y="3725656"/>
                </a:cubicBezTo>
                <a:close/>
                <a:moveTo>
                  <a:pt x="927631" y="3725656"/>
                </a:moveTo>
                <a:cubicBezTo>
                  <a:pt x="945504" y="3725923"/>
                  <a:pt x="961231" y="3736611"/>
                  <a:pt x="968380" y="3753711"/>
                </a:cubicBezTo>
                <a:cubicBezTo>
                  <a:pt x="977912" y="3776511"/>
                  <a:pt x="968380" y="3803111"/>
                  <a:pt x="945503" y="3812611"/>
                </a:cubicBezTo>
                <a:cubicBezTo>
                  <a:pt x="945503" y="3812611"/>
                  <a:pt x="945503" y="3812611"/>
                  <a:pt x="604256" y="3951311"/>
                </a:cubicBezTo>
                <a:cubicBezTo>
                  <a:pt x="581379" y="3960811"/>
                  <a:pt x="554689" y="3951311"/>
                  <a:pt x="545157" y="3928511"/>
                </a:cubicBezTo>
                <a:cubicBezTo>
                  <a:pt x="543250" y="3922811"/>
                  <a:pt x="541344" y="3917111"/>
                  <a:pt x="541344" y="3911411"/>
                </a:cubicBezTo>
                <a:cubicBezTo>
                  <a:pt x="541344" y="3892411"/>
                  <a:pt x="552782" y="3875311"/>
                  <a:pt x="569940" y="3869611"/>
                </a:cubicBezTo>
                <a:cubicBezTo>
                  <a:pt x="569940" y="3869611"/>
                  <a:pt x="569940" y="3869611"/>
                  <a:pt x="909281" y="3729011"/>
                </a:cubicBezTo>
                <a:cubicBezTo>
                  <a:pt x="915477" y="3726636"/>
                  <a:pt x="921673" y="3725567"/>
                  <a:pt x="927631" y="3725656"/>
                </a:cubicBezTo>
                <a:close/>
                <a:moveTo>
                  <a:pt x="4842671" y="3718044"/>
                </a:moveTo>
                <a:cubicBezTo>
                  <a:pt x="4861539" y="3718935"/>
                  <a:pt x="4879067" y="3731046"/>
                  <a:pt x="4884791" y="3749569"/>
                </a:cubicBezTo>
                <a:cubicBezTo>
                  <a:pt x="4894329" y="3774266"/>
                  <a:pt x="4880975" y="3802763"/>
                  <a:pt x="4856173" y="3810362"/>
                </a:cubicBezTo>
                <a:cubicBezTo>
                  <a:pt x="4856173" y="3810362"/>
                  <a:pt x="4856173" y="3810362"/>
                  <a:pt x="4514687" y="3933849"/>
                </a:cubicBezTo>
                <a:cubicBezTo>
                  <a:pt x="4489885" y="3943348"/>
                  <a:pt x="4463177" y="3930049"/>
                  <a:pt x="4453639" y="3905352"/>
                </a:cubicBezTo>
                <a:cubicBezTo>
                  <a:pt x="4451731" y="3901552"/>
                  <a:pt x="4449823" y="3895853"/>
                  <a:pt x="4449823" y="3890154"/>
                </a:cubicBezTo>
                <a:cubicBezTo>
                  <a:pt x="4449823" y="3869256"/>
                  <a:pt x="4463177" y="3852158"/>
                  <a:pt x="4482255" y="3844559"/>
                </a:cubicBezTo>
                <a:cubicBezTo>
                  <a:pt x="4482255" y="3844559"/>
                  <a:pt x="4482255" y="3844559"/>
                  <a:pt x="4823743" y="3721072"/>
                </a:cubicBezTo>
                <a:cubicBezTo>
                  <a:pt x="4829943" y="3718697"/>
                  <a:pt x="4836381" y="3717747"/>
                  <a:pt x="4842671" y="3718044"/>
                </a:cubicBezTo>
                <a:close/>
                <a:moveTo>
                  <a:pt x="1478630" y="3718044"/>
                </a:moveTo>
                <a:cubicBezTo>
                  <a:pt x="1496986" y="3718935"/>
                  <a:pt x="1513738" y="3731046"/>
                  <a:pt x="1520866" y="3749569"/>
                </a:cubicBezTo>
                <a:cubicBezTo>
                  <a:pt x="1530371" y="3774266"/>
                  <a:pt x="1517064" y="3802763"/>
                  <a:pt x="1492352" y="3810362"/>
                </a:cubicBezTo>
                <a:cubicBezTo>
                  <a:pt x="1492352" y="3810362"/>
                  <a:pt x="1492352" y="3810362"/>
                  <a:pt x="1152084" y="3933849"/>
                </a:cubicBezTo>
                <a:cubicBezTo>
                  <a:pt x="1127372" y="3943348"/>
                  <a:pt x="1098858" y="3930049"/>
                  <a:pt x="1089353" y="3905352"/>
                </a:cubicBezTo>
                <a:cubicBezTo>
                  <a:pt x="1087452" y="3901552"/>
                  <a:pt x="1087452" y="3895853"/>
                  <a:pt x="1087452" y="3890154"/>
                </a:cubicBezTo>
                <a:cubicBezTo>
                  <a:pt x="1087452" y="3869256"/>
                  <a:pt x="1098858" y="3852158"/>
                  <a:pt x="1117867" y="3844559"/>
                </a:cubicBezTo>
                <a:cubicBezTo>
                  <a:pt x="1117867" y="3844559"/>
                  <a:pt x="1117867" y="3844559"/>
                  <a:pt x="1460036" y="3721072"/>
                </a:cubicBezTo>
                <a:cubicBezTo>
                  <a:pt x="1466214" y="3718697"/>
                  <a:pt x="1472511" y="3717747"/>
                  <a:pt x="1478630" y="3718044"/>
                </a:cubicBezTo>
                <a:close/>
                <a:moveTo>
                  <a:pt x="4287785" y="3710433"/>
                </a:moveTo>
                <a:cubicBezTo>
                  <a:pt x="4307473" y="3711947"/>
                  <a:pt x="4325013" y="3725481"/>
                  <a:pt x="4330739" y="3745426"/>
                </a:cubicBezTo>
                <a:cubicBezTo>
                  <a:pt x="4340283" y="3772020"/>
                  <a:pt x="4325011" y="3800514"/>
                  <a:pt x="4298285" y="3810012"/>
                </a:cubicBezTo>
                <a:cubicBezTo>
                  <a:pt x="4298285" y="3810012"/>
                  <a:pt x="4298285" y="3810012"/>
                  <a:pt x="3954657" y="3916388"/>
                </a:cubicBezTo>
                <a:cubicBezTo>
                  <a:pt x="3927929" y="3925886"/>
                  <a:pt x="3899295" y="3910689"/>
                  <a:pt x="3891659" y="3884095"/>
                </a:cubicBezTo>
                <a:cubicBezTo>
                  <a:pt x="3889749" y="3878397"/>
                  <a:pt x="3887839" y="3874597"/>
                  <a:pt x="3887839" y="3868899"/>
                </a:cubicBezTo>
                <a:cubicBezTo>
                  <a:pt x="3887839" y="3846104"/>
                  <a:pt x="3903113" y="3827108"/>
                  <a:pt x="3924111" y="3819510"/>
                </a:cubicBezTo>
                <a:cubicBezTo>
                  <a:pt x="3924111" y="3819510"/>
                  <a:pt x="3924111" y="3819510"/>
                  <a:pt x="4267741" y="3713134"/>
                </a:cubicBezTo>
                <a:cubicBezTo>
                  <a:pt x="4274423" y="3710759"/>
                  <a:pt x="4281223" y="3709928"/>
                  <a:pt x="4287785" y="3710433"/>
                </a:cubicBezTo>
                <a:close/>
                <a:moveTo>
                  <a:pt x="2033497" y="3710433"/>
                </a:moveTo>
                <a:cubicBezTo>
                  <a:pt x="2053287" y="3711947"/>
                  <a:pt x="2071197" y="3725481"/>
                  <a:pt x="2078361" y="3745426"/>
                </a:cubicBezTo>
                <a:cubicBezTo>
                  <a:pt x="2086003" y="3772020"/>
                  <a:pt x="2070720" y="3800514"/>
                  <a:pt x="2043974" y="3810012"/>
                </a:cubicBezTo>
                <a:cubicBezTo>
                  <a:pt x="2043974" y="3810012"/>
                  <a:pt x="2043974" y="3810012"/>
                  <a:pt x="1702011" y="3916388"/>
                </a:cubicBezTo>
                <a:cubicBezTo>
                  <a:pt x="1673355" y="3925886"/>
                  <a:pt x="1644699" y="3910689"/>
                  <a:pt x="1637057" y="3884095"/>
                </a:cubicBezTo>
                <a:cubicBezTo>
                  <a:pt x="1635147" y="3878397"/>
                  <a:pt x="1635147" y="3874597"/>
                  <a:pt x="1635147" y="3868899"/>
                </a:cubicBezTo>
                <a:cubicBezTo>
                  <a:pt x="1635147" y="3846104"/>
                  <a:pt x="1648520" y="3827108"/>
                  <a:pt x="1669534" y="3819510"/>
                </a:cubicBezTo>
                <a:cubicBezTo>
                  <a:pt x="1669534" y="3819510"/>
                  <a:pt x="1669534" y="3819510"/>
                  <a:pt x="2013408" y="3713134"/>
                </a:cubicBezTo>
                <a:cubicBezTo>
                  <a:pt x="2020094" y="3710759"/>
                  <a:pt x="2026900" y="3709928"/>
                  <a:pt x="2033497" y="3710433"/>
                </a:cubicBezTo>
                <a:close/>
                <a:moveTo>
                  <a:pt x="3726993" y="3702861"/>
                </a:moveTo>
                <a:cubicBezTo>
                  <a:pt x="3747979" y="3705090"/>
                  <a:pt x="3766553" y="3720426"/>
                  <a:pt x="3772267" y="3743251"/>
                </a:cubicBezTo>
                <a:cubicBezTo>
                  <a:pt x="3779887" y="3771784"/>
                  <a:pt x="3762743" y="3800316"/>
                  <a:pt x="3734167" y="3807924"/>
                </a:cubicBezTo>
                <a:cubicBezTo>
                  <a:pt x="3734167" y="3807924"/>
                  <a:pt x="3734167" y="3807924"/>
                  <a:pt x="3391263" y="3899227"/>
                </a:cubicBezTo>
                <a:cubicBezTo>
                  <a:pt x="3360783" y="3906836"/>
                  <a:pt x="3332207" y="3889717"/>
                  <a:pt x="3324587" y="3861184"/>
                </a:cubicBezTo>
                <a:cubicBezTo>
                  <a:pt x="3322682" y="3857380"/>
                  <a:pt x="3322682" y="3851674"/>
                  <a:pt x="3322682" y="3847869"/>
                </a:cubicBezTo>
                <a:cubicBezTo>
                  <a:pt x="3322682" y="3823142"/>
                  <a:pt x="3337922" y="3802218"/>
                  <a:pt x="3362688" y="3796512"/>
                </a:cubicBezTo>
                <a:cubicBezTo>
                  <a:pt x="3362688" y="3796512"/>
                  <a:pt x="3362688" y="3796512"/>
                  <a:pt x="3705593" y="3705209"/>
                </a:cubicBezTo>
                <a:cubicBezTo>
                  <a:pt x="3712737" y="3702831"/>
                  <a:pt x="3719999" y="3702118"/>
                  <a:pt x="3726993" y="3702861"/>
                </a:cubicBezTo>
                <a:close/>
                <a:moveTo>
                  <a:pt x="2593320" y="3702861"/>
                </a:moveTo>
                <a:cubicBezTo>
                  <a:pt x="2614378" y="3705090"/>
                  <a:pt x="2633017" y="3720426"/>
                  <a:pt x="2638751" y="3743251"/>
                </a:cubicBezTo>
                <a:cubicBezTo>
                  <a:pt x="2646398" y="3771784"/>
                  <a:pt x="2629193" y="3800316"/>
                  <a:pt x="2600519" y="3807924"/>
                </a:cubicBezTo>
                <a:cubicBezTo>
                  <a:pt x="2600519" y="3807924"/>
                  <a:pt x="2600519" y="3807924"/>
                  <a:pt x="2256423" y="3899227"/>
                </a:cubicBezTo>
                <a:cubicBezTo>
                  <a:pt x="2225837" y="3906836"/>
                  <a:pt x="2197162" y="3889717"/>
                  <a:pt x="2189516" y="3861184"/>
                </a:cubicBezTo>
                <a:cubicBezTo>
                  <a:pt x="2187604" y="3857380"/>
                  <a:pt x="2187604" y="3851674"/>
                  <a:pt x="2187604" y="3847869"/>
                </a:cubicBezTo>
                <a:cubicBezTo>
                  <a:pt x="2187604" y="3823142"/>
                  <a:pt x="2202897" y="3802218"/>
                  <a:pt x="2227748" y="3796512"/>
                </a:cubicBezTo>
                <a:cubicBezTo>
                  <a:pt x="2227748" y="3796512"/>
                  <a:pt x="2227748" y="3796512"/>
                  <a:pt x="2571844" y="3705209"/>
                </a:cubicBezTo>
                <a:cubicBezTo>
                  <a:pt x="2579013" y="3702831"/>
                  <a:pt x="2586301" y="3702118"/>
                  <a:pt x="2593320" y="3702861"/>
                </a:cubicBezTo>
                <a:close/>
                <a:moveTo>
                  <a:pt x="3135570" y="3696651"/>
                </a:moveTo>
                <a:cubicBezTo>
                  <a:pt x="3166092" y="3690936"/>
                  <a:pt x="3196615" y="3709986"/>
                  <a:pt x="3202337" y="3740466"/>
                </a:cubicBezTo>
                <a:cubicBezTo>
                  <a:pt x="3209968" y="3770946"/>
                  <a:pt x="3190892" y="3801426"/>
                  <a:pt x="3160369" y="3809046"/>
                </a:cubicBezTo>
                <a:cubicBezTo>
                  <a:pt x="3160369" y="3809046"/>
                  <a:pt x="3160369" y="3809046"/>
                  <a:pt x="2815087" y="3883341"/>
                </a:cubicBezTo>
                <a:cubicBezTo>
                  <a:pt x="2784565" y="3890961"/>
                  <a:pt x="2754043" y="3871911"/>
                  <a:pt x="2746412" y="3841431"/>
                </a:cubicBezTo>
                <a:cubicBezTo>
                  <a:pt x="2746412" y="3835716"/>
                  <a:pt x="2746412" y="3831906"/>
                  <a:pt x="2746412" y="3828096"/>
                </a:cubicBezTo>
                <a:cubicBezTo>
                  <a:pt x="2746412" y="3801426"/>
                  <a:pt x="2763581" y="3778566"/>
                  <a:pt x="2790288" y="3772851"/>
                </a:cubicBezTo>
                <a:cubicBezTo>
                  <a:pt x="2790288" y="3772851"/>
                  <a:pt x="2790288" y="3772851"/>
                  <a:pt x="3135570" y="3696651"/>
                </a:cubicBezTo>
                <a:close/>
                <a:moveTo>
                  <a:pt x="6499363" y="3418935"/>
                </a:moveTo>
                <a:cubicBezTo>
                  <a:pt x="6508873" y="3422039"/>
                  <a:pt x="6517433" y="3428722"/>
                  <a:pt x="6523141" y="3438269"/>
                </a:cubicBezTo>
                <a:cubicBezTo>
                  <a:pt x="6532651" y="3457365"/>
                  <a:pt x="6525043" y="3480281"/>
                  <a:pt x="6506021" y="3491738"/>
                </a:cubicBezTo>
                <a:cubicBezTo>
                  <a:pt x="6506021" y="3491738"/>
                  <a:pt x="6506021" y="3491738"/>
                  <a:pt x="6167435" y="3663602"/>
                </a:cubicBezTo>
                <a:cubicBezTo>
                  <a:pt x="6148413" y="3675060"/>
                  <a:pt x="6125587" y="3667421"/>
                  <a:pt x="6116077" y="3648325"/>
                </a:cubicBezTo>
                <a:cubicBezTo>
                  <a:pt x="6112273" y="3642597"/>
                  <a:pt x="6110371" y="3634958"/>
                  <a:pt x="6110371" y="3629229"/>
                </a:cubicBezTo>
                <a:cubicBezTo>
                  <a:pt x="6110371" y="3615862"/>
                  <a:pt x="6117979" y="3602495"/>
                  <a:pt x="6131293" y="3594857"/>
                </a:cubicBezTo>
                <a:cubicBezTo>
                  <a:pt x="6131293" y="3594857"/>
                  <a:pt x="6131293" y="3594857"/>
                  <a:pt x="6469879" y="3421085"/>
                </a:cubicBezTo>
                <a:cubicBezTo>
                  <a:pt x="6479391" y="3416311"/>
                  <a:pt x="6489853" y="3415834"/>
                  <a:pt x="6499363" y="3418935"/>
                </a:cubicBezTo>
                <a:close/>
                <a:moveTo>
                  <a:pt x="5958981" y="3413738"/>
                </a:moveTo>
                <a:cubicBezTo>
                  <a:pt x="5969489" y="3417537"/>
                  <a:pt x="5978565" y="3425137"/>
                  <a:pt x="5983341" y="3435588"/>
                </a:cubicBezTo>
                <a:cubicBezTo>
                  <a:pt x="5992895" y="3456490"/>
                  <a:pt x="5983341" y="3483093"/>
                  <a:pt x="5962323" y="3492594"/>
                </a:cubicBezTo>
                <a:cubicBezTo>
                  <a:pt x="5962323" y="3492594"/>
                  <a:pt x="5962323" y="3492594"/>
                  <a:pt x="5622229" y="3646509"/>
                </a:cubicBezTo>
                <a:cubicBezTo>
                  <a:pt x="5599301" y="3656010"/>
                  <a:pt x="5574463" y="3646509"/>
                  <a:pt x="5564909" y="3625607"/>
                </a:cubicBezTo>
                <a:cubicBezTo>
                  <a:pt x="5562999" y="3619906"/>
                  <a:pt x="5561087" y="3614206"/>
                  <a:pt x="5561087" y="3608505"/>
                </a:cubicBezTo>
                <a:cubicBezTo>
                  <a:pt x="5561087" y="3591403"/>
                  <a:pt x="5570641" y="3576202"/>
                  <a:pt x="5585927" y="3568601"/>
                </a:cubicBezTo>
                <a:cubicBezTo>
                  <a:pt x="5585927" y="3568601"/>
                  <a:pt x="5585927" y="3568601"/>
                  <a:pt x="5926021" y="3414687"/>
                </a:cubicBezTo>
                <a:cubicBezTo>
                  <a:pt x="5936531" y="3409939"/>
                  <a:pt x="5948471" y="3409939"/>
                  <a:pt x="5958981" y="3413738"/>
                </a:cubicBezTo>
                <a:close/>
                <a:moveTo>
                  <a:pt x="398652" y="3413736"/>
                </a:moveTo>
                <a:cubicBezTo>
                  <a:pt x="408646" y="3417537"/>
                  <a:pt x="417212" y="3425137"/>
                  <a:pt x="421971" y="3435588"/>
                </a:cubicBezTo>
                <a:cubicBezTo>
                  <a:pt x="433393" y="3456490"/>
                  <a:pt x="423875" y="3483093"/>
                  <a:pt x="401031" y="3492594"/>
                </a:cubicBezTo>
                <a:cubicBezTo>
                  <a:pt x="401031" y="3492594"/>
                  <a:pt x="401031" y="3492594"/>
                  <a:pt x="62187" y="3646509"/>
                </a:cubicBezTo>
                <a:cubicBezTo>
                  <a:pt x="41247" y="3656010"/>
                  <a:pt x="16500" y="3646509"/>
                  <a:pt x="6982" y="3625607"/>
                </a:cubicBezTo>
                <a:cubicBezTo>
                  <a:pt x="3175" y="3619906"/>
                  <a:pt x="3175" y="3614206"/>
                  <a:pt x="3175" y="3608505"/>
                </a:cubicBezTo>
                <a:cubicBezTo>
                  <a:pt x="3175" y="3591403"/>
                  <a:pt x="12693" y="3576202"/>
                  <a:pt x="27922" y="3568601"/>
                </a:cubicBezTo>
                <a:cubicBezTo>
                  <a:pt x="27922" y="3568601"/>
                  <a:pt x="27922" y="3568601"/>
                  <a:pt x="366766" y="3414687"/>
                </a:cubicBezTo>
                <a:cubicBezTo>
                  <a:pt x="377236" y="3409937"/>
                  <a:pt x="388658" y="3409937"/>
                  <a:pt x="398652" y="3413736"/>
                </a:cubicBezTo>
                <a:close/>
                <a:moveTo>
                  <a:pt x="5394971" y="3403425"/>
                </a:moveTo>
                <a:cubicBezTo>
                  <a:pt x="5413355" y="3403782"/>
                  <a:pt x="5430131" y="3414824"/>
                  <a:pt x="5437269" y="3433348"/>
                </a:cubicBezTo>
                <a:cubicBezTo>
                  <a:pt x="5446787" y="3456148"/>
                  <a:pt x="5435365" y="3482748"/>
                  <a:pt x="5410617" y="3492248"/>
                </a:cubicBezTo>
                <a:cubicBezTo>
                  <a:pt x="5410617" y="3492248"/>
                  <a:pt x="5410617" y="3492248"/>
                  <a:pt x="5069863" y="3629048"/>
                </a:cubicBezTo>
                <a:cubicBezTo>
                  <a:pt x="5047019" y="3638548"/>
                  <a:pt x="5020369" y="3627148"/>
                  <a:pt x="5010851" y="3602448"/>
                </a:cubicBezTo>
                <a:cubicBezTo>
                  <a:pt x="5008947" y="3596748"/>
                  <a:pt x="5007043" y="3591048"/>
                  <a:pt x="5007043" y="3585348"/>
                </a:cubicBezTo>
                <a:cubicBezTo>
                  <a:pt x="5007043" y="3568248"/>
                  <a:pt x="5018465" y="3551148"/>
                  <a:pt x="5037501" y="3543548"/>
                </a:cubicBezTo>
                <a:cubicBezTo>
                  <a:pt x="5037501" y="3543548"/>
                  <a:pt x="5037501" y="3543548"/>
                  <a:pt x="5376351" y="3406750"/>
                </a:cubicBezTo>
                <a:cubicBezTo>
                  <a:pt x="5382539" y="3404377"/>
                  <a:pt x="5388845" y="3403307"/>
                  <a:pt x="5394971" y="3403425"/>
                </a:cubicBezTo>
                <a:close/>
                <a:moveTo>
                  <a:pt x="928451" y="3403423"/>
                </a:moveTo>
                <a:cubicBezTo>
                  <a:pt x="946043" y="3403779"/>
                  <a:pt x="962831" y="3414824"/>
                  <a:pt x="969975" y="3433348"/>
                </a:cubicBezTo>
                <a:cubicBezTo>
                  <a:pt x="979500" y="3456148"/>
                  <a:pt x="968070" y="3482748"/>
                  <a:pt x="945210" y="3492248"/>
                </a:cubicBezTo>
                <a:cubicBezTo>
                  <a:pt x="945210" y="3492248"/>
                  <a:pt x="945210" y="3492248"/>
                  <a:pt x="604210" y="3629048"/>
                </a:cubicBezTo>
                <a:cubicBezTo>
                  <a:pt x="579445" y="3638548"/>
                  <a:pt x="552774" y="3627148"/>
                  <a:pt x="543249" y="3602448"/>
                </a:cubicBezTo>
                <a:cubicBezTo>
                  <a:pt x="541344" y="3596748"/>
                  <a:pt x="541344" y="3591048"/>
                  <a:pt x="541344" y="3585348"/>
                </a:cubicBezTo>
                <a:cubicBezTo>
                  <a:pt x="541344" y="3568248"/>
                  <a:pt x="550869" y="3551148"/>
                  <a:pt x="569919" y="3543548"/>
                </a:cubicBezTo>
                <a:cubicBezTo>
                  <a:pt x="569919" y="3543548"/>
                  <a:pt x="569919" y="3543548"/>
                  <a:pt x="910919" y="3406748"/>
                </a:cubicBezTo>
                <a:cubicBezTo>
                  <a:pt x="916634" y="3404375"/>
                  <a:pt x="922587" y="3403304"/>
                  <a:pt x="928451" y="3403423"/>
                </a:cubicBezTo>
                <a:close/>
                <a:moveTo>
                  <a:pt x="4843491" y="3396586"/>
                </a:moveTo>
                <a:cubicBezTo>
                  <a:pt x="4863151" y="3398284"/>
                  <a:pt x="4880665" y="3410428"/>
                  <a:pt x="4886385" y="3428999"/>
                </a:cubicBezTo>
                <a:cubicBezTo>
                  <a:pt x="4895917" y="3455668"/>
                  <a:pt x="4882573" y="3484243"/>
                  <a:pt x="4855883" y="3491863"/>
                </a:cubicBezTo>
                <a:cubicBezTo>
                  <a:pt x="4855883" y="3491863"/>
                  <a:pt x="4855883" y="3491863"/>
                  <a:pt x="4514641" y="3609973"/>
                </a:cubicBezTo>
                <a:cubicBezTo>
                  <a:pt x="4487951" y="3619498"/>
                  <a:pt x="4461261" y="3606163"/>
                  <a:pt x="4451729" y="3579493"/>
                </a:cubicBezTo>
                <a:cubicBezTo>
                  <a:pt x="4449823" y="3575683"/>
                  <a:pt x="4449823" y="3569968"/>
                  <a:pt x="4449823" y="3564253"/>
                </a:cubicBezTo>
                <a:cubicBezTo>
                  <a:pt x="4449823" y="3543298"/>
                  <a:pt x="4461261" y="3524248"/>
                  <a:pt x="4482231" y="3518533"/>
                </a:cubicBezTo>
                <a:cubicBezTo>
                  <a:pt x="4482231" y="3518533"/>
                  <a:pt x="4482231" y="3518533"/>
                  <a:pt x="4823475" y="3398521"/>
                </a:cubicBezTo>
                <a:cubicBezTo>
                  <a:pt x="4830147" y="3396616"/>
                  <a:pt x="4836939" y="3396021"/>
                  <a:pt x="4843491" y="3396586"/>
                </a:cubicBezTo>
                <a:close/>
                <a:moveTo>
                  <a:pt x="1478780" y="3396584"/>
                </a:moveTo>
                <a:cubicBezTo>
                  <a:pt x="1497725" y="3398280"/>
                  <a:pt x="1515597" y="3410426"/>
                  <a:pt x="1522745" y="3428999"/>
                </a:cubicBezTo>
                <a:cubicBezTo>
                  <a:pt x="1530371" y="3455668"/>
                  <a:pt x="1517026" y="3484243"/>
                  <a:pt x="1492243" y="3491863"/>
                </a:cubicBezTo>
                <a:cubicBezTo>
                  <a:pt x="1492243" y="3491863"/>
                  <a:pt x="1492243" y="3491863"/>
                  <a:pt x="1149094" y="3609973"/>
                </a:cubicBezTo>
                <a:cubicBezTo>
                  <a:pt x="1124311" y="3619498"/>
                  <a:pt x="1095715" y="3606163"/>
                  <a:pt x="1088090" y="3579493"/>
                </a:cubicBezTo>
                <a:cubicBezTo>
                  <a:pt x="1086183" y="3575683"/>
                  <a:pt x="1084277" y="3569968"/>
                  <a:pt x="1084277" y="3564253"/>
                </a:cubicBezTo>
                <a:cubicBezTo>
                  <a:pt x="1084277" y="3543298"/>
                  <a:pt x="1097622" y="3524248"/>
                  <a:pt x="1116686" y="3518533"/>
                </a:cubicBezTo>
                <a:cubicBezTo>
                  <a:pt x="1116686" y="3518533"/>
                  <a:pt x="1116686" y="3518533"/>
                  <a:pt x="1459835" y="3398519"/>
                </a:cubicBezTo>
                <a:cubicBezTo>
                  <a:pt x="1466031" y="3396614"/>
                  <a:pt x="1472465" y="3396018"/>
                  <a:pt x="1478780" y="3396584"/>
                </a:cubicBezTo>
                <a:close/>
                <a:moveTo>
                  <a:pt x="4288643" y="3390089"/>
                </a:moveTo>
                <a:cubicBezTo>
                  <a:pt x="4309105" y="3392145"/>
                  <a:pt x="4326619" y="3406810"/>
                  <a:pt x="4332339" y="3426840"/>
                </a:cubicBezTo>
                <a:cubicBezTo>
                  <a:pt x="4341871" y="3455456"/>
                  <a:pt x="4324713" y="3484073"/>
                  <a:pt x="4298025" y="3491704"/>
                </a:cubicBezTo>
                <a:cubicBezTo>
                  <a:pt x="4298025" y="3491704"/>
                  <a:pt x="4298025" y="3491704"/>
                  <a:pt x="3954881" y="3592817"/>
                </a:cubicBezTo>
                <a:cubicBezTo>
                  <a:pt x="3926285" y="3600448"/>
                  <a:pt x="3897691" y="3585186"/>
                  <a:pt x="3888159" y="3556569"/>
                </a:cubicBezTo>
                <a:cubicBezTo>
                  <a:pt x="3888159" y="3552753"/>
                  <a:pt x="3886251" y="3547030"/>
                  <a:pt x="3886251" y="3541306"/>
                </a:cubicBezTo>
                <a:cubicBezTo>
                  <a:pt x="3886251" y="3518413"/>
                  <a:pt x="3901503" y="3497427"/>
                  <a:pt x="3924379" y="3491704"/>
                </a:cubicBezTo>
                <a:cubicBezTo>
                  <a:pt x="3924379" y="3491704"/>
                  <a:pt x="3924379" y="3491704"/>
                  <a:pt x="4267523" y="3392503"/>
                </a:cubicBezTo>
                <a:cubicBezTo>
                  <a:pt x="4274673" y="3390119"/>
                  <a:pt x="4281821" y="3389402"/>
                  <a:pt x="4288643" y="3390089"/>
                </a:cubicBezTo>
                <a:close/>
                <a:moveTo>
                  <a:pt x="2035427" y="3390086"/>
                </a:moveTo>
                <a:cubicBezTo>
                  <a:pt x="2055636" y="3392143"/>
                  <a:pt x="2074236" y="3406808"/>
                  <a:pt x="2079959" y="3426840"/>
                </a:cubicBezTo>
                <a:cubicBezTo>
                  <a:pt x="2087590" y="3455456"/>
                  <a:pt x="2072328" y="3484073"/>
                  <a:pt x="2043713" y="3491704"/>
                </a:cubicBezTo>
                <a:cubicBezTo>
                  <a:pt x="2043713" y="3491704"/>
                  <a:pt x="2043713" y="3491704"/>
                  <a:pt x="1700328" y="3592817"/>
                </a:cubicBezTo>
                <a:cubicBezTo>
                  <a:pt x="1671713" y="3600448"/>
                  <a:pt x="1643097" y="3585186"/>
                  <a:pt x="1635467" y="3556569"/>
                </a:cubicBezTo>
                <a:cubicBezTo>
                  <a:pt x="1633559" y="3552753"/>
                  <a:pt x="1633559" y="3547030"/>
                  <a:pt x="1633559" y="3541306"/>
                </a:cubicBezTo>
                <a:cubicBezTo>
                  <a:pt x="1633559" y="3518413"/>
                  <a:pt x="1648821" y="3497427"/>
                  <a:pt x="1671713" y="3491704"/>
                </a:cubicBezTo>
                <a:cubicBezTo>
                  <a:pt x="1671713" y="3491704"/>
                  <a:pt x="1671713" y="3491704"/>
                  <a:pt x="2015098" y="3392501"/>
                </a:cubicBezTo>
                <a:cubicBezTo>
                  <a:pt x="2021775" y="3390117"/>
                  <a:pt x="2028690" y="3389400"/>
                  <a:pt x="2035427" y="3390086"/>
                </a:cubicBezTo>
                <a:close/>
                <a:moveTo>
                  <a:pt x="3729547" y="3384850"/>
                </a:moveTo>
                <a:cubicBezTo>
                  <a:pt x="3751291" y="3388411"/>
                  <a:pt x="3769545" y="3404789"/>
                  <a:pt x="3773841" y="3427575"/>
                </a:cubicBezTo>
                <a:cubicBezTo>
                  <a:pt x="3781475" y="3456060"/>
                  <a:pt x="3762387" y="3486445"/>
                  <a:pt x="3733751" y="3494041"/>
                </a:cubicBezTo>
                <a:cubicBezTo>
                  <a:pt x="3733751" y="3494041"/>
                  <a:pt x="3733751" y="3494041"/>
                  <a:pt x="3388230" y="3575701"/>
                </a:cubicBezTo>
                <a:cubicBezTo>
                  <a:pt x="3357686" y="3581398"/>
                  <a:pt x="3327143" y="3564306"/>
                  <a:pt x="3321416" y="3533921"/>
                </a:cubicBezTo>
                <a:cubicBezTo>
                  <a:pt x="3319507" y="3528224"/>
                  <a:pt x="3319507" y="3524426"/>
                  <a:pt x="3319507" y="3520628"/>
                </a:cubicBezTo>
                <a:cubicBezTo>
                  <a:pt x="3319507" y="3495940"/>
                  <a:pt x="3336688" y="3473151"/>
                  <a:pt x="3361504" y="3465555"/>
                </a:cubicBezTo>
                <a:cubicBezTo>
                  <a:pt x="3361504" y="3465555"/>
                  <a:pt x="3361504" y="3465555"/>
                  <a:pt x="3707027" y="3385799"/>
                </a:cubicBezTo>
                <a:cubicBezTo>
                  <a:pt x="3714663" y="3383903"/>
                  <a:pt x="3722299" y="3383661"/>
                  <a:pt x="3729547" y="3384850"/>
                </a:cubicBezTo>
                <a:close/>
                <a:moveTo>
                  <a:pt x="2596056" y="3384845"/>
                </a:moveTo>
                <a:cubicBezTo>
                  <a:pt x="2617801" y="3388406"/>
                  <a:pt x="2636055" y="3404787"/>
                  <a:pt x="2640350" y="3427574"/>
                </a:cubicBezTo>
                <a:cubicBezTo>
                  <a:pt x="2647986" y="3456060"/>
                  <a:pt x="2628896" y="3486445"/>
                  <a:pt x="2598353" y="3494041"/>
                </a:cubicBezTo>
                <a:cubicBezTo>
                  <a:pt x="2598353" y="3494041"/>
                  <a:pt x="2598353" y="3494041"/>
                  <a:pt x="2254740" y="3575701"/>
                </a:cubicBezTo>
                <a:cubicBezTo>
                  <a:pt x="2224196" y="3581398"/>
                  <a:pt x="2193653" y="3564306"/>
                  <a:pt x="2187926" y="3533921"/>
                </a:cubicBezTo>
                <a:cubicBezTo>
                  <a:pt x="2186017" y="3528224"/>
                  <a:pt x="2186017" y="3524426"/>
                  <a:pt x="2186017" y="3520628"/>
                </a:cubicBezTo>
                <a:cubicBezTo>
                  <a:pt x="2186017" y="3495940"/>
                  <a:pt x="2203198" y="3473151"/>
                  <a:pt x="2228014" y="3465555"/>
                </a:cubicBezTo>
                <a:cubicBezTo>
                  <a:pt x="2228014" y="3465555"/>
                  <a:pt x="2228014" y="3465555"/>
                  <a:pt x="2573536" y="3385794"/>
                </a:cubicBezTo>
                <a:cubicBezTo>
                  <a:pt x="2581172" y="3383896"/>
                  <a:pt x="2588808" y="3383659"/>
                  <a:pt x="2596056" y="3384845"/>
                </a:cubicBezTo>
                <a:close/>
                <a:moveTo>
                  <a:pt x="3137310" y="3377570"/>
                </a:moveTo>
                <a:cubicBezTo>
                  <a:pt x="3169674" y="3371857"/>
                  <a:pt x="3200134" y="3392806"/>
                  <a:pt x="3205845" y="3425189"/>
                </a:cubicBezTo>
                <a:cubicBezTo>
                  <a:pt x="3211556" y="3457573"/>
                  <a:pt x="3190615" y="3488053"/>
                  <a:pt x="3158251" y="3493768"/>
                </a:cubicBezTo>
                <a:cubicBezTo>
                  <a:pt x="3158251" y="3493768"/>
                  <a:pt x="3158251" y="3493768"/>
                  <a:pt x="2813675" y="3556633"/>
                </a:cubicBezTo>
                <a:cubicBezTo>
                  <a:pt x="2781312" y="3562348"/>
                  <a:pt x="2750852" y="3541393"/>
                  <a:pt x="2745141" y="3509008"/>
                </a:cubicBezTo>
                <a:cubicBezTo>
                  <a:pt x="2743237" y="3505198"/>
                  <a:pt x="2743237" y="3501388"/>
                  <a:pt x="2743237" y="3497578"/>
                </a:cubicBezTo>
                <a:cubicBezTo>
                  <a:pt x="2743237" y="3470908"/>
                  <a:pt x="2764178" y="3446143"/>
                  <a:pt x="2792734" y="3440428"/>
                </a:cubicBezTo>
                <a:cubicBezTo>
                  <a:pt x="2792734" y="3440428"/>
                  <a:pt x="2792734" y="3440428"/>
                  <a:pt x="3137310" y="3377570"/>
                </a:cubicBezTo>
                <a:close/>
                <a:moveTo>
                  <a:pt x="6499125" y="3095110"/>
                </a:moveTo>
                <a:cubicBezTo>
                  <a:pt x="6508399" y="3098216"/>
                  <a:pt x="6516483" y="3104898"/>
                  <a:pt x="6521239" y="3114446"/>
                </a:cubicBezTo>
                <a:cubicBezTo>
                  <a:pt x="6532651" y="3133543"/>
                  <a:pt x="6525043" y="3158365"/>
                  <a:pt x="6506021" y="3167912"/>
                </a:cubicBezTo>
                <a:cubicBezTo>
                  <a:pt x="6506021" y="3167912"/>
                  <a:pt x="6506021" y="3167912"/>
                  <a:pt x="6167435" y="3341681"/>
                </a:cubicBezTo>
                <a:cubicBezTo>
                  <a:pt x="6148413" y="3351227"/>
                  <a:pt x="6125587" y="3345496"/>
                  <a:pt x="6116077" y="3326402"/>
                </a:cubicBezTo>
                <a:cubicBezTo>
                  <a:pt x="6112273" y="3320675"/>
                  <a:pt x="6110371" y="3313037"/>
                  <a:pt x="6110371" y="3307308"/>
                </a:cubicBezTo>
                <a:cubicBezTo>
                  <a:pt x="6110371" y="3293942"/>
                  <a:pt x="6117979" y="3280578"/>
                  <a:pt x="6131293" y="3272939"/>
                </a:cubicBezTo>
                <a:cubicBezTo>
                  <a:pt x="6131293" y="3272939"/>
                  <a:pt x="6131293" y="3272939"/>
                  <a:pt x="6469879" y="3097261"/>
                </a:cubicBezTo>
                <a:cubicBezTo>
                  <a:pt x="6479389" y="3092485"/>
                  <a:pt x="6489851" y="3092008"/>
                  <a:pt x="6499125" y="3095110"/>
                </a:cubicBezTo>
                <a:close/>
                <a:moveTo>
                  <a:pt x="5958981" y="3091501"/>
                </a:moveTo>
                <a:cubicBezTo>
                  <a:pt x="5969489" y="3095300"/>
                  <a:pt x="5978565" y="3102902"/>
                  <a:pt x="5983341" y="3113352"/>
                </a:cubicBezTo>
                <a:cubicBezTo>
                  <a:pt x="5992895" y="3134255"/>
                  <a:pt x="5983341" y="3160857"/>
                  <a:pt x="5962323" y="3170357"/>
                </a:cubicBezTo>
                <a:cubicBezTo>
                  <a:pt x="5962323" y="3170357"/>
                  <a:pt x="5962323" y="3170357"/>
                  <a:pt x="5620319" y="3324265"/>
                </a:cubicBezTo>
                <a:cubicBezTo>
                  <a:pt x="5599301" y="3333765"/>
                  <a:pt x="5574463" y="3324265"/>
                  <a:pt x="5564909" y="3301466"/>
                </a:cubicBezTo>
                <a:cubicBezTo>
                  <a:pt x="5562999" y="3295766"/>
                  <a:pt x="5561087" y="3290066"/>
                  <a:pt x="5561087" y="3284366"/>
                </a:cubicBezTo>
                <a:cubicBezTo>
                  <a:pt x="5561087" y="3269165"/>
                  <a:pt x="5570641" y="3252063"/>
                  <a:pt x="5585927" y="3246361"/>
                </a:cubicBezTo>
                <a:cubicBezTo>
                  <a:pt x="5585927" y="3246361"/>
                  <a:pt x="5585927" y="3246361"/>
                  <a:pt x="5926021" y="3092452"/>
                </a:cubicBezTo>
                <a:cubicBezTo>
                  <a:pt x="5936531" y="3087702"/>
                  <a:pt x="5948471" y="3087702"/>
                  <a:pt x="5958981" y="3091501"/>
                </a:cubicBezTo>
                <a:close/>
                <a:moveTo>
                  <a:pt x="399604" y="3091489"/>
                </a:moveTo>
                <a:cubicBezTo>
                  <a:pt x="410074" y="3095288"/>
                  <a:pt x="419116" y="3102890"/>
                  <a:pt x="423875" y="3113341"/>
                </a:cubicBezTo>
                <a:cubicBezTo>
                  <a:pt x="433393" y="3134243"/>
                  <a:pt x="423875" y="3160845"/>
                  <a:pt x="401031" y="3170346"/>
                </a:cubicBezTo>
                <a:cubicBezTo>
                  <a:pt x="401031" y="3170346"/>
                  <a:pt x="401031" y="3170346"/>
                  <a:pt x="62187" y="3324257"/>
                </a:cubicBezTo>
                <a:cubicBezTo>
                  <a:pt x="41247" y="3333758"/>
                  <a:pt x="16500" y="3324257"/>
                  <a:pt x="6982" y="3301458"/>
                </a:cubicBezTo>
                <a:cubicBezTo>
                  <a:pt x="3175" y="3295756"/>
                  <a:pt x="3175" y="3290055"/>
                  <a:pt x="3175" y="3284355"/>
                </a:cubicBezTo>
                <a:cubicBezTo>
                  <a:pt x="3175" y="3269153"/>
                  <a:pt x="12693" y="3252053"/>
                  <a:pt x="27922" y="3246351"/>
                </a:cubicBezTo>
                <a:cubicBezTo>
                  <a:pt x="27922" y="3246351"/>
                  <a:pt x="27922" y="3246351"/>
                  <a:pt x="366766" y="3092440"/>
                </a:cubicBezTo>
                <a:cubicBezTo>
                  <a:pt x="377236" y="3087688"/>
                  <a:pt x="389134" y="3087688"/>
                  <a:pt x="399604" y="3091489"/>
                </a:cubicBezTo>
                <a:close/>
                <a:moveTo>
                  <a:pt x="5376351" y="3084221"/>
                </a:moveTo>
                <a:cubicBezTo>
                  <a:pt x="5401099" y="3076602"/>
                  <a:pt x="5427751" y="3088030"/>
                  <a:pt x="5437269" y="3110889"/>
                </a:cubicBezTo>
                <a:cubicBezTo>
                  <a:pt x="5446787" y="3135655"/>
                  <a:pt x="5435365" y="3162324"/>
                  <a:pt x="5410617" y="3171849"/>
                </a:cubicBezTo>
                <a:cubicBezTo>
                  <a:pt x="5410617" y="3171849"/>
                  <a:pt x="5410617" y="3171849"/>
                  <a:pt x="5069863" y="3305194"/>
                </a:cubicBezTo>
                <a:cubicBezTo>
                  <a:pt x="5047019" y="3314717"/>
                  <a:pt x="5020369" y="3301384"/>
                  <a:pt x="5010851" y="3278527"/>
                </a:cubicBezTo>
                <a:cubicBezTo>
                  <a:pt x="5008947" y="3272812"/>
                  <a:pt x="5007043" y="3267095"/>
                  <a:pt x="5007043" y="3261383"/>
                </a:cubicBezTo>
                <a:cubicBezTo>
                  <a:pt x="5007043" y="3242330"/>
                  <a:pt x="5018465" y="3225187"/>
                  <a:pt x="5037501" y="3217569"/>
                </a:cubicBezTo>
                <a:cubicBezTo>
                  <a:pt x="5037501" y="3217569"/>
                  <a:pt x="5037501" y="3217569"/>
                  <a:pt x="5376351" y="3084221"/>
                </a:cubicBezTo>
                <a:close/>
                <a:moveTo>
                  <a:pt x="910969" y="3084205"/>
                </a:moveTo>
                <a:cubicBezTo>
                  <a:pt x="933813" y="3076586"/>
                  <a:pt x="960464" y="3088016"/>
                  <a:pt x="969983" y="3110874"/>
                </a:cubicBezTo>
                <a:cubicBezTo>
                  <a:pt x="979501" y="3135641"/>
                  <a:pt x="968079" y="3162310"/>
                  <a:pt x="945235" y="3171835"/>
                </a:cubicBezTo>
                <a:cubicBezTo>
                  <a:pt x="945235" y="3171835"/>
                  <a:pt x="945235" y="3171835"/>
                  <a:pt x="604481" y="3305182"/>
                </a:cubicBezTo>
                <a:cubicBezTo>
                  <a:pt x="579734" y="3314707"/>
                  <a:pt x="553083" y="3301372"/>
                  <a:pt x="543564" y="3278513"/>
                </a:cubicBezTo>
                <a:cubicBezTo>
                  <a:pt x="541661" y="3272798"/>
                  <a:pt x="539757" y="3267083"/>
                  <a:pt x="539757" y="3261369"/>
                </a:cubicBezTo>
                <a:cubicBezTo>
                  <a:pt x="539757" y="3242317"/>
                  <a:pt x="551179" y="3225173"/>
                  <a:pt x="570215" y="3217554"/>
                </a:cubicBezTo>
                <a:cubicBezTo>
                  <a:pt x="570215" y="3217554"/>
                  <a:pt x="570215" y="3217554"/>
                  <a:pt x="910969" y="3084205"/>
                </a:cubicBezTo>
                <a:close/>
                <a:moveTo>
                  <a:pt x="4845165" y="3075490"/>
                </a:moveTo>
                <a:cubicBezTo>
                  <a:pt x="4864365" y="3077010"/>
                  <a:pt x="4881153" y="3090600"/>
                  <a:pt x="4888295" y="3110630"/>
                </a:cubicBezTo>
                <a:cubicBezTo>
                  <a:pt x="4895915" y="3137339"/>
                  <a:pt x="4882581" y="3165951"/>
                  <a:pt x="4855911" y="3173582"/>
                </a:cubicBezTo>
                <a:cubicBezTo>
                  <a:pt x="4855911" y="3173582"/>
                  <a:pt x="4855911" y="3173582"/>
                  <a:pt x="4514911" y="3286132"/>
                </a:cubicBezTo>
                <a:cubicBezTo>
                  <a:pt x="4488241" y="3295669"/>
                  <a:pt x="4459665" y="3280410"/>
                  <a:pt x="4450141" y="3253702"/>
                </a:cubicBezTo>
                <a:cubicBezTo>
                  <a:pt x="4448235" y="3249887"/>
                  <a:pt x="4448235" y="3244162"/>
                  <a:pt x="4448235" y="3238438"/>
                </a:cubicBezTo>
                <a:cubicBezTo>
                  <a:pt x="4448235" y="3217457"/>
                  <a:pt x="4461571" y="3198380"/>
                  <a:pt x="4482525" y="3190752"/>
                </a:cubicBezTo>
                <a:cubicBezTo>
                  <a:pt x="4482525" y="3190752"/>
                  <a:pt x="4482525" y="3190752"/>
                  <a:pt x="4825431" y="3078201"/>
                </a:cubicBezTo>
                <a:cubicBezTo>
                  <a:pt x="4832099" y="3075817"/>
                  <a:pt x="4838767" y="3074983"/>
                  <a:pt x="4845165" y="3075490"/>
                </a:cubicBezTo>
                <a:close/>
                <a:moveTo>
                  <a:pt x="1479607" y="3075472"/>
                </a:moveTo>
                <a:cubicBezTo>
                  <a:pt x="1499239" y="3076991"/>
                  <a:pt x="1516729" y="3090584"/>
                  <a:pt x="1522440" y="3110614"/>
                </a:cubicBezTo>
                <a:cubicBezTo>
                  <a:pt x="1531958" y="3137321"/>
                  <a:pt x="1516729" y="3165935"/>
                  <a:pt x="1491981" y="3173568"/>
                </a:cubicBezTo>
                <a:cubicBezTo>
                  <a:pt x="1491981" y="3173568"/>
                  <a:pt x="1491981" y="3173568"/>
                  <a:pt x="1149318" y="3286117"/>
                </a:cubicBezTo>
                <a:cubicBezTo>
                  <a:pt x="1122666" y="3295656"/>
                  <a:pt x="1094111" y="3280396"/>
                  <a:pt x="1086496" y="3253688"/>
                </a:cubicBezTo>
                <a:cubicBezTo>
                  <a:pt x="1084593" y="3249872"/>
                  <a:pt x="1082689" y="3244148"/>
                  <a:pt x="1082689" y="3238426"/>
                </a:cubicBezTo>
                <a:cubicBezTo>
                  <a:pt x="1082689" y="3217441"/>
                  <a:pt x="1097918" y="3198366"/>
                  <a:pt x="1118859" y="3190736"/>
                </a:cubicBezTo>
                <a:cubicBezTo>
                  <a:pt x="1118859" y="3190736"/>
                  <a:pt x="1118859" y="3190736"/>
                  <a:pt x="1459618" y="3078184"/>
                </a:cubicBezTo>
                <a:cubicBezTo>
                  <a:pt x="1466281" y="3075800"/>
                  <a:pt x="1473063" y="3074965"/>
                  <a:pt x="1479607" y="3075472"/>
                </a:cubicBezTo>
                <a:close/>
                <a:moveTo>
                  <a:pt x="4290303" y="3070230"/>
                </a:moveTo>
                <a:cubicBezTo>
                  <a:pt x="4310739" y="3073173"/>
                  <a:pt x="4328229" y="3088153"/>
                  <a:pt x="4333941" y="3109551"/>
                </a:cubicBezTo>
                <a:cubicBezTo>
                  <a:pt x="4343459" y="3139987"/>
                  <a:pt x="4326325" y="3168517"/>
                  <a:pt x="4295867" y="3176122"/>
                </a:cubicBezTo>
                <a:cubicBezTo>
                  <a:pt x="4295867" y="3176122"/>
                  <a:pt x="4295867" y="3176122"/>
                  <a:pt x="3953199" y="3267426"/>
                </a:cubicBezTo>
                <a:cubicBezTo>
                  <a:pt x="3924643" y="3275036"/>
                  <a:pt x="3894183" y="3257916"/>
                  <a:pt x="3886569" y="3229382"/>
                </a:cubicBezTo>
                <a:cubicBezTo>
                  <a:pt x="3886569" y="3225578"/>
                  <a:pt x="3884665" y="3219872"/>
                  <a:pt x="3884665" y="3216071"/>
                </a:cubicBezTo>
                <a:cubicBezTo>
                  <a:pt x="3884665" y="3191341"/>
                  <a:pt x="3901799" y="3170420"/>
                  <a:pt x="3924643" y="3164714"/>
                </a:cubicBezTo>
                <a:cubicBezTo>
                  <a:pt x="3924643" y="3164714"/>
                  <a:pt x="3924643" y="3164714"/>
                  <a:pt x="4269215" y="3071510"/>
                </a:cubicBezTo>
                <a:cubicBezTo>
                  <a:pt x="4276353" y="3069607"/>
                  <a:pt x="4283493" y="3069251"/>
                  <a:pt x="4290303" y="3070230"/>
                </a:cubicBezTo>
                <a:close/>
                <a:moveTo>
                  <a:pt x="2036284" y="3070212"/>
                </a:moveTo>
                <a:cubicBezTo>
                  <a:pt x="2057269" y="3073154"/>
                  <a:pt x="2075843" y="3088134"/>
                  <a:pt x="2081558" y="3109532"/>
                </a:cubicBezTo>
                <a:cubicBezTo>
                  <a:pt x="2089178" y="3139966"/>
                  <a:pt x="2072033" y="3168499"/>
                  <a:pt x="2043457" y="3176106"/>
                </a:cubicBezTo>
                <a:cubicBezTo>
                  <a:pt x="2043457" y="3176106"/>
                  <a:pt x="2043457" y="3176106"/>
                  <a:pt x="1700553" y="3267409"/>
                </a:cubicBezTo>
                <a:cubicBezTo>
                  <a:pt x="1670073" y="3275018"/>
                  <a:pt x="1641497" y="3257898"/>
                  <a:pt x="1633877" y="3229366"/>
                </a:cubicBezTo>
                <a:cubicBezTo>
                  <a:pt x="1631972" y="3225562"/>
                  <a:pt x="1631972" y="3219855"/>
                  <a:pt x="1631972" y="3216051"/>
                </a:cubicBezTo>
                <a:cubicBezTo>
                  <a:pt x="1631972" y="3191325"/>
                  <a:pt x="1647212" y="3170401"/>
                  <a:pt x="1671978" y="3164695"/>
                </a:cubicBezTo>
                <a:cubicBezTo>
                  <a:pt x="1671978" y="3164695"/>
                  <a:pt x="1671978" y="3164695"/>
                  <a:pt x="2014882" y="3071490"/>
                </a:cubicBezTo>
                <a:cubicBezTo>
                  <a:pt x="2022026" y="3069588"/>
                  <a:pt x="2029289" y="3069230"/>
                  <a:pt x="2036284" y="3070212"/>
                </a:cubicBezTo>
                <a:close/>
                <a:moveTo>
                  <a:pt x="3731235" y="3064526"/>
                </a:moveTo>
                <a:cubicBezTo>
                  <a:pt x="3753039" y="3068642"/>
                  <a:pt x="3771625" y="3086171"/>
                  <a:pt x="3777345" y="3109067"/>
                </a:cubicBezTo>
                <a:cubicBezTo>
                  <a:pt x="3783063" y="3141504"/>
                  <a:pt x="3762095" y="3172032"/>
                  <a:pt x="3731593" y="3177757"/>
                </a:cubicBezTo>
                <a:cubicBezTo>
                  <a:pt x="3731593" y="3177757"/>
                  <a:pt x="3731593" y="3177757"/>
                  <a:pt x="3386548" y="3250258"/>
                </a:cubicBezTo>
                <a:cubicBezTo>
                  <a:pt x="3356047" y="3255985"/>
                  <a:pt x="3325545" y="3234992"/>
                  <a:pt x="3317920" y="3204467"/>
                </a:cubicBezTo>
                <a:cubicBezTo>
                  <a:pt x="3317920" y="3200651"/>
                  <a:pt x="3317920" y="3196834"/>
                  <a:pt x="3317920" y="3193018"/>
                </a:cubicBezTo>
                <a:cubicBezTo>
                  <a:pt x="3317920" y="3166307"/>
                  <a:pt x="3335077" y="3141504"/>
                  <a:pt x="3363672" y="3135781"/>
                </a:cubicBezTo>
                <a:cubicBezTo>
                  <a:pt x="3363672" y="3135781"/>
                  <a:pt x="3363672" y="3135781"/>
                  <a:pt x="3708717" y="3065182"/>
                </a:cubicBezTo>
                <a:cubicBezTo>
                  <a:pt x="3716343" y="3063275"/>
                  <a:pt x="3723967" y="3063157"/>
                  <a:pt x="3731235" y="3064526"/>
                </a:cubicBezTo>
                <a:close/>
                <a:moveTo>
                  <a:pt x="2597745" y="3064505"/>
                </a:moveTo>
                <a:cubicBezTo>
                  <a:pt x="2619548" y="3068620"/>
                  <a:pt x="2638135" y="3086150"/>
                  <a:pt x="2643854" y="3109046"/>
                </a:cubicBezTo>
                <a:cubicBezTo>
                  <a:pt x="2649573" y="3141483"/>
                  <a:pt x="2628603" y="3172011"/>
                  <a:pt x="2598102" y="3177737"/>
                </a:cubicBezTo>
                <a:cubicBezTo>
                  <a:pt x="2598102" y="3177737"/>
                  <a:pt x="2598102" y="3177737"/>
                  <a:pt x="2253057" y="3250241"/>
                </a:cubicBezTo>
                <a:cubicBezTo>
                  <a:pt x="2222556" y="3255966"/>
                  <a:pt x="2192054" y="3234975"/>
                  <a:pt x="2184429" y="3204449"/>
                </a:cubicBezTo>
                <a:cubicBezTo>
                  <a:pt x="2184429" y="3200633"/>
                  <a:pt x="2184429" y="3196817"/>
                  <a:pt x="2184429" y="3193000"/>
                </a:cubicBezTo>
                <a:cubicBezTo>
                  <a:pt x="2184429" y="3166289"/>
                  <a:pt x="2201586" y="3141483"/>
                  <a:pt x="2230181" y="3135760"/>
                </a:cubicBezTo>
                <a:cubicBezTo>
                  <a:pt x="2230181" y="3135760"/>
                  <a:pt x="2230181" y="3135760"/>
                  <a:pt x="2575226" y="3065161"/>
                </a:cubicBezTo>
                <a:cubicBezTo>
                  <a:pt x="2582851" y="3063252"/>
                  <a:pt x="2590477" y="3063132"/>
                  <a:pt x="2597745" y="3064505"/>
                </a:cubicBezTo>
                <a:close/>
                <a:moveTo>
                  <a:pt x="3138997" y="3058185"/>
                </a:moveTo>
                <a:cubicBezTo>
                  <a:pt x="3173218" y="3054375"/>
                  <a:pt x="3203637" y="3077235"/>
                  <a:pt x="3209341" y="3111524"/>
                </a:cubicBezTo>
                <a:cubicBezTo>
                  <a:pt x="3213143" y="3143909"/>
                  <a:pt x="3190329" y="3176294"/>
                  <a:pt x="3156107" y="3180105"/>
                </a:cubicBezTo>
                <a:cubicBezTo>
                  <a:pt x="3156107" y="3180105"/>
                  <a:pt x="3156107" y="3180105"/>
                  <a:pt x="2811993" y="3231532"/>
                </a:cubicBezTo>
                <a:cubicBezTo>
                  <a:pt x="2777772" y="3235344"/>
                  <a:pt x="2747353" y="3212490"/>
                  <a:pt x="2741649" y="3180105"/>
                </a:cubicBezTo>
                <a:cubicBezTo>
                  <a:pt x="2741649" y="3176294"/>
                  <a:pt x="2741649" y="3172482"/>
                  <a:pt x="2741649" y="3170578"/>
                </a:cubicBezTo>
                <a:cubicBezTo>
                  <a:pt x="2741649" y="3140101"/>
                  <a:pt x="2762562" y="3113431"/>
                  <a:pt x="2792981" y="3109621"/>
                </a:cubicBezTo>
                <a:cubicBezTo>
                  <a:pt x="2792981" y="3109621"/>
                  <a:pt x="2792981" y="3109621"/>
                  <a:pt x="3138997" y="3058185"/>
                </a:cubicBezTo>
                <a:close/>
                <a:moveTo>
                  <a:pt x="6499417" y="2774395"/>
                </a:moveTo>
                <a:cubicBezTo>
                  <a:pt x="6508695" y="2777477"/>
                  <a:pt x="6516785" y="2784121"/>
                  <a:pt x="6521545" y="2793610"/>
                </a:cubicBezTo>
                <a:cubicBezTo>
                  <a:pt x="6531063" y="2812591"/>
                  <a:pt x="6525353" y="2835368"/>
                  <a:pt x="6506317" y="2844860"/>
                </a:cubicBezTo>
                <a:cubicBezTo>
                  <a:pt x="6506317" y="2844860"/>
                  <a:pt x="6506317" y="2844860"/>
                  <a:pt x="6167477" y="3019485"/>
                </a:cubicBezTo>
                <a:cubicBezTo>
                  <a:pt x="6148441" y="3028977"/>
                  <a:pt x="6125599" y="3021384"/>
                  <a:pt x="6116081" y="3002403"/>
                </a:cubicBezTo>
                <a:cubicBezTo>
                  <a:pt x="6112273" y="2996707"/>
                  <a:pt x="6110371" y="2991015"/>
                  <a:pt x="6110371" y="2985319"/>
                </a:cubicBezTo>
                <a:cubicBezTo>
                  <a:pt x="6110371" y="2972034"/>
                  <a:pt x="6117985" y="2958746"/>
                  <a:pt x="6131309" y="2951155"/>
                </a:cubicBezTo>
                <a:cubicBezTo>
                  <a:pt x="6131309" y="2951155"/>
                  <a:pt x="6131309" y="2951155"/>
                  <a:pt x="6470149" y="2776528"/>
                </a:cubicBezTo>
                <a:cubicBezTo>
                  <a:pt x="6479667" y="2771783"/>
                  <a:pt x="6490137" y="2771307"/>
                  <a:pt x="6499417" y="2774395"/>
                </a:cubicBezTo>
                <a:close/>
                <a:moveTo>
                  <a:pt x="5959697" y="2769251"/>
                </a:moveTo>
                <a:cubicBezTo>
                  <a:pt x="5969967" y="2773057"/>
                  <a:pt x="5978565" y="2780664"/>
                  <a:pt x="5983341" y="2791128"/>
                </a:cubicBezTo>
                <a:cubicBezTo>
                  <a:pt x="5992895" y="2812056"/>
                  <a:pt x="5983341" y="2838693"/>
                  <a:pt x="5962323" y="2848205"/>
                </a:cubicBezTo>
                <a:cubicBezTo>
                  <a:pt x="5962323" y="2848205"/>
                  <a:pt x="5962323" y="2848205"/>
                  <a:pt x="5620319" y="3000413"/>
                </a:cubicBezTo>
                <a:cubicBezTo>
                  <a:pt x="5599301" y="3009926"/>
                  <a:pt x="5574463" y="3000413"/>
                  <a:pt x="5564909" y="2979484"/>
                </a:cubicBezTo>
                <a:cubicBezTo>
                  <a:pt x="5561087" y="2973778"/>
                  <a:pt x="5561087" y="2968070"/>
                  <a:pt x="5561087" y="2960461"/>
                </a:cubicBezTo>
                <a:cubicBezTo>
                  <a:pt x="5561087" y="2945239"/>
                  <a:pt x="5570641" y="2930017"/>
                  <a:pt x="5585927" y="2922407"/>
                </a:cubicBezTo>
                <a:cubicBezTo>
                  <a:pt x="5585927" y="2922407"/>
                  <a:pt x="5585927" y="2922407"/>
                  <a:pt x="5926021" y="2770203"/>
                </a:cubicBezTo>
                <a:cubicBezTo>
                  <a:pt x="5937485" y="2765445"/>
                  <a:pt x="5949427" y="2765445"/>
                  <a:pt x="5959697" y="2769251"/>
                </a:cubicBezTo>
                <a:close/>
                <a:moveTo>
                  <a:pt x="399604" y="2769236"/>
                </a:moveTo>
                <a:cubicBezTo>
                  <a:pt x="410074" y="2773041"/>
                  <a:pt x="419116" y="2780652"/>
                  <a:pt x="423875" y="2791116"/>
                </a:cubicBezTo>
                <a:cubicBezTo>
                  <a:pt x="433393" y="2812044"/>
                  <a:pt x="423875" y="2838680"/>
                  <a:pt x="401031" y="2848194"/>
                </a:cubicBezTo>
                <a:cubicBezTo>
                  <a:pt x="401031" y="2848194"/>
                  <a:pt x="401031" y="2848194"/>
                  <a:pt x="62187" y="3000399"/>
                </a:cubicBezTo>
                <a:cubicBezTo>
                  <a:pt x="41247" y="3009914"/>
                  <a:pt x="16500" y="3000399"/>
                  <a:pt x="6982" y="2979471"/>
                </a:cubicBezTo>
                <a:cubicBezTo>
                  <a:pt x="3175" y="2973763"/>
                  <a:pt x="3175" y="2968056"/>
                  <a:pt x="3175" y="2960446"/>
                </a:cubicBezTo>
                <a:cubicBezTo>
                  <a:pt x="3175" y="2945225"/>
                  <a:pt x="10789" y="2930005"/>
                  <a:pt x="27922" y="2922394"/>
                </a:cubicBezTo>
                <a:cubicBezTo>
                  <a:pt x="27922" y="2922394"/>
                  <a:pt x="27922" y="2922394"/>
                  <a:pt x="366766" y="2770189"/>
                </a:cubicBezTo>
                <a:cubicBezTo>
                  <a:pt x="377236" y="2765431"/>
                  <a:pt x="389134" y="2765431"/>
                  <a:pt x="399604" y="2769236"/>
                </a:cubicBezTo>
                <a:close/>
                <a:moveTo>
                  <a:pt x="5396043" y="2760541"/>
                </a:moveTo>
                <a:cubicBezTo>
                  <a:pt x="5414069" y="2760897"/>
                  <a:pt x="5431559" y="2771982"/>
                  <a:pt x="5437269" y="2790581"/>
                </a:cubicBezTo>
                <a:cubicBezTo>
                  <a:pt x="5446787" y="2815378"/>
                  <a:pt x="5435365" y="2842085"/>
                  <a:pt x="5410617" y="2851623"/>
                </a:cubicBezTo>
                <a:cubicBezTo>
                  <a:pt x="5410617" y="2851623"/>
                  <a:pt x="5410617" y="2851623"/>
                  <a:pt x="5069863" y="2981339"/>
                </a:cubicBezTo>
                <a:cubicBezTo>
                  <a:pt x="5045117" y="2990875"/>
                  <a:pt x="5018465" y="2977522"/>
                  <a:pt x="5008947" y="2954633"/>
                </a:cubicBezTo>
                <a:cubicBezTo>
                  <a:pt x="5007043" y="2948910"/>
                  <a:pt x="5007043" y="2943188"/>
                  <a:pt x="5007043" y="2937464"/>
                </a:cubicBezTo>
                <a:cubicBezTo>
                  <a:pt x="5007043" y="2918390"/>
                  <a:pt x="5018465" y="2899314"/>
                  <a:pt x="5037501" y="2893591"/>
                </a:cubicBezTo>
                <a:cubicBezTo>
                  <a:pt x="5037501" y="2893591"/>
                  <a:pt x="5037501" y="2893591"/>
                  <a:pt x="5378255" y="2763877"/>
                </a:cubicBezTo>
                <a:cubicBezTo>
                  <a:pt x="5383967" y="2761495"/>
                  <a:pt x="5390035" y="2760420"/>
                  <a:pt x="5396043" y="2760541"/>
                </a:cubicBezTo>
                <a:close/>
                <a:moveTo>
                  <a:pt x="930712" y="2760523"/>
                </a:moveTo>
                <a:cubicBezTo>
                  <a:pt x="949147" y="2760880"/>
                  <a:pt x="965971" y="2771968"/>
                  <a:pt x="973130" y="2790565"/>
                </a:cubicBezTo>
                <a:cubicBezTo>
                  <a:pt x="982676" y="2815364"/>
                  <a:pt x="969312" y="2842071"/>
                  <a:pt x="946402" y="2851609"/>
                </a:cubicBezTo>
                <a:cubicBezTo>
                  <a:pt x="946402" y="2851609"/>
                  <a:pt x="946402" y="2851609"/>
                  <a:pt x="604668" y="2981323"/>
                </a:cubicBezTo>
                <a:cubicBezTo>
                  <a:pt x="579849" y="2990862"/>
                  <a:pt x="551212" y="2977508"/>
                  <a:pt x="543575" y="2954616"/>
                </a:cubicBezTo>
                <a:cubicBezTo>
                  <a:pt x="541666" y="2948894"/>
                  <a:pt x="539757" y="2943172"/>
                  <a:pt x="539757" y="2937448"/>
                </a:cubicBezTo>
                <a:cubicBezTo>
                  <a:pt x="539757" y="2918374"/>
                  <a:pt x="551212" y="2899297"/>
                  <a:pt x="570303" y="2893575"/>
                </a:cubicBezTo>
                <a:cubicBezTo>
                  <a:pt x="570303" y="2893575"/>
                  <a:pt x="570303" y="2893575"/>
                  <a:pt x="912038" y="2763862"/>
                </a:cubicBezTo>
                <a:cubicBezTo>
                  <a:pt x="918243" y="2761479"/>
                  <a:pt x="924567" y="2760403"/>
                  <a:pt x="930712" y="2760523"/>
                </a:cubicBezTo>
                <a:close/>
                <a:moveTo>
                  <a:pt x="4845219" y="2755581"/>
                </a:moveTo>
                <a:cubicBezTo>
                  <a:pt x="4864927" y="2757900"/>
                  <a:pt x="4882761" y="2771451"/>
                  <a:pt x="4889895" y="2791423"/>
                </a:cubicBezTo>
                <a:cubicBezTo>
                  <a:pt x="4897503" y="2818056"/>
                  <a:pt x="4882285" y="2846591"/>
                  <a:pt x="4855653" y="2856101"/>
                </a:cubicBezTo>
                <a:cubicBezTo>
                  <a:pt x="4855653" y="2856101"/>
                  <a:pt x="4855653" y="2856101"/>
                  <a:pt x="4513231" y="2962630"/>
                </a:cubicBezTo>
                <a:cubicBezTo>
                  <a:pt x="4486597" y="2970238"/>
                  <a:pt x="4458063" y="2955019"/>
                  <a:pt x="4448551" y="2928389"/>
                </a:cubicBezTo>
                <a:cubicBezTo>
                  <a:pt x="4448551" y="2924585"/>
                  <a:pt x="4446647" y="2918879"/>
                  <a:pt x="4446647" y="2913171"/>
                </a:cubicBezTo>
                <a:cubicBezTo>
                  <a:pt x="4446647" y="2892246"/>
                  <a:pt x="4461867" y="2871320"/>
                  <a:pt x="4482793" y="2863710"/>
                </a:cubicBezTo>
                <a:cubicBezTo>
                  <a:pt x="4482793" y="2863710"/>
                  <a:pt x="4482793" y="2863710"/>
                  <a:pt x="4825215" y="2757187"/>
                </a:cubicBezTo>
                <a:cubicBezTo>
                  <a:pt x="4831873" y="2755282"/>
                  <a:pt x="4838651" y="2754807"/>
                  <a:pt x="4845219" y="2755581"/>
                </a:cubicBezTo>
                <a:close/>
                <a:moveTo>
                  <a:pt x="1482634" y="2755562"/>
                </a:moveTo>
                <a:cubicBezTo>
                  <a:pt x="1502322" y="2757882"/>
                  <a:pt x="1519861" y="2771434"/>
                  <a:pt x="1525588" y="2791407"/>
                </a:cubicBezTo>
                <a:cubicBezTo>
                  <a:pt x="1535133" y="2818039"/>
                  <a:pt x="1519861" y="2846572"/>
                  <a:pt x="1493134" y="2856085"/>
                </a:cubicBezTo>
                <a:cubicBezTo>
                  <a:pt x="1493134" y="2856085"/>
                  <a:pt x="1493134" y="2856085"/>
                  <a:pt x="1149506" y="2962612"/>
                </a:cubicBezTo>
                <a:cubicBezTo>
                  <a:pt x="1122779" y="2970220"/>
                  <a:pt x="1092234" y="2955002"/>
                  <a:pt x="1084598" y="2928370"/>
                </a:cubicBezTo>
                <a:cubicBezTo>
                  <a:pt x="1082689" y="2924566"/>
                  <a:pt x="1082689" y="2918859"/>
                  <a:pt x="1082689" y="2913153"/>
                </a:cubicBezTo>
                <a:cubicBezTo>
                  <a:pt x="1082689" y="2892227"/>
                  <a:pt x="1096052" y="2871303"/>
                  <a:pt x="1118961" y="2863693"/>
                </a:cubicBezTo>
                <a:cubicBezTo>
                  <a:pt x="1118961" y="2863693"/>
                  <a:pt x="1118961" y="2863693"/>
                  <a:pt x="1462589" y="2757168"/>
                </a:cubicBezTo>
                <a:cubicBezTo>
                  <a:pt x="1469271" y="2755265"/>
                  <a:pt x="1476072" y="2754790"/>
                  <a:pt x="1482634" y="2755562"/>
                </a:cubicBezTo>
                <a:close/>
                <a:moveTo>
                  <a:pt x="4291673" y="2750396"/>
                </a:moveTo>
                <a:cubicBezTo>
                  <a:pt x="4313357" y="2754247"/>
                  <a:pt x="4331561" y="2769654"/>
                  <a:pt x="4335845" y="2792582"/>
                </a:cubicBezTo>
                <a:cubicBezTo>
                  <a:pt x="4343459" y="2821247"/>
                  <a:pt x="4326325" y="2851820"/>
                  <a:pt x="4295867" y="2859465"/>
                </a:cubicBezTo>
                <a:cubicBezTo>
                  <a:pt x="4295867" y="2859465"/>
                  <a:pt x="4295867" y="2859465"/>
                  <a:pt x="3953199" y="2943545"/>
                </a:cubicBezTo>
                <a:cubicBezTo>
                  <a:pt x="3922739" y="2951190"/>
                  <a:pt x="3892279" y="2932080"/>
                  <a:pt x="3884665" y="2901507"/>
                </a:cubicBezTo>
                <a:cubicBezTo>
                  <a:pt x="3884665" y="2897685"/>
                  <a:pt x="3884665" y="2893863"/>
                  <a:pt x="3884665" y="2888131"/>
                </a:cubicBezTo>
                <a:cubicBezTo>
                  <a:pt x="3884665" y="2863287"/>
                  <a:pt x="3899895" y="2840356"/>
                  <a:pt x="3926547" y="2834624"/>
                </a:cubicBezTo>
                <a:cubicBezTo>
                  <a:pt x="3926547" y="2834624"/>
                  <a:pt x="3926547" y="2834624"/>
                  <a:pt x="4269215" y="2750546"/>
                </a:cubicBezTo>
                <a:cubicBezTo>
                  <a:pt x="4276829" y="2749112"/>
                  <a:pt x="4284445" y="2749112"/>
                  <a:pt x="4291673" y="2750396"/>
                </a:cubicBezTo>
                <a:close/>
                <a:moveTo>
                  <a:pt x="2037944" y="2750376"/>
                </a:moveTo>
                <a:cubicBezTo>
                  <a:pt x="2058900" y="2754227"/>
                  <a:pt x="2077448" y="2769633"/>
                  <a:pt x="2083155" y="2792565"/>
                </a:cubicBezTo>
                <a:cubicBezTo>
                  <a:pt x="2090765" y="2821228"/>
                  <a:pt x="2071741" y="2851802"/>
                  <a:pt x="2043205" y="2859446"/>
                </a:cubicBezTo>
                <a:cubicBezTo>
                  <a:pt x="2043205" y="2859446"/>
                  <a:pt x="2043205" y="2859446"/>
                  <a:pt x="1698870" y="2943524"/>
                </a:cubicBezTo>
                <a:cubicBezTo>
                  <a:pt x="1668432" y="2951168"/>
                  <a:pt x="1639896" y="2932060"/>
                  <a:pt x="1632286" y="2901486"/>
                </a:cubicBezTo>
                <a:cubicBezTo>
                  <a:pt x="1630384" y="2897664"/>
                  <a:pt x="1630384" y="2893842"/>
                  <a:pt x="1630384" y="2888109"/>
                </a:cubicBezTo>
                <a:cubicBezTo>
                  <a:pt x="1630384" y="2863268"/>
                  <a:pt x="1647506" y="2840337"/>
                  <a:pt x="1672237" y="2834604"/>
                </a:cubicBezTo>
                <a:cubicBezTo>
                  <a:pt x="1672237" y="2834604"/>
                  <a:pt x="1672237" y="2834604"/>
                  <a:pt x="2016571" y="2750526"/>
                </a:cubicBezTo>
                <a:cubicBezTo>
                  <a:pt x="2023705" y="2749093"/>
                  <a:pt x="2030958" y="2749093"/>
                  <a:pt x="2037944" y="2750376"/>
                </a:cubicBezTo>
                <a:close/>
                <a:moveTo>
                  <a:pt x="3710455" y="2745765"/>
                </a:moveTo>
                <a:cubicBezTo>
                  <a:pt x="3742797" y="2740051"/>
                  <a:pt x="3773237" y="2762911"/>
                  <a:pt x="3778943" y="2795292"/>
                </a:cubicBezTo>
                <a:cubicBezTo>
                  <a:pt x="3784651" y="2827678"/>
                  <a:pt x="3763723" y="2858160"/>
                  <a:pt x="3731383" y="2863875"/>
                </a:cubicBezTo>
                <a:cubicBezTo>
                  <a:pt x="3731383" y="2863875"/>
                  <a:pt x="3731383" y="2863875"/>
                  <a:pt x="3385136" y="2924837"/>
                </a:cubicBezTo>
                <a:cubicBezTo>
                  <a:pt x="3352794" y="2930551"/>
                  <a:pt x="3322355" y="2907691"/>
                  <a:pt x="3316647" y="2875305"/>
                </a:cubicBezTo>
                <a:cubicBezTo>
                  <a:pt x="3316647" y="2871495"/>
                  <a:pt x="3314745" y="2869590"/>
                  <a:pt x="3314745" y="2865779"/>
                </a:cubicBezTo>
                <a:cubicBezTo>
                  <a:pt x="3314745" y="2837202"/>
                  <a:pt x="3335672" y="2812439"/>
                  <a:pt x="3364209" y="2806724"/>
                </a:cubicBezTo>
                <a:cubicBezTo>
                  <a:pt x="3364209" y="2806724"/>
                  <a:pt x="3364209" y="2806724"/>
                  <a:pt x="3710455" y="2745765"/>
                </a:cubicBezTo>
                <a:close/>
                <a:moveTo>
                  <a:pt x="2576964" y="2745743"/>
                </a:moveTo>
                <a:cubicBezTo>
                  <a:pt x="2609306" y="2740028"/>
                  <a:pt x="2639745" y="2762887"/>
                  <a:pt x="2645453" y="2795273"/>
                </a:cubicBezTo>
                <a:cubicBezTo>
                  <a:pt x="2651160" y="2827657"/>
                  <a:pt x="2630233" y="2858138"/>
                  <a:pt x="2595989" y="2863852"/>
                </a:cubicBezTo>
                <a:cubicBezTo>
                  <a:pt x="2595989" y="2863852"/>
                  <a:pt x="2595989" y="2863852"/>
                  <a:pt x="2251645" y="2924813"/>
                </a:cubicBezTo>
                <a:cubicBezTo>
                  <a:pt x="2219303" y="2930528"/>
                  <a:pt x="2188864" y="2907668"/>
                  <a:pt x="2183156" y="2875282"/>
                </a:cubicBezTo>
                <a:cubicBezTo>
                  <a:pt x="2183156" y="2871473"/>
                  <a:pt x="2181254" y="2869568"/>
                  <a:pt x="2181254" y="2865758"/>
                </a:cubicBezTo>
                <a:cubicBezTo>
                  <a:pt x="2181254" y="2837183"/>
                  <a:pt x="2202181" y="2812418"/>
                  <a:pt x="2230718" y="2806703"/>
                </a:cubicBezTo>
                <a:cubicBezTo>
                  <a:pt x="2230718" y="2806703"/>
                  <a:pt x="2230718" y="2806703"/>
                  <a:pt x="2576964" y="2745743"/>
                </a:cubicBezTo>
                <a:close/>
                <a:moveTo>
                  <a:pt x="3140484" y="2739127"/>
                </a:moveTo>
                <a:cubicBezTo>
                  <a:pt x="3176656" y="2735289"/>
                  <a:pt x="3207116" y="2760236"/>
                  <a:pt x="3210923" y="2796693"/>
                </a:cubicBezTo>
                <a:cubicBezTo>
                  <a:pt x="3214731" y="2831234"/>
                  <a:pt x="3189982" y="2863857"/>
                  <a:pt x="3153811" y="2867695"/>
                </a:cubicBezTo>
                <a:cubicBezTo>
                  <a:pt x="3153811" y="2867695"/>
                  <a:pt x="3153811" y="2867695"/>
                  <a:pt x="2807326" y="2906076"/>
                </a:cubicBezTo>
                <a:cubicBezTo>
                  <a:pt x="2773058" y="2909915"/>
                  <a:pt x="2740695" y="2883048"/>
                  <a:pt x="2736887" y="2848505"/>
                </a:cubicBezTo>
                <a:cubicBezTo>
                  <a:pt x="2736887" y="2846586"/>
                  <a:pt x="2736887" y="2842748"/>
                  <a:pt x="2736887" y="2840828"/>
                </a:cubicBezTo>
                <a:cubicBezTo>
                  <a:pt x="2736887" y="2808208"/>
                  <a:pt x="2761636" y="2781342"/>
                  <a:pt x="2794000" y="2777505"/>
                </a:cubicBezTo>
                <a:cubicBezTo>
                  <a:pt x="2794000" y="2777505"/>
                  <a:pt x="2794000" y="2777505"/>
                  <a:pt x="3140484" y="2739127"/>
                </a:cubicBezTo>
                <a:close/>
                <a:moveTo>
                  <a:pt x="6499393" y="2450537"/>
                </a:moveTo>
                <a:cubicBezTo>
                  <a:pt x="6508679" y="2453617"/>
                  <a:pt x="6516775" y="2460254"/>
                  <a:pt x="6521539" y="2469736"/>
                </a:cubicBezTo>
                <a:cubicBezTo>
                  <a:pt x="6531063" y="2488696"/>
                  <a:pt x="6523443" y="2511450"/>
                  <a:pt x="6506299" y="2520927"/>
                </a:cubicBezTo>
                <a:cubicBezTo>
                  <a:pt x="6506299" y="2520927"/>
                  <a:pt x="6506299" y="2520927"/>
                  <a:pt x="6167203" y="2697229"/>
                </a:cubicBezTo>
                <a:cubicBezTo>
                  <a:pt x="6148153" y="2706708"/>
                  <a:pt x="6125293" y="2699125"/>
                  <a:pt x="6115769" y="2680166"/>
                </a:cubicBezTo>
                <a:cubicBezTo>
                  <a:pt x="6111959" y="2674476"/>
                  <a:pt x="6111959" y="2668789"/>
                  <a:pt x="6111959" y="2663100"/>
                </a:cubicBezTo>
                <a:cubicBezTo>
                  <a:pt x="6111959" y="2649833"/>
                  <a:pt x="6119579" y="2636563"/>
                  <a:pt x="6131009" y="2628979"/>
                </a:cubicBezTo>
                <a:cubicBezTo>
                  <a:pt x="6131009" y="2628979"/>
                  <a:pt x="6131009" y="2628979"/>
                  <a:pt x="6470103" y="2452670"/>
                </a:cubicBezTo>
                <a:cubicBezTo>
                  <a:pt x="6479629" y="2447930"/>
                  <a:pt x="6490105" y="2447455"/>
                  <a:pt x="6499393" y="2450537"/>
                </a:cubicBezTo>
                <a:close/>
                <a:moveTo>
                  <a:pt x="5959697" y="2446989"/>
                </a:moveTo>
                <a:cubicBezTo>
                  <a:pt x="5969967" y="2450795"/>
                  <a:pt x="5978565" y="2458406"/>
                  <a:pt x="5983341" y="2468876"/>
                </a:cubicBezTo>
                <a:cubicBezTo>
                  <a:pt x="5992895" y="2491708"/>
                  <a:pt x="5983341" y="2516441"/>
                  <a:pt x="5962323" y="2525955"/>
                </a:cubicBezTo>
                <a:cubicBezTo>
                  <a:pt x="5962323" y="2525955"/>
                  <a:pt x="5962323" y="2525955"/>
                  <a:pt x="5620319" y="2676242"/>
                </a:cubicBezTo>
                <a:cubicBezTo>
                  <a:pt x="5599301" y="2687659"/>
                  <a:pt x="5574463" y="2676242"/>
                  <a:pt x="5564909" y="2655316"/>
                </a:cubicBezTo>
                <a:cubicBezTo>
                  <a:pt x="5561087" y="2649609"/>
                  <a:pt x="5561087" y="2643900"/>
                  <a:pt x="5561087" y="2638194"/>
                </a:cubicBezTo>
                <a:cubicBezTo>
                  <a:pt x="5561087" y="2621072"/>
                  <a:pt x="5570641" y="2605853"/>
                  <a:pt x="5585927" y="2598244"/>
                </a:cubicBezTo>
                <a:cubicBezTo>
                  <a:pt x="5585927" y="2598244"/>
                  <a:pt x="5585927" y="2598244"/>
                  <a:pt x="5926021" y="2447940"/>
                </a:cubicBezTo>
                <a:cubicBezTo>
                  <a:pt x="5937485" y="2443184"/>
                  <a:pt x="5949427" y="2443184"/>
                  <a:pt x="5959697" y="2446989"/>
                </a:cubicBezTo>
                <a:close/>
                <a:moveTo>
                  <a:pt x="399505" y="2446974"/>
                </a:moveTo>
                <a:cubicBezTo>
                  <a:pt x="410005" y="2450780"/>
                  <a:pt x="419074" y="2458390"/>
                  <a:pt x="423847" y="2468859"/>
                </a:cubicBezTo>
                <a:cubicBezTo>
                  <a:pt x="433393" y="2491688"/>
                  <a:pt x="423847" y="2516422"/>
                  <a:pt x="400936" y="2525937"/>
                </a:cubicBezTo>
                <a:cubicBezTo>
                  <a:pt x="400936" y="2525937"/>
                  <a:pt x="400936" y="2525937"/>
                  <a:pt x="61095" y="2676233"/>
                </a:cubicBezTo>
                <a:cubicBezTo>
                  <a:pt x="40094" y="2687647"/>
                  <a:pt x="13365" y="2676233"/>
                  <a:pt x="3818" y="2655306"/>
                </a:cubicBezTo>
                <a:cubicBezTo>
                  <a:pt x="1909" y="2649597"/>
                  <a:pt x="0" y="2643887"/>
                  <a:pt x="0" y="2638182"/>
                </a:cubicBezTo>
                <a:cubicBezTo>
                  <a:pt x="0" y="2621058"/>
                  <a:pt x="9546" y="2605839"/>
                  <a:pt x="26729" y="2598228"/>
                </a:cubicBezTo>
                <a:cubicBezTo>
                  <a:pt x="26729" y="2598228"/>
                  <a:pt x="26729" y="2598228"/>
                  <a:pt x="366570" y="2447925"/>
                </a:cubicBezTo>
                <a:cubicBezTo>
                  <a:pt x="377071" y="2443169"/>
                  <a:pt x="389004" y="2443169"/>
                  <a:pt x="399505" y="2446974"/>
                </a:cubicBezTo>
                <a:close/>
                <a:moveTo>
                  <a:pt x="5396633" y="2440126"/>
                </a:moveTo>
                <a:cubicBezTo>
                  <a:pt x="5414989" y="2441016"/>
                  <a:pt x="5431741" y="2453112"/>
                  <a:pt x="5438869" y="2471616"/>
                </a:cubicBezTo>
                <a:cubicBezTo>
                  <a:pt x="5448375" y="2496282"/>
                  <a:pt x="5435067" y="2522842"/>
                  <a:pt x="5410355" y="2532335"/>
                </a:cubicBezTo>
                <a:cubicBezTo>
                  <a:pt x="5410355" y="2532335"/>
                  <a:pt x="5410355" y="2532335"/>
                  <a:pt x="5070087" y="2657533"/>
                </a:cubicBezTo>
                <a:cubicBezTo>
                  <a:pt x="5045375" y="2667018"/>
                  <a:pt x="5018761" y="2653739"/>
                  <a:pt x="5009257" y="2629079"/>
                </a:cubicBezTo>
                <a:cubicBezTo>
                  <a:pt x="5007355" y="2623388"/>
                  <a:pt x="5005455" y="2617696"/>
                  <a:pt x="5005455" y="2613902"/>
                </a:cubicBezTo>
                <a:cubicBezTo>
                  <a:pt x="5005455" y="2593035"/>
                  <a:pt x="5018761" y="2575966"/>
                  <a:pt x="5037771" y="2568377"/>
                </a:cubicBezTo>
                <a:cubicBezTo>
                  <a:pt x="5037771" y="2568377"/>
                  <a:pt x="5037771" y="2568377"/>
                  <a:pt x="5378039" y="2443151"/>
                </a:cubicBezTo>
                <a:cubicBezTo>
                  <a:pt x="5384217" y="2440778"/>
                  <a:pt x="5390513" y="2439830"/>
                  <a:pt x="5396633" y="2440126"/>
                </a:cubicBezTo>
                <a:close/>
                <a:moveTo>
                  <a:pt x="930712" y="2440109"/>
                </a:moveTo>
                <a:cubicBezTo>
                  <a:pt x="949147" y="2441000"/>
                  <a:pt x="965971" y="2453095"/>
                  <a:pt x="973130" y="2471595"/>
                </a:cubicBezTo>
                <a:cubicBezTo>
                  <a:pt x="982676" y="2496260"/>
                  <a:pt x="969312" y="2522822"/>
                  <a:pt x="944493" y="2532310"/>
                </a:cubicBezTo>
                <a:cubicBezTo>
                  <a:pt x="944493" y="2532310"/>
                  <a:pt x="944493" y="2532310"/>
                  <a:pt x="602758" y="2657520"/>
                </a:cubicBezTo>
                <a:cubicBezTo>
                  <a:pt x="577940" y="2667007"/>
                  <a:pt x="551212" y="2653725"/>
                  <a:pt x="541666" y="2629065"/>
                </a:cubicBezTo>
                <a:cubicBezTo>
                  <a:pt x="539757" y="2623373"/>
                  <a:pt x="539757" y="2617681"/>
                  <a:pt x="539757" y="2613887"/>
                </a:cubicBezTo>
                <a:cubicBezTo>
                  <a:pt x="539757" y="2593017"/>
                  <a:pt x="551212" y="2575945"/>
                  <a:pt x="570303" y="2568357"/>
                </a:cubicBezTo>
                <a:cubicBezTo>
                  <a:pt x="570303" y="2568357"/>
                  <a:pt x="570303" y="2568357"/>
                  <a:pt x="912038" y="2443134"/>
                </a:cubicBezTo>
                <a:cubicBezTo>
                  <a:pt x="918243" y="2440761"/>
                  <a:pt x="924567" y="2439813"/>
                  <a:pt x="930712" y="2440109"/>
                </a:cubicBezTo>
                <a:close/>
                <a:moveTo>
                  <a:pt x="4847413" y="2434954"/>
                </a:moveTo>
                <a:cubicBezTo>
                  <a:pt x="4867891" y="2437368"/>
                  <a:pt x="4885417" y="2451318"/>
                  <a:pt x="4891141" y="2472786"/>
                </a:cubicBezTo>
                <a:cubicBezTo>
                  <a:pt x="4900679" y="2499500"/>
                  <a:pt x="4883509" y="2528118"/>
                  <a:pt x="4856803" y="2537659"/>
                </a:cubicBezTo>
                <a:cubicBezTo>
                  <a:pt x="4856803" y="2537659"/>
                  <a:pt x="4856803" y="2537659"/>
                  <a:pt x="4513417" y="2638754"/>
                </a:cubicBezTo>
                <a:cubicBezTo>
                  <a:pt x="4484801" y="2646384"/>
                  <a:pt x="4456187" y="2631124"/>
                  <a:pt x="4448555" y="2602511"/>
                </a:cubicBezTo>
                <a:cubicBezTo>
                  <a:pt x="4446647" y="2596787"/>
                  <a:pt x="4446647" y="2592973"/>
                  <a:pt x="4446647" y="2587251"/>
                </a:cubicBezTo>
                <a:cubicBezTo>
                  <a:pt x="4446647" y="2564365"/>
                  <a:pt x="4460001" y="2545289"/>
                  <a:pt x="4482895" y="2537659"/>
                </a:cubicBezTo>
                <a:cubicBezTo>
                  <a:pt x="4482895" y="2537659"/>
                  <a:pt x="4482895" y="2537659"/>
                  <a:pt x="4826279" y="2436532"/>
                </a:cubicBezTo>
                <a:cubicBezTo>
                  <a:pt x="4833433" y="2434625"/>
                  <a:pt x="4840587" y="2434147"/>
                  <a:pt x="4847413" y="2434954"/>
                </a:cubicBezTo>
                <a:close/>
                <a:moveTo>
                  <a:pt x="1482970" y="2434934"/>
                </a:moveTo>
                <a:cubicBezTo>
                  <a:pt x="1503179" y="2437349"/>
                  <a:pt x="1521779" y="2451300"/>
                  <a:pt x="1527502" y="2472764"/>
                </a:cubicBezTo>
                <a:cubicBezTo>
                  <a:pt x="1535133" y="2499474"/>
                  <a:pt x="1519871" y="2528092"/>
                  <a:pt x="1491256" y="2537631"/>
                </a:cubicBezTo>
                <a:cubicBezTo>
                  <a:pt x="1491256" y="2537631"/>
                  <a:pt x="1491256" y="2537631"/>
                  <a:pt x="1147871" y="2638738"/>
                </a:cubicBezTo>
                <a:cubicBezTo>
                  <a:pt x="1121164" y="2646368"/>
                  <a:pt x="1092548" y="2631108"/>
                  <a:pt x="1083010" y="2602491"/>
                </a:cubicBezTo>
                <a:cubicBezTo>
                  <a:pt x="1081102" y="2596768"/>
                  <a:pt x="1081102" y="2592952"/>
                  <a:pt x="1081102" y="2587229"/>
                </a:cubicBezTo>
                <a:cubicBezTo>
                  <a:pt x="1081102" y="2564338"/>
                  <a:pt x="1096364" y="2545262"/>
                  <a:pt x="1119256" y="2537631"/>
                </a:cubicBezTo>
                <a:cubicBezTo>
                  <a:pt x="1119256" y="2537631"/>
                  <a:pt x="1119256" y="2537631"/>
                  <a:pt x="1462641" y="2436514"/>
                </a:cubicBezTo>
                <a:cubicBezTo>
                  <a:pt x="1469318" y="2434606"/>
                  <a:pt x="1476233" y="2434129"/>
                  <a:pt x="1482970" y="2434934"/>
                </a:cubicBezTo>
                <a:close/>
                <a:moveTo>
                  <a:pt x="4270903" y="2431440"/>
                </a:moveTo>
                <a:cubicBezTo>
                  <a:pt x="4301321" y="2425725"/>
                  <a:pt x="4331739" y="2444776"/>
                  <a:pt x="4339343" y="2475259"/>
                </a:cubicBezTo>
                <a:cubicBezTo>
                  <a:pt x="4345047" y="2505747"/>
                  <a:pt x="4326035" y="2536230"/>
                  <a:pt x="4295617" y="2543850"/>
                </a:cubicBezTo>
                <a:cubicBezTo>
                  <a:pt x="4295617" y="2543850"/>
                  <a:pt x="4295617" y="2543850"/>
                  <a:pt x="3951517" y="2618129"/>
                </a:cubicBezTo>
                <a:cubicBezTo>
                  <a:pt x="3921099" y="2625749"/>
                  <a:pt x="3890681" y="2606702"/>
                  <a:pt x="3883077" y="2574325"/>
                </a:cubicBezTo>
                <a:cubicBezTo>
                  <a:pt x="3883077" y="2570513"/>
                  <a:pt x="3883077" y="2566705"/>
                  <a:pt x="3883077" y="2562897"/>
                </a:cubicBezTo>
                <a:cubicBezTo>
                  <a:pt x="3883077" y="2536230"/>
                  <a:pt x="3900187" y="2513366"/>
                  <a:pt x="3926803" y="2507652"/>
                </a:cubicBezTo>
                <a:cubicBezTo>
                  <a:pt x="3926803" y="2507652"/>
                  <a:pt x="3926803" y="2507652"/>
                  <a:pt x="4270903" y="2431440"/>
                </a:cubicBezTo>
                <a:close/>
                <a:moveTo>
                  <a:pt x="2016623" y="2431420"/>
                </a:moveTo>
                <a:cubicBezTo>
                  <a:pt x="2047041" y="2425705"/>
                  <a:pt x="2077458" y="2444755"/>
                  <a:pt x="2085063" y="2475236"/>
                </a:cubicBezTo>
                <a:cubicBezTo>
                  <a:pt x="2090766" y="2505718"/>
                  <a:pt x="2071755" y="2536199"/>
                  <a:pt x="2041337" y="2543819"/>
                </a:cubicBezTo>
                <a:cubicBezTo>
                  <a:pt x="2041337" y="2543819"/>
                  <a:pt x="2041337" y="2543819"/>
                  <a:pt x="1697237" y="2618110"/>
                </a:cubicBezTo>
                <a:cubicBezTo>
                  <a:pt x="1666819" y="2625730"/>
                  <a:pt x="1636401" y="2606681"/>
                  <a:pt x="1630698" y="2574297"/>
                </a:cubicBezTo>
                <a:cubicBezTo>
                  <a:pt x="1628797" y="2570488"/>
                  <a:pt x="1628797" y="2566678"/>
                  <a:pt x="1628797" y="2562869"/>
                </a:cubicBezTo>
                <a:cubicBezTo>
                  <a:pt x="1628797" y="2536199"/>
                  <a:pt x="1647808" y="2513338"/>
                  <a:pt x="1674424" y="2507623"/>
                </a:cubicBezTo>
                <a:cubicBezTo>
                  <a:pt x="1674424" y="2507623"/>
                  <a:pt x="1674424" y="2507623"/>
                  <a:pt x="2016623" y="2431420"/>
                </a:cubicBezTo>
                <a:close/>
                <a:moveTo>
                  <a:pt x="2799526" y="2428900"/>
                </a:moveTo>
                <a:cubicBezTo>
                  <a:pt x="2799526" y="2428900"/>
                  <a:pt x="2799526" y="2428900"/>
                  <a:pt x="3148596" y="2428900"/>
                </a:cubicBezTo>
                <a:cubicBezTo>
                  <a:pt x="3188654" y="2428900"/>
                  <a:pt x="3221081" y="2459451"/>
                  <a:pt x="3221081" y="2499556"/>
                </a:cubicBezTo>
                <a:cubicBezTo>
                  <a:pt x="3221081" y="2537746"/>
                  <a:pt x="3188654" y="2570198"/>
                  <a:pt x="3148596" y="2570198"/>
                </a:cubicBezTo>
                <a:cubicBezTo>
                  <a:pt x="3148596" y="2570198"/>
                  <a:pt x="3148596" y="2570198"/>
                  <a:pt x="2799526" y="2570198"/>
                </a:cubicBezTo>
                <a:cubicBezTo>
                  <a:pt x="2761376" y="2570198"/>
                  <a:pt x="2728949" y="2537746"/>
                  <a:pt x="2728949" y="2499556"/>
                </a:cubicBezTo>
                <a:cubicBezTo>
                  <a:pt x="2728949" y="2459451"/>
                  <a:pt x="2761376" y="2428900"/>
                  <a:pt x="2799526" y="2428900"/>
                </a:cubicBezTo>
                <a:close/>
                <a:moveTo>
                  <a:pt x="3713481" y="2424773"/>
                </a:moveTo>
                <a:cubicBezTo>
                  <a:pt x="3745887" y="2420960"/>
                  <a:pt x="3778295" y="2443824"/>
                  <a:pt x="3782107" y="2478118"/>
                </a:cubicBezTo>
                <a:cubicBezTo>
                  <a:pt x="3787827" y="2510510"/>
                  <a:pt x="3764951" y="2542896"/>
                  <a:pt x="3730637" y="2546706"/>
                </a:cubicBezTo>
                <a:cubicBezTo>
                  <a:pt x="3730637" y="2546706"/>
                  <a:pt x="3730637" y="2546706"/>
                  <a:pt x="3383690" y="2598127"/>
                </a:cubicBezTo>
                <a:cubicBezTo>
                  <a:pt x="3351283" y="2601938"/>
                  <a:pt x="3318876" y="2579083"/>
                  <a:pt x="3315063" y="2546706"/>
                </a:cubicBezTo>
                <a:cubicBezTo>
                  <a:pt x="3313157" y="2542896"/>
                  <a:pt x="3313157" y="2539086"/>
                  <a:pt x="3313157" y="2537183"/>
                </a:cubicBezTo>
                <a:cubicBezTo>
                  <a:pt x="3313157" y="2506700"/>
                  <a:pt x="3336033" y="2480026"/>
                  <a:pt x="3366533" y="2476213"/>
                </a:cubicBezTo>
                <a:cubicBezTo>
                  <a:pt x="3366533" y="2476213"/>
                  <a:pt x="3366533" y="2476213"/>
                  <a:pt x="3713481" y="2424773"/>
                </a:cubicBezTo>
                <a:close/>
                <a:moveTo>
                  <a:pt x="2578402" y="2424750"/>
                </a:moveTo>
                <a:cubicBezTo>
                  <a:pt x="2610809" y="2420940"/>
                  <a:pt x="2643217" y="2443801"/>
                  <a:pt x="2647029" y="2478093"/>
                </a:cubicBezTo>
                <a:cubicBezTo>
                  <a:pt x="2652748" y="2510478"/>
                  <a:pt x="2629872" y="2542862"/>
                  <a:pt x="2595559" y="2546673"/>
                </a:cubicBezTo>
                <a:cubicBezTo>
                  <a:pt x="2595559" y="2546673"/>
                  <a:pt x="2595559" y="2546673"/>
                  <a:pt x="2248612" y="2598105"/>
                </a:cubicBezTo>
                <a:cubicBezTo>
                  <a:pt x="2216205" y="2601915"/>
                  <a:pt x="2183798" y="2579056"/>
                  <a:pt x="2179985" y="2546673"/>
                </a:cubicBezTo>
                <a:cubicBezTo>
                  <a:pt x="2178079" y="2542862"/>
                  <a:pt x="2178079" y="2539052"/>
                  <a:pt x="2178079" y="2537148"/>
                </a:cubicBezTo>
                <a:cubicBezTo>
                  <a:pt x="2178079" y="2506667"/>
                  <a:pt x="2200955" y="2479996"/>
                  <a:pt x="2231455" y="2476187"/>
                </a:cubicBezTo>
                <a:cubicBezTo>
                  <a:pt x="2231455" y="2476187"/>
                  <a:pt x="2231455" y="2476187"/>
                  <a:pt x="2578402" y="2424750"/>
                </a:cubicBezTo>
                <a:close/>
                <a:moveTo>
                  <a:pt x="6500049" y="2128300"/>
                </a:moveTo>
                <a:cubicBezTo>
                  <a:pt x="6509329" y="2131399"/>
                  <a:pt x="6517421" y="2138076"/>
                  <a:pt x="6522179" y="2147616"/>
                </a:cubicBezTo>
                <a:cubicBezTo>
                  <a:pt x="6525985" y="2153339"/>
                  <a:pt x="6527889" y="2159060"/>
                  <a:pt x="6527889" y="2164783"/>
                </a:cubicBezTo>
                <a:cubicBezTo>
                  <a:pt x="6527889" y="2180041"/>
                  <a:pt x="6520275" y="2193391"/>
                  <a:pt x="6506949" y="2199112"/>
                </a:cubicBezTo>
                <a:cubicBezTo>
                  <a:pt x="6506949" y="2199112"/>
                  <a:pt x="6506949" y="2199112"/>
                  <a:pt x="6168111" y="2374577"/>
                </a:cubicBezTo>
                <a:cubicBezTo>
                  <a:pt x="6149075" y="2386022"/>
                  <a:pt x="6126231" y="2378393"/>
                  <a:pt x="6116713" y="2359320"/>
                </a:cubicBezTo>
                <a:cubicBezTo>
                  <a:pt x="6107195" y="2340248"/>
                  <a:pt x="6114811" y="2317360"/>
                  <a:pt x="6131943" y="2305905"/>
                </a:cubicBezTo>
                <a:cubicBezTo>
                  <a:pt x="6131943" y="2305905"/>
                  <a:pt x="6131943" y="2305905"/>
                  <a:pt x="6470781" y="2130447"/>
                </a:cubicBezTo>
                <a:cubicBezTo>
                  <a:pt x="6480299" y="2125679"/>
                  <a:pt x="6490769" y="2125202"/>
                  <a:pt x="6500049" y="2128300"/>
                </a:cubicBezTo>
                <a:close/>
                <a:moveTo>
                  <a:pt x="5959179" y="2123124"/>
                </a:moveTo>
                <a:cubicBezTo>
                  <a:pt x="5969411" y="2126926"/>
                  <a:pt x="5977979" y="2134535"/>
                  <a:pt x="5982737" y="2145006"/>
                </a:cubicBezTo>
                <a:cubicBezTo>
                  <a:pt x="5984641" y="2150712"/>
                  <a:pt x="5986543" y="2158323"/>
                  <a:pt x="5986543" y="2164031"/>
                </a:cubicBezTo>
                <a:cubicBezTo>
                  <a:pt x="5986543" y="2179252"/>
                  <a:pt x="5977025" y="2196376"/>
                  <a:pt x="5961797" y="2202083"/>
                </a:cubicBezTo>
                <a:cubicBezTo>
                  <a:pt x="5961797" y="2202083"/>
                  <a:pt x="5961797" y="2202083"/>
                  <a:pt x="5621049" y="2354284"/>
                </a:cubicBezTo>
                <a:cubicBezTo>
                  <a:pt x="5600109" y="2363796"/>
                  <a:pt x="5575363" y="2354284"/>
                  <a:pt x="5565845" y="2333356"/>
                </a:cubicBezTo>
                <a:cubicBezTo>
                  <a:pt x="5556327" y="2312426"/>
                  <a:pt x="5565845" y="2285781"/>
                  <a:pt x="5586783" y="2276277"/>
                </a:cubicBezTo>
                <a:cubicBezTo>
                  <a:pt x="5586783" y="2276277"/>
                  <a:pt x="5586783" y="2276277"/>
                  <a:pt x="5925629" y="2124073"/>
                </a:cubicBezTo>
                <a:cubicBezTo>
                  <a:pt x="5937051" y="2119318"/>
                  <a:pt x="5948947" y="2119318"/>
                  <a:pt x="5959179" y="2123124"/>
                </a:cubicBezTo>
                <a:close/>
                <a:moveTo>
                  <a:pt x="398985" y="2123120"/>
                </a:moveTo>
                <a:cubicBezTo>
                  <a:pt x="409447" y="2126926"/>
                  <a:pt x="418483" y="2134534"/>
                  <a:pt x="423239" y="2145003"/>
                </a:cubicBezTo>
                <a:cubicBezTo>
                  <a:pt x="425141" y="2150710"/>
                  <a:pt x="427043" y="2158322"/>
                  <a:pt x="427043" y="2164030"/>
                </a:cubicBezTo>
                <a:cubicBezTo>
                  <a:pt x="427043" y="2179250"/>
                  <a:pt x="417532" y="2196374"/>
                  <a:pt x="402314" y="2202079"/>
                </a:cubicBezTo>
                <a:cubicBezTo>
                  <a:pt x="402314" y="2202079"/>
                  <a:pt x="402314" y="2202079"/>
                  <a:pt x="61815" y="2354282"/>
                </a:cubicBezTo>
                <a:cubicBezTo>
                  <a:pt x="40890" y="2363796"/>
                  <a:pt x="16162" y="2354282"/>
                  <a:pt x="6650" y="2333354"/>
                </a:cubicBezTo>
                <a:cubicBezTo>
                  <a:pt x="-4763" y="2312425"/>
                  <a:pt x="4748" y="2285781"/>
                  <a:pt x="27575" y="2276277"/>
                </a:cubicBezTo>
                <a:cubicBezTo>
                  <a:pt x="27575" y="2276277"/>
                  <a:pt x="27575" y="2276277"/>
                  <a:pt x="366172" y="2124071"/>
                </a:cubicBezTo>
                <a:cubicBezTo>
                  <a:pt x="376634" y="2119317"/>
                  <a:pt x="388523" y="2119317"/>
                  <a:pt x="398985" y="2123120"/>
                </a:cubicBezTo>
                <a:close/>
                <a:moveTo>
                  <a:pt x="5396861" y="2116224"/>
                </a:moveTo>
                <a:cubicBezTo>
                  <a:pt x="5414939" y="2117022"/>
                  <a:pt x="5432479" y="2128742"/>
                  <a:pt x="5438205" y="2145799"/>
                </a:cubicBezTo>
                <a:cubicBezTo>
                  <a:pt x="5442023" y="2151485"/>
                  <a:pt x="5442023" y="2157168"/>
                  <a:pt x="5442023" y="2162853"/>
                </a:cubicBezTo>
                <a:cubicBezTo>
                  <a:pt x="5442023" y="2181802"/>
                  <a:pt x="5430569" y="2198854"/>
                  <a:pt x="5411477" y="2206431"/>
                </a:cubicBezTo>
                <a:cubicBezTo>
                  <a:pt x="5411477" y="2206431"/>
                  <a:pt x="5411477" y="2206431"/>
                  <a:pt x="5069743" y="2335273"/>
                </a:cubicBezTo>
                <a:cubicBezTo>
                  <a:pt x="5044925" y="2344742"/>
                  <a:pt x="5018197" y="2333378"/>
                  <a:pt x="5008651" y="2308740"/>
                </a:cubicBezTo>
                <a:cubicBezTo>
                  <a:pt x="4999105" y="2284105"/>
                  <a:pt x="5012469" y="2257588"/>
                  <a:pt x="5037287" y="2248114"/>
                </a:cubicBezTo>
                <a:cubicBezTo>
                  <a:pt x="5037287" y="2248114"/>
                  <a:pt x="5037287" y="2248114"/>
                  <a:pt x="5379023" y="2119273"/>
                </a:cubicBezTo>
                <a:cubicBezTo>
                  <a:pt x="5384751" y="2116904"/>
                  <a:pt x="5390837" y="2115957"/>
                  <a:pt x="5396861" y="2116224"/>
                </a:cubicBezTo>
                <a:close/>
                <a:moveTo>
                  <a:pt x="930378" y="2116219"/>
                </a:moveTo>
                <a:cubicBezTo>
                  <a:pt x="948827" y="2117022"/>
                  <a:pt x="965663" y="2128742"/>
                  <a:pt x="972827" y="2145797"/>
                </a:cubicBezTo>
                <a:cubicBezTo>
                  <a:pt x="974738" y="2151482"/>
                  <a:pt x="974738" y="2157168"/>
                  <a:pt x="974738" y="2162851"/>
                </a:cubicBezTo>
                <a:cubicBezTo>
                  <a:pt x="974738" y="2181799"/>
                  <a:pt x="963275" y="2198852"/>
                  <a:pt x="944170" y="2206429"/>
                </a:cubicBezTo>
                <a:cubicBezTo>
                  <a:pt x="944170" y="2206429"/>
                  <a:pt x="944170" y="2206429"/>
                  <a:pt x="602186" y="2335271"/>
                </a:cubicBezTo>
                <a:cubicBezTo>
                  <a:pt x="579260" y="2344740"/>
                  <a:pt x="550602" y="2333375"/>
                  <a:pt x="542960" y="2308740"/>
                </a:cubicBezTo>
                <a:cubicBezTo>
                  <a:pt x="533407" y="2284105"/>
                  <a:pt x="544870" y="2257586"/>
                  <a:pt x="569707" y="2248111"/>
                </a:cubicBezTo>
                <a:cubicBezTo>
                  <a:pt x="569707" y="2248111"/>
                  <a:pt x="569707" y="2248111"/>
                  <a:pt x="911691" y="2119271"/>
                </a:cubicBezTo>
                <a:cubicBezTo>
                  <a:pt x="917900" y="2116901"/>
                  <a:pt x="924229" y="2115954"/>
                  <a:pt x="930378" y="2116219"/>
                </a:cubicBezTo>
                <a:close/>
                <a:moveTo>
                  <a:pt x="4846001" y="2110276"/>
                </a:moveTo>
                <a:cubicBezTo>
                  <a:pt x="4865777" y="2111876"/>
                  <a:pt x="4883673" y="2125762"/>
                  <a:pt x="4890833" y="2147137"/>
                </a:cubicBezTo>
                <a:cubicBezTo>
                  <a:pt x="4892743" y="2150938"/>
                  <a:pt x="4892743" y="2156636"/>
                  <a:pt x="4892743" y="2162335"/>
                </a:cubicBezTo>
                <a:cubicBezTo>
                  <a:pt x="4892743" y="2183230"/>
                  <a:pt x="4879379" y="2204124"/>
                  <a:pt x="4856471" y="2209823"/>
                </a:cubicBezTo>
                <a:cubicBezTo>
                  <a:pt x="4856471" y="2209823"/>
                  <a:pt x="4856471" y="2209823"/>
                  <a:pt x="4512841" y="2316194"/>
                </a:cubicBezTo>
                <a:cubicBezTo>
                  <a:pt x="4486115" y="2325694"/>
                  <a:pt x="4457479" y="2310492"/>
                  <a:pt x="4449843" y="2283894"/>
                </a:cubicBezTo>
                <a:cubicBezTo>
                  <a:pt x="4440299" y="2255411"/>
                  <a:pt x="4455571" y="2226918"/>
                  <a:pt x="4482297" y="2219319"/>
                </a:cubicBezTo>
                <a:cubicBezTo>
                  <a:pt x="4482297" y="2219319"/>
                  <a:pt x="4482297" y="2219319"/>
                  <a:pt x="4825925" y="2112946"/>
                </a:cubicBezTo>
                <a:cubicBezTo>
                  <a:pt x="4832607" y="2110571"/>
                  <a:pt x="4839409" y="2109741"/>
                  <a:pt x="4846001" y="2110276"/>
                </a:cubicBezTo>
                <a:close/>
                <a:moveTo>
                  <a:pt x="1482460" y="2110273"/>
                </a:moveTo>
                <a:cubicBezTo>
                  <a:pt x="1502091" y="2111874"/>
                  <a:pt x="1519582" y="2125762"/>
                  <a:pt x="1525292" y="2147134"/>
                </a:cubicBezTo>
                <a:cubicBezTo>
                  <a:pt x="1527196" y="2150933"/>
                  <a:pt x="1527196" y="2156633"/>
                  <a:pt x="1527196" y="2162332"/>
                </a:cubicBezTo>
                <a:cubicBezTo>
                  <a:pt x="1527196" y="2183226"/>
                  <a:pt x="1513870" y="2204123"/>
                  <a:pt x="1492930" y="2209820"/>
                </a:cubicBezTo>
                <a:cubicBezTo>
                  <a:pt x="1492930" y="2209820"/>
                  <a:pt x="1492930" y="2209820"/>
                  <a:pt x="1150267" y="2316193"/>
                </a:cubicBezTo>
                <a:cubicBezTo>
                  <a:pt x="1123615" y="2325693"/>
                  <a:pt x="1093156" y="2310492"/>
                  <a:pt x="1085542" y="2283894"/>
                </a:cubicBezTo>
                <a:cubicBezTo>
                  <a:pt x="1077927" y="2255409"/>
                  <a:pt x="1093156" y="2226917"/>
                  <a:pt x="1119808" y="2219317"/>
                </a:cubicBezTo>
                <a:cubicBezTo>
                  <a:pt x="1119808" y="2219317"/>
                  <a:pt x="1119808" y="2219317"/>
                  <a:pt x="1462471" y="2112944"/>
                </a:cubicBezTo>
                <a:cubicBezTo>
                  <a:pt x="1469134" y="2110569"/>
                  <a:pt x="1475916" y="2109738"/>
                  <a:pt x="1482460" y="2110273"/>
                </a:cubicBezTo>
                <a:close/>
                <a:moveTo>
                  <a:pt x="4292491" y="2106610"/>
                </a:moveTo>
                <a:cubicBezTo>
                  <a:pt x="4314341" y="2109634"/>
                  <a:pt x="4332965" y="2124916"/>
                  <a:pt x="4338695" y="2147674"/>
                </a:cubicBezTo>
                <a:cubicBezTo>
                  <a:pt x="4338695" y="2151466"/>
                  <a:pt x="4338695" y="2157154"/>
                  <a:pt x="4338695" y="2160948"/>
                </a:cubicBezTo>
                <a:cubicBezTo>
                  <a:pt x="4338695" y="2185599"/>
                  <a:pt x="4321503" y="2208350"/>
                  <a:pt x="4296669" y="2214040"/>
                </a:cubicBezTo>
                <a:cubicBezTo>
                  <a:pt x="4296669" y="2214040"/>
                  <a:pt x="4296669" y="2214040"/>
                  <a:pt x="3952817" y="2297465"/>
                </a:cubicBezTo>
                <a:cubicBezTo>
                  <a:pt x="3922251" y="2305051"/>
                  <a:pt x="3891687" y="2286085"/>
                  <a:pt x="3884045" y="2257651"/>
                </a:cubicBezTo>
                <a:cubicBezTo>
                  <a:pt x="3878315" y="2227314"/>
                  <a:pt x="3895507" y="2196975"/>
                  <a:pt x="3926073" y="2191286"/>
                </a:cubicBezTo>
                <a:cubicBezTo>
                  <a:pt x="3926073" y="2191286"/>
                  <a:pt x="3926073" y="2191286"/>
                  <a:pt x="4269925" y="2107856"/>
                </a:cubicBezTo>
                <a:cubicBezTo>
                  <a:pt x="4277567" y="2105958"/>
                  <a:pt x="4285209" y="2105604"/>
                  <a:pt x="4292491" y="2106610"/>
                </a:cubicBezTo>
                <a:close/>
                <a:moveTo>
                  <a:pt x="2038726" y="2106607"/>
                </a:moveTo>
                <a:cubicBezTo>
                  <a:pt x="2059755" y="2109629"/>
                  <a:pt x="2078367" y="2124916"/>
                  <a:pt x="2084094" y="2147672"/>
                </a:cubicBezTo>
                <a:cubicBezTo>
                  <a:pt x="2084094" y="2151465"/>
                  <a:pt x="2086003" y="2157154"/>
                  <a:pt x="2086003" y="2160946"/>
                </a:cubicBezTo>
                <a:cubicBezTo>
                  <a:pt x="2086003" y="2185596"/>
                  <a:pt x="2068822" y="2208348"/>
                  <a:pt x="2044006" y="2214037"/>
                </a:cubicBezTo>
                <a:cubicBezTo>
                  <a:pt x="2044006" y="2214037"/>
                  <a:pt x="2044006" y="2214037"/>
                  <a:pt x="1698484" y="2297465"/>
                </a:cubicBezTo>
                <a:cubicBezTo>
                  <a:pt x="1667940" y="2305051"/>
                  <a:pt x="1639306" y="2286085"/>
                  <a:pt x="1631670" y="2257649"/>
                </a:cubicBezTo>
                <a:cubicBezTo>
                  <a:pt x="1624034" y="2227312"/>
                  <a:pt x="1643124" y="2196972"/>
                  <a:pt x="1671758" y="2191284"/>
                </a:cubicBezTo>
                <a:cubicBezTo>
                  <a:pt x="1671758" y="2191284"/>
                  <a:pt x="1671758" y="2191284"/>
                  <a:pt x="2017280" y="2107852"/>
                </a:cubicBezTo>
                <a:cubicBezTo>
                  <a:pt x="2024439" y="2105955"/>
                  <a:pt x="2031717" y="2105600"/>
                  <a:pt x="2038726" y="2106607"/>
                </a:cubicBezTo>
                <a:close/>
                <a:moveTo>
                  <a:pt x="3734761" y="2101210"/>
                </a:moveTo>
                <a:cubicBezTo>
                  <a:pt x="3757325" y="2105942"/>
                  <a:pt x="3775589" y="2124873"/>
                  <a:pt x="3779887" y="2149163"/>
                </a:cubicBezTo>
                <a:cubicBezTo>
                  <a:pt x="3779887" y="2152972"/>
                  <a:pt x="3779887" y="2156782"/>
                  <a:pt x="3779887" y="2158688"/>
                </a:cubicBezTo>
                <a:cubicBezTo>
                  <a:pt x="3779887" y="2187262"/>
                  <a:pt x="3760787" y="2212026"/>
                  <a:pt x="3732133" y="2217741"/>
                </a:cubicBezTo>
                <a:cubicBezTo>
                  <a:pt x="3732133" y="2217741"/>
                  <a:pt x="3732133" y="2217741"/>
                  <a:pt x="3384479" y="2278699"/>
                </a:cubicBezTo>
                <a:cubicBezTo>
                  <a:pt x="3352006" y="2284410"/>
                  <a:pt x="3321443" y="2263461"/>
                  <a:pt x="3315713" y="2231076"/>
                </a:cubicBezTo>
                <a:cubicBezTo>
                  <a:pt x="3309982" y="2198691"/>
                  <a:pt x="3330994" y="2166308"/>
                  <a:pt x="3363467" y="2160593"/>
                </a:cubicBezTo>
                <a:cubicBezTo>
                  <a:pt x="3363467" y="2160593"/>
                  <a:pt x="3363467" y="2160593"/>
                  <a:pt x="3711121" y="2101538"/>
                </a:cubicBezTo>
                <a:cubicBezTo>
                  <a:pt x="3719239" y="2099633"/>
                  <a:pt x="3727239" y="2099633"/>
                  <a:pt x="3734761" y="2101210"/>
                </a:cubicBezTo>
                <a:close/>
                <a:moveTo>
                  <a:pt x="2601270" y="2101207"/>
                </a:moveTo>
                <a:cubicBezTo>
                  <a:pt x="2623834" y="2105940"/>
                  <a:pt x="2642100" y="2124870"/>
                  <a:pt x="2646398" y="2149158"/>
                </a:cubicBezTo>
                <a:cubicBezTo>
                  <a:pt x="2646398" y="2152969"/>
                  <a:pt x="2646398" y="2156780"/>
                  <a:pt x="2646398" y="2158685"/>
                </a:cubicBezTo>
                <a:cubicBezTo>
                  <a:pt x="2646398" y="2187260"/>
                  <a:pt x="2627296" y="2212024"/>
                  <a:pt x="2596733" y="2217739"/>
                </a:cubicBezTo>
                <a:cubicBezTo>
                  <a:pt x="2596733" y="2217739"/>
                  <a:pt x="2596733" y="2217739"/>
                  <a:pt x="2250989" y="2278698"/>
                </a:cubicBezTo>
                <a:cubicBezTo>
                  <a:pt x="2218516" y="2284410"/>
                  <a:pt x="2187953" y="2263459"/>
                  <a:pt x="2182223" y="2231074"/>
                </a:cubicBezTo>
                <a:cubicBezTo>
                  <a:pt x="2176492" y="2198689"/>
                  <a:pt x="2197504" y="2166304"/>
                  <a:pt x="2229977" y="2160590"/>
                </a:cubicBezTo>
                <a:cubicBezTo>
                  <a:pt x="2229977" y="2160590"/>
                  <a:pt x="2229977" y="2160590"/>
                  <a:pt x="2577631" y="2101535"/>
                </a:cubicBezTo>
                <a:cubicBezTo>
                  <a:pt x="2585749" y="2099630"/>
                  <a:pt x="2593748" y="2099630"/>
                  <a:pt x="2601270" y="2101207"/>
                </a:cubicBezTo>
                <a:close/>
                <a:moveTo>
                  <a:pt x="3141117" y="2094543"/>
                </a:moveTo>
                <a:cubicBezTo>
                  <a:pt x="3177288" y="2090740"/>
                  <a:pt x="3207748" y="2117360"/>
                  <a:pt x="3211556" y="2151589"/>
                </a:cubicBezTo>
                <a:cubicBezTo>
                  <a:pt x="3211556" y="2153490"/>
                  <a:pt x="3211556" y="2157291"/>
                  <a:pt x="3211556" y="2159195"/>
                </a:cubicBezTo>
                <a:cubicBezTo>
                  <a:pt x="3211556" y="2191522"/>
                  <a:pt x="3188711" y="2218141"/>
                  <a:pt x="3156347" y="2221944"/>
                </a:cubicBezTo>
                <a:cubicBezTo>
                  <a:pt x="3156347" y="2221944"/>
                  <a:pt x="3156347" y="2221944"/>
                  <a:pt x="2807959" y="2259975"/>
                </a:cubicBezTo>
                <a:cubicBezTo>
                  <a:pt x="2773691" y="2263775"/>
                  <a:pt x="2741327" y="2239058"/>
                  <a:pt x="2737520" y="2202929"/>
                </a:cubicBezTo>
                <a:cubicBezTo>
                  <a:pt x="2733712" y="2168703"/>
                  <a:pt x="2760365" y="2136375"/>
                  <a:pt x="2794632" y="2132570"/>
                </a:cubicBezTo>
                <a:cubicBezTo>
                  <a:pt x="2794632" y="2132570"/>
                  <a:pt x="2794632" y="2132570"/>
                  <a:pt x="3141117" y="2094543"/>
                </a:cubicBezTo>
                <a:close/>
                <a:moveTo>
                  <a:pt x="6499963" y="1806060"/>
                </a:moveTo>
                <a:cubicBezTo>
                  <a:pt x="6509271" y="1809163"/>
                  <a:pt x="6517387" y="1815847"/>
                  <a:pt x="6522161" y="1825395"/>
                </a:cubicBezTo>
                <a:cubicBezTo>
                  <a:pt x="6525979" y="1831124"/>
                  <a:pt x="6527887" y="1836853"/>
                  <a:pt x="6527887" y="1842582"/>
                </a:cubicBezTo>
                <a:cubicBezTo>
                  <a:pt x="6527887" y="1857859"/>
                  <a:pt x="6520251" y="1871226"/>
                  <a:pt x="6506885" y="1876955"/>
                </a:cubicBezTo>
                <a:cubicBezTo>
                  <a:pt x="6506885" y="1876955"/>
                  <a:pt x="6506885" y="1876955"/>
                  <a:pt x="6167027" y="2052636"/>
                </a:cubicBezTo>
                <a:cubicBezTo>
                  <a:pt x="6147935" y="2062185"/>
                  <a:pt x="6125023" y="2054546"/>
                  <a:pt x="6115475" y="2035451"/>
                </a:cubicBezTo>
                <a:cubicBezTo>
                  <a:pt x="6104019" y="2016355"/>
                  <a:pt x="6111657" y="1993440"/>
                  <a:pt x="6130751" y="1983892"/>
                </a:cubicBezTo>
                <a:cubicBezTo>
                  <a:pt x="6130751" y="1983892"/>
                  <a:pt x="6130751" y="1983892"/>
                  <a:pt x="6470609" y="1808208"/>
                </a:cubicBezTo>
                <a:cubicBezTo>
                  <a:pt x="6480155" y="1803434"/>
                  <a:pt x="6490655" y="1802957"/>
                  <a:pt x="6499963" y="1806060"/>
                </a:cubicBezTo>
                <a:close/>
                <a:moveTo>
                  <a:pt x="5958465" y="1800926"/>
                </a:moveTo>
                <a:cubicBezTo>
                  <a:pt x="5968935" y="1804756"/>
                  <a:pt x="5977979" y="1812415"/>
                  <a:pt x="5982737" y="1822945"/>
                </a:cubicBezTo>
                <a:cubicBezTo>
                  <a:pt x="5984641" y="1828690"/>
                  <a:pt x="5986543" y="1834433"/>
                  <a:pt x="5986543" y="1840178"/>
                </a:cubicBezTo>
                <a:cubicBezTo>
                  <a:pt x="5986543" y="1857411"/>
                  <a:pt x="5977025" y="1872728"/>
                  <a:pt x="5961797" y="1878473"/>
                </a:cubicBezTo>
                <a:cubicBezTo>
                  <a:pt x="5961797" y="1878473"/>
                  <a:pt x="5961797" y="1878473"/>
                  <a:pt x="5622953" y="2033561"/>
                </a:cubicBezTo>
                <a:cubicBezTo>
                  <a:pt x="5600109" y="2043135"/>
                  <a:pt x="5575363" y="2033561"/>
                  <a:pt x="5565845" y="2012501"/>
                </a:cubicBezTo>
                <a:cubicBezTo>
                  <a:pt x="5556327" y="1991439"/>
                  <a:pt x="5565845" y="1964634"/>
                  <a:pt x="5586783" y="1955060"/>
                </a:cubicBezTo>
                <a:cubicBezTo>
                  <a:pt x="5586783" y="1955060"/>
                  <a:pt x="5586783" y="1955060"/>
                  <a:pt x="5925629" y="1801884"/>
                </a:cubicBezTo>
                <a:cubicBezTo>
                  <a:pt x="5936099" y="1797097"/>
                  <a:pt x="5947995" y="1797097"/>
                  <a:pt x="5958465" y="1800926"/>
                </a:cubicBezTo>
                <a:close/>
                <a:moveTo>
                  <a:pt x="398965" y="1800917"/>
                </a:moveTo>
                <a:cubicBezTo>
                  <a:pt x="409435" y="1804747"/>
                  <a:pt x="418477" y="1812406"/>
                  <a:pt x="423236" y="1822936"/>
                </a:cubicBezTo>
                <a:cubicBezTo>
                  <a:pt x="425139" y="1828681"/>
                  <a:pt x="427043" y="1834425"/>
                  <a:pt x="427043" y="1840169"/>
                </a:cubicBezTo>
                <a:cubicBezTo>
                  <a:pt x="427043" y="1857402"/>
                  <a:pt x="417525" y="1872719"/>
                  <a:pt x="400392" y="1878463"/>
                </a:cubicBezTo>
                <a:cubicBezTo>
                  <a:pt x="400392" y="1878463"/>
                  <a:pt x="400392" y="1878463"/>
                  <a:pt x="61548" y="2033553"/>
                </a:cubicBezTo>
                <a:cubicBezTo>
                  <a:pt x="40608" y="2043126"/>
                  <a:pt x="15861" y="2033553"/>
                  <a:pt x="6343" y="2012491"/>
                </a:cubicBezTo>
                <a:cubicBezTo>
                  <a:pt x="-3175" y="1991430"/>
                  <a:pt x="6343" y="1964624"/>
                  <a:pt x="27283" y="1955050"/>
                </a:cubicBezTo>
                <a:cubicBezTo>
                  <a:pt x="27283" y="1955050"/>
                  <a:pt x="27283" y="1955050"/>
                  <a:pt x="366127" y="1801874"/>
                </a:cubicBezTo>
                <a:cubicBezTo>
                  <a:pt x="376597" y="1797088"/>
                  <a:pt x="388495" y="1797088"/>
                  <a:pt x="398965" y="1800917"/>
                </a:cubicBezTo>
                <a:close/>
                <a:moveTo>
                  <a:pt x="5395755" y="1792151"/>
                </a:moveTo>
                <a:cubicBezTo>
                  <a:pt x="5414203" y="1792508"/>
                  <a:pt x="5431039" y="1803581"/>
                  <a:pt x="5438203" y="1822155"/>
                </a:cubicBezTo>
                <a:cubicBezTo>
                  <a:pt x="5440113" y="1827871"/>
                  <a:pt x="5442023" y="1833586"/>
                  <a:pt x="5442023" y="1839301"/>
                </a:cubicBezTo>
                <a:cubicBezTo>
                  <a:pt x="5442023" y="1858351"/>
                  <a:pt x="5430561" y="1875496"/>
                  <a:pt x="5411455" y="1883116"/>
                </a:cubicBezTo>
                <a:cubicBezTo>
                  <a:pt x="5411455" y="1883116"/>
                  <a:pt x="5411455" y="1883116"/>
                  <a:pt x="5069471" y="2014560"/>
                </a:cubicBezTo>
                <a:cubicBezTo>
                  <a:pt x="5046545" y="2024085"/>
                  <a:pt x="5019799" y="2012655"/>
                  <a:pt x="5010245" y="1989796"/>
                </a:cubicBezTo>
                <a:cubicBezTo>
                  <a:pt x="5000693" y="1965031"/>
                  <a:pt x="5012157" y="1938361"/>
                  <a:pt x="5036993" y="1928836"/>
                </a:cubicBezTo>
                <a:cubicBezTo>
                  <a:pt x="5036993" y="1928836"/>
                  <a:pt x="5036993" y="1928836"/>
                  <a:pt x="5377067" y="1795485"/>
                </a:cubicBezTo>
                <a:cubicBezTo>
                  <a:pt x="5383277" y="1793104"/>
                  <a:pt x="5389605" y="1792032"/>
                  <a:pt x="5395755" y="1792151"/>
                </a:cubicBezTo>
                <a:close/>
                <a:moveTo>
                  <a:pt x="929274" y="1792140"/>
                </a:moveTo>
                <a:cubicBezTo>
                  <a:pt x="946916" y="1792497"/>
                  <a:pt x="963752" y="1803570"/>
                  <a:pt x="970917" y="1822144"/>
                </a:cubicBezTo>
                <a:cubicBezTo>
                  <a:pt x="974738" y="1827859"/>
                  <a:pt x="974738" y="1833574"/>
                  <a:pt x="974738" y="1839289"/>
                </a:cubicBezTo>
                <a:cubicBezTo>
                  <a:pt x="974738" y="1858339"/>
                  <a:pt x="963275" y="1875484"/>
                  <a:pt x="946080" y="1883104"/>
                </a:cubicBezTo>
                <a:cubicBezTo>
                  <a:pt x="946080" y="1883104"/>
                  <a:pt x="946080" y="1883104"/>
                  <a:pt x="604096" y="2014549"/>
                </a:cubicBezTo>
                <a:cubicBezTo>
                  <a:pt x="579260" y="2024073"/>
                  <a:pt x="552512" y="2012644"/>
                  <a:pt x="542960" y="1989784"/>
                </a:cubicBezTo>
                <a:cubicBezTo>
                  <a:pt x="533407" y="1965019"/>
                  <a:pt x="544870" y="1938349"/>
                  <a:pt x="569707" y="1928824"/>
                </a:cubicBezTo>
                <a:cubicBezTo>
                  <a:pt x="569707" y="1928824"/>
                  <a:pt x="569707" y="1928824"/>
                  <a:pt x="911691" y="1795473"/>
                </a:cubicBezTo>
                <a:cubicBezTo>
                  <a:pt x="917423" y="1793092"/>
                  <a:pt x="923393" y="1792021"/>
                  <a:pt x="929274" y="1792140"/>
                </a:cubicBezTo>
                <a:close/>
                <a:moveTo>
                  <a:pt x="4845315" y="1786416"/>
                </a:moveTo>
                <a:cubicBezTo>
                  <a:pt x="4864245" y="1787849"/>
                  <a:pt x="4882105" y="1801102"/>
                  <a:pt x="4889249" y="1819728"/>
                </a:cubicBezTo>
                <a:cubicBezTo>
                  <a:pt x="4891155" y="1825459"/>
                  <a:pt x="4891155" y="1831190"/>
                  <a:pt x="4891155" y="1836922"/>
                </a:cubicBezTo>
                <a:cubicBezTo>
                  <a:pt x="4891155" y="1857937"/>
                  <a:pt x="4877819" y="1877041"/>
                  <a:pt x="4856863" y="1884682"/>
                </a:cubicBezTo>
                <a:cubicBezTo>
                  <a:pt x="4856863" y="1884682"/>
                  <a:pt x="4856863" y="1884682"/>
                  <a:pt x="4515863" y="1997394"/>
                </a:cubicBezTo>
                <a:cubicBezTo>
                  <a:pt x="4489193" y="2005036"/>
                  <a:pt x="4460619" y="1991663"/>
                  <a:pt x="4451093" y="1964918"/>
                </a:cubicBezTo>
                <a:cubicBezTo>
                  <a:pt x="4443473" y="1938173"/>
                  <a:pt x="4456809" y="1909517"/>
                  <a:pt x="4483479" y="1901876"/>
                </a:cubicBezTo>
                <a:cubicBezTo>
                  <a:pt x="4483479" y="1901876"/>
                  <a:pt x="4483479" y="1901876"/>
                  <a:pt x="4826383" y="1789162"/>
                </a:cubicBezTo>
                <a:cubicBezTo>
                  <a:pt x="4832575" y="1786774"/>
                  <a:pt x="4839005" y="1785938"/>
                  <a:pt x="4845315" y="1786416"/>
                </a:cubicBezTo>
                <a:close/>
                <a:moveTo>
                  <a:pt x="1480556" y="1786402"/>
                </a:moveTo>
                <a:cubicBezTo>
                  <a:pt x="1500188" y="1787834"/>
                  <a:pt x="1517678" y="1801087"/>
                  <a:pt x="1523389" y="1819714"/>
                </a:cubicBezTo>
                <a:cubicBezTo>
                  <a:pt x="1525292" y="1825445"/>
                  <a:pt x="1527196" y="1831176"/>
                  <a:pt x="1527196" y="1836908"/>
                </a:cubicBezTo>
                <a:cubicBezTo>
                  <a:pt x="1527196" y="1857922"/>
                  <a:pt x="1513870" y="1877026"/>
                  <a:pt x="1492930" y="1884667"/>
                </a:cubicBezTo>
                <a:cubicBezTo>
                  <a:pt x="1492930" y="1884667"/>
                  <a:pt x="1492930" y="1884667"/>
                  <a:pt x="1150267" y="1997380"/>
                </a:cubicBezTo>
                <a:cubicBezTo>
                  <a:pt x="1123615" y="2005020"/>
                  <a:pt x="1095060" y="1991648"/>
                  <a:pt x="1087445" y="1964903"/>
                </a:cubicBezTo>
                <a:cubicBezTo>
                  <a:pt x="1077927" y="1938158"/>
                  <a:pt x="1093156" y="1909502"/>
                  <a:pt x="1119808" y="1901861"/>
                </a:cubicBezTo>
                <a:cubicBezTo>
                  <a:pt x="1119808" y="1901861"/>
                  <a:pt x="1119808" y="1901861"/>
                  <a:pt x="1460567" y="1789148"/>
                </a:cubicBezTo>
                <a:cubicBezTo>
                  <a:pt x="1467230" y="1786760"/>
                  <a:pt x="1474012" y="1785924"/>
                  <a:pt x="1480556" y="1786402"/>
                </a:cubicBezTo>
                <a:close/>
                <a:moveTo>
                  <a:pt x="4289949" y="1779638"/>
                </a:moveTo>
                <a:cubicBezTo>
                  <a:pt x="4310399" y="1782603"/>
                  <a:pt x="4327901" y="1797695"/>
                  <a:pt x="4333615" y="1819255"/>
                </a:cubicBezTo>
                <a:cubicBezTo>
                  <a:pt x="4335521" y="1825004"/>
                  <a:pt x="4335521" y="1828837"/>
                  <a:pt x="4335521" y="1834586"/>
                </a:cubicBezTo>
                <a:cubicBezTo>
                  <a:pt x="4335521" y="1857584"/>
                  <a:pt x="4320281" y="1878665"/>
                  <a:pt x="4295515" y="1886331"/>
                </a:cubicBezTo>
                <a:cubicBezTo>
                  <a:pt x="4295515" y="1886331"/>
                  <a:pt x="4295515" y="1886331"/>
                  <a:pt x="3952611" y="1978320"/>
                </a:cubicBezTo>
                <a:cubicBezTo>
                  <a:pt x="3924035" y="1985985"/>
                  <a:pt x="3893555" y="1968738"/>
                  <a:pt x="3885935" y="1939991"/>
                </a:cubicBezTo>
                <a:cubicBezTo>
                  <a:pt x="3878315" y="1911245"/>
                  <a:pt x="3895461" y="1880581"/>
                  <a:pt x="3924035" y="1872916"/>
                </a:cubicBezTo>
                <a:cubicBezTo>
                  <a:pt x="3924035" y="1872916"/>
                  <a:pt x="3924035" y="1872916"/>
                  <a:pt x="4268845" y="1780925"/>
                </a:cubicBezTo>
                <a:cubicBezTo>
                  <a:pt x="4275989" y="1779009"/>
                  <a:pt x="4283133" y="1778650"/>
                  <a:pt x="4289949" y="1779638"/>
                </a:cubicBezTo>
                <a:close/>
                <a:moveTo>
                  <a:pt x="2035648" y="1779621"/>
                </a:moveTo>
                <a:cubicBezTo>
                  <a:pt x="2056633" y="1782586"/>
                  <a:pt x="2075207" y="1797678"/>
                  <a:pt x="2080922" y="1819238"/>
                </a:cubicBezTo>
                <a:cubicBezTo>
                  <a:pt x="2082827" y="1824987"/>
                  <a:pt x="2082827" y="1828820"/>
                  <a:pt x="2082827" y="1834569"/>
                </a:cubicBezTo>
                <a:cubicBezTo>
                  <a:pt x="2082827" y="1857567"/>
                  <a:pt x="2065682" y="1878648"/>
                  <a:pt x="2042821" y="1886314"/>
                </a:cubicBezTo>
                <a:cubicBezTo>
                  <a:pt x="2042821" y="1886314"/>
                  <a:pt x="2042821" y="1886314"/>
                  <a:pt x="1699917" y="1978302"/>
                </a:cubicBezTo>
                <a:cubicBezTo>
                  <a:pt x="1669437" y="1985968"/>
                  <a:pt x="1640861" y="1968720"/>
                  <a:pt x="1633241" y="1939974"/>
                </a:cubicBezTo>
                <a:cubicBezTo>
                  <a:pt x="1625621" y="1911227"/>
                  <a:pt x="1642766" y="1880564"/>
                  <a:pt x="1671342" y="1872898"/>
                </a:cubicBezTo>
                <a:cubicBezTo>
                  <a:pt x="1671342" y="1872898"/>
                  <a:pt x="1671342" y="1872898"/>
                  <a:pt x="2014246" y="1780909"/>
                </a:cubicBezTo>
                <a:cubicBezTo>
                  <a:pt x="2021390" y="1778992"/>
                  <a:pt x="2028653" y="1778633"/>
                  <a:pt x="2035648" y="1779621"/>
                </a:cubicBezTo>
                <a:close/>
                <a:moveTo>
                  <a:pt x="3732191" y="1775473"/>
                </a:moveTo>
                <a:cubicBezTo>
                  <a:pt x="3753995" y="1779587"/>
                  <a:pt x="3772581" y="1797118"/>
                  <a:pt x="3778301" y="1820015"/>
                </a:cubicBezTo>
                <a:cubicBezTo>
                  <a:pt x="3778301" y="1823830"/>
                  <a:pt x="3778301" y="1827647"/>
                  <a:pt x="3778301" y="1831463"/>
                </a:cubicBezTo>
                <a:cubicBezTo>
                  <a:pt x="3778301" y="1858176"/>
                  <a:pt x="3759237" y="1882981"/>
                  <a:pt x="3732549" y="1888705"/>
                </a:cubicBezTo>
                <a:cubicBezTo>
                  <a:pt x="3732549" y="1888705"/>
                  <a:pt x="3732549" y="1888705"/>
                  <a:pt x="3387504" y="1959303"/>
                </a:cubicBezTo>
                <a:cubicBezTo>
                  <a:pt x="3357003" y="1966936"/>
                  <a:pt x="3326501" y="1945947"/>
                  <a:pt x="3318876" y="1915418"/>
                </a:cubicBezTo>
                <a:cubicBezTo>
                  <a:pt x="3313157" y="1882981"/>
                  <a:pt x="3332220" y="1852452"/>
                  <a:pt x="3364628" y="1846728"/>
                </a:cubicBezTo>
                <a:cubicBezTo>
                  <a:pt x="3364628" y="1846728"/>
                  <a:pt x="3364628" y="1846728"/>
                  <a:pt x="3709673" y="1776129"/>
                </a:cubicBezTo>
                <a:cubicBezTo>
                  <a:pt x="3717299" y="1774221"/>
                  <a:pt x="3724923" y="1774102"/>
                  <a:pt x="3732191" y="1775473"/>
                </a:cubicBezTo>
                <a:close/>
                <a:moveTo>
                  <a:pt x="2597114" y="1775454"/>
                </a:moveTo>
                <a:cubicBezTo>
                  <a:pt x="2618917" y="1779568"/>
                  <a:pt x="2637504" y="1797098"/>
                  <a:pt x="2643223" y="1819995"/>
                </a:cubicBezTo>
                <a:cubicBezTo>
                  <a:pt x="2643223" y="1823811"/>
                  <a:pt x="2643223" y="1827627"/>
                  <a:pt x="2643223" y="1831444"/>
                </a:cubicBezTo>
                <a:cubicBezTo>
                  <a:pt x="2643223" y="1858156"/>
                  <a:pt x="2624160" y="1882961"/>
                  <a:pt x="2597471" y="1888685"/>
                </a:cubicBezTo>
                <a:cubicBezTo>
                  <a:pt x="2597471" y="1888685"/>
                  <a:pt x="2597471" y="1888685"/>
                  <a:pt x="2252426" y="1959283"/>
                </a:cubicBezTo>
                <a:cubicBezTo>
                  <a:pt x="2221925" y="1966916"/>
                  <a:pt x="2191423" y="1945927"/>
                  <a:pt x="2183798" y="1915398"/>
                </a:cubicBezTo>
                <a:cubicBezTo>
                  <a:pt x="2178079" y="1882961"/>
                  <a:pt x="2197142" y="1852432"/>
                  <a:pt x="2229550" y="1846708"/>
                </a:cubicBezTo>
                <a:cubicBezTo>
                  <a:pt x="2229550" y="1846708"/>
                  <a:pt x="2229550" y="1846708"/>
                  <a:pt x="2574595" y="1776110"/>
                </a:cubicBezTo>
                <a:cubicBezTo>
                  <a:pt x="2582220" y="1774201"/>
                  <a:pt x="2589846" y="1774082"/>
                  <a:pt x="2597114" y="1775454"/>
                </a:cubicBezTo>
                <a:close/>
                <a:moveTo>
                  <a:pt x="3139435" y="1767852"/>
                </a:moveTo>
                <a:cubicBezTo>
                  <a:pt x="3173748" y="1762146"/>
                  <a:pt x="3204249" y="1786869"/>
                  <a:pt x="3209968" y="1819198"/>
                </a:cubicBezTo>
                <a:cubicBezTo>
                  <a:pt x="3209968" y="1823001"/>
                  <a:pt x="3209968" y="1826805"/>
                  <a:pt x="3209968" y="1828706"/>
                </a:cubicBezTo>
                <a:cubicBezTo>
                  <a:pt x="3209968" y="1859134"/>
                  <a:pt x="3187092" y="1885758"/>
                  <a:pt x="3156592" y="1889561"/>
                </a:cubicBezTo>
                <a:cubicBezTo>
                  <a:pt x="3156592" y="1889561"/>
                  <a:pt x="3156592" y="1889561"/>
                  <a:pt x="2811551" y="1939005"/>
                </a:cubicBezTo>
                <a:cubicBezTo>
                  <a:pt x="2777238" y="1944711"/>
                  <a:pt x="2746737" y="1921890"/>
                  <a:pt x="2741018" y="1887660"/>
                </a:cubicBezTo>
                <a:cubicBezTo>
                  <a:pt x="2735299" y="1853429"/>
                  <a:pt x="2760081" y="1823001"/>
                  <a:pt x="2792488" y="1819198"/>
                </a:cubicBezTo>
                <a:cubicBezTo>
                  <a:pt x="2792488" y="1819198"/>
                  <a:pt x="2792488" y="1819198"/>
                  <a:pt x="3139435" y="1767852"/>
                </a:cubicBezTo>
                <a:close/>
                <a:moveTo>
                  <a:pt x="6500203" y="1483796"/>
                </a:moveTo>
                <a:cubicBezTo>
                  <a:pt x="6509749" y="1486898"/>
                  <a:pt x="6518341" y="1493581"/>
                  <a:pt x="6524069" y="1503130"/>
                </a:cubicBezTo>
                <a:cubicBezTo>
                  <a:pt x="6525979" y="1508858"/>
                  <a:pt x="6527887" y="1514587"/>
                  <a:pt x="6527887" y="1520316"/>
                </a:cubicBezTo>
                <a:cubicBezTo>
                  <a:pt x="6527887" y="1535593"/>
                  <a:pt x="6520251" y="1548959"/>
                  <a:pt x="6506885" y="1554689"/>
                </a:cubicBezTo>
                <a:cubicBezTo>
                  <a:pt x="6506885" y="1554689"/>
                  <a:pt x="6506885" y="1554689"/>
                  <a:pt x="6167027" y="1728465"/>
                </a:cubicBezTo>
                <a:cubicBezTo>
                  <a:pt x="6147935" y="1739923"/>
                  <a:pt x="6125023" y="1732285"/>
                  <a:pt x="6113567" y="1711279"/>
                </a:cubicBezTo>
                <a:cubicBezTo>
                  <a:pt x="6104019" y="1692183"/>
                  <a:pt x="6111657" y="1669267"/>
                  <a:pt x="6130751" y="1659718"/>
                </a:cubicBezTo>
                <a:cubicBezTo>
                  <a:pt x="6130751" y="1659718"/>
                  <a:pt x="6130751" y="1659718"/>
                  <a:pt x="6470609" y="1485944"/>
                </a:cubicBezTo>
                <a:cubicBezTo>
                  <a:pt x="6480155" y="1481169"/>
                  <a:pt x="6490655" y="1480692"/>
                  <a:pt x="6500203" y="1483796"/>
                </a:cubicBezTo>
                <a:close/>
                <a:moveTo>
                  <a:pt x="5958465" y="1477063"/>
                </a:moveTo>
                <a:cubicBezTo>
                  <a:pt x="5968935" y="1480887"/>
                  <a:pt x="5977979" y="1488535"/>
                  <a:pt x="5982737" y="1499053"/>
                </a:cubicBezTo>
                <a:cubicBezTo>
                  <a:pt x="5984641" y="1504790"/>
                  <a:pt x="5986543" y="1510525"/>
                  <a:pt x="5986543" y="1516262"/>
                </a:cubicBezTo>
                <a:cubicBezTo>
                  <a:pt x="5986543" y="1533472"/>
                  <a:pt x="5977025" y="1548771"/>
                  <a:pt x="5961797" y="1556419"/>
                </a:cubicBezTo>
                <a:cubicBezTo>
                  <a:pt x="5961797" y="1556419"/>
                  <a:pt x="5961797" y="1556419"/>
                  <a:pt x="5622953" y="1711312"/>
                </a:cubicBezTo>
                <a:cubicBezTo>
                  <a:pt x="5600109" y="1720872"/>
                  <a:pt x="5575363" y="1711312"/>
                  <a:pt x="5565845" y="1690277"/>
                </a:cubicBezTo>
                <a:cubicBezTo>
                  <a:pt x="5556327" y="1669242"/>
                  <a:pt x="5565845" y="1644382"/>
                  <a:pt x="5586783" y="1632909"/>
                </a:cubicBezTo>
                <a:cubicBezTo>
                  <a:pt x="5586783" y="1632909"/>
                  <a:pt x="5586783" y="1632909"/>
                  <a:pt x="5925629" y="1478018"/>
                </a:cubicBezTo>
                <a:cubicBezTo>
                  <a:pt x="5936099" y="1473237"/>
                  <a:pt x="5947995" y="1473237"/>
                  <a:pt x="5958465" y="1477063"/>
                </a:cubicBezTo>
                <a:close/>
                <a:moveTo>
                  <a:pt x="398251" y="1477054"/>
                </a:moveTo>
                <a:cubicBezTo>
                  <a:pt x="408483" y="1480877"/>
                  <a:pt x="417525" y="1488527"/>
                  <a:pt x="423236" y="1499043"/>
                </a:cubicBezTo>
                <a:cubicBezTo>
                  <a:pt x="425139" y="1504780"/>
                  <a:pt x="427043" y="1510517"/>
                  <a:pt x="427043" y="1516254"/>
                </a:cubicBezTo>
                <a:cubicBezTo>
                  <a:pt x="427043" y="1533463"/>
                  <a:pt x="417525" y="1548761"/>
                  <a:pt x="402296" y="1556411"/>
                </a:cubicBezTo>
                <a:cubicBezTo>
                  <a:pt x="402296" y="1556411"/>
                  <a:pt x="402296" y="1556411"/>
                  <a:pt x="61548" y="1711302"/>
                </a:cubicBezTo>
                <a:cubicBezTo>
                  <a:pt x="40608" y="1720863"/>
                  <a:pt x="15861" y="1711302"/>
                  <a:pt x="6343" y="1690267"/>
                </a:cubicBezTo>
                <a:cubicBezTo>
                  <a:pt x="-3175" y="1669232"/>
                  <a:pt x="6343" y="1644373"/>
                  <a:pt x="27283" y="1632900"/>
                </a:cubicBezTo>
                <a:cubicBezTo>
                  <a:pt x="27283" y="1632900"/>
                  <a:pt x="27283" y="1632900"/>
                  <a:pt x="366127" y="1478010"/>
                </a:cubicBezTo>
                <a:cubicBezTo>
                  <a:pt x="376597" y="1473229"/>
                  <a:pt x="388019" y="1473229"/>
                  <a:pt x="398251" y="1477054"/>
                </a:cubicBezTo>
                <a:close/>
                <a:moveTo>
                  <a:pt x="5394617" y="1468282"/>
                </a:moveTo>
                <a:cubicBezTo>
                  <a:pt x="5413013" y="1468638"/>
                  <a:pt x="5429801" y="1479682"/>
                  <a:pt x="5436943" y="1498207"/>
                </a:cubicBezTo>
                <a:cubicBezTo>
                  <a:pt x="5438849" y="1503907"/>
                  <a:pt x="5438849" y="1509607"/>
                  <a:pt x="5438849" y="1515306"/>
                </a:cubicBezTo>
                <a:cubicBezTo>
                  <a:pt x="5438849" y="1532407"/>
                  <a:pt x="5429323" y="1549507"/>
                  <a:pt x="5410273" y="1557108"/>
                </a:cubicBezTo>
                <a:cubicBezTo>
                  <a:pt x="5410273" y="1557108"/>
                  <a:pt x="5410273" y="1557108"/>
                  <a:pt x="5069273" y="1693909"/>
                </a:cubicBezTo>
                <a:cubicBezTo>
                  <a:pt x="5046413" y="1703410"/>
                  <a:pt x="5019743" y="1692010"/>
                  <a:pt x="5010219" y="1667309"/>
                </a:cubicBezTo>
                <a:cubicBezTo>
                  <a:pt x="5000693" y="1644508"/>
                  <a:pt x="5012123" y="1617908"/>
                  <a:pt x="5036889" y="1608408"/>
                </a:cubicBezTo>
                <a:cubicBezTo>
                  <a:pt x="5036889" y="1608408"/>
                  <a:pt x="5036889" y="1608408"/>
                  <a:pt x="5375983" y="1471608"/>
                </a:cubicBezTo>
                <a:cubicBezTo>
                  <a:pt x="5382175" y="1469232"/>
                  <a:pt x="5388485" y="1468163"/>
                  <a:pt x="5394617" y="1468282"/>
                </a:cubicBezTo>
                <a:close/>
                <a:moveTo>
                  <a:pt x="929404" y="1468271"/>
                </a:moveTo>
                <a:cubicBezTo>
                  <a:pt x="946996" y="1468627"/>
                  <a:pt x="963784" y="1479671"/>
                  <a:pt x="970928" y="1498195"/>
                </a:cubicBezTo>
                <a:cubicBezTo>
                  <a:pt x="972833" y="1503895"/>
                  <a:pt x="974738" y="1509596"/>
                  <a:pt x="974738" y="1515296"/>
                </a:cubicBezTo>
                <a:cubicBezTo>
                  <a:pt x="974738" y="1532396"/>
                  <a:pt x="963308" y="1549496"/>
                  <a:pt x="946163" y="1557096"/>
                </a:cubicBezTo>
                <a:cubicBezTo>
                  <a:pt x="946163" y="1557096"/>
                  <a:pt x="946163" y="1557096"/>
                  <a:pt x="605163" y="1693897"/>
                </a:cubicBezTo>
                <a:cubicBezTo>
                  <a:pt x="580398" y="1703397"/>
                  <a:pt x="553727" y="1691997"/>
                  <a:pt x="546107" y="1667296"/>
                </a:cubicBezTo>
                <a:cubicBezTo>
                  <a:pt x="536582" y="1644496"/>
                  <a:pt x="548012" y="1617896"/>
                  <a:pt x="570872" y="1608396"/>
                </a:cubicBezTo>
                <a:cubicBezTo>
                  <a:pt x="570872" y="1608396"/>
                  <a:pt x="570872" y="1608396"/>
                  <a:pt x="911872" y="1471596"/>
                </a:cubicBezTo>
                <a:cubicBezTo>
                  <a:pt x="917587" y="1469221"/>
                  <a:pt x="923540" y="1468152"/>
                  <a:pt x="929404" y="1468271"/>
                </a:cubicBezTo>
                <a:close/>
                <a:moveTo>
                  <a:pt x="4844481" y="1461443"/>
                </a:moveTo>
                <a:cubicBezTo>
                  <a:pt x="4864127" y="1463139"/>
                  <a:pt x="4881629" y="1475284"/>
                  <a:pt x="4887343" y="1493857"/>
                </a:cubicBezTo>
                <a:cubicBezTo>
                  <a:pt x="4889249" y="1499571"/>
                  <a:pt x="4891155" y="1505287"/>
                  <a:pt x="4891155" y="1511001"/>
                </a:cubicBezTo>
                <a:cubicBezTo>
                  <a:pt x="4891155" y="1531957"/>
                  <a:pt x="4877819" y="1551007"/>
                  <a:pt x="4856863" y="1556723"/>
                </a:cubicBezTo>
                <a:cubicBezTo>
                  <a:pt x="4856863" y="1556723"/>
                  <a:pt x="4856863" y="1556723"/>
                  <a:pt x="4515863" y="1674834"/>
                </a:cubicBezTo>
                <a:cubicBezTo>
                  <a:pt x="4489193" y="1684359"/>
                  <a:pt x="4462523" y="1671024"/>
                  <a:pt x="4452999" y="1644353"/>
                </a:cubicBezTo>
                <a:cubicBezTo>
                  <a:pt x="4443473" y="1619588"/>
                  <a:pt x="4456809" y="1591012"/>
                  <a:pt x="4483479" y="1583392"/>
                </a:cubicBezTo>
                <a:cubicBezTo>
                  <a:pt x="4483479" y="1583392"/>
                  <a:pt x="4483479" y="1583392"/>
                  <a:pt x="4824479" y="1463377"/>
                </a:cubicBezTo>
                <a:cubicBezTo>
                  <a:pt x="4831147" y="1461472"/>
                  <a:pt x="4837933" y="1460877"/>
                  <a:pt x="4844481" y="1461443"/>
                </a:cubicBezTo>
                <a:close/>
                <a:moveTo>
                  <a:pt x="1479736" y="1461429"/>
                </a:moveTo>
                <a:cubicBezTo>
                  <a:pt x="1498681" y="1463125"/>
                  <a:pt x="1516553" y="1475270"/>
                  <a:pt x="1523702" y="1493843"/>
                </a:cubicBezTo>
                <a:cubicBezTo>
                  <a:pt x="1525608" y="1499559"/>
                  <a:pt x="1525608" y="1505273"/>
                  <a:pt x="1525608" y="1510988"/>
                </a:cubicBezTo>
                <a:cubicBezTo>
                  <a:pt x="1525608" y="1531943"/>
                  <a:pt x="1512263" y="1550994"/>
                  <a:pt x="1493199" y="1556708"/>
                </a:cubicBezTo>
                <a:cubicBezTo>
                  <a:pt x="1493199" y="1556708"/>
                  <a:pt x="1493199" y="1556708"/>
                  <a:pt x="1150050" y="1674820"/>
                </a:cubicBezTo>
                <a:cubicBezTo>
                  <a:pt x="1125267" y="1684344"/>
                  <a:pt x="1096671" y="1671009"/>
                  <a:pt x="1089046" y="1644339"/>
                </a:cubicBezTo>
                <a:cubicBezTo>
                  <a:pt x="1079514" y="1619574"/>
                  <a:pt x="1092859" y="1590999"/>
                  <a:pt x="1117642" y="1583379"/>
                </a:cubicBezTo>
                <a:cubicBezTo>
                  <a:pt x="1117642" y="1583379"/>
                  <a:pt x="1117642" y="1583379"/>
                  <a:pt x="1460791" y="1463363"/>
                </a:cubicBezTo>
                <a:cubicBezTo>
                  <a:pt x="1466987" y="1461459"/>
                  <a:pt x="1473421" y="1460863"/>
                  <a:pt x="1479736" y="1461429"/>
                </a:cubicBezTo>
                <a:close/>
                <a:moveTo>
                  <a:pt x="4288013" y="1454945"/>
                </a:moveTo>
                <a:cubicBezTo>
                  <a:pt x="4308475" y="1457002"/>
                  <a:pt x="4325989" y="1471667"/>
                  <a:pt x="4331709" y="1491699"/>
                </a:cubicBezTo>
                <a:cubicBezTo>
                  <a:pt x="4333615" y="1497422"/>
                  <a:pt x="4335523" y="1501238"/>
                  <a:pt x="4335523" y="1506961"/>
                </a:cubicBezTo>
                <a:cubicBezTo>
                  <a:pt x="4335523" y="1529854"/>
                  <a:pt x="4320271" y="1550841"/>
                  <a:pt x="4297395" y="1558472"/>
                </a:cubicBezTo>
                <a:cubicBezTo>
                  <a:pt x="4297395" y="1558472"/>
                  <a:pt x="4297395" y="1558472"/>
                  <a:pt x="3954251" y="1657678"/>
                </a:cubicBezTo>
                <a:cubicBezTo>
                  <a:pt x="3925655" y="1665310"/>
                  <a:pt x="3897061" y="1650048"/>
                  <a:pt x="3887529" y="1621430"/>
                </a:cubicBezTo>
                <a:cubicBezTo>
                  <a:pt x="3879903" y="1594720"/>
                  <a:pt x="3897061" y="1564195"/>
                  <a:pt x="3923749" y="1556564"/>
                </a:cubicBezTo>
                <a:cubicBezTo>
                  <a:pt x="3923749" y="1556564"/>
                  <a:pt x="3923749" y="1556564"/>
                  <a:pt x="4266893" y="1457360"/>
                </a:cubicBezTo>
                <a:cubicBezTo>
                  <a:pt x="4274043" y="1454976"/>
                  <a:pt x="4281191" y="1454259"/>
                  <a:pt x="4288013" y="1454945"/>
                </a:cubicBezTo>
                <a:close/>
                <a:moveTo>
                  <a:pt x="2034963" y="1454929"/>
                </a:moveTo>
                <a:cubicBezTo>
                  <a:pt x="2055102" y="1456986"/>
                  <a:pt x="2073637" y="1471652"/>
                  <a:pt x="2079340" y="1491683"/>
                </a:cubicBezTo>
                <a:cubicBezTo>
                  <a:pt x="2081241" y="1497407"/>
                  <a:pt x="2081241" y="1501222"/>
                  <a:pt x="2081241" y="1506945"/>
                </a:cubicBezTo>
                <a:cubicBezTo>
                  <a:pt x="2081241" y="1529839"/>
                  <a:pt x="2066033" y="1550825"/>
                  <a:pt x="2043221" y="1558456"/>
                </a:cubicBezTo>
                <a:cubicBezTo>
                  <a:pt x="2043221" y="1558456"/>
                  <a:pt x="2043221" y="1558456"/>
                  <a:pt x="1701036" y="1657662"/>
                </a:cubicBezTo>
                <a:cubicBezTo>
                  <a:pt x="1672521" y="1665293"/>
                  <a:pt x="1644005" y="1650030"/>
                  <a:pt x="1636401" y="1621413"/>
                </a:cubicBezTo>
                <a:cubicBezTo>
                  <a:pt x="1628797" y="1594704"/>
                  <a:pt x="1644005" y="1564179"/>
                  <a:pt x="1672521" y="1556548"/>
                </a:cubicBezTo>
                <a:cubicBezTo>
                  <a:pt x="1672521" y="1556548"/>
                  <a:pt x="1672521" y="1556548"/>
                  <a:pt x="2014705" y="1457343"/>
                </a:cubicBezTo>
                <a:cubicBezTo>
                  <a:pt x="2021359" y="1454958"/>
                  <a:pt x="2028250" y="1454243"/>
                  <a:pt x="2034963" y="1454929"/>
                </a:cubicBezTo>
                <a:close/>
                <a:moveTo>
                  <a:pt x="3729081" y="1449674"/>
                </a:moveTo>
                <a:cubicBezTo>
                  <a:pt x="3750751" y="1453146"/>
                  <a:pt x="3768943" y="1469169"/>
                  <a:pt x="3773223" y="1490533"/>
                </a:cubicBezTo>
                <a:cubicBezTo>
                  <a:pt x="3775127" y="1496230"/>
                  <a:pt x="3775127" y="1500029"/>
                  <a:pt x="3775127" y="1503826"/>
                </a:cubicBezTo>
                <a:cubicBezTo>
                  <a:pt x="3775127" y="1528514"/>
                  <a:pt x="3758005" y="1553203"/>
                  <a:pt x="3733273" y="1558900"/>
                </a:cubicBezTo>
                <a:cubicBezTo>
                  <a:pt x="3733273" y="1558900"/>
                  <a:pt x="3733273" y="1558900"/>
                  <a:pt x="3388939" y="1638661"/>
                </a:cubicBezTo>
                <a:cubicBezTo>
                  <a:pt x="3358500" y="1646258"/>
                  <a:pt x="3328062" y="1627267"/>
                  <a:pt x="3322355" y="1598781"/>
                </a:cubicBezTo>
                <a:cubicBezTo>
                  <a:pt x="3314745" y="1568395"/>
                  <a:pt x="3333769" y="1538010"/>
                  <a:pt x="3362305" y="1530413"/>
                </a:cubicBezTo>
                <a:cubicBezTo>
                  <a:pt x="3362305" y="1530413"/>
                  <a:pt x="3362305" y="1530413"/>
                  <a:pt x="3706639" y="1450653"/>
                </a:cubicBezTo>
                <a:cubicBezTo>
                  <a:pt x="3714249" y="1448755"/>
                  <a:pt x="3721859" y="1448517"/>
                  <a:pt x="3729081" y="1449674"/>
                </a:cubicBezTo>
                <a:close/>
                <a:moveTo>
                  <a:pt x="2595324" y="1449656"/>
                </a:moveTo>
                <a:cubicBezTo>
                  <a:pt x="2616547" y="1453128"/>
                  <a:pt x="2634026" y="1469151"/>
                  <a:pt x="2639733" y="1490515"/>
                </a:cubicBezTo>
                <a:cubicBezTo>
                  <a:pt x="2641635" y="1496212"/>
                  <a:pt x="2641635" y="1500010"/>
                  <a:pt x="2641635" y="1503809"/>
                </a:cubicBezTo>
                <a:cubicBezTo>
                  <a:pt x="2641635" y="1528497"/>
                  <a:pt x="2624513" y="1553184"/>
                  <a:pt x="2597880" y="1558882"/>
                </a:cubicBezTo>
                <a:cubicBezTo>
                  <a:pt x="2597880" y="1558882"/>
                  <a:pt x="2597880" y="1558882"/>
                  <a:pt x="2255448" y="1638643"/>
                </a:cubicBezTo>
                <a:cubicBezTo>
                  <a:pt x="2225009" y="1646239"/>
                  <a:pt x="2194571" y="1627248"/>
                  <a:pt x="2188864" y="1598762"/>
                </a:cubicBezTo>
                <a:cubicBezTo>
                  <a:pt x="2181254" y="1568377"/>
                  <a:pt x="2200278" y="1537992"/>
                  <a:pt x="2228814" y="1530396"/>
                </a:cubicBezTo>
                <a:cubicBezTo>
                  <a:pt x="2228814" y="1530396"/>
                  <a:pt x="2228814" y="1530396"/>
                  <a:pt x="2573149" y="1450635"/>
                </a:cubicBezTo>
                <a:cubicBezTo>
                  <a:pt x="2580759" y="1448736"/>
                  <a:pt x="2588249" y="1448498"/>
                  <a:pt x="2595324" y="1449656"/>
                </a:cubicBezTo>
                <a:close/>
                <a:moveTo>
                  <a:pt x="3137752" y="1442422"/>
                </a:moveTo>
                <a:cubicBezTo>
                  <a:pt x="3170203" y="1436707"/>
                  <a:pt x="3200745" y="1457662"/>
                  <a:pt x="3206472" y="1490047"/>
                </a:cubicBezTo>
                <a:cubicBezTo>
                  <a:pt x="3206472" y="1493857"/>
                  <a:pt x="3208381" y="1497666"/>
                  <a:pt x="3208381" y="1499571"/>
                </a:cubicBezTo>
                <a:cubicBezTo>
                  <a:pt x="3208381" y="1528146"/>
                  <a:pt x="3187383" y="1552912"/>
                  <a:pt x="3158750" y="1558627"/>
                </a:cubicBezTo>
                <a:cubicBezTo>
                  <a:pt x="3158750" y="1558627"/>
                  <a:pt x="3158750" y="1558627"/>
                  <a:pt x="2813242" y="1621493"/>
                </a:cubicBezTo>
                <a:cubicBezTo>
                  <a:pt x="2780791" y="1627208"/>
                  <a:pt x="2750249" y="1606252"/>
                  <a:pt x="2744523" y="1573867"/>
                </a:cubicBezTo>
                <a:cubicBezTo>
                  <a:pt x="2736887" y="1541481"/>
                  <a:pt x="2759794" y="1511001"/>
                  <a:pt x="2792245" y="1505286"/>
                </a:cubicBezTo>
                <a:cubicBezTo>
                  <a:pt x="2792245" y="1505286"/>
                  <a:pt x="2792245" y="1505286"/>
                  <a:pt x="3137752" y="1442422"/>
                </a:cubicBezTo>
                <a:close/>
                <a:moveTo>
                  <a:pt x="6500919" y="1161543"/>
                </a:moveTo>
                <a:cubicBezTo>
                  <a:pt x="6510703" y="1164651"/>
                  <a:pt x="6519295" y="1171342"/>
                  <a:pt x="6524069" y="1180903"/>
                </a:cubicBezTo>
                <a:cubicBezTo>
                  <a:pt x="6525979" y="1186639"/>
                  <a:pt x="6527887" y="1192374"/>
                  <a:pt x="6527887" y="1198110"/>
                </a:cubicBezTo>
                <a:cubicBezTo>
                  <a:pt x="6527887" y="1213407"/>
                  <a:pt x="6520251" y="1226789"/>
                  <a:pt x="6506885" y="1234435"/>
                </a:cubicBezTo>
                <a:cubicBezTo>
                  <a:pt x="6506885" y="1234435"/>
                  <a:pt x="6506885" y="1234435"/>
                  <a:pt x="6167027" y="1406514"/>
                </a:cubicBezTo>
                <a:cubicBezTo>
                  <a:pt x="6147935" y="1416074"/>
                  <a:pt x="6123113" y="1408427"/>
                  <a:pt x="6113567" y="1389305"/>
                </a:cubicBezTo>
                <a:cubicBezTo>
                  <a:pt x="6104019" y="1370186"/>
                  <a:pt x="6111657" y="1345329"/>
                  <a:pt x="6130751" y="1335769"/>
                </a:cubicBezTo>
                <a:cubicBezTo>
                  <a:pt x="6130751" y="1335769"/>
                  <a:pt x="6130751" y="1335769"/>
                  <a:pt x="6470609" y="1163695"/>
                </a:cubicBezTo>
                <a:cubicBezTo>
                  <a:pt x="6480155" y="1158914"/>
                  <a:pt x="6491133" y="1158437"/>
                  <a:pt x="6500919" y="1161543"/>
                </a:cubicBezTo>
                <a:close/>
                <a:moveTo>
                  <a:pt x="5957751" y="1155623"/>
                </a:moveTo>
                <a:cubicBezTo>
                  <a:pt x="5967983" y="1159186"/>
                  <a:pt x="5977027" y="1166787"/>
                  <a:pt x="5982737" y="1178188"/>
                </a:cubicBezTo>
                <a:cubicBezTo>
                  <a:pt x="5984641" y="1183889"/>
                  <a:pt x="5986543" y="1189591"/>
                  <a:pt x="5986543" y="1195291"/>
                </a:cubicBezTo>
                <a:cubicBezTo>
                  <a:pt x="5986543" y="1210493"/>
                  <a:pt x="5977025" y="1225692"/>
                  <a:pt x="5961797" y="1233291"/>
                </a:cubicBezTo>
                <a:cubicBezTo>
                  <a:pt x="5961797" y="1233291"/>
                  <a:pt x="5961797" y="1233291"/>
                  <a:pt x="5622953" y="1389109"/>
                </a:cubicBezTo>
                <a:cubicBezTo>
                  <a:pt x="5600109" y="1398609"/>
                  <a:pt x="5575363" y="1389109"/>
                  <a:pt x="5565845" y="1368207"/>
                </a:cubicBezTo>
                <a:cubicBezTo>
                  <a:pt x="5556327" y="1347304"/>
                  <a:pt x="5565845" y="1322600"/>
                  <a:pt x="5586783" y="1313099"/>
                </a:cubicBezTo>
                <a:cubicBezTo>
                  <a:pt x="5586783" y="1313099"/>
                  <a:pt x="5586783" y="1313099"/>
                  <a:pt x="5925629" y="1157286"/>
                </a:cubicBezTo>
                <a:cubicBezTo>
                  <a:pt x="5936099" y="1152535"/>
                  <a:pt x="5947519" y="1152060"/>
                  <a:pt x="5957751" y="1155623"/>
                </a:cubicBezTo>
                <a:close/>
                <a:moveTo>
                  <a:pt x="398309" y="1155612"/>
                </a:moveTo>
                <a:cubicBezTo>
                  <a:pt x="408311" y="1159175"/>
                  <a:pt x="416884" y="1166776"/>
                  <a:pt x="421646" y="1178178"/>
                </a:cubicBezTo>
                <a:cubicBezTo>
                  <a:pt x="425456" y="1183878"/>
                  <a:pt x="425456" y="1189578"/>
                  <a:pt x="425456" y="1195279"/>
                </a:cubicBezTo>
                <a:cubicBezTo>
                  <a:pt x="425456" y="1210481"/>
                  <a:pt x="417836" y="1225680"/>
                  <a:pt x="402596" y="1233281"/>
                </a:cubicBezTo>
                <a:cubicBezTo>
                  <a:pt x="402596" y="1233281"/>
                  <a:pt x="402596" y="1233281"/>
                  <a:pt x="61596" y="1389098"/>
                </a:cubicBezTo>
                <a:cubicBezTo>
                  <a:pt x="40641" y="1398599"/>
                  <a:pt x="15875" y="1389098"/>
                  <a:pt x="6350" y="1368196"/>
                </a:cubicBezTo>
                <a:cubicBezTo>
                  <a:pt x="-3175" y="1347292"/>
                  <a:pt x="6350" y="1322591"/>
                  <a:pt x="27305" y="1313089"/>
                </a:cubicBezTo>
                <a:cubicBezTo>
                  <a:pt x="27305" y="1313089"/>
                  <a:pt x="27305" y="1313089"/>
                  <a:pt x="366400" y="1157275"/>
                </a:cubicBezTo>
                <a:cubicBezTo>
                  <a:pt x="376878" y="1152524"/>
                  <a:pt x="388308" y="1152049"/>
                  <a:pt x="398309" y="1155612"/>
                </a:cubicBezTo>
                <a:close/>
                <a:moveTo>
                  <a:pt x="5393481" y="1144397"/>
                </a:moveTo>
                <a:cubicBezTo>
                  <a:pt x="5411085" y="1144664"/>
                  <a:pt x="5427887" y="1155337"/>
                  <a:pt x="5435035" y="1172416"/>
                </a:cubicBezTo>
                <a:cubicBezTo>
                  <a:pt x="5436941" y="1178109"/>
                  <a:pt x="5438847" y="1183803"/>
                  <a:pt x="5438847" y="1189495"/>
                </a:cubicBezTo>
                <a:cubicBezTo>
                  <a:pt x="5438847" y="1208471"/>
                  <a:pt x="5427409" y="1225547"/>
                  <a:pt x="5410251" y="1231239"/>
                </a:cubicBezTo>
                <a:cubicBezTo>
                  <a:pt x="5410251" y="1231239"/>
                  <a:pt x="5410251" y="1231239"/>
                  <a:pt x="5070911" y="1371660"/>
                </a:cubicBezTo>
                <a:cubicBezTo>
                  <a:pt x="5046127" y="1381147"/>
                  <a:pt x="5021345" y="1369762"/>
                  <a:pt x="5011813" y="1346990"/>
                </a:cubicBezTo>
                <a:cubicBezTo>
                  <a:pt x="5002279" y="1324219"/>
                  <a:pt x="5011813" y="1297652"/>
                  <a:pt x="5036595" y="1288164"/>
                </a:cubicBezTo>
                <a:cubicBezTo>
                  <a:pt x="5036595" y="1288164"/>
                  <a:pt x="5036595" y="1288164"/>
                  <a:pt x="5375937" y="1147747"/>
                </a:cubicBezTo>
                <a:cubicBezTo>
                  <a:pt x="5381657" y="1145376"/>
                  <a:pt x="5387613" y="1144308"/>
                  <a:pt x="5393481" y="1144397"/>
                </a:cubicBezTo>
                <a:close/>
                <a:moveTo>
                  <a:pt x="929392" y="1144384"/>
                </a:moveTo>
                <a:cubicBezTo>
                  <a:pt x="946460" y="1144651"/>
                  <a:pt x="962188" y="1155325"/>
                  <a:pt x="969337" y="1172402"/>
                </a:cubicBezTo>
                <a:cubicBezTo>
                  <a:pt x="973150" y="1178096"/>
                  <a:pt x="973150" y="1183789"/>
                  <a:pt x="973150" y="1189481"/>
                </a:cubicBezTo>
                <a:cubicBezTo>
                  <a:pt x="973150" y="1208456"/>
                  <a:pt x="963618" y="1225533"/>
                  <a:pt x="946460" y="1231226"/>
                </a:cubicBezTo>
                <a:cubicBezTo>
                  <a:pt x="946460" y="1231226"/>
                  <a:pt x="946460" y="1231226"/>
                  <a:pt x="605213" y="1371647"/>
                </a:cubicBezTo>
                <a:cubicBezTo>
                  <a:pt x="582336" y="1381135"/>
                  <a:pt x="555646" y="1369750"/>
                  <a:pt x="546114" y="1346978"/>
                </a:cubicBezTo>
                <a:cubicBezTo>
                  <a:pt x="536582" y="1324207"/>
                  <a:pt x="548020" y="1297641"/>
                  <a:pt x="570897" y="1288153"/>
                </a:cubicBezTo>
                <a:cubicBezTo>
                  <a:pt x="570897" y="1288153"/>
                  <a:pt x="570897" y="1288153"/>
                  <a:pt x="912145" y="1147734"/>
                </a:cubicBezTo>
                <a:cubicBezTo>
                  <a:pt x="917864" y="1145362"/>
                  <a:pt x="923703" y="1144295"/>
                  <a:pt x="929392" y="1144384"/>
                </a:cubicBezTo>
                <a:close/>
                <a:moveTo>
                  <a:pt x="4842207" y="1136792"/>
                </a:moveTo>
                <a:cubicBezTo>
                  <a:pt x="4861009" y="1137683"/>
                  <a:pt x="4878475" y="1149795"/>
                  <a:pt x="4884177" y="1168317"/>
                </a:cubicBezTo>
                <a:cubicBezTo>
                  <a:pt x="4886079" y="1174017"/>
                  <a:pt x="4887979" y="1179717"/>
                  <a:pt x="4887979" y="1185417"/>
                </a:cubicBezTo>
                <a:cubicBezTo>
                  <a:pt x="4887979" y="1204415"/>
                  <a:pt x="4876573" y="1223411"/>
                  <a:pt x="4855663" y="1231009"/>
                </a:cubicBezTo>
                <a:cubicBezTo>
                  <a:pt x="4855663" y="1231009"/>
                  <a:pt x="4855663" y="1231009"/>
                  <a:pt x="4515395" y="1354496"/>
                </a:cubicBezTo>
                <a:cubicBezTo>
                  <a:pt x="4490683" y="1362097"/>
                  <a:pt x="4462169" y="1350697"/>
                  <a:pt x="4454565" y="1325999"/>
                </a:cubicBezTo>
                <a:cubicBezTo>
                  <a:pt x="4445059" y="1301300"/>
                  <a:pt x="4458367" y="1272803"/>
                  <a:pt x="4483079" y="1263303"/>
                </a:cubicBezTo>
                <a:cubicBezTo>
                  <a:pt x="4483079" y="1263303"/>
                  <a:pt x="4483079" y="1263303"/>
                  <a:pt x="4823347" y="1139820"/>
                </a:cubicBezTo>
                <a:cubicBezTo>
                  <a:pt x="4829525" y="1137446"/>
                  <a:pt x="4835941" y="1136496"/>
                  <a:pt x="4842207" y="1136792"/>
                </a:cubicBezTo>
                <a:close/>
                <a:moveTo>
                  <a:pt x="1478264" y="1136777"/>
                </a:moveTo>
                <a:cubicBezTo>
                  <a:pt x="1496633" y="1137668"/>
                  <a:pt x="1513397" y="1149779"/>
                  <a:pt x="1520531" y="1168302"/>
                </a:cubicBezTo>
                <a:cubicBezTo>
                  <a:pt x="1522433" y="1174002"/>
                  <a:pt x="1522433" y="1179701"/>
                  <a:pt x="1522433" y="1185401"/>
                </a:cubicBezTo>
                <a:cubicBezTo>
                  <a:pt x="1522433" y="1204399"/>
                  <a:pt x="1511019" y="1223396"/>
                  <a:pt x="1491996" y="1230995"/>
                </a:cubicBezTo>
                <a:cubicBezTo>
                  <a:pt x="1491996" y="1230995"/>
                  <a:pt x="1491996" y="1230995"/>
                  <a:pt x="1151487" y="1354481"/>
                </a:cubicBezTo>
                <a:cubicBezTo>
                  <a:pt x="1124855" y="1362081"/>
                  <a:pt x="1098223" y="1350681"/>
                  <a:pt x="1088711" y="1325984"/>
                </a:cubicBezTo>
                <a:cubicBezTo>
                  <a:pt x="1081102" y="1301286"/>
                  <a:pt x="1092516" y="1272790"/>
                  <a:pt x="1117245" y="1263291"/>
                </a:cubicBezTo>
                <a:cubicBezTo>
                  <a:pt x="1117245" y="1263291"/>
                  <a:pt x="1117245" y="1263291"/>
                  <a:pt x="1459657" y="1139805"/>
                </a:cubicBezTo>
                <a:cubicBezTo>
                  <a:pt x="1465840" y="1137431"/>
                  <a:pt x="1472141" y="1136480"/>
                  <a:pt x="1478264" y="1136777"/>
                </a:cubicBezTo>
                <a:close/>
                <a:moveTo>
                  <a:pt x="4287327" y="1129708"/>
                </a:moveTo>
                <a:cubicBezTo>
                  <a:pt x="4306945" y="1131580"/>
                  <a:pt x="4324421" y="1144420"/>
                  <a:pt x="4330129" y="1165821"/>
                </a:cubicBezTo>
                <a:cubicBezTo>
                  <a:pt x="4332031" y="1169626"/>
                  <a:pt x="4333935" y="1175333"/>
                  <a:pt x="4333935" y="1181040"/>
                </a:cubicBezTo>
                <a:cubicBezTo>
                  <a:pt x="4333935" y="1201965"/>
                  <a:pt x="4318715" y="1222889"/>
                  <a:pt x="4297789" y="1228594"/>
                </a:cubicBezTo>
                <a:cubicBezTo>
                  <a:pt x="4297789" y="1228594"/>
                  <a:pt x="4297789" y="1228594"/>
                  <a:pt x="3955367" y="1337024"/>
                </a:cubicBezTo>
                <a:cubicBezTo>
                  <a:pt x="3928735" y="1344633"/>
                  <a:pt x="3900199" y="1329414"/>
                  <a:pt x="3890687" y="1302782"/>
                </a:cubicBezTo>
                <a:cubicBezTo>
                  <a:pt x="3883079" y="1276150"/>
                  <a:pt x="3898297" y="1247615"/>
                  <a:pt x="3924929" y="1240007"/>
                </a:cubicBezTo>
                <a:cubicBezTo>
                  <a:pt x="3924929" y="1240007"/>
                  <a:pt x="3924929" y="1240007"/>
                  <a:pt x="4267351" y="1131580"/>
                </a:cubicBezTo>
                <a:cubicBezTo>
                  <a:pt x="4274009" y="1129678"/>
                  <a:pt x="4280787" y="1129084"/>
                  <a:pt x="4287327" y="1129708"/>
                </a:cubicBezTo>
                <a:close/>
                <a:moveTo>
                  <a:pt x="2033043" y="1129690"/>
                </a:moveTo>
                <a:cubicBezTo>
                  <a:pt x="2052764" y="1131563"/>
                  <a:pt x="2070611" y="1144403"/>
                  <a:pt x="2077749" y="1165803"/>
                </a:cubicBezTo>
                <a:cubicBezTo>
                  <a:pt x="2079653" y="1169608"/>
                  <a:pt x="2079653" y="1175315"/>
                  <a:pt x="2079653" y="1181022"/>
                </a:cubicBezTo>
                <a:cubicBezTo>
                  <a:pt x="2079653" y="1201947"/>
                  <a:pt x="2066327" y="1222871"/>
                  <a:pt x="2043483" y="1228577"/>
                </a:cubicBezTo>
                <a:cubicBezTo>
                  <a:pt x="2043483" y="1228577"/>
                  <a:pt x="2043483" y="1228577"/>
                  <a:pt x="1702724" y="1337007"/>
                </a:cubicBezTo>
                <a:cubicBezTo>
                  <a:pt x="1674169" y="1344616"/>
                  <a:pt x="1645613" y="1329398"/>
                  <a:pt x="1637999" y="1302766"/>
                </a:cubicBezTo>
                <a:cubicBezTo>
                  <a:pt x="1630384" y="1276134"/>
                  <a:pt x="1643710" y="1247600"/>
                  <a:pt x="1670361" y="1239991"/>
                </a:cubicBezTo>
                <a:cubicBezTo>
                  <a:pt x="1670361" y="1239991"/>
                  <a:pt x="1670361" y="1239991"/>
                  <a:pt x="2013024" y="1131563"/>
                </a:cubicBezTo>
                <a:cubicBezTo>
                  <a:pt x="2019687" y="1129660"/>
                  <a:pt x="2026469" y="1129066"/>
                  <a:pt x="2033043" y="1129690"/>
                </a:cubicBezTo>
                <a:close/>
                <a:moveTo>
                  <a:pt x="3726359" y="1122412"/>
                </a:moveTo>
                <a:cubicBezTo>
                  <a:pt x="3747345" y="1125377"/>
                  <a:pt x="3765919" y="1140469"/>
                  <a:pt x="3771633" y="1162029"/>
                </a:cubicBezTo>
                <a:cubicBezTo>
                  <a:pt x="3773539" y="1165862"/>
                  <a:pt x="3773539" y="1171611"/>
                  <a:pt x="3773539" y="1175444"/>
                </a:cubicBezTo>
                <a:cubicBezTo>
                  <a:pt x="3773539" y="1200359"/>
                  <a:pt x="3758297" y="1221437"/>
                  <a:pt x="3733533" y="1229103"/>
                </a:cubicBezTo>
                <a:cubicBezTo>
                  <a:pt x="3733533" y="1229103"/>
                  <a:pt x="3733533" y="1229103"/>
                  <a:pt x="3390628" y="1321092"/>
                </a:cubicBezTo>
                <a:cubicBezTo>
                  <a:pt x="3362053" y="1328758"/>
                  <a:pt x="3331572" y="1311508"/>
                  <a:pt x="3323952" y="1282761"/>
                </a:cubicBezTo>
                <a:cubicBezTo>
                  <a:pt x="3316332" y="1254015"/>
                  <a:pt x="3333477" y="1223355"/>
                  <a:pt x="3362053" y="1215690"/>
                </a:cubicBezTo>
                <a:cubicBezTo>
                  <a:pt x="3362053" y="1215690"/>
                  <a:pt x="3362053" y="1215690"/>
                  <a:pt x="3704957" y="1123700"/>
                </a:cubicBezTo>
                <a:cubicBezTo>
                  <a:pt x="3712101" y="1121784"/>
                  <a:pt x="3719365" y="1121424"/>
                  <a:pt x="3726359" y="1122412"/>
                </a:cubicBezTo>
                <a:close/>
                <a:moveTo>
                  <a:pt x="2592869" y="1122392"/>
                </a:moveTo>
                <a:cubicBezTo>
                  <a:pt x="2613854" y="1125356"/>
                  <a:pt x="2632428" y="1140449"/>
                  <a:pt x="2638143" y="1162008"/>
                </a:cubicBezTo>
                <a:cubicBezTo>
                  <a:pt x="2640048" y="1165841"/>
                  <a:pt x="2640048" y="1171591"/>
                  <a:pt x="2640048" y="1175424"/>
                </a:cubicBezTo>
                <a:cubicBezTo>
                  <a:pt x="2640048" y="1200338"/>
                  <a:pt x="2622903" y="1221418"/>
                  <a:pt x="2600042" y="1229084"/>
                </a:cubicBezTo>
                <a:cubicBezTo>
                  <a:pt x="2600042" y="1229084"/>
                  <a:pt x="2600042" y="1229084"/>
                  <a:pt x="2257138" y="1321073"/>
                </a:cubicBezTo>
                <a:cubicBezTo>
                  <a:pt x="2226658" y="1328739"/>
                  <a:pt x="2198082" y="1311491"/>
                  <a:pt x="2190462" y="1282744"/>
                </a:cubicBezTo>
                <a:cubicBezTo>
                  <a:pt x="2182842" y="1253997"/>
                  <a:pt x="2199987" y="1223335"/>
                  <a:pt x="2228563" y="1215669"/>
                </a:cubicBezTo>
                <a:cubicBezTo>
                  <a:pt x="2228563" y="1215669"/>
                  <a:pt x="2228563" y="1215669"/>
                  <a:pt x="2571467" y="1123680"/>
                </a:cubicBezTo>
                <a:cubicBezTo>
                  <a:pt x="2578611" y="1121763"/>
                  <a:pt x="2585874" y="1121404"/>
                  <a:pt x="2592869" y="1122392"/>
                </a:cubicBezTo>
                <a:close/>
                <a:moveTo>
                  <a:pt x="3157606" y="1116352"/>
                </a:moveTo>
                <a:cubicBezTo>
                  <a:pt x="3179261" y="1119924"/>
                  <a:pt x="3197441" y="1136354"/>
                  <a:pt x="3201718" y="1159215"/>
                </a:cubicBezTo>
                <a:cubicBezTo>
                  <a:pt x="3203619" y="1163024"/>
                  <a:pt x="3203619" y="1168739"/>
                  <a:pt x="3203619" y="1172550"/>
                </a:cubicBezTo>
                <a:cubicBezTo>
                  <a:pt x="3203619" y="1197316"/>
                  <a:pt x="3186509" y="1222078"/>
                  <a:pt x="3159894" y="1227794"/>
                </a:cubicBezTo>
                <a:cubicBezTo>
                  <a:pt x="3159894" y="1227794"/>
                  <a:pt x="3159894" y="1227794"/>
                  <a:pt x="2815793" y="1303992"/>
                </a:cubicBezTo>
                <a:cubicBezTo>
                  <a:pt x="2785375" y="1309707"/>
                  <a:pt x="2754958" y="1290657"/>
                  <a:pt x="2747353" y="1260177"/>
                </a:cubicBezTo>
                <a:cubicBezTo>
                  <a:pt x="2741650" y="1229698"/>
                  <a:pt x="2760661" y="1199220"/>
                  <a:pt x="2791079" y="1191600"/>
                </a:cubicBezTo>
                <a:cubicBezTo>
                  <a:pt x="2791079" y="1191600"/>
                  <a:pt x="2791079" y="1191600"/>
                  <a:pt x="3135179" y="1117304"/>
                </a:cubicBezTo>
                <a:cubicBezTo>
                  <a:pt x="3142784" y="1115399"/>
                  <a:pt x="3150388" y="1115161"/>
                  <a:pt x="3157606" y="1116352"/>
                </a:cubicBezTo>
                <a:close/>
                <a:moveTo>
                  <a:pt x="6485675" y="836904"/>
                </a:moveTo>
                <a:cubicBezTo>
                  <a:pt x="6501157" y="835651"/>
                  <a:pt x="6516909" y="844602"/>
                  <a:pt x="6524069" y="858924"/>
                </a:cubicBezTo>
                <a:cubicBezTo>
                  <a:pt x="6525979" y="864653"/>
                  <a:pt x="6527887" y="870382"/>
                  <a:pt x="6527887" y="876110"/>
                </a:cubicBezTo>
                <a:cubicBezTo>
                  <a:pt x="6527887" y="891387"/>
                  <a:pt x="6520251" y="904754"/>
                  <a:pt x="6506885" y="912393"/>
                </a:cubicBezTo>
                <a:cubicBezTo>
                  <a:pt x="6506885" y="912393"/>
                  <a:pt x="6506885" y="912393"/>
                  <a:pt x="6167027" y="1082352"/>
                </a:cubicBezTo>
                <a:cubicBezTo>
                  <a:pt x="6147935" y="1093810"/>
                  <a:pt x="6123113" y="1084261"/>
                  <a:pt x="6113567" y="1065166"/>
                </a:cubicBezTo>
                <a:cubicBezTo>
                  <a:pt x="6104019" y="1046065"/>
                  <a:pt x="6111657" y="1023149"/>
                  <a:pt x="6130751" y="1011692"/>
                </a:cubicBezTo>
                <a:cubicBezTo>
                  <a:pt x="6130751" y="1011692"/>
                  <a:pt x="6130751" y="1011692"/>
                  <a:pt x="6470609" y="841738"/>
                </a:cubicBezTo>
                <a:cubicBezTo>
                  <a:pt x="6475381" y="838873"/>
                  <a:pt x="6480513" y="837322"/>
                  <a:pt x="6485675" y="836904"/>
                </a:cubicBezTo>
                <a:close/>
                <a:moveTo>
                  <a:pt x="5957811" y="832471"/>
                </a:moveTo>
                <a:cubicBezTo>
                  <a:pt x="5967811" y="836266"/>
                  <a:pt x="5976385" y="843858"/>
                  <a:pt x="5981147" y="854296"/>
                </a:cubicBezTo>
                <a:cubicBezTo>
                  <a:pt x="5984957" y="859989"/>
                  <a:pt x="5984957" y="865683"/>
                  <a:pt x="5984957" y="871376"/>
                </a:cubicBezTo>
                <a:cubicBezTo>
                  <a:pt x="5984957" y="886559"/>
                  <a:pt x="5977337" y="901741"/>
                  <a:pt x="5962097" y="909333"/>
                </a:cubicBezTo>
                <a:cubicBezTo>
                  <a:pt x="5962097" y="909333"/>
                  <a:pt x="5962097" y="909333"/>
                  <a:pt x="5623001" y="1066858"/>
                </a:cubicBezTo>
                <a:cubicBezTo>
                  <a:pt x="5602047" y="1076348"/>
                  <a:pt x="5575377" y="1066858"/>
                  <a:pt x="5565851" y="1045977"/>
                </a:cubicBezTo>
                <a:cubicBezTo>
                  <a:pt x="5556327" y="1025101"/>
                  <a:pt x="5565851" y="1000429"/>
                  <a:pt x="5586807" y="990940"/>
                </a:cubicBezTo>
                <a:cubicBezTo>
                  <a:pt x="5586807" y="990940"/>
                  <a:pt x="5586807" y="990940"/>
                  <a:pt x="5925901" y="833419"/>
                </a:cubicBezTo>
                <a:cubicBezTo>
                  <a:pt x="5936379" y="828675"/>
                  <a:pt x="5947809" y="828675"/>
                  <a:pt x="5957811" y="832471"/>
                </a:cubicBezTo>
                <a:close/>
                <a:moveTo>
                  <a:pt x="398309" y="832461"/>
                </a:moveTo>
                <a:cubicBezTo>
                  <a:pt x="408311" y="836256"/>
                  <a:pt x="416884" y="843848"/>
                  <a:pt x="421646" y="854286"/>
                </a:cubicBezTo>
                <a:cubicBezTo>
                  <a:pt x="425456" y="859979"/>
                  <a:pt x="425456" y="865673"/>
                  <a:pt x="425456" y="871366"/>
                </a:cubicBezTo>
                <a:cubicBezTo>
                  <a:pt x="425456" y="886549"/>
                  <a:pt x="417836" y="901732"/>
                  <a:pt x="400691" y="909323"/>
                </a:cubicBezTo>
                <a:cubicBezTo>
                  <a:pt x="400691" y="909323"/>
                  <a:pt x="400691" y="909323"/>
                  <a:pt x="61596" y="1066847"/>
                </a:cubicBezTo>
                <a:cubicBezTo>
                  <a:pt x="40641" y="1076336"/>
                  <a:pt x="15875" y="1066847"/>
                  <a:pt x="6350" y="1045967"/>
                </a:cubicBezTo>
                <a:cubicBezTo>
                  <a:pt x="-3175" y="1025091"/>
                  <a:pt x="6350" y="1000419"/>
                  <a:pt x="27305" y="990930"/>
                </a:cubicBezTo>
                <a:cubicBezTo>
                  <a:pt x="27305" y="990930"/>
                  <a:pt x="27305" y="990930"/>
                  <a:pt x="366400" y="833409"/>
                </a:cubicBezTo>
                <a:cubicBezTo>
                  <a:pt x="376878" y="828665"/>
                  <a:pt x="388308" y="828665"/>
                  <a:pt x="398309" y="832461"/>
                </a:cubicBezTo>
                <a:close/>
                <a:moveTo>
                  <a:pt x="5410491" y="824769"/>
                </a:moveTo>
                <a:cubicBezTo>
                  <a:pt x="5421213" y="828802"/>
                  <a:pt x="5430269" y="836866"/>
                  <a:pt x="5435035" y="848252"/>
                </a:cubicBezTo>
                <a:cubicBezTo>
                  <a:pt x="5436941" y="853944"/>
                  <a:pt x="5438847" y="859637"/>
                  <a:pt x="5438847" y="865330"/>
                </a:cubicBezTo>
                <a:cubicBezTo>
                  <a:pt x="5438847" y="882408"/>
                  <a:pt x="5427409" y="899486"/>
                  <a:pt x="5410251" y="907076"/>
                </a:cubicBezTo>
                <a:cubicBezTo>
                  <a:pt x="5410251" y="907076"/>
                  <a:pt x="5410251" y="907076"/>
                  <a:pt x="5070911" y="1049392"/>
                </a:cubicBezTo>
                <a:cubicBezTo>
                  <a:pt x="5048033" y="1058886"/>
                  <a:pt x="5021345" y="1047495"/>
                  <a:pt x="5011813" y="1024725"/>
                </a:cubicBezTo>
                <a:cubicBezTo>
                  <a:pt x="5002279" y="1003851"/>
                  <a:pt x="5013719" y="977286"/>
                  <a:pt x="5034689" y="967798"/>
                </a:cubicBezTo>
                <a:cubicBezTo>
                  <a:pt x="5034689" y="967798"/>
                  <a:pt x="5034689" y="967798"/>
                  <a:pt x="5375937" y="825481"/>
                </a:cubicBezTo>
                <a:cubicBezTo>
                  <a:pt x="5387375" y="820737"/>
                  <a:pt x="5399767" y="820737"/>
                  <a:pt x="5410491" y="824769"/>
                </a:cubicBezTo>
                <a:close/>
                <a:moveTo>
                  <a:pt x="944792" y="824757"/>
                </a:moveTo>
                <a:cubicBezTo>
                  <a:pt x="955516" y="828790"/>
                  <a:pt x="964571" y="836854"/>
                  <a:pt x="969337" y="848240"/>
                </a:cubicBezTo>
                <a:cubicBezTo>
                  <a:pt x="971244" y="853932"/>
                  <a:pt x="973150" y="859625"/>
                  <a:pt x="973150" y="865318"/>
                </a:cubicBezTo>
                <a:cubicBezTo>
                  <a:pt x="973150" y="882396"/>
                  <a:pt x="963618" y="899474"/>
                  <a:pt x="946460" y="907064"/>
                </a:cubicBezTo>
                <a:cubicBezTo>
                  <a:pt x="946460" y="907064"/>
                  <a:pt x="946460" y="907064"/>
                  <a:pt x="605213" y="1049381"/>
                </a:cubicBezTo>
                <a:cubicBezTo>
                  <a:pt x="582336" y="1058872"/>
                  <a:pt x="555646" y="1047484"/>
                  <a:pt x="546114" y="1024713"/>
                </a:cubicBezTo>
                <a:cubicBezTo>
                  <a:pt x="536582" y="1003840"/>
                  <a:pt x="548020" y="977274"/>
                  <a:pt x="570897" y="967786"/>
                </a:cubicBezTo>
                <a:cubicBezTo>
                  <a:pt x="570897" y="967786"/>
                  <a:pt x="570897" y="967786"/>
                  <a:pt x="910238" y="825469"/>
                </a:cubicBezTo>
                <a:cubicBezTo>
                  <a:pt x="921677" y="820725"/>
                  <a:pt x="934068" y="820725"/>
                  <a:pt x="944792" y="824757"/>
                </a:cubicBezTo>
                <a:close/>
                <a:moveTo>
                  <a:pt x="4842191" y="812936"/>
                </a:moveTo>
                <a:cubicBezTo>
                  <a:pt x="4860575" y="813741"/>
                  <a:pt x="4877351" y="825544"/>
                  <a:pt x="4884489" y="842712"/>
                </a:cubicBezTo>
                <a:cubicBezTo>
                  <a:pt x="4886391" y="848435"/>
                  <a:pt x="4886391" y="854157"/>
                  <a:pt x="4886391" y="859880"/>
                </a:cubicBezTo>
                <a:cubicBezTo>
                  <a:pt x="4886391" y="878955"/>
                  <a:pt x="4874971" y="898031"/>
                  <a:pt x="4855933" y="903754"/>
                </a:cubicBezTo>
                <a:cubicBezTo>
                  <a:pt x="4855933" y="903754"/>
                  <a:pt x="4855933" y="903754"/>
                  <a:pt x="4515179" y="1033468"/>
                </a:cubicBezTo>
                <a:cubicBezTo>
                  <a:pt x="4492335" y="1043005"/>
                  <a:pt x="4463781" y="1031560"/>
                  <a:pt x="4454263" y="1006762"/>
                </a:cubicBezTo>
                <a:cubicBezTo>
                  <a:pt x="4446647" y="981963"/>
                  <a:pt x="4458069" y="955258"/>
                  <a:pt x="4482817" y="945720"/>
                </a:cubicBezTo>
                <a:cubicBezTo>
                  <a:pt x="4482817" y="945720"/>
                  <a:pt x="4482817" y="945720"/>
                  <a:pt x="4823571" y="816006"/>
                </a:cubicBezTo>
                <a:cubicBezTo>
                  <a:pt x="4829759" y="813621"/>
                  <a:pt x="4836065" y="812668"/>
                  <a:pt x="4842191" y="812936"/>
                </a:cubicBezTo>
                <a:close/>
                <a:moveTo>
                  <a:pt x="1476362" y="812922"/>
                </a:moveTo>
                <a:cubicBezTo>
                  <a:pt x="1494731" y="813727"/>
                  <a:pt x="1511495" y="825530"/>
                  <a:pt x="1518628" y="842698"/>
                </a:cubicBezTo>
                <a:cubicBezTo>
                  <a:pt x="1520531" y="848421"/>
                  <a:pt x="1522433" y="854143"/>
                  <a:pt x="1522433" y="859866"/>
                </a:cubicBezTo>
                <a:cubicBezTo>
                  <a:pt x="1522433" y="878941"/>
                  <a:pt x="1511019" y="898017"/>
                  <a:pt x="1491996" y="903740"/>
                </a:cubicBezTo>
                <a:cubicBezTo>
                  <a:pt x="1491996" y="903740"/>
                  <a:pt x="1491996" y="903740"/>
                  <a:pt x="1151487" y="1033454"/>
                </a:cubicBezTo>
                <a:cubicBezTo>
                  <a:pt x="1126757" y="1042992"/>
                  <a:pt x="1100125" y="1031547"/>
                  <a:pt x="1090613" y="1006748"/>
                </a:cubicBezTo>
                <a:cubicBezTo>
                  <a:pt x="1081102" y="981950"/>
                  <a:pt x="1094418" y="955244"/>
                  <a:pt x="1117245" y="945706"/>
                </a:cubicBezTo>
                <a:cubicBezTo>
                  <a:pt x="1117245" y="945706"/>
                  <a:pt x="1117245" y="945706"/>
                  <a:pt x="1457755" y="815992"/>
                </a:cubicBezTo>
                <a:cubicBezTo>
                  <a:pt x="1463938" y="813608"/>
                  <a:pt x="1470239" y="812654"/>
                  <a:pt x="1476362" y="812922"/>
                </a:cubicBezTo>
                <a:close/>
                <a:moveTo>
                  <a:pt x="4285673" y="804253"/>
                </a:moveTo>
                <a:cubicBezTo>
                  <a:pt x="4305319" y="806042"/>
                  <a:pt x="4322821" y="818561"/>
                  <a:pt x="4328535" y="838591"/>
                </a:cubicBezTo>
                <a:cubicBezTo>
                  <a:pt x="4330441" y="844314"/>
                  <a:pt x="4332347" y="848129"/>
                  <a:pt x="4332347" y="853852"/>
                </a:cubicBezTo>
                <a:cubicBezTo>
                  <a:pt x="4332347" y="874837"/>
                  <a:pt x="4319011" y="893913"/>
                  <a:pt x="4298055" y="901544"/>
                </a:cubicBezTo>
                <a:cubicBezTo>
                  <a:pt x="4298055" y="901544"/>
                  <a:pt x="4298055" y="901544"/>
                  <a:pt x="3957055" y="1017912"/>
                </a:cubicBezTo>
                <a:cubicBezTo>
                  <a:pt x="3930385" y="1025543"/>
                  <a:pt x="3901811" y="1012189"/>
                  <a:pt x="3894191" y="985481"/>
                </a:cubicBezTo>
                <a:cubicBezTo>
                  <a:pt x="3884665" y="960682"/>
                  <a:pt x="3898001" y="932067"/>
                  <a:pt x="3924671" y="922528"/>
                </a:cubicBezTo>
                <a:cubicBezTo>
                  <a:pt x="3924671" y="922528"/>
                  <a:pt x="3924671" y="922528"/>
                  <a:pt x="4265671" y="806161"/>
                </a:cubicBezTo>
                <a:cubicBezTo>
                  <a:pt x="4272339" y="804253"/>
                  <a:pt x="4279125" y="803657"/>
                  <a:pt x="4285673" y="804253"/>
                </a:cubicBezTo>
                <a:close/>
                <a:moveTo>
                  <a:pt x="2032225" y="804237"/>
                </a:moveTo>
                <a:cubicBezTo>
                  <a:pt x="2051156" y="806026"/>
                  <a:pt x="2069016" y="818545"/>
                  <a:pt x="2076160" y="838575"/>
                </a:cubicBezTo>
                <a:cubicBezTo>
                  <a:pt x="2078065" y="844298"/>
                  <a:pt x="2078065" y="848114"/>
                  <a:pt x="2078065" y="853837"/>
                </a:cubicBezTo>
                <a:cubicBezTo>
                  <a:pt x="2078065" y="874821"/>
                  <a:pt x="2064730" y="893898"/>
                  <a:pt x="2043775" y="901528"/>
                </a:cubicBezTo>
                <a:cubicBezTo>
                  <a:pt x="2043775" y="901528"/>
                  <a:pt x="2043775" y="901528"/>
                  <a:pt x="1702775" y="1017896"/>
                </a:cubicBezTo>
                <a:cubicBezTo>
                  <a:pt x="1676105" y="1025527"/>
                  <a:pt x="1649434" y="1012173"/>
                  <a:pt x="1639909" y="985466"/>
                </a:cubicBezTo>
                <a:cubicBezTo>
                  <a:pt x="1630384" y="960666"/>
                  <a:pt x="1645624" y="932051"/>
                  <a:pt x="1670390" y="922513"/>
                </a:cubicBezTo>
                <a:cubicBezTo>
                  <a:pt x="1670390" y="922513"/>
                  <a:pt x="1670390" y="922513"/>
                  <a:pt x="2013294" y="806145"/>
                </a:cubicBezTo>
                <a:cubicBezTo>
                  <a:pt x="2019485" y="804237"/>
                  <a:pt x="2025915" y="803641"/>
                  <a:pt x="2032225" y="804237"/>
                </a:cubicBezTo>
                <a:close/>
                <a:moveTo>
                  <a:pt x="3725241" y="796615"/>
                </a:moveTo>
                <a:cubicBezTo>
                  <a:pt x="3745005" y="798940"/>
                  <a:pt x="3762889" y="812533"/>
                  <a:pt x="3770043" y="832564"/>
                </a:cubicBezTo>
                <a:cubicBezTo>
                  <a:pt x="3770043" y="838288"/>
                  <a:pt x="3771951" y="844011"/>
                  <a:pt x="3771951" y="847826"/>
                </a:cubicBezTo>
                <a:cubicBezTo>
                  <a:pt x="3771951" y="870720"/>
                  <a:pt x="3756689" y="891705"/>
                  <a:pt x="3733797" y="897429"/>
                </a:cubicBezTo>
                <a:cubicBezTo>
                  <a:pt x="3733797" y="897429"/>
                  <a:pt x="3733797" y="897429"/>
                  <a:pt x="3390412" y="1000449"/>
                </a:cubicBezTo>
                <a:cubicBezTo>
                  <a:pt x="3363705" y="1008080"/>
                  <a:pt x="3335089" y="992818"/>
                  <a:pt x="3325551" y="964201"/>
                </a:cubicBezTo>
                <a:cubicBezTo>
                  <a:pt x="3317920" y="937492"/>
                  <a:pt x="3333182" y="908876"/>
                  <a:pt x="3361797" y="899337"/>
                </a:cubicBezTo>
                <a:cubicBezTo>
                  <a:pt x="3361797" y="899337"/>
                  <a:pt x="3361797" y="899337"/>
                  <a:pt x="3705181" y="798224"/>
                </a:cubicBezTo>
                <a:cubicBezTo>
                  <a:pt x="3711859" y="796316"/>
                  <a:pt x="3718655" y="795840"/>
                  <a:pt x="3725241" y="796615"/>
                </a:cubicBezTo>
                <a:close/>
                <a:moveTo>
                  <a:pt x="2591752" y="796597"/>
                </a:moveTo>
                <a:cubicBezTo>
                  <a:pt x="2611514" y="798922"/>
                  <a:pt x="2629399" y="812515"/>
                  <a:pt x="2636552" y="832546"/>
                </a:cubicBezTo>
                <a:cubicBezTo>
                  <a:pt x="2636552" y="838270"/>
                  <a:pt x="2638460" y="843993"/>
                  <a:pt x="2638460" y="847809"/>
                </a:cubicBezTo>
                <a:cubicBezTo>
                  <a:pt x="2638460" y="870702"/>
                  <a:pt x="2623198" y="891688"/>
                  <a:pt x="2600306" y="897411"/>
                </a:cubicBezTo>
                <a:cubicBezTo>
                  <a:pt x="2600306" y="897411"/>
                  <a:pt x="2600306" y="897411"/>
                  <a:pt x="2256921" y="1000432"/>
                </a:cubicBezTo>
                <a:cubicBezTo>
                  <a:pt x="2230214" y="1008063"/>
                  <a:pt x="2201598" y="992801"/>
                  <a:pt x="2192060" y="964184"/>
                </a:cubicBezTo>
                <a:cubicBezTo>
                  <a:pt x="2184429" y="937475"/>
                  <a:pt x="2199691" y="908858"/>
                  <a:pt x="2228306" y="899319"/>
                </a:cubicBezTo>
                <a:cubicBezTo>
                  <a:pt x="2228306" y="899319"/>
                  <a:pt x="2228306" y="899319"/>
                  <a:pt x="2571691" y="798206"/>
                </a:cubicBezTo>
                <a:cubicBezTo>
                  <a:pt x="2578368" y="796299"/>
                  <a:pt x="2585164" y="795822"/>
                  <a:pt x="2591752" y="796597"/>
                </a:cubicBezTo>
                <a:close/>
                <a:moveTo>
                  <a:pt x="3154884" y="787706"/>
                </a:moveTo>
                <a:cubicBezTo>
                  <a:pt x="3175855" y="791188"/>
                  <a:pt x="3194416" y="807261"/>
                  <a:pt x="3200127" y="828693"/>
                </a:cubicBezTo>
                <a:cubicBezTo>
                  <a:pt x="3200127" y="832503"/>
                  <a:pt x="3202031" y="838218"/>
                  <a:pt x="3202031" y="842028"/>
                </a:cubicBezTo>
                <a:cubicBezTo>
                  <a:pt x="3202031" y="866793"/>
                  <a:pt x="3184898" y="887747"/>
                  <a:pt x="3160149" y="895367"/>
                </a:cubicBezTo>
                <a:cubicBezTo>
                  <a:pt x="3160149" y="895367"/>
                  <a:pt x="3160149" y="895367"/>
                  <a:pt x="2817482" y="982997"/>
                </a:cubicBezTo>
                <a:cubicBezTo>
                  <a:pt x="2787022" y="990617"/>
                  <a:pt x="2758467" y="973472"/>
                  <a:pt x="2750852" y="944898"/>
                </a:cubicBezTo>
                <a:cubicBezTo>
                  <a:pt x="2743237" y="914417"/>
                  <a:pt x="2760370" y="885843"/>
                  <a:pt x="2788926" y="878223"/>
                </a:cubicBezTo>
                <a:cubicBezTo>
                  <a:pt x="2788926" y="878223"/>
                  <a:pt x="2788926" y="878223"/>
                  <a:pt x="3133497" y="788688"/>
                </a:cubicBezTo>
                <a:cubicBezTo>
                  <a:pt x="3140636" y="786783"/>
                  <a:pt x="3147894" y="786545"/>
                  <a:pt x="3154884" y="787706"/>
                </a:cubicBezTo>
                <a:close/>
                <a:moveTo>
                  <a:pt x="6500919" y="517209"/>
                </a:moveTo>
                <a:cubicBezTo>
                  <a:pt x="6510703" y="520534"/>
                  <a:pt x="6519295" y="527661"/>
                  <a:pt x="6524069" y="538113"/>
                </a:cubicBezTo>
                <a:cubicBezTo>
                  <a:pt x="6525979" y="543814"/>
                  <a:pt x="6527887" y="549515"/>
                  <a:pt x="6527887" y="555216"/>
                </a:cubicBezTo>
                <a:cubicBezTo>
                  <a:pt x="6527887" y="570419"/>
                  <a:pt x="6520251" y="583722"/>
                  <a:pt x="6506885" y="591323"/>
                </a:cubicBezTo>
                <a:cubicBezTo>
                  <a:pt x="6506885" y="591323"/>
                  <a:pt x="6506885" y="591323"/>
                  <a:pt x="6167027" y="760455"/>
                </a:cubicBezTo>
                <a:cubicBezTo>
                  <a:pt x="6147935" y="769957"/>
                  <a:pt x="6123113" y="762355"/>
                  <a:pt x="6113567" y="743352"/>
                </a:cubicBezTo>
                <a:cubicBezTo>
                  <a:pt x="6104019" y="722448"/>
                  <a:pt x="6111657" y="699644"/>
                  <a:pt x="6130751" y="690142"/>
                </a:cubicBezTo>
                <a:cubicBezTo>
                  <a:pt x="6130751" y="690142"/>
                  <a:pt x="6130751" y="690142"/>
                  <a:pt x="6470609" y="519109"/>
                </a:cubicBezTo>
                <a:cubicBezTo>
                  <a:pt x="6480155" y="514358"/>
                  <a:pt x="6491133" y="513883"/>
                  <a:pt x="6500919" y="517209"/>
                </a:cubicBezTo>
                <a:close/>
                <a:moveTo>
                  <a:pt x="5942035" y="506688"/>
                </a:moveTo>
                <a:cubicBezTo>
                  <a:pt x="5958287" y="505532"/>
                  <a:pt x="5974003" y="514773"/>
                  <a:pt x="5981147" y="530411"/>
                </a:cubicBezTo>
                <a:cubicBezTo>
                  <a:pt x="5984957" y="536097"/>
                  <a:pt x="5984957" y="541784"/>
                  <a:pt x="5984957" y="547470"/>
                </a:cubicBezTo>
                <a:cubicBezTo>
                  <a:pt x="5984957" y="564530"/>
                  <a:pt x="5977337" y="579694"/>
                  <a:pt x="5962097" y="585381"/>
                </a:cubicBezTo>
                <a:cubicBezTo>
                  <a:pt x="5962097" y="585381"/>
                  <a:pt x="5962097" y="585381"/>
                  <a:pt x="5623001" y="744604"/>
                </a:cubicBezTo>
                <a:cubicBezTo>
                  <a:pt x="5602047" y="754082"/>
                  <a:pt x="5577281" y="744604"/>
                  <a:pt x="5565851" y="723754"/>
                </a:cubicBezTo>
                <a:cubicBezTo>
                  <a:pt x="5556327" y="702903"/>
                  <a:pt x="5565851" y="678261"/>
                  <a:pt x="5586807" y="668784"/>
                </a:cubicBezTo>
                <a:cubicBezTo>
                  <a:pt x="5586807" y="668784"/>
                  <a:pt x="5586807" y="668784"/>
                  <a:pt x="5925901" y="511455"/>
                </a:cubicBezTo>
                <a:cubicBezTo>
                  <a:pt x="5931141" y="508612"/>
                  <a:pt x="5936617" y="507072"/>
                  <a:pt x="5942035" y="506688"/>
                </a:cubicBezTo>
                <a:close/>
                <a:moveTo>
                  <a:pt x="382533" y="506676"/>
                </a:moveTo>
                <a:cubicBezTo>
                  <a:pt x="398786" y="505521"/>
                  <a:pt x="414502" y="514761"/>
                  <a:pt x="421646" y="530400"/>
                </a:cubicBezTo>
                <a:cubicBezTo>
                  <a:pt x="423551" y="536086"/>
                  <a:pt x="425456" y="541773"/>
                  <a:pt x="425456" y="547459"/>
                </a:cubicBezTo>
                <a:cubicBezTo>
                  <a:pt x="425456" y="564519"/>
                  <a:pt x="415931" y="579683"/>
                  <a:pt x="400691" y="585369"/>
                </a:cubicBezTo>
                <a:cubicBezTo>
                  <a:pt x="400691" y="585369"/>
                  <a:pt x="400691" y="585369"/>
                  <a:pt x="61596" y="744593"/>
                </a:cubicBezTo>
                <a:cubicBezTo>
                  <a:pt x="40641" y="754071"/>
                  <a:pt x="15875" y="744593"/>
                  <a:pt x="6350" y="723742"/>
                </a:cubicBezTo>
                <a:cubicBezTo>
                  <a:pt x="-3175" y="702892"/>
                  <a:pt x="6350" y="678250"/>
                  <a:pt x="27305" y="668772"/>
                </a:cubicBezTo>
                <a:cubicBezTo>
                  <a:pt x="27305" y="668772"/>
                  <a:pt x="27305" y="668772"/>
                  <a:pt x="366400" y="511444"/>
                </a:cubicBezTo>
                <a:cubicBezTo>
                  <a:pt x="371639" y="508601"/>
                  <a:pt x="377116" y="507061"/>
                  <a:pt x="382533" y="506676"/>
                </a:cubicBezTo>
                <a:close/>
                <a:moveTo>
                  <a:pt x="5409837" y="500968"/>
                </a:moveTo>
                <a:cubicBezTo>
                  <a:pt x="5420091" y="505021"/>
                  <a:pt x="5428677" y="513127"/>
                  <a:pt x="5433445" y="524572"/>
                </a:cubicBezTo>
                <a:cubicBezTo>
                  <a:pt x="5437261" y="530295"/>
                  <a:pt x="5437261" y="536017"/>
                  <a:pt x="5437261" y="541739"/>
                </a:cubicBezTo>
                <a:cubicBezTo>
                  <a:pt x="5437261" y="558906"/>
                  <a:pt x="5427721" y="574166"/>
                  <a:pt x="5410551" y="581796"/>
                </a:cubicBezTo>
                <a:cubicBezTo>
                  <a:pt x="5410551" y="581796"/>
                  <a:pt x="5410551" y="581796"/>
                  <a:pt x="5070961" y="728671"/>
                </a:cubicBezTo>
                <a:cubicBezTo>
                  <a:pt x="5048067" y="738207"/>
                  <a:pt x="5023265" y="728671"/>
                  <a:pt x="5011819" y="705781"/>
                </a:cubicBezTo>
                <a:cubicBezTo>
                  <a:pt x="5002279" y="682891"/>
                  <a:pt x="5013727" y="658095"/>
                  <a:pt x="5034713" y="648557"/>
                </a:cubicBezTo>
                <a:cubicBezTo>
                  <a:pt x="5034713" y="648557"/>
                  <a:pt x="5034713" y="648557"/>
                  <a:pt x="5376211" y="501683"/>
                </a:cubicBezTo>
                <a:cubicBezTo>
                  <a:pt x="5387659" y="496914"/>
                  <a:pt x="5399583" y="496914"/>
                  <a:pt x="5409837" y="500968"/>
                </a:cubicBezTo>
                <a:close/>
                <a:moveTo>
                  <a:pt x="943582" y="500954"/>
                </a:moveTo>
                <a:cubicBezTo>
                  <a:pt x="954282" y="505007"/>
                  <a:pt x="963318" y="513114"/>
                  <a:pt x="968073" y="524559"/>
                </a:cubicBezTo>
                <a:cubicBezTo>
                  <a:pt x="969975" y="530281"/>
                  <a:pt x="969975" y="536004"/>
                  <a:pt x="969975" y="541726"/>
                </a:cubicBezTo>
                <a:cubicBezTo>
                  <a:pt x="969975" y="558893"/>
                  <a:pt x="960464" y="574153"/>
                  <a:pt x="945246" y="581783"/>
                </a:cubicBezTo>
                <a:cubicBezTo>
                  <a:pt x="945246" y="581783"/>
                  <a:pt x="945246" y="581783"/>
                  <a:pt x="604747" y="728657"/>
                </a:cubicBezTo>
                <a:cubicBezTo>
                  <a:pt x="581920" y="738195"/>
                  <a:pt x="557191" y="728657"/>
                  <a:pt x="547680" y="705768"/>
                </a:cubicBezTo>
                <a:cubicBezTo>
                  <a:pt x="538169" y="682878"/>
                  <a:pt x="547680" y="658081"/>
                  <a:pt x="570507" y="648544"/>
                </a:cubicBezTo>
                <a:cubicBezTo>
                  <a:pt x="570507" y="648544"/>
                  <a:pt x="570507" y="648544"/>
                  <a:pt x="909104" y="501669"/>
                </a:cubicBezTo>
                <a:cubicBezTo>
                  <a:pt x="920517" y="496901"/>
                  <a:pt x="932882" y="496901"/>
                  <a:pt x="943582" y="500954"/>
                </a:cubicBezTo>
                <a:close/>
                <a:moveTo>
                  <a:pt x="4841091" y="488774"/>
                </a:moveTo>
                <a:cubicBezTo>
                  <a:pt x="4858671" y="489041"/>
                  <a:pt x="4875447" y="499743"/>
                  <a:pt x="4882585" y="516865"/>
                </a:cubicBezTo>
                <a:cubicBezTo>
                  <a:pt x="4884489" y="522572"/>
                  <a:pt x="4886391" y="528280"/>
                  <a:pt x="4886391" y="533988"/>
                </a:cubicBezTo>
                <a:cubicBezTo>
                  <a:pt x="4886391" y="553012"/>
                  <a:pt x="4874971" y="570134"/>
                  <a:pt x="4855933" y="577744"/>
                </a:cubicBezTo>
                <a:cubicBezTo>
                  <a:pt x="4855933" y="577744"/>
                  <a:pt x="4855933" y="577744"/>
                  <a:pt x="4517083" y="712820"/>
                </a:cubicBezTo>
                <a:cubicBezTo>
                  <a:pt x="4492335" y="722333"/>
                  <a:pt x="4465685" y="710918"/>
                  <a:pt x="4456167" y="686186"/>
                </a:cubicBezTo>
                <a:cubicBezTo>
                  <a:pt x="4446647" y="663356"/>
                  <a:pt x="4458069" y="636721"/>
                  <a:pt x="4482817" y="627209"/>
                </a:cubicBezTo>
                <a:cubicBezTo>
                  <a:pt x="4482817" y="627209"/>
                  <a:pt x="4482817" y="627209"/>
                  <a:pt x="4823571" y="492133"/>
                </a:cubicBezTo>
                <a:cubicBezTo>
                  <a:pt x="4829283" y="489755"/>
                  <a:pt x="4835231" y="488685"/>
                  <a:pt x="4841091" y="488774"/>
                </a:cubicBezTo>
                <a:close/>
                <a:moveTo>
                  <a:pt x="1475779" y="488758"/>
                </a:moveTo>
                <a:cubicBezTo>
                  <a:pt x="1493817" y="489026"/>
                  <a:pt x="1511320" y="499727"/>
                  <a:pt x="1517035" y="516849"/>
                </a:cubicBezTo>
                <a:cubicBezTo>
                  <a:pt x="1520845" y="522557"/>
                  <a:pt x="1520845" y="528264"/>
                  <a:pt x="1520845" y="533972"/>
                </a:cubicBezTo>
                <a:cubicBezTo>
                  <a:pt x="1520845" y="552997"/>
                  <a:pt x="1509415" y="570119"/>
                  <a:pt x="1492270" y="577729"/>
                </a:cubicBezTo>
                <a:cubicBezTo>
                  <a:pt x="1492270" y="577729"/>
                  <a:pt x="1492270" y="577729"/>
                  <a:pt x="1151270" y="712805"/>
                </a:cubicBezTo>
                <a:cubicBezTo>
                  <a:pt x="1128410" y="722318"/>
                  <a:pt x="1101739" y="710903"/>
                  <a:pt x="1092214" y="686170"/>
                </a:cubicBezTo>
                <a:cubicBezTo>
                  <a:pt x="1082689" y="663341"/>
                  <a:pt x="1094119" y="636706"/>
                  <a:pt x="1116979" y="627193"/>
                </a:cubicBezTo>
                <a:cubicBezTo>
                  <a:pt x="1116979" y="627193"/>
                  <a:pt x="1116979" y="627193"/>
                  <a:pt x="1457979" y="492117"/>
                </a:cubicBezTo>
                <a:cubicBezTo>
                  <a:pt x="1463694" y="489739"/>
                  <a:pt x="1469766" y="488669"/>
                  <a:pt x="1475779" y="488758"/>
                </a:cubicBezTo>
                <a:close/>
                <a:moveTo>
                  <a:pt x="4284555" y="479567"/>
                </a:moveTo>
                <a:cubicBezTo>
                  <a:pt x="4302977" y="480457"/>
                  <a:pt x="4319789" y="492568"/>
                  <a:pt x="4326943" y="511091"/>
                </a:cubicBezTo>
                <a:cubicBezTo>
                  <a:pt x="4328851" y="516790"/>
                  <a:pt x="4330759" y="522490"/>
                  <a:pt x="4330759" y="528189"/>
                </a:cubicBezTo>
                <a:cubicBezTo>
                  <a:pt x="4330759" y="547187"/>
                  <a:pt x="4317405" y="566185"/>
                  <a:pt x="4298327" y="571884"/>
                </a:cubicBezTo>
                <a:cubicBezTo>
                  <a:pt x="4298327" y="571884"/>
                  <a:pt x="4298327" y="571884"/>
                  <a:pt x="3956839" y="695371"/>
                </a:cubicBezTo>
                <a:cubicBezTo>
                  <a:pt x="3932039" y="704870"/>
                  <a:pt x="3903423" y="691571"/>
                  <a:pt x="3895791" y="666874"/>
                </a:cubicBezTo>
                <a:cubicBezTo>
                  <a:pt x="3886253" y="642177"/>
                  <a:pt x="3899607" y="615579"/>
                  <a:pt x="3924409" y="606080"/>
                </a:cubicBezTo>
                <a:cubicBezTo>
                  <a:pt x="3924409" y="606080"/>
                  <a:pt x="3924409" y="606080"/>
                  <a:pt x="4265895" y="482594"/>
                </a:cubicBezTo>
                <a:cubicBezTo>
                  <a:pt x="4272095" y="480220"/>
                  <a:pt x="4278415" y="479270"/>
                  <a:pt x="4284555" y="479567"/>
                </a:cubicBezTo>
                <a:close/>
                <a:moveTo>
                  <a:pt x="2030573" y="479549"/>
                </a:moveTo>
                <a:cubicBezTo>
                  <a:pt x="2049531" y="480439"/>
                  <a:pt x="2067416" y="492550"/>
                  <a:pt x="2074570" y="511073"/>
                </a:cubicBezTo>
                <a:cubicBezTo>
                  <a:pt x="2076478" y="516773"/>
                  <a:pt x="2076478" y="522472"/>
                  <a:pt x="2076478" y="528172"/>
                </a:cubicBezTo>
                <a:cubicBezTo>
                  <a:pt x="2076478" y="547170"/>
                  <a:pt x="2065031" y="566167"/>
                  <a:pt x="2045954" y="571867"/>
                </a:cubicBezTo>
                <a:cubicBezTo>
                  <a:pt x="2045954" y="571867"/>
                  <a:pt x="2045954" y="571867"/>
                  <a:pt x="1702559" y="695353"/>
                </a:cubicBezTo>
                <a:cubicBezTo>
                  <a:pt x="1677758" y="704852"/>
                  <a:pt x="1651050" y="691554"/>
                  <a:pt x="1641511" y="666857"/>
                </a:cubicBezTo>
                <a:cubicBezTo>
                  <a:pt x="1631972" y="642159"/>
                  <a:pt x="1645326" y="615562"/>
                  <a:pt x="1670127" y="606063"/>
                </a:cubicBezTo>
                <a:cubicBezTo>
                  <a:pt x="1670127" y="606063"/>
                  <a:pt x="1670127" y="606063"/>
                  <a:pt x="2011614" y="482577"/>
                </a:cubicBezTo>
                <a:cubicBezTo>
                  <a:pt x="2017814" y="480202"/>
                  <a:pt x="2024253" y="479252"/>
                  <a:pt x="2030573" y="479549"/>
                </a:cubicBezTo>
                <a:close/>
                <a:moveTo>
                  <a:pt x="3723559" y="470397"/>
                </a:moveTo>
                <a:cubicBezTo>
                  <a:pt x="3743259" y="471917"/>
                  <a:pt x="3760811" y="485509"/>
                  <a:pt x="3766543" y="505539"/>
                </a:cubicBezTo>
                <a:cubicBezTo>
                  <a:pt x="3768453" y="511262"/>
                  <a:pt x="3770363" y="515077"/>
                  <a:pt x="3770363" y="520800"/>
                </a:cubicBezTo>
                <a:cubicBezTo>
                  <a:pt x="3770363" y="541785"/>
                  <a:pt x="3756991" y="560861"/>
                  <a:pt x="3734065" y="568492"/>
                </a:cubicBezTo>
                <a:cubicBezTo>
                  <a:pt x="3734065" y="568492"/>
                  <a:pt x="3734065" y="568492"/>
                  <a:pt x="3392102" y="681044"/>
                </a:cubicBezTo>
                <a:cubicBezTo>
                  <a:pt x="3365357" y="690583"/>
                  <a:pt x="3336701" y="675321"/>
                  <a:pt x="3329059" y="648614"/>
                </a:cubicBezTo>
                <a:cubicBezTo>
                  <a:pt x="3319507" y="621907"/>
                  <a:pt x="3334790" y="595199"/>
                  <a:pt x="3359626" y="585661"/>
                </a:cubicBezTo>
                <a:cubicBezTo>
                  <a:pt x="3359626" y="585661"/>
                  <a:pt x="3359626" y="585661"/>
                  <a:pt x="3703499" y="473109"/>
                </a:cubicBezTo>
                <a:cubicBezTo>
                  <a:pt x="3710185" y="470724"/>
                  <a:pt x="3716991" y="469890"/>
                  <a:pt x="3723559" y="470397"/>
                </a:cubicBezTo>
                <a:close/>
                <a:moveTo>
                  <a:pt x="2590068" y="470376"/>
                </a:moveTo>
                <a:cubicBezTo>
                  <a:pt x="2609769" y="471896"/>
                  <a:pt x="2627321" y="485489"/>
                  <a:pt x="2633052" y="505519"/>
                </a:cubicBezTo>
                <a:cubicBezTo>
                  <a:pt x="2634963" y="511242"/>
                  <a:pt x="2636873" y="515058"/>
                  <a:pt x="2636873" y="520780"/>
                </a:cubicBezTo>
                <a:cubicBezTo>
                  <a:pt x="2636873" y="541765"/>
                  <a:pt x="2623500" y="560842"/>
                  <a:pt x="2600575" y="568472"/>
                </a:cubicBezTo>
                <a:cubicBezTo>
                  <a:pt x="2600575" y="568472"/>
                  <a:pt x="2600575" y="568472"/>
                  <a:pt x="2258612" y="681025"/>
                </a:cubicBezTo>
                <a:cubicBezTo>
                  <a:pt x="2231867" y="690563"/>
                  <a:pt x="2203211" y="675302"/>
                  <a:pt x="2195569" y="648594"/>
                </a:cubicBezTo>
                <a:cubicBezTo>
                  <a:pt x="2186017" y="621887"/>
                  <a:pt x="2201300" y="595180"/>
                  <a:pt x="2226136" y="585641"/>
                </a:cubicBezTo>
                <a:cubicBezTo>
                  <a:pt x="2226136" y="585641"/>
                  <a:pt x="2226136" y="585641"/>
                  <a:pt x="2570009" y="473089"/>
                </a:cubicBezTo>
                <a:cubicBezTo>
                  <a:pt x="2576695" y="470704"/>
                  <a:pt x="2583501" y="469870"/>
                  <a:pt x="2590068" y="470376"/>
                </a:cubicBezTo>
                <a:close/>
                <a:moveTo>
                  <a:pt x="3153221" y="461684"/>
                </a:moveTo>
                <a:cubicBezTo>
                  <a:pt x="3173698" y="464098"/>
                  <a:pt x="3191226" y="478049"/>
                  <a:pt x="3196948" y="499511"/>
                </a:cubicBezTo>
                <a:cubicBezTo>
                  <a:pt x="3198856" y="503327"/>
                  <a:pt x="3198856" y="509050"/>
                  <a:pt x="3198856" y="512866"/>
                </a:cubicBezTo>
                <a:cubicBezTo>
                  <a:pt x="3198856" y="535759"/>
                  <a:pt x="3185502" y="556745"/>
                  <a:pt x="3162610" y="564376"/>
                </a:cubicBezTo>
                <a:cubicBezTo>
                  <a:pt x="3162610" y="564376"/>
                  <a:pt x="3162610" y="564376"/>
                  <a:pt x="2819225" y="665488"/>
                </a:cubicBezTo>
                <a:cubicBezTo>
                  <a:pt x="2790610" y="673120"/>
                  <a:pt x="2761994" y="657857"/>
                  <a:pt x="2754363" y="629241"/>
                </a:cubicBezTo>
                <a:cubicBezTo>
                  <a:pt x="2744825" y="602531"/>
                  <a:pt x="2761994" y="572007"/>
                  <a:pt x="2788702" y="564376"/>
                </a:cubicBezTo>
                <a:cubicBezTo>
                  <a:pt x="2788702" y="564376"/>
                  <a:pt x="2788702" y="564376"/>
                  <a:pt x="3132087" y="463264"/>
                </a:cubicBezTo>
                <a:cubicBezTo>
                  <a:pt x="3139241" y="461356"/>
                  <a:pt x="3146395" y="460879"/>
                  <a:pt x="3153221" y="461684"/>
                </a:cubicBezTo>
                <a:close/>
                <a:moveTo>
                  <a:pt x="6500919" y="194958"/>
                </a:moveTo>
                <a:cubicBezTo>
                  <a:pt x="6510703" y="198287"/>
                  <a:pt x="6519295" y="205422"/>
                  <a:pt x="6524069" y="215887"/>
                </a:cubicBezTo>
                <a:cubicBezTo>
                  <a:pt x="6527887" y="221595"/>
                  <a:pt x="6527887" y="227303"/>
                  <a:pt x="6527887" y="233011"/>
                </a:cubicBezTo>
                <a:cubicBezTo>
                  <a:pt x="6527887" y="248232"/>
                  <a:pt x="6520251" y="261551"/>
                  <a:pt x="6506885" y="269161"/>
                </a:cubicBezTo>
                <a:cubicBezTo>
                  <a:pt x="6506885" y="269161"/>
                  <a:pt x="6506885" y="269161"/>
                  <a:pt x="6167027" y="436596"/>
                </a:cubicBezTo>
                <a:cubicBezTo>
                  <a:pt x="6147935" y="446109"/>
                  <a:pt x="6123113" y="438499"/>
                  <a:pt x="6113567" y="419472"/>
                </a:cubicBezTo>
                <a:cubicBezTo>
                  <a:pt x="6104019" y="400445"/>
                  <a:pt x="6111657" y="375711"/>
                  <a:pt x="6130751" y="366197"/>
                </a:cubicBezTo>
                <a:cubicBezTo>
                  <a:pt x="6130751" y="366197"/>
                  <a:pt x="6130751" y="366197"/>
                  <a:pt x="6470609" y="196860"/>
                </a:cubicBezTo>
                <a:cubicBezTo>
                  <a:pt x="6480155" y="192104"/>
                  <a:pt x="6491133" y="191628"/>
                  <a:pt x="6500919" y="194958"/>
                </a:cubicBezTo>
                <a:close/>
                <a:moveTo>
                  <a:pt x="5957811" y="186362"/>
                </a:moveTo>
                <a:cubicBezTo>
                  <a:pt x="5967811" y="190158"/>
                  <a:pt x="5976385" y="197749"/>
                  <a:pt x="5981147" y="208187"/>
                </a:cubicBezTo>
                <a:cubicBezTo>
                  <a:pt x="5984957" y="213881"/>
                  <a:pt x="5984957" y="219574"/>
                  <a:pt x="5984957" y="225268"/>
                </a:cubicBezTo>
                <a:cubicBezTo>
                  <a:pt x="5984957" y="240450"/>
                  <a:pt x="5977337" y="255633"/>
                  <a:pt x="5962097" y="263225"/>
                </a:cubicBezTo>
                <a:cubicBezTo>
                  <a:pt x="5962097" y="263225"/>
                  <a:pt x="5962097" y="263225"/>
                  <a:pt x="5623001" y="420745"/>
                </a:cubicBezTo>
                <a:cubicBezTo>
                  <a:pt x="5602047" y="430234"/>
                  <a:pt x="5577281" y="422643"/>
                  <a:pt x="5567757" y="401767"/>
                </a:cubicBezTo>
                <a:cubicBezTo>
                  <a:pt x="5556327" y="380891"/>
                  <a:pt x="5565851" y="356219"/>
                  <a:pt x="5586807" y="346729"/>
                </a:cubicBezTo>
                <a:cubicBezTo>
                  <a:pt x="5586807" y="346729"/>
                  <a:pt x="5586807" y="346729"/>
                  <a:pt x="5925901" y="187311"/>
                </a:cubicBezTo>
                <a:cubicBezTo>
                  <a:pt x="5936379" y="182566"/>
                  <a:pt x="5947809" y="182566"/>
                  <a:pt x="5957811" y="186362"/>
                </a:cubicBezTo>
                <a:close/>
                <a:moveTo>
                  <a:pt x="398309" y="186349"/>
                </a:moveTo>
                <a:cubicBezTo>
                  <a:pt x="408311" y="190145"/>
                  <a:pt x="416884" y="197736"/>
                  <a:pt x="421646" y="208174"/>
                </a:cubicBezTo>
                <a:cubicBezTo>
                  <a:pt x="423551" y="213868"/>
                  <a:pt x="425456" y="219561"/>
                  <a:pt x="425456" y="225255"/>
                </a:cubicBezTo>
                <a:cubicBezTo>
                  <a:pt x="425456" y="240437"/>
                  <a:pt x="415931" y="255620"/>
                  <a:pt x="400691" y="263212"/>
                </a:cubicBezTo>
                <a:cubicBezTo>
                  <a:pt x="400691" y="263212"/>
                  <a:pt x="400691" y="263212"/>
                  <a:pt x="61596" y="420733"/>
                </a:cubicBezTo>
                <a:cubicBezTo>
                  <a:pt x="42546" y="430222"/>
                  <a:pt x="17780" y="422630"/>
                  <a:pt x="6350" y="401754"/>
                </a:cubicBezTo>
                <a:cubicBezTo>
                  <a:pt x="-3175" y="380878"/>
                  <a:pt x="6350" y="356206"/>
                  <a:pt x="27305" y="346717"/>
                </a:cubicBezTo>
                <a:cubicBezTo>
                  <a:pt x="27305" y="346717"/>
                  <a:pt x="27305" y="346717"/>
                  <a:pt x="366400" y="187298"/>
                </a:cubicBezTo>
                <a:cubicBezTo>
                  <a:pt x="376878" y="182554"/>
                  <a:pt x="388308" y="182554"/>
                  <a:pt x="398309" y="186349"/>
                </a:cubicBezTo>
                <a:close/>
                <a:moveTo>
                  <a:pt x="5409203" y="176869"/>
                </a:moveTo>
                <a:cubicBezTo>
                  <a:pt x="5419665" y="180679"/>
                  <a:pt x="5428701" y="188299"/>
                  <a:pt x="5433457" y="198777"/>
                </a:cubicBezTo>
                <a:cubicBezTo>
                  <a:pt x="5435359" y="204492"/>
                  <a:pt x="5437261" y="212112"/>
                  <a:pt x="5437261" y="217827"/>
                </a:cubicBezTo>
                <a:cubicBezTo>
                  <a:pt x="5437261" y="233067"/>
                  <a:pt x="5427749" y="250212"/>
                  <a:pt x="5410629" y="255927"/>
                </a:cubicBezTo>
                <a:cubicBezTo>
                  <a:pt x="5410629" y="255927"/>
                  <a:pt x="5410629" y="255927"/>
                  <a:pt x="5072033" y="406421"/>
                </a:cubicBezTo>
                <a:cubicBezTo>
                  <a:pt x="5049207" y="415946"/>
                  <a:pt x="5024477" y="406421"/>
                  <a:pt x="5014967" y="385466"/>
                </a:cubicBezTo>
                <a:cubicBezTo>
                  <a:pt x="5005455" y="362606"/>
                  <a:pt x="5014967" y="337841"/>
                  <a:pt x="5035891" y="328316"/>
                </a:cubicBezTo>
                <a:cubicBezTo>
                  <a:pt x="5035891" y="328316"/>
                  <a:pt x="5035891" y="328316"/>
                  <a:pt x="5376389" y="177822"/>
                </a:cubicBezTo>
                <a:cubicBezTo>
                  <a:pt x="5386853" y="173059"/>
                  <a:pt x="5398741" y="173059"/>
                  <a:pt x="5409203" y="176869"/>
                </a:cubicBezTo>
                <a:close/>
                <a:moveTo>
                  <a:pt x="942630" y="176854"/>
                </a:moveTo>
                <a:cubicBezTo>
                  <a:pt x="952855" y="180664"/>
                  <a:pt x="961415" y="188284"/>
                  <a:pt x="966171" y="198761"/>
                </a:cubicBezTo>
                <a:cubicBezTo>
                  <a:pt x="968073" y="204476"/>
                  <a:pt x="969975" y="212096"/>
                  <a:pt x="969975" y="217811"/>
                </a:cubicBezTo>
                <a:cubicBezTo>
                  <a:pt x="969975" y="233051"/>
                  <a:pt x="960464" y="250196"/>
                  <a:pt x="945246" y="255911"/>
                </a:cubicBezTo>
                <a:cubicBezTo>
                  <a:pt x="945246" y="255911"/>
                  <a:pt x="945246" y="255911"/>
                  <a:pt x="604747" y="406406"/>
                </a:cubicBezTo>
                <a:cubicBezTo>
                  <a:pt x="583822" y="415931"/>
                  <a:pt x="557191" y="406406"/>
                  <a:pt x="547680" y="385451"/>
                </a:cubicBezTo>
                <a:cubicBezTo>
                  <a:pt x="538169" y="362591"/>
                  <a:pt x="547680" y="337826"/>
                  <a:pt x="570507" y="328301"/>
                </a:cubicBezTo>
                <a:cubicBezTo>
                  <a:pt x="570507" y="328301"/>
                  <a:pt x="570507" y="328301"/>
                  <a:pt x="909104" y="177807"/>
                </a:cubicBezTo>
                <a:cubicBezTo>
                  <a:pt x="920517" y="173044"/>
                  <a:pt x="932406" y="173044"/>
                  <a:pt x="942630" y="176854"/>
                </a:cubicBezTo>
                <a:close/>
                <a:moveTo>
                  <a:pt x="4856445" y="167559"/>
                </a:moveTo>
                <a:cubicBezTo>
                  <a:pt x="4867169" y="171597"/>
                  <a:pt x="4876225" y="179672"/>
                  <a:pt x="4880991" y="191072"/>
                </a:cubicBezTo>
                <a:cubicBezTo>
                  <a:pt x="4882897" y="196772"/>
                  <a:pt x="4884803" y="202471"/>
                  <a:pt x="4884803" y="208171"/>
                </a:cubicBezTo>
                <a:cubicBezTo>
                  <a:pt x="4884803" y="227171"/>
                  <a:pt x="4875271" y="242371"/>
                  <a:pt x="4856207" y="249971"/>
                </a:cubicBezTo>
                <a:cubicBezTo>
                  <a:pt x="4856207" y="249971"/>
                  <a:pt x="4856207" y="249971"/>
                  <a:pt x="4516865" y="390571"/>
                </a:cubicBezTo>
                <a:cubicBezTo>
                  <a:pt x="4493989" y="400071"/>
                  <a:pt x="4467299" y="390571"/>
                  <a:pt x="4457767" y="367771"/>
                </a:cubicBezTo>
                <a:cubicBezTo>
                  <a:pt x="4448235" y="343071"/>
                  <a:pt x="4459673" y="318371"/>
                  <a:pt x="4482551" y="308871"/>
                </a:cubicBezTo>
                <a:cubicBezTo>
                  <a:pt x="4482551" y="308871"/>
                  <a:pt x="4482551" y="308871"/>
                  <a:pt x="4821891" y="168272"/>
                </a:cubicBezTo>
                <a:cubicBezTo>
                  <a:pt x="4833331" y="163522"/>
                  <a:pt x="4845723" y="163522"/>
                  <a:pt x="4856445" y="167559"/>
                </a:cubicBezTo>
                <a:close/>
                <a:moveTo>
                  <a:pt x="1492487" y="167542"/>
                </a:moveTo>
                <a:cubicBezTo>
                  <a:pt x="1503211" y="171579"/>
                  <a:pt x="1512266" y="179654"/>
                  <a:pt x="1517032" y="191054"/>
                </a:cubicBezTo>
                <a:cubicBezTo>
                  <a:pt x="1518939" y="196754"/>
                  <a:pt x="1520845" y="202454"/>
                  <a:pt x="1520845" y="208154"/>
                </a:cubicBezTo>
                <a:cubicBezTo>
                  <a:pt x="1520845" y="227154"/>
                  <a:pt x="1509407" y="242354"/>
                  <a:pt x="1492249" y="249954"/>
                </a:cubicBezTo>
                <a:cubicBezTo>
                  <a:pt x="1492249" y="249954"/>
                  <a:pt x="1492249" y="249954"/>
                  <a:pt x="1151001" y="390554"/>
                </a:cubicBezTo>
                <a:cubicBezTo>
                  <a:pt x="1128124" y="400054"/>
                  <a:pt x="1103341" y="390554"/>
                  <a:pt x="1093809" y="367754"/>
                </a:cubicBezTo>
                <a:cubicBezTo>
                  <a:pt x="1084277" y="343054"/>
                  <a:pt x="1093809" y="318354"/>
                  <a:pt x="1116686" y="308854"/>
                </a:cubicBezTo>
                <a:cubicBezTo>
                  <a:pt x="1116686" y="308854"/>
                  <a:pt x="1116686" y="308854"/>
                  <a:pt x="1457933" y="168254"/>
                </a:cubicBezTo>
                <a:cubicBezTo>
                  <a:pt x="1469372" y="163504"/>
                  <a:pt x="1481763" y="163504"/>
                  <a:pt x="1492487" y="167542"/>
                </a:cubicBezTo>
                <a:close/>
                <a:moveTo>
                  <a:pt x="4266123" y="156877"/>
                </a:moveTo>
                <a:cubicBezTo>
                  <a:pt x="4289051" y="149247"/>
                  <a:pt x="4315797" y="160692"/>
                  <a:pt x="4325349" y="183583"/>
                </a:cubicBezTo>
                <a:cubicBezTo>
                  <a:pt x="4327261" y="189305"/>
                  <a:pt x="4329171" y="195028"/>
                  <a:pt x="4329171" y="200751"/>
                </a:cubicBezTo>
                <a:cubicBezTo>
                  <a:pt x="4329171" y="219826"/>
                  <a:pt x="4317707" y="236994"/>
                  <a:pt x="4298603" y="244625"/>
                </a:cubicBezTo>
                <a:cubicBezTo>
                  <a:pt x="4298603" y="244625"/>
                  <a:pt x="4298603" y="244625"/>
                  <a:pt x="3956619" y="376246"/>
                </a:cubicBezTo>
                <a:cubicBezTo>
                  <a:pt x="3933693" y="385784"/>
                  <a:pt x="3906945" y="374339"/>
                  <a:pt x="3897393" y="349541"/>
                </a:cubicBezTo>
                <a:cubicBezTo>
                  <a:pt x="3887839" y="326650"/>
                  <a:pt x="3899303" y="299944"/>
                  <a:pt x="3924139" y="290406"/>
                </a:cubicBezTo>
                <a:cubicBezTo>
                  <a:pt x="3924139" y="290406"/>
                  <a:pt x="3924139" y="290406"/>
                  <a:pt x="4266123" y="156877"/>
                </a:cubicBezTo>
                <a:close/>
                <a:moveTo>
                  <a:pt x="2010482" y="156857"/>
                </a:moveTo>
                <a:cubicBezTo>
                  <a:pt x="2035230" y="149227"/>
                  <a:pt x="2061881" y="160672"/>
                  <a:pt x="2071399" y="183563"/>
                </a:cubicBezTo>
                <a:cubicBezTo>
                  <a:pt x="2073303" y="189286"/>
                  <a:pt x="2073303" y="195008"/>
                  <a:pt x="2073303" y="200731"/>
                </a:cubicBezTo>
                <a:cubicBezTo>
                  <a:pt x="2073303" y="219807"/>
                  <a:pt x="2061881" y="236975"/>
                  <a:pt x="2044748" y="244605"/>
                </a:cubicBezTo>
                <a:cubicBezTo>
                  <a:pt x="2044748" y="244605"/>
                  <a:pt x="2044748" y="244605"/>
                  <a:pt x="1703994" y="376227"/>
                </a:cubicBezTo>
                <a:cubicBezTo>
                  <a:pt x="1679247" y="385765"/>
                  <a:pt x="1652596" y="374320"/>
                  <a:pt x="1643077" y="349521"/>
                </a:cubicBezTo>
                <a:cubicBezTo>
                  <a:pt x="1633559" y="326630"/>
                  <a:pt x="1644981" y="299925"/>
                  <a:pt x="1669728" y="290387"/>
                </a:cubicBezTo>
                <a:cubicBezTo>
                  <a:pt x="1669728" y="290387"/>
                  <a:pt x="1669728" y="290387"/>
                  <a:pt x="2010482" y="156857"/>
                </a:cubicBezTo>
                <a:close/>
                <a:moveTo>
                  <a:pt x="3720661" y="144606"/>
                </a:moveTo>
                <a:cubicBezTo>
                  <a:pt x="3739819" y="145497"/>
                  <a:pt x="3756571" y="157608"/>
                  <a:pt x="3763701" y="176130"/>
                </a:cubicBezTo>
                <a:cubicBezTo>
                  <a:pt x="3765601" y="181830"/>
                  <a:pt x="3765601" y="187529"/>
                  <a:pt x="3765601" y="193228"/>
                </a:cubicBezTo>
                <a:cubicBezTo>
                  <a:pt x="3765601" y="212226"/>
                  <a:pt x="3754195" y="231224"/>
                  <a:pt x="3735185" y="238823"/>
                </a:cubicBezTo>
                <a:cubicBezTo>
                  <a:pt x="3735185" y="238823"/>
                  <a:pt x="3735185" y="238823"/>
                  <a:pt x="3393017" y="360410"/>
                </a:cubicBezTo>
                <a:cubicBezTo>
                  <a:pt x="3368305" y="369909"/>
                  <a:pt x="3341691" y="356611"/>
                  <a:pt x="3332187" y="331913"/>
                </a:cubicBezTo>
                <a:cubicBezTo>
                  <a:pt x="3322682" y="307216"/>
                  <a:pt x="3335989" y="278719"/>
                  <a:pt x="3360701" y="271120"/>
                </a:cubicBezTo>
                <a:cubicBezTo>
                  <a:pt x="3360701" y="271120"/>
                  <a:pt x="3360701" y="271120"/>
                  <a:pt x="3700969" y="147634"/>
                </a:cubicBezTo>
                <a:cubicBezTo>
                  <a:pt x="3707623" y="145259"/>
                  <a:pt x="3714275" y="144309"/>
                  <a:pt x="3720661" y="144606"/>
                </a:cubicBezTo>
                <a:close/>
                <a:moveTo>
                  <a:pt x="2587010" y="144584"/>
                </a:moveTo>
                <a:cubicBezTo>
                  <a:pt x="2606236" y="145475"/>
                  <a:pt x="2623048" y="157586"/>
                  <a:pt x="2630202" y="176109"/>
                </a:cubicBezTo>
                <a:cubicBezTo>
                  <a:pt x="2632110" y="181808"/>
                  <a:pt x="2632110" y="187507"/>
                  <a:pt x="2632110" y="193207"/>
                </a:cubicBezTo>
                <a:cubicBezTo>
                  <a:pt x="2632110" y="212205"/>
                  <a:pt x="2620663" y="231203"/>
                  <a:pt x="2601586" y="238802"/>
                </a:cubicBezTo>
                <a:cubicBezTo>
                  <a:pt x="2601586" y="238802"/>
                  <a:pt x="2601586" y="238802"/>
                  <a:pt x="2258191" y="360389"/>
                </a:cubicBezTo>
                <a:cubicBezTo>
                  <a:pt x="2233390" y="369888"/>
                  <a:pt x="2206682" y="356589"/>
                  <a:pt x="2197143" y="331892"/>
                </a:cubicBezTo>
                <a:cubicBezTo>
                  <a:pt x="2187604" y="307194"/>
                  <a:pt x="2200958" y="278697"/>
                  <a:pt x="2225759" y="271098"/>
                </a:cubicBezTo>
                <a:cubicBezTo>
                  <a:pt x="2225759" y="271098"/>
                  <a:pt x="2225759" y="271098"/>
                  <a:pt x="2567246" y="147612"/>
                </a:cubicBezTo>
                <a:cubicBezTo>
                  <a:pt x="2573923" y="145237"/>
                  <a:pt x="2580601" y="144287"/>
                  <a:pt x="2587010" y="144584"/>
                </a:cubicBezTo>
                <a:close/>
                <a:moveTo>
                  <a:pt x="3149041" y="135359"/>
                </a:moveTo>
                <a:cubicBezTo>
                  <a:pt x="3168673" y="136779"/>
                  <a:pt x="3186163" y="149921"/>
                  <a:pt x="3191874" y="168391"/>
                </a:cubicBezTo>
                <a:cubicBezTo>
                  <a:pt x="3193777" y="174073"/>
                  <a:pt x="3195681" y="179756"/>
                  <a:pt x="3195681" y="185439"/>
                </a:cubicBezTo>
                <a:cubicBezTo>
                  <a:pt x="3195681" y="206277"/>
                  <a:pt x="3182355" y="225220"/>
                  <a:pt x="3161415" y="232797"/>
                </a:cubicBezTo>
                <a:cubicBezTo>
                  <a:pt x="3161415" y="232797"/>
                  <a:pt x="3161415" y="232797"/>
                  <a:pt x="2818752" y="344562"/>
                </a:cubicBezTo>
                <a:cubicBezTo>
                  <a:pt x="2794004" y="354034"/>
                  <a:pt x="2765449" y="338879"/>
                  <a:pt x="2755930" y="314253"/>
                </a:cubicBezTo>
                <a:cubicBezTo>
                  <a:pt x="2746412" y="287733"/>
                  <a:pt x="2761641" y="259318"/>
                  <a:pt x="2788293" y="249846"/>
                </a:cubicBezTo>
                <a:cubicBezTo>
                  <a:pt x="2788293" y="249846"/>
                  <a:pt x="2788293" y="249846"/>
                  <a:pt x="3129052" y="138082"/>
                </a:cubicBezTo>
                <a:cubicBezTo>
                  <a:pt x="3135715" y="135714"/>
                  <a:pt x="3142497" y="134885"/>
                  <a:pt x="3149041" y="135359"/>
                </a:cubicBezTo>
                <a:close/>
                <a:moveTo>
                  <a:pt x="6214753" y="24"/>
                </a:moveTo>
                <a:cubicBezTo>
                  <a:pt x="6214753" y="24"/>
                  <a:pt x="6214753" y="24"/>
                  <a:pt x="6396123" y="24"/>
                </a:cubicBezTo>
                <a:cubicBezTo>
                  <a:pt x="6396123" y="24"/>
                  <a:pt x="6396123" y="24"/>
                  <a:pt x="6167023" y="114324"/>
                </a:cubicBezTo>
                <a:cubicBezTo>
                  <a:pt x="6147931" y="123849"/>
                  <a:pt x="6123111" y="116229"/>
                  <a:pt x="6113565" y="95274"/>
                </a:cubicBezTo>
                <a:cubicBezTo>
                  <a:pt x="6104019" y="76224"/>
                  <a:pt x="6111657" y="51459"/>
                  <a:pt x="6130749" y="41934"/>
                </a:cubicBezTo>
                <a:cubicBezTo>
                  <a:pt x="6130749" y="41934"/>
                  <a:pt x="6130749" y="41934"/>
                  <a:pt x="6214753" y="24"/>
                </a:cubicBezTo>
                <a:close/>
                <a:moveTo>
                  <a:pt x="5637645" y="24"/>
                </a:moveTo>
                <a:cubicBezTo>
                  <a:pt x="5637645" y="24"/>
                  <a:pt x="5637645" y="24"/>
                  <a:pt x="5829379" y="24"/>
                </a:cubicBezTo>
                <a:cubicBezTo>
                  <a:pt x="5829379" y="24"/>
                  <a:pt x="5829379" y="24"/>
                  <a:pt x="5622457" y="99953"/>
                </a:cubicBezTo>
                <a:cubicBezTo>
                  <a:pt x="5601575" y="109562"/>
                  <a:pt x="5576897" y="101875"/>
                  <a:pt x="5567405" y="80736"/>
                </a:cubicBezTo>
                <a:cubicBezTo>
                  <a:pt x="5557913" y="59597"/>
                  <a:pt x="5565507" y="34615"/>
                  <a:pt x="5586389" y="25006"/>
                </a:cubicBezTo>
                <a:cubicBezTo>
                  <a:pt x="5586389" y="25006"/>
                  <a:pt x="5586389" y="25006"/>
                  <a:pt x="5637645" y="24"/>
                </a:cubicBezTo>
                <a:close/>
                <a:moveTo>
                  <a:pt x="5051003" y="24"/>
                </a:moveTo>
                <a:cubicBezTo>
                  <a:pt x="5051003" y="24"/>
                  <a:pt x="5051003" y="24"/>
                  <a:pt x="5257871" y="24"/>
                </a:cubicBezTo>
                <a:cubicBezTo>
                  <a:pt x="5257871" y="24"/>
                  <a:pt x="5257871" y="24"/>
                  <a:pt x="5071881" y="83844"/>
                </a:cubicBezTo>
                <a:cubicBezTo>
                  <a:pt x="5051003" y="95274"/>
                  <a:pt x="5024433" y="85749"/>
                  <a:pt x="5014945" y="62889"/>
                </a:cubicBezTo>
                <a:cubicBezTo>
                  <a:pt x="5005455" y="41934"/>
                  <a:pt x="5014945" y="17169"/>
                  <a:pt x="5037719" y="7644"/>
                </a:cubicBezTo>
                <a:cubicBezTo>
                  <a:pt x="5037719" y="7644"/>
                  <a:pt x="5037719" y="7644"/>
                  <a:pt x="5051003" y="24"/>
                </a:cubicBezTo>
                <a:close/>
                <a:moveTo>
                  <a:pt x="4468153" y="24"/>
                </a:moveTo>
                <a:cubicBezTo>
                  <a:pt x="4468153" y="24"/>
                  <a:pt x="4468153" y="24"/>
                  <a:pt x="4678427" y="24"/>
                </a:cubicBezTo>
                <a:cubicBezTo>
                  <a:pt x="4678427" y="24"/>
                  <a:pt x="4678427" y="24"/>
                  <a:pt x="4517407" y="71348"/>
                </a:cubicBezTo>
                <a:cubicBezTo>
                  <a:pt x="4494673" y="80987"/>
                  <a:pt x="4470047" y="69421"/>
                  <a:pt x="4460575" y="48216"/>
                </a:cubicBezTo>
                <a:cubicBezTo>
                  <a:pt x="4452999" y="30867"/>
                  <a:pt x="4456787" y="13518"/>
                  <a:pt x="4468153" y="24"/>
                </a:cubicBezTo>
                <a:close/>
                <a:moveTo>
                  <a:pt x="3898007" y="24"/>
                </a:moveTo>
                <a:cubicBezTo>
                  <a:pt x="3898007" y="24"/>
                  <a:pt x="3898007" y="24"/>
                  <a:pt x="4092631" y="24"/>
                </a:cubicBezTo>
                <a:cubicBezTo>
                  <a:pt x="4092631" y="24"/>
                  <a:pt x="4092631" y="24"/>
                  <a:pt x="3959065" y="55540"/>
                </a:cubicBezTo>
                <a:cubicBezTo>
                  <a:pt x="3936167" y="65112"/>
                  <a:pt x="3909455" y="53625"/>
                  <a:pt x="3899915" y="30653"/>
                </a:cubicBezTo>
                <a:cubicBezTo>
                  <a:pt x="3896099" y="21082"/>
                  <a:pt x="3894191" y="9595"/>
                  <a:pt x="3898007" y="24"/>
                </a:cubicBezTo>
                <a:close/>
                <a:moveTo>
                  <a:pt x="3332207" y="24"/>
                </a:moveTo>
                <a:cubicBezTo>
                  <a:pt x="3332207" y="24"/>
                  <a:pt x="3332207" y="24"/>
                  <a:pt x="3497309" y="24"/>
                </a:cubicBezTo>
                <a:cubicBezTo>
                  <a:pt x="3497309" y="24"/>
                  <a:pt x="3497309" y="24"/>
                  <a:pt x="3394832" y="41665"/>
                </a:cubicBezTo>
                <a:cubicBezTo>
                  <a:pt x="3370161" y="49236"/>
                  <a:pt x="3343593" y="37880"/>
                  <a:pt x="3334105" y="15166"/>
                </a:cubicBezTo>
                <a:cubicBezTo>
                  <a:pt x="3332207" y="9488"/>
                  <a:pt x="3332207" y="5702"/>
                  <a:pt x="3332207" y="24"/>
                </a:cubicBezTo>
                <a:close/>
                <a:moveTo>
                  <a:pt x="2760700" y="23"/>
                </a:moveTo>
                <a:cubicBezTo>
                  <a:pt x="2760700" y="23"/>
                  <a:pt x="2760700" y="23"/>
                  <a:pt x="2890877" y="23"/>
                </a:cubicBezTo>
                <a:cubicBezTo>
                  <a:pt x="2890877" y="23"/>
                  <a:pt x="2890877" y="23"/>
                  <a:pt x="2821072" y="27187"/>
                </a:cubicBezTo>
                <a:cubicBezTo>
                  <a:pt x="2796546" y="34949"/>
                  <a:pt x="2772020" y="23307"/>
                  <a:pt x="2760700" y="23"/>
                </a:cubicBezTo>
                <a:close/>
                <a:moveTo>
                  <a:pt x="76929" y="9"/>
                </a:moveTo>
                <a:cubicBezTo>
                  <a:pt x="76929" y="9"/>
                  <a:pt x="76929" y="9"/>
                  <a:pt x="271466" y="9"/>
                </a:cubicBezTo>
                <a:cubicBezTo>
                  <a:pt x="271466" y="9"/>
                  <a:pt x="271466" y="9"/>
                  <a:pt x="63578" y="99939"/>
                </a:cubicBezTo>
                <a:cubicBezTo>
                  <a:pt x="42599" y="109547"/>
                  <a:pt x="17805" y="101861"/>
                  <a:pt x="8268" y="80722"/>
                </a:cubicBezTo>
                <a:cubicBezTo>
                  <a:pt x="-3175" y="59583"/>
                  <a:pt x="6361" y="34600"/>
                  <a:pt x="27341" y="24992"/>
                </a:cubicBezTo>
                <a:cubicBezTo>
                  <a:pt x="27341" y="24992"/>
                  <a:pt x="27341" y="24992"/>
                  <a:pt x="76929" y="9"/>
                </a:cubicBezTo>
                <a:close/>
                <a:moveTo>
                  <a:pt x="583739" y="7"/>
                </a:moveTo>
                <a:cubicBezTo>
                  <a:pt x="583739" y="7"/>
                  <a:pt x="583739" y="7"/>
                  <a:pt x="792173" y="7"/>
                </a:cubicBezTo>
                <a:cubicBezTo>
                  <a:pt x="792173" y="7"/>
                  <a:pt x="792173" y="7"/>
                  <a:pt x="604773" y="83827"/>
                </a:cubicBezTo>
                <a:cubicBezTo>
                  <a:pt x="583739" y="95257"/>
                  <a:pt x="558879" y="85732"/>
                  <a:pt x="549318" y="62872"/>
                </a:cubicBezTo>
                <a:cubicBezTo>
                  <a:pt x="539757" y="41917"/>
                  <a:pt x="549318" y="17152"/>
                  <a:pt x="570353" y="7627"/>
                </a:cubicBezTo>
                <a:cubicBezTo>
                  <a:pt x="570353" y="7627"/>
                  <a:pt x="570353" y="7627"/>
                  <a:pt x="583739" y="7"/>
                </a:cubicBezTo>
                <a:close/>
                <a:moveTo>
                  <a:pt x="1102318" y="5"/>
                </a:moveTo>
                <a:cubicBezTo>
                  <a:pt x="1102318" y="5"/>
                  <a:pt x="1102318" y="5"/>
                  <a:pt x="1312880" y="5"/>
                </a:cubicBezTo>
                <a:cubicBezTo>
                  <a:pt x="1312880" y="5"/>
                  <a:pt x="1312880" y="5"/>
                  <a:pt x="1153536" y="71329"/>
                </a:cubicBezTo>
                <a:cubicBezTo>
                  <a:pt x="1130772" y="80968"/>
                  <a:pt x="1104215" y="69401"/>
                  <a:pt x="1094730" y="48197"/>
                </a:cubicBezTo>
                <a:cubicBezTo>
                  <a:pt x="1089039" y="30848"/>
                  <a:pt x="1090936" y="13498"/>
                  <a:pt x="1102318" y="5"/>
                </a:cubicBezTo>
                <a:close/>
                <a:moveTo>
                  <a:pt x="1643408" y="2"/>
                </a:moveTo>
                <a:cubicBezTo>
                  <a:pt x="1643408" y="2"/>
                  <a:pt x="1643408" y="2"/>
                  <a:pt x="1838350" y="2"/>
                </a:cubicBezTo>
                <a:cubicBezTo>
                  <a:pt x="1838350" y="2"/>
                  <a:pt x="1838350" y="2"/>
                  <a:pt x="1704566" y="55519"/>
                </a:cubicBezTo>
                <a:cubicBezTo>
                  <a:pt x="1681632" y="65090"/>
                  <a:pt x="1654875" y="53604"/>
                  <a:pt x="1645319" y="30632"/>
                </a:cubicBezTo>
                <a:cubicBezTo>
                  <a:pt x="1641497" y="21060"/>
                  <a:pt x="1641497" y="9574"/>
                  <a:pt x="1643408" y="2"/>
                </a:cubicBezTo>
                <a:close/>
                <a:moveTo>
                  <a:pt x="2197129" y="0"/>
                </a:moveTo>
                <a:cubicBezTo>
                  <a:pt x="2197129" y="0"/>
                  <a:pt x="2197129" y="0"/>
                  <a:pt x="2363819" y="0"/>
                </a:cubicBezTo>
                <a:cubicBezTo>
                  <a:pt x="2363819" y="0"/>
                  <a:pt x="2363819" y="0"/>
                  <a:pt x="2260356" y="41642"/>
                </a:cubicBezTo>
                <a:cubicBezTo>
                  <a:pt x="2235449" y="49213"/>
                  <a:pt x="2208625" y="37856"/>
                  <a:pt x="2199045" y="15142"/>
                </a:cubicBezTo>
                <a:cubicBezTo>
                  <a:pt x="2197129" y="9464"/>
                  <a:pt x="2197129" y="5678"/>
                  <a:pt x="2197129" y="0"/>
                </a:cubicBezTo>
                <a:close/>
              </a:path>
            </a:pathLst>
          </a:custGeom>
          <a:solidFill>
            <a:srgbClr val="D72027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199">
              <a:solidFill>
                <a:srgbClr val="000000"/>
              </a:solidFill>
            </a:endParaRP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566888" cy="6858000"/>
          </a:xfrm>
          <a:prstGeom prst="rect">
            <a:avLst/>
          </a:prstGeom>
        </p:spPr>
        <p:txBody>
          <a:bodyPr lIns="68577" tIns="34289" rIns="68577" bIns="34289" anchor="ctr"/>
          <a:lstStyle>
            <a:lvl1pPr marL="0" indent="0" algn="ctr">
              <a:buNone/>
              <a:defRPr sz="2399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8"/>
          </p:nvPr>
        </p:nvSpPr>
        <p:spPr bwMode="gray">
          <a:xfrm>
            <a:off x="6835285" y="1179576"/>
            <a:ext cx="4707555" cy="5211699"/>
          </a:xfrm>
          <a:prstGeom prst="rect">
            <a:avLst/>
          </a:prstGeom>
        </p:spPr>
        <p:txBody>
          <a:bodyPr lIns="0" tIns="0" rIns="0" bIns="0"/>
          <a:lstStyle>
            <a:lvl1pPr marL="171398" indent="-171398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2399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321" indent="-228496">
              <a:lnSpc>
                <a:spcPct val="90000"/>
              </a:lnSpc>
              <a:spcBef>
                <a:spcPts val="500"/>
              </a:spcBef>
              <a:buClrTx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35702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146707" indent="-15656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445023" indent="-150217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6835285" y="274320"/>
            <a:ext cx="4707555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426251355"/>
      </p:ext>
    </p:extLst>
  </p:cSld>
  <p:clrMapOvr>
    <a:masterClrMapping/>
  </p:clrMapOvr>
  <p:transition spd="med"/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10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3" y="274320"/>
            <a:ext cx="9713572" cy="521208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algn="l" defTabSz="1218642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8642" algn="l"/>
              </a:tabLst>
              <a:defRPr lang="en-US" sz="3599" kern="1200" cap="none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0" hasCustomPrompt="1"/>
          </p:nvPr>
        </p:nvSpPr>
        <p:spPr bwMode="gray">
          <a:xfrm>
            <a:off x="548641" y="1179577"/>
            <a:ext cx="11073385" cy="5212835"/>
          </a:xfrm>
          <a:prstGeom prst="rect">
            <a:avLst/>
          </a:prstGeom>
        </p:spPr>
        <p:txBody>
          <a:bodyPr lIns="91420" tIns="639946" rIns="91420" bIns="45710" anchor="ctr" anchorCtr="0"/>
          <a:lstStyle>
            <a:lvl1pPr marL="0" indent="0" algn="ctr">
              <a:buFontTx/>
              <a:buNone/>
              <a:defRPr sz="2399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create chart</a:t>
            </a:r>
          </a:p>
        </p:txBody>
      </p:sp>
    </p:spTree>
    <p:extLst>
      <p:ext uri="{BB962C8B-B14F-4D97-AF65-F5344CB8AC3E}">
        <p14:creationId xmlns:p14="http://schemas.microsoft.com/office/powerpoint/2010/main" val="336878724"/>
      </p:ext>
    </p:extLst>
  </p:cSld>
  <p:clrMapOvr>
    <a:masterClrMapping/>
  </p:clrMapOvr>
  <p:transition spd="med"/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>
          <a:xfrm>
            <a:off x="548640" y="6473952"/>
            <a:ext cx="3200400" cy="153888"/>
          </a:xfrm>
          <a:prstGeom prst="rect">
            <a:avLst/>
          </a:prstGeom>
        </p:spPr>
        <p:txBody>
          <a:bodyPr/>
          <a:lstStyle/>
          <a:p>
            <a:endParaRPr lang="en-US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410657"/>
      </p:ext>
    </p:extLst>
  </p:cSld>
  <p:clrMapOvr>
    <a:masterClrMapping/>
  </p:clrMapOvr>
  <p:transition spd="med"/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" y="0"/>
            <a:ext cx="1219200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44" y="2639887"/>
            <a:ext cx="9272403" cy="208819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822630" y="3324781"/>
            <a:ext cx="2049373" cy="683021"/>
          </a:xfrm>
          <a:prstGeom prst="rect">
            <a:avLst/>
          </a:prstGeom>
        </p:spPr>
      </p:pic>
      <p:pic>
        <p:nvPicPr>
          <p:cNvPr id="15" name="Picture 2" descr="C:\Users\kathyp\Dropbox\Brand Experience Team\1_Branding Resources\Lenovo Tagline\Different_is_better-REV-Tag-ONLY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647" y="4985949"/>
            <a:ext cx="4091093" cy="358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3842843"/>
      </p:ext>
    </p:extLst>
  </p:cSld>
  <p:clrMapOvr>
    <a:masterClrMapping/>
  </p:clrMapOvr>
  <p:transition spd="med"/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Subtitle Content -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557784" y="914400"/>
            <a:ext cx="11073384" cy="29260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399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6284" indent="0">
              <a:buNone/>
              <a:defRPr sz="2666" b="1"/>
            </a:lvl2pPr>
            <a:lvl3pPr marL="1212577" indent="0">
              <a:buNone/>
              <a:defRPr sz="2399" b="1"/>
            </a:lvl3pPr>
            <a:lvl4pPr marL="1818864" indent="0">
              <a:buNone/>
              <a:defRPr sz="2133" b="1"/>
            </a:lvl4pPr>
            <a:lvl5pPr marL="2425156" indent="0">
              <a:buNone/>
              <a:defRPr sz="2133" b="1"/>
            </a:lvl5pPr>
            <a:lvl6pPr marL="3031445" indent="0">
              <a:buNone/>
              <a:defRPr sz="2133" b="1"/>
            </a:lvl6pPr>
            <a:lvl7pPr marL="3637725" indent="0">
              <a:buNone/>
              <a:defRPr sz="2133" b="1"/>
            </a:lvl7pPr>
            <a:lvl8pPr marL="4244013" indent="0">
              <a:buNone/>
              <a:defRPr sz="2133" b="1"/>
            </a:lvl8pPr>
            <a:lvl9pPr marL="485030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28"/>
          <p:cNvSpPr>
            <a:spLocks noGrp="1"/>
          </p:cNvSpPr>
          <p:nvPr>
            <p:ph type="title" hasCustomPrompt="1"/>
          </p:nvPr>
        </p:nvSpPr>
        <p:spPr bwMode="gray">
          <a:xfrm>
            <a:off x="548640" y="274320"/>
            <a:ext cx="11073384" cy="521208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 marL="0" algn="l" defTabSz="1212577" rtl="0" eaLnBrk="1" latinLnBrk="0" hangingPunct="1">
              <a:lnSpc>
                <a:spcPct val="100000"/>
              </a:lnSpc>
              <a:spcBef>
                <a:spcPct val="0"/>
              </a:spcBef>
              <a:buNone/>
              <a:tabLst>
                <a:tab pos="1212577" algn="l"/>
              </a:tabLst>
              <a:defRPr lang="en-US" sz="3199" kern="1200" cap="all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01083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8A32B-615C-CB46-B26F-C8C9DB615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7981" y="2220913"/>
            <a:ext cx="7197020" cy="2387600"/>
          </a:xfrm>
          <a:prstGeom prst="rect">
            <a:avLst/>
          </a:prstGeom>
        </p:spPr>
        <p:txBody>
          <a:bodyPr anchor="b" anchorCtr="0"/>
          <a:lstStyle>
            <a:lvl1pPr algn="l">
              <a:defRPr sz="5398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69594E-E5AE-7147-9C8E-5FE34EE759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7981" y="4700588"/>
            <a:ext cx="7197020" cy="1216118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spcBef>
                <a:spcPts val="400"/>
              </a:spcBef>
              <a:buNone/>
              <a:defRPr sz="2399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F56C41-4F83-3242-91F1-37768EF633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03E524-3E9E-AF45-8057-47753CD32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36DB43-80C3-5A42-8FB9-AB7EC4031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90885" y="525415"/>
            <a:ext cx="10969943" cy="8621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188871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9BA88-AB4A-154B-8958-92F0026AE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EC283-BC3C-D64C-B268-F2723FFC73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22384B-4891-B246-AECF-E0899B9968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4213DB-DA26-5D4F-9C84-361B5B160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A80659-73BB-8B4A-B2EC-931DCCD64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CF32D-ECCA-7743-91FF-4CF397FD8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633" y="1709739"/>
            <a:ext cx="10512862" cy="2852737"/>
          </a:xfrm>
          <a:prstGeom prst="rect">
            <a:avLst/>
          </a:prstGeom>
        </p:spPr>
        <p:txBody>
          <a:bodyPr anchor="b"/>
          <a:lstStyle>
            <a:lvl1pPr>
              <a:defRPr sz="5998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59B4B2-8B94-1944-966D-405955E3FD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633" y="4589464"/>
            <a:ext cx="1051286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9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57BBA-4349-3D48-8106-3E73DB1F25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CA755-2D58-854D-BE95-855828DE6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4C617-B032-E849-A4F4-7AD93FE63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D7877-21E1-194E-AA63-A6125F623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389E00-FD66-E34A-A68A-6AF812722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798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D1B6EF-15E6-0C49-A68F-852A263B10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059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40357A-E84D-B047-B920-B1BA4DF35F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381121-756E-6247-BCFE-E865B17A3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3BB5DC-5D20-614A-8089-070090544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CD8AF-CFA1-5542-AFEB-D506BAFC6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69" y="365126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48BBE9-D183-714A-ADF9-2465A8310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570" y="1681163"/>
            <a:ext cx="5156444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8314C-1BC2-BC4F-BE8D-50EEE27598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570" y="2505075"/>
            <a:ext cx="5156444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4FB16-D7D0-9540-AD04-6085D4E60B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0593" y="1681163"/>
            <a:ext cx="518183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2D874D-7A11-7F46-BD95-82032A84B7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593" y="2505075"/>
            <a:ext cx="518183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B72BCA-43F3-DA40-9999-5184ADE75B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7AAE9A-7F9D-DB4E-AC97-08CC7F725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FEC7E1-7B51-5341-A5EB-7407E6AA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F21E4-942A-B94C-BD14-333A96456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5B2BBE-1626-794D-A68D-E97C0A9321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BB660-B71B-8F49-832A-51971371C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7588CD-5D46-B641-B4E3-2103E3516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50A6F-EBA6-6D4D-910C-A1853883E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B33C6-61D6-F243-AE1C-2E6FDACAC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7079A-5256-524F-869F-5BE22388D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ED67B-3FA2-9845-AE78-3965383A6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4ACC8-FE16-954F-A906-EC20CBDC3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749810-F20A-8545-9E04-216F7C1239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17CD42-AEC5-6E47-972C-75F9B5BCCF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9ED489-F054-5E41-A04F-274272D86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0CE3A-1882-C54E-BD4C-C793EC165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2BF5A-3B03-5A45-AB64-0924B3746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9938657-C6F0-6B45-BAFD-4BA5F3A805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02872-E643-434A-B7E1-204604AF5F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FC0A6E-A237-034C-BAA0-25C95ED3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3B1F82-682F-6441-B838-DCFD4F812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60F25-E759-8746-A349-D45B837ED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DACAF-702F-664B-A102-248317483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E3A999-429D-C74F-8AAD-5ABBDE7966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0A8874-B4D4-C34B-B0C5-F3FB159CE9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902A-A450-9A46-87F5-45C282D1C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E1C2A-F9EB-5B47-AC27-0327A84CF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3376F8-7CAF-5C42-BE7E-08B361D5A9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2628" y="365125"/>
            <a:ext cx="262821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80658-6659-3945-A38B-5140F842E3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365125"/>
            <a:ext cx="7732286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A82649-4D02-8C4D-94F1-77AEB6B512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7D3265-83B7-9D42-B307-C7C26635C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B15D5-CC45-4545-820C-A56F23779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5079" y="-25085"/>
            <a:ext cx="3749442" cy="688308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/>
            <a:endParaRPr lang="en-US" sz="23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529" y="781051"/>
            <a:ext cx="2682998" cy="206625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3432" y="3073402"/>
            <a:ext cx="2695931" cy="228176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66"/>
            </a:lvl1pPr>
            <a:lvl2pPr marL="609433" indent="0">
              <a:buNone/>
              <a:defRPr sz="1333"/>
            </a:lvl2pPr>
            <a:lvl3pPr marL="1218866" indent="0">
              <a:buNone/>
              <a:defRPr sz="1333"/>
            </a:lvl3pPr>
            <a:lvl4pPr marL="1828297" indent="0">
              <a:buNone/>
              <a:defRPr sz="1333"/>
            </a:lvl4pPr>
            <a:lvl5pPr marL="2437729" indent="0">
              <a:buNone/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5884265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432216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1258411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lIns="0" bIns="0" anchor="b"/>
          <a:lstStyle>
            <a:lvl1pPr>
              <a:defRPr sz="31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570" y="2338251"/>
            <a:ext cx="3931213" cy="3530737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-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2607" y="655638"/>
            <a:ext cx="11123612" cy="792162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1447800"/>
            <a:ext cx="122497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5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85543" y="6394004"/>
            <a:ext cx="3292482" cy="382023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914126"/>
            <a:r>
              <a:rPr lang="en-US">
                <a:solidFill>
                  <a:srgbClr val="FFFFFF"/>
                </a:solidFill>
              </a:rPr>
              <a:t>Tech Data Confidential &amp; Proprietar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675231" y="6402073"/>
            <a:ext cx="747049" cy="365125"/>
          </a:xfrm>
          <a:prstGeom prst="rect">
            <a:avLst/>
          </a:prstGeom>
        </p:spPr>
        <p:txBody>
          <a:bodyPr lIns="90850" tIns="45433" rIns="90850" bIns="45433"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pPr defTabSz="914126"/>
            <a:fld id="{7E3B2234-10CC-4110-897A-96335E3D27E1}" type="slidenum">
              <a:rPr lang="en-GB" smtClean="0">
                <a:solidFill>
                  <a:srgbClr val="FFFFFF"/>
                </a:solidFill>
              </a:rPr>
              <a:pPr defTabSz="914126"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1789186" y="6468314"/>
            <a:ext cx="0" cy="2334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484171" y="1899980"/>
            <a:ext cx="9220488" cy="1981861"/>
            <a:chOff x="1194099" y="1549100"/>
            <a:chExt cx="7058797" cy="1516830"/>
          </a:xfrm>
        </p:grpSpPr>
        <p:sp>
          <p:nvSpPr>
            <p:cNvPr id="19" name="Oval 18"/>
            <p:cNvSpPr/>
            <p:nvPr userDrawn="1"/>
          </p:nvSpPr>
          <p:spPr>
            <a:xfrm>
              <a:off x="1194099" y="1549101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3046203" y="1549100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4894721" y="1549101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736067" y="1549100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2474841" y="4086578"/>
            <a:ext cx="7297342" cy="532039"/>
            <a:chOff x="1856614" y="2807746"/>
            <a:chExt cx="5474432" cy="656216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1856614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5" name="Straight Connector 24"/>
            <p:cNvCxnSpPr/>
            <p:nvPr userDrawn="1"/>
          </p:nvCxnSpPr>
          <p:spPr>
            <a:xfrm>
              <a:off x="3703831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6" name="Straight Connector 25"/>
            <p:cNvCxnSpPr/>
            <p:nvPr userDrawn="1"/>
          </p:nvCxnSpPr>
          <p:spPr>
            <a:xfrm>
              <a:off x="5482986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7" name="Straight Connector 26"/>
            <p:cNvCxnSpPr/>
            <p:nvPr userDrawn="1"/>
          </p:nvCxnSpPr>
          <p:spPr>
            <a:xfrm>
              <a:off x="7331046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</p:grpSp>
      <p:sp>
        <p:nvSpPr>
          <p:cNvPr id="2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476967" y="4831155"/>
            <a:ext cx="2040931" cy="1212192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18037" y="4834037"/>
            <a:ext cx="2040931" cy="1216803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10669" y="4823349"/>
            <a:ext cx="2040931" cy="1219864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766349" y="4827323"/>
            <a:ext cx="2040931" cy="1219864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5500391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432216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1258411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lIns="0" bIns="0" anchor="b"/>
          <a:lstStyle>
            <a:lvl1pPr>
              <a:defRPr sz="3199" b="0" i="0">
                <a:solidFill>
                  <a:srgbClr val="00B1E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>
                <a:solidFill>
                  <a:schemeClr val="bg1"/>
                </a:solidFill>
              </a:defRPr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570" y="2338251"/>
            <a:ext cx="3931213" cy="3530737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982" y="365126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7AA9832-6E89-0543-9E90-EF6ACCC6949F}" type="datetimeFigureOut">
              <a:rPr lang="en-US" sz="1799" smtClean="0">
                <a:solidFill>
                  <a:srgbClr val="21314D"/>
                </a:solidFill>
              </a:rPr>
              <a:pPr defTabSz="914126"/>
              <a:t>5/30/18</a:t>
            </a:fld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srgbClr val="21314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3F8A74BF-FB0B-D84E-BDF4-D8ADA036E5A1}" type="slidenum">
              <a:rPr lang="en-US" sz="1799" smtClean="0">
                <a:solidFill>
                  <a:srgbClr val="21314D"/>
                </a:solidFill>
              </a:rPr>
              <a:pPr defTabSz="914126"/>
              <a:t>‹#›</a:t>
            </a:fld>
            <a:endParaRPr lang="en-US" sz="1799">
              <a:solidFill>
                <a:srgbClr val="21314D"/>
              </a:solidFill>
            </a:endParaRPr>
          </a:p>
        </p:txBody>
      </p:sp>
    </p:spTree>
    <p:extLst/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-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2607" y="655638"/>
            <a:ext cx="11123612" cy="792162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1447800"/>
            <a:ext cx="122497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8A32B-615C-CB46-B26F-C8C9DB615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347" y="2864224"/>
            <a:ext cx="9141619" cy="1836364"/>
          </a:xfrm>
          <a:prstGeom prst="rect">
            <a:avLst/>
          </a:prstGeom>
        </p:spPr>
        <p:txBody>
          <a:bodyPr anchor="b"/>
          <a:lstStyle>
            <a:lvl1pPr algn="l">
              <a:defRPr sz="4799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69594E-E5AE-7147-9C8E-5FE34EE759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3347" y="4700588"/>
            <a:ext cx="9141619" cy="75891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400"/>
              </a:spcBef>
              <a:buNone/>
              <a:defRPr sz="2399">
                <a:solidFill>
                  <a:srgbClr val="00B1E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F56C41-4F83-3242-91F1-37768EF633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03E524-3E9E-AF45-8057-47753CD32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36DB43-80C3-5A42-8FB9-AB7EC4031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9BA88-AB4A-154B-8958-92F0026AE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EC283-BC3C-D64C-B268-F2723FFC73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22384B-4891-B246-AECF-E0899B9968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4213DB-DA26-5D4F-9C84-361B5B160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A80659-73BB-8B4A-B2EC-931DCCD64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CF32D-ECCA-7743-91FF-4CF397FD8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633" y="1709739"/>
            <a:ext cx="10512862" cy="2852737"/>
          </a:xfrm>
          <a:prstGeom prst="rect">
            <a:avLst/>
          </a:prstGeo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59B4B2-8B94-1944-966D-405955E3FD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633" y="4589464"/>
            <a:ext cx="1051286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57BBA-4349-3D48-8106-3E73DB1F25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CA755-2D58-854D-BE95-855828DE6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4C617-B032-E849-A4F4-7AD93FE63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D7877-21E1-194E-AA63-A6125F623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389E00-FD66-E34A-A68A-6AF812722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798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D1B6EF-15E6-0C49-A68F-852A263B10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059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40357A-E84D-B047-B920-B1BA4DF35F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381121-756E-6247-BCFE-E865B17A3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3BB5DC-5D20-614A-8089-070090544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CD8AF-CFA1-5542-AFEB-D506BAFC6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69" y="365126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48BBE9-D183-714A-ADF9-2465A8310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570" y="1681163"/>
            <a:ext cx="5156444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8314C-1BC2-BC4F-BE8D-50EEE27598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570" y="2505075"/>
            <a:ext cx="5156444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4FB16-D7D0-9540-AD04-6085D4E60B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0593" y="1681163"/>
            <a:ext cx="518183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2D874D-7A11-7F46-BD95-82032A84B7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593" y="2505075"/>
            <a:ext cx="518183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B72BCA-43F3-DA40-9999-5184ADE75B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7AAE9A-7F9D-DB4E-AC97-08CC7F725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FEC7E1-7B51-5341-A5EB-7407E6AA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832" y="5158358"/>
            <a:ext cx="11059014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133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832" y="5478354"/>
            <a:ext cx="11059014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832" y="5798350"/>
            <a:ext cx="11059014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562" y="4281951"/>
            <a:ext cx="11067284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273" indent="0">
              <a:buNone/>
              <a:defRPr/>
            </a:lvl2pPr>
            <a:lvl3pPr marL="569726" indent="0">
              <a:buNone/>
              <a:defRPr/>
            </a:lvl3pPr>
            <a:lvl4pPr marL="688753" indent="0">
              <a:buNone/>
              <a:defRPr/>
            </a:lvl4pPr>
            <a:lvl5pPr marL="80142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539" y="3519969"/>
            <a:ext cx="11117307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2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ettyImages-504105305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569" t="-5555" r="57500" b="20000"/>
          <a:stretch/>
        </p:blipFill>
        <p:spPr>
          <a:xfrm>
            <a:off x="-49035" y="0"/>
            <a:ext cx="5737154" cy="5867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07" b="1392"/>
          <a:stretch/>
        </p:blipFill>
        <p:spPr>
          <a:xfrm>
            <a:off x="0" y="-25399"/>
            <a:ext cx="12188825" cy="6908801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664" y="384153"/>
            <a:ext cx="6932582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198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666" y="3002845"/>
            <a:ext cx="6932582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6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7719" y="6070600"/>
            <a:ext cx="2173639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217984"/>
      </p:ext>
    </p:extLst>
  </p:cSld>
  <p:clrMapOvr>
    <a:masterClrMapping/>
  </p:clrMapOvr>
  <p:transition spd="med">
    <p:wipe dir="r"/>
  </p:transition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F21E4-942A-B94C-BD14-333A96456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5B2BBE-1626-794D-A68D-E97C0A9321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BB660-B71B-8F49-832A-51971371C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7588CD-5D46-B641-B4E3-2103E3516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50A6F-EBA6-6D4D-910C-A1853883E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B33C6-61D6-F243-AE1C-2E6FDACAC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7079A-5256-524F-869F-5BE22388D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ED67B-3FA2-9845-AE78-3965383A6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4ACC8-FE16-954F-A906-EC20CBDC3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749810-F20A-8545-9E04-216F7C1239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17CD42-AEC5-6E47-972C-75F9B5BCCF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9ED489-F054-5E41-A04F-274272D86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0CE3A-1882-C54E-BD4C-C793EC165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2BF5A-3B03-5A45-AB64-0924B3746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9938657-C6F0-6B45-BAFD-4BA5F3A805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02872-E643-434A-B7E1-204604AF5F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FC0A6E-A237-034C-BAA0-25C95ED3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3B1F82-682F-6441-B838-DCFD4F812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60F25-E759-8746-A349-D45B837ED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DACAF-702F-664B-A102-248317483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E3A999-429D-C74F-8AAD-5ABBDE7966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0A8874-B4D4-C34B-B0C5-F3FB159CE9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902A-A450-9A46-87F5-45C282D1C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E1C2A-F9EB-5B47-AC27-0327A84CF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3376F8-7CAF-5C42-BE7E-08B361D5A9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2628" y="365125"/>
            <a:ext cx="262821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80658-6659-3945-A38B-5140F842E3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365125"/>
            <a:ext cx="7732286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A82649-4D02-8C4D-94F1-77AEB6B512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7D3265-83B7-9D42-B307-C7C26635C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B15D5-CC45-4545-820C-A56F23779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666" y="385722"/>
            <a:ext cx="6932582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198" b="0" i="0" smtClean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666" y="3002845"/>
            <a:ext cx="6932582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6" b="1" i="0" smtClean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7719" y="5832092"/>
            <a:ext cx="2173639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013321"/>
      </p:ext>
    </p:extLst>
  </p:cSld>
  <p:clrMapOvr>
    <a:masterClrMapping/>
  </p:clrMapOvr>
  <p:transition spd="med">
    <p:wipe dir="r"/>
  </p:transition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432216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1258411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lIns="0" bIns="0" anchor="b"/>
          <a:lstStyle>
            <a:lvl1pPr>
              <a:defRPr sz="31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570" y="2338251"/>
            <a:ext cx="3931213" cy="3530737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8A32B-615C-CB46-B26F-C8C9DB615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347" y="3255264"/>
            <a:ext cx="7588984" cy="1516064"/>
          </a:xfrm>
          <a:prstGeom prst="rect">
            <a:avLst/>
          </a:prstGeom>
        </p:spPr>
        <p:txBody>
          <a:bodyPr anchor="b"/>
          <a:lstStyle>
            <a:lvl1pPr algn="l">
              <a:defRPr sz="4799" b="0" i="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9BA88-AB4A-154B-8958-92F0026AE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EC283-BC3C-D64C-B268-F2723FFC73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7982" y="3994484"/>
            <a:ext cx="10512862" cy="218247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CF32D-ECCA-7743-91FF-4CF397FD8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347" y="3255265"/>
            <a:ext cx="7640148" cy="1334199"/>
          </a:xfrm>
          <a:prstGeom prst="rect">
            <a:avLst/>
          </a:prstGeom>
        </p:spPr>
        <p:txBody>
          <a:bodyPr anchor="b"/>
          <a:lstStyle>
            <a:lvl1pPr>
              <a:defRPr sz="4799" b="0" i="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59B4B2-8B94-1944-966D-405955E3FD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3348" y="4589464"/>
            <a:ext cx="6946761" cy="107339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None/>
              <a:defRPr sz="2399">
                <a:solidFill>
                  <a:srgbClr val="00B1E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/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D7877-21E1-194E-AA63-A6125F623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389E00-FD66-E34A-A68A-6AF812722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798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D1B6EF-15E6-0C49-A68F-852A263B10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059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40357A-E84D-B047-B920-B1BA4DF35F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381121-756E-6247-BCFE-E865B17A3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3BB5DC-5D20-614A-8089-070090544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CD8AF-CFA1-5542-AFEB-D506BAFC6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69" y="365126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48BBE9-D183-714A-ADF9-2465A8310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570" y="1681163"/>
            <a:ext cx="5156444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8314C-1BC2-BC4F-BE8D-50EEE27598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570" y="2505075"/>
            <a:ext cx="5156444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4FB16-D7D0-9540-AD04-6085D4E60B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0593" y="1681163"/>
            <a:ext cx="518183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2D874D-7A11-7F46-BD95-82032A84B7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593" y="2505075"/>
            <a:ext cx="518183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B72BCA-43F3-DA40-9999-5184ADE75B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7AAE9A-7F9D-DB4E-AC97-08CC7F725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FEC7E1-7B51-5341-A5EB-7407E6AA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F21E4-942A-B94C-BD14-333A96456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5B2BBE-1626-794D-A68D-E97C0A9321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BB660-B71B-8F49-832A-51971371C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7588CD-5D46-B641-B4E3-2103E3516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50A6F-EBA6-6D4D-910C-A1853883E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B33C6-61D6-F243-AE1C-2E6FDACAC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7079A-5256-524F-869F-5BE22388D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Body cop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07" b="1392"/>
          <a:stretch/>
        </p:blipFill>
        <p:spPr>
          <a:xfrm>
            <a:off x="0" y="-25399"/>
            <a:ext cx="12188825" cy="69088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2274" y="325967"/>
            <a:ext cx="10604278" cy="853440"/>
          </a:xfrm>
          <a:prstGeom prst="rect">
            <a:avLst/>
          </a:prstGeom>
        </p:spPr>
        <p:txBody>
          <a:bodyPr lIns="0" rIns="0"/>
          <a:lstStyle>
            <a:lvl1pPr algn="ctr">
              <a:defRPr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664" y="1706880"/>
            <a:ext cx="10604276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866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3926" indent="-30895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65715443"/>
      </p:ext>
    </p:extLst>
  </p:cSld>
  <p:clrMapOvr>
    <a:masterClrMapping/>
  </p:clrMapOvr>
  <p:transition spd="med">
    <p:wipe dir="r"/>
  </p:transition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ED67B-3FA2-9845-AE78-3965383A6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4ACC8-FE16-954F-A906-EC20CBDC3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749810-F20A-8545-9E04-216F7C1239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17CD42-AEC5-6E47-972C-75F9B5BCCF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9ED489-F054-5E41-A04F-274272D86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0CE3A-1882-C54E-BD4C-C793EC165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2BF5A-3B03-5A45-AB64-0924B3746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9938657-C6F0-6B45-BAFD-4BA5F3A805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02872-E643-434A-B7E1-204604AF5F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FC0A6E-A237-034C-BAA0-25C95ED3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3B1F82-682F-6441-B838-DCFD4F812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60F25-E759-8746-A349-D45B837ED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DACAF-702F-664B-A102-248317483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E3A999-429D-C74F-8AAD-5ABBDE7966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0A8874-B4D4-C34B-B0C5-F3FB159CE9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902A-A450-9A46-87F5-45C282D1C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E1C2A-F9EB-5B47-AC27-0327A84CF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3376F8-7CAF-5C42-BE7E-08B361D5A9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2628" y="365125"/>
            <a:ext cx="262821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80658-6659-3945-A38B-5140F842E3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365125"/>
            <a:ext cx="7732286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A82649-4D02-8C4D-94F1-77AEB6B512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7D3265-83B7-9D42-B307-C7C26635C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B15D5-CC45-4545-820C-A56F23779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432216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1258411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lIns="0" bIns="0" anchor="b"/>
          <a:lstStyle>
            <a:lvl1pPr>
              <a:defRPr sz="3199" b="0" i="0">
                <a:solidFill>
                  <a:srgbClr val="00B1E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>
                <a:solidFill>
                  <a:schemeClr val="bg1"/>
                </a:solidFill>
              </a:defRPr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570" y="2338251"/>
            <a:ext cx="3931213" cy="3530737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982" y="365126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7AA9832-6E89-0543-9E90-EF6ACCC6949F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3F8A74BF-FB0B-D84E-BDF4-D8ADA036E5A1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_No body cop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2274" y="325967"/>
            <a:ext cx="10604278" cy="662304"/>
          </a:xfrm>
          <a:prstGeom prst="rect">
            <a:avLst/>
          </a:prstGeom>
        </p:spPr>
        <p:txBody>
          <a:bodyPr lIns="0" rIns="0"/>
          <a:lstStyle>
            <a:lvl1pPr algn="ctr">
              <a:defRPr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</a:t>
            </a:r>
          </a:p>
        </p:txBody>
      </p:sp>
      <p:sp>
        <p:nvSpPr>
          <p:cNvPr id="4" name="fl" descr="                              Dell - Internal Use - Confidential&#10;"/>
          <p:cNvSpPr txBox="1"/>
          <p:nvPr userDrawn="1"/>
        </p:nvSpPr>
        <p:spPr>
          <a:xfrm>
            <a:off x="768150" y="6676993"/>
            <a:ext cx="1205458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1218895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u="none" baseline="0">
                <a:solidFill>
                  <a:srgbClr val="7F7F7F"/>
                </a:solidFill>
                <a:latin typeface="+mn-lt"/>
              </a:rPr>
              <a:t>© Copyright 2017 Dell Inc.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367951" y="6676993"/>
            <a:ext cx="125034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0977" y="6451335"/>
            <a:ext cx="900999" cy="1607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200"/>
            <a:ext cx="12188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560745"/>
      </p:ext>
    </p:extLst>
  </p:cSld>
  <p:clrMapOvr>
    <a:masterClrMapping/>
  </p:clrMapOvr>
  <p:transition spd="med">
    <p:wipe dir="r"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432216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1258411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/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lIns="0" bIns="0" anchor="b"/>
          <a:lstStyle>
            <a:lvl1pPr>
              <a:defRPr sz="31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570" y="2338251"/>
            <a:ext cx="3931213" cy="3530737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8A32B-615C-CB46-B26F-C8C9DB615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1307" y="2395579"/>
            <a:ext cx="6507135" cy="2387600"/>
          </a:xfrm>
          <a:prstGeom prst="rect">
            <a:avLst/>
          </a:prstGeom>
        </p:spPr>
        <p:txBody>
          <a:bodyPr anchor="b"/>
          <a:lstStyle>
            <a:lvl1pPr algn="l">
              <a:defRPr sz="4799" b="1" i="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9BA88-AB4A-154B-8958-92F0026AE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EC283-BC3C-D64C-B268-F2723FFC73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22384B-4891-B246-AECF-E0899B9968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4213DB-DA26-5D4F-9C84-361B5B160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A80659-73BB-8B4A-B2EC-931DCCD64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CF32D-ECCA-7743-91FF-4CF397FD8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633" y="1709739"/>
            <a:ext cx="10512862" cy="2852737"/>
          </a:xfrm>
          <a:prstGeom prst="rect">
            <a:avLst/>
          </a:prstGeo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59B4B2-8B94-1944-966D-405955E3FD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633" y="4589464"/>
            <a:ext cx="1051286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57BBA-4349-3D48-8106-3E73DB1F25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CA755-2D58-854D-BE95-855828DE6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4C617-B032-E849-A4F4-7AD93FE63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D7877-21E1-194E-AA63-A6125F623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389E00-FD66-E34A-A68A-6AF812722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798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D1B6EF-15E6-0C49-A68F-852A263B10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059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40357A-E84D-B047-B920-B1BA4DF35F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381121-756E-6247-BCFE-E865B17A3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3BB5DC-5D20-614A-8089-070090544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663" y="362515"/>
            <a:ext cx="10604278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361857" y="1703918"/>
            <a:ext cx="10608086" cy="425661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1pPr>
            <a:lvl2pPr marL="454969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2pPr>
            <a:lvl3pPr marL="918404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buNone/>
              <a:defRPr>
                <a:latin typeface="+mn-lt"/>
                <a:ea typeface="Arial"/>
              </a:defRPr>
            </a:lvl3pPr>
            <a:lvl4pPr marL="1678098" indent="-30684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95414583"/>
      </p:ext>
    </p:extLst>
  </p:cSld>
  <p:clrMapOvr>
    <a:masterClrMapping/>
  </p:clrMapOvr>
  <p:transition spd="med">
    <p:wipe dir="r"/>
  </p:transition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CD8AF-CFA1-5542-AFEB-D506BAFC6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69" y="365126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48BBE9-D183-714A-ADF9-2465A8310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570" y="1681163"/>
            <a:ext cx="5156444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8314C-1BC2-BC4F-BE8D-50EEE27598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570" y="2505075"/>
            <a:ext cx="5156444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4FB16-D7D0-9540-AD04-6085D4E60B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0593" y="1681163"/>
            <a:ext cx="518183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2D874D-7A11-7F46-BD95-82032A84B7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593" y="2505075"/>
            <a:ext cx="518183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B72BCA-43F3-DA40-9999-5184ADE75B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7AAE9A-7F9D-DB4E-AC97-08CC7F725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FEC7E1-7B51-5341-A5EB-7407E6AA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F21E4-942A-B94C-BD14-333A96456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5B2BBE-1626-794D-A68D-E97C0A9321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BB660-B71B-8F49-832A-51971371C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7588CD-5D46-B641-B4E3-2103E3516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50A6F-EBA6-6D4D-910C-A1853883E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B33C6-61D6-F243-AE1C-2E6FDACAC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7079A-5256-524F-869F-5BE22388D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ED67B-3FA2-9845-AE78-3965383A6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4ACC8-FE16-954F-A906-EC20CBDC3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749810-F20A-8545-9E04-216F7C1239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17CD42-AEC5-6E47-972C-75F9B5BCCF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9ED489-F054-5E41-A04F-274272D86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0CE3A-1882-C54E-BD4C-C793EC165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2BF5A-3B03-5A45-AB64-0924B3746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9938657-C6F0-6B45-BAFD-4BA5F3A805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02872-E643-434A-B7E1-204604AF5F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FC0A6E-A237-034C-BAA0-25C95ED3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3B1F82-682F-6441-B838-DCFD4F812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60F25-E759-8746-A349-D45B837ED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DACAF-702F-664B-A102-248317483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E3A999-429D-C74F-8AAD-5ABBDE7966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0A8874-B4D4-C34B-B0C5-F3FB159CE9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902A-A450-9A46-87F5-45C282D1C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E1C2A-F9EB-5B47-AC27-0327A84CF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3376F8-7CAF-5C42-BE7E-08B361D5A9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2628" y="365125"/>
            <a:ext cx="262821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80658-6659-3945-A38B-5140F842E3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365125"/>
            <a:ext cx="7732286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A82649-4D02-8C4D-94F1-77AEB6B512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7D3265-83B7-9D42-B307-C7C26635C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B15D5-CC45-4545-820C-A56F23779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6464798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8A32B-615C-CB46-B26F-C8C9DB615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7982" y="2220913"/>
            <a:ext cx="9141619" cy="2387600"/>
          </a:xfrm>
          <a:prstGeom prst="rect">
            <a:avLst/>
          </a:prstGeom>
        </p:spPr>
        <p:txBody>
          <a:bodyPr anchor="b"/>
          <a:lstStyle>
            <a:lvl1pPr algn="l">
              <a:defRPr sz="5398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69594E-E5AE-7147-9C8E-5FE34EE759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7982" y="4700588"/>
            <a:ext cx="9141619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399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F56C41-4F83-3242-91F1-37768EF633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03E524-3E9E-AF45-8057-47753CD32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36DB43-80C3-5A42-8FB9-AB7EC4031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767269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9BA88-AB4A-154B-8958-92F0026AE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EC283-BC3C-D64C-B268-F2723FFC73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22384B-4891-B246-AECF-E0899B9968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4213DB-DA26-5D4F-9C84-361B5B160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A80659-73BB-8B4A-B2EC-931DCCD64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5749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663" y="362515"/>
            <a:ext cx="10604278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61857" y="1703918"/>
            <a:ext cx="10608086" cy="4256615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4831" indent="-226427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098" indent="-30684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46769303"/>
      </p:ext>
    </p:extLst>
  </p:cSld>
  <p:clrMapOvr>
    <a:masterClrMapping/>
  </p:clrMapOvr>
  <p:transition spd="med">
    <p:wipe dir="r"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CF32D-ECCA-7743-91FF-4CF397FD8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633" y="1709739"/>
            <a:ext cx="10512862" cy="2852737"/>
          </a:xfrm>
          <a:prstGeom prst="rect">
            <a:avLst/>
          </a:prstGeo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59B4B2-8B94-1944-966D-405955E3FD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633" y="4589464"/>
            <a:ext cx="1051286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57BBA-4349-3D48-8106-3E73DB1F25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CA755-2D58-854D-BE95-855828DE6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4C617-B032-E849-A4F4-7AD93FE63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93339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D7877-21E1-194E-AA63-A6125F623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389E00-FD66-E34A-A68A-6AF812722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798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D1B6EF-15E6-0C49-A68F-852A263B10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0592" y="1825625"/>
            <a:ext cx="518025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40357A-E84D-B047-B920-B1BA4DF35F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381121-756E-6247-BCFE-E865B17A3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3BB5DC-5D20-614A-8089-070090544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951445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CD8AF-CFA1-5542-AFEB-D506BAFC6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69" y="365126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48BBE9-D183-714A-ADF9-2465A8310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570" y="1681163"/>
            <a:ext cx="5156444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8314C-1BC2-BC4F-BE8D-50EEE27598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570" y="2505075"/>
            <a:ext cx="5156444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4FB16-D7D0-9540-AD04-6085D4E60B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0593" y="1681163"/>
            <a:ext cx="518183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2D874D-7A11-7F46-BD95-82032A84B7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593" y="2505075"/>
            <a:ext cx="518183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B72BCA-43F3-DA40-9999-5184ADE75B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7AAE9A-7F9D-DB4E-AC97-08CC7F725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FEC7E1-7B51-5341-A5EB-7407E6AA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85305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F21E4-942A-B94C-BD14-333A96456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5B2BBE-1626-794D-A68D-E97C0A9321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BB660-B71B-8F49-832A-51971371C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7588CD-5D46-B641-B4E3-2103E3516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373206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50A6F-EBA6-6D4D-910C-A1853883E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B33C6-61D6-F243-AE1C-2E6FDACAC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7079A-5256-524F-869F-5BE22388D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715145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ED67B-3FA2-9845-AE78-3965383A6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4ACC8-FE16-954F-A906-EC20CBDC3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749810-F20A-8545-9E04-216F7C1239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17CD42-AEC5-6E47-972C-75F9B5BCCF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9ED489-F054-5E41-A04F-274272D86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0CE3A-1882-C54E-BD4C-C793EC165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163121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2BF5A-3B03-5A45-AB64-0924B3746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9938657-C6F0-6B45-BAFD-4BA5F3A805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02872-E643-434A-B7E1-204604AF5F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FC0A6E-A237-034C-BAA0-25C95ED3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3B1F82-682F-6441-B838-DCFD4F812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60F25-E759-8746-A349-D45B837ED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707180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DACAF-702F-664B-A102-248317483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2281012"/>
            <a:ext cx="10512862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E3A999-429D-C74F-8AAD-5ABBDE7966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0A8874-B4D4-C34B-B0C5-F3FB159CE9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902A-A450-9A46-87F5-45C282D1C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E1C2A-F9EB-5B47-AC27-0327A84CF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221006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3376F8-7CAF-5C42-BE7E-08B361D5A9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2628" y="365125"/>
            <a:ext cx="262821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80658-6659-3945-A38B-5140F842E3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7982" y="365125"/>
            <a:ext cx="7732286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A82649-4D02-8C4D-94F1-77AEB6B512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8998208E-4783-C64B-87ED-BC55F0CB780C}" type="datetimeFigureOut">
              <a:rPr lang="en-US" sz="1799" smtClean="0">
                <a:solidFill>
                  <a:prstClr val="black"/>
                </a:solidFill>
              </a:rPr>
              <a:pPr defTabSz="914126"/>
              <a:t>5/30/18</a:t>
            </a:fld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7D3265-83B7-9D42-B307-C7C26635C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pPr defTabSz="914126"/>
            <a:endParaRPr lang="en-US" sz="1799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B15D5-CC45-4545-820C-A56F23779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pPr defTabSz="914126"/>
            <a:fld id="{E9D0DBDC-1BDD-CF4D-8F89-7DC19BA62A68}" type="slidenum">
              <a:rPr lang="en-US" sz="1799" smtClean="0">
                <a:solidFill>
                  <a:prstClr val="black"/>
                </a:solidFill>
              </a:rPr>
              <a:pPr defTabSz="914126"/>
              <a:t>‹#›</a:t>
            </a:fld>
            <a:endParaRPr lang="en-US"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268172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-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2608" y="655638"/>
            <a:ext cx="11123613" cy="792163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1447800"/>
            <a:ext cx="122497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1815" y="1600200"/>
            <a:ext cx="5562600" cy="4343400"/>
          </a:xfrm>
          <a:prstGeom prst="rect">
            <a:avLst/>
          </a:prstGeom>
        </p:spPr>
        <p:txBody>
          <a:bodyPr lIns="0" tIns="91440">
            <a:normAutofit/>
          </a:bodyPr>
          <a:lstStyle>
            <a:lvl1pPr marL="226940" indent="-226940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Webdings" panose="05030102010509060703" pitchFamily="18" charset="2"/>
              <a:buChar char=""/>
              <a:defRPr sz="2800">
                <a:solidFill>
                  <a:schemeClr val="bg2"/>
                </a:solidFill>
              </a:defRPr>
            </a:lvl1pPr>
            <a:lvl2pPr marL="458777" indent="-231770">
              <a:spcBef>
                <a:spcPts val="0"/>
              </a:spcBef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 marL="912790" indent="-225420">
              <a:spcBef>
                <a:spcPts val="0"/>
              </a:spcBef>
              <a:spcAft>
                <a:spcPts val="1200"/>
              </a:spcAft>
              <a:defRPr sz="1800">
                <a:solidFill>
                  <a:schemeClr val="bg2"/>
                </a:solidFill>
              </a:defRPr>
            </a:lvl3pPr>
            <a:lvl4pPr marL="1255682" indent="-227008"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bg2"/>
                </a:solidFill>
              </a:defRPr>
            </a:lvl4pPr>
            <a:lvl5pPr marL="1600160" indent="-225420"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683111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663" y="362513"/>
            <a:ext cx="10604278" cy="85344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355507" y="1410356"/>
            <a:ext cx="10611132" cy="417689"/>
          </a:xfrm>
          <a:prstGeom prst="rect">
            <a:avLst/>
          </a:prstGeom>
        </p:spPr>
        <p:txBody>
          <a:bodyPr lIns="0" rIns="0" anchor="t" anchorCtr="0"/>
          <a:lstStyle>
            <a:lvl1pPr marL="304724" indent="-30472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0"/>
          </p:nvPr>
        </p:nvSpPr>
        <p:spPr>
          <a:xfrm>
            <a:off x="361857" y="2055285"/>
            <a:ext cx="10608086" cy="3905249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4831" indent="-226427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098" indent="-30684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69831011"/>
      </p:ext>
    </p:extLst>
  </p:cSld>
  <p:clrMapOvr>
    <a:masterClrMapping/>
  </p:clrMapOvr>
  <p:transition spd="med">
    <p:wipe dir="r"/>
  </p:transition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976305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551356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515825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377868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6879555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432216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1258411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158845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lIns="0" bIns="0" anchor="b"/>
          <a:lstStyle>
            <a:lvl1pPr>
              <a:defRPr sz="31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570" y="2338251"/>
            <a:ext cx="3931213" cy="3530737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3194600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od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 userDrawn="1">
            <p:ph type="title"/>
          </p:nvPr>
        </p:nvSpPr>
        <p:spPr>
          <a:xfrm>
            <a:off x="532607" y="655638"/>
            <a:ext cx="11123612" cy="792162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447800"/>
            <a:ext cx="122497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F220BBD-3166-4C17-856F-123BF9092F25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947"/>
          <a:stretch/>
        </p:blipFill>
        <p:spPr>
          <a:xfrm>
            <a:off x="0" y="6580004"/>
            <a:ext cx="12194919" cy="27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731243"/>
      </p:ext>
    </p:extLst>
  </p:cSld>
  <p:clrMapOvr>
    <a:masterClrMapping/>
  </p:clrMapOvr>
  <p:transition spd="slow">
    <p:fade/>
  </p:transition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- Blank N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4919" cy="838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2430875"/>
      </p:ext>
    </p:extLst>
  </p:cSld>
  <p:clrMapOvr>
    <a:masterClrMapping/>
  </p:clrMapOvr>
  <p:transition spd="slow">
    <p:fade/>
  </p:transition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458" y="185564"/>
            <a:ext cx="3333305" cy="798829"/>
          </a:xfrm>
          <a:prstGeom prst="rect">
            <a:avLst/>
          </a:prstGeom>
        </p:spPr>
        <p:txBody>
          <a:bodyPr/>
          <a:lstStyle>
            <a:lvl1pPr marL="0" algn="l" defTabSz="1217583" rtl="0" eaLnBrk="0" fontAlgn="base" latinLnBrk="0" hangingPunct="0">
              <a:lnSpc>
                <a:spcPts val="2292"/>
              </a:lnSpc>
              <a:spcBef>
                <a:spcPct val="0"/>
              </a:spcBef>
              <a:spcAft>
                <a:spcPct val="0"/>
              </a:spcAft>
              <a:defRPr lang="en-US" sz="2132" b="1" kern="12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26501" y="185564"/>
            <a:ext cx="8091461" cy="14541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09586" indent="0">
              <a:buNone/>
              <a:defRPr lang="en-US" sz="16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219170" indent="0">
              <a:buNone/>
              <a:defRPr lang="en-US" sz="16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828755" indent="0">
              <a:buNone/>
              <a:defRPr lang="en-US" sz="16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438338" indent="0">
              <a:buNone/>
              <a:defRPr lang="en-US" sz="16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61262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663" y="362515"/>
            <a:ext cx="10604278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61857" y="1703918"/>
            <a:ext cx="5123115" cy="4256615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4831" indent="-226427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098" indent="-30684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5834131" y="1703918"/>
            <a:ext cx="5135812" cy="4256615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4831" indent="-226427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098" indent="-30684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68448007"/>
      </p:ext>
    </p:extLst>
  </p:cSld>
  <p:clrMapOvr>
    <a:masterClrMapping/>
  </p:clrMapOvr>
  <p:transition spd="med">
    <p:wipe dir="r"/>
  </p:transition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832" y="5158358"/>
            <a:ext cx="11059014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133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832" y="5478354"/>
            <a:ext cx="11059014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832" y="5798350"/>
            <a:ext cx="11059014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562" y="4281951"/>
            <a:ext cx="11067284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273" indent="0">
              <a:buNone/>
              <a:defRPr/>
            </a:lvl2pPr>
            <a:lvl3pPr marL="569726" indent="0">
              <a:buNone/>
              <a:defRPr/>
            </a:lvl3pPr>
            <a:lvl4pPr marL="688753" indent="0">
              <a:buNone/>
              <a:defRPr/>
            </a:lvl4pPr>
            <a:lvl5pPr marL="80142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539" y="3519969"/>
            <a:ext cx="11117307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2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705742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089" y="1220545"/>
            <a:ext cx="10128084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349561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089" y="1220545"/>
            <a:ext cx="10128084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418125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255" y="5221411"/>
            <a:ext cx="10386438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797" y="2054069"/>
            <a:ext cx="10626896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6082919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255" y="5221411"/>
            <a:ext cx="10386438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797" y="2054069"/>
            <a:ext cx="10626896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5974390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88825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577" y="5222857"/>
            <a:ext cx="10849323" cy="68480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6"/>
              </a:lnSpc>
              <a:spcBef>
                <a:spcPts val="0"/>
              </a:spcBef>
              <a:buNone/>
              <a:defRPr sz="3199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2737810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12398321" cy="3790949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224" y="4072691"/>
            <a:ext cx="11149410" cy="715965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4266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9051087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3288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0054916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2110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636739" y="6322226"/>
            <a:ext cx="462118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576" y="320842"/>
            <a:ext cx="11304239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24337154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241" y="1602317"/>
            <a:ext cx="11033585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E2044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82987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3973" y="361951"/>
            <a:ext cx="5725467" cy="1086443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361858" y="1703918"/>
            <a:ext cx="5719859" cy="4256615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4831" indent="-226427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098" indent="-30684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45731688"/>
      </p:ext>
    </p:extLst>
  </p:cSld>
  <p:clrMapOvr>
    <a:masterClrMapping/>
  </p:clrMapOvr>
  <p:transition spd="med">
    <p:wipe dir="r"/>
  </p:transition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241" y="1602317"/>
            <a:ext cx="11033585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E2044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4062048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ull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75900" y="1602317"/>
            <a:ext cx="11033585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0B4DE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3065837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013" y="1607864"/>
            <a:ext cx="5180251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39503" y="1607864"/>
            <a:ext cx="5180251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640442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4504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1766581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015" y="1797051"/>
            <a:ext cx="10817582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6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537" y="5530961"/>
            <a:ext cx="9571256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4883014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015" y="1602318"/>
            <a:ext cx="10817582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537" y="5530961"/>
            <a:ext cx="9571256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80727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719" y="1797051"/>
            <a:ext cx="11037201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825" marR="0" indent="-380825" algn="ctr" defTabSz="60932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587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241" y="2220243"/>
            <a:ext cx="4881427" cy="390115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60000"/>
              <a:buFont typeface="Arial"/>
              <a:buChar char="•"/>
              <a:defRPr sz="26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60000"/>
              <a:buFont typeface="Arial"/>
              <a:buChar char="•"/>
              <a:defRPr sz="2399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499" indent="-152362">
              <a:buClr>
                <a:schemeClr val="tx2"/>
              </a:buClr>
              <a:buSzPct val="60000"/>
              <a:buFont typeface="Arial"/>
              <a:buChar char="•"/>
              <a:defRPr sz="2133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89861" indent="-152362">
              <a:buClr>
                <a:schemeClr val="tx2"/>
              </a:buClr>
              <a:buSzPct val="60000"/>
              <a:buFont typeface="Arial"/>
              <a:buChar char="•"/>
              <a:defRPr sz="18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223" indent="-152362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7" y="455085"/>
            <a:ext cx="491413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6"/>
            <a:ext cx="475661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724980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3463">
          <p15:clr>
            <a:srgbClr val="FBAE40"/>
          </p15:clr>
        </p15:guide>
      </p15:sldGuideLst>
    </p:ext>
  </p:extLs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655" y="2209800"/>
            <a:ext cx="5101955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4848" y="709083"/>
            <a:ext cx="4733750" cy="5412316"/>
          </a:xfrm>
          <a:prstGeom prst="rect">
            <a:avLst/>
          </a:prstGeom>
        </p:spPr>
        <p:txBody>
          <a:bodyPr lIns="0" rIns="0" anchor="ctr" anchorCtr="0"/>
          <a:lstStyle>
            <a:lvl1pPr marL="226427" indent="-226427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724" algn="l"/>
              </a:tabLst>
              <a:defRPr sz="3199"/>
            </a:lvl1pPr>
            <a:lvl2pPr marL="461318" indent="-22854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199"/>
            </a:lvl2pPr>
            <a:lvl3pPr marL="609448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6"/>
            </a:lvl3pPr>
            <a:lvl4pPr marL="766042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399"/>
            </a:lvl4pPr>
            <a:lvl5pPr marL="992469" indent="-1502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39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636739" y="6322226"/>
            <a:ext cx="462118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48183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2" pos="352">
          <p15:clr>
            <a:srgbClr val="FBAE40"/>
          </p15:clr>
        </p15:guide>
        <p15:guide id="3" orient="horz" pos="2928">
          <p15:clr>
            <a:srgbClr val="FBAE40"/>
          </p15:clr>
        </p15:guide>
        <p15:guide id="4" pos="356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3972" y="365408"/>
            <a:ext cx="6485383" cy="648443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355507" y="1023213"/>
            <a:ext cx="5738905" cy="417689"/>
          </a:xfrm>
          <a:prstGeom prst="rect">
            <a:avLst/>
          </a:prstGeom>
        </p:spPr>
        <p:txBody>
          <a:bodyPr lIns="0" rIns="0" anchor="t" anchorCtr="0"/>
          <a:lstStyle>
            <a:lvl1pPr marL="304724" indent="-30472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61858" y="1703918"/>
            <a:ext cx="5719859" cy="4256615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4831" indent="-226427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098" indent="-30684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89737083"/>
      </p:ext>
    </p:extLst>
  </p:cSld>
  <p:clrMapOvr>
    <a:masterClrMapping/>
  </p:clrMapOvr>
  <p:transition spd="med">
    <p:wipe dir="r"/>
  </p:transition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680720"/>
            <a:ext cx="5077074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4848" y="680720"/>
            <a:ext cx="4733750" cy="5440680"/>
          </a:xfrm>
          <a:prstGeom prst="rect">
            <a:avLst/>
          </a:prstGeom>
        </p:spPr>
        <p:txBody>
          <a:bodyPr lIns="0" rIns="0"/>
          <a:lstStyle>
            <a:lvl1pPr marL="152362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1pPr>
            <a:lvl2pPr marL="304724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2pPr>
            <a:lvl3pPr marL="457086" indent="-152362">
              <a:lnSpc>
                <a:spcPct val="100000"/>
              </a:lnSpc>
              <a:buClr>
                <a:schemeClr val="tx1"/>
              </a:buClr>
              <a:buSzPct val="60000"/>
              <a:defRPr sz="2399"/>
            </a:lvl3pPr>
            <a:lvl4pPr marL="609448" indent="-165059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042" indent="-156594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536" y="2213123"/>
            <a:ext cx="5077074" cy="3908277"/>
          </a:xfrm>
          <a:prstGeom prst="rect">
            <a:avLst/>
          </a:prstGeom>
        </p:spPr>
        <p:txBody>
          <a:bodyPr/>
          <a:lstStyle>
            <a:lvl1pPr marL="152362" indent="-152362">
              <a:buClr>
                <a:schemeClr val="tx2"/>
              </a:buClr>
              <a:buSzPct val="60000"/>
              <a:defRPr lang="en-US" sz="2666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304724" indent="-152362">
              <a:buClr>
                <a:schemeClr val="tx2"/>
              </a:buClr>
              <a:buSzPct val="60000"/>
              <a:defRPr sz="2666">
                <a:solidFill>
                  <a:schemeClr val="bg1"/>
                </a:solidFill>
              </a:defRPr>
            </a:lvl2pPr>
            <a:lvl3pPr marL="457086" indent="-152362">
              <a:buClr>
                <a:schemeClr val="tx2"/>
              </a:buClr>
              <a:buSzPct val="60000"/>
              <a:defRPr sz="2399">
                <a:solidFill>
                  <a:schemeClr val="bg1"/>
                </a:solidFill>
              </a:defRPr>
            </a:lvl3pPr>
            <a:lvl4pPr marL="609448" indent="-165059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4pPr>
            <a:lvl5pPr marL="766042" indent="-156594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47778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400015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3566">
          <p15:clr>
            <a:srgbClr val="FBAE40"/>
          </p15:clr>
        </p15:guide>
      </p15:sldGuideLst>
    </p:ext>
  </p:extLs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4267" y="709084"/>
            <a:ext cx="4744331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4267" y="5416468"/>
            <a:ext cx="4744331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6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636740" y="6322227"/>
            <a:ext cx="381656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99187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2" pos="35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4267" y="709084"/>
            <a:ext cx="4744331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35032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987710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2" pos="35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3928095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27926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5200" y="0"/>
            <a:ext cx="6083625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398121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3738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4267" y="670984"/>
            <a:ext cx="4744331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238791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663438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928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10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2212975"/>
            <a:ext cx="5077074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4267" y="670984"/>
            <a:ext cx="4744331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739" y="6322227"/>
            <a:ext cx="4541520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5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3" orient="horz" pos="2928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5016019" y="2838769"/>
            <a:ext cx="2156788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89298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6566225"/>
            <a:ext cx="12188826" cy="2990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86938" y="6561620"/>
            <a:ext cx="1256974" cy="313440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539" y="6525954"/>
            <a:ext cx="2742486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1C0148-7551-41F8-A273-4787F6CFEC9F}" type="slidenum"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pPr marL="0" marR="0" lvl="0" indent="0" algn="l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4076" y="807523"/>
            <a:ext cx="11655691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-2" y="-204890"/>
            <a:ext cx="10512862" cy="1325563"/>
          </a:xfrm>
        </p:spPr>
        <p:txBody>
          <a:bodyPr>
            <a:normAutofit/>
          </a:bodyPr>
          <a:lstStyle>
            <a:lvl1pPr>
              <a:defRPr sz="319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3780288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819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089" y="1220545"/>
            <a:ext cx="10128084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/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665" y="365760"/>
            <a:ext cx="5728748" cy="1121069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</a:t>
            </a:r>
            <a:br>
              <a:rPr lang="en-US"/>
            </a:br>
            <a:r>
              <a:rPr lang="en-US"/>
              <a:t>page 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355507" y="1484489"/>
            <a:ext cx="5738905" cy="417689"/>
          </a:xfrm>
          <a:prstGeom prst="rect">
            <a:avLst/>
          </a:prstGeom>
        </p:spPr>
        <p:txBody>
          <a:bodyPr lIns="0" rIns="0" anchor="t" anchorCtr="0"/>
          <a:lstStyle>
            <a:lvl1pPr marL="304724" indent="-304724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61858" y="2055285"/>
            <a:ext cx="5719859" cy="3905249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4831" indent="-226427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098" indent="-30684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47870978"/>
      </p:ext>
    </p:extLst>
  </p:cSld>
  <p:clrMapOvr>
    <a:masterClrMapping/>
  </p:clrMapOvr>
  <p:transition spd="med">
    <p:wipe dir="r"/>
  </p:transition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064959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352667"/>
            <a:ext cx="10900706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510345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211658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6216613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743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432216" y="1901951"/>
            <a:ext cx="5302576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85743" y="424085"/>
            <a:ext cx="10900705" cy="1258411"/>
          </a:xfrm>
          <a:prstGeom prst="rect">
            <a:avLst/>
          </a:prstGeom>
        </p:spPr>
        <p:txBody>
          <a:bodyPr lIns="0" bIns="0" anchor="b"/>
          <a:lstStyle>
            <a:lvl1pPr>
              <a:defRPr sz="37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800317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  <a:prstGeom prst="rect">
            <a:avLst/>
          </a:prstGeom>
        </p:spPr>
        <p:txBody>
          <a:bodyPr lIns="0" bIns="0" anchor="b"/>
          <a:lstStyle>
            <a:lvl1pPr>
              <a:defRPr sz="3199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570" y="2338251"/>
            <a:ext cx="3931213" cy="3530737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8427101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od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27038"/>
            <a:ext cx="11123612" cy="792162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rgbClr val="0070C0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1219200"/>
            <a:ext cx="1220406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040298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od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 userDrawn="1">
            <p:ph type="title"/>
          </p:nvPr>
        </p:nvSpPr>
        <p:spPr>
          <a:xfrm>
            <a:off x="532607" y="655638"/>
            <a:ext cx="11123612" cy="792162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447800"/>
            <a:ext cx="122497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F220BBD-3166-4C17-856F-123BF9092F25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947"/>
          <a:stretch/>
        </p:blipFill>
        <p:spPr>
          <a:xfrm>
            <a:off x="0" y="6580004"/>
            <a:ext cx="12194919" cy="27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77690"/>
      </p:ext>
    </p:extLst>
  </p:cSld>
  <p:clrMapOvr>
    <a:masterClrMapping/>
  </p:clrMapOvr>
  <p:transition spd="slow">
    <p:fade/>
  </p:transition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-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2607" y="655638"/>
            <a:ext cx="11123612" cy="792162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1447800"/>
            <a:ext cx="122497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1778573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2607" y="655638"/>
            <a:ext cx="11123612" cy="792162"/>
          </a:xfrm>
          <a:prstGeom prst="rect">
            <a:avLst/>
          </a:prstGeom>
        </p:spPr>
        <p:txBody>
          <a:bodyPr lIns="0" anchor="b"/>
          <a:lstStyle>
            <a:lvl1pPr>
              <a:defRPr sz="3599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31813" y="1600200"/>
            <a:ext cx="11125200" cy="4343400"/>
          </a:xfrm>
          <a:prstGeom prst="rect">
            <a:avLst/>
          </a:prstGeom>
        </p:spPr>
        <p:txBody>
          <a:bodyPr lIns="0" tIns="91440">
            <a:normAutofit/>
          </a:bodyPr>
          <a:lstStyle>
            <a:lvl1pPr marL="226945" indent="-226945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Webdings" panose="05030102010509060703" pitchFamily="18" charset="2"/>
              <a:buChar char=""/>
              <a:defRPr sz="2800">
                <a:solidFill>
                  <a:schemeClr val="bg2"/>
                </a:solidFill>
              </a:defRPr>
            </a:lvl1pPr>
            <a:lvl2pPr marL="458788" indent="-231775">
              <a:spcBef>
                <a:spcPts val="0"/>
              </a:spcBef>
              <a:spcAft>
                <a:spcPts val="1200"/>
              </a:spcAft>
              <a:defRPr sz="2400">
                <a:solidFill>
                  <a:schemeClr val="bg2"/>
                </a:solidFill>
              </a:defRPr>
            </a:lvl2pPr>
            <a:lvl3pPr marL="912813" indent="-225425">
              <a:spcBef>
                <a:spcPts val="0"/>
              </a:spcBef>
              <a:spcAft>
                <a:spcPts val="1200"/>
              </a:spcAft>
              <a:defRPr sz="1800">
                <a:solidFill>
                  <a:schemeClr val="bg2"/>
                </a:solidFill>
              </a:defRPr>
            </a:lvl3pPr>
            <a:lvl4pPr marL="1255713" indent="-227013"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bg2"/>
                </a:solidFill>
              </a:defRPr>
            </a:lvl4pPr>
            <a:lvl5pPr marL="1600200" indent="-225425"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447800"/>
            <a:ext cx="1224976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76936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663" y="362515"/>
            <a:ext cx="10604278" cy="630103"/>
          </a:xfrm>
          <a:prstGeom prst="rect">
            <a:avLst/>
          </a:prstGeom>
        </p:spPr>
        <p:txBody>
          <a:bodyPr lIns="0" rIns="0"/>
          <a:lstStyle>
            <a:lvl1pPr>
              <a:defRPr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1491464604"/>
      </p:ext>
    </p:extLst>
  </p:cSld>
  <p:clrMapOvr>
    <a:masterClrMapping/>
  </p:clrMapOvr>
  <p:transition spd="med">
    <p:wipe dir="r"/>
  </p:transition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458" y="185564"/>
            <a:ext cx="3333305" cy="798829"/>
          </a:xfrm>
          <a:prstGeom prst="rect">
            <a:avLst/>
          </a:prstGeom>
        </p:spPr>
        <p:txBody>
          <a:bodyPr/>
          <a:lstStyle>
            <a:lvl1pPr marL="0" algn="l" defTabSz="1217583" rtl="0" eaLnBrk="0" fontAlgn="base" latinLnBrk="0" hangingPunct="0">
              <a:lnSpc>
                <a:spcPts val="2292"/>
              </a:lnSpc>
              <a:spcBef>
                <a:spcPct val="0"/>
              </a:spcBef>
              <a:spcAft>
                <a:spcPct val="0"/>
              </a:spcAft>
              <a:defRPr lang="en-US" sz="2132" b="1" kern="12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26501" y="185564"/>
            <a:ext cx="8091461" cy="14541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09586" indent="0">
              <a:buNone/>
              <a:defRPr lang="en-US" sz="16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219170" indent="0">
              <a:buNone/>
              <a:defRPr lang="en-US" sz="16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828755" indent="0">
              <a:buNone/>
              <a:defRPr lang="en-US" sz="1600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438338" indent="0">
              <a:buNone/>
              <a:defRPr lang="en-US" sz="16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4913228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6281" y="127831"/>
            <a:ext cx="10521924" cy="444332"/>
          </a:xfrm>
          <a:prstGeom prst="rect">
            <a:avLst/>
          </a:prstGeom>
        </p:spPr>
        <p:txBody>
          <a:bodyPr vert="horz" lIns="91436" tIns="45718" rIns="91436" bIns="45718" anchor="ctr"/>
          <a:lstStyle>
            <a:lvl1pPr algn="l">
              <a:defRPr sz="2399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880515"/>
            <a:ext cx="12188825" cy="378044"/>
          </a:xfrm>
          <a:prstGeom prst="rect">
            <a:avLst/>
          </a:prstGeom>
        </p:spPr>
        <p:txBody>
          <a:bodyPr vert="horz" lIns="91436" tIns="45718" rIns="91436" bIns="45718"/>
          <a:lstStyle>
            <a:lvl1pPr marL="0" indent="0" algn="ctr">
              <a:buNone/>
              <a:defRPr sz="1467" baseline="0">
                <a:solidFill>
                  <a:srgbClr val="CAD5DA"/>
                </a:solidFill>
                <a:latin typeface="Arial"/>
                <a:cs typeface="Arial"/>
              </a:defRPr>
            </a:lvl1pPr>
            <a:lvl2pPr marL="609372" indent="0">
              <a:buNone/>
              <a:defRPr sz="1866">
                <a:solidFill>
                  <a:srgbClr val="FF0000"/>
                </a:solidFill>
                <a:latin typeface="Arial"/>
                <a:cs typeface="Arial"/>
              </a:defRPr>
            </a:lvl2pPr>
            <a:lvl3pPr marL="1218744" indent="0">
              <a:buNone/>
              <a:defRPr sz="1866">
                <a:solidFill>
                  <a:srgbClr val="FF0000"/>
                </a:solidFill>
                <a:latin typeface="Arial"/>
                <a:cs typeface="Arial"/>
              </a:defRPr>
            </a:lvl3pPr>
            <a:lvl4pPr marL="1828115" indent="0">
              <a:buNone/>
              <a:defRPr sz="1866">
                <a:solidFill>
                  <a:srgbClr val="FF0000"/>
                </a:solidFill>
                <a:latin typeface="Arial"/>
                <a:cs typeface="Arial"/>
              </a:defRPr>
            </a:lvl4pPr>
            <a:lvl5pPr marL="2437487" indent="0">
              <a:buNone/>
              <a:defRPr sz="1866">
                <a:solidFill>
                  <a:srgbClr val="FF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Basic table. Double-click to edit in Excel.</a:t>
            </a:r>
          </a:p>
        </p:txBody>
      </p:sp>
    </p:spTree>
    <p:extLst>
      <p:ext uri="{BB962C8B-B14F-4D97-AF65-F5344CB8AC3E}">
        <p14:creationId xmlns:p14="http://schemas.microsoft.com/office/powerpoint/2010/main" val="4215578885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632429" y="1109135"/>
            <a:ext cx="10944841" cy="4855633"/>
          </a:xfrm>
          <a:prstGeom prst="rect">
            <a:avLst/>
          </a:prstGeom>
        </p:spPr>
        <p:txBody>
          <a:bodyPr vert="horz"/>
          <a:lstStyle>
            <a:lvl1pPr>
              <a:defRPr sz="2399">
                <a:solidFill>
                  <a:schemeClr val="bg1"/>
                </a:solidFill>
                <a:latin typeface="Corbel" panose="020B0503020204020204" pitchFamily="34" charset="0"/>
                <a:cs typeface="Arial"/>
              </a:defRPr>
            </a:lvl1pPr>
            <a:lvl2pPr>
              <a:defRPr sz="2132">
                <a:solidFill>
                  <a:schemeClr val="bg1"/>
                </a:solidFill>
                <a:latin typeface="Corbel" panose="020B0503020204020204" pitchFamily="34" charset="0"/>
                <a:cs typeface="Arial"/>
              </a:defRPr>
            </a:lvl2pPr>
            <a:lvl3pPr>
              <a:defRPr sz="1866">
                <a:solidFill>
                  <a:schemeClr val="bg1"/>
                </a:solidFill>
                <a:latin typeface="Corbel" panose="020B0503020204020204" pitchFamily="34" charset="0"/>
                <a:cs typeface="Arial"/>
              </a:defRPr>
            </a:lvl3pPr>
            <a:lvl4pPr>
              <a:defRPr sz="1600">
                <a:solidFill>
                  <a:schemeClr val="bg1"/>
                </a:solidFill>
                <a:latin typeface="Corbel" panose="020B0503020204020204" pitchFamily="34" charset="0"/>
                <a:cs typeface="Arial"/>
              </a:defRPr>
            </a:lvl4pPr>
            <a:lvl5pPr>
              <a:defRPr sz="1600">
                <a:solidFill>
                  <a:schemeClr val="bg1"/>
                </a:solidFill>
                <a:latin typeface="Corbel" panose="020B0503020204020204" pitchFamily="34" charset="0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46277" y="127830"/>
            <a:ext cx="10521924" cy="444332"/>
          </a:xfrm>
          <a:prstGeom prst="rect">
            <a:avLst/>
          </a:prstGeom>
        </p:spPr>
        <p:txBody>
          <a:bodyPr vert="horz" anchor="ctr"/>
          <a:lstStyle>
            <a:lvl1pPr algn="l">
              <a:defRPr sz="2399" baseline="0">
                <a:solidFill>
                  <a:schemeClr val="bg1"/>
                </a:solidFill>
                <a:latin typeface="Corbel" panose="020B0503020204020204" pitchFamily="34" charset="0"/>
                <a:cs typeface="Arial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74299764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534701"/>
      </p:ext>
    </p:extLst>
  </p:cSld>
  <p:clrMapOvr>
    <a:masterClrMapping/>
  </p:clrMapOvr>
  <p:transition spd="med"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91"/>
          <a:stretch/>
        </p:blipFill>
        <p:spPr>
          <a:xfrm>
            <a:off x="0" y="-6141"/>
            <a:ext cx="12188825" cy="6914941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-39297" y="-9560"/>
            <a:ext cx="12228123" cy="691836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  <a:lumMod val="0"/>
                </a:schemeClr>
              </a:gs>
              <a:gs pos="100000">
                <a:schemeClr val="bg2"/>
              </a:gs>
            </a:gsLst>
            <a:lin ang="9000000" scaled="0"/>
            <a:tileRect/>
          </a:gradFill>
          <a:effectLst/>
        </p:spPr>
        <p:txBody>
          <a:bodyPr wrap="square" lIns="234407" tIns="175806" rIns="175806" bIns="175806" rtlCol="0" anchor="ctr">
            <a:noAutofit/>
          </a:bodyPr>
          <a:lstStyle/>
          <a:p>
            <a:pPr algn="ctr" defTabSz="1172090" fontAlgn="auto">
              <a:lnSpc>
                <a:spcPct val="90000"/>
              </a:lnSpc>
              <a:spcBef>
                <a:spcPts val="769"/>
              </a:spcBef>
              <a:spcAft>
                <a:spcPts val="0"/>
              </a:spcAft>
            </a:pPr>
            <a:endParaRPr lang="en-US" sz="2563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665" y="2331028"/>
            <a:ext cx="9132156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198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0977" y="6451335"/>
            <a:ext cx="900999" cy="160720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/>
          <p:cNvSpPr txBox="1"/>
          <p:nvPr userDrawn="1"/>
        </p:nvSpPr>
        <p:spPr>
          <a:xfrm>
            <a:off x="768150" y="6676993"/>
            <a:ext cx="1205458" cy="1108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1218895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0" u="none" baseline="0">
                <a:solidFill>
                  <a:srgbClr val="7F7F7F"/>
                </a:solidFill>
                <a:latin typeface="+mn-lt"/>
              </a:rPr>
              <a:t>© Copyright 2017 Dell Inc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67951" y="6676993"/>
            <a:ext cx="125034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302026"/>
      </p:ext>
    </p:extLst>
  </p:cSld>
  <p:clrMapOvr>
    <a:masterClrMapping/>
  </p:clrMapOvr>
  <p:transition spd="med"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665" y="2331028"/>
            <a:ext cx="9132156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198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0977" y="6451335"/>
            <a:ext cx="900999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080079"/>
      </p:ext>
    </p:extLst>
  </p:cSld>
  <p:clrMapOvr>
    <a:masterClrMapping/>
  </p:clrMapOvr>
  <p:transition spd="med"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829" y="3009517"/>
            <a:ext cx="4060340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111490"/>
      </p:ext>
    </p:extLst>
  </p:cSld>
  <p:clrMapOvr>
    <a:masterClrMapping/>
  </p:clrMapOvr>
  <p:transition spd="med"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Carbon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829" y="3009517"/>
            <a:ext cx="4060340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738255"/>
      </p:ext>
    </p:extLst>
  </p:cSld>
  <p:clrMapOvr>
    <a:masterClrMapping/>
  </p:clrMapOvr>
  <p:transition spd="med"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829" y="3009517"/>
            <a:ext cx="4060340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085917"/>
      </p:ext>
    </p:extLst>
  </p:cSld>
  <p:clrMapOvr>
    <a:masterClrMapping/>
  </p:clrMapOvr>
  <p:transition spd="med"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2334" y="6147171"/>
            <a:ext cx="464763" cy="464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1706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Edi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516" y="470067"/>
            <a:ext cx="1422932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5222" y="5999446"/>
            <a:ext cx="4915448" cy="621324"/>
            <a:chOff x="274638" y="4554931"/>
            <a:chExt cx="5015318" cy="63369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015318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16" y="1834505"/>
            <a:ext cx="5597771" cy="1022668"/>
          </a:xfrm>
          <a:prstGeom prst="rect">
            <a:avLst/>
          </a:prstGeom>
          <a:noFill/>
        </p:spPr>
        <p:txBody>
          <a:bodyPr wrap="none" lIns="179239" tIns="143391" rIns="179239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3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CD16D0-030B-4E01-8C7E-8FA7B612BB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27044" y="1834504"/>
            <a:ext cx="6273341" cy="1028551"/>
          </a:xfrm>
        </p:spPr>
        <p:txBody>
          <a:bodyPr lIns="182880" tIns="146304" rIns="182880" bIns="146304"/>
          <a:lstStyle>
            <a:lvl1pPr marL="0" indent="0">
              <a:buNone/>
              <a:defRPr sz="5293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202044" y="2599698"/>
            <a:ext cx="5659940" cy="1022668"/>
          </a:xfrm>
          <a:prstGeom prst="rect">
            <a:avLst/>
          </a:prstGeom>
          <a:noFill/>
        </p:spPr>
        <p:txBody>
          <a:bodyPr wrap="square" lIns="179239" tIns="143391" rIns="179239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3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EA71668-2A88-4115-853E-BEC05FB59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27044" y="2599697"/>
            <a:ext cx="6273341" cy="1028551"/>
          </a:xfrm>
        </p:spPr>
        <p:txBody>
          <a:bodyPr lIns="182880" tIns="146304" rIns="182880" bIns="146304"/>
          <a:lstStyle>
            <a:lvl1pPr marL="0" indent="0">
              <a:buNone/>
              <a:defRPr sz="5293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202044" y="3378028"/>
            <a:ext cx="5659940" cy="1022668"/>
          </a:xfrm>
          <a:prstGeom prst="rect">
            <a:avLst/>
          </a:prstGeom>
          <a:noFill/>
        </p:spPr>
        <p:txBody>
          <a:bodyPr wrap="square" lIns="179239" tIns="143391" rIns="179239" bIns="143391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US" sz="5293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46AE5335-01B3-4932-AE7C-C7409C947F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7044" y="3378027"/>
            <a:ext cx="6273341" cy="1028551"/>
          </a:xfrm>
        </p:spPr>
        <p:txBody>
          <a:bodyPr lIns="182880" tIns="146304" rIns="182880" bIns="146304"/>
          <a:lstStyle>
            <a:lvl1pPr marL="0" indent="0">
              <a:buNone/>
              <a:defRPr sz="5293"/>
            </a:lvl1pPr>
          </a:lstStyle>
          <a:p>
            <a:pPr lvl="0"/>
            <a:r>
              <a:rPr lang="en-US"/>
              <a:t>&lt;theme word here&gt;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6006" y="4143221"/>
            <a:ext cx="6119773" cy="1022668"/>
          </a:xfrm>
          <a:prstGeom prst="rect">
            <a:avLst/>
          </a:prstGeom>
          <a:noFill/>
        </p:spPr>
        <p:txBody>
          <a:bodyPr wrap="none" lIns="179239" tIns="143391" rIns="179239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3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2187106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089" y="1220545"/>
            <a:ext cx="10128084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/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Microsoft Ready -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516" y="470067"/>
            <a:ext cx="1422932" cy="304828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6855222" y="5999446"/>
            <a:ext cx="4915448" cy="621324"/>
            <a:chOff x="274638" y="4554931"/>
            <a:chExt cx="5015318" cy="633694"/>
          </a:xfrm>
        </p:grpSpPr>
        <p:sp>
          <p:nvSpPr>
            <p:cNvPr id="7" name="TextBox 6"/>
            <p:cNvSpPr txBox="1"/>
            <p:nvPr userDrawn="1"/>
          </p:nvSpPr>
          <p:spPr>
            <a:xfrm>
              <a:off x="274638" y="4554931"/>
              <a:ext cx="5015318" cy="63369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2353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s Vegas, Nevada	July 17–21, 2017</a:t>
              </a:r>
            </a:p>
          </p:txBody>
        </p:sp>
        <p:cxnSp>
          <p:nvCxnSpPr>
            <p:cNvPr id="10" name="Straight Connector 9"/>
            <p:cNvCxnSpPr>
              <a:cxnSpLocks/>
            </p:cNvCxnSpPr>
            <p:nvPr userDrawn="1"/>
          </p:nvCxnSpPr>
          <p:spPr>
            <a:xfrm>
              <a:off x="3059781" y="4673270"/>
              <a:ext cx="0" cy="365756"/>
            </a:xfrm>
            <a:prstGeom prst="line">
              <a:avLst/>
            </a:prstGeom>
            <a:ln w="158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056C9DEE-6F0F-4952-B2B1-A47AFA7F3DE1}"/>
              </a:ext>
            </a:extLst>
          </p:cNvPr>
          <p:cNvSpPr txBox="1"/>
          <p:nvPr userDrawn="1"/>
        </p:nvSpPr>
        <p:spPr>
          <a:xfrm>
            <a:off x="221316" y="1834505"/>
            <a:ext cx="7730599" cy="1022668"/>
          </a:xfrm>
          <a:prstGeom prst="rect">
            <a:avLst/>
          </a:prstGeom>
          <a:noFill/>
        </p:spPr>
        <p:txBody>
          <a:bodyPr wrap="none" lIns="179239" tIns="143391" rIns="179239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3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Microsoft Ready to believ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3994D1-B42D-4DF0-86D5-48A780335374}"/>
              </a:ext>
            </a:extLst>
          </p:cNvPr>
          <p:cNvSpPr txBox="1"/>
          <p:nvPr userDrawn="1"/>
        </p:nvSpPr>
        <p:spPr>
          <a:xfrm>
            <a:off x="4926006" y="2599698"/>
            <a:ext cx="5659940" cy="1022668"/>
          </a:xfrm>
          <a:prstGeom prst="rect">
            <a:avLst/>
          </a:prstGeom>
          <a:noFill/>
        </p:spPr>
        <p:txBody>
          <a:bodyPr wrap="square" lIns="179239" tIns="143391" rIns="179239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3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explore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274CE8-0669-40AC-B5B3-94E0883E20B7}"/>
              </a:ext>
            </a:extLst>
          </p:cNvPr>
          <p:cNvSpPr txBox="1"/>
          <p:nvPr userDrawn="1"/>
        </p:nvSpPr>
        <p:spPr>
          <a:xfrm>
            <a:off x="4926006" y="3378028"/>
            <a:ext cx="5659940" cy="1022668"/>
          </a:xfrm>
          <a:prstGeom prst="rect">
            <a:avLst/>
          </a:prstGeom>
          <a:noFill/>
        </p:spPr>
        <p:txBody>
          <a:bodyPr wrap="square" lIns="179239" tIns="143391" rIns="179239" bIns="143391" rtlCol="0">
            <a:sp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5293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w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1E864-D76C-4EE8-B187-3A722343D017}"/>
              </a:ext>
            </a:extLst>
          </p:cNvPr>
          <p:cNvSpPr txBox="1"/>
          <p:nvPr userDrawn="1"/>
        </p:nvSpPr>
        <p:spPr>
          <a:xfrm>
            <a:off x="4926006" y="4143221"/>
            <a:ext cx="6119773" cy="1022668"/>
          </a:xfrm>
          <a:prstGeom prst="rect">
            <a:avLst/>
          </a:prstGeom>
          <a:noFill/>
        </p:spPr>
        <p:txBody>
          <a:bodyPr wrap="none" lIns="179239" tIns="143391" rIns="179239" bIns="143391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5293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to keep transforming</a:t>
            </a:r>
          </a:p>
        </p:txBody>
      </p:sp>
    </p:spTree>
    <p:extLst>
      <p:ext uri="{BB962C8B-B14F-4D97-AF65-F5344CB8AC3E}">
        <p14:creationId xmlns:p14="http://schemas.microsoft.com/office/powerpoint/2010/main" val="30409631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233" y="2742635"/>
            <a:ext cx="8961851" cy="917752"/>
          </a:xfrm>
          <a:noFill/>
        </p:spPr>
        <p:txBody>
          <a:bodyPr lIns="146304" tIns="91440" rIns="146304" bIns="91440" anchor="b" anchorCtr="0">
            <a:spAutoFit/>
          </a:bodyPr>
          <a:lstStyle>
            <a:lvl1pPr>
              <a:defRPr sz="5293" spc="-49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31" y="3878575"/>
            <a:ext cx="8961852" cy="67563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516" y="470067"/>
            <a:ext cx="1422932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503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1" y="1340936"/>
            <a:ext cx="11652043" cy="2328587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41" indent="0">
              <a:buNone/>
              <a:defRPr/>
            </a:lvl2pPr>
            <a:lvl3pPr marL="448081" indent="0">
              <a:buNone/>
              <a:defRPr/>
            </a:lvl3pPr>
            <a:lvl4pPr marL="672123" indent="0">
              <a:buNone/>
              <a:defRPr/>
            </a:lvl4pPr>
            <a:lvl5pPr marL="8961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555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233" y="1340936"/>
            <a:ext cx="11652043" cy="2328587"/>
          </a:xfr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488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2" y="1340935"/>
            <a:ext cx="5377147" cy="214759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491" indent="0">
              <a:buFont typeface="Wingdings" panose="05000000000000000000" pitchFamily="2" charset="2"/>
              <a:buNone/>
              <a:defRPr sz="2353" b="0"/>
            </a:lvl2pPr>
            <a:lvl3pPr marL="441858" indent="0">
              <a:buFont typeface="Wingdings" panose="05000000000000000000" pitchFamily="2" charset="2"/>
              <a:buNone/>
              <a:tabLst/>
              <a:defRPr sz="2157" b="0"/>
            </a:lvl3pPr>
            <a:lvl4pPr marL="639448" indent="0">
              <a:buFont typeface="Wingdings" panose="05000000000000000000" pitchFamily="2" charset="2"/>
              <a:buNone/>
              <a:defRPr sz="2157" b="0"/>
            </a:lvl4pPr>
            <a:lvl5pPr marL="837041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1" y="1340936"/>
            <a:ext cx="5377147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491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85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44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041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091" marR="0" lvl="0" indent="-504091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504091" marR="0" lvl="1" indent="-504091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091" marR="0" lvl="2" indent="-504091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091" marR="0" lvl="3" indent="-504091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091" marR="0" lvl="4" indent="-504091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185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172" y="1340935"/>
            <a:ext cx="5377147" cy="2147596"/>
          </a:xfrm>
        </p:spPr>
        <p:txBody>
          <a:bodyPr wrap="square">
            <a:spAutoFit/>
          </a:bodyPr>
          <a:lstStyle>
            <a:lvl1pPr marL="227153" indent="-227153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521" indent="-168030">
              <a:buFont typeface="Wingdings" panose="05000000000000000000" pitchFamily="2" charset="2"/>
              <a:buChar char=""/>
              <a:defRPr sz="2353" b="0"/>
            </a:lvl2pPr>
            <a:lvl3pPr marL="627003" indent="-185144">
              <a:buFont typeface="Wingdings" panose="05000000000000000000" pitchFamily="2" charset="2"/>
              <a:buChar char=""/>
              <a:tabLst/>
              <a:defRPr sz="2157" b="0"/>
            </a:lvl3pPr>
            <a:lvl4pPr marL="812148" indent="-172699">
              <a:buFont typeface="Wingdings" panose="05000000000000000000" pitchFamily="2" charset="2"/>
              <a:buChar char=""/>
              <a:defRPr sz="2157" b="0"/>
            </a:lvl4pPr>
            <a:lvl5pPr marL="1003516" indent="-166476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2511" y="1340936"/>
            <a:ext cx="5377147" cy="2429576"/>
          </a:xfrm>
        </p:spPr>
        <p:txBody>
          <a:bodyPr wrap="square">
            <a:spAutoFit/>
          </a:bodyPr>
          <a:lstStyle>
            <a:lvl1pPr marL="281607" indent="-28160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552" indent="-336061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7919" indent="-336061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509" indent="-336061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101" indent="-336061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153" marR="0" lvl="0" indent="-227153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27153" marR="0" lvl="1" indent="-227153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153" marR="0" lvl="2" indent="-227153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153" marR="0" lvl="3" indent="-227153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153" marR="0" lvl="4" indent="-227153" algn="l" defTabSz="91413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659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78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_white content are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>
            <a:off x="1212" y="1514549"/>
            <a:ext cx="12187960" cy="5343451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71" y="436539"/>
            <a:ext cx="11559238" cy="727571"/>
          </a:xfrm>
        </p:spPr>
        <p:txBody>
          <a:bodyPr anchor="ctr">
            <a:spAutoFit/>
          </a:bodyPr>
          <a:lstStyle>
            <a:lvl1pPr>
              <a:defRPr sz="392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9522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5129E-6 -4.13073E-6 L -0.00076 0.4541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226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Day - title middle alig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237C4E-EC0C-4546-99B3-8F6ABD38C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5129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r actions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119E9-FA08-4334-962F-0161634D3BCB}"/>
              </a:ext>
            </a:extLst>
          </p:cNvPr>
          <p:cNvSpPr/>
          <p:nvPr userDrawn="1"/>
        </p:nvSpPr>
        <p:spPr bwMode="auto">
          <a:xfrm flipV="1">
            <a:off x="1212" y="2"/>
            <a:ext cx="12187960" cy="151455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9" tIns="143391" rIns="179239" bIns="1433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8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71" y="536269"/>
            <a:ext cx="10293085" cy="727571"/>
          </a:xfrm>
        </p:spPr>
        <p:txBody>
          <a:bodyPr anchor="ctr">
            <a:spAutoFit/>
          </a:bodyPr>
          <a:lstStyle>
            <a:lvl1pPr>
              <a:defRPr sz="3920" spc="-29" baseline="0">
                <a:gradFill>
                  <a:gsLst>
                    <a:gs pos="9738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F51005-8720-4593-9FA0-697D481462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170" y="1977173"/>
            <a:ext cx="11328440" cy="2206939"/>
          </a:xfrm>
        </p:spPr>
        <p:txBody>
          <a:bodyPr/>
          <a:lstStyle>
            <a:lvl1pPr marL="336061" indent="-336061">
              <a:spcBef>
                <a:spcPts val="3528"/>
              </a:spcBef>
              <a:spcAft>
                <a:spcPts val="196"/>
              </a:spcAft>
              <a:buSzPct val="85000"/>
              <a:buFontTx/>
              <a:buBlip>
                <a:blip r:embed="rId2"/>
              </a:buBlip>
              <a:defRPr sz="2745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  <a:lvl2pPr marL="728133" indent="-280051">
              <a:defRPr sz="2549"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2pPr>
            <a:lvl3pPr marL="843264" indent="-224041"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3pPr>
            <a:lvl4pPr marL="1067304" indent="-224041" defTabSz="955284"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4pPr>
            <a:lvl5pPr marL="1344243" indent="-224041">
              <a:defRPr>
                <a:gradFill>
                  <a:gsLst>
                    <a:gs pos="76030">
                      <a:schemeClr val="tx1"/>
                    </a:gs>
                    <a:gs pos="59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list_4">
            <a:extLst>
              <a:ext uri="{FF2B5EF4-FFF2-40B4-BE49-F238E27FC236}">
                <a16:creationId xmlns:a16="http://schemas.microsoft.com/office/drawing/2014/main" id="{CD5B59B1-A081-4E17-A31F-6C39635AB4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067234" y="575152"/>
            <a:ext cx="530377" cy="358621"/>
          </a:xfrm>
          <a:custGeom>
            <a:avLst/>
            <a:gdLst>
              <a:gd name="T0" fmla="*/ 90 w 253"/>
              <a:gd name="T1" fmla="*/ 24 h 171"/>
              <a:gd name="T2" fmla="*/ 253 w 253"/>
              <a:gd name="T3" fmla="*/ 24 h 171"/>
              <a:gd name="T4" fmla="*/ 90 w 253"/>
              <a:gd name="T5" fmla="*/ 73 h 171"/>
              <a:gd name="T6" fmla="*/ 253 w 253"/>
              <a:gd name="T7" fmla="*/ 73 h 171"/>
              <a:gd name="T8" fmla="*/ 90 w 253"/>
              <a:gd name="T9" fmla="*/ 121 h 171"/>
              <a:gd name="T10" fmla="*/ 253 w 253"/>
              <a:gd name="T11" fmla="*/ 121 h 171"/>
              <a:gd name="T12" fmla="*/ 90 w 253"/>
              <a:gd name="T13" fmla="*/ 171 h 171"/>
              <a:gd name="T14" fmla="*/ 253 w 253"/>
              <a:gd name="T15" fmla="*/ 171 h 171"/>
              <a:gd name="T16" fmla="*/ 0 w 253"/>
              <a:gd name="T17" fmla="*/ 23 h 171"/>
              <a:gd name="T18" fmla="*/ 17 w 253"/>
              <a:gd name="T19" fmla="*/ 40 h 171"/>
              <a:gd name="T20" fmla="*/ 58 w 253"/>
              <a:gd name="T21" fmla="*/ 0 h 171"/>
              <a:gd name="T22" fmla="*/ 0 w 253"/>
              <a:gd name="T23" fmla="*/ 121 h 171"/>
              <a:gd name="T24" fmla="*/ 17 w 253"/>
              <a:gd name="T25" fmla="*/ 138 h 171"/>
              <a:gd name="T26" fmla="*/ 58 w 253"/>
              <a:gd name="T27" fmla="*/ 98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53" h="171">
                <a:moveTo>
                  <a:pt x="90" y="24"/>
                </a:moveTo>
                <a:lnTo>
                  <a:pt x="253" y="24"/>
                </a:lnTo>
                <a:moveTo>
                  <a:pt x="90" y="73"/>
                </a:moveTo>
                <a:lnTo>
                  <a:pt x="253" y="73"/>
                </a:lnTo>
                <a:moveTo>
                  <a:pt x="90" y="121"/>
                </a:moveTo>
                <a:lnTo>
                  <a:pt x="253" y="121"/>
                </a:lnTo>
                <a:moveTo>
                  <a:pt x="90" y="171"/>
                </a:moveTo>
                <a:lnTo>
                  <a:pt x="253" y="171"/>
                </a:lnTo>
                <a:moveTo>
                  <a:pt x="0" y="23"/>
                </a:moveTo>
                <a:lnTo>
                  <a:pt x="17" y="40"/>
                </a:lnTo>
                <a:lnTo>
                  <a:pt x="58" y="0"/>
                </a:lnTo>
                <a:moveTo>
                  <a:pt x="0" y="121"/>
                </a:moveTo>
                <a:lnTo>
                  <a:pt x="17" y="138"/>
                </a:lnTo>
                <a:lnTo>
                  <a:pt x="58" y="98"/>
                </a:lnTo>
              </a:path>
            </a:pathLst>
          </a:custGeom>
          <a:noFill/>
          <a:ln w="15875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/>
          <a:p>
            <a:endParaRPr lang="en-US" sz="1765"/>
          </a:p>
        </p:txBody>
      </p:sp>
    </p:spTree>
    <p:extLst>
      <p:ext uri="{BB962C8B-B14F-4D97-AF65-F5344CB8AC3E}">
        <p14:creationId xmlns:p14="http://schemas.microsoft.com/office/powerpoint/2010/main" val="238956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83789E-6 -4.74807E-6 L 4.83789E-6 -0.07035 " pathEditMode="relative" rAng="0" ptsTypes="AA">
                                      <p:cBhvr>
                                        <p:cTn id="13" dur="7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518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4.26347E-6 4.24421E-6 L 4.26347E-6 0.08987 " pathEditMode="relative" rAng="0" ptsTypes="AA">
                                      <p:cBhvr>
                                        <p:cTn id="23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2" grpId="1"/>
      <p:bldP spid="4" grpId="0">
        <p:tmplLst>
          <p:tmpl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300"/>
                  </p:stCondLst>
                  <p:childTnLst>
                    <p:animMotion origin="layout" path="M 4.26347E-6 4.24421E-6 L 4.26347E-6 0.08987 " pathEditMode="relative" rAng="0" ptsTypes="AA">
                      <p:cBhvr>
                        <p:cTn dur="750" spd="-100000" fill="hold"/>
                        <p:tgtEl>
                          <p:spTgt spid="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4494"/>
                    </p:animMotion>
                  </p:childTnLst>
                </p:cTn>
              </p:par>
            </p:tnLst>
          </p:tmpl>
        </p:tmplLst>
      </p:bldP>
      <p:bldP spid="5" grpId="0" animBg="1"/>
      <p:bldP spid="5" grpId="1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255" y="5221411"/>
            <a:ext cx="10386438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797" y="2054069"/>
            <a:ext cx="10626896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69" y="2735387"/>
            <a:ext cx="9856549" cy="917752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293" spc="-49" baseline="0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170" y="3877278"/>
            <a:ext cx="9858107" cy="67563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2745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154263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0" y="2739270"/>
            <a:ext cx="9856549" cy="917752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293" spc="-49" baseline="0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391219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0" y="2739270"/>
            <a:ext cx="11650488" cy="917752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293" spc="-99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20974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0" y="2739270"/>
            <a:ext cx="11650488" cy="917752"/>
          </a:xfrm>
          <a:noFill/>
        </p:spPr>
        <p:txBody>
          <a:bodyPr vert="horz" wrap="square" lIns="146304" tIns="91440" rIns="146304" bIns="91440" rtlCol="0" anchor="b" anchorCtr="0">
            <a:spAutoFit/>
          </a:bodyPr>
          <a:lstStyle>
            <a:lvl1pPr>
              <a:defRPr lang="en-US" sz="5293" spc="-49" baseline="0" dirty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76004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71" y="2685144"/>
            <a:ext cx="4794624" cy="1487715"/>
          </a:xfrm>
        </p:spPr>
        <p:txBody>
          <a:bodyPr wrap="square" anchor="ctr">
            <a:spAutoFit/>
          </a:bodyPr>
          <a:lstStyle>
            <a:lvl1pPr>
              <a:defRPr sz="4704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</p:spTree>
    <p:extLst>
      <p:ext uri="{BB962C8B-B14F-4D97-AF65-F5344CB8AC3E}">
        <p14:creationId xmlns:p14="http://schemas.microsoft.com/office/powerpoint/2010/main" val="1508595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4568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5476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100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88825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1" tIns="45711" rIns="45711" bIns="457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874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169" y="1337046"/>
            <a:ext cx="11650488" cy="2287721"/>
          </a:xfrm>
        </p:spPr>
        <p:txBody>
          <a:bodyPr/>
          <a:lstStyle>
            <a:lvl1pPr marL="0" indent="0">
              <a:buNone/>
              <a:defRPr sz="3234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64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294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3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03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792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170" y="6099191"/>
            <a:ext cx="4480957" cy="46752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9" tIns="179239" rIns="179239" bIns="179239" numCol="1" anchor="t" anchorCtr="0" compatLnSpc="1">
            <a:prstTxWarp prst="textNoShape">
              <a:avLst/>
            </a:prstTxWarp>
            <a:spAutoFit/>
          </a:bodyPr>
          <a:lstStyle/>
          <a:p>
            <a:pPr defTabSz="913696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1516" y="470067"/>
            <a:ext cx="1422932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669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170" y="1189178"/>
            <a:ext cx="11650488" cy="2461101"/>
          </a:xfrm>
          <a:prstGeom prst="rect">
            <a:avLst/>
          </a:prstGeom>
        </p:spPr>
        <p:txBody>
          <a:bodyPr/>
          <a:lstStyle>
            <a:lvl1pPr marL="284719" indent="-284719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101" indent="-275384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819" indent="-284719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61" indent="-224041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902" indent="-224041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88826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2827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255" y="5221411"/>
            <a:ext cx="10386438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797" y="2054069"/>
            <a:ext cx="10626896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633830-2244-49AE-BC4A-47F415C177C6}" type="datetimeFigureOut">
              <a:rPr lang="en-US" dirty="0"/>
              <a:t>5/30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27A5A-7290-4DE1-BA94-4BE8A8E57DCF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7328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9" y="620432"/>
            <a:ext cx="11303525" cy="397545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3528" strike="noStrike" spc="-99" baseline="0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69417624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2" strike="noStrike" spc="-14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3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5877" y="440498"/>
            <a:ext cx="916934" cy="196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536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2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3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455879" y="440498"/>
            <a:ext cx="914550" cy="196431"/>
            <a:chOff x="465139" y="449264"/>
            <a:chExt cx="933131" cy="200341"/>
          </a:xfrm>
        </p:grpSpPr>
        <p:pic>
          <p:nvPicPr>
            <p:cNvPr id="97" name="Picture 96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6716" r="872" b="4064"/>
            <a:stretch/>
          </p:blipFill>
          <p:spPr bwMode="black">
            <a:xfrm>
              <a:off x="721996" y="459092"/>
              <a:ext cx="676274" cy="187779"/>
            </a:xfrm>
            <a:prstGeom prst="rect">
              <a:avLst/>
            </a:prstGeom>
          </p:spPr>
        </p:pic>
        <p:pic>
          <p:nvPicPr>
            <p:cNvPr id="64" name="MS logo gray - EMF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6414"/>
            <a:stretch/>
          </p:blipFill>
          <p:spPr bwMode="black">
            <a:xfrm>
              <a:off x="465139" y="449264"/>
              <a:ext cx="220661" cy="2003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98757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Sarah\Documents\_SSD_Business\Clients\BridgePartners\1517_BP_BCS_Ppts_Jessica\_BCS Photos\MSC17_slumLoveSweaters_00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888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 bwMode="auto">
          <a:xfrm>
            <a:off x="-1" y="0"/>
            <a:ext cx="12188826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10000"/>
                  <a:alpha val="68000"/>
                </a:schemeClr>
              </a:gs>
              <a:gs pos="69000">
                <a:schemeClr val="accent1">
                  <a:tint val="23500"/>
                  <a:satMod val="160000"/>
                  <a:alpha val="0"/>
                </a:schemeClr>
              </a:gs>
            </a:gsLst>
            <a:lin ang="18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69" rIns="179212" bIns="1433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2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BCS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3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2" y="0"/>
            <a:ext cx="4307069" cy="235512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5000"/>
                </a:schemeClr>
              </a:gs>
              <a:gs pos="62000">
                <a:schemeClr val="accent1">
                  <a:tint val="23500"/>
                  <a:satMod val="160000"/>
                  <a:alpha val="0"/>
                </a:schemeClr>
              </a:gs>
            </a:gsLst>
            <a:lin ang="30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69" rIns="179212" bIns="1433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716" r="872" b="4064"/>
          <a:stretch/>
        </p:blipFill>
        <p:spPr bwMode="black">
          <a:xfrm>
            <a:off x="707619" y="450131"/>
            <a:ext cx="662807" cy="184115"/>
          </a:xfrm>
          <a:prstGeom prst="rect">
            <a:avLst/>
          </a:prstGeom>
        </p:spPr>
      </p:pic>
      <p:pic>
        <p:nvPicPr>
          <p:cNvPr id="14" name="MS logo gray - EMF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6414"/>
          <a:stretch/>
        </p:blipFill>
        <p:spPr bwMode="black">
          <a:xfrm>
            <a:off x="455879" y="440498"/>
            <a:ext cx="216266" cy="196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627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3" descr="C:\Users\Sarah\Documents\_SSD_Business\Clients\BridgePartners\1517_BP_BCS_Ppts_Jessica\_BCS Photos\MSC17_ILSI_006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88825" cy="688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 bwMode="auto">
          <a:xfrm>
            <a:off x="-1" y="0"/>
            <a:ext cx="12188826" cy="688922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10000"/>
                  <a:alpha val="68000"/>
                </a:schemeClr>
              </a:gs>
              <a:gs pos="69000">
                <a:schemeClr val="accent1">
                  <a:tint val="23500"/>
                  <a:satMod val="160000"/>
                  <a:alpha val="0"/>
                </a:schemeClr>
              </a:gs>
            </a:gsLst>
            <a:lin ang="186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69" rIns="179212" bIns="1433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875" y="2977055"/>
            <a:ext cx="8065722" cy="1793104"/>
          </a:xfrm>
          <a:noFill/>
        </p:spPr>
        <p:txBody>
          <a:bodyPr lIns="0" tIns="91440" rIns="146304" bIns="91440" anchor="b" anchorCtr="0"/>
          <a:lstStyle>
            <a:lvl1pPr>
              <a:defRPr sz="5292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BCS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633" y="4736473"/>
            <a:ext cx="8357631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2" y="0"/>
            <a:ext cx="4307069" cy="2355123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5000"/>
                </a:schemeClr>
              </a:gs>
              <a:gs pos="62000">
                <a:schemeClr val="accent1">
                  <a:tint val="23500"/>
                  <a:satMod val="160000"/>
                  <a:alpha val="0"/>
                </a:schemeClr>
              </a:gs>
            </a:gsLst>
            <a:lin ang="3000000" scaled="0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12" tIns="143369" rIns="179212" bIns="1433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6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716" r="872" b="4064"/>
          <a:stretch/>
        </p:blipFill>
        <p:spPr bwMode="black">
          <a:xfrm>
            <a:off x="707619" y="450131"/>
            <a:ext cx="662807" cy="184115"/>
          </a:xfrm>
          <a:prstGeom prst="rect">
            <a:avLst/>
          </a:prstGeom>
        </p:spPr>
      </p:pic>
      <p:pic>
        <p:nvPicPr>
          <p:cNvPr id="14" name="MS logo gray - EMF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6414"/>
          <a:stretch/>
        </p:blipFill>
        <p:spPr bwMode="black">
          <a:xfrm>
            <a:off x="455879" y="440498"/>
            <a:ext cx="216266" cy="196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367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941694"/>
            <a:ext cx="3617439" cy="899665"/>
          </a:xfrm>
        </p:spPr>
        <p:txBody>
          <a:bodyPr lIns="0" tIns="0" rIns="0" bIns="0"/>
          <a:lstStyle>
            <a:lvl1pPr>
              <a:defRPr sz="1765" spc="-4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8220" y="941694"/>
            <a:ext cx="3836819" cy="3786999"/>
          </a:xfrm>
        </p:spPr>
        <p:txBody>
          <a:bodyPr wrap="square" lIns="0" tIns="0" rIns="0" bIns="0">
            <a:noAutofit/>
          </a:bodyPr>
          <a:lstStyle>
            <a:lvl1pPr marL="0" indent="0" defTabSz="507107">
              <a:buNone/>
              <a:defRPr sz="1765" spc="-49" baseline="0">
                <a:solidFill>
                  <a:srgbClr val="2D78D7"/>
                </a:solidFill>
                <a:latin typeface="+mj-lt"/>
              </a:defRPr>
            </a:lvl1pPr>
            <a:lvl2pPr marL="223999" indent="0">
              <a:buNone/>
              <a:defRPr sz="1765"/>
            </a:lvl2pPr>
            <a:lvl3pPr marL="447995" indent="0">
              <a:buNone/>
              <a:defRPr sz="1765"/>
            </a:lvl3pPr>
            <a:lvl4pPr marL="671993" indent="0">
              <a:buNone/>
              <a:defRPr sz="1765"/>
            </a:lvl4pPr>
            <a:lvl5pPr marL="895991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67823685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877" y="1882334"/>
            <a:ext cx="11303525" cy="307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3999" indent="0">
              <a:buNone/>
              <a:defRPr/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3151388"/>
            <a:ext cx="11303525" cy="46166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37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Medium: paragraph title Segoe UI bold 14/18</a:t>
            </a:r>
          </a:p>
          <a:p>
            <a:pPr lvl="1"/>
            <a:r>
              <a:rPr lang="en-US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877" y="4390305"/>
            <a:ext cx="11303525" cy="307777"/>
          </a:xfrm>
        </p:spPr>
        <p:txBody>
          <a:bodyPr lIns="0" tIns="0" rIns="0" bIns="0"/>
          <a:lstStyle>
            <a:lvl1pPr marL="0" indent="0">
              <a:lnSpc>
                <a:spcPts val="1174"/>
              </a:lnSpc>
              <a:spcBef>
                <a:spcPts val="0"/>
              </a:spcBef>
              <a:buNone/>
              <a:defRPr sz="980">
                <a:solidFill>
                  <a:schemeClr val="tx1"/>
                </a:solidFill>
              </a:defRPr>
            </a:lvl1pPr>
            <a:lvl2pPr marL="0" indent="0">
              <a:lnSpc>
                <a:spcPts val="1174"/>
              </a:lnSpc>
              <a:spcBef>
                <a:spcPts val="0"/>
              </a:spcBef>
              <a:buNone/>
              <a:defRPr sz="98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Small: caption title Segoe </a:t>
            </a:r>
            <a:r>
              <a:rPr lang="en-US" err="1"/>
              <a:t>Semibold</a:t>
            </a:r>
            <a:r>
              <a:rPr lang="en-US"/>
              <a:t> 10/12</a:t>
            </a:r>
          </a:p>
          <a:p>
            <a:pPr lvl="1"/>
            <a:r>
              <a:rPr lang="en-US"/>
              <a:t>Caption Segoe Regular 10/12</a:t>
            </a:r>
          </a:p>
        </p:txBody>
      </p:sp>
    </p:spTree>
    <p:extLst>
      <p:ext uri="{BB962C8B-B14F-4D97-AF65-F5344CB8AC3E}">
        <p14:creationId xmlns:p14="http://schemas.microsoft.com/office/powerpoint/2010/main" val="773115182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878" y="1882331"/>
            <a:ext cx="7452703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3999" indent="0">
              <a:buNone/>
              <a:defRPr/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Subhead Segoe UI Regular 20/24. Dis </a:t>
            </a:r>
            <a:r>
              <a:rPr lang="en-US" err="1"/>
              <a:t>apid</a:t>
            </a:r>
            <a:r>
              <a:rPr lang="en-US"/>
              <a:t> </a:t>
            </a:r>
            <a:r>
              <a:rPr lang="en-US" err="1"/>
              <a:t>es</a:t>
            </a:r>
            <a:r>
              <a:rPr lang="en-US"/>
              <a:t>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vit</a:t>
            </a:r>
            <a:r>
              <a:rPr lang="en-US"/>
              <a:t>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r>
              <a:rPr lang="en-US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7" y="3151392"/>
            <a:ext cx="3617439" cy="269304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0" b="1">
                <a:solidFill>
                  <a:srgbClr val="2D78D7"/>
                </a:solidFill>
                <a:latin typeface="+mn-lt"/>
              </a:defRPr>
            </a:lvl1pPr>
            <a:lvl2pPr marL="279997" marR="0" indent="-279997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79997" marR="0" lvl="1" indent="-279997" algn="l" defTabSz="913963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11988" y="3160785"/>
            <a:ext cx="3596591" cy="2693045"/>
          </a:xfrm>
        </p:spPr>
        <p:txBody>
          <a:bodyPr lIns="0" tIns="0" rIns="0" bIns="0"/>
          <a:lstStyle>
            <a:lvl1pPr marL="0" marR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279997" marR="0" indent="-279997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79997" marR="0" lvl="1" indent="-279997" algn="l" defTabSz="913963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38227" y="3151392"/>
            <a:ext cx="3621174" cy="269304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279997" marR="0" indent="-279997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79997" marR="0" lvl="1" indent="-279997" algn="l" defTabSz="913963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012390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877" y="620430"/>
            <a:ext cx="11303525" cy="410369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5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879" y="1966313"/>
            <a:ext cx="5540515" cy="3847207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8223" y="1956352"/>
            <a:ext cx="5540515" cy="3847207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0" b="1" kern="1200" spc="0" baseline="0" dirty="0">
                <a:solidFill>
                  <a:srgbClr val="2D78D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3963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0">
                <a:solidFill>
                  <a:schemeClr val="tx1"/>
                </a:solidFill>
              </a:defRPr>
            </a:lvl2pPr>
            <a:lvl3pPr marL="447995" indent="0">
              <a:buNone/>
              <a:defRPr/>
            </a:lvl3pPr>
            <a:lvl4pPr marL="671993" indent="0">
              <a:buNone/>
              <a:defRPr/>
            </a:lvl4pPr>
            <a:lvl5pPr marL="895991" indent="0">
              <a:buNone/>
              <a:defRPr/>
            </a:lvl5pPr>
          </a:lstStyle>
          <a:p>
            <a:pPr marL="0" marR="0" lvl="0" indent="0" algn="l" defTabSz="913963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</p:spTree>
    <p:extLst>
      <p:ext uri="{BB962C8B-B14F-4D97-AF65-F5344CB8AC3E}">
        <p14:creationId xmlns:p14="http://schemas.microsoft.com/office/powerpoint/2010/main" val="20656478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image" Target="../media/image24.emf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theme" Target="../theme/theme11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image" Target="../media/image24.emf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theme" Target="../theme/theme12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slideLayout" Target="../slideLayouts/slideLayout141.xml"/><Relationship Id="rId39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49.xml"/><Relationship Id="rId42" Type="http://schemas.openxmlformats.org/officeDocument/2006/relationships/image" Target="../media/image24.emf"/><Relationship Id="rId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29" Type="http://schemas.openxmlformats.org/officeDocument/2006/relationships/slideLayout" Target="../slideLayouts/slideLayout144.xml"/><Relationship Id="rId41" Type="http://schemas.openxmlformats.org/officeDocument/2006/relationships/theme" Target="../theme/theme13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32" Type="http://schemas.openxmlformats.org/officeDocument/2006/relationships/slideLayout" Target="../slideLayouts/slideLayout147.xml"/><Relationship Id="rId37" Type="http://schemas.openxmlformats.org/officeDocument/2006/relationships/slideLayout" Target="../slideLayouts/slideLayout152.xml"/><Relationship Id="rId40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slideLayout" Target="../slideLayouts/slideLayout143.xml"/><Relationship Id="rId36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31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Relationship Id="rId30" Type="http://schemas.openxmlformats.org/officeDocument/2006/relationships/slideLayout" Target="../slideLayouts/slideLayout145.xml"/><Relationship Id="rId35" Type="http://schemas.openxmlformats.org/officeDocument/2006/relationships/slideLayout" Target="../slideLayouts/slideLayout150.xml"/><Relationship Id="rId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slideLayout" Target="../slideLayouts/slideLayout140.xml"/><Relationship Id="rId33" Type="http://schemas.openxmlformats.org/officeDocument/2006/relationships/slideLayout" Target="../slideLayouts/slideLayout148.xml"/><Relationship Id="rId38" Type="http://schemas.openxmlformats.org/officeDocument/2006/relationships/slideLayout" Target="../slideLayouts/slideLayout15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58.xml"/><Relationship Id="rId21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5" Type="http://schemas.openxmlformats.org/officeDocument/2006/relationships/theme" Target="../theme/theme14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0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24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23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65.xml"/><Relationship Id="rId19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Relationship Id="rId22" Type="http://schemas.openxmlformats.org/officeDocument/2006/relationships/slideLayout" Target="../slideLayouts/slideLayout17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82.xml"/><Relationship Id="rId21" Type="http://schemas.openxmlformats.org/officeDocument/2006/relationships/image" Target="../media/image56.png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89.xml"/><Relationship Id="rId19" Type="http://schemas.openxmlformats.org/officeDocument/2006/relationships/theme" Target="../theme/theme15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slideLayout" Target="../slideLayouts/slideLayout200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201.xml"/><Relationship Id="rId9" Type="http://schemas.openxmlformats.org/officeDocument/2006/relationships/image" Target="../media/image56.png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6.xml"/><Relationship Id="rId18" Type="http://schemas.openxmlformats.org/officeDocument/2006/relationships/slideLayout" Target="../slideLayouts/slideLayout221.xml"/><Relationship Id="rId26" Type="http://schemas.openxmlformats.org/officeDocument/2006/relationships/slideLayout" Target="../slideLayouts/slideLayout229.xml"/><Relationship Id="rId39" Type="http://schemas.openxmlformats.org/officeDocument/2006/relationships/slideLayout" Target="../slideLayouts/slideLayout242.xml"/><Relationship Id="rId21" Type="http://schemas.openxmlformats.org/officeDocument/2006/relationships/slideLayout" Target="../slideLayouts/slideLayout224.xml"/><Relationship Id="rId34" Type="http://schemas.openxmlformats.org/officeDocument/2006/relationships/slideLayout" Target="../slideLayouts/slideLayout237.xml"/><Relationship Id="rId42" Type="http://schemas.openxmlformats.org/officeDocument/2006/relationships/slideLayout" Target="../slideLayouts/slideLayout245.xml"/><Relationship Id="rId47" Type="http://schemas.openxmlformats.org/officeDocument/2006/relationships/oleObject" Target="../embeddings/oleObject5.bin"/><Relationship Id="rId7" Type="http://schemas.openxmlformats.org/officeDocument/2006/relationships/slideLayout" Target="../slideLayouts/slideLayout210.xml"/><Relationship Id="rId2" Type="http://schemas.openxmlformats.org/officeDocument/2006/relationships/slideLayout" Target="../slideLayouts/slideLayout205.xml"/><Relationship Id="rId16" Type="http://schemas.openxmlformats.org/officeDocument/2006/relationships/slideLayout" Target="../slideLayouts/slideLayout219.xml"/><Relationship Id="rId29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14.xml"/><Relationship Id="rId24" Type="http://schemas.openxmlformats.org/officeDocument/2006/relationships/slideLayout" Target="../slideLayouts/slideLayout227.xml"/><Relationship Id="rId32" Type="http://schemas.openxmlformats.org/officeDocument/2006/relationships/slideLayout" Target="../slideLayouts/slideLayout235.xml"/><Relationship Id="rId37" Type="http://schemas.openxmlformats.org/officeDocument/2006/relationships/slideLayout" Target="../slideLayouts/slideLayout240.xml"/><Relationship Id="rId40" Type="http://schemas.openxmlformats.org/officeDocument/2006/relationships/slideLayout" Target="../slideLayouts/slideLayout243.xml"/><Relationship Id="rId45" Type="http://schemas.openxmlformats.org/officeDocument/2006/relationships/vmlDrawing" Target="../drawings/vmlDrawing5.vml"/><Relationship Id="rId5" Type="http://schemas.openxmlformats.org/officeDocument/2006/relationships/slideLayout" Target="../slideLayouts/slideLayout208.xml"/><Relationship Id="rId15" Type="http://schemas.openxmlformats.org/officeDocument/2006/relationships/slideLayout" Target="../slideLayouts/slideLayout218.xml"/><Relationship Id="rId23" Type="http://schemas.openxmlformats.org/officeDocument/2006/relationships/slideLayout" Target="../slideLayouts/slideLayout226.xml"/><Relationship Id="rId28" Type="http://schemas.openxmlformats.org/officeDocument/2006/relationships/slideLayout" Target="../slideLayouts/slideLayout231.xml"/><Relationship Id="rId36" Type="http://schemas.openxmlformats.org/officeDocument/2006/relationships/slideLayout" Target="../slideLayouts/slideLayout239.xml"/><Relationship Id="rId49" Type="http://schemas.openxmlformats.org/officeDocument/2006/relationships/image" Target="../media/image61.png"/><Relationship Id="rId10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222.xml"/><Relationship Id="rId31" Type="http://schemas.openxmlformats.org/officeDocument/2006/relationships/slideLayout" Target="../slideLayouts/slideLayout234.xml"/><Relationship Id="rId44" Type="http://schemas.openxmlformats.org/officeDocument/2006/relationships/theme" Target="../theme/theme17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Relationship Id="rId22" Type="http://schemas.openxmlformats.org/officeDocument/2006/relationships/slideLayout" Target="../slideLayouts/slideLayout225.xml"/><Relationship Id="rId27" Type="http://schemas.openxmlformats.org/officeDocument/2006/relationships/slideLayout" Target="../slideLayouts/slideLayout230.xml"/><Relationship Id="rId30" Type="http://schemas.openxmlformats.org/officeDocument/2006/relationships/slideLayout" Target="../slideLayouts/slideLayout233.xml"/><Relationship Id="rId35" Type="http://schemas.openxmlformats.org/officeDocument/2006/relationships/slideLayout" Target="../slideLayouts/slideLayout238.xml"/><Relationship Id="rId43" Type="http://schemas.openxmlformats.org/officeDocument/2006/relationships/slideLayout" Target="../slideLayouts/slideLayout246.xml"/><Relationship Id="rId48" Type="http://schemas.openxmlformats.org/officeDocument/2006/relationships/image" Target="../media/image53.emf"/><Relationship Id="rId8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5.xml"/><Relationship Id="rId17" Type="http://schemas.openxmlformats.org/officeDocument/2006/relationships/slideLayout" Target="../slideLayouts/slideLayout220.xml"/><Relationship Id="rId25" Type="http://schemas.openxmlformats.org/officeDocument/2006/relationships/slideLayout" Target="../slideLayouts/slideLayout228.xml"/><Relationship Id="rId33" Type="http://schemas.openxmlformats.org/officeDocument/2006/relationships/slideLayout" Target="../slideLayouts/slideLayout236.xml"/><Relationship Id="rId38" Type="http://schemas.openxmlformats.org/officeDocument/2006/relationships/slideLayout" Target="../slideLayouts/slideLayout241.xml"/><Relationship Id="rId46" Type="http://schemas.openxmlformats.org/officeDocument/2006/relationships/tags" Target="../tags/tag5.xml"/><Relationship Id="rId20" Type="http://schemas.openxmlformats.org/officeDocument/2006/relationships/slideLayout" Target="../slideLayouts/slideLayout223.xml"/><Relationship Id="rId41" Type="http://schemas.openxmlformats.org/officeDocument/2006/relationships/slideLayout" Target="../slideLayouts/slideLayout244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4.xml"/><Relationship Id="rId13" Type="http://schemas.openxmlformats.org/officeDocument/2006/relationships/slideLayout" Target="../slideLayouts/slideLayout259.xml"/><Relationship Id="rId18" Type="http://schemas.openxmlformats.org/officeDocument/2006/relationships/slideLayout" Target="../slideLayouts/slideLayout264.xml"/><Relationship Id="rId26" Type="http://schemas.openxmlformats.org/officeDocument/2006/relationships/slideLayout" Target="../slideLayouts/slideLayout272.xml"/><Relationship Id="rId3" Type="http://schemas.openxmlformats.org/officeDocument/2006/relationships/slideLayout" Target="../slideLayouts/slideLayout249.xml"/><Relationship Id="rId21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53.xml"/><Relationship Id="rId12" Type="http://schemas.openxmlformats.org/officeDocument/2006/relationships/slideLayout" Target="../slideLayouts/slideLayout258.xml"/><Relationship Id="rId17" Type="http://schemas.openxmlformats.org/officeDocument/2006/relationships/slideLayout" Target="../slideLayouts/slideLayout263.xml"/><Relationship Id="rId25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48.xml"/><Relationship Id="rId16" Type="http://schemas.openxmlformats.org/officeDocument/2006/relationships/slideLayout" Target="../slideLayouts/slideLayout262.xml"/><Relationship Id="rId20" Type="http://schemas.openxmlformats.org/officeDocument/2006/relationships/slideLayout" Target="../slideLayouts/slideLayout266.xml"/><Relationship Id="rId29" Type="http://schemas.openxmlformats.org/officeDocument/2006/relationships/slideLayout" Target="../slideLayouts/slideLayout275.xml"/><Relationship Id="rId1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52.xml"/><Relationship Id="rId11" Type="http://schemas.openxmlformats.org/officeDocument/2006/relationships/slideLayout" Target="../slideLayouts/slideLayout257.xml"/><Relationship Id="rId24" Type="http://schemas.openxmlformats.org/officeDocument/2006/relationships/slideLayout" Target="../slideLayouts/slideLayout270.xml"/><Relationship Id="rId32" Type="http://schemas.openxmlformats.org/officeDocument/2006/relationships/image" Target="../media/image55.png"/><Relationship Id="rId5" Type="http://schemas.openxmlformats.org/officeDocument/2006/relationships/slideLayout" Target="../slideLayouts/slideLayout251.xml"/><Relationship Id="rId15" Type="http://schemas.openxmlformats.org/officeDocument/2006/relationships/slideLayout" Target="../slideLayouts/slideLayout261.xml"/><Relationship Id="rId23" Type="http://schemas.openxmlformats.org/officeDocument/2006/relationships/slideLayout" Target="../slideLayouts/slideLayout269.xml"/><Relationship Id="rId28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56.xml"/><Relationship Id="rId19" Type="http://schemas.openxmlformats.org/officeDocument/2006/relationships/slideLayout" Target="../slideLayouts/slideLayout265.xml"/><Relationship Id="rId31" Type="http://schemas.openxmlformats.org/officeDocument/2006/relationships/theme" Target="../theme/theme18.xml"/><Relationship Id="rId4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5.xml"/><Relationship Id="rId14" Type="http://schemas.openxmlformats.org/officeDocument/2006/relationships/slideLayout" Target="../slideLayouts/slideLayout260.xml"/><Relationship Id="rId22" Type="http://schemas.openxmlformats.org/officeDocument/2006/relationships/slideLayout" Target="../slideLayouts/slideLayout268.xml"/><Relationship Id="rId27" Type="http://schemas.openxmlformats.org/officeDocument/2006/relationships/slideLayout" Target="../slideLayouts/slideLayout273.xml"/><Relationship Id="rId30" Type="http://schemas.openxmlformats.org/officeDocument/2006/relationships/slideLayout" Target="../slideLayouts/slideLayout276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9.xml"/><Relationship Id="rId18" Type="http://schemas.openxmlformats.org/officeDocument/2006/relationships/slideLayout" Target="../slideLayouts/slideLayout294.xml"/><Relationship Id="rId26" Type="http://schemas.openxmlformats.org/officeDocument/2006/relationships/slideLayout" Target="../slideLayouts/slideLayout302.xml"/><Relationship Id="rId39" Type="http://schemas.openxmlformats.org/officeDocument/2006/relationships/slideLayout" Target="../slideLayouts/slideLayout315.xml"/><Relationship Id="rId21" Type="http://schemas.openxmlformats.org/officeDocument/2006/relationships/slideLayout" Target="../slideLayouts/slideLayout297.xml"/><Relationship Id="rId34" Type="http://schemas.openxmlformats.org/officeDocument/2006/relationships/slideLayout" Target="../slideLayouts/slideLayout310.xml"/><Relationship Id="rId42" Type="http://schemas.openxmlformats.org/officeDocument/2006/relationships/slideLayout" Target="../slideLayouts/slideLayout318.xml"/><Relationship Id="rId47" Type="http://schemas.openxmlformats.org/officeDocument/2006/relationships/slideLayout" Target="../slideLayouts/slideLayout323.xml"/><Relationship Id="rId50" Type="http://schemas.openxmlformats.org/officeDocument/2006/relationships/slideLayout" Target="../slideLayouts/slideLayout326.xml"/><Relationship Id="rId7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78.xml"/><Relationship Id="rId16" Type="http://schemas.openxmlformats.org/officeDocument/2006/relationships/slideLayout" Target="../slideLayouts/slideLayout292.xml"/><Relationship Id="rId29" Type="http://schemas.openxmlformats.org/officeDocument/2006/relationships/slideLayout" Target="../slideLayouts/slideLayout305.xml"/><Relationship Id="rId11" Type="http://schemas.openxmlformats.org/officeDocument/2006/relationships/slideLayout" Target="../slideLayouts/slideLayout287.xml"/><Relationship Id="rId24" Type="http://schemas.openxmlformats.org/officeDocument/2006/relationships/slideLayout" Target="../slideLayouts/slideLayout300.xml"/><Relationship Id="rId32" Type="http://schemas.openxmlformats.org/officeDocument/2006/relationships/slideLayout" Target="../slideLayouts/slideLayout308.xml"/><Relationship Id="rId37" Type="http://schemas.openxmlformats.org/officeDocument/2006/relationships/slideLayout" Target="../slideLayouts/slideLayout313.xml"/><Relationship Id="rId40" Type="http://schemas.openxmlformats.org/officeDocument/2006/relationships/slideLayout" Target="../slideLayouts/slideLayout316.xml"/><Relationship Id="rId45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281.xml"/><Relationship Id="rId15" Type="http://schemas.openxmlformats.org/officeDocument/2006/relationships/slideLayout" Target="../slideLayouts/slideLayout291.xml"/><Relationship Id="rId23" Type="http://schemas.openxmlformats.org/officeDocument/2006/relationships/slideLayout" Target="../slideLayouts/slideLayout299.xml"/><Relationship Id="rId28" Type="http://schemas.openxmlformats.org/officeDocument/2006/relationships/slideLayout" Target="../slideLayouts/slideLayout304.xml"/><Relationship Id="rId36" Type="http://schemas.openxmlformats.org/officeDocument/2006/relationships/slideLayout" Target="../slideLayouts/slideLayout312.xml"/><Relationship Id="rId49" Type="http://schemas.openxmlformats.org/officeDocument/2006/relationships/slideLayout" Target="../slideLayouts/slideLayout325.xml"/><Relationship Id="rId10" Type="http://schemas.openxmlformats.org/officeDocument/2006/relationships/slideLayout" Target="../slideLayouts/slideLayout286.xml"/><Relationship Id="rId19" Type="http://schemas.openxmlformats.org/officeDocument/2006/relationships/slideLayout" Target="../slideLayouts/slideLayout295.xml"/><Relationship Id="rId31" Type="http://schemas.openxmlformats.org/officeDocument/2006/relationships/slideLayout" Target="../slideLayouts/slideLayout307.xml"/><Relationship Id="rId44" Type="http://schemas.openxmlformats.org/officeDocument/2006/relationships/slideLayout" Target="../slideLayouts/slideLayout320.xml"/><Relationship Id="rId52" Type="http://schemas.openxmlformats.org/officeDocument/2006/relationships/image" Target="../media/image69.png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Relationship Id="rId14" Type="http://schemas.openxmlformats.org/officeDocument/2006/relationships/slideLayout" Target="../slideLayouts/slideLayout290.xml"/><Relationship Id="rId22" Type="http://schemas.openxmlformats.org/officeDocument/2006/relationships/slideLayout" Target="../slideLayouts/slideLayout298.xml"/><Relationship Id="rId27" Type="http://schemas.openxmlformats.org/officeDocument/2006/relationships/slideLayout" Target="../slideLayouts/slideLayout303.xml"/><Relationship Id="rId30" Type="http://schemas.openxmlformats.org/officeDocument/2006/relationships/slideLayout" Target="../slideLayouts/slideLayout306.xml"/><Relationship Id="rId35" Type="http://schemas.openxmlformats.org/officeDocument/2006/relationships/slideLayout" Target="../slideLayouts/slideLayout311.xml"/><Relationship Id="rId43" Type="http://schemas.openxmlformats.org/officeDocument/2006/relationships/slideLayout" Target="../slideLayouts/slideLayout319.xml"/><Relationship Id="rId48" Type="http://schemas.openxmlformats.org/officeDocument/2006/relationships/slideLayout" Target="../slideLayouts/slideLayout324.xml"/><Relationship Id="rId8" Type="http://schemas.openxmlformats.org/officeDocument/2006/relationships/slideLayout" Target="../slideLayouts/slideLayout284.xml"/><Relationship Id="rId51" Type="http://schemas.openxmlformats.org/officeDocument/2006/relationships/theme" Target="../theme/theme19.xml"/><Relationship Id="rId3" Type="http://schemas.openxmlformats.org/officeDocument/2006/relationships/slideLayout" Target="../slideLayouts/slideLayout279.xml"/><Relationship Id="rId12" Type="http://schemas.openxmlformats.org/officeDocument/2006/relationships/slideLayout" Target="../slideLayouts/slideLayout288.xml"/><Relationship Id="rId17" Type="http://schemas.openxmlformats.org/officeDocument/2006/relationships/slideLayout" Target="../slideLayouts/slideLayout293.xml"/><Relationship Id="rId25" Type="http://schemas.openxmlformats.org/officeDocument/2006/relationships/slideLayout" Target="../slideLayouts/slideLayout301.xml"/><Relationship Id="rId33" Type="http://schemas.openxmlformats.org/officeDocument/2006/relationships/slideLayout" Target="../slideLayouts/slideLayout309.xml"/><Relationship Id="rId38" Type="http://schemas.openxmlformats.org/officeDocument/2006/relationships/slideLayout" Target="../slideLayouts/slideLayout314.xml"/><Relationship Id="rId46" Type="http://schemas.openxmlformats.org/officeDocument/2006/relationships/slideLayout" Target="../slideLayouts/slideLayout322.xml"/><Relationship Id="rId20" Type="http://schemas.openxmlformats.org/officeDocument/2006/relationships/slideLayout" Target="../slideLayouts/slideLayout296.xml"/><Relationship Id="rId41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4.xml"/><Relationship Id="rId13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29.xml"/><Relationship Id="rId7" Type="http://schemas.openxmlformats.org/officeDocument/2006/relationships/slideLayout" Target="../slideLayouts/slideLayout333.xml"/><Relationship Id="rId12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28.xml"/><Relationship Id="rId16" Type="http://schemas.openxmlformats.org/officeDocument/2006/relationships/image" Target="../media/image107.png"/><Relationship Id="rId1" Type="http://schemas.openxmlformats.org/officeDocument/2006/relationships/slideLayout" Target="../slideLayouts/slideLayout327.xml"/><Relationship Id="rId6" Type="http://schemas.openxmlformats.org/officeDocument/2006/relationships/slideLayout" Target="../slideLayouts/slideLayout332.xml"/><Relationship Id="rId11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31.xml"/><Relationship Id="rId15" Type="http://schemas.openxmlformats.org/officeDocument/2006/relationships/theme" Target="../theme/theme20.xml"/><Relationship Id="rId10" Type="http://schemas.openxmlformats.org/officeDocument/2006/relationships/slideLayout" Target="../slideLayouts/slideLayout336.xml"/><Relationship Id="rId4" Type="http://schemas.openxmlformats.org/officeDocument/2006/relationships/slideLayout" Target="../slideLayouts/slideLayout330.xml"/><Relationship Id="rId9" Type="http://schemas.openxmlformats.org/officeDocument/2006/relationships/slideLayout" Target="../slideLayouts/slideLayout335.xml"/><Relationship Id="rId14" Type="http://schemas.openxmlformats.org/officeDocument/2006/relationships/slideLayout" Target="../slideLayouts/slideLayout340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3.xml"/><Relationship Id="rId18" Type="http://schemas.openxmlformats.org/officeDocument/2006/relationships/slideLayout" Target="../slideLayouts/slideLayout358.xml"/><Relationship Id="rId26" Type="http://schemas.openxmlformats.org/officeDocument/2006/relationships/slideLayout" Target="../slideLayouts/slideLayout366.xml"/><Relationship Id="rId39" Type="http://schemas.openxmlformats.org/officeDocument/2006/relationships/slideLayout" Target="../slideLayouts/slideLayout379.xml"/><Relationship Id="rId21" Type="http://schemas.openxmlformats.org/officeDocument/2006/relationships/slideLayout" Target="../slideLayouts/slideLayout361.xml"/><Relationship Id="rId34" Type="http://schemas.openxmlformats.org/officeDocument/2006/relationships/slideLayout" Target="../slideLayouts/slideLayout374.xml"/><Relationship Id="rId42" Type="http://schemas.openxmlformats.org/officeDocument/2006/relationships/image" Target="../media/image117.png"/><Relationship Id="rId7" Type="http://schemas.openxmlformats.org/officeDocument/2006/relationships/slideLayout" Target="../slideLayouts/slideLayout347.xml"/><Relationship Id="rId2" Type="http://schemas.openxmlformats.org/officeDocument/2006/relationships/slideLayout" Target="../slideLayouts/slideLayout342.xml"/><Relationship Id="rId16" Type="http://schemas.openxmlformats.org/officeDocument/2006/relationships/slideLayout" Target="../slideLayouts/slideLayout356.xml"/><Relationship Id="rId20" Type="http://schemas.openxmlformats.org/officeDocument/2006/relationships/slideLayout" Target="../slideLayouts/slideLayout360.xml"/><Relationship Id="rId29" Type="http://schemas.openxmlformats.org/officeDocument/2006/relationships/slideLayout" Target="../slideLayouts/slideLayout369.xml"/><Relationship Id="rId41" Type="http://schemas.openxmlformats.org/officeDocument/2006/relationships/theme" Target="../theme/theme21.xml"/><Relationship Id="rId1" Type="http://schemas.openxmlformats.org/officeDocument/2006/relationships/slideLayout" Target="../slideLayouts/slideLayout341.xml"/><Relationship Id="rId6" Type="http://schemas.openxmlformats.org/officeDocument/2006/relationships/slideLayout" Target="../slideLayouts/slideLayout346.xml"/><Relationship Id="rId11" Type="http://schemas.openxmlformats.org/officeDocument/2006/relationships/slideLayout" Target="../slideLayouts/slideLayout351.xml"/><Relationship Id="rId24" Type="http://schemas.openxmlformats.org/officeDocument/2006/relationships/slideLayout" Target="../slideLayouts/slideLayout364.xml"/><Relationship Id="rId32" Type="http://schemas.openxmlformats.org/officeDocument/2006/relationships/slideLayout" Target="../slideLayouts/slideLayout372.xml"/><Relationship Id="rId37" Type="http://schemas.openxmlformats.org/officeDocument/2006/relationships/slideLayout" Target="../slideLayouts/slideLayout377.xml"/><Relationship Id="rId40" Type="http://schemas.openxmlformats.org/officeDocument/2006/relationships/slideLayout" Target="../slideLayouts/slideLayout380.xml"/><Relationship Id="rId5" Type="http://schemas.openxmlformats.org/officeDocument/2006/relationships/slideLayout" Target="../slideLayouts/slideLayout345.xml"/><Relationship Id="rId15" Type="http://schemas.openxmlformats.org/officeDocument/2006/relationships/slideLayout" Target="../slideLayouts/slideLayout355.xml"/><Relationship Id="rId23" Type="http://schemas.openxmlformats.org/officeDocument/2006/relationships/slideLayout" Target="../slideLayouts/slideLayout363.xml"/><Relationship Id="rId28" Type="http://schemas.openxmlformats.org/officeDocument/2006/relationships/slideLayout" Target="../slideLayouts/slideLayout368.xml"/><Relationship Id="rId36" Type="http://schemas.openxmlformats.org/officeDocument/2006/relationships/slideLayout" Target="../slideLayouts/slideLayout376.xml"/><Relationship Id="rId10" Type="http://schemas.openxmlformats.org/officeDocument/2006/relationships/slideLayout" Target="../slideLayouts/slideLayout350.xml"/><Relationship Id="rId19" Type="http://schemas.openxmlformats.org/officeDocument/2006/relationships/slideLayout" Target="../slideLayouts/slideLayout359.xml"/><Relationship Id="rId31" Type="http://schemas.openxmlformats.org/officeDocument/2006/relationships/slideLayout" Target="../slideLayouts/slideLayout371.xml"/><Relationship Id="rId44" Type="http://schemas.openxmlformats.org/officeDocument/2006/relationships/image" Target="../media/image118.png"/><Relationship Id="rId4" Type="http://schemas.openxmlformats.org/officeDocument/2006/relationships/slideLayout" Target="../slideLayouts/slideLayout344.xml"/><Relationship Id="rId9" Type="http://schemas.openxmlformats.org/officeDocument/2006/relationships/slideLayout" Target="../slideLayouts/slideLayout349.xml"/><Relationship Id="rId14" Type="http://schemas.openxmlformats.org/officeDocument/2006/relationships/slideLayout" Target="../slideLayouts/slideLayout354.xml"/><Relationship Id="rId22" Type="http://schemas.openxmlformats.org/officeDocument/2006/relationships/slideLayout" Target="../slideLayouts/slideLayout362.xml"/><Relationship Id="rId27" Type="http://schemas.openxmlformats.org/officeDocument/2006/relationships/slideLayout" Target="../slideLayouts/slideLayout367.xml"/><Relationship Id="rId30" Type="http://schemas.openxmlformats.org/officeDocument/2006/relationships/slideLayout" Target="../slideLayouts/slideLayout370.xml"/><Relationship Id="rId35" Type="http://schemas.openxmlformats.org/officeDocument/2006/relationships/slideLayout" Target="../slideLayouts/slideLayout375.xml"/><Relationship Id="rId43" Type="http://schemas.openxmlformats.org/officeDocument/2006/relationships/image" Target="../media/image107.png"/><Relationship Id="rId8" Type="http://schemas.openxmlformats.org/officeDocument/2006/relationships/slideLayout" Target="../slideLayouts/slideLayout348.xml"/><Relationship Id="rId3" Type="http://schemas.openxmlformats.org/officeDocument/2006/relationships/slideLayout" Target="../slideLayouts/slideLayout343.xml"/><Relationship Id="rId12" Type="http://schemas.openxmlformats.org/officeDocument/2006/relationships/slideLayout" Target="../slideLayouts/slideLayout352.xml"/><Relationship Id="rId17" Type="http://schemas.openxmlformats.org/officeDocument/2006/relationships/slideLayout" Target="../slideLayouts/slideLayout357.xml"/><Relationship Id="rId25" Type="http://schemas.openxmlformats.org/officeDocument/2006/relationships/slideLayout" Target="../slideLayouts/slideLayout365.xml"/><Relationship Id="rId33" Type="http://schemas.openxmlformats.org/officeDocument/2006/relationships/slideLayout" Target="../slideLayouts/slideLayout373.xml"/><Relationship Id="rId38" Type="http://schemas.openxmlformats.org/officeDocument/2006/relationships/slideLayout" Target="../slideLayouts/slideLayout378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13" Type="http://schemas.openxmlformats.org/officeDocument/2006/relationships/slideLayout" Target="../slideLayouts/slideLayout393.xml"/><Relationship Id="rId18" Type="http://schemas.openxmlformats.org/officeDocument/2006/relationships/slideLayout" Target="../slideLayouts/slideLayout398.xml"/><Relationship Id="rId26" Type="http://schemas.openxmlformats.org/officeDocument/2006/relationships/slideLayout" Target="../slideLayouts/slideLayout406.xml"/><Relationship Id="rId3" Type="http://schemas.openxmlformats.org/officeDocument/2006/relationships/slideLayout" Target="../slideLayouts/slideLayout383.xml"/><Relationship Id="rId21" Type="http://schemas.openxmlformats.org/officeDocument/2006/relationships/slideLayout" Target="../slideLayouts/slideLayout401.xml"/><Relationship Id="rId7" Type="http://schemas.openxmlformats.org/officeDocument/2006/relationships/slideLayout" Target="../slideLayouts/slideLayout387.xml"/><Relationship Id="rId12" Type="http://schemas.openxmlformats.org/officeDocument/2006/relationships/slideLayout" Target="../slideLayouts/slideLayout392.xml"/><Relationship Id="rId17" Type="http://schemas.openxmlformats.org/officeDocument/2006/relationships/slideLayout" Target="../slideLayouts/slideLayout397.xml"/><Relationship Id="rId25" Type="http://schemas.openxmlformats.org/officeDocument/2006/relationships/slideLayout" Target="../slideLayouts/slideLayout405.xml"/><Relationship Id="rId2" Type="http://schemas.openxmlformats.org/officeDocument/2006/relationships/slideLayout" Target="../slideLayouts/slideLayout382.xml"/><Relationship Id="rId16" Type="http://schemas.openxmlformats.org/officeDocument/2006/relationships/slideLayout" Target="../slideLayouts/slideLayout396.xml"/><Relationship Id="rId20" Type="http://schemas.openxmlformats.org/officeDocument/2006/relationships/slideLayout" Target="../slideLayouts/slideLayout400.xml"/><Relationship Id="rId29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slideLayout" Target="../slideLayouts/slideLayout391.xml"/><Relationship Id="rId24" Type="http://schemas.openxmlformats.org/officeDocument/2006/relationships/slideLayout" Target="../slideLayouts/slideLayout404.xml"/><Relationship Id="rId32" Type="http://schemas.openxmlformats.org/officeDocument/2006/relationships/image" Target="../media/image165.png"/><Relationship Id="rId5" Type="http://schemas.openxmlformats.org/officeDocument/2006/relationships/slideLayout" Target="../slideLayouts/slideLayout385.xml"/><Relationship Id="rId15" Type="http://schemas.openxmlformats.org/officeDocument/2006/relationships/slideLayout" Target="../slideLayouts/slideLayout395.xml"/><Relationship Id="rId23" Type="http://schemas.openxmlformats.org/officeDocument/2006/relationships/slideLayout" Target="../slideLayouts/slideLayout403.xml"/><Relationship Id="rId28" Type="http://schemas.openxmlformats.org/officeDocument/2006/relationships/slideLayout" Target="../slideLayouts/slideLayout408.xml"/><Relationship Id="rId10" Type="http://schemas.openxmlformats.org/officeDocument/2006/relationships/slideLayout" Target="../slideLayouts/slideLayout390.xml"/><Relationship Id="rId19" Type="http://schemas.openxmlformats.org/officeDocument/2006/relationships/slideLayout" Target="../slideLayouts/slideLayout399.xml"/><Relationship Id="rId31" Type="http://schemas.openxmlformats.org/officeDocument/2006/relationships/image" Target="../media/image164.png"/><Relationship Id="rId4" Type="http://schemas.openxmlformats.org/officeDocument/2006/relationships/slideLayout" Target="../slideLayouts/slideLayout384.xml"/><Relationship Id="rId9" Type="http://schemas.openxmlformats.org/officeDocument/2006/relationships/slideLayout" Target="../slideLayouts/slideLayout389.xml"/><Relationship Id="rId14" Type="http://schemas.openxmlformats.org/officeDocument/2006/relationships/slideLayout" Target="../slideLayouts/slideLayout394.xml"/><Relationship Id="rId22" Type="http://schemas.openxmlformats.org/officeDocument/2006/relationships/slideLayout" Target="../slideLayouts/slideLayout402.xml"/><Relationship Id="rId27" Type="http://schemas.openxmlformats.org/officeDocument/2006/relationships/slideLayout" Target="../slideLayouts/slideLayout407.xml"/><Relationship Id="rId30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7.xml"/><Relationship Id="rId13" Type="http://schemas.openxmlformats.org/officeDocument/2006/relationships/slideLayout" Target="../slideLayouts/slideLayout422.xml"/><Relationship Id="rId18" Type="http://schemas.openxmlformats.org/officeDocument/2006/relationships/tags" Target="../tags/tag44.xml"/><Relationship Id="rId3" Type="http://schemas.openxmlformats.org/officeDocument/2006/relationships/slideLayout" Target="../slideLayouts/slideLayout412.xml"/><Relationship Id="rId21" Type="http://schemas.openxmlformats.org/officeDocument/2006/relationships/image" Target="../media/image191.png"/><Relationship Id="rId7" Type="http://schemas.openxmlformats.org/officeDocument/2006/relationships/slideLayout" Target="../slideLayouts/slideLayout416.xml"/><Relationship Id="rId12" Type="http://schemas.openxmlformats.org/officeDocument/2006/relationships/slideLayout" Target="../slideLayouts/slideLayout421.xml"/><Relationship Id="rId17" Type="http://schemas.openxmlformats.org/officeDocument/2006/relationships/vmlDrawing" Target="../drawings/vmlDrawing44.vml"/><Relationship Id="rId2" Type="http://schemas.openxmlformats.org/officeDocument/2006/relationships/slideLayout" Target="../slideLayouts/slideLayout411.xml"/><Relationship Id="rId16" Type="http://schemas.openxmlformats.org/officeDocument/2006/relationships/theme" Target="../theme/theme23.xml"/><Relationship Id="rId20" Type="http://schemas.openxmlformats.org/officeDocument/2006/relationships/image" Target="../media/image190.emf"/><Relationship Id="rId1" Type="http://schemas.openxmlformats.org/officeDocument/2006/relationships/slideLayout" Target="../slideLayouts/slideLayout410.xml"/><Relationship Id="rId6" Type="http://schemas.openxmlformats.org/officeDocument/2006/relationships/slideLayout" Target="../slideLayouts/slideLayout415.xml"/><Relationship Id="rId11" Type="http://schemas.openxmlformats.org/officeDocument/2006/relationships/slideLayout" Target="../slideLayouts/slideLayout420.xml"/><Relationship Id="rId5" Type="http://schemas.openxmlformats.org/officeDocument/2006/relationships/slideLayout" Target="../slideLayouts/slideLayout414.xml"/><Relationship Id="rId15" Type="http://schemas.openxmlformats.org/officeDocument/2006/relationships/slideLayout" Target="../slideLayouts/slideLayout424.xml"/><Relationship Id="rId10" Type="http://schemas.openxmlformats.org/officeDocument/2006/relationships/slideLayout" Target="../slideLayouts/slideLayout419.xml"/><Relationship Id="rId19" Type="http://schemas.openxmlformats.org/officeDocument/2006/relationships/oleObject" Target="../embeddings/oleObject44.bin"/><Relationship Id="rId4" Type="http://schemas.openxmlformats.org/officeDocument/2006/relationships/slideLayout" Target="../slideLayouts/slideLayout413.xml"/><Relationship Id="rId9" Type="http://schemas.openxmlformats.org/officeDocument/2006/relationships/slideLayout" Target="../slideLayouts/slideLayout418.xml"/><Relationship Id="rId14" Type="http://schemas.openxmlformats.org/officeDocument/2006/relationships/slideLayout" Target="../slideLayouts/slideLayout423.xml"/></Relationships>
</file>

<file path=ppt/slideMasters/_rels/slideMaster2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7.xml"/><Relationship Id="rId18" Type="http://schemas.openxmlformats.org/officeDocument/2006/relationships/slideLayout" Target="../slideLayouts/slideLayout442.xml"/><Relationship Id="rId26" Type="http://schemas.openxmlformats.org/officeDocument/2006/relationships/slideLayout" Target="../slideLayouts/slideLayout450.xml"/><Relationship Id="rId3" Type="http://schemas.openxmlformats.org/officeDocument/2006/relationships/slideLayout" Target="../slideLayouts/slideLayout427.xml"/><Relationship Id="rId21" Type="http://schemas.openxmlformats.org/officeDocument/2006/relationships/slideLayout" Target="../slideLayouts/slideLayout445.xml"/><Relationship Id="rId7" Type="http://schemas.openxmlformats.org/officeDocument/2006/relationships/slideLayout" Target="../slideLayouts/slideLayout431.xml"/><Relationship Id="rId12" Type="http://schemas.openxmlformats.org/officeDocument/2006/relationships/slideLayout" Target="../slideLayouts/slideLayout436.xml"/><Relationship Id="rId17" Type="http://schemas.openxmlformats.org/officeDocument/2006/relationships/slideLayout" Target="../slideLayouts/slideLayout441.xml"/><Relationship Id="rId25" Type="http://schemas.openxmlformats.org/officeDocument/2006/relationships/slideLayout" Target="../slideLayouts/slideLayout449.xml"/><Relationship Id="rId33" Type="http://schemas.openxmlformats.org/officeDocument/2006/relationships/image" Target="../media/image196.png"/><Relationship Id="rId2" Type="http://schemas.openxmlformats.org/officeDocument/2006/relationships/slideLayout" Target="../slideLayouts/slideLayout426.xml"/><Relationship Id="rId16" Type="http://schemas.openxmlformats.org/officeDocument/2006/relationships/slideLayout" Target="../slideLayouts/slideLayout440.xml"/><Relationship Id="rId20" Type="http://schemas.openxmlformats.org/officeDocument/2006/relationships/slideLayout" Target="../slideLayouts/slideLayout444.xml"/><Relationship Id="rId29" Type="http://schemas.openxmlformats.org/officeDocument/2006/relationships/slideLayout" Target="../slideLayouts/slideLayout453.xml"/><Relationship Id="rId1" Type="http://schemas.openxmlformats.org/officeDocument/2006/relationships/slideLayout" Target="../slideLayouts/slideLayout425.xml"/><Relationship Id="rId6" Type="http://schemas.openxmlformats.org/officeDocument/2006/relationships/slideLayout" Target="../slideLayouts/slideLayout430.xml"/><Relationship Id="rId11" Type="http://schemas.openxmlformats.org/officeDocument/2006/relationships/slideLayout" Target="../slideLayouts/slideLayout435.xml"/><Relationship Id="rId24" Type="http://schemas.openxmlformats.org/officeDocument/2006/relationships/slideLayout" Target="../slideLayouts/slideLayout448.xml"/><Relationship Id="rId32" Type="http://schemas.openxmlformats.org/officeDocument/2006/relationships/image" Target="../media/image195.jpeg"/><Relationship Id="rId5" Type="http://schemas.openxmlformats.org/officeDocument/2006/relationships/slideLayout" Target="../slideLayouts/slideLayout429.xml"/><Relationship Id="rId15" Type="http://schemas.openxmlformats.org/officeDocument/2006/relationships/slideLayout" Target="../slideLayouts/slideLayout439.xml"/><Relationship Id="rId23" Type="http://schemas.openxmlformats.org/officeDocument/2006/relationships/slideLayout" Target="../slideLayouts/slideLayout447.xml"/><Relationship Id="rId28" Type="http://schemas.openxmlformats.org/officeDocument/2006/relationships/slideLayout" Target="../slideLayouts/slideLayout452.xml"/><Relationship Id="rId10" Type="http://schemas.openxmlformats.org/officeDocument/2006/relationships/slideLayout" Target="../slideLayouts/slideLayout434.xml"/><Relationship Id="rId19" Type="http://schemas.openxmlformats.org/officeDocument/2006/relationships/slideLayout" Target="../slideLayouts/slideLayout443.xml"/><Relationship Id="rId31" Type="http://schemas.openxmlformats.org/officeDocument/2006/relationships/theme" Target="../theme/theme24.xml"/><Relationship Id="rId4" Type="http://schemas.openxmlformats.org/officeDocument/2006/relationships/slideLayout" Target="../slideLayouts/slideLayout428.xml"/><Relationship Id="rId9" Type="http://schemas.openxmlformats.org/officeDocument/2006/relationships/slideLayout" Target="../slideLayouts/slideLayout433.xml"/><Relationship Id="rId14" Type="http://schemas.openxmlformats.org/officeDocument/2006/relationships/slideLayout" Target="../slideLayouts/slideLayout438.xml"/><Relationship Id="rId22" Type="http://schemas.openxmlformats.org/officeDocument/2006/relationships/slideLayout" Target="../slideLayouts/slideLayout446.xml"/><Relationship Id="rId27" Type="http://schemas.openxmlformats.org/officeDocument/2006/relationships/slideLayout" Target="../slideLayouts/slideLayout451.xml"/><Relationship Id="rId30" Type="http://schemas.openxmlformats.org/officeDocument/2006/relationships/slideLayout" Target="../slideLayouts/slideLayout454.xml"/><Relationship Id="rId8" Type="http://schemas.openxmlformats.org/officeDocument/2006/relationships/slideLayout" Target="../slideLayouts/slideLayout432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2.xml"/><Relationship Id="rId13" Type="http://schemas.openxmlformats.org/officeDocument/2006/relationships/slideLayout" Target="../slideLayouts/slideLayout467.xml"/><Relationship Id="rId3" Type="http://schemas.openxmlformats.org/officeDocument/2006/relationships/slideLayout" Target="../slideLayouts/slideLayout457.xml"/><Relationship Id="rId7" Type="http://schemas.openxmlformats.org/officeDocument/2006/relationships/slideLayout" Target="../slideLayouts/slideLayout461.xml"/><Relationship Id="rId12" Type="http://schemas.openxmlformats.org/officeDocument/2006/relationships/slideLayout" Target="../slideLayouts/slideLayout466.xml"/><Relationship Id="rId2" Type="http://schemas.openxmlformats.org/officeDocument/2006/relationships/slideLayout" Target="../slideLayouts/slideLayout456.xml"/><Relationship Id="rId16" Type="http://schemas.openxmlformats.org/officeDocument/2006/relationships/image" Target="../media/image191.png"/><Relationship Id="rId1" Type="http://schemas.openxmlformats.org/officeDocument/2006/relationships/slideLayout" Target="../slideLayouts/slideLayout455.xml"/><Relationship Id="rId6" Type="http://schemas.openxmlformats.org/officeDocument/2006/relationships/slideLayout" Target="../slideLayouts/slideLayout460.xml"/><Relationship Id="rId11" Type="http://schemas.openxmlformats.org/officeDocument/2006/relationships/slideLayout" Target="../slideLayouts/slideLayout465.xml"/><Relationship Id="rId5" Type="http://schemas.openxmlformats.org/officeDocument/2006/relationships/slideLayout" Target="../slideLayouts/slideLayout459.xml"/><Relationship Id="rId15" Type="http://schemas.openxmlformats.org/officeDocument/2006/relationships/theme" Target="../theme/theme25.xml"/><Relationship Id="rId10" Type="http://schemas.openxmlformats.org/officeDocument/2006/relationships/slideLayout" Target="../slideLayouts/slideLayout464.xml"/><Relationship Id="rId4" Type="http://schemas.openxmlformats.org/officeDocument/2006/relationships/slideLayout" Target="../slideLayouts/slideLayout458.xml"/><Relationship Id="rId9" Type="http://schemas.openxmlformats.org/officeDocument/2006/relationships/slideLayout" Target="../slideLayouts/slideLayout463.xml"/><Relationship Id="rId14" Type="http://schemas.openxmlformats.org/officeDocument/2006/relationships/slideLayout" Target="../slideLayouts/slideLayout468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6.xml"/><Relationship Id="rId13" Type="http://schemas.openxmlformats.org/officeDocument/2006/relationships/image" Target="../media/image245.jpg"/><Relationship Id="rId3" Type="http://schemas.openxmlformats.org/officeDocument/2006/relationships/slideLayout" Target="../slideLayouts/slideLayout471.xml"/><Relationship Id="rId7" Type="http://schemas.openxmlformats.org/officeDocument/2006/relationships/slideLayout" Target="../slideLayouts/slideLayout475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470.xml"/><Relationship Id="rId1" Type="http://schemas.openxmlformats.org/officeDocument/2006/relationships/slideLayout" Target="../slideLayouts/slideLayout469.xml"/><Relationship Id="rId6" Type="http://schemas.openxmlformats.org/officeDocument/2006/relationships/slideLayout" Target="../slideLayouts/slideLayout474.xml"/><Relationship Id="rId11" Type="http://schemas.openxmlformats.org/officeDocument/2006/relationships/slideLayout" Target="../slideLayouts/slideLayout479.xml"/><Relationship Id="rId5" Type="http://schemas.openxmlformats.org/officeDocument/2006/relationships/slideLayout" Target="../slideLayouts/slideLayout473.xml"/><Relationship Id="rId10" Type="http://schemas.openxmlformats.org/officeDocument/2006/relationships/slideLayout" Target="../slideLayouts/slideLayout478.xml"/><Relationship Id="rId4" Type="http://schemas.openxmlformats.org/officeDocument/2006/relationships/slideLayout" Target="../slideLayouts/slideLayout472.xml"/><Relationship Id="rId9" Type="http://schemas.openxmlformats.org/officeDocument/2006/relationships/slideLayout" Target="../slideLayouts/slideLayout477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7.xml"/><Relationship Id="rId3" Type="http://schemas.openxmlformats.org/officeDocument/2006/relationships/slideLayout" Target="../slideLayouts/slideLayout482.xml"/><Relationship Id="rId7" Type="http://schemas.openxmlformats.org/officeDocument/2006/relationships/slideLayout" Target="../slideLayouts/slideLayout486.xml"/><Relationship Id="rId2" Type="http://schemas.openxmlformats.org/officeDocument/2006/relationships/slideLayout" Target="../slideLayouts/slideLayout481.xml"/><Relationship Id="rId1" Type="http://schemas.openxmlformats.org/officeDocument/2006/relationships/slideLayout" Target="../slideLayouts/slideLayout480.xml"/><Relationship Id="rId6" Type="http://schemas.openxmlformats.org/officeDocument/2006/relationships/slideLayout" Target="../slideLayouts/slideLayout485.xml"/><Relationship Id="rId5" Type="http://schemas.openxmlformats.org/officeDocument/2006/relationships/slideLayout" Target="../slideLayouts/slideLayout484.xml"/><Relationship Id="rId10" Type="http://schemas.openxmlformats.org/officeDocument/2006/relationships/image" Target="../media/image246.jpg"/><Relationship Id="rId4" Type="http://schemas.openxmlformats.org/officeDocument/2006/relationships/slideLayout" Target="../slideLayouts/slideLayout483.xml"/><Relationship Id="rId9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theme" Target="../theme/theme28.xml"/><Relationship Id="rId3" Type="http://schemas.openxmlformats.org/officeDocument/2006/relationships/slideLayout" Target="../slideLayouts/slideLayout490.xml"/><Relationship Id="rId7" Type="http://schemas.openxmlformats.org/officeDocument/2006/relationships/slideLayout" Target="../slideLayouts/slideLayout494.xml"/><Relationship Id="rId2" Type="http://schemas.openxmlformats.org/officeDocument/2006/relationships/slideLayout" Target="../slideLayouts/slideLayout489.xml"/><Relationship Id="rId1" Type="http://schemas.openxmlformats.org/officeDocument/2006/relationships/slideLayout" Target="../slideLayouts/slideLayout488.xml"/><Relationship Id="rId6" Type="http://schemas.openxmlformats.org/officeDocument/2006/relationships/slideLayout" Target="../slideLayouts/slideLayout493.xml"/><Relationship Id="rId5" Type="http://schemas.openxmlformats.org/officeDocument/2006/relationships/slideLayout" Target="../slideLayouts/slideLayout492.xml"/><Relationship Id="rId4" Type="http://schemas.openxmlformats.org/officeDocument/2006/relationships/slideLayout" Target="../slideLayouts/slideLayout491.xml"/><Relationship Id="rId9" Type="http://schemas.openxmlformats.org/officeDocument/2006/relationships/image" Target="../media/image249.jp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2.xml"/><Relationship Id="rId13" Type="http://schemas.openxmlformats.org/officeDocument/2006/relationships/image" Target="../media/image250.jpg"/><Relationship Id="rId3" Type="http://schemas.openxmlformats.org/officeDocument/2006/relationships/slideLayout" Target="../slideLayouts/slideLayout497.xml"/><Relationship Id="rId7" Type="http://schemas.openxmlformats.org/officeDocument/2006/relationships/slideLayout" Target="../slideLayouts/slideLayout501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496.xml"/><Relationship Id="rId1" Type="http://schemas.openxmlformats.org/officeDocument/2006/relationships/slideLayout" Target="../slideLayouts/slideLayout495.xml"/><Relationship Id="rId6" Type="http://schemas.openxmlformats.org/officeDocument/2006/relationships/slideLayout" Target="../slideLayouts/slideLayout500.xml"/><Relationship Id="rId11" Type="http://schemas.openxmlformats.org/officeDocument/2006/relationships/slideLayout" Target="../slideLayouts/slideLayout505.xml"/><Relationship Id="rId5" Type="http://schemas.openxmlformats.org/officeDocument/2006/relationships/slideLayout" Target="../slideLayouts/slideLayout499.xml"/><Relationship Id="rId10" Type="http://schemas.openxmlformats.org/officeDocument/2006/relationships/slideLayout" Target="../slideLayouts/slideLayout504.xml"/><Relationship Id="rId4" Type="http://schemas.openxmlformats.org/officeDocument/2006/relationships/slideLayout" Target="../slideLayouts/slideLayout498.xml"/><Relationship Id="rId9" Type="http://schemas.openxmlformats.org/officeDocument/2006/relationships/slideLayout" Target="../slideLayouts/slideLayout50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theme" Target="../theme/theme30.xml"/><Relationship Id="rId3" Type="http://schemas.openxmlformats.org/officeDocument/2006/relationships/slideLayout" Target="../slideLayouts/slideLayout508.xml"/><Relationship Id="rId7" Type="http://schemas.openxmlformats.org/officeDocument/2006/relationships/slideLayout" Target="../slideLayouts/slideLayout512.xml"/><Relationship Id="rId2" Type="http://schemas.openxmlformats.org/officeDocument/2006/relationships/slideLayout" Target="../slideLayouts/slideLayout507.xml"/><Relationship Id="rId1" Type="http://schemas.openxmlformats.org/officeDocument/2006/relationships/slideLayout" Target="../slideLayouts/slideLayout506.xml"/><Relationship Id="rId6" Type="http://schemas.openxmlformats.org/officeDocument/2006/relationships/slideLayout" Target="../slideLayouts/slideLayout511.xml"/><Relationship Id="rId5" Type="http://schemas.openxmlformats.org/officeDocument/2006/relationships/slideLayout" Target="../slideLayouts/slideLayout510.xml"/><Relationship Id="rId4" Type="http://schemas.openxmlformats.org/officeDocument/2006/relationships/slideLayout" Target="../slideLayouts/slideLayout509.xml"/><Relationship Id="rId9" Type="http://schemas.openxmlformats.org/officeDocument/2006/relationships/image" Target="../media/image246.jp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0.xml"/><Relationship Id="rId13" Type="http://schemas.openxmlformats.org/officeDocument/2006/relationships/image" Target="../media/image245.jpg"/><Relationship Id="rId3" Type="http://schemas.openxmlformats.org/officeDocument/2006/relationships/slideLayout" Target="../slideLayouts/slideLayout515.xml"/><Relationship Id="rId7" Type="http://schemas.openxmlformats.org/officeDocument/2006/relationships/slideLayout" Target="../slideLayouts/slideLayout519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514.xml"/><Relationship Id="rId1" Type="http://schemas.openxmlformats.org/officeDocument/2006/relationships/slideLayout" Target="../slideLayouts/slideLayout513.xml"/><Relationship Id="rId6" Type="http://schemas.openxmlformats.org/officeDocument/2006/relationships/slideLayout" Target="../slideLayouts/slideLayout518.xml"/><Relationship Id="rId11" Type="http://schemas.openxmlformats.org/officeDocument/2006/relationships/slideLayout" Target="../slideLayouts/slideLayout523.xml"/><Relationship Id="rId5" Type="http://schemas.openxmlformats.org/officeDocument/2006/relationships/slideLayout" Target="../slideLayouts/slideLayout517.xml"/><Relationship Id="rId10" Type="http://schemas.openxmlformats.org/officeDocument/2006/relationships/slideLayout" Target="../slideLayouts/slideLayout522.xml"/><Relationship Id="rId4" Type="http://schemas.openxmlformats.org/officeDocument/2006/relationships/slideLayout" Target="../slideLayouts/slideLayout516.xml"/><Relationship Id="rId9" Type="http://schemas.openxmlformats.org/officeDocument/2006/relationships/slideLayout" Target="../slideLayouts/slideLayout521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2.jpg"/><Relationship Id="rId3" Type="http://schemas.openxmlformats.org/officeDocument/2006/relationships/slideLayout" Target="../slideLayouts/slideLayout526.xml"/><Relationship Id="rId7" Type="http://schemas.openxmlformats.org/officeDocument/2006/relationships/theme" Target="../theme/theme32.xml"/><Relationship Id="rId2" Type="http://schemas.openxmlformats.org/officeDocument/2006/relationships/slideLayout" Target="../slideLayouts/slideLayout525.xml"/><Relationship Id="rId1" Type="http://schemas.openxmlformats.org/officeDocument/2006/relationships/slideLayout" Target="../slideLayouts/slideLayout524.xml"/><Relationship Id="rId6" Type="http://schemas.openxmlformats.org/officeDocument/2006/relationships/slideLayout" Target="../slideLayouts/slideLayout529.xml"/><Relationship Id="rId5" Type="http://schemas.openxmlformats.org/officeDocument/2006/relationships/slideLayout" Target="../slideLayouts/slideLayout528.xml"/><Relationship Id="rId4" Type="http://schemas.openxmlformats.org/officeDocument/2006/relationships/slideLayout" Target="../slideLayouts/slideLayout527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3.jpg"/><Relationship Id="rId3" Type="http://schemas.openxmlformats.org/officeDocument/2006/relationships/slideLayout" Target="../slideLayouts/slideLayout532.xml"/><Relationship Id="rId7" Type="http://schemas.openxmlformats.org/officeDocument/2006/relationships/theme" Target="../theme/theme33.xml"/><Relationship Id="rId2" Type="http://schemas.openxmlformats.org/officeDocument/2006/relationships/slideLayout" Target="../slideLayouts/slideLayout531.xml"/><Relationship Id="rId1" Type="http://schemas.openxmlformats.org/officeDocument/2006/relationships/slideLayout" Target="../slideLayouts/slideLayout530.xml"/><Relationship Id="rId6" Type="http://schemas.openxmlformats.org/officeDocument/2006/relationships/slideLayout" Target="../slideLayouts/slideLayout535.xml"/><Relationship Id="rId5" Type="http://schemas.openxmlformats.org/officeDocument/2006/relationships/slideLayout" Target="../slideLayouts/slideLayout534.xml"/><Relationship Id="rId4" Type="http://schemas.openxmlformats.org/officeDocument/2006/relationships/slideLayout" Target="../slideLayouts/slideLayout5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3.xml"/><Relationship Id="rId13" Type="http://schemas.openxmlformats.org/officeDocument/2006/relationships/image" Target="../media/image255.jpg"/><Relationship Id="rId3" Type="http://schemas.openxmlformats.org/officeDocument/2006/relationships/slideLayout" Target="../slideLayouts/slideLayout538.xml"/><Relationship Id="rId7" Type="http://schemas.openxmlformats.org/officeDocument/2006/relationships/slideLayout" Target="../slideLayouts/slideLayout542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537.xml"/><Relationship Id="rId1" Type="http://schemas.openxmlformats.org/officeDocument/2006/relationships/slideLayout" Target="../slideLayouts/slideLayout536.xml"/><Relationship Id="rId6" Type="http://schemas.openxmlformats.org/officeDocument/2006/relationships/slideLayout" Target="../slideLayouts/slideLayout541.xml"/><Relationship Id="rId11" Type="http://schemas.openxmlformats.org/officeDocument/2006/relationships/slideLayout" Target="../slideLayouts/slideLayout546.xml"/><Relationship Id="rId5" Type="http://schemas.openxmlformats.org/officeDocument/2006/relationships/slideLayout" Target="../slideLayouts/slideLayout540.xml"/><Relationship Id="rId10" Type="http://schemas.openxmlformats.org/officeDocument/2006/relationships/slideLayout" Target="../slideLayouts/slideLayout545.xml"/><Relationship Id="rId4" Type="http://schemas.openxmlformats.org/officeDocument/2006/relationships/slideLayout" Target="../slideLayouts/slideLayout539.xml"/><Relationship Id="rId9" Type="http://schemas.openxmlformats.org/officeDocument/2006/relationships/slideLayout" Target="../slideLayouts/slideLayout544.xml"/></Relationships>
</file>

<file path=ppt/slideMasters/_rels/slideMaster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6.jpg"/><Relationship Id="rId2" Type="http://schemas.openxmlformats.org/officeDocument/2006/relationships/theme" Target="../theme/theme35.xml"/><Relationship Id="rId1" Type="http://schemas.openxmlformats.org/officeDocument/2006/relationships/slideLayout" Target="../slideLayouts/slideLayout547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5.xml"/><Relationship Id="rId13" Type="http://schemas.openxmlformats.org/officeDocument/2006/relationships/theme" Target="../theme/theme36.xml"/><Relationship Id="rId3" Type="http://schemas.openxmlformats.org/officeDocument/2006/relationships/slideLayout" Target="../slideLayouts/slideLayout550.xml"/><Relationship Id="rId7" Type="http://schemas.openxmlformats.org/officeDocument/2006/relationships/slideLayout" Target="../slideLayouts/slideLayout554.xml"/><Relationship Id="rId12" Type="http://schemas.openxmlformats.org/officeDocument/2006/relationships/slideLayout" Target="../slideLayouts/slideLayout559.xml"/><Relationship Id="rId2" Type="http://schemas.openxmlformats.org/officeDocument/2006/relationships/slideLayout" Target="../slideLayouts/slideLayout549.xml"/><Relationship Id="rId1" Type="http://schemas.openxmlformats.org/officeDocument/2006/relationships/slideLayout" Target="../slideLayouts/slideLayout548.xml"/><Relationship Id="rId6" Type="http://schemas.openxmlformats.org/officeDocument/2006/relationships/slideLayout" Target="../slideLayouts/slideLayout553.xml"/><Relationship Id="rId11" Type="http://schemas.openxmlformats.org/officeDocument/2006/relationships/slideLayout" Target="../slideLayouts/slideLayout558.xml"/><Relationship Id="rId5" Type="http://schemas.openxmlformats.org/officeDocument/2006/relationships/slideLayout" Target="../slideLayouts/slideLayout552.xml"/><Relationship Id="rId10" Type="http://schemas.openxmlformats.org/officeDocument/2006/relationships/slideLayout" Target="../slideLayouts/slideLayout557.xml"/><Relationship Id="rId4" Type="http://schemas.openxmlformats.org/officeDocument/2006/relationships/slideLayout" Target="../slideLayouts/slideLayout551.xml"/><Relationship Id="rId9" Type="http://schemas.openxmlformats.org/officeDocument/2006/relationships/slideLayout" Target="../slideLayouts/slideLayout556.xml"/><Relationship Id="rId14" Type="http://schemas.openxmlformats.org/officeDocument/2006/relationships/image" Target="../media/image250.jp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7.xml"/><Relationship Id="rId3" Type="http://schemas.openxmlformats.org/officeDocument/2006/relationships/slideLayout" Target="../slideLayouts/slideLayout562.xml"/><Relationship Id="rId7" Type="http://schemas.openxmlformats.org/officeDocument/2006/relationships/slideLayout" Target="../slideLayouts/slideLayout566.xml"/><Relationship Id="rId12" Type="http://schemas.openxmlformats.org/officeDocument/2006/relationships/image" Target="../media/image246.jpg"/><Relationship Id="rId2" Type="http://schemas.openxmlformats.org/officeDocument/2006/relationships/slideLayout" Target="../slideLayouts/slideLayout561.xml"/><Relationship Id="rId1" Type="http://schemas.openxmlformats.org/officeDocument/2006/relationships/slideLayout" Target="../slideLayouts/slideLayout560.xml"/><Relationship Id="rId6" Type="http://schemas.openxmlformats.org/officeDocument/2006/relationships/slideLayout" Target="../slideLayouts/slideLayout565.xml"/><Relationship Id="rId11" Type="http://schemas.openxmlformats.org/officeDocument/2006/relationships/theme" Target="../theme/theme37.xml"/><Relationship Id="rId5" Type="http://schemas.openxmlformats.org/officeDocument/2006/relationships/slideLayout" Target="../slideLayouts/slideLayout564.xml"/><Relationship Id="rId10" Type="http://schemas.openxmlformats.org/officeDocument/2006/relationships/slideLayout" Target="../slideLayouts/slideLayout569.xml"/><Relationship Id="rId4" Type="http://schemas.openxmlformats.org/officeDocument/2006/relationships/slideLayout" Target="../slideLayouts/slideLayout563.xml"/><Relationship Id="rId9" Type="http://schemas.openxmlformats.org/officeDocument/2006/relationships/slideLayout" Target="../slideLayouts/slideLayout568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7.xml"/><Relationship Id="rId13" Type="http://schemas.openxmlformats.org/officeDocument/2006/relationships/slideLayout" Target="../slideLayouts/slideLayout582.xml"/><Relationship Id="rId18" Type="http://schemas.openxmlformats.org/officeDocument/2006/relationships/slideLayout" Target="../slideLayouts/slideLayout587.xml"/><Relationship Id="rId26" Type="http://schemas.openxmlformats.org/officeDocument/2006/relationships/slideLayout" Target="../slideLayouts/slideLayout595.xml"/><Relationship Id="rId3" Type="http://schemas.openxmlformats.org/officeDocument/2006/relationships/slideLayout" Target="../slideLayouts/slideLayout572.xml"/><Relationship Id="rId21" Type="http://schemas.openxmlformats.org/officeDocument/2006/relationships/slideLayout" Target="../slideLayouts/slideLayout590.xml"/><Relationship Id="rId7" Type="http://schemas.openxmlformats.org/officeDocument/2006/relationships/slideLayout" Target="../slideLayouts/slideLayout576.xml"/><Relationship Id="rId12" Type="http://schemas.openxmlformats.org/officeDocument/2006/relationships/slideLayout" Target="../slideLayouts/slideLayout581.xml"/><Relationship Id="rId17" Type="http://schemas.openxmlformats.org/officeDocument/2006/relationships/slideLayout" Target="../slideLayouts/slideLayout586.xml"/><Relationship Id="rId25" Type="http://schemas.openxmlformats.org/officeDocument/2006/relationships/slideLayout" Target="../slideLayouts/slideLayout594.xml"/><Relationship Id="rId2" Type="http://schemas.openxmlformats.org/officeDocument/2006/relationships/slideLayout" Target="../slideLayouts/slideLayout571.xml"/><Relationship Id="rId16" Type="http://schemas.openxmlformats.org/officeDocument/2006/relationships/slideLayout" Target="../slideLayouts/slideLayout585.xml"/><Relationship Id="rId20" Type="http://schemas.openxmlformats.org/officeDocument/2006/relationships/slideLayout" Target="../slideLayouts/slideLayout589.xml"/><Relationship Id="rId29" Type="http://schemas.openxmlformats.org/officeDocument/2006/relationships/slideLayout" Target="../slideLayouts/slideLayout598.xml"/><Relationship Id="rId1" Type="http://schemas.openxmlformats.org/officeDocument/2006/relationships/slideLayout" Target="../slideLayouts/slideLayout570.xml"/><Relationship Id="rId6" Type="http://schemas.openxmlformats.org/officeDocument/2006/relationships/slideLayout" Target="../slideLayouts/slideLayout575.xml"/><Relationship Id="rId11" Type="http://schemas.openxmlformats.org/officeDocument/2006/relationships/slideLayout" Target="../slideLayouts/slideLayout580.xml"/><Relationship Id="rId24" Type="http://schemas.openxmlformats.org/officeDocument/2006/relationships/slideLayout" Target="../slideLayouts/slideLayout593.xml"/><Relationship Id="rId5" Type="http://schemas.openxmlformats.org/officeDocument/2006/relationships/slideLayout" Target="../slideLayouts/slideLayout574.xml"/><Relationship Id="rId15" Type="http://schemas.openxmlformats.org/officeDocument/2006/relationships/slideLayout" Target="../slideLayouts/slideLayout584.xml"/><Relationship Id="rId23" Type="http://schemas.openxmlformats.org/officeDocument/2006/relationships/slideLayout" Target="../slideLayouts/slideLayout592.xml"/><Relationship Id="rId28" Type="http://schemas.openxmlformats.org/officeDocument/2006/relationships/slideLayout" Target="../slideLayouts/slideLayout597.xml"/><Relationship Id="rId10" Type="http://schemas.openxmlformats.org/officeDocument/2006/relationships/slideLayout" Target="../slideLayouts/slideLayout579.xml"/><Relationship Id="rId19" Type="http://schemas.openxmlformats.org/officeDocument/2006/relationships/slideLayout" Target="../slideLayouts/slideLayout588.xml"/><Relationship Id="rId31" Type="http://schemas.openxmlformats.org/officeDocument/2006/relationships/image" Target="../media/image4.jpg"/><Relationship Id="rId4" Type="http://schemas.openxmlformats.org/officeDocument/2006/relationships/slideLayout" Target="../slideLayouts/slideLayout573.xml"/><Relationship Id="rId9" Type="http://schemas.openxmlformats.org/officeDocument/2006/relationships/slideLayout" Target="../slideLayouts/slideLayout578.xml"/><Relationship Id="rId14" Type="http://schemas.openxmlformats.org/officeDocument/2006/relationships/slideLayout" Target="../slideLayouts/slideLayout583.xml"/><Relationship Id="rId22" Type="http://schemas.openxmlformats.org/officeDocument/2006/relationships/slideLayout" Target="../slideLayouts/slideLayout591.xml"/><Relationship Id="rId27" Type="http://schemas.openxmlformats.org/officeDocument/2006/relationships/slideLayout" Target="../slideLayouts/slideLayout596.xml"/><Relationship Id="rId30" Type="http://schemas.openxmlformats.org/officeDocument/2006/relationships/theme" Target="../theme/theme3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6.xml"/><Relationship Id="rId13" Type="http://schemas.openxmlformats.org/officeDocument/2006/relationships/slideLayout" Target="../slideLayouts/slideLayout611.xml"/><Relationship Id="rId3" Type="http://schemas.openxmlformats.org/officeDocument/2006/relationships/slideLayout" Target="../slideLayouts/slideLayout601.xml"/><Relationship Id="rId7" Type="http://schemas.openxmlformats.org/officeDocument/2006/relationships/slideLayout" Target="../slideLayouts/slideLayout605.xml"/><Relationship Id="rId12" Type="http://schemas.openxmlformats.org/officeDocument/2006/relationships/slideLayout" Target="../slideLayouts/slideLayout610.xml"/><Relationship Id="rId2" Type="http://schemas.openxmlformats.org/officeDocument/2006/relationships/slideLayout" Target="../slideLayouts/slideLayout600.xml"/><Relationship Id="rId16" Type="http://schemas.openxmlformats.org/officeDocument/2006/relationships/image" Target="../media/image246.jpg"/><Relationship Id="rId1" Type="http://schemas.openxmlformats.org/officeDocument/2006/relationships/slideLayout" Target="../slideLayouts/slideLayout599.xml"/><Relationship Id="rId6" Type="http://schemas.openxmlformats.org/officeDocument/2006/relationships/slideLayout" Target="../slideLayouts/slideLayout604.xml"/><Relationship Id="rId11" Type="http://schemas.openxmlformats.org/officeDocument/2006/relationships/slideLayout" Target="../slideLayouts/slideLayout609.xml"/><Relationship Id="rId5" Type="http://schemas.openxmlformats.org/officeDocument/2006/relationships/slideLayout" Target="../slideLayouts/slideLayout603.xml"/><Relationship Id="rId15" Type="http://schemas.openxmlformats.org/officeDocument/2006/relationships/theme" Target="../theme/theme39.xml"/><Relationship Id="rId10" Type="http://schemas.openxmlformats.org/officeDocument/2006/relationships/slideLayout" Target="../slideLayouts/slideLayout608.xml"/><Relationship Id="rId4" Type="http://schemas.openxmlformats.org/officeDocument/2006/relationships/slideLayout" Target="../slideLayouts/slideLayout602.xml"/><Relationship Id="rId9" Type="http://schemas.openxmlformats.org/officeDocument/2006/relationships/slideLayout" Target="../slideLayouts/slideLayout607.xml"/><Relationship Id="rId14" Type="http://schemas.openxmlformats.org/officeDocument/2006/relationships/slideLayout" Target="../slideLayouts/slideLayout612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slideLayout" Target="../slideLayouts/slideLayout3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image" Target="../media/image4.jp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3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3.jp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2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48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9.xml"/><Relationship Id="rId10" Type="http://schemas.openxmlformats.org/officeDocument/2006/relationships/image" Target="../media/image13.jpg"/><Relationship Id="rId4" Type="http://schemas.openxmlformats.org/officeDocument/2006/relationships/slideLayout" Target="../slideLayouts/slideLayout49.xml"/><Relationship Id="rId9" Type="http://schemas.openxmlformats.org/officeDocument/2006/relationships/image" Target="../media/image1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8529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609448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609448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52" indent="-380905" algn="l" defTabSz="609448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619" indent="-304724" algn="l" defTabSz="609448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067" indent="-304724" algn="l" defTabSz="609448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4" indent="-304724" algn="l" defTabSz="609448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2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2526644" y="6433773"/>
            <a:ext cx="865824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5/30/18</a:t>
            </a:fld>
            <a:endParaRPr lang="en-US" sz="120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6644" y="6433773"/>
            <a:ext cx="865824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5/30/18</a:t>
            </a:fld>
            <a:endParaRPr lang="en-US" sz="120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67951" y="6676993"/>
            <a:ext cx="125034" cy="1108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800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800" b="0" kern="1200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204" y="6451805"/>
            <a:ext cx="900259" cy="160087"/>
          </a:xfrm>
          <a:prstGeom prst="rect">
            <a:avLst/>
          </a:prstGeom>
        </p:spPr>
      </p:pic>
      <p:sp>
        <p:nvSpPr>
          <p:cNvPr id="15" name="fl"/>
          <p:cNvSpPr txBox="1"/>
          <p:nvPr/>
        </p:nvSpPr>
        <p:spPr>
          <a:xfrm>
            <a:off x="0" y="6421152"/>
            <a:ext cx="65" cy="18460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1218895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endParaRPr lang="en-US" sz="1333" b="0" i="0" u="none" baseline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940692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  <p:sldLayoutId id="2147483901" r:id="rId15"/>
    <p:sldLayoutId id="2147483902" r:id="rId16"/>
    <p:sldLayoutId id="2147483903" r:id="rId17"/>
    <p:sldLayoutId id="2147483904" r:id="rId18"/>
    <p:sldLayoutId id="2147483905" r:id="rId19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2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 b="1">
          <a:solidFill>
            <a:schemeClr val="accent1"/>
          </a:solidFill>
          <a:latin typeface="Arial Black" pitchFamily="34" charset="0"/>
        </a:defRPr>
      </a:lvl5pPr>
      <a:lvl6pPr marL="609448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5" b="1">
          <a:solidFill>
            <a:schemeClr val="accent1"/>
          </a:solidFill>
          <a:latin typeface="Arial Black" pitchFamily="34" charset="0"/>
        </a:defRPr>
      </a:lvl6pPr>
      <a:lvl7pPr marL="121889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5" b="1">
          <a:solidFill>
            <a:schemeClr val="accent1"/>
          </a:solidFill>
          <a:latin typeface="Arial Black" pitchFamily="34" charset="0"/>
        </a:defRPr>
      </a:lvl7pPr>
      <a:lvl8pPr marL="1828343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5" b="1">
          <a:solidFill>
            <a:schemeClr val="accent1"/>
          </a:solidFill>
          <a:latin typeface="Arial Black" pitchFamily="34" charset="0"/>
        </a:defRPr>
      </a:lvl8pPr>
      <a:lvl9pPr marL="243779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5" b="1">
          <a:solidFill>
            <a:schemeClr val="accent1"/>
          </a:solidFill>
          <a:latin typeface="Arial Black" pitchFamily="34" charset="0"/>
        </a:defRPr>
      </a:lvl9pPr>
    </p:titleStyle>
    <p:bodyStyle>
      <a:lvl1pPr marL="304724" indent="-304724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6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66042" indent="-31107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12547" indent="-294144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61169" indent="-296259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43648" indent="-315305" algn="l" rtl="0" eaLnBrk="1" fontAlgn="base" hangingPunct="1">
        <a:lnSpc>
          <a:spcPct val="90000"/>
        </a:lnSpc>
        <a:spcBef>
          <a:spcPts val="1066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399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096" indent="-3153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2543" indent="-3153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1991" indent="-3153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1438" indent="-315305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12" userDrawn="1">
          <p15:clr>
            <a:srgbClr val="F26B43"/>
          </p15:clr>
        </p15:guide>
        <p15:guide id="2" pos="3839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70" y="441273"/>
            <a:ext cx="11652805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72" y="1340936"/>
            <a:ext cx="11650487" cy="232858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3795" y="3012499"/>
            <a:ext cx="6858623" cy="833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46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21" r:id="rId15"/>
    <p:sldLayoutId id="2147483922" r:id="rId16"/>
    <p:sldLayoutId id="2147483923" r:id="rId17"/>
    <p:sldLayoutId id="2147483924" r:id="rId18"/>
    <p:sldLayoutId id="2147483925" r:id="rId19"/>
    <p:sldLayoutId id="2147483926" r:id="rId20"/>
    <p:sldLayoutId id="2147483927" r:id="rId21"/>
    <p:sldLayoutId id="2147483928" r:id="rId22"/>
    <p:sldLayoutId id="2147484324" r:id="rId23"/>
  </p:sldLayoutIdLst>
  <p:transition>
    <p:fade/>
  </p:transition>
  <p:txStyles>
    <p:titleStyle>
      <a:lvl1pPr algn="l" defTabSz="914138" rtl="0" eaLnBrk="1" latinLnBrk="0" hangingPunct="1">
        <a:lnSpc>
          <a:spcPct val="90000"/>
        </a:lnSpc>
        <a:spcBef>
          <a:spcPct val="0"/>
        </a:spcBef>
        <a:buNone/>
        <a:defRPr lang="en-US" sz="392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41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81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12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6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20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881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95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02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09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6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3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0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277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347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416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484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555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9" userDrawn="1">
          <p15:clr>
            <a:srgbClr val="5ACBF0"/>
          </p15:clr>
        </p15:guide>
        <p15:guide id="2" pos="231" userDrawn="1">
          <p15:clr>
            <a:srgbClr val="5ACBF0"/>
          </p15:clr>
        </p15:guide>
        <p15:guide id="3" pos="998" userDrawn="1">
          <p15:clr>
            <a:srgbClr val="5ACBF0"/>
          </p15:clr>
        </p15:guide>
        <p15:guide id="4" pos="1766" userDrawn="1">
          <p15:clr>
            <a:srgbClr val="5ACBF0"/>
          </p15:clr>
        </p15:guide>
        <p15:guide id="5" pos="2534" userDrawn="1">
          <p15:clr>
            <a:srgbClr val="5ACBF0"/>
          </p15:clr>
        </p15:guide>
        <p15:guide id="6" pos="3302" userDrawn="1">
          <p15:clr>
            <a:srgbClr val="5ACBF0"/>
          </p15:clr>
        </p15:guide>
        <p15:guide id="7" pos="4070" userDrawn="1">
          <p15:clr>
            <a:srgbClr val="5ACBF0"/>
          </p15:clr>
        </p15:guide>
        <p15:guide id="8" pos="4837" userDrawn="1">
          <p15:clr>
            <a:srgbClr val="5ACBF0"/>
          </p15:clr>
        </p15:guide>
        <p15:guide id="9" pos="5605" userDrawn="1">
          <p15:clr>
            <a:srgbClr val="5ACBF0"/>
          </p15:clr>
        </p15:guide>
        <p15:guide id="10" pos="6373" userDrawn="1">
          <p15:clr>
            <a:srgbClr val="5ACBF0"/>
          </p15:clr>
        </p15:guide>
        <p15:guide id="11" pos="7141" userDrawn="1">
          <p15:clr>
            <a:srgbClr val="5ACBF0"/>
          </p15:clr>
        </p15:guide>
        <p15:guide id="12" pos="7909" userDrawn="1">
          <p15:clr>
            <a:srgbClr val="5ACBF0"/>
          </p15:clr>
        </p15:guide>
        <p15:guide id="13" pos="8676" userDrawn="1">
          <p15:clr>
            <a:srgbClr val="5ACBF0"/>
          </p15:clr>
        </p15:guide>
        <p15:guide id="14" pos="9444" userDrawn="1">
          <p15:clr>
            <a:srgbClr val="5ACBF0"/>
          </p15:clr>
        </p15:guide>
        <p15:guide id="15" pos="10212" userDrawn="1">
          <p15:clr>
            <a:srgbClr val="5ACBF0"/>
          </p15:clr>
        </p15:guide>
        <p15:guide id="16" pos="384" userDrawn="1">
          <p15:clr>
            <a:srgbClr val="C35EA4"/>
          </p15:clr>
        </p15:guide>
        <p15:guide id="17" pos="10059" userDrawn="1">
          <p15:clr>
            <a:srgbClr val="C35EA4"/>
          </p15:clr>
        </p15:guide>
        <p15:guide id="18" orient="horz" pos="1017" userDrawn="1">
          <p15:clr>
            <a:srgbClr val="5ACBF0"/>
          </p15:clr>
        </p15:guide>
        <p15:guide id="19" orient="horz" pos="1785" userDrawn="1">
          <p15:clr>
            <a:srgbClr val="5ACBF0"/>
          </p15:clr>
        </p15:guide>
        <p15:guide id="20" orient="horz" pos="2553" userDrawn="1">
          <p15:clr>
            <a:srgbClr val="5ACBF0"/>
          </p15:clr>
        </p15:guide>
        <p15:guide id="21" orient="horz" pos="3321" userDrawn="1">
          <p15:clr>
            <a:srgbClr val="5ACBF0"/>
          </p15:clr>
        </p15:guide>
        <p15:guide id="22" orient="horz" pos="4089" userDrawn="1">
          <p15:clr>
            <a:srgbClr val="5ACBF0"/>
          </p15:clr>
        </p15:guide>
        <p15:guide id="23" orient="horz" pos="4857" userDrawn="1">
          <p15:clr>
            <a:srgbClr val="5ACBF0"/>
          </p15:clr>
        </p15:guide>
        <p15:guide id="24" orient="horz" pos="5625" userDrawn="1">
          <p15:clr>
            <a:srgbClr val="5ACBF0"/>
          </p15:clr>
        </p15:guide>
        <p15:guide id="25" orient="horz" pos="403" userDrawn="1">
          <p15:clr>
            <a:srgbClr val="C35EA4"/>
          </p15:clr>
        </p15:guide>
        <p15:guide id="26" orient="horz" pos="5472" userDrawn="1">
          <p15:clr>
            <a:srgbClr val="C35E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70" y="289513"/>
            <a:ext cx="11652805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73" y="1189180"/>
            <a:ext cx="11650487" cy="2328329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76017" y="3012188"/>
            <a:ext cx="6858623" cy="833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49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  <p:sldLayoutId id="2147483945" r:id="rId15"/>
    <p:sldLayoutId id="2147483946" r:id="rId16"/>
    <p:sldLayoutId id="2147483947" r:id="rId17"/>
    <p:sldLayoutId id="2147483948" r:id="rId18"/>
    <p:sldLayoutId id="2147483949" r:id="rId19"/>
    <p:sldLayoutId id="2147483950" r:id="rId20"/>
    <p:sldLayoutId id="2147483951" r:id="rId21"/>
    <p:sldLayoutId id="2147483952" r:id="rId22"/>
    <p:sldLayoutId id="2147483953" r:id="rId23"/>
    <p:sldLayoutId id="2147483954" r:id="rId24"/>
  </p:sldLayoutIdLst>
  <p:transition>
    <p:fade/>
  </p:transition>
  <p:txStyles>
    <p:titleStyle>
      <a:lvl1pPr algn="l" defTabSz="913963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47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n-lt"/>
          <a:ea typeface="+mn-ea"/>
          <a:cs typeface="Segoe UI" pitchFamily="34" charset="0"/>
        </a:defRPr>
      </a:lvl1pPr>
    </p:titleStyle>
    <p:bodyStyle>
      <a:lvl1pPr marL="223999" marR="0" indent="-223999" algn="l" defTabSz="9139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7995" marR="0" indent="-223999" algn="l" defTabSz="9139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1993" marR="0" indent="-223999" algn="l" defTabSz="9139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5991" marR="0" indent="-223999" algn="l" defTabSz="9139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19988" marR="0" indent="-223999" algn="l" defTabSz="9139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398" indent="-228491" algn="l" defTabSz="91396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380" indent="-228491" algn="l" defTabSz="91396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362" indent="-228491" algn="l" defTabSz="91396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343" indent="-228491" algn="l" defTabSz="91396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6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980" algn="l" defTabSz="91396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963" algn="l" defTabSz="91396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944" algn="l" defTabSz="91396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926" algn="l" defTabSz="91396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907" algn="l" defTabSz="91396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889" algn="l" defTabSz="91396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871" algn="l" defTabSz="91396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852" algn="l" defTabSz="91396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841" userDrawn="1">
          <p15:clr>
            <a:srgbClr val="C35EA4"/>
          </p15:clr>
        </p15:guide>
        <p15:guide id="4" pos="2037" userDrawn="1">
          <p15:clr>
            <a:srgbClr val="C35EA4"/>
          </p15:clr>
        </p15:guide>
        <p15:guide id="5" pos="3490" userDrawn="1">
          <p15:clr>
            <a:srgbClr val="C35EA4"/>
          </p15:clr>
        </p15:guide>
        <p15:guide id="6" pos="3686" userDrawn="1">
          <p15:clr>
            <a:srgbClr val="C35EA4"/>
          </p15:clr>
        </p15:guide>
        <p15:guide id="7" pos="5137" userDrawn="1">
          <p15:clr>
            <a:srgbClr val="C35EA4"/>
          </p15:clr>
        </p15:guide>
        <p15:guide id="8" pos="5336" userDrawn="1">
          <p15:clr>
            <a:srgbClr val="C35EA4"/>
          </p15:clr>
        </p15:guide>
        <p15:guide id="9" pos="6776" userDrawn="1">
          <p15:clr>
            <a:srgbClr val="C35EA4"/>
          </p15:clr>
        </p15:guide>
        <p15:guide id="10" pos="6972" userDrawn="1">
          <p15:clr>
            <a:srgbClr val="C35EA4"/>
          </p15:clr>
        </p15:guide>
        <p15:guide id="11" pos="8428" userDrawn="1">
          <p15:clr>
            <a:srgbClr val="C35EA4"/>
          </p15:clr>
        </p15:guide>
        <p15:guide id="12" pos="8623" userDrawn="1">
          <p15:clr>
            <a:srgbClr val="C35EA4"/>
          </p15:clr>
        </p15:guide>
        <p15:guide id="16" pos="391" userDrawn="1">
          <p15:clr>
            <a:srgbClr val="F26B43"/>
          </p15:clr>
        </p15:guide>
        <p15:guide id="17" pos="10075" userDrawn="1">
          <p15:clr>
            <a:srgbClr val="F26B43"/>
          </p15:clr>
        </p15:guide>
        <p15:guide id="18" orient="horz" pos="1001" userDrawn="1">
          <p15:clr>
            <a:srgbClr val="5ACBF0"/>
          </p15:clr>
        </p15:guide>
        <p15:guide id="19" orient="horz" pos="1821" userDrawn="1">
          <p15:clr>
            <a:srgbClr val="5ACBF0"/>
          </p15:clr>
        </p15:guide>
        <p15:guide id="20" orient="horz" pos="807" userDrawn="1">
          <p15:clr>
            <a:srgbClr val="5ACBF0"/>
          </p15:clr>
        </p15:guide>
        <p15:guide id="21" orient="horz" pos="2019" userDrawn="1">
          <p15:clr>
            <a:srgbClr val="5ACBF0"/>
          </p15:clr>
        </p15:guide>
        <p15:guide id="22" orient="horz" pos="2840" userDrawn="1">
          <p15:clr>
            <a:srgbClr val="5ACBF0"/>
          </p15:clr>
        </p15:guide>
        <p15:guide id="23" orient="horz" pos="3033" userDrawn="1">
          <p15:clr>
            <a:srgbClr val="5ACBF0"/>
          </p15:clr>
        </p15:guide>
        <p15:guide id="25" orient="horz" pos="377" userDrawn="1">
          <p15:clr>
            <a:srgbClr val="F26B43"/>
          </p15:clr>
        </p15:guide>
        <p15:guide id="26" orient="horz" pos="5493" userDrawn="1">
          <p15:clr>
            <a:srgbClr val="F26B43"/>
          </p15:clr>
        </p15:guide>
        <p15:guide id="27" orient="horz" pos="3855" userDrawn="1">
          <p15:clr>
            <a:srgbClr val="5ACBF0"/>
          </p15:clr>
        </p15:guide>
        <p15:guide id="28" orient="horz" pos="4051" userDrawn="1">
          <p15:clr>
            <a:srgbClr val="5ACBF0"/>
          </p15:clr>
        </p15:guide>
        <p15:guide id="29" orient="horz" pos="4872" userDrawn="1">
          <p15:clr>
            <a:srgbClr val="5ACBF0"/>
          </p15:clr>
        </p15:guide>
        <p15:guide id="30" orient="horz" pos="5067" userDrawn="1">
          <p15:clr>
            <a:srgbClr val="5ACBF0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70" y="289513"/>
            <a:ext cx="11652805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72" y="1189179"/>
            <a:ext cx="11650487" cy="232858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76016" y="3012188"/>
            <a:ext cx="6858623" cy="833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25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  <p:sldLayoutId id="2147483976" r:id="rId21"/>
    <p:sldLayoutId id="2147483977" r:id="rId22"/>
    <p:sldLayoutId id="2147483978" r:id="rId23"/>
    <p:sldLayoutId id="2147483979" r:id="rId24"/>
    <p:sldLayoutId id="2147483980" r:id="rId25"/>
    <p:sldLayoutId id="2147483981" r:id="rId26"/>
    <p:sldLayoutId id="2147483982" r:id="rId27"/>
    <p:sldLayoutId id="2147483983" r:id="rId28"/>
    <p:sldLayoutId id="2147483984" r:id="rId29"/>
    <p:sldLayoutId id="2147483985" r:id="rId30"/>
    <p:sldLayoutId id="2147483986" r:id="rId31"/>
    <p:sldLayoutId id="2147483987" r:id="rId32"/>
    <p:sldLayoutId id="2147483988" r:id="rId33"/>
    <p:sldLayoutId id="2147483989" r:id="rId34"/>
    <p:sldLayoutId id="2147483990" r:id="rId35"/>
    <p:sldLayoutId id="2147483991" r:id="rId36"/>
    <p:sldLayoutId id="2147483992" r:id="rId37"/>
    <p:sldLayoutId id="2147483993" r:id="rId38"/>
    <p:sldLayoutId id="2147483994" r:id="rId39"/>
    <p:sldLayoutId id="2147483995" r:id="rId40"/>
  </p:sldLayoutIdLst>
  <p:transition>
    <p:fade/>
  </p:transition>
  <p:txStyles>
    <p:titleStyle>
      <a:lvl1pPr algn="l" defTabSz="914138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47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41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081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12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16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20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881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95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02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09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6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3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0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277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347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416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484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555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841" userDrawn="1">
          <p15:clr>
            <a:srgbClr val="C35EA4"/>
          </p15:clr>
        </p15:guide>
        <p15:guide id="4" pos="2037" userDrawn="1">
          <p15:clr>
            <a:srgbClr val="C35EA4"/>
          </p15:clr>
        </p15:guide>
        <p15:guide id="5" pos="3490" userDrawn="1">
          <p15:clr>
            <a:srgbClr val="C35EA4"/>
          </p15:clr>
        </p15:guide>
        <p15:guide id="6" pos="3686" userDrawn="1">
          <p15:clr>
            <a:srgbClr val="C35EA4"/>
          </p15:clr>
        </p15:guide>
        <p15:guide id="7" pos="5137" userDrawn="1">
          <p15:clr>
            <a:srgbClr val="C35EA4"/>
          </p15:clr>
        </p15:guide>
        <p15:guide id="8" pos="5336" userDrawn="1">
          <p15:clr>
            <a:srgbClr val="C35EA4"/>
          </p15:clr>
        </p15:guide>
        <p15:guide id="9" pos="6776" userDrawn="1">
          <p15:clr>
            <a:srgbClr val="C35EA4"/>
          </p15:clr>
        </p15:guide>
        <p15:guide id="10" pos="6972" userDrawn="1">
          <p15:clr>
            <a:srgbClr val="C35EA4"/>
          </p15:clr>
        </p15:guide>
        <p15:guide id="11" pos="8428" userDrawn="1">
          <p15:clr>
            <a:srgbClr val="C35EA4"/>
          </p15:clr>
        </p15:guide>
        <p15:guide id="12" pos="8623" userDrawn="1">
          <p15:clr>
            <a:srgbClr val="C35EA4"/>
          </p15:clr>
        </p15:guide>
        <p15:guide id="16" pos="391" userDrawn="1">
          <p15:clr>
            <a:srgbClr val="F26B43"/>
          </p15:clr>
        </p15:guide>
        <p15:guide id="17" pos="10075" userDrawn="1">
          <p15:clr>
            <a:srgbClr val="F26B43"/>
          </p15:clr>
        </p15:guide>
        <p15:guide id="18" orient="horz" pos="1001" userDrawn="1">
          <p15:clr>
            <a:srgbClr val="5ACBF0"/>
          </p15:clr>
        </p15:guide>
        <p15:guide id="19" orient="horz" pos="1821" userDrawn="1">
          <p15:clr>
            <a:srgbClr val="5ACBF0"/>
          </p15:clr>
        </p15:guide>
        <p15:guide id="20" orient="horz" pos="807" userDrawn="1">
          <p15:clr>
            <a:srgbClr val="5ACBF0"/>
          </p15:clr>
        </p15:guide>
        <p15:guide id="21" orient="horz" pos="2019" userDrawn="1">
          <p15:clr>
            <a:srgbClr val="5ACBF0"/>
          </p15:clr>
        </p15:guide>
        <p15:guide id="22" orient="horz" pos="2840" userDrawn="1">
          <p15:clr>
            <a:srgbClr val="5ACBF0"/>
          </p15:clr>
        </p15:guide>
        <p15:guide id="23" orient="horz" pos="3033" userDrawn="1">
          <p15:clr>
            <a:srgbClr val="5ACBF0"/>
          </p15:clr>
        </p15:guide>
        <p15:guide id="25" orient="horz" pos="377" userDrawn="1">
          <p15:clr>
            <a:srgbClr val="F26B43"/>
          </p15:clr>
        </p15:guide>
        <p15:guide id="26" orient="horz" pos="5493" userDrawn="1">
          <p15:clr>
            <a:srgbClr val="F26B43"/>
          </p15:clr>
        </p15:guide>
        <p15:guide id="27" orient="horz" pos="3855" userDrawn="1">
          <p15:clr>
            <a:srgbClr val="5ACBF0"/>
          </p15:clr>
        </p15:guide>
        <p15:guide id="28" orient="horz" pos="4051" userDrawn="1">
          <p15:clr>
            <a:srgbClr val="5ACBF0"/>
          </p15:clr>
        </p15:guide>
        <p15:guide id="29" orient="horz" pos="4872" userDrawn="1">
          <p15:clr>
            <a:srgbClr val="5ACBF0"/>
          </p15:clr>
        </p15:guide>
        <p15:guide id="30" orient="horz" pos="5067" userDrawn="1">
          <p15:clr>
            <a:srgbClr val="5ACBF0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70" y="291069"/>
            <a:ext cx="11650488" cy="898107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70" y="1187644"/>
            <a:ext cx="11650488" cy="5110347"/>
          </a:xfrm>
          <a:prstGeom prst="rect">
            <a:avLst/>
          </a:prstGeom>
        </p:spPr>
        <p:txBody>
          <a:bodyPr vert="horz" wrap="square" lIns="182880" tIns="146304" rIns="182880" bIns="146304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12282198" y="1"/>
            <a:ext cx="918179" cy="6858001"/>
            <a:chOff x="12531744" y="-1"/>
            <a:chExt cx="999425" cy="7461827"/>
          </a:xfrm>
        </p:grpSpPr>
        <p:sp>
          <p:nvSpPr>
            <p:cNvPr id="18" name="Rectangle 17"/>
            <p:cNvSpPr/>
            <p:nvPr userDrawn="1"/>
          </p:nvSpPr>
          <p:spPr bwMode="auto">
            <a:xfrm>
              <a:off x="12531744" y="7141171"/>
              <a:ext cx="999425" cy="320655"/>
            </a:xfrm>
            <a:prstGeom prst="rect">
              <a:avLst/>
            </a:prstGeom>
            <a:solidFill>
              <a:srgbClr val="107C1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372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Xbox</a:t>
              </a:r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12531744" y="6775879"/>
              <a:ext cx="999425" cy="320655"/>
            </a:xfrm>
            <a:prstGeom prst="rect">
              <a:avLst/>
            </a:pr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372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Office</a:t>
              </a: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>
              <a:off x="12542835" y="-1"/>
              <a:ext cx="977242" cy="6697663"/>
            </a:xfrm>
            <a:prstGeom prst="rect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7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12590896" y="102219"/>
              <a:ext cx="881119" cy="7978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8961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CG Color </a:t>
              </a:r>
              <a:br>
                <a:rPr kumimoji="0" lang="en-US" sz="1765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en-US" sz="1765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cheme</a:t>
              </a:r>
            </a:p>
          </p:txBody>
        </p:sp>
        <p:sp>
          <p:nvSpPr>
            <p:cNvPr id="26" name="Rectangle 25"/>
            <p:cNvSpPr/>
            <p:nvPr userDrawn="1"/>
          </p:nvSpPr>
          <p:spPr bwMode="auto">
            <a:xfrm>
              <a:off x="12717018" y="1017797"/>
              <a:ext cx="628877" cy="628876"/>
            </a:xfrm>
            <a:prstGeom prst="rect">
              <a:avLst/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7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auto">
            <a:xfrm>
              <a:off x="12717018" y="1724890"/>
              <a:ext cx="628877" cy="628876"/>
            </a:xfrm>
            <a:prstGeom prst="rect">
              <a:avLst/>
            </a:prstGeom>
            <a:solidFill>
              <a:srgbClr val="FF8C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7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Rectangle 27"/>
            <p:cNvSpPr/>
            <p:nvPr userDrawn="1"/>
          </p:nvSpPr>
          <p:spPr bwMode="auto">
            <a:xfrm>
              <a:off x="12717018" y="2431983"/>
              <a:ext cx="628877" cy="628876"/>
            </a:xfrm>
            <a:prstGeom prst="rect">
              <a:avLst/>
            </a:prstGeom>
            <a:solidFill>
              <a:srgbClr val="5C2D9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7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auto">
            <a:xfrm>
              <a:off x="12717018" y="3846169"/>
              <a:ext cx="628877" cy="628876"/>
            </a:xfrm>
            <a:prstGeom prst="rect">
              <a:avLst/>
            </a:prstGeom>
            <a:solidFill>
              <a:srgbClr val="52525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7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>
              <a:off x="12717018" y="3139076"/>
              <a:ext cx="628877" cy="62887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7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auto">
            <a:xfrm>
              <a:off x="12531744" y="7141171"/>
              <a:ext cx="999425" cy="320655"/>
            </a:xfrm>
            <a:prstGeom prst="rect">
              <a:avLst/>
            </a:prstGeom>
            <a:solidFill>
              <a:srgbClr val="107C1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372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Xbox</a:t>
              </a:r>
            </a:p>
          </p:txBody>
        </p:sp>
        <p:sp>
          <p:nvSpPr>
            <p:cNvPr id="33" name="Rectangle 32"/>
            <p:cNvSpPr/>
            <p:nvPr userDrawn="1"/>
          </p:nvSpPr>
          <p:spPr bwMode="auto">
            <a:xfrm>
              <a:off x="12531744" y="6775879"/>
              <a:ext cx="999425" cy="320655"/>
            </a:xfrm>
            <a:prstGeom prst="rect">
              <a:avLst/>
            </a:prstGeom>
            <a:solidFill>
              <a:srgbClr val="D83B0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87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372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Office</a:t>
              </a:r>
            </a:p>
          </p:txBody>
        </p:sp>
        <p:sp>
          <p:nvSpPr>
            <p:cNvPr id="34" name="Rectangle 33"/>
            <p:cNvSpPr/>
            <p:nvPr userDrawn="1"/>
          </p:nvSpPr>
          <p:spPr bwMode="auto">
            <a:xfrm>
              <a:off x="12717018" y="4553262"/>
              <a:ext cx="628877" cy="628876"/>
            </a:xfrm>
            <a:prstGeom prst="rect">
              <a:avLst/>
            </a:prstGeom>
            <a:solidFill>
              <a:srgbClr val="00827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7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Rectangle 34"/>
            <p:cNvSpPr/>
            <p:nvPr userDrawn="1"/>
          </p:nvSpPr>
          <p:spPr bwMode="auto">
            <a:xfrm>
              <a:off x="12717018" y="5260355"/>
              <a:ext cx="628877" cy="628876"/>
            </a:xfrm>
            <a:prstGeom prst="rect">
              <a:avLst/>
            </a:prstGeom>
            <a:solidFill>
              <a:srgbClr val="B4009E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7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auto">
            <a:xfrm>
              <a:off x="12717018" y="5967449"/>
              <a:ext cx="628877" cy="628876"/>
            </a:xfrm>
            <a:prstGeom prst="rect">
              <a:avLst/>
            </a:prstGeom>
            <a:solidFill>
              <a:srgbClr val="00188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87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8028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  <p:sldLayoutId id="2147484012" r:id="rId16"/>
    <p:sldLayoutId id="2147484013" r:id="rId17"/>
    <p:sldLayoutId id="2147484014" r:id="rId18"/>
    <p:sldLayoutId id="2147484015" r:id="rId19"/>
    <p:sldLayoutId id="2147484016" r:id="rId20"/>
    <p:sldLayoutId id="2147484017" r:id="rId21"/>
    <p:sldLayoutId id="2147484018" r:id="rId22"/>
    <p:sldLayoutId id="2147484019" r:id="rId23"/>
    <p:sldLayoutId id="2147484020" r:id="rId24"/>
  </p:sldLayoutIdLst>
  <p:transition>
    <p:fade/>
  </p:transition>
  <p:txStyles>
    <p:titleStyle>
      <a:lvl1pPr algn="l" defTabSz="914138" rtl="0" eaLnBrk="1" latinLnBrk="0" hangingPunct="1">
        <a:lnSpc>
          <a:spcPct val="90000"/>
        </a:lnSpc>
        <a:spcBef>
          <a:spcPct val="0"/>
        </a:spcBef>
        <a:buNone/>
        <a:defRPr lang="en-US" sz="4399" b="1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61" marR="0" indent="-33606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47" marR="0" indent="-236488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4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8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2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881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95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02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09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6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3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0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277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347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416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484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555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231" userDrawn="1">
          <p15:clr>
            <a:srgbClr val="C35EA4"/>
          </p15:clr>
        </p15:guide>
        <p15:guide id="17" pos="10212" userDrawn="1">
          <p15:clr>
            <a:srgbClr val="C35EA4"/>
          </p15:clr>
        </p15:guide>
        <p15:guide id="25" orient="horz" pos="249" userDrawn="1">
          <p15:clr>
            <a:srgbClr val="C35EA4"/>
          </p15:clr>
        </p15:guide>
        <p15:guide id="26" orient="horz" pos="5472" userDrawn="1">
          <p15:clr>
            <a:srgbClr val="C35EA4"/>
          </p15:clr>
        </p15:guide>
        <p15:guide id="27" orient="horz" pos="5625" userDrawn="1">
          <p15:clr>
            <a:srgbClr val="C35EA4"/>
          </p15:clr>
        </p15:guide>
        <p15:guide id="28" pos="4837" userDrawn="1">
          <p15:clr>
            <a:srgbClr val="A4A3A4"/>
          </p15:clr>
        </p15:guide>
        <p15:guide id="29" orient="horz" pos="5395" userDrawn="1">
          <p15:clr>
            <a:srgbClr val="C35EA4"/>
          </p15:clr>
        </p15:guide>
        <p15:guide id="30" pos="384" userDrawn="1">
          <p15:clr>
            <a:srgbClr val="C35EA4"/>
          </p15:clr>
        </p15:guide>
        <p15:guide id="31" pos="10059" userDrawn="1">
          <p15:clr>
            <a:srgbClr val="C35EA4"/>
          </p15:clr>
        </p15:guide>
        <p15:guide id="32" orient="horz" pos="403" userDrawn="1">
          <p15:clr>
            <a:srgbClr val="C35EA4"/>
          </p15:clr>
        </p15:guide>
        <p15:guide id="33" orient="horz" pos="1017" userDrawn="1">
          <p15:clr>
            <a:srgbClr val="A4A3A4"/>
          </p15:clr>
        </p15:guide>
        <p15:guide id="34" orient="horz" pos="1785" userDrawn="1">
          <p15:clr>
            <a:srgbClr val="A4A3A4"/>
          </p15:clr>
        </p15:guide>
        <p15:guide id="35" orient="horz" pos="2553" userDrawn="1">
          <p15:clr>
            <a:srgbClr val="A4A3A4"/>
          </p15:clr>
        </p15:guide>
        <p15:guide id="36" orient="horz" pos="3321" userDrawn="1">
          <p15:clr>
            <a:srgbClr val="A4A3A4"/>
          </p15:clr>
        </p15:guide>
        <p15:guide id="37" orient="horz" pos="4089" userDrawn="1">
          <p15:clr>
            <a:srgbClr val="A4A3A4"/>
          </p15:clr>
        </p15:guide>
        <p15:guide id="38" orient="horz" pos="4857" userDrawn="1">
          <p15:clr>
            <a:srgbClr val="A4A3A4"/>
          </p15:clr>
        </p15:guide>
        <p15:guide id="39" pos="4070" userDrawn="1">
          <p15:clr>
            <a:srgbClr val="A4A3A4"/>
          </p15:clr>
        </p15:guide>
        <p15:guide id="40" pos="3302" userDrawn="1">
          <p15:clr>
            <a:srgbClr val="A4A3A4"/>
          </p15:clr>
        </p15:guide>
        <p15:guide id="41" pos="2534" userDrawn="1">
          <p15:clr>
            <a:srgbClr val="A4A3A4"/>
          </p15:clr>
        </p15:guide>
        <p15:guide id="42" pos="1766" userDrawn="1">
          <p15:clr>
            <a:srgbClr val="A4A3A4"/>
          </p15:clr>
        </p15:guide>
        <p15:guide id="43" pos="998" userDrawn="1">
          <p15:clr>
            <a:srgbClr val="A4A3A4"/>
          </p15:clr>
        </p15:guide>
        <p15:guide id="44" pos="5605" userDrawn="1">
          <p15:clr>
            <a:srgbClr val="A4A3A4"/>
          </p15:clr>
        </p15:guide>
        <p15:guide id="45" pos="6373" userDrawn="1">
          <p15:clr>
            <a:srgbClr val="A4A3A4"/>
          </p15:clr>
        </p15:guide>
        <p15:guide id="46" pos="7141" userDrawn="1">
          <p15:clr>
            <a:srgbClr val="A4A3A4"/>
          </p15:clr>
        </p15:guide>
        <p15:guide id="47" pos="7909" userDrawn="1">
          <p15:clr>
            <a:srgbClr val="A4A3A4"/>
          </p15:clr>
        </p15:guide>
        <p15:guide id="48" pos="8676" userDrawn="1">
          <p15:clr>
            <a:srgbClr val="A4A3A4"/>
          </p15:clr>
        </p15:guide>
        <p15:guide id="49" pos="9444" userDrawn="1">
          <p15:clr>
            <a:srgbClr val="A4A3A4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70" y="289513"/>
            <a:ext cx="11652805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72" y="1189178"/>
            <a:ext cx="11650487" cy="1896673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2707" y="2845692"/>
            <a:ext cx="6497931" cy="7131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967215" y="1984341"/>
            <a:ext cx="4336529" cy="27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680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  <p:sldLayoutId id="2147484033" r:id="rId12"/>
    <p:sldLayoutId id="2147484034" r:id="rId13"/>
    <p:sldLayoutId id="2147484035" r:id="rId14"/>
    <p:sldLayoutId id="2147484036" r:id="rId15"/>
    <p:sldLayoutId id="2147484037" r:id="rId16"/>
    <p:sldLayoutId id="2147484038" r:id="rId17"/>
    <p:sldLayoutId id="2147484039" r:id="rId18"/>
  </p:sldLayoutIdLst>
  <p:transition>
    <p:fade/>
  </p:transition>
  <p:txStyles>
    <p:titleStyle>
      <a:lvl1pPr algn="l" defTabSz="914138" rtl="0" eaLnBrk="1" latinLnBrk="0" hangingPunct="1">
        <a:lnSpc>
          <a:spcPct val="90000"/>
        </a:lnSpc>
        <a:spcBef>
          <a:spcPct val="0"/>
        </a:spcBef>
        <a:buNone/>
        <a:defRPr lang="en-US" sz="4312" b="0" kern="1200" cap="none" spc="-100" baseline="0" dirty="0" smtClean="0">
          <a:ln w="3175">
            <a:noFill/>
          </a:ln>
          <a:gradFill>
            <a:gsLst>
              <a:gs pos="1250">
                <a:schemeClr val="accent1"/>
              </a:gs>
              <a:gs pos="100000">
                <a:schemeClr val="accent1"/>
              </a:gs>
            </a:gsLst>
            <a:lin ang="5400000" scaled="0"/>
          </a:gradFill>
          <a:effectLst/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</p:titleStyle>
    <p:bodyStyle>
      <a:lvl1pPr marL="336061" marR="0" indent="-33606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5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47" marR="0" indent="-236488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4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18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23" marR="0" indent="-224041" algn="l" defTabSz="91413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881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95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02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090" indent="-228535" algn="l" defTabSz="914138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6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3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08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277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347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416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484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555" algn="l" defTabSz="914138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9" userDrawn="1">
          <p15:clr>
            <a:srgbClr val="5ACBF0"/>
          </p15:clr>
        </p15:guide>
        <p15:guide id="2" pos="231" userDrawn="1">
          <p15:clr>
            <a:srgbClr val="5ACBF0"/>
          </p15:clr>
        </p15:guide>
        <p15:guide id="3" pos="998" userDrawn="1">
          <p15:clr>
            <a:srgbClr val="5ACBF0"/>
          </p15:clr>
        </p15:guide>
        <p15:guide id="4" pos="1766" userDrawn="1">
          <p15:clr>
            <a:srgbClr val="5ACBF0"/>
          </p15:clr>
        </p15:guide>
        <p15:guide id="5" pos="2534" userDrawn="1">
          <p15:clr>
            <a:srgbClr val="5ACBF0"/>
          </p15:clr>
        </p15:guide>
        <p15:guide id="6" pos="3302" userDrawn="1">
          <p15:clr>
            <a:srgbClr val="5ACBF0"/>
          </p15:clr>
        </p15:guide>
        <p15:guide id="7" pos="4070" userDrawn="1">
          <p15:clr>
            <a:srgbClr val="5ACBF0"/>
          </p15:clr>
        </p15:guide>
        <p15:guide id="8" pos="4837" userDrawn="1">
          <p15:clr>
            <a:srgbClr val="5ACBF0"/>
          </p15:clr>
        </p15:guide>
        <p15:guide id="9" pos="5605" userDrawn="1">
          <p15:clr>
            <a:srgbClr val="5ACBF0"/>
          </p15:clr>
        </p15:guide>
        <p15:guide id="10" pos="6373" userDrawn="1">
          <p15:clr>
            <a:srgbClr val="5ACBF0"/>
          </p15:clr>
        </p15:guide>
        <p15:guide id="11" pos="7141" userDrawn="1">
          <p15:clr>
            <a:srgbClr val="5ACBF0"/>
          </p15:clr>
        </p15:guide>
        <p15:guide id="12" pos="7909" userDrawn="1">
          <p15:clr>
            <a:srgbClr val="5ACBF0"/>
          </p15:clr>
        </p15:guide>
        <p15:guide id="13" pos="8676" userDrawn="1">
          <p15:clr>
            <a:srgbClr val="5ACBF0"/>
          </p15:clr>
        </p15:guide>
        <p15:guide id="14" pos="9444" userDrawn="1">
          <p15:clr>
            <a:srgbClr val="5ACBF0"/>
          </p15:clr>
        </p15:guide>
        <p15:guide id="15" pos="10212" userDrawn="1">
          <p15:clr>
            <a:srgbClr val="5ACBF0"/>
          </p15:clr>
        </p15:guide>
        <p15:guide id="16" pos="384" userDrawn="1">
          <p15:clr>
            <a:srgbClr val="C35EA4"/>
          </p15:clr>
        </p15:guide>
        <p15:guide id="17" pos="10059" userDrawn="1">
          <p15:clr>
            <a:srgbClr val="C35EA4"/>
          </p15:clr>
        </p15:guide>
        <p15:guide id="18" orient="horz" pos="1017" userDrawn="1">
          <p15:clr>
            <a:srgbClr val="5ACBF0"/>
          </p15:clr>
        </p15:guide>
        <p15:guide id="19" orient="horz" pos="1785" userDrawn="1">
          <p15:clr>
            <a:srgbClr val="5ACBF0"/>
          </p15:clr>
        </p15:guide>
        <p15:guide id="20" orient="horz" pos="2553" userDrawn="1">
          <p15:clr>
            <a:srgbClr val="5ACBF0"/>
          </p15:clr>
        </p15:guide>
        <p15:guide id="21" orient="horz" pos="3321" userDrawn="1">
          <p15:clr>
            <a:srgbClr val="5ACBF0"/>
          </p15:clr>
        </p15:guide>
        <p15:guide id="22" orient="horz" pos="4089" userDrawn="1">
          <p15:clr>
            <a:srgbClr val="5ACBF0"/>
          </p15:clr>
        </p15:guide>
        <p15:guide id="23" orient="horz" pos="4857" userDrawn="1">
          <p15:clr>
            <a:srgbClr val="5ACBF0"/>
          </p15:clr>
        </p15:guide>
        <p15:guide id="24" orient="horz" pos="5625" userDrawn="1">
          <p15:clr>
            <a:srgbClr val="5ACBF0"/>
          </p15:clr>
        </p15:guide>
        <p15:guide id="25" orient="horz" pos="403" userDrawn="1">
          <p15:clr>
            <a:srgbClr val="C35EA4"/>
          </p15:clr>
        </p15:guide>
        <p15:guide id="26" orient="horz" pos="5472" userDrawn="1">
          <p15:clr>
            <a:srgbClr val="C35EA4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71" y="289513"/>
            <a:ext cx="11652805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72" y="1189178"/>
            <a:ext cx="11650487" cy="1897529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2708" y="2845694"/>
            <a:ext cx="6497931" cy="71315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0967215" y="1984342"/>
            <a:ext cx="4336529" cy="2744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2708" y="2845694"/>
            <a:ext cx="6497931" cy="713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594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</p:sldLayoutIdLst>
  <p:transition>
    <p:fade/>
  </p:transition>
  <p:txStyles>
    <p:titleStyle>
      <a:lvl1pPr algn="l" defTabSz="914234" rtl="0" eaLnBrk="1" latinLnBrk="0" hangingPunct="1">
        <a:lnSpc>
          <a:spcPct val="90000"/>
        </a:lnSpc>
        <a:spcBef>
          <a:spcPct val="0"/>
        </a:spcBef>
        <a:buNone/>
        <a:defRPr lang="en-US" sz="4312" b="0" kern="1200" cap="none" spc="-100" baseline="0" dirty="0" smtClean="0">
          <a:ln w="3175">
            <a:noFill/>
          </a:ln>
          <a:gradFill>
            <a:gsLst>
              <a:gs pos="1250">
                <a:schemeClr val="accent1"/>
              </a:gs>
              <a:gs pos="100000">
                <a:schemeClr val="accent1"/>
              </a:gs>
            </a:gsLst>
            <a:lin ang="5400000" scaled="0"/>
          </a:gradFill>
          <a:effectLst/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</p:titleStyle>
    <p:bodyStyle>
      <a:lvl1pPr marL="336096" marR="0" indent="-336096" algn="l" defTabSz="91423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53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07" marR="0" indent="-236512" algn="l" defTabSz="91423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224" marR="0" indent="-224064" algn="l" defTabSz="91423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87" marR="0" indent="-224064" algn="l" defTabSz="91423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351" marR="0" indent="-224064" algn="l" defTabSz="91423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6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142" indent="-228559" algn="l" defTabSz="91423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260" indent="-228559" algn="l" defTabSz="91423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376" indent="-228559" algn="l" defTabSz="91423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495" indent="-228559" algn="l" defTabSz="914234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16" algn="l" defTabSz="91423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234" algn="l" defTabSz="91423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0" algn="l" defTabSz="91423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467" algn="l" defTabSz="91423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584" algn="l" defTabSz="91423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701" algn="l" defTabSz="91423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819" algn="l" defTabSz="91423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935" algn="l" defTabSz="914234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" userDrawn="1">
          <p15:clr>
            <a:srgbClr val="5ACBF0"/>
          </p15:clr>
        </p15:guide>
        <p15:guide id="2" pos="227" userDrawn="1">
          <p15:clr>
            <a:srgbClr val="5ACBF0"/>
          </p15:clr>
        </p15:guide>
        <p15:guide id="3" pos="978" userDrawn="1">
          <p15:clr>
            <a:srgbClr val="5ACBF0"/>
          </p15:clr>
        </p15:guide>
        <p15:guide id="4" pos="1732" userDrawn="1">
          <p15:clr>
            <a:srgbClr val="5ACBF0"/>
          </p15:clr>
        </p15:guide>
        <p15:guide id="5" pos="2485" userDrawn="1">
          <p15:clr>
            <a:srgbClr val="5ACBF0"/>
          </p15:clr>
        </p15:guide>
        <p15:guide id="6" pos="3238" userDrawn="1">
          <p15:clr>
            <a:srgbClr val="5ACBF0"/>
          </p15:clr>
        </p15:guide>
        <p15:guide id="7" pos="3990" userDrawn="1">
          <p15:clr>
            <a:srgbClr val="5ACBF0"/>
          </p15:clr>
        </p15:guide>
        <p15:guide id="8" pos="4743" userDrawn="1">
          <p15:clr>
            <a:srgbClr val="5ACBF0"/>
          </p15:clr>
        </p15:guide>
        <p15:guide id="9" pos="5495" userDrawn="1">
          <p15:clr>
            <a:srgbClr val="5ACBF0"/>
          </p15:clr>
        </p15:guide>
        <p15:guide id="10" pos="6248" userDrawn="1">
          <p15:clr>
            <a:srgbClr val="5ACBF0"/>
          </p15:clr>
        </p15:guide>
        <p15:guide id="11" pos="7000" userDrawn="1">
          <p15:clr>
            <a:srgbClr val="5ACBF0"/>
          </p15:clr>
        </p15:guide>
        <p15:guide id="12" pos="7753" userDrawn="1">
          <p15:clr>
            <a:srgbClr val="5ACBF0"/>
          </p15:clr>
        </p15:guide>
        <p15:guide id="13" pos="8506" userDrawn="1">
          <p15:clr>
            <a:srgbClr val="5ACBF0"/>
          </p15:clr>
        </p15:guide>
        <p15:guide id="14" pos="9259" userDrawn="1">
          <p15:clr>
            <a:srgbClr val="5ACBF0"/>
          </p15:clr>
        </p15:guide>
        <p15:guide id="15" pos="10011" userDrawn="1">
          <p15:clr>
            <a:srgbClr val="5ACBF0"/>
          </p15:clr>
        </p15:guide>
        <p15:guide id="16" pos="376" userDrawn="1">
          <p15:clr>
            <a:srgbClr val="C35EA4"/>
          </p15:clr>
        </p15:guide>
        <p15:guide id="17" pos="9861" userDrawn="1">
          <p15:clr>
            <a:srgbClr val="C35EA4"/>
          </p15:clr>
        </p15:guide>
        <p15:guide id="18" orient="horz" pos="997" userDrawn="1">
          <p15:clr>
            <a:srgbClr val="5ACBF0"/>
          </p15:clr>
        </p15:guide>
        <p15:guide id="19" orient="horz" pos="1751" userDrawn="1">
          <p15:clr>
            <a:srgbClr val="5ACBF0"/>
          </p15:clr>
        </p15:guide>
        <p15:guide id="20" orient="horz" pos="2504" userDrawn="1">
          <p15:clr>
            <a:srgbClr val="5ACBF0"/>
          </p15:clr>
        </p15:guide>
        <p15:guide id="21" orient="horz" pos="3256" userDrawn="1">
          <p15:clr>
            <a:srgbClr val="5ACBF0"/>
          </p15:clr>
        </p15:guide>
        <p15:guide id="22" orient="horz" pos="4009" userDrawn="1">
          <p15:clr>
            <a:srgbClr val="5ACBF0"/>
          </p15:clr>
        </p15:guide>
        <p15:guide id="23" orient="horz" pos="4763" userDrawn="1">
          <p15:clr>
            <a:srgbClr val="5ACBF0"/>
          </p15:clr>
        </p15:guide>
        <p15:guide id="24" orient="horz" pos="5516" userDrawn="1">
          <p15:clr>
            <a:srgbClr val="5ACBF0"/>
          </p15:clr>
        </p15:guide>
        <p15:guide id="25" orient="horz" pos="395" userDrawn="1">
          <p15:clr>
            <a:srgbClr val="C35EA4"/>
          </p15:clr>
        </p15:guide>
        <p15:guide id="26" orient="horz" pos="5365" userDrawn="1">
          <p15:clr>
            <a:srgbClr val="C35EA4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/>
          </p:nvPr>
        </p:nvGraphicFramePr>
        <p:xfrm>
          <a:off x="1592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73" name="think-cell Slide" r:id="rId47" imgW="377" imgH="377" progId="TCLayout.ActiveDocument.1">
                  <p:embed/>
                </p:oleObj>
              </mc:Choice>
              <mc:Fallback>
                <p:oleObj name="think-cell Slide" r:id="rId47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339" y="289516"/>
            <a:ext cx="1188647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52363" y="1189178"/>
            <a:ext cx="11884106" cy="2154436"/>
          </a:xfrm>
          <a:prstGeom prst="rect">
            <a:avLst/>
          </a:prstGeom>
        </p:spPr>
        <p:txBody>
          <a:bodyPr vert="horz" wrap="square" lIns="182880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2707" y="2845692"/>
            <a:ext cx="6497931" cy="713157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7534" y="6493776"/>
            <a:ext cx="4113767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r>
              <a:rPr lang="en-IN"/>
              <a:t>Microsoft 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7352" y="6493776"/>
            <a:ext cx="2741474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defTabSz="913613"/>
            <a:fld id="{6503E857-4F15-4ECA-BD4D-D22AAAB9E67A}" type="slidenum">
              <a:rPr lang="en-US" smtClean="0"/>
              <a:pPr defTabSz="913613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80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  <p:sldLayoutId id="2147484065" r:id="rId18"/>
    <p:sldLayoutId id="2147484066" r:id="rId19"/>
    <p:sldLayoutId id="2147484067" r:id="rId20"/>
    <p:sldLayoutId id="2147484068" r:id="rId21"/>
    <p:sldLayoutId id="2147484069" r:id="rId22"/>
    <p:sldLayoutId id="2147484070" r:id="rId23"/>
    <p:sldLayoutId id="2147484071" r:id="rId24"/>
    <p:sldLayoutId id="2147484072" r:id="rId25"/>
    <p:sldLayoutId id="2147484073" r:id="rId26"/>
    <p:sldLayoutId id="2147484074" r:id="rId27"/>
    <p:sldLayoutId id="2147484075" r:id="rId28"/>
    <p:sldLayoutId id="2147484076" r:id="rId29"/>
    <p:sldLayoutId id="2147484077" r:id="rId30"/>
    <p:sldLayoutId id="2147484078" r:id="rId31"/>
    <p:sldLayoutId id="2147484079" r:id="rId32"/>
    <p:sldLayoutId id="2147484080" r:id="rId33"/>
    <p:sldLayoutId id="2147484081" r:id="rId34"/>
    <p:sldLayoutId id="2147484082" r:id="rId35"/>
    <p:sldLayoutId id="2147484083" r:id="rId36"/>
    <p:sldLayoutId id="2147484084" r:id="rId37"/>
    <p:sldLayoutId id="2147484085" r:id="rId38"/>
    <p:sldLayoutId id="2147484086" r:id="rId39"/>
    <p:sldLayoutId id="2147484087" r:id="rId40"/>
    <p:sldLayoutId id="2147484088" r:id="rId41"/>
    <p:sldLayoutId id="2147484089" r:id="rId42"/>
    <p:sldLayoutId id="2147484090" r:id="rId43"/>
  </p:sldLayoutIdLst>
  <p:transition>
    <p:fade/>
  </p:transition>
  <p:hf sldNum="0" hdr="0" dt="0"/>
  <p:txStyles>
    <p:titleStyle>
      <a:lvl1pPr algn="l" defTabSz="913613" rtl="0" eaLnBrk="1" latinLnBrk="0" hangingPunct="1">
        <a:lnSpc>
          <a:spcPct val="90000"/>
        </a:lnSpc>
        <a:spcBef>
          <a:spcPct val="0"/>
        </a:spcBef>
        <a:buNone/>
        <a:defRPr lang="en-US" sz="4399" b="0" kern="1200" cap="none" spc="-100" baseline="0" dirty="0" smtClean="0">
          <a:ln w="3175">
            <a:noFill/>
          </a:ln>
          <a:gradFill>
            <a:gsLst>
              <a:gs pos="1250">
                <a:schemeClr val="accent1"/>
              </a:gs>
              <a:gs pos="100000">
                <a:schemeClr val="accent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867" marR="0" indent="-335867" algn="l" defTabSz="9136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218" marR="0" indent="-236349" algn="l" defTabSz="9136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689" marR="0" indent="-223912" algn="l" defTabSz="9136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601" marR="0" indent="-223912" algn="l" defTabSz="9136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513" marR="0" indent="-223912" algn="l" defTabSz="91361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2433" indent="-228403" algn="l" defTabSz="9136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69240" indent="-228403" algn="l" defTabSz="9136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6046" indent="-228403" algn="l" defTabSz="9136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2852" indent="-228403" algn="l" defTabSz="913613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1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6804" algn="l" defTabSz="91361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3613" algn="l" defTabSz="91361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417" algn="l" defTabSz="91361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224" algn="l" defTabSz="91361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030" algn="l" defTabSz="91361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0837" algn="l" defTabSz="91361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7640" algn="l" defTabSz="91361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4449" algn="l" defTabSz="913613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" userDrawn="1">
          <p15:clr>
            <a:srgbClr val="5ACBF0"/>
          </p15:clr>
        </p15:guide>
        <p15:guide id="2" pos="128" userDrawn="1">
          <p15:clr>
            <a:srgbClr val="5ACBF0"/>
          </p15:clr>
        </p15:guide>
        <p15:guide id="3" pos="896" userDrawn="1">
          <p15:clr>
            <a:srgbClr val="5ACBF0"/>
          </p15:clr>
        </p15:guide>
        <p15:guide id="4" pos="1664" userDrawn="1">
          <p15:clr>
            <a:srgbClr val="5ACBF0"/>
          </p15:clr>
        </p15:guide>
        <p15:guide id="5" pos="2431" userDrawn="1">
          <p15:clr>
            <a:srgbClr val="5ACBF0"/>
          </p15:clr>
        </p15:guide>
        <p15:guide id="6" pos="3199" userDrawn="1">
          <p15:clr>
            <a:srgbClr val="5ACBF0"/>
          </p15:clr>
        </p15:guide>
        <p15:guide id="7" pos="3967" userDrawn="1">
          <p15:clr>
            <a:srgbClr val="5ACBF0"/>
          </p15:clr>
        </p15:guide>
        <p15:guide id="8" pos="4735" userDrawn="1">
          <p15:clr>
            <a:srgbClr val="5ACBF0"/>
          </p15:clr>
        </p15:guide>
        <p15:guide id="9" pos="5503" userDrawn="1">
          <p15:clr>
            <a:srgbClr val="5ACBF0"/>
          </p15:clr>
        </p15:guide>
        <p15:guide id="10" pos="6270" userDrawn="1">
          <p15:clr>
            <a:srgbClr val="5ACBF0"/>
          </p15:clr>
        </p15:guide>
        <p15:guide id="11" pos="7038" userDrawn="1">
          <p15:clr>
            <a:srgbClr val="5ACBF0"/>
          </p15:clr>
        </p15:guide>
        <p15:guide id="12" pos="7806" userDrawn="1">
          <p15:clr>
            <a:srgbClr val="5ACBF0"/>
          </p15:clr>
        </p15:guide>
        <p15:guide id="13" pos="8574" userDrawn="1">
          <p15:clr>
            <a:srgbClr val="5ACBF0"/>
          </p15:clr>
        </p15:guide>
        <p15:guide id="14" pos="9342" userDrawn="1">
          <p15:clr>
            <a:srgbClr val="5ACBF0"/>
          </p15:clr>
        </p15:guide>
        <p15:guide id="15" pos="10109" userDrawn="1">
          <p15:clr>
            <a:srgbClr val="5ACBF0"/>
          </p15:clr>
        </p15:guide>
        <p15:guide id="16" pos="285" userDrawn="1">
          <p15:clr>
            <a:srgbClr val="C35EA4"/>
          </p15:clr>
        </p15:guide>
        <p15:guide id="17" pos="9952" userDrawn="1">
          <p15:clr>
            <a:srgbClr val="C35EA4"/>
          </p15:clr>
        </p15:guide>
        <p15:guide id="18" orient="horz" pos="960" userDrawn="1">
          <p15:clr>
            <a:srgbClr val="5ACBF0"/>
          </p15:clr>
        </p15:guide>
        <p15:guide id="19" orient="horz" pos="1728" userDrawn="1">
          <p15:clr>
            <a:srgbClr val="5ACBF0"/>
          </p15:clr>
        </p15:guide>
        <p15:guide id="20" orient="horz" pos="2496" userDrawn="1">
          <p15:clr>
            <a:srgbClr val="5ACBF0"/>
          </p15:clr>
        </p15:guide>
        <p15:guide id="21" orient="horz" pos="3264" userDrawn="1">
          <p15:clr>
            <a:srgbClr val="5ACBF0"/>
          </p15:clr>
        </p15:guide>
        <p15:guide id="22" orient="horz" pos="4032" userDrawn="1">
          <p15:clr>
            <a:srgbClr val="5ACBF0"/>
          </p15:clr>
        </p15:guide>
        <p15:guide id="23" orient="horz" pos="4800" userDrawn="1">
          <p15:clr>
            <a:srgbClr val="5ACBF0"/>
          </p15:clr>
        </p15:guide>
        <p15:guide id="24" orient="horz" pos="5568" userDrawn="1">
          <p15:clr>
            <a:srgbClr val="5ACBF0"/>
          </p15:clr>
        </p15:guide>
        <p15:guide id="25" orient="horz" pos="403" userDrawn="1">
          <p15:clr>
            <a:srgbClr val="C35EA4"/>
          </p15:clr>
        </p15:guide>
        <p15:guide id="26" orient="horz" pos="5472" userDrawn="1">
          <p15:clr>
            <a:srgbClr val="C35EA4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72" y="289517"/>
            <a:ext cx="11652805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72" y="1189178"/>
            <a:ext cx="11650487" cy="211536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2707" y="2845692"/>
            <a:ext cx="6497931" cy="713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938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  <p:sldLayoutId id="2147484107" r:id="rId13"/>
    <p:sldLayoutId id="2147484108" r:id="rId14"/>
    <p:sldLayoutId id="2147484109" r:id="rId15"/>
    <p:sldLayoutId id="2147484110" r:id="rId16"/>
    <p:sldLayoutId id="2147484111" r:id="rId17"/>
    <p:sldLayoutId id="2147484112" r:id="rId18"/>
    <p:sldLayoutId id="2147484113" r:id="rId19"/>
    <p:sldLayoutId id="2147484114" r:id="rId20"/>
    <p:sldLayoutId id="2147484115" r:id="rId21"/>
    <p:sldLayoutId id="2147484116" r:id="rId22"/>
    <p:sldLayoutId id="2147484117" r:id="rId23"/>
    <p:sldLayoutId id="2147484118" r:id="rId24"/>
    <p:sldLayoutId id="2147484119" r:id="rId25"/>
    <p:sldLayoutId id="2147484120" r:id="rId26"/>
    <p:sldLayoutId id="2147484121" r:id="rId27"/>
    <p:sldLayoutId id="2147484122" r:id="rId28"/>
    <p:sldLayoutId id="2147484123" r:id="rId29"/>
    <p:sldLayoutId id="2147484124" r:id="rId30"/>
  </p:sldLayoutIdLst>
  <p:transition>
    <p:fade/>
  </p:transition>
  <p:txStyles>
    <p:titleStyle>
      <a:lvl1pPr algn="l" defTabSz="913590" rtl="0" eaLnBrk="1" latinLnBrk="0" hangingPunct="1">
        <a:lnSpc>
          <a:spcPct val="90000"/>
        </a:lnSpc>
        <a:spcBef>
          <a:spcPct val="0"/>
        </a:spcBef>
        <a:buNone/>
        <a:defRPr lang="en-US" sz="4701" b="0" kern="1200" cap="none" spc="-100" baseline="0" dirty="0" smtClean="0">
          <a:ln w="3175">
            <a:noFill/>
          </a:ln>
          <a:gradFill>
            <a:gsLst>
              <a:gs pos="1250">
                <a:schemeClr val="accent1"/>
              </a:gs>
              <a:gs pos="100000">
                <a:schemeClr val="accent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5859" marR="0" indent="-335859" algn="l" defTabSz="91359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204" marR="0" indent="-236345" algn="l" defTabSz="91359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3672" marR="0" indent="-223907" algn="l" defTabSz="91359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5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7579" marR="0" indent="-223907" algn="l" defTabSz="91359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1483" marR="0" indent="-223907" algn="l" defTabSz="91359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2373" indent="-228398" algn="l" defTabSz="913590" rtl="0" eaLnBrk="1" latinLnBrk="0" hangingPunct="1">
        <a:spcBef>
          <a:spcPct val="20000"/>
        </a:spcBef>
        <a:buFont typeface="Arial" pitchFamily="34" charset="0"/>
        <a:buChar char="•"/>
        <a:defRPr sz="1958" kern="1200">
          <a:solidFill>
            <a:schemeClr val="tx1"/>
          </a:solidFill>
          <a:latin typeface="+mn-lt"/>
          <a:ea typeface="+mn-ea"/>
          <a:cs typeface="+mn-cs"/>
        </a:defRPr>
      </a:lvl6pPr>
      <a:lvl7pPr marL="2969168" indent="-228398" algn="l" defTabSz="913590" rtl="0" eaLnBrk="1" latinLnBrk="0" hangingPunct="1">
        <a:spcBef>
          <a:spcPct val="20000"/>
        </a:spcBef>
        <a:buFont typeface="Arial" pitchFamily="34" charset="0"/>
        <a:buChar char="•"/>
        <a:defRPr sz="1958" kern="1200">
          <a:solidFill>
            <a:schemeClr val="tx1"/>
          </a:solidFill>
          <a:latin typeface="+mn-lt"/>
          <a:ea typeface="+mn-ea"/>
          <a:cs typeface="+mn-cs"/>
        </a:defRPr>
      </a:lvl7pPr>
      <a:lvl8pPr marL="3425963" indent="-228398" algn="l" defTabSz="913590" rtl="0" eaLnBrk="1" latinLnBrk="0" hangingPunct="1">
        <a:spcBef>
          <a:spcPct val="20000"/>
        </a:spcBef>
        <a:buFont typeface="Arial" pitchFamily="34" charset="0"/>
        <a:buChar char="•"/>
        <a:defRPr sz="1958" kern="1200">
          <a:solidFill>
            <a:schemeClr val="tx1"/>
          </a:solidFill>
          <a:latin typeface="+mn-lt"/>
          <a:ea typeface="+mn-ea"/>
          <a:cs typeface="+mn-cs"/>
        </a:defRPr>
      </a:lvl8pPr>
      <a:lvl9pPr marL="3882760" indent="-228398" algn="l" defTabSz="913590" rtl="0" eaLnBrk="1" latinLnBrk="0" hangingPunct="1">
        <a:spcBef>
          <a:spcPct val="20000"/>
        </a:spcBef>
        <a:buFont typeface="Arial" pitchFamily="34" charset="0"/>
        <a:buChar char="•"/>
        <a:defRPr sz="19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90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1pPr>
      <a:lvl2pPr marL="456795" algn="l" defTabSz="913590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2pPr>
      <a:lvl3pPr marL="913590" algn="l" defTabSz="913590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3pPr>
      <a:lvl4pPr marL="1370385" algn="l" defTabSz="913590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4pPr>
      <a:lvl5pPr marL="1827180" algn="l" defTabSz="913590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5pPr>
      <a:lvl6pPr marL="2283976" algn="l" defTabSz="913590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6pPr>
      <a:lvl7pPr marL="2740769" algn="l" defTabSz="913590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7pPr>
      <a:lvl8pPr marL="3197564" algn="l" defTabSz="913590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8pPr>
      <a:lvl9pPr marL="3654361" algn="l" defTabSz="913590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9" userDrawn="1">
          <p15:clr>
            <a:srgbClr val="5ACBF0"/>
          </p15:clr>
        </p15:guide>
        <p15:guide id="2" pos="231" userDrawn="1">
          <p15:clr>
            <a:srgbClr val="5ACBF0"/>
          </p15:clr>
        </p15:guide>
        <p15:guide id="3" pos="998" userDrawn="1">
          <p15:clr>
            <a:srgbClr val="5ACBF0"/>
          </p15:clr>
        </p15:guide>
        <p15:guide id="4" pos="1766" userDrawn="1">
          <p15:clr>
            <a:srgbClr val="5ACBF0"/>
          </p15:clr>
        </p15:guide>
        <p15:guide id="5" pos="2534" userDrawn="1">
          <p15:clr>
            <a:srgbClr val="5ACBF0"/>
          </p15:clr>
        </p15:guide>
        <p15:guide id="6" pos="3302" userDrawn="1">
          <p15:clr>
            <a:srgbClr val="5ACBF0"/>
          </p15:clr>
        </p15:guide>
        <p15:guide id="7" pos="4070" userDrawn="1">
          <p15:clr>
            <a:srgbClr val="5ACBF0"/>
          </p15:clr>
        </p15:guide>
        <p15:guide id="8" pos="4837" userDrawn="1">
          <p15:clr>
            <a:srgbClr val="5ACBF0"/>
          </p15:clr>
        </p15:guide>
        <p15:guide id="9" pos="5605" userDrawn="1">
          <p15:clr>
            <a:srgbClr val="5ACBF0"/>
          </p15:clr>
        </p15:guide>
        <p15:guide id="10" pos="6373" userDrawn="1">
          <p15:clr>
            <a:srgbClr val="5ACBF0"/>
          </p15:clr>
        </p15:guide>
        <p15:guide id="11" pos="7141" userDrawn="1">
          <p15:clr>
            <a:srgbClr val="5ACBF0"/>
          </p15:clr>
        </p15:guide>
        <p15:guide id="12" pos="7909" userDrawn="1">
          <p15:clr>
            <a:srgbClr val="5ACBF0"/>
          </p15:clr>
        </p15:guide>
        <p15:guide id="13" pos="8676" userDrawn="1">
          <p15:clr>
            <a:srgbClr val="5ACBF0"/>
          </p15:clr>
        </p15:guide>
        <p15:guide id="14" pos="9444" userDrawn="1">
          <p15:clr>
            <a:srgbClr val="5ACBF0"/>
          </p15:clr>
        </p15:guide>
        <p15:guide id="15" pos="10212" userDrawn="1">
          <p15:clr>
            <a:srgbClr val="5ACBF0"/>
          </p15:clr>
        </p15:guide>
        <p15:guide id="16" pos="384" userDrawn="1">
          <p15:clr>
            <a:srgbClr val="C35EA4"/>
          </p15:clr>
        </p15:guide>
        <p15:guide id="17" pos="10059" userDrawn="1">
          <p15:clr>
            <a:srgbClr val="C35EA4"/>
          </p15:clr>
        </p15:guide>
        <p15:guide id="18" orient="horz" pos="1017" userDrawn="1">
          <p15:clr>
            <a:srgbClr val="5ACBF0"/>
          </p15:clr>
        </p15:guide>
        <p15:guide id="19" orient="horz" pos="1785" userDrawn="1">
          <p15:clr>
            <a:srgbClr val="5ACBF0"/>
          </p15:clr>
        </p15:guide>
        <p15:guide id="20" orient="horz" pos="2553" userDrawn="1">
          <p15:clr>
            <a:srgbClr val="5ACBF0"/>
          </p15:clr>
        </p15:guide>
        <p15:guide id="21" orient="horz" pos="3321" userDrawn="1">
          <p15:clr>
            <a:srgbClr val="5ACBF0"/>
          </p15:clr>
        </p15:guide>
        <p15:guide id="22" orient="horz" pos="4089" userDrawn="1">
          <p15:clr>
            <a:srgbClr val="5ACBF0"/>
          </p15:clr>
        </p15:guide>
        <p15:guide id="23" orient="horz" pos="4857" userDrawn="1">
          <p15:clr>
            <a:srgbClr val="5ACBF0"/>
          </p15:clr>
        </p15:guide>
        <p15:guide id="24" orient="horz" pos="5625" userDrawn="1">
          <p15:clr>
            <a:srgbClr val="5ACBF0"/>
          </p15:clr>
        </p15:guide>
        <p15:guide id="25" orient="horz" pos="403" userDrawn="1">
          <p15:clr>
            <a:srgbClr val="C35EA4"/>
          </p15:clr>
        </p15:guide>
        <p15:guide id="26" orient="horz" pos="5472" userDrawn="1">
          <p15:clr>
            <a:srgbClr val="C35EA4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76" y="289525"/>
            <a:ext cx="11652805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174" y="1189188"/>
            <a:ext cx="11650487" cy="2117589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9205460" y="2991148"/>
            <a:ext cx="6858623" cy="87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660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6" r:id="rId1"/>
    <p:sldLayoutId id="2147484127" r:id="rId2"/>
    <p:sldLayoutId id="2147484128" r:id="rId3"/>
    <p:sldLayoutId id="2147484129" r:id="rId4"/>
    <p:sldLayoutId id="2147484130" r:id="rId5"/>
    <p:sldLayoutId id="2147484131" r:id="rId6"/>
    <p:sldLayoutId id="2147484132" r:id="rId7"/>
    <p:sldLayoutId id="2147484133" r:id="rId8"/>
    <p:sldLayoutId id="2147484134" r:id="rId9"/>
    <p:sldLayoutId id="2147484135" r:id="rId10"/>
    <p:sldLayoutId id="2147484136" r:id="rId11"/>
    <p:sldLayoutId id="2147484137" r:id="rId12"/>
    <p:sldLayoutId id="2147484138" r:id="rId13"/>
    <p:sldLayoutId id="2147484139" r:id="rId14"/>
    <p:sldLayoutId id="2147484140" r:id="rId15"/>
    <p:sldLayoutId id="2147484141" r:id="rId16"/>
    <p:sldLayoutId id="2147484142" r:id="rId17"/>
    <p:sldLayoutId id="2147484143" r:id="rId18"/>
    <p:sldLayoutId id="2147484144" r:id="rId19"/>
    <p:sldLayoutId id="2147484145" r:id="rId20"/>
    <p:sldLayoutId id="2147484146" r:id="rId21"/>
    <p:sldLayoutId id="2147484147" r:id="rId22"/>
    <p:sldLayoutId id="2147484148" r:id="rId23"/>
    <p:sldLayoutId id="2147484149" r:id="rId24"/>
    <p:sldLayoutId id="2147484150" r:id="rId25"/>
    <p:sldLayoutId id="2147484151" r:id="rId26"/>
    <p:sldLayoutId id="2147484152" r:id="rId27"/>
    <p:sldLayoutId id="2147484153" r:id="rId28"/>
    <p:sldLayoutId id="2147484154" r:id="rId29"/>
    <p:sldLayoutId id="2147484155" r:id="rId30"/>
    <p:sldLayoutId id="2147484156" r:id="rId31"/>
    <p:sldLayoutId id="2147484157" r:id="rId32"/>
    <p:sldLayoutId id="2147484158" r:id="rId33"/>
    <p:sldLayoutId id="2147484159" r:id="rId34"/>
    <p:sldLayoutId id="2147484160" r:id="rId35"/>
    <p:sldLayoutId id="2147484161" r:id="rId36"/>
    <p:sldLayoutId id="2147484162" r:id="rId37"/>
    <p:sldLayoutId id="2147484163" r:id="rId38"/>
    <p:sldLayoutId id="2147484164" r:id="rId39"/>
    <p:sldLayoutId id="2147484165" r:id="rId40"/>
    <p:sldLayoutId id="2147484166" r:id="rId41"/>
    <p:sldLayoutId id="2147484167" r:id="rId42"/>
    <p:sldLayoutId id="2147484168" r:id="rId43"/>
    <p:sldLayoutId id="2147484169" r:id="rId44"/>
    <p:sldLayoutId id="2147484170" r:id="rId45"/>
    <p:sldLayoutId id="2147484171" r:id="rId46"/>
    <p:sldLayoutId id="2147484172" r:id="rId47"/>
    <p:sldLayoutId id="2147484173" r:id="rId48"/>
    <p:sldLayoutId id="2147484174" r:id="rId49"/>
    <p:sldLayoutId id="2147484175" r:id="rId50"/>
  </p:sldLayoutIdLst>
  <p:transition>
    <p:fade/>
  </p:transition>
  <p:txStyles>
    <p:titleStyle>
      <a:lvl1pPr algn="l" defTabSz="914166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  <a:tileRect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72" marR="0" indent="-336072" algn="l" defTabSz="914166" rtl="0" eaLnBrk="1" fontAlgn="auto" latinLnBrk="0" hangingPunct="1">
        <a:lnSpc>
          <a:spcPct val="90000"/>
        </a:lnSpc>
        <a:spcBef>
          <a:spcPct val="20000"/>
        </a:spcBef>
        <a:spcAft>
          <a:spcPct val="0"/>
        </a:spcAft>
        <a:buClrTx/>
        <a:buSzPct val="90000"/>
        <a:buFont typeface="Arial" pitchFamily="34" charset="0"/>
        <a:buChar char="•"/>
        <a:defRPr sz="392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  <a:tileRect/>
          </a:gradFill>
          <a:latin typeface="+mj-lt"/>
          <a:ea typeface="+mn-ea"/>
          <a:cs typeface="+mn-cs"/>
        </a:defRPr>
      </a:lvl1pPr>
      <a:lvl2pPr marL="572565" marR="0" indent="-236494" algn="l" defTabSz="914166" rtl="0" eaLnBrk="1" fontAlgn="auto" latinLnBrk="0" hangingPunct="1">
        <a:lnSpc>
          <a:spcPct val="90000"/>
        </a:lnSpc>
        <a:spcBef>
          <a:spcPct val="20000"/>
        </a:spcBef>
        <a:spcAft>
          <a:spcPct val="0"/>
        </a:spcAft>
        <a:buClrTx/>
        <a:buSzPct val="90000"/>
        <a:buFont typeface="Arial" pitchFamily="34" charset="0"/>
        <a:buChar char="•"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  <a:tileRect/>
          </a:gradFill>
          <a:latin typeface="+mn-lt"/>
          <a:ea typeface="+mn-ea"/>
          <a:cs typeface="+mn-cs"/>
        </a:defRPr>
      </a:lvl2pPr>
      <a:lvl3pPr marL="784164" marR="0" indent="-224047" algn="l" defTabSz="914166" rtl="0" eaLnBrk="1" fontAlgn="auto" latinLnBrk="0" hangingPunct="1">
        <a:lnSpc>
          <a:spcPct val="90000"/>
        </a:lnSpc>
        <a:spcBef>
          <a:spcPct val="20000"/>
        </a:spcBef>
        <a:spcAft>
          <a:spcPct val="0"/>
        </a:spcAft>
        <a:buClrTx/>
        <a:buSzPct val="90000"/>
        <a:buFont typeface="Arial" pitchFamily="34" charset="0"/>
        <a:buChar char="•"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  <a:tileRect/>
          </a:gradFill>
          <a:latin typeface="+mn-lt"/>
          <a:ea typeface="+mn-ea"/>
          <a:cs typeface="+mn-cs"/>
        </a:defRPr>
      </a:lvl3pPr>
      <a:lvl4pPr marL="1008212" marR="0" indent="-224047" algn="l" defTabSz="914166" rtl="0" eaLnBrk="1" fontAlgn="auto" latinLnBrk="0" hangingPunct="1">
        <a:lnSpc>
          <a:spcPct val="90000"/>
        </a:lnSpc>
        <a:spcBef>
          <a:spcPct val="20000"/>
        </a:spcBef>
        <a:spcAft>
          <a:spcPct val="0"/>
        </a:spcAft>
        <a:buClrTx/>
        <a:buSzPct val="90000"/>
        <a:buFont typeface="Arial" pitchFamily="34" charset="0"/>
        <a:buChar char="•"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  <a:tileRect/>
          </a:gradFill>
          <a:latin typeface="+mn-lt"/>
          <a:ea typeface="+mn-ea"/>
          <a:cs typeface="+mn-cs"/>
        </a:defRPr>
      </a:lvl4pPr>
      <a:lvl5pPr marL="1232260" marR="0" indent="-224047" algn="l" defTabSz="914166" rtl="0" eaLnBrk="1" fontAlgn="auto" latinLnBrk="0" hangingPunct="1">
        <a:lnSpc>
          <a:spcPct val="90000"/>
        </a:lnSpc>
        <a:spcBef>
          <a:spcPct val="20000"/>
        </a:spcBef>
        <a:spcAft>
          <a:spcPct val="0"/>
        </a:spcAft>
        <a:buClrTx/>
        <a:buSzPct val="90000"/>
        <a:buFont typeface="Arial" pitchFamily="34" charset="0"/>
        <a:buChar char="•"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  <a:tileRect/>
          </a:gradFill>
          <a:latin typeface="+mn-lt"/>
          <a:ea typeface="+mn-ea"/>
          <a:cs typeface="+mn-cs"/>
        </a:defRPr>
      </a:lvl5pPr>
      <a:lvl6pPr marL="2513954" indent="-228543" algn="l" defTabSz="91416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037" indent="-228543" algn="l" defTabSz="91416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120" indent="-228543" algn="l" defTabSz="91416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203" indent="-228543" algn="l" defTabSz="91416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80" algn="l" defTabSz="91416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66" algn="l" defTabSz="91416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48" algn="l" defTabSz="91416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31" algn="l" defTabSz="91416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15" algn="l" defTabSz="91416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496" algn="l" defTabSz="91416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579" algn="l" defTabSz="91416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660" algn="l" defTabSz="91416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44" userDrawn="1">
          <p15:clr>
            <a:srgbClr val="5ACBF0"/>
          </p15:clr>
        </p15:guide>
        <p15:guide id="2" pos="227" userDrawn="1">
          <p15:clr>
            <a:srgbClr val="5ACBF0"/>
          </p15:clr>
        </p15:guide>
        <p15:guide id="3" pos="978" userDrawn="1">
          <p15:clr>
            <a:srgbClr val="5ACBF0"/>
          </p15:clr>
        </p15:guide>
        <p15:guide id="4" pos="1732" userDrawn="1">
          <p15:clr>
            <a:srgbClr val="5ACBF0"/>
          </p15:clr>
        </p15:guide>
        <p15:guide id="5" pos="2485" userDrawn="1">
          <p15:clr>
            <a:srgbClr val="5ACBF0"/>
          </p15:clr>
        </p15:guide>
        <p15:guide id="6" pos="3238" userDrawn="1">
          <p15:clr>
            <a:srgbClr val="5ACBF0"/>
          </p15:clr>
        </p15:guide>
        <p15:guide id="7" pos="3990" userDrawn="1">
          <p15:clr>
            <a:srgbClr val="5ACBF0"/>
          </p15:clr>
        </p15:guide>
        <p15:guide id="8" pos="4743" userDrawn="1">
          <p15:clr>
            <a:srgbClr val="5ACBF0"/>
          </p15:clr>
        </p15:guide>
        <p15:guide id="9" pos="5495" userDrawn="1">
          <p15:clr>
            <a:srgbClr val="5ACBF0"/>
          </p15:clr>
        </p15:guide>
        <p15:guide id="10" pos="6248" userDrawn="1">
          <p15:clr>
            <a:srgbClr val="5ACBF0"/>
          </p15:clr>
        </p15:guide>
        <p15:guide id="11" pos="7000" userDrawn="1">
          <p15:clr>
            <a:srgbClr val="5ACBF0"/>
          </p15:clr>
        </p15:guide>
        <p15:guide id="12" pos="7753" userDrawn="1">
          <p15:clr>
            <a:srgbClr val="5ACBF0"/>
          </p15:clr>
        </p15:guide>
        <p15:guide id="13" pos="8506" userDrawn="1">
          <p15:clr>
            <a:srgbClr val="5ACBF0"/>
          </p15:clr>
        </p15:guide>
        <p15:guide id="14" pos="9259" userDrawn="1">
          <p15:clr>
            <a:srgbClr val="5ACBF0"/>
          </p15:clr>
        </p15:guide>
        <p15:guide id="15" pos="10011" userDrawn="1">
          <p15:clr>
            <a:srgbClr val="5ACBF0"/>
          </p15:clr>
        </p15:guide>
        <p15:guide id="16" pos="376" userDrawn="1">
          <p15:clr>
            <a:srgbClr val="C35EA4"/>
          </p15:clr>
        </p15:guide>
        <p15:guide id="17" pos="9861" userDrawn="1">
          <p15:clr>
            <a:srgbClr val="C35EA4"/>
          </p15:clr>
        </p15:guide>
        <p15:guide id="18" orient="horz" pos="997" userDrawn="1">
          <p15:clr>
            <a:srgbClr val="5ACBF0"/>
          </p15:clr>
        </p15:guide>
        <p15:guide id="19" orient="horz" pos="1751" userDrawn="1">
          <p15:clr>
            <a:srgbClr val="5ACBF0"/>
          </p15:clr>
        </p15:guide>
        <p15:guide id="20" orient="horz" pos="2504" userDrawn="1">
          <p15:clr>
            <a:srgbClr val="5ACBF0"/>
          </p15:clr>
        </p15:guide>
        <p15:guide id="21" orient="horz" pos="3256" userDrawn="1">
          <p15:clr>
            <a:srgbClr val="5ACBF0"/>
          </p15:clr>
        </p15:guide>
        <p15:guide id="22" orient="horz" pos="4009" userDrawn="1">
          <p15:clr>
            <a:srgbClr val="5ACBF0"/>
          </p15:clr>
        </p15:guide>
        <p15:guide id="23" orient="horz" pos="4763" userDrawn="1">
          <p15:clr>
            <a:srgbClr val="5ACBF0"/>
          </p15:clr>
        </p15:guide>
        <p15:guide id="24" orient="horz" pos="5516" userDrawn="1">
          <p15:clr>
            <a:srgbClr val="5ACBF0"/>
          </p15:clr>
        </p15:guide>
        <p15:guide id="25" orient="horz" pos="395" userDrawn="1">
          <p15:clr>
            <a:srgbClr val="C35EA4"/>
          </p15:clr>
        </p15:guide>
        <p15:guide id="26" orient="horz" pos="5365" userDrawn="1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8662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ctr" defTabSz="609448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609448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52" indent="-380905" algn="l" defTabSz="609448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619" indent="-304724" algn="l" defTabSz="609448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067" indent="-304724" algn="l" defTabSz="609448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4" indent="-304724" algn="l" defTabSz="609448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2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slide number"/>
          <p:cNvSpPr txBox="1"/>
          <p:nvPr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lvl="0" algn="ctr"/>
            <a:fld id="{6EA5B71A-1B18-4E34-A48F-65DC4937AA99}" type="slidenum">
              <a:rPr lang="en-US" sz="1333" b="0" smtClean="0">
                <a:solidFill>
                  <a:schemeClr val="tx1"/>
                </a:solidFill>
              </a:rPr>
              <a:pPr lvl="0" algn="ctr"/>
              <a:t>‹#›</a:t>
            </a:fld>
            <a:endParaRPr lang="en-US" sz="1333" b="0">
              <a:solidFill>
                <a:schemeClr val="tx1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48640" y="6473952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66">
                <a:solidFill>
                  <a:srgbClr val="939598"/>
                </a:solidFill>
              </a:defRPr>
            </a:lvl1pPr>
          </a:lstStyle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C50A5A-CE0F-4251-A774-75C47A2D4D3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4989" y="5505448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355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  <p:sldLayoutId id="2147484189" r:id="rId13"/>
    <p:sldLayoutId id="2147484190" r:id="rId14"/>
  </p:sldLayoutIdLst>
  <p:transition spd="med"/>
  <p:hf sldNum="0" hdr="0" ftr="0" dt="0"/>
  <p:txStyles>
    <p:titleStyle>
      <a:lvl1pPr algn="ctr" defTabSz="1218642" rtl="0" eaLnBrk="1" latinLnBrk="0" hangingPunct="1">
        <a:spcBef>
          <a:spcPct val="0"/>
        </a:spcBef>
        <a:buNone/>
        <a:defRPr sz="4266" kern="1200" cap="all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6987" indent="-456987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42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90146" indent="-380825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73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23299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1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32627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41941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1262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0583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69904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225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2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642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796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28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60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5926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24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56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9301AEF0-B5B5-4AE8-93A4-BC6182A39AC8}"/>
              </a:ext>
            </a:extLst>
          </p:cNvPr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92" y="6382197"/>
            <a:ext cx="2178724" cy="25491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4984" y="5505446"/>
            <a:ext cx="1330737" cy="443301"/>
          </a:xfrm>
          <a:prstGeom prst="rect">
            <a:avLst/>
          </a:prstGeom>
        </p:spPr>
      </p:pic>
      <p:sp>
        <p:nvSpPr>
          <p:cNvPr id="4" name="TextBox slide number"/>
          <p:cNvSpPr txBox="1"/>
          <p:nvPr/>
        </p:nvSpPr>
        <p:spPr bwMode="white">
          <a:xfrm>
            <a:off x="11748700" y="6395252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1212779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1212779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7215" y="6408533"/>
            <a:ext cx="1593918" cy="208028"/>
          </a:xfrm>
          <a:prstGeom prst="rect">
            <a:avLst/>
          </a:prstGeom>
        </p:spPr>
      </p:pic>
      <p:sp>
        <p:nvSpPr>
          <p:cNvPr id="7" name="Footer Placeholder 3"/>
          <p:cNvSpPr txBox="1">
            <a:spLocks/>
          </p:cNvSpPr>
          <p:nvPr/>
        </p:nvSpPr>
        <p:spPr>
          <a:xfrm>
            <a:off x="4166027" y="6458520"/>
            <a:ext cx="2867941" cy="16401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bg1"/>
                </a:solidFill>
              </a:defRPr>
            </a:lvl1pPr>
          </a:lstStyle>
          <a:p>
            <a:pPr defTabSz="1212779">
              <a:defRPr/>
            </a:pPr>
            <a:r>
              <a:rPr lang="en-US" sz="1066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2018 Lenovo Internal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48F17D-B967-449D-B311-8DDE3DDC941B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304989" y="5505448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584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  <p:sldLayoutId id="2147484200" r:id="rId9"/>
    <p:sldLayoutId id="2147484201" r:id="rId10"/>
    <p:sldLayoutId id="2147484202" r:id="rId11"/>
    <p:sldLayoutId id="2147484203" r:id="rId12"/>
    <p:sldLayoutId id="2147484204" r:id="rId13"/>
    <p:sldLayoutId id="2147484205" r:id="rId14"/>
    <p:sldLayoutId id="2147484206" r:id="rId15"/>
    <p:sldLayoutId id="2147484207" r:id="rId16"/>
    <p:sldLayoutId id="2147484208" r:id="rId17"/>
    <p:sldLayoutId id="2147484209" r:id="rId18"/>
    <p:sldLayoutId id="2147484210" r:id="rId19"/>
    <p:sldLayoutId id="2147484211" r:id="rId20"/>
    <p:sldLayoutId id="2147484212" r:id="rId21"/>
    <p:sldLayoutId id="2147484213" r:id="rId22"/>
    <p:sldLayoutId id="2147484214" r:id="rId23"/>
    <p:sldLayoutId id="2147484215" r:id="rId24"/>
    <p:sldLayoutId id="2147484216" r:id="rId25"/>
    <p:sldLayoutId id="2147484217" r:id="rId26"/>
    <p:sldLayoutId id="2147484218" r:id="rId27"/>
    <p:sldLayoutId id="2147484219" r:id="rId28"/>
    <p:sldLayoutId id="2147484220" r:id="rId29"/>
    <p:sldLayoutId id="2147484221" r:id="rId30"/>
    <p:sldLayoutId id="2147484222" r:id="rId31"/>
    <p:sldLayoutId id="2147484223" r:id="rId32"/>
    <p:sldLayoutId id="2147484224" r:id="rId33"/>
    <p:sldLayoutId id="2147484225" r:id="rId34"/>
    <p:sldLayoutId id="2147484226" r:id="rId35"/>
    <p:sldLayoutId id="2147484227" r:id="rId36"/>
    <p:sldLayoutId id="2147484228" r:id="rId37"/>
    <p:sldLayoutId id="2147484229" r:id="rId38"/>
    <p:sldLayoutId id="2147484230" r:id="rId39"/>
    <p:sldLayoutId id="2147484231" r:id="rId4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ctr" defTabSz="1212779" rtl="0" eaLnBrk="1" latinLnBrk="0" hangingPunct="1">
        <a:spcBef>
          <a:spcPct val="0"/>
        </a:spcBef>
        <a:buNone/>
        <a:defRPr sz="4266" kern="1200" cap="all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4792" indent="-454792" algn="l" defTabSz="1212779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42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85382" indent="-378996" algn="l" defTabSz="1212779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73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15970" indent="-303172" algn="l" defTabSz="1212779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1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22364" indent="-303172" algn="l" defTabSz="1212779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28758" indent="-303172" algn="l" defTabSz="1212779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35139" indent="-303172" algn="l" defTabSz="1212779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41532" indent="-303172" algn="l" defTabSz="1212779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47923" indent="-303172" algn="l" defTabSz="1212779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54308" indent="-303172" algn="l" defTabSz="1212779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2779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6386" algn="l" defTabSz="1212779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2779" algn="l" defTabSz="1212779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19168" algn="l" defTabSz="1212779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25561" algn="l" defTabSz="1212779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31951" algn="l" defTabSz="1212779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38333" algn="l" defTabSz="1212779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44721" algn="l" defTabSz="1212779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51116" algn="l" defTabSz="1212779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5117" userDrawn="1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3"/>
            <a:ext cx="12190413" cy="6857107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48646" y="6468889"/>
            <a:ext cx="2413343" cy="16401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6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9" name="TextBox slide number"/>
          <p:cNvSpPr txBox="1"/>
          <p:nvPr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141"/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 defTabSz="914141"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882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3" r:id="rId1"/>
    <p:sldLayoutId id="2147484234" r:id="rId2"/>
    <p:sldLayoutId id="2147484235" r:id="rId3"/>
    <p:sldLayoutId id="2147484236" r:id="rId4"/>
    <p:sldLayoutId id="2147484237" r:id="rId5"/>
    <p:sldLayoutId id="2147484238" r:id="rId6"/>
    <p:sldLayoutId id="2147484239" r:id="rId7"/>
    <p:sldLayoutId id="2147484240" r:id="rId8"/>
    <p:sldLayoutId id="2147484241" r:id="rId9"/>
    <p:sldLayoutId id="2147484242" r:id="rId10"/>
    <p:sldLayoutId id="2147484243" r:id="rId11"/>
    <p:sldLayoutId id="2147484244" r:id="rId12"/>
    <p:sldLayoutId id="2147484245" r:id="rId13"/>
    <p:sldLayoutId id="2147484246" r:id="rId14"/>
    <p:sldLayoutId id="2147484247" r:id="rId15"/>
    <p:sldLayoutId id="2147484248" r:id="rId16"/>
    <p:sldLayoutId id="2147484249" r:id="rId17"/>
    <p:sldLayoutId id="2147484250" r:id="rId18"/>
    <p:sldLayoutId id="2147484251" r:id="rId19"/>
    <p:sldLayoutId id="2147484252" r:id="rId20"/>
    <p:sldLayoutId id="2147484253" r:id="rId21"/>
    <p:sldLayoutId id="2147484254" r:id="rId22"/>
    <p:sldLayoutId id="2147484255" r:id="rId23"/>
    <p:sldLayoutId id="2147484256" r:id="rId24"/>
    <p:sldLayoutId id="2147484257" r:id="rId25"/>
    <p:sldLayoutId id="2147484258" r:id="rId26"/>
    <p:sldLayoutId id="2147484259" r:id="rId27"/>
    <p:sldLayoutId id="2147484260" r:id="rId28"/>
    <p:sldLayoutId id="2147484261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ctr" defTabSz="1218642" rtl="0" eaLnBrk="1" latinLnBrk="0" hangingPunct="1">
        <a:spcBef>
          <a:spcPct val="0"/>
        </a:spcBef>
        <a:buNone/>
        <a:defRPr sz="4266" kern="1200" cap="all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6987" indent="-456987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42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90146" indent="-380825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73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23299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1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32627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41941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1262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0583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69904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225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2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642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796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28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60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5926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24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56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6D7D88-3E0D-4971-9A4A-3E5A5A5C4858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8" y="1592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1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6D7D88-3E0D-4971-9A4A-3E5A5A5C48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9" name="TextBox slide number"/>
          <p:cNvSpPr txBox="1"/>
          <p:nvPr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48640" y="6473952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66">
                <a:solidFill>
                  <a:srgbClr val="939598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806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4" r:id="rId12"/>
    <p:sldLayoutId id="2147484275" r:id="rId13"/>
    <p:sldLayoutId id="2147484276" r:id="rId14"/>
    <p:sldLayoutId id="2147484277" r:id="rId15"/>
  </p:sldLayoutIdLst>
  <p:transition spd="med"/>
  <p:hf sldNum="0" hdr="0" ftr="0" dt="0"/>
  <p:txStyles>
    <p:titleStyle>
      <a:lvl1pPr algn="ctr" defTabSz="1218642" rtl="0" eaLnBrk="1" latinLnBrk="0" hangingPunct="1">
        <a:spcBef>
          <a:spcPct val="0"/>
        </a:spcBef>
        <a:buNone/>
        <a:defRPr sz="4266" kern="1200" cap="all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6987" indent="-456987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42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90146" indent="-380825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73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23299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1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32627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41941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1262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0583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69904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225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2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642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796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28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60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5926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24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56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893"/>
            <a:ext cx="12190415" cy="6857107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48646" y="6468889"/>
            <a:ext cx="2413343" cy="16401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marR="0" indent="0" algn="l" defTabSz="12186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cap="none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sz="1066">
              <a:solidFill>
                <a:srgbClr val="939598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1748699" y="6395721"/>
            <a:ext cx="443301" cy="322249"/>
          </a:xfrm>
          <a:prstGeom prst="rect">
            <a:avLst/>
          </a:prstGeom>
          <a:solidFill>
            <a:schemeClr val="tx1"/>
          </a:solidFill>
          <a:ln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/>
            <a:endParaRPr lang="en-US" sz="3199">
              <a:solidFill>
                <a:prstClr val="white"/>
              </a:solidFill>
            </a:endParaRPr>
          </a:p>
        </p:txBody>
      </p:sp>
      <p:sp>
        <p:nvSpPr>
          <p:cNvPr id="8" name="TextBox slide number"/>
          <p:cNvSpPr txBox="1"/>
          <p:nvPr/>
        </p:nvSpPr>
        <p:spPr bwMode="white">
          <a:xfrm>
            <a:off x="11748706" y="6389260"/>
            <a:ext cx="450345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prstClr val="white"/>
                </a:solidFill>
              </a:rPr>
              <a:pPr/>
              <a:t>‹#›</a:t>
            </a:fld>
            <a:endParaRPr lang="en-US" sz="1333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8" y="5505444"/>
            <a:ext cx="1330737" cy="4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15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  <p:sldLayoutId id="2147484289" r:id="rId11"/>
    <p:sldLayoutId id="2147484290" r:id="rId12"/>
    <p:sldLayoutId id="2147484291" r:id="rId13"/>
    <p:sldLayoutId id="2147484292" r:id="rId14"/>
    <p:sldLayoutId id="2147484293" r:id="rId15"/>
    <p:sldLayoutId id="2147484294" r:id="rId16"/>
    <p:sldLayoutId id="2147484295" r:id="rId17"/>
    <p:sldLayoutId id="2147484296" r:id="rId18"/>
    <p:sldLayoutId id="2147484297" r:id="rId19"/>
    <p:sldLayoutId id="2147484298" r:id="rId20"/>
    <p:sldLayoutId id="2147484299" r:id="rId21"/>
    <p:sldLayoutId id="2147484300" r:id="rId22"/>
    <p:sldLayoutId id="2147484301" r:id="rId23"/>
    <p:sldLayoutId id="2147484302" r:id="rId24"/>
    <p:sldLayoutId id="2147484303" r:id="rId25"/>
    <p:sldLayoutId id="2147484304" r:id="rId26"/>
    <p:sldLayoutId id="2147484305" r:id="rId27"/>
    <p:sldLayoutId id="2147484306" r:id="rId28"/>
    <p:sldLayoutId id="2147484307" r:id="rId29"/>
    <p:sldLayoutId id="2147484308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ctr" defTabSz="1218642" rtl="0" eaLnBrk="1" latinLnBrk="0" hangingPunct="1">
        <a:spcBef>
          <a:spcPct val="0"/>
        </a:spcBef>
        <a:buNone/>
        <a:defRPr sz="4266" kern="1200" cap="all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6987" indent="-456987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42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90146" indent="-380825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73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23299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1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32627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41941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1262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0583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69904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225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2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642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796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28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60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5926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24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56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304989" y="5505444"/>
            <a:ext cx="1330737" cy="443301"/>
          </a:xfrm>
          <a:prstGeom prst="rect">
            <a:avLst/>
          </a:prstGeom>
        </p:spPr>
      </p:pic>
      <p:sp>
        <p:nvSpPr>
          <p:cNvPr id="9" name="TextBox slide number"/>
          <p:cNvSpPr txBox="1"/>
          <p:nvPr/>
        </p:nvSpPr>
        <p:spPr bwMode="white">
          <a:xfrm>
            <a:off x="11748700" y="6395208"/>
            <a:ext cx="440124" cy="24622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5B71A-1B18-4E34-A48F-65DC4937AA99}" type="slidenum">
              <a:rPr lang="en-US" sz="1333" smtClean="0">
                <a:solidFill>
                  <a:srgbClr val="000000"/>
                </a:solidFill>
              </a:rPr>
              <a:pPr/>
              <a:t>‹#›</a:t>
            </a:fld>
            <a:endParaRPr lang="en-US" sz="1333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548640" y="6473952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66">
                <a:solidFill>
                  <a:srgbClr val="939598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279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  <p:sldLayoutId id="2147484321" r:id="rId12"/>
    <p:sldLayoutId id="2147484322" r:id="rId13"/>
    <p:sldLayoutId id="2147484323" r:id="rId14"/>
  </p:sldLayoutIdLst>
  <p:transition spd="med"/>
  <p:hf sldNum="0" hdr="0" ftr="0" dt="0"/>
  <p:txStyles>
    <p:titleStyle>
      <a:lvl1pPr algn="ctr" defTabSz="1218642" rtl="0" eaLnBrk="1" latinLnBrk="0" hangingPunct="1">
        <a:spcBef>
          <a:spcPct val="0"/>
        </a:spcBef>
        <a:buNone/>
        <a:defRPr sz="4266" kern="1200" cap="all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6987" indent="-456987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42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90146" indent="-380825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73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23299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3199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32627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41941" indent="-304664" algn="l" defTabSz="1218642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66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1262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0583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69904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225" indent="-304664" algn="l" defTabSz="1218642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2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642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796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28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601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5926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243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564" algn="l" defTabSz="121864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507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2345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  <p:sldLayoutId id="2147484388" r:id="rId2"/>
    <p:sldLayoutId id="2147484389" r:id="rId3"/>
    <p:sldLayoutId id="2147484390" r:id="rId4"/>
    <p:sldLayoutId id="2147484391" r:id="rId5"/>
    <p:sldLayoutId id="2147484392" r:id="rId6"/>
    <p:sldLayoutId id="2147484393" r:id="rId7"/>
    <p:sldLayoutId id="2147484394" r:id="rId8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1149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6" r:id="rId1"/>
    <p:sldLayoutId id="2147484397" r:id="rId2"/>
    <p:sldLayoutId id="2147484398" r:id="rId3"/>
    <p:sldLayoutId id="2147484399" r:id="rId4"/>
    <p:sldLayoutId id="2147484400" r:id="rId5"/>
    <p:sldLayoutId id="2147484401" r:id="rId6"/>
    <p:sldLayoutId id="2147484402" r:id="rId7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735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4" r:id="rId1"/>
    <p:sldLayoutId id="2147484405" r:id="rId2"/>
    <p:sldLayoutId id="2147484406" r:id="rId3"/>
    <p:sldLayoutId id="2147484407" r:id="rId4"/>
    <p:sldLayoutId id="2147484408" r:id="rId5"/>
    <p:sldLayoutId id="2147484409" r:id="rId6"/>
    <p:sldLayoutId id="2147484410" r:id="rId7"/>
    <p:sldLayoutId id="2147484411" r:id="rId8"/>
    <p:sldLayoutId id="2147484412" r:id="rId9"/>
    <p:sldLayoutId id="2147484413" r:id="rId10"/>
    <p:sldLayoutId id="2147484414" r:id="rId11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507868" y="-287867"/>
            <a:ext cx="12696693" cy="714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5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ctr" defTabSz="609448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609448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52" indent="-380905" algn="l" defTabSz="609448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619" indent="-304724" algn="l" defTabSz="609448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067" indent="-304724" algn="l" defTabSz="609448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4" indent="-304724" algn="l" defTabSz="609448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2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3866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22" r:id="rId7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2355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4" r:id="rId1"/>
    <p:sldLayoutId id="2147484425" r:id="rId2"/>
    <p:sldLayoutId id="2147484426" r:id="rId3"/>
    <p:sldLayoutId id="2147484427" r:id="rId4"/>
    <p:sldLayoutId id="2147484428" r:id="rId5"/>
    <p:sldLayoutId id="2147484429" r:id="rId6"/>
    <p:sldLayoutId id="2147484430" r:id="rId7"/>
    <p:sldLayoutId id="2147484431" r:id="rId8"/>
    <p:sldLayoutId id="2147484432" r:id="rId9"/>
    <p:sldLayoutId id="2147484433" r:id="rId10"/>
    <p:sldLayoutId id="2147484434" r:id="rId11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75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6" r:id="rId1"/>
    <p:sldLayoutId id="2147484437" r:id="rId2"/>
    <p:sldLayoutId id="2147484438" r:id="rId3"/>
    <p:sldLayoutId id="2147484439" r:id="rId4"/>
    <p:sldLayoutId id="2147484440" r:id="rId5"/>
    <p:sldLayoutId id="2147484441" r:id="rId6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049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8181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0" r:id="rId1"/>
    <p:sldLayoutId id="2147484451" r:id="rId2"/>
    <p:sldLayoutId id="2147484452" r:id="rId3"/>
    <p:sldLayoutId id="2147484453" r:id="rId4"/>
    <p:sldLayoutId id="2147484454" r:id="rId5"/>
    <p:sldLayoutId id="2147484455" r:id="rId6"/>
    <p:sldLayoutId id="2147484456" r:id="rId7"/>
    <p:sldLayoutId id="2147484457" r:id="rId8"/>
    <p:sldLayoutId id="2147484458" r:id="rId9"/>
    <p:sldLayoutId id="2147484459" r:id="rId10"/>
    <p:sldLayoutId id="2147484460" r:id="rId11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4626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2" r:id="rId1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688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4" r:id="rId1"/>
    <p:sldLayoutId id="2147484465" r:id="rId2"/>
    <p:sldLayoutId id="2147484466" r:id="rId3"/>
    <p:sldLayoutId id="2147484467" r:id="rId4"/>
    <p:sldLayoutId id="2147484468" r:id="rId5"/>
    <p:sldLayoutId id="2147484469" r:id="rId6"/>
    <p:sldLayoutId id="2147484470" r:id="rId7"/>
    <p:sldLayoutId id="2147484471" r:id="rId8"/>
    <p:sldLayoutId id="2147484472" r:id="rId9"/>
    <p:sldLayoutId id="2147484473" r:id="rId10"/>
    <p:sldLayoutId id="2147484474" r:id="rId11"/>
    <p:sldLayoutId id="2147484475" r:id="rId12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5913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7" r:id="rId1"/>
    <p:sldLayoutId id="2147484478" r:id="rId2"/>
    <p:sldLayoutId id="2147484479" r:id="rId3"/>
    <p:sldLayoutId id="2147484480" r:id="rId4"/>
    <p:sldLayoutId id="2147484481" r:id="rId5"/>
    <p:sldLayoutId id="2147484482" r:id="rId6"/>
    <p:sldLayoutId id="2147484483" r:id="rId7"/>
    <p:sldLayoutId id="2147484485" r:id="rId8"/>
    <p:sldLayoutId id="2147484486" r:id="rId9"/>
    <p:sldLayoutId id="2147484489" r:id="rId10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636740" y="6322227"/>
            <a:ext cx="4533552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35582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94" r:id="rId2"/>
    <p:sldLayoutId id="2147484495" r:id="rId3"/>
    <p:sldLayoutId id="2147484496" r:id="rId4"/>
    <p:sldLayoutId id="2147484497" r:id="rId5"/>
    <p:sldLayoutId id="2147484498" r:id="rId6"/>
    <p:sldLayoutId id="2147484499" r:id="rId7"/>
    <p:sldLayoutId id="2147484500" r:id="rId8"/>
    <p:sldLayoutId id="2147484501" r:id="rId9"/>
    <p:sldLayoutId id="2147484502" r:id="rId10"/>
    <p:sldLayoutId id="2147484503" r:id="rId11"/>
    <p:sldLayoutId id="2147484504" r:id="rId12"/>
    <p:sldLayoutId id="2147484505" r:id="rId13"/>
    <p:sldLayoutId id="2147484506" r:id="rId14"/>
    <p:sldLayoutId id="2147484507" r:id="rId15"/>
    <p:sldLayoutId id="2147484508" r:id="rId16"/>
    <p:sldLayoutId id="2147484509" r:id="rId17"/>
    <p:sldLayoutId id="2147484510" r:id="rId18"/>
    <p:sldLayoutId id="2147484511" r:id="rId19"/>
    <p:sldLayoutId id="2147484512" r:id="rId20"/>
    <p:sldLayoutId id="2147484513" r:id="rId21"/>
    <p:sldLayoutId id="2147484514" r:id="rId22"/>
    <p:sldLayoutId id="2147484515" r:id="rId23"/>
    <p:sldLayoutId id="2147484516" r:id="rId24"/>
    <p:sldLayoutId id="2147484517" r:id="rId25"/>
    <p:sldLayoutId id="2147484518" r:id="rId26"/>
    <p:sldLayoutId id="2147484519" r:id="rId27"/>
    <p:sldLayoutId id="2147484520" r:id="rId28"/>
    <p:sldLayoutId id="2147484521" r:id="rId29"/>
  </p:sldLayoutIdLst>
  <p:txStyles>
    <p:titleStyle>
      <a:lvl1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2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5pPr>
      <a:lvl6pPr marL="609448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6pPr>
      <a:lvl7pPr marL="1218895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7pPr>
      <a:lvl8pPr marL="1828343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8pPr>
      <a:lvl9pPr marL="2437790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27" indent="-226427" algn="l" defTabSz="912056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247" indent="-287795" algn="l" defTabSz="912056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589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816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042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520" indent="-228536" algn="l" defTabSz="91414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480" indent="-228506" algn="l" defTabSz="914141" rtl="0" eaLnBrk="1" latinLnBrk="0" hangingPunct="1">
        <a:spcBef>
          <a:spcPts val="800"/>
        </a:spcBef>
        <a:buFont typeface="Arial" pitchFamily="34" charset="0"/>
        <a:buChar char="•"/>
        <a:defRPr sz="1066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493" indent="0" algn="l" defTabSz="91414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99" indent="-228536" algn="l" defTabSz="9141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067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914141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37121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4pPr>
      <a:lvl5pPr marL="182828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5pPr>
      <a:lvl6pPr marL="228535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6pPr>
      <a:lvl7pPr marL="2742424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7pPr>
      <a:lvl8pPr marL="319949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8pPr>
      <a:lvl9pPr marL="3656566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56">
          <p15:clr>
            <a:srgbClr val="F26B43"/>
          </p15:clr>
        </p15:guide>
        <p15:guide id="2" pos="448">
          <p15:clr>
            <a:srgbClr val="F26B43"/>
          </p15:clr>
        </p15:guide>
        <p15:guide id="3" pos="7262">
          <p15:clr>
            <a:srgbClr val="F26B43"/>
          </p15:clr>
        </p15:guide>
        <p15:guide id="4" orient="horz" pos="1009">
          <p15:clr>
            <a:srgbClr val="F26B43"/>
          </p15:clr>
        </p15:guide>
        <p15:guide id="5" orient="horz" pos="447">
          <p15:clr>
            <a:srgbClr val="F26B43"/>
          </p15:clr>
        </p15:guide>
        <p15:guide id="6" pos="3834">
          <p15:clr>
            <a:srgbClr val="F26B43"/>
          </p15:clr>
        </p15:guide>
        <p15:guide id="7" orient="horz" pos="1391">
          <p15:clr>
            <a:srgbClr val="F26B43"/>
          </p15:clr>
        </p15:guide>
      </p15:sldGuideLst>
    </p:ext>
  </p:extLst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9670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3" r:id="rId1"/>
    <p:sldLayoutId id="2147484524" r:id="rId2"/>
    <p:sldLayoutId id="2147484525" r:id="rId3"/>
    <p:sldLayoutId id="2147484526" r:id="rId4"/>
    <p:sldLayoutId id="2147484527" r:id="rId5"/>
    <p:sldLayoutId id="2147484528" r:id="rId6"/>
    <p:sldLayoutId id="2147484529" r:id="rId7"/>
    <p:sldLayoutId id="2147484530" r:id="rId8"/>
    <p:sldLayoutId id="2147484531" r:id="rId9"/>
    <p:sldLayoutId id="2147484533" r:id="rId10"/>
    <p:sldLayoutId id="2147484534" r:id="rId11"/>
    <p:sldLayoutId id="2147484535" r:id="rId12"/>
    <p:sldLayoutId id="2147484536" r:id="rId13"/>
    <p:sldLayoutId id="2147484537" r:id="rId14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2296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</p:sldLayoutIdLst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24" indent="-304724" algn="l" defTabSz="1218895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2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indent="-304724" algn="l" defTabSz="121889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2pPr>
      <a:lvl3pPr marL="1523619" indent="-304724" algn="l" defTabSz="121889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3pPr>
      <a:lvl4pPr marL="2133067" indent="-304724" algn="l" defTabSz="121889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4" indent="-304724" algn="l" defTabSz="121889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2" indent="-304724" algn="l" defTabSz="121889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121889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121889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1218895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536" y="455085"/>
            <a:ext cx="11124420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9139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4372" r:id="rId11"/>
    <p:sldLayoutId id="2147484373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4" r:id="rId28"/>
    <p:sldLayoutId id="2147483715" r:id="rId29"/>
  </p:sldLayoutIdLst>
  <p:txStyles>
    <p:titleStyle>
      <a:lvl1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2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5pPr>
      <a:lvl6pPr marL="609448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6pPr>
      <a:lvl7pPr marL="1218895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7pPr>
      <a:lvl8pPr marL="1828343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8pPr>
      <a:lvl9pPr marL="2437790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27" indent="-226427" algn="l" defTabSz="912056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247" indent="-287795" algn="l" defTabSz="912056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589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816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042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520" indent="-228536" algn="l" defTabSz="91414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480" indent="-228506" algn="l" defTabSz="914141" rtl="0" eaLnBrk="1" latinLnBrk="0" hangingPunct="1">
        <a:spcBef>
          <a:spcPts val="800"/>
        </a:spcBef>
        <a:buFont typeface="Arial" pitchFamily="34" charset="0"/>
        <a:buChar char="•"/>
        <a:defRPr sz="1066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493" indent="0" algn="l" defTabSz="91414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99" indent="-228536" algn="l" defTabSz="9141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067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914141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37121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4pPr>
      <a:lvl5pPr marL="182828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5pPr>
      <a:lvl6pPr marL="228535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6pPr>
      <a:lvl7pPr marL="2742424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7pPr>
      <a:lvl8pPr marL="319949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8pPr>
      <a:lvl9pPr marL="3656566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56" userDrawn="1">
          <p15:clr>
            <a:srgbClr val="F26B43"/>
          </p15:clr>
        </p15:guide>
        <p15:guide id="2" pos="448" userDrawn="1">
          <p15:clr>
            <a:srgbClr val="F26B43"/>
          </p15:clr>
        </p15:guide>
        <p15:guide id="3" pos="7262" userDrawn="1">
          <p15:clr>
            <a:srgbClr val="F26B43"/>
          </p15:clr>
        </p15:guide>
        <p15:guide id="4" orient="horz" pos="1009" userDrawn="1">
          <p15:clr>
            <a:srgbClr val="F26B43"/>
          </p15:clr>
        </p15:guide>
        <p15:guide id="5" orient="horz" pos="447" userDrawn="1">
          <p15:clr>
            <a:srgbClr val="F26B43"/>
          </p15:clr>
        </p15:guide>
        <p15:guide id="6" pos="3834" userDrawn="1">
          <p15:clr>
            <a:srgbClr val="F26B43"/>
          </p15:clr>
        </p15:guide>
        <p15:guide id="7" orient="horz" pos="1391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607" y="6305046"/>
            <a:ext cx="1904503" cy="418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9BAFB0-310D-244C-B333-059E36CA333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384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</p:sldLayoutIdLst>
  <p:hf hdr="0" dt="0"/>
  <p:txStyles>
    <p:titleStyle>
      <a:lvl1pPr algn="l" defTabSz="1217674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21767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</a:defRPr>
      </a:lvl2pPr>
      <a:lvl3pPr algn="l" defTabSz="121767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</a:defRPr>
      </a:lvl3pPr>
      <a:lvl4pPr algn="l" defTabSz="121767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</a:defRPr>
      </a:lvl4pPr>
      <a:lvl5pPr algn="l" defTabSz="121767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</a:defRPr>
      </a:lvl5pPr>
      <a:lvl6pPr marL="457223" algn="ctr" defTabSz="1217674" rtl="0" eaLnBrk="1" fontAlgn="base" hangingPunct="1">
        <a:spcBef>
          <a:spcPct val="0"/>
        </a:spcBef>
        <a:spcAft>
          <a:spcPct val="0"/>
        </a:spcAft>
        <a:defRPr sz="5901">
          <a:solidFill>
            <a:schemeClr val="tx1"/>
          </a:solidFill>
          <a:latin typeface="Work Sans Light" pitchFamily="2" charset="0"/>
        </a:defRPr>
      </a:lvl6pPr>
      <a:lvl7pPr marL="914446" algn="ctr" defTabSz="1217674" rtl="0" eaLnBrk="1" fontAlgn="base" hangingPunct="1">
        <a:spcBef>
          <a:spcPct val="0"/>
        </a:spcBef>
        <a:spcAft>
          <a:spcPct val="0"/>
        </a:spcAft>
        <a:defRPr sz="5901">
          <a:solidFill>
            <a:schemeClr val="tx1"/>
          </a:solidFill>
          <a:latin typeface="Work Sans Light" pitchFamily="2" charset="0"/>
        </a:defRPr>
      </a:lvl7pPr>
      <a:lvl8pPr marL="1371668" algn="ctr" defTabSz="1217674" rtl="0" eaLnBrk="1" fontAlgn="base" hangingPunct="1">
        <a:spcBef>
          <a:spcPct val="0"/>
        </a:spcBef>
        <a:spcAft>
          <a:spcPct val="0"/>
        </a:spcAft>
        <a:defRPr sz="5901">
          <a:solidFill>
            <a:schemeClr val="tx1"/>
          </a:solidFill>
          <a:latin typeface="Work Sans Light" pitchFamily="2" charset="0"/>
        </a:defRPr>
      </a:lvl8pPr>
      <a:lvl9pPr marL="1828892" algn="ctr" defTabSz="1217674" rtl="0" eaLnBrk="1" fontAlgn="base" hangingPunct="1">
        <a:spcBef>
          <a:spcPct val="0"/>
        </a:spcBef>
        <a:spcAft>
          <a:spcPct val="0"/>
        </a:spcAft>
        <a:defRPr sz="5901">
          <a:solidFill>
            <a:schemeClr val="tx1"/>
          </a:solidFill>
          <a:latin typeface="Work Sans Light" pitchFamily="2" charset="0"/>
        </a:defRPr>
      </a:lvl9pPr>
    </p:titleStyle>
    <p:bodyStyle>
      <a:lvl1pPr marL="455637" indent="-455637" algn="l" defTabSz="1217674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600" kern="1200">
          <a:solidFill>
            <a:schemeClr val="bg1"/>
          </a:solidFill>
          <a:latin typeface="+mn-lt"/>
          <a:ea typeface="+mn-ea"/>
          <a:cs typeface="+mn-cs"/>
        </a:defRPr>
      </a:lvl1pPr>
      <a:lvl2pPr marL="989063" indent="-379432" algn="l" defTabSz="1217674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201" kern="1200">
          <a:solidFill>
            <a:schemeClr val="bg1"/>
          </a:solidFill>
          <a:latin typeface="+mn-lt"/>
          <a:ea typeface="+mn-ea"/>
          <a:cs typeface="+mn-cs"/>
        </a:defRPr>
      </a:lvl2pPr>
      <a:lvl3pPr marL="1522490" indent="-303228" algn="l" defTabSz="1217674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1" kern="1200">
          <a:solidFill>
            <a:schemeClr val="bg1"/>
          </a:solidFill>
          <a:latin typeface="+mn-lt"/>
          <a:ea typeface="+mn-ea"/>
          <a:cs typeface="+mn-cs"/>
        </a:defRPr>
      </a:lvl3pPr>
      <a:lvl4pPr marL="2132120" indent="-303228" algn="l" defTabSz="1217674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1" kern="1200">
          <a:solidFill>
            <a:schemeClr val="bg1"/>
          </a:solidFill>
          <a:latin typeface="+mn-lt"/>
          <a:ea typeface="+mn-ea"/>
          <a:cs typeface="+mn-cs"/>
        </a:defRPr>
      </a:lvl4pPr>
      <a:lvl5pPr marL="2741749" indent="-303228" algn="l" defTabSz="1217674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1" kern="1200">
          <a:solidFill>
            <a:schemeClr val="bg1"/>
          </a:solidFill>
          <a:latin typeface="+mn-lt"/>
          <a:ea typeface="+mn-ea"/>
          <a:cs typeface="+mn-cs"/>
        </a:defRPr>
      </a:lvl5pPr>
      <a:lvl6pPr marL="3352380" indent="-304762" algn="l" defTabSz="1219048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1" kern="1200">
          <a:solidFill>
            <a:schemeClr val="tx1"/>
          </a:solidFill>
          <a:latin typeface="+mn-lt"/>
          <a:ea typeface="+mn-ea"/>
          <a:cs typeface="+mn-cs"/>
        </a:defRPr>
      </a:lvl6pPr>
      <a:lvl7pPr marL="3961905" indent="-304762" algn="l" defTabSz="1219048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1" kern="1200">
          <a:solidFill>
            <a:schemeClr val="tx1"/>
          </a:solidFill>
          <a:latin typeface="+mn-lt"/>
          <a:ea typeface="+mn-ea"/>
          <a:cs typeface="+mn-cs"/>
        </a:defRPr>
      </a:lvl7pPr>
      <a:lvl8pPr marL="4571428" indent="-304762" algn="l" defTabSz="1219048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1" kern="1200">
          <a:solidFill>
            <a:schemeClr val="tx1"/>
          </a:solidFill>
          <a:latin typeface="+mn-lt"/>
          <a:ea typeface="+mn-ea"/>
          <a:cs typeface="+mn-cs"/>
        </a:defRPr>
      </a:lvl8pPr>
      <a:lvl9pPr marL="5180951" indent="-304762" algn="l" defTabSz="1219048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48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1pPr>
      <a:lvl2pPr marL="609524" algn="l" defTabSz="1219048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1219048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2" algn="l" defTabSz="1219048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4" algn="l" defTabSz="1219048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5pPr>
      <a:lvl6pPr marL="3047619" algn="l" defTabSz="1219048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48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6" algn="l" defTabSz="1219048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1" algn="l" defTabSz="1219048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-2"/>
            <a:ext cx="12696693" cy="714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964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</p:sldLayoutIdLst>
  <p:txStyles>
    <p:titleStyle>
      <a:lvl1pPr algn="ctr" defTabSz="609448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609448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52" indent="-380905" algn="l" defTabSz="609448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619" indent="-304724" algn="l" defTabSz="609448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067" indent="-304724" algn="l" defTabSz="609448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4" indent="-304724" algn="l" defTabSz="609448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2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119" y="2119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7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5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890885" y="781052"/>
            <a:ext cx="10969943" cy="8621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9006198" y="6356353"/>
            <a:ext cx="2844059" cy="366183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rgbClr val="2131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D7BA85-E772-E949-93DE-4E26ED59B952}" type="slidenum">
              <a:rPr lang="en-US" sz="1066" smtClean="0">
                <a:solidFill>
                  <a:prstClr val="white"/>
                </a:solidFill>
              </a:rPr>
              <a:pPr/>
              <a:t>‹#›</a:t>
            </a:fld>
            <a:endParaRPr lang="en-US" sz="1066">
              <a:solidFill>
                <a:prstClr val="white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9001885" y="6356703"/>
            <a:ext cx="2844059" cy="366183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rgbClr val="2131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D7BA85-E772-E949-93DE-4E26ED59B952}" type="slidenum">
              <a:rPr lang="en-US" sz="1066" smtClean="0">
                <a:solidFill>
                  <a:prstClr val="white"/>
                </a:solidFill>
              </a:rPr>
              <a:pPr/>
              <a:t>‹#›</a:t>
            </a:fld>
            <a:endParaRPr lang="en-US" sz="1066">
              <a:solidFill>
                <a:prstClr val="white"/>
              </a:solidFill>
            </a:endParaRPr>
          </a:p>
        </p:txBody>
      </p:sp>
      <p:pic>
        <p:nvPicPr>
          <p:cNvPr id="11" name="Picture 10" descr="Dark Background6.jp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80422" cy="691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934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</p:sldLayoutIdLst>
  <p:hf sldNum="0" hdr="0" dt="0"/>
  <p:txStyles>
    <p:titleStyle>
      <a:lvl1pPr algn="l" defTabSz="609433" rtl="0" eaLnBrk="1" latinLnBrk="0" hangingPunct="1">
        <a:spcBef>
          <a:spcPct val="0"/>
        </a:spcBef>
        <a:buNone/>
        <a:defRPr lang="en-US" sz="3999" b="1" kern="1200" baseline="0" dirty="0">
          <a:solidFill>
            <a:schemeClr val="tx2"/>
          </a:solidFill>
          <a:latin typeface="Corbel"/>
          <a:ea typeface="+mj-ea"/>
          <a:cs typeface="Corbel"/>
        </a:defRPr>
      </a:lvl1pPr>
    </p:titleStyle>
    <p:bodyStyle>
      <a:lvl1pPr marL="457075" indent="-457075" algn="l" defTabSz="609433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27" indent="-380895" algn="l" defTabSz="609433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582" indent="-304716" algn="l" defTabSz="609433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013" indent="-304716" algn="l" defTabSz="609433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445" indent="-304716" algn="l" defTabSz="609433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878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311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4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5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33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6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7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2119" y="2119"/>
          <a:ext cx="2115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1" name="think-cell Slide" r:id="rId8" imgW="6350000" imgH="6350000" progId="TCLayout.ActiveDocument.1">
                  <p:embed/>
                </p:oleObj>
              </mc:Choice>
              <mc:Fallback>
                <p:oleObj name="think-cell Slide" r:id="rId8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5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890885" y="781052"/>
            <a:ext cx="10969943" cy="8621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9006198" y="6356353"/>
            <a:ext cx="2844059" cy="366183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rgbClr val="2131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D7BA85-E772-E949-93DE-4E26ED59B952}" type="slidenum">
              <a:rPr lang="en-US" sz="1066" smtClean="0">
                <a:solidFill>
                  <a:prstClr val="white"/>
                </a:solidFill>
              </a:rPr>
              <a:pPr/>
              <a:t>‹#›</a:t>
            </a:fld>
            <a:endParaRPr lang="en-US" sz="1066">
              <a:solidFill>
                <a:prstClr val="white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9001885" y="6356703"/>
            <a:ext cx="2844059" cy="366183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rgbClr val="2131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D7BA85-E772-E949-93DE-4E26ED59B952}" type="slidenum">
              <a:rPr lang="en-US" sz="1066" smtClean="0">
                <a:solidFill>
                  <a:prstClr val="white"/>
                </a:solidFill>
              </a:rPr>
              <a:pPr/>
              <a:t>‹#›</a:t>
            </a:fld>
            <a:endParaRPr lang="en-US" sz="1066">
              <a:solidFill>
                <a:prstClr val="white"/>
              </a:solidFill>
            </a:endParaRPr>
          </a:p>
        </p:txBody>
      </p:sp>
      <p:pic>
        <p:nvPicPr>
          <p:cNvPr id="7" name="Picture 6" descr="Dark Background6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80422" cy="691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068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</p:sldLayoutIdLst>
  <p:hf sldNum="0" hdr="0" dt="0"/>
  <p:txStyles>
    <p:titleStyle>
      <a:lvl1pPr algn="l" defTabSz="609433" rtl="0" eaLnBrk="1" latinLnBrk="0" hangingPunct="1">
        <a:spcBef>
          <a:spcPct val="0"/>
        </a:spcBef>
        <a:buNone/>
        <a:defRPr lang="en-US" sz="3999" b="1" kern="1200" baseline="0" dirty="0">
          <a:solidFill>
            <a:schemeClr val="tx2"/>
          </a:solidFill>
          <a:latin typeface="Corbel"/>
          <a:ea typeface="+mj-ea"/>
          <a:cs typeface="Corbel"/>
        </a:defRPr>
      </a:lvl1pPr>
    </p:titleStyle>
    <p:bodyStyle>
      <a:lvl1pPr marL="457075" indent="-457075" algn="l" defTabSz="609433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27" indent="-380895" algn="l" defTabSz="609433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582" indent="-304716" algn="l" defTabSz="609433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013" indent="-304716" algn="l" defTabSz="609433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445" indent="-304716" algn="l" defTabSz="609433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878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311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4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5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33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6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7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2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6.xml"/><Relationship Id="rId4" Type="http://schemas.openxmlformats.org/officeDocument/2006/relationships/image" Target="../media/image25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3.emf"/><Relationship Id="rId7" Type="http://schemas.openxmlformats.org/officeDocument/2006/relationships/image" Target="../media/image26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25.xml"/><Relationship Id="rId6" Type="http://schemas.openxmlformats.org/officeDocument/2006/relationships/image" Target="../media/image266.emf"/><Relationship Id="rId5" Type="http://schemas.openxmlformats.org/officeDocument/2006/relationships/image" Target="../media/image265.emf"/><Relationship Id="rId4" Type="http://schemas.openxmlformats.org/officeDocument/2006/relationships/image" Target="../media/image26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9.png"/><Relationship Id="rId2" Type="http://schemas.openxmlformats.org/officeDocument/2006/relationships/image" Target="../media/image268.png"/><Relationship Id="rId1" Type="http://schemas.openxmlformats.org/officeDocument/2006/relationships/slideLayout" Target="../slideLayouts/slideLayout525.xml"/><Relationship Id="rId6" Type="http://schemas.openxmlformats.org/officeDocument/2006/relationships/image" Target="../media/image272.png"/><Relationship Id="rId5" Type="http://schemas.openxmlformats.org/officeDocument/2006/relationships/image" Target="../media/image271.png"/><Relationship Id="rId4" Type="http://schemas.openxmlformats.org/officeDocument/2006/relationships/image" Target="../media/image27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You Want to Build a Security Practi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ex </a:t>
            </a:r>
            <a:r>
              <a:rPr lang="en-US" dirty="0" err="1"/>
              <a:t>Ryals</a:t>
            </a:r>
            <a:r>
              <a:rPr lang="en-US" dirty="0"/>
              <a:t> </a:t>
            </a:r>
          </a:p>
          <a:p>
            <a:r>
              <a:rPr lang="en-US" dirty="0"/>
              <a:t>Vice President, Security and Networking, Tech Dat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277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Build a Security Practi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78060" y="2227917"/>
            <a:ext cx="5675834" cy="27323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Listen for customer interest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Evaluate the channel program &amp; profitability model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Consider multi-vendor solution opportunity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Train your sales &amp; technical teams</a:t>
            </a:r>
          </a:p>
        </p:txBody>
      </p:sp>
      <p:graphicFrame>
        <p:nvGraphicFramePr>
          <p:cNvPr id="5" name="Chart 4"/>
          <p:cNvGraphicFramePr/>
          <p:nvPr>
            <p:extLst/>
          </p:nvPr>
        </p:nvGraphicFramePr>
        <p:xfrm>
          <a:off x="542975" y="1399046"/>
          <a:ext cx="5143650" cy="439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80581" y="3055620"/>
            <a:ext cx="3468439" cy="1076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3199" dirty="0">
                <a:solidFill>
                  <a:prstClr val="white"/>
                </a:solidFill>
                <a:latin typeface="Corbel" panose="020B0503020204020204" pitchFamily="34" charset="0"/>
              </a:rPr>
              <a:t>Select Security Vendors</a:t>
            </a:r>
          </a:p>
        </p:txBody>
      </p:sp>
    </p:spTree>
    <p:extLst>
      <p:ext uri="{BB962C8B-B14F-4D97-AF65-F5344CB8AC3E}">
        <p14:creationId xmlns:p14="http://schemas.microsoft.com/office/powerpoint/2010/main" val="35500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Build a Security Practi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78061" y="2362352"/>
            <a:ext cx="4182941" cy="27500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Assessments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Consulting Services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Managed Security Services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End-User Education/Training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Multi-Vendor Offerings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endParaRPr lang="en-US" sz="2399" dirty="0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5" name="Chart 4"/>
          <p:cNvGraphicFramePr/>
          <p:nvPr>
            <p:extLst/>
          </p:nvPr>
        </p:nvGraphicFramePr>
        <p:xfrm>
          <a:off x="542975" y="1399046"/>
          <a:ext cx="5143650" cy="439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80581" y="3055620"/>
            <a:ext cx="3468439" cy="1076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3199" dirty="0">
                <a:solidFill>
                  <a:prstClr val="white"/>
                </a:solidFill>
                <a:latin typeface="Corbel" panose="020B0503020204020204" pitchFamily="34" charset="0"/>
              </a:rPr>
              <a:t>Create Solution Offerings</a:t>
            </a:r>
          </a:p>
        </p:txBody>
      </p:sp>
    </p:spTree>
    <p:extLst>
      <p:ext uri="{BB962C8B-B14F-4D97-AF65-F5344CB8AC3E}">
        <p14:creationId xmlns:p14="http://schemas.microsoft.com/office/powerpoint/2010/main" val="93124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Build a Security Practi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78061" y="2671000"/>
            <a:ext cx="5518843" cy="1864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What are you selling?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Who are you selling to?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How will you reach your target market?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Where will you promote your solutions?</a:t>
            </a:r>
          </a:p>
        </p:txBody>
      </p:sp>
      <p:graphicFrame>
        <p:nvGraphicFramePr>
          <p:cNvPr id="5" name="Chart 4"/>
          <p:cNvGraphicFramePr/>
          <p:nvPr>
            <p:extLst/>
          </p:nvPr>
        </p:nvGraphicFramePr>
        <p:xfrm>
          <a:off x="542975" y="1399046"/>
          <a:ext cx="5143650" cy="439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80581" y="2782577"/>
            <a:ext cx="3468439" cy="1569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3199" dirty="0">
                <a:solidFill>
                  <a:prstClr val="white"/>
                </a:solidFill>
                <a:latin typeface="Corbel" panose="020B0503020204020204" pitchFamily="34" charset="0"/>
              </a:rPr>
              <a:t>Launch </a:t>
            </a:r>
          </a:p>
          <a:p>
            <a:pPr algn="ctr" defTabSz="914126"/>
            <a:r>
              <a:rPr lang="en-US" sz="3199" dirty="0">
                <a:solidFill>
                  <a:prstClr val="white"/>
                </a:solidFill>
                <a:latin typeface="Corbel" panose="020B0503020204020204" pitchFamily="34" charset="0"/>
              </a:rPr>
              <a:t>Go-To-Market </a:t>
            </a:r>
          </a:p>
          <a:p>
            <a:pPr algn="ctr" defTabSz="914126"/>
            <a:r>
              <a:rPr lang="en-US" sz="3199" dirty="0">
                <a:solidFill>
                  <a:prstClr val="white"/>
                </a:solidFill>
                <a:latin typeface="Corbel" panose="020B0503020204020204" pitchFamily="34" charset="0"/>
              </a:rPr>
              <a:t>Plan</a:t>
            </a:r>
          </a:p>
        </p:txBody>
      </p:sp>
    </p:spTree>
    <p:extLst>
      <p:ext uri="{BB962C8B-B14F-4D97-AF65-F5344CB8AC3E}">
        <p14:creationId xmlns:p14="http://schemas.microsoft.com/office/powerpoint/2010/main" val="59626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Build a Security Practi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78061" y="2671000"/>
            <a:ext cx="5296835" cy="18646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Motivate your sales team 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Leverage existing client relationships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Bundle security with non-security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Leverage Tech Data security solutions</a:t>
            </a:r>
          </a:p>
        </p:txBody>
      </p:sp>
      <p:graphicFrame>
        <p:nvGraphicFramePr>
          <p:cNvPr id="5" name="Chart 4"/>
          <p:cNvGraphicFramePr/>
          <p:nvPr>
            <p:extLst/>
          </p:nvPr>
        </p:nvGraphicFramePr>
        <p:xfrm>
          <a:off x="542975" y="1399046"/>
          <a:ext cx="5143650" cy="439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80581" y="2742246"/>
            <a:ext cx="3468439" cy="1753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3599" dirty="0">
                <a:solidFill>
                  <a:prstClr val="white"/>
                </a:solidFill>
                <a:latin typeface="Corbel" panose="020B0503020204020204" pitchFamily="34" charset="0"/>
              </a:rPr>
              <a:t>Sell</a:t>
            </a:r>
          </a:p>
          <a:p>
            <a:pPr algn="ctr" defTabSz="914126"/>
            <a:r>
              <a:rPr lang="en-US" sz="3599" dirty="0">
                <a:solidFill>
                  <a:prstClr val="white"/>
                </a:solidFill>
                <a:latin typeface="Corbel" panose="020B0503020204020204" pitchFamily="34" charset="0"/>
              </a:rPr>
              <a:t>Sell</a:t>
            </a:r>
          </a:p>
          <a:p>
            <a:pPr algn="ctr" defTabSz="914126"/>
            <a:r>
              <a:rPr lang="en-US" sz="3599" dirty="0">
                <a:solidFill>
                  <a:prstClr val="white"/>
                </a:solidFill>
                <a:latin typeface="Corbel" panose="020B0503020204020204" pitchFamily="34" charset="0"/>
              </a:rPr>
              <a:t>Sell</a:t>
            </a:r>
          </a:p>
        </p:txBody>
      </p:sp>
    </p:spTree>
    <p:extLst>
      <p:ext uri="{BB962C8B-B14F-4D97-AF65-F5344CB8AC3E}">
        <p14:creationId xmlns:p14="http://schemas.microsoft.com/office/powerpoint/2010/main" val="128028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17D921-B664-B649-9D08-318F83E8E0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3347" y="2726057"/>
            <a:ext cx="7588984" cy="1515669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3347" y="4125271"/>
            <a:ext cx="4947502" cy="5230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26"/>
            <a:r>
              <a:rPr lang="en-US" sz="2799" dirty="0">
                <a:solidFill>
                  <a:prstClr val="white"/>
                </a:solidFill>
                <a:latin typeface="Corbel" panose="020B0503020204020204" pitchFamily="34" charset="0"/>
              </a:rPr>
              <a:t>securityservices@techdata.com</a:t>
            </a:r>
          </a:p>
        </p:txBody>
      </p:sp>
    </p:spTree>
    <p:extLst>
      <p:ext uri="{BB962C8B-B14F-4D97-AF65-F5344CB8AC3E}">
        <p14:creationId xmlns:p14="http://schemas.microsoft.com/office/powerpoint/2010/main" val="210066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06" y="256848"/>
            <a:ext cx="10055780" cy="599755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3327" y="621363"/>
            <a:ext cx="7613535" cy="4763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76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9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48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777" y="421793"/>
            <a:ext cx="11819331" cy="5376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51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9762" y="424867"/>
            <a:ext cx="11313833" cy="684564"/>
          </a:xfrm>
        </p:spPr>
        <p:txBody>
          <a:bodyPr/>
          <a:lstStyle/>
          <a:p>
            <a:r>
              <a:rPr lang="en-US" dirty="0"/>
              <a:t>It Doesn’t Take a Rocket Scientist to Be a Bad Guy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0"/>
          </p:nvPr>
        </p:nvSpPr>
        <p:spPr>
          <a:xfrm>
            <a:off x="785743" y="1902280"/>
            <a:ext cx="7603038" cy="4602091"/>
          </a:xfrm>
        </p:spPr>
        <p:txBody>
          <a:bodyPr/>
          <a:lstStyle/>
          <a:p>
            <a:pPr marL="0" indent="0">
              <a:buClr>
                <a:schemeClr val="bg1"/>
              </a:buClr>
              <a:buNone/>
            </a:pPr>
            <a:r>
              <a:rPr lang="en-US" sz="3199" dirty="0">
                <a:solidFill>
                  <a:schemeClr val="bg1"/>
                </a:solidFill>
              </a:rPr>
              <a:t>So how do we mitigate the threat?</a:t>
            </a:r>
          </a:p>
          <a:p>
            <a:pPr>
              <a:spcBef>
                <a:spcPts val="1600"/>
              </a:spcBef>
              <a:buClr>
                <a:schemeClr val="bg1"/>
              </a:buClr>
            </a:pPr>
            <a:r>
              <a:rPr lang="en-US" sz="2399" dirty="0">
                <a:solidFill>
                  <a:schemeClr val="bg1"/>
                </a:solidFill>
              </a:rPr>
              <a:t>Endpoint security</a:t>
            </a:r>
          </a:p>
          <a:p>
            <a:pPr>
              <a:spcBef>
                <a:spcPts val="1600"/>
              </a:spcBef>
              <a:buClr>
                <a:schemeClr val="bg1"/>
              </a:buClr>
            </a:pPr>
            <a:r>
              <a:rPr lang="en-US" sz="2399" dirty="0">
                <a:solidFill>
                  <a:schemeClr val="bg1"/>
                </a:solidFill>
              </a:rPr>
              <a:t>Patch servers and devices regularly</a:t>
            </a:r>
          </a:p>
          <a:p>
            <a:pPr>
              <a:spcBef>
                <a:spcPts val="1600"/>
              </a:spcBef>
              <a:buClr>
                <a:schemeClr val="bg1"/>
              </a:buClr>
            </a:pPr>
            <a:r>
              <a:rPr lang="en-US" sz="2399" dirty="0">
                <a:solidFill>
                  <a:schemeClr val="bg1"/>
                </a:solidFill>
              </a:rPr>
              <a:t>Network security to mitigate DDOS attacks</a:t>
            </a:r>
          </a:p>
          <a:p>
            <a:pPr>
              <a:spcBef>
                <a:spcPts val="1600"/>
              </a:spcBef>
              <a:buClr>
                <a:schemeClr val="bg1"/>
              </a:buClr>
            </a:pPr>
            <a:r>
              <a:rPr lang="en-US" sz="2399" dirty="0">
                <a:solidFill>
                  <a:schemeClr val="bg1"/>
                </a:solidFill>
              </a:rPr>
              <a:t>Managed security services to monitor security posture 24x7</a:t>
            </a:r>
          </a:p>
        </p:txBody>
      </p:sp>
    </p:spTree>
    <p:extLst>
      <p:ext uri="{BB962C8B-B14F-4D97-AF65-F5344CB8AC3E}">
        <p14:creationId xmlns:p14="http://schemas.microsoft.com/office/powerpoint/2010/main" val="1488803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 Data Security Practice Builder Offering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196565" y="1445040"/>
            <a:ext cx="3013764" cy="2246906"/>
            <a:chOff x="4197658" y="1444523"/>
            <a:chExt cx="3014549" cy="2247491"/>
          </a:xfrm>
        </p:grpSpPr>
        <p:sp>
          <p:nvSpPr>
            <p:cNvPr id="31" name="TextBox 30"/>
            <p:cNvSpPr txBox="1"/>
            <p:nvPr/>
          </p:nvSpPr>
          <p:spPr>
            <a:xfrm>
              <a:off x="5002407" y="1920760"/>
              <a:ext cx="2209800" cy="17712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lnSpc>
                  <a:spcPct val="80000"/>
                </a:lnSpc>
                <a:spcBef>
                  <a:spcPts val="600"/>
                </a:spcBef>
              </a:pPr>
              <a:r>
                <a:rPr lang="en-US" sz="1400" b="1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Vendor Focus Areas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Endpoint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Perimeter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Intelligence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Identity &amp; Access </a:t>
              </a:r>
              <a:r>
                <a:rPr lang="en-US" sz="1400" dirty="0" err="1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Mgmt</a:t>
              </a:r>
              <a:endParaRPr lang="en-US" sz="1400" dirty="0">
                <a:solidFill>
                  <a:prstClr val="white">
                    <a:alpha val="90000"/>
                  </a:prstClr>
                </a:solidFill>
                <a:latin typeface="Corbel" charset="0"/>
                <a:ea typeface="Corbel" charset="0"/>
                <a:cs typeface="Corbel" charset="0"/>
              </a:endParaRP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Data/Application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Compliance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002407" y="1444577"/>
              <a:ext cx="141391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126"/>
              <a:r>
                <a:rPr lang="en-US" sz="1999" dirty="0">
                  <a:solidFill>
                    <a:prstClr val="white"/>
                  </a:solidFill>
                  <a:latin typeface="Corbel" panose="020B0503020204020204" pitchFamily="34" charset="0"/>
                </a:rPr>
                <a:t>Technology</a:t>
              </a:r>
            </a:p>
          </p:txBody>
        </p:sp>
        <p:sp>
          <p:nvSpPr>
            <p:cNvPr id="20" name="Oval 19"/>
            <p:cNvSpPr/>
            <p:nvPr/>
          </p:nvSpPr>
          <p:spPr>
            <a:xfrm>
              <a:off x="4197658" y="1444523"/>
              <a:ext cx="733570" cy="733570"/>
            </a:xfrm>
            <a:prstGeom prst="ellipse">
              <a:avLst/>
            </a:prstGeom>
            <a:solidFill>
              <a:srgbClr val="00B1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24174" y="1560075"/>
              <a:ext cx="484196" cy="484196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7607387" y="1445040"/>
            <a:ext cx="3360514" cy="2669267"/>
            <a:chOff x="7609369" y="1444523"/>
            <a:chExt cx="3361389" cy="2669962"/>
          </a:xfrm>
        </p:grpSpPr>
        <p:sp>
          <p:nvSpPr>
            <p:cNvPr id="34" name="TextBox 33"/>
            <p:cNvSpPr txBox="1"/>
            <p:nvPr/>
          </p:nvSpPr>
          <p:spPr>
            <a:xfrm>
              <a:off x="8407164" y="1844633"/>
              <a:ext cx="2255196" cy="2269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lnSpc>
                  <a:spcPct val="80000"/>
                </a:lnSpc>
                <a:spcBef>
                  <a:spcPts val="600"/>
                </a:spcBef>
              </a:pPr>
              <a:r>
                <a:rPr lang="en-US" sz="1400" b="1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Presales</a:t>
              </a:r>
            </a:p>
            <a:p>
              <a:pPr marL="53959" indent="-285664" defTabSz="914126">
                <a:lnSpc>
                  <a:spcPct val="80000"/>
                </a:lnSpc>
                <a:spcBef>
                  <a:spcPts val="600"/>
                </a:spcBef>
                <a:buFont typeface="Arial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Demos</a:t>
              </a:r>
            </a:p>
            <a:p>
              <a:pPr marL="53959" indent="-285664" defTabSz="914126">
                <a:lnSpc>
                  <a:spcPct val="80000"/>
                </a:lnSpc>
                <a:spcBef>
                  <a:spcPts val="600"/>
                </a:spcBef>
                <a:buFont typeface="Arial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POCs</a:t>
              </a:r>
            </a:p>
            <a:p>
              <a:pPr marL="53959" indent="-285664" defTabSz="914126">
                <a:lnSpc>
                  <a:spcPct val="80000"/>
                </a:lnSpc>
                <a:spcBef>
                  <a:spcPts val="600"/>
                </a:spcBef>
                <a:buFont typeface="Arial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Architecture</a:t>
              </a:r>
            </a:p>
            <a:p>
              <a:pPr marL="53959" indent="-285664" defTabSz="914126">
                <a:lnSpc>
                  <a:spcPct val="80000"/>
                </a:lnSpc>
                <a:spcBef>
                  <a:spcPts val="600"/>
                </a:spcBef>
                <a:buFont typeface="Arial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SOW Development</a:t>
              </a:r>
            </a:p>
            <a:p>
              <a:pPr defTabSz="914126">
                <a:lnSpc>
                  <a:spcPct val="80000"/>
                </a:lnSpc>
                <a:spcBef>
                  <a:spcPts val="600"/>
                </a:spcBef>
              </a:pPr>
              <a:r>
                <a:rPr lang="en-US" sz="1400" b="1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Post</a:t>
              </a: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 </a:t>
              </a:r>
              <a:r>
                <a:rPr lang="en-US" sz="1400" b="1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Sales</a:t>
              </a:r>
            </a:p>
            <a:p>
              <a:pPr marL="53959" indent="-285664" defTabSz="914126">
                <a:lnSpc>
                  <a:spcPct val="80000"/>
                </a:lnSpc>
                <a:spcBef>
                  <a:spcPts val="600"/>
                </a:spcBef>
                <a:buFont typeface="Arial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Implementation</a:t>
              </a:r>
            </a:p>
            <a:p>
              <a:pPr marL="53959" indent="-285664" defTabSz="914126">
                <a:lnSpc>
                  <a:spcPct val="80000"/>
                </a:lnSpc>
                <a:spcBef>
                  <a:spcPts val="600"/>
                </a:spcBef>
                <a:buFont typeface="Arial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Support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white">
                    <a:alpha val="90000"/>
                  </a:prstClr>
                </a:solidFill>
                <a:latin typeface="Corbel" charset="0"/>
                <a:ea typeface="Corbel" charset="0"/>
                <a:cs typeface="Corbel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407164" y="1444577"/>
              <a:ext cx="256359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en-US" sz="1999" dirty="0">
                  <a:solidFill>
                    <a:prstClr val="white"/>
                  </a:solidFill>
                  <a:latin typeface="Corbel" panose="020B0503020204020204" pitchFamily="34" charset="0"/>
                </a:rPr>
                <a:t>Consulting Services</a:t>
              </a:r>
            </a:p>
          </p:txBody>
        </p:sp>
        <p:sp>
          <p:nvSpPr>
            <p:cNvPr id="21" name="Oval 20"/>
            <p:cNvSpPr/>
            <p:nvPr/>
          </p:nvSpPr>
          <p:spPr>
            <a:xfrm>
              <a:off x="7609369" y="1444523"/>
              <a:ext cx="733570" cy="733570"/>
            </a:xfrm>
            <a:prstGeom prst="ellipse">
              <a:avLst/>
            </a:prstGeom>
            <a:solidFill>
              <a:srgbClr val="00B1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80621" y="1545522"/>
              <a:ext cx="590231" cy="530352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1152433" y="4406524"/>
            <a:ext cx="5125320" cy="1196750"/>
            <a:chOff x="1152733" y="4406778"/>
            <a:chExt cx="5126655" cy="1197062"/>
          </a:xfrm>
        </p:grpSpPr>
        <p:sp>
          <p:nvSpPr>
            <p:cNvPr id="32" name="TextBox 31"/>
            <p:cNvSpPr txBox="1"/>
            <p:nvPr/>
          </p:nvSpPr>
          <p:spPr>
            <a:xfrm>
              <a:off x="1956221" y="4829782"/>
              <a:ext cx="4323167" cy="7740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RECON™ SOC for SMB/Mid-Size/Enterprise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Incident Response From Cisco, Check Point and F5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prstClr val="white">
                    <a:alpha val="90000"/>
                  </a:prstClr>
                </a:solidFill>
                <a:latin typeface="Corbel" charset="0"/>
                <a:ea typeface="Corbel" charset="0"/>
                <a:cs typeface="Corbel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956221" y="4406778"/>
              <a:ext cx="242500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/>
              <a:r>
                <a:rPr lang="en-US" sz="1999" dirty="0">
                  <a:solidFill>
                    <a:prstClr val="white"/>
                  </a:solidFill>
                  <a:latin typeface="Corbel" panose="020B0503020204020204" pitchFamily="34" charset="0"/>
                </a:rPr>
                <a:t>Managed Services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1152733" y="4409014"/>
              <a:ext cx="733570" cy="733570"/>
            </a:xfrm>
            <a:prstGeom prst="ellipse">
              <a:avLst/>
            </a:prstGeom>
            <a:solidFill>
              <a:srgbClr val="00B1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85187" y="4500179"/>
              <a:ext cx="468662" cy="445613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6229170" y="4406524"/>
            <a:ext cx="5712706" cy="1423096"/>
            <a:chOff x="6230793" y="4406778"/>
            <a:chExt cx="5714194" cy="1423467"/>
          </a:xfrm>
        </p:grpSpPr>
        <p:sp>
          <p:nvSpPr>
            <p:cNvPr id="33" name="TextBox 32"/>
            <p:cNvSpPr txBox="1"/>
            <p:nvPr/>
          </p:nvSpPr>
          <p:spPr>
            <a:xfrm>
              <a:off x="7032813" y="4806888"/>
              <a:ext cx="4912174" cy="1023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Technical Product Training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Security Industry Certification 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Partner Security Blogs, Videos, Social, Whitepapers, etc.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Partner Sales Training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032813" y="4406778"/>
              <a:ext cx="125386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126"/>
              <a:r>
                <a:rPr lang="en-US" sz="1999" dirty="0">
                  <a:solidFill>
                    <a:prstClr val="white"/>
                  </a:solidFill>
                  <a:latin typeface="Corbel" panose="020B0503020204020204" pitchFamily="34" charset="0"/>
                </a:rPr>
                <a:t>Education</a:t>
              </a:r>
            </a:p>
          </p:txBody>
        </p:sp>
        <p:sp>
          <p:nvSpPr>
            <p:cNvPr id="23" name="Oval 22"/>
            <p:cNvSpPr/>
            <p:nvPr/>
          </p:nvSpPr>
          <p:spPr>
            <a:xfrm>
              <a:off x="6230793" y="4409014"/>
              <a:ext cx="733570" cy="733570"/>
            </a:xfrm>
            <a:prstGeom prst="ellipse">
              <a:avLst/>
            </a:prstGeom>
            <a:solidFill>
              <a:srgbClr val="00B1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28026" y="4526879"/>
              <a:ext cx="497840" cy="497840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785743" y="1445040"/>
            <a:ext cx="3343540" cy="2734605"/>
            <a:chOff x="785948" y="1444523"/>
            <a:chExt cx="3344411" cy="2735317"/>
          </a:xfrm>
        </p:grpSpPr>
        <p:sp>
          <p:nvSpPr>
            <p:cNvPr id="30" name="TextBox 29"/>
            <p:cNvSpPr txBox="1"/>
            <p:nvPr/>
          </p:nvSpPr>
          <p:spPr>
            <a:xfrm>
              <a:off x="1590841" y="1920760"/>
              <a:ext cx="2539518" cy="22590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126">
                <a:lnSpc>
                  <a:spcPct val="80000"/>
                </a:lnSpc>
                <a:spcBef>
                  <a:spcPts val="600"/>
                </a:spcBef>
              </a:pPr>
              <a:r>
                <a:rPr lang="en-US" sz="1400" b="1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Business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Healthcare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Retail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Education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Public Sector </a:t>
              </a:r>
            </a:p>
            <a:p>
              <a:pPr defTabSz="914126">
                <a:lnSpc>
                  <a:spcPct val="80000"/>
                </a:lnSpc>
                <a:spcBef>
                  <a:spcPts val="600"/>
                </a:spcBef>
              </a:pPr>
              <a:r>
                <a:rPr lang="en-US" sz="1400" b="1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Technical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Security Posture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Penetration Test</a:t>
              </a:r>
            </a:p>
            <a:p>
              <a:pPr marL="228531" indent="-228531" defTabSz="914126">
                <a:lnSpc>
                  <a:spcPct val="8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prstClr val="white">
                      <a:alpha val="90000"/>
                    </a:prstClr>
                  </a:solidFill>
                  <a:latin typeface="Corbel" charset="0"/>
                  <a:ea typeface="Corbel" charset="0"/>
                  <a:cs typeface="Corbel" charset="0"/>
                </a:rPr>
                <a:t>Vulnerability Assessment</a:t>
              </a: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590841" y="1444523"/>
              <a:ext cx="145905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126"/>
              <a:r>
                <a:rPr lang="en-US" sz="1999" dirty="0">
                  <a:solidFill>
                    <a:prstClr val="white"/>
                  </a:solidFill>
                  <a:latin typeface="Corbel" panose="020B0503020204020204" pitchFamily="34" charset="0"/>
                </a:rPr>
                <a:t>Assessment</a:t>
              </a:r>
            </a:p>
          </p:txBody>
        </p:sp>
        <p:sp>
          <p:nvSpPr>
            <p:cNvPr id="3" name="Oval 2"/>
            <p:cNvSpPr/>
            <p:nvPr/>
          </p:nvSpPr>
          <p:spPr>
            <a:xfrm>
              <a:off x="785948" y="1444523"/>
              <a:ext cx="733570" cy="733570"/>
            </a:xfrm>
            <a:prstGeom prst="ellipse">
              <a:avLst/>
            </a:prstGeom>
            <a:solidFill>
              <a:srgbClr val="00B1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44892" y="1587300"/>
              <a:ext cx="414685" cy="4423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476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 Data Security Practice Builder Program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18888" y="1586661"/>
            <a:ext cx="11151679" cy="3993227"/>
            <a:chOff x="747386" y="1586181"/>
            <a:chExt cx="11154584" cy="3994267"/>
          </a:xfrm>
        </p:grpSpPr>
        <p:sp>
          <p:nvSpPr>
            <p:cNvPr id="31" name="Oval 30"/>
            <p:cNvSpPr/>
            <p:nvPr/>
          </p:nvSpPr>
          <p:spPr>
            <a:xfrm>
              <a:off x="10210416" y="1586181"/>
              <a:ext cx="1017878" cy="1017878"/>
            </a:xfrm>
            <a:prstGeom prst="ellipse">
              <a:avLst/>
            </a:prstGeom>
            <a:solidFill>
              <a:srgbClr val="8DC63F"/>
            </a:solidFill>
            <a:ln w="60325">
              <a:solidFill>
                <a:srgbClr val="0E20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sp>
          <p:nvSpPr>
            <p:cNvPr id="41" name="Right Arrow 40"/>
            <p:cNvSpPr/>
            <p:nvPr/>
          </p:nvSpPr>
          <p:spPr>
            <a:xfrm>
              <a:off x="1741876" y="1908089"/>
              <a:ext cx="8468540" cy="444139"/>
            </a:xfrm>
            <a:prstGeom prst="rightArrow">
              <a:avLst/>
            </a:prstGeom>
            <a:gradFill>
              <a:gsLst>
                <a:gs pos="100000">
                  <a:srgbClr val="8DC63F"/>
                </a:gs>
                <a:gs pos="0">
                  <a:srgbClr val="00B1E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prstClr val="white"/>
                </a:solidFill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747386" y="2966918"/>
              <a:ext cx="1828800" cy="2182643"/>
              <a:chOff x="678180" y="2909095"/>
              <a:chExt cx="1828800" cy="2182643"/>
            </a:xfrm>
          </p:grpSpPr>
          <p:sp>
            <p:nvSpPr>
              <p:cNvPr id="10" name="TextBox 9"/>
              <p:cNvSpPr txBox="1"/>
              <p:nvPr/>
            </p:nvSpPr>
            <p:spPr>
              <a:xfrm>
                <a:off x="678180" y="3352800"/>
                <a:ext cx="1828800" cy="17389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  <a:defRPr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effectLst>
                      <a:glow>
                        <a:srgbClr val="5B9BD5"/>
                      </a:glow>
                    </a:effectLst>
                    <a:latin typeface="Corbel" charset="0"/>
                    <a:ea typeface="Corbel" charset="0"/>
                    <a:cs typeface="Corbel" charset="0"/>
                  </a:rPr>
                  <a:t>Business Analysis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  <a:defRPr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effectLst>
                      <a:glow>
                        <a:srgbClr val="5B9BD5"/>
                      </a:glow>
                    </a:effectLst>
                    <a:latin typeface="Corbel" charset="0"/>
                    <a:ea typeface="Corbel" charset="0"/>
                    <a:cs typeface="Corbel" charset="0"/>
                  </a:rPr>
                  <a:t>Solution &amp; Technology Roadmaps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  <a:defRPr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effectLst>
                      <a:glow>
                        <a:srgbClr val="5B9BD5"/>
                      </a:glow>
                    </a:effectLst>
                    <a:latin typeface="Corbel" charset="0"/>
                    <a:ea typeface="Corbel" charset="0"/>
                    <a:cs typeface="Corbel" charset="0"/>
                  </a:rPr>
                  <a:t>Supplier &amp; Services Mapping &amp; Gap Analysis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  <a:defRPr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effectLst>
                      <a:glow>
                        <a:srgbClr val="5B9BD5"/>
                      </a:glow>
                    </a:effectLst>
                    <a:latin typeface="Corbel" charset="0"/>
                    <a:ea typeface="Corbel" charset="0"/>
                    <a:cs typeface="Corbel" charset="0"/>
                  </a:rPr>
                  <a:t>Go-To-Market Planning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716742" y="2909095"/>
                <a:ext cx="1254574" cy="3680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lvl="1" indent="-89342" defTabSz="914126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STRATEGY</a:t>
                </a:r>
              </a:p>
              <a:p>
                <a:pPr marL="0" lvl="1" indent="-89342" defTabSz="914126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DEVELOPMENT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3127642" y="2953423"/>
              <a:ext cx="1828800" cy="1980694"/>
              <a:chOff x="2987039" y="2895600"/>
              <a:chExt cx="1828800" cy="1980694"/>
            </a:xfrm>
          </p:grpSpPr>
          <p:sp>
            <p:nvSpPr>
              <p:cNvPr id="14" name="Freeform 13"/>
              <p:cNvSpPr/>
              <p:nvPr/>
            </p:nvSpPr>
            <p:spPr>
              <a:xfrm>
                <a:off x="2987039" y="3352800"/>
                <a:ext cx="1828800" cy="1523494"/>
              </a:xfrm>
              <a:custGeom>
                <a:avLst/>
                <a:gdLst>
                  <a:gd name="connsiteX0" fmla="*/ 0 w 1432470"/>
                  <a:gd name="connsiteY0" fmla="*/ 143247 h 3852863"/>
                  <a:gd name="connsiteX1" fmla="*/ 143247 w 1432470"/>
                  <a:gd name="connsiteY1" fmla="*/ 0 h 3852863"/>
                  <a:gd name="connsiteX2" fmla="*/ 1289223 w 1432470"/>
                  <a:gd name="connsiteY2" fmla="*/ 0 h 3852863"/>
                  <a:gd name="connsiteX3" fmla="*/ 1432470 w 1432470"/>
                  <a:gd name="connsiteY3" fmla="*/ 143247 h 3852863"/>
                  <a:gd name="connsiteX4" fmla="*/ 1432470 w 1432470"/>
                  <a:gd name="connsiteY4" fmla="*/ 3709616 h 3852863"/>
                  <a:gd name="connsiteX5" fmla="*/ 1289223 w 1432470"/>
                  <a:gd name="connsiteY5" fmla="*/ 3852863 h 3852863"/>
                  <a:gd name="connsiteX6" fmla="*/ 143247 w 1432470"/>
                  <a:gd name="connsiteY6" fmla="*/ 3852863 h 3852863"/>
                  <a:gd name="connsiteX7" fmla="*/ 0 w 1432470"/>
                  <a:gd name="connsiteY7" fmla="*/ 3709616 h 3852863"/>
                  <a:gd name="connsiteX8" fmla="*/ 0 w 1432470"/>
                  <a:gd name="connsiteY8" fmla="*/ 143247 h 3852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470" h="3852863">
                    <a:moveTo>
                      <a:pt x="0" y="143247"/>
                    </a:moveTo>
                    <a:cubicBezTo>
                      <a:pt x="0" y="64134"/>
                      <a:pt x="64134" y="0"/>
                      <a:pt x="143247" y="0"/>
                    </a:cubicBezTo>
                    <a:lnTo>
                      <a:pt x="1289223" y="0"/>
                    </a:lnTo>
                    <a:cubicBezTo>
                      <a:pt x="1368336" y="0"/>
                      <a:pt x="1432470" y="64134"/>
                      <a:pt x="1432470" y="143247"/>
                    </a:cubicBezTo>
                    <a:lnTo>
                      <a:pt x="1432470" y="3709616"/>
                    </a:lnTo>
                    <a:cubicBezTo>
                      <a:pt x="1432470" y="3788729"/>
                      <a:pt x="1368336" y="3852863"/>
                      <a:pt x="1289223" y="3852863"/>
                    </a:cubicBezTo>
                    <a:lnTo>
                      <a:pt x="143247" y="3852863"/>
                    </a:lnTo>
                    <a:cubicBezTo>
                      <a:pt x="64134" y="3852863"/>
                      <a:pt x="0" y="3788729"/>
                      <a:pt x="0" y="3709616"/>
                    </a:cubicBezTo>
                    <a:lnTo>
                      <a:pt x="0" y="143247"/>
                    </a:lnTo>
                    <a:close/>
                  </a:path>
                </a:pathLst>
              </a:cu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Supplier Certification Roadmap &amp; Support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Sales Training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Technical Training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Product &amp; Solution Demos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2987039" y="2895600"/>
                <a:ext cx="1146148" cy="3680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126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TRAINING &amp; </a:t>
                </a:r>
              </a:p>
              <a:p>
                <a:pPr defTabSz="914126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ENABLEMENT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5334955" y="2953423"/>
              <a:ext cx="1828800" cy="2257693"/>
              <a:chOff x="5133639" y="2895600"/>
              <a:chExt cx="1828800" cy="2257693"/>
            </a:xfrm>
          </p:grpSpPr>
          <p:sp>
            <p:nvSpPr>
              <p:cNvPr id="18" name="Freeform 17"/>
              <p:cNvSpPr/>
              <p:nvPr/>
            </p:nvSpPr>
            <p:spPr>
              <a:xfrm>
                <a:off x="5133639" y="3352800"/>
                <a:ext cx="1828800" cy="1800493"/>
              </a:xfrm>
              <a:custGeom>
                <a:avLst/>
                <a:gdLst>
                  <a:gd name="connsiteX0" fmla="*/ 0 w 1432470"/>
                  <a:gd name="connsiteY0" fmla="*/ 143247 h 3852863"/>
                  <a:gd name="connsiteX1" fmla="*/ 143247 w 1432470"/>
                  <a:gd name="connsiteY1" fmla="*/ 0 h 3852863"/>
                  <a:gd name="connsiteX2" fmla="*/ 1289223 w 1432470"/>
                  <a:gd name="connsiteY2" fmla="*/ 0 h 3852863"/>
                  <a:gd name="connsiteX3" fmla="*/ 1432470 w 1432470"/>
                  <a:gd name="connsiteY3" fmla="*/ 143247 h 3852863"/>
                  <a:gd name="connsiteX4" fmla="*/ 1432470 w 1432470"/>
                  <a:gd name="connsiteY4" fmla="*/ 3709616 h 3852863"/>
                  <a:gd name="connsiteX5" fmla="*/ 1289223 w 1432470"/>
                  <a:gd name="connsiteY5" fmla="*/ 3852863 h 3852863"/>
                  <a:gd name="connsiteX6" fmla="*/ 143247 w 1432470"/>
                  <a:gd name="connsiteY6" fmla="*/ 3852863 h 3852863"/>
                  <a:gd name="connsiteX7" fmla="*/ 0 w 1432470"/>
                  <a:gd name="connsiteY7" fmla="*/ 3709616 h 3852863"/>
                  <a:gd name="connsiteX8" fmla="*/ 0 w 1432470"/>
                  <a:gd name="connsiteY8" fmla="*/ 143247 h 3852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470" h="3852863">
                    <a:moveTo>
                      <a:pt x="0" y="143247"/>
                    </a:moveTo>
                    <a:cubicBezTo>
                      <a:pt x="0" y="64134"/>
                      <a:pt x="64134" y="0"/>
                      <a:pt x="143247" y="0"/>
                    </a:cubicBezTo>
                    <a:lnTo>
                      <a:pt x="1289223" y="0"/>
                    </a:lnTo>
                    <a:cubicBezTo>
                      <a:pt x="1368336" y="0"/>
                      <a:pt x="1432470" y="64134"/>
                      <a:pt x="1432470" y="143247"/>
                    </a:cubicBezTo>
                    <a:lnTo>
                      <a:pt x="1432470" y="3709616"/>
                    </a:lnTo>
                    <a:cubicBezTo>
                      <a:pt x="1432470" y="3788729"/>
                      <a:pt x="1368336" y="3852863"/>
                      <a:pt x="1289223" y="3852863"/>
                    </a:cubicBezTo>
                    <a:lnTo>
                      <a:pt x="143247" y="3852863"/>
                    </a:lnTo>
                    <a:cubicBezTo>
                      <a:pt x="64134" y="3852863"/>
                      <a:pt x="0" y="3788729"/>
                      <a:pt x="0" y="3709616"/>
                    </a:cubicBezTo>
                    <a:lnTo>
                      <a:pt x="0" y="143247"/>
                    </a:lnTo>
                    <a:close/>
                  </a:path>
                </a:pathLst>
              </a:cu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Multi-Touch Market Approach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Demand Creation Services: Web Advertising, Branded Collateral, Appointment Setting, Social Media &amp; Events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5208468" y="2895600"/>
                <a:ext cx="998671" cy="17953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126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MARKETING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7830358" y="2953423"/>
              <a:ext cx="1828800" cy="2119193"/>
              <a:chOff x="7172106" y="2895600"/>
              <a:chExt cx="1828800" cy="2119193"/>
            </a:xfrm>
          </p:grpSpPr>
          <p:sp>
            <p:nvSpPr>
              <p:cNvPr id="22" name="Freeform 21"/>
              <p:cNvSpPr/>
              <p:nvPr/>
            </p:nvSpPr>
            <p:spPr>
              <a:xfrm>
                <a:off x="7172106" y="3352800"/>
                <a:ext cx="1828800" cy="1661993"/>
              </a:xfrm>
              <a:custGeom>
                <a:avLst/>
                <a:gdLst>
                  <a:gd name="connsiteX0" fmla="*/ 0 w 1432470"/>
                  <a:gd name="connsiteY0" fmla="*/ 143247 h 3852863"/>
                  <a:gd name="connsiteX1" fmla="*/ 143247 w 1432470"/>
                  <a:gd name="connsiteY1" fmla="*/ 0 h 3852863"/>
                  <a:gd name="connsiteX2" fmla="*/ 1289223 w 1432470"/>
                  <a:gd name="connsiteY2" fmla="*/ 0 h 3852863"/>
                  <a:gd name="connsiteX3" fmla="*/ 1432470 w 1432470"/>
                  <a:gd name="connsiteY3" fmla="*/ 143247 h 3852863"/>
                  <a:gd name="connsiteX4" fmla="*/ 1432470 w 1432470"/>
                  <a:gd name="connsiteY4" fmla="*/ 3709616 h 3852863"/>
                  <a:gd name="connsiteX5" fmla="*/ 1289223 w 1432470"/>
                  <a:gd name="connsiteY5" fmla="*/ 3852863 h 3852863"/>
                  <a:gd name="connsiteX6" fmla="*/ 143247 w 1432470"/>
                  <a:gd name="connsiteY6" fmla="*/ 3852863 h 3852863"/>
                  <a:gd name="connsiteX7" fmla="*/ 0 w 1432470"/>
                  <a:gd name="connsiteY7" fmla="*/ 3709616 h 3852863"/>
                  <a:gd name="connsiteX8" fmla="*/ 0 w 1432470"/>
                  <a:gd name="connsiteY8" fmla="*/ 143247 h 3852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470" h="3852863">
                    <a:moveTo>
                      <a:pt x="0" y="143247"/>
                    </a:moveTo>
                    <a:cubicBezTo>
                      <a:pt x="0" y="64134"/>
                      <a:pt x="64134" y="0"/>
                      <a:pt x="143247" y="0"/>
                    </a:cubicBezTo>
                    <a:lnTo>
                      <a:pt x="1289223" y="0"/>
                    </a:lnTo>
                    <a:cubicBezTo>
                      <a:pt x="1368336" y="0"/>
                      <a:pt x="1432470" y="64134"/>
                      <a:pt x="1432470" y="143247"/>
                    </a:cubicBezTo>
                    <a:lnTo>
                      <a:pt x="1432470" y="3709616"/>
                    </a:lnTo>
                    <a:cubicBezTo>
                      <a:pt x="1432470" y="3788729"/>
                      <a:pt x="1368336" y="3852863"/>
                      <a:pt x="1289223" y="3852863"/>
                    </a:cubicBezTo>
                    <a:lnTo>
                      <a:pt x="143247" y="3852863"/>
                    </a:lnTo>
                    <a:cubicBezTo>
                      <a:pt x="64134" y="3852863"/>
                      <a:pt x="0" y="3788729"/>
                      <a:pt x="0" y="3709616"/>
                    </a:cubicBezTo>
                    <a:lnTo>
                      <a:pt x="0" y="143247"/>
                    </a:lnTo>
                    <a:close/>
                  </a:path>
                </a:pathLst>
              </a:cu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Tech Data &amp; Supplier Services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Presales Delivery, Consulting &amp; Managed Services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Assessment Tools </a:t>
                </a:r>
                <a:b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</a:b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&amp; Reports</a:t>
                </a: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7244753" y="2895600"/>
                <a:ext cx="793487" cy="17953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126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SERVICES</a:t>
                </a: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10073170" y="2953423"/>
              <a:ext cx="1828800" cy="2627025"/>
              <a:chOff x="9127603" y="2895600"/>
              <a:chExt cx="1828800" cy="2627025"/>
            </a:xfrm>
          </p:grpSpPr>
          <p:sp>
            <p:nvSpPr>
              <p:cNvPr id="26" name="Freeform 25"/>
              <p:cNvSpPr/>
              <p:nvPr/>
            </p:nvSpPr>
            <p:spPr>
              <a:xfrm>
                <a:off x="9127603" y="3352800"/>
                <a:ext cx="1828800" cy="2169825"/>
              </a:xfrm>
              <a:custGeom>
                <a:avLst/>
                <a:gdLst>
                  <a:gd name="connsiteX0" fmla="*/ 0 w 1432470"/>
                  <a:gd name="connsiteY0" fmla="*/ 143247 h 3852863"/>
                  <a:gd name="connsiteX1" fmla="*/ 143247 w 1432470"/>
                  <a:gd name="connsiteY1" fmla="*/ 0 h 3852863"/>
                  <a:gd name="connsiteX2" fmla="*/ 1289223 w 1432470"/>
                  <a:gd name="connsiteY2" fmla="*/ 0 h 3852863"/>
                  <a:gd name="connsiteX3" fmla="*/ 1432470 w 1432470"/>
                  <a:gd name="connsiteY3" fmla="*/ 143247 h 3852863"/>
                  <a:gd name="connsiteX4" fmla="*/ 1432470 w 1432470"/>
                  <a:gd name="connsiteY4" fmla="*/ 3709616 h 3852863"/>
                  <a:gd name="connsiteX5" fmla="*/ 1289223 w 1432470"/>
                  <a:gd name="connsiteY5" fmla="*/ 3852863 h 3852863"/>
                  <a:gd name="connsiteX6" fmla="*/ 143247 w 1432470"/>
                  <a:gd name="connsiteY6" fmla="*/ 3852863 h 3852863"/>
                  <a:gd name="connsiteX7" fmla="*/ 0 w 1432470"/>
                  <a:gd name="connsiteY7" fmla="*/ 3709616 h 3852863"/>
                  <a:gd name="connsiteX8" fmla="*/ 0 w 1432470"/>
                  <a:gd name="connsiteY8" fmla="*/ 143247 h 3852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32470" h="3852863">
                    <a:moveTo>
                      <a:pt x="0" y="143247"/>
                    </a:moveTo>
                    <a:cubicBezTo>
                      <a:pt x="0" y="64134"/>
                      <a:pt x="64134" y="0"/>
                      <a:pt x="143247" y="0"/>
                    </a:cubicBezTo>
                    <a:lnTo>
                      <a:pt x="1289223" y="0"/>
                    </a:lnTo>
                    <a:cubicBezTo>
                      <a:pt x="1368336" y="0"/>
                      <a:pt x="1432470" y="64134"/>
                      <a:pt x="1432470" y="143247"/>
                    </a:cubicBezTo>
                    <a:lnTo>
                      <a:pt x="1432470" y="3709616"/>
                    </a:lnTo>
                    <a:cubicBezTo>
                      <a:pt x="1432470" y="3788729"/>
                      <a:pt x="1368336" y="3852863"/>
                      <a:pt x="1289223" y="3852863"/>
                    </a:cubicBezTo>
                    <a:lnTo>
                      <a:pt x="143247" y="3852863"/>
                    </a:lnTo>
                    <a:cubicBezTo>
                      <a:pt x="64134" y="3852863"/>
                      <a:pt x="0" y="3788729"/>
                      <a:pt x="0" y="3709616"/>
                    </a:cubicBezTo>
                    <a:lnTo>
                      <a:pt x="0" y="143247"/>
                    </a:lnTo>
                    <a:close/>
                  </a:path>
                </a:pathLst>
              </a:cu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Sales Content, </a:t>
                </a:r>
                <a:r>
                  <a:rPr lang="en-US" sz="1400" dirty="0" err="1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Battlecards</a:t>
                </a: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 &amp; Case Studies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Target Account Planning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Industry Expertise &amp; SME Support</a:t>
                </a:r>
              </a:p>
              <a:p>
                <a:pPr marL="109695" lvl="1" indent="-109695" defTabSz="386201">
                  <a:spcAft>
                    <a:spcPts val="600"/>
                  </a:spcAft>
                  <a:buFont typeface="Arial" charset="0"/>
                  <a:buChar char="•"/>
                </a:pPr>
                <a:r>
                  <a:rPr lang="en-US" sz="1400" dirty="0">
                    <a:solidFill>
                      <a:prstClr val="white">
                        <a:alpha val="90000"/>
                      </a:prstClr>
                    </a:solidFill>
                    <a:latin typeface="Corbel" charset="0"/>
                    <a:ea typeface="Corbel" charset="0"/>
                    <a:cs typeface="Corbel" charset="0"/>
                  </a:rPr>
                  <a:t>Services &amp; Technical Resource Support</a:t>
                </a: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9208285" y="2895600"/>
                <a:ext cx="1524456" cy="17953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126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SALES EXECUTION</a:t>
                </a:r>
              </a:p>
            </p:txBody>
          </p:sp>
        </p:grpSp>
        <p:sp>
          <p:nvSpPr>
            <p:cNvPr id="29" name="Oval 28"/>
            <p:cNvSpPr/>
            <p:nvPr/>
          </p:nvSpPr>
          <p:spPr>
            <a:xfrm>
              <a:off x="778175" y="1586181"/>
              <a:ext cx="1017878" cy="1017878"/>
            </a:xfrm>
            <a:prstGeom prst="ellipse">
              <a:avLst/>
            </a:prstGeom>
            <a:solidFill>
              <a:srgbClr val="00B1E2"/>
            </a:solidFill>
            <a:ln w="60325">
              <a:solidFill>
                <a:srgbClr val="0E20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5494295" y="1586181"/>
              <a:ext cx="1017878" cy="1017878"/>
            </a:xfrm>
            <a:prstGeom prst="ellipse">
              <a:avLst/>
            </a:prstGeom>
            <a:solidFill>
              <a:srgbClr val="57C297"/>
            </a:solidFill>
            <a:ln w="60325">
              <a:solidFill>
                <a:srgbClr val="0E20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3136235" y="1586181"/>
              <a:ext cx="1017878" cy="1017878"/>
            </a:xfrm>
            <a:prstGeom prst="ellipse">
              <a:avLst/>
            </a:prstGeom>
            <a:solidFill>
              <a:srgbClr val="32BABA"/>
            </a:solidFill>
            <a:ln w="60325">
              <a:solidFill>
                <a:srgbClr val="0E20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7852355" y="1586181"/>
              <a:ext cx="1017878" cy="1017878"/>
            </a:xfrm>
            <a:prstGeom prst="ellipse">
              <a:avLst/>
            </a:prstGeom>
            <a:solidFill>
              <a:srgbClr val="7ECA74"/>
            </a:solidFill>
            <a:ln w="60325">
              <a:solidFill>
                <a:srgbClr val="0E20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</a:endParaRPr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3146" y="1839694"/>
              <a:ext cx="481042" cy="514217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7254" y="1827445"/>
              <a:ext cx="514217" cy="514217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42696" y="1838370"/>
              <a:ext cx="512144" cy="514217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5222" y="1838011"/>
              <a:ext cx="512144" cy="514217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38104" y="1897523"/>
              <a:ext cx="549466" cy="4126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39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Build a Security Practi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78061" y="2368688"/>
            <a:ext cx="5018016" cy="22954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Former CSO/CISO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Services Experience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Solution Sales Experience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Current on Industry Trends</a:t>
            </a:r>
          </a:p>
          <a:p>
            <a:pPr marL="342797" indent="-342797" defTabSz="914126">
              <a:lnSpc>
                <a:spcPct val="12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Aware of Relevant Security Vendors</a:t>
            </a:r>
          </a:p>
        </p:txBody>
      </p:sp>
      <p:graphicFrame>
        <p:nvGraphicFramePr>
          <p:cNvPr id="6" name="Chart 5"/>
          <p:cNvGraphicFramePr/>
          <p:nvPr>
            <p:extLst/>
          </p:nvPr>
        </p:nvGraphicFramePr>
        <p:xfrm>
          <a:off x="542975" y="1399046"/>
          <a:ext cx="5143650" cy="439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380581" y="3055620"/>
            <a:ext cx="3468439" cy="1076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3199">
                <a:solidFill>
                  <a:prstClr val="white"/>
                </a:solidFill>
                <a:latin typeface="Corbel" panose="020B0503020204020204" pitchFamily="34" charset="0"/>
              </a:rPr>
              <a:t>Identify </a:t>
            </a:r>
          </a:p>
          <a:p>
            <a:pPr algn="ctr" defTabSz="914126"/>
            <a:r>
              <a:rPr lang="en-US" sz="3199" dirty="0">
                <a:solidFill>
                  <a:prstClr val="white"/>
                </a:solidFill>
                <a:latin typeface="Corbel" panose="020B0503020204020204" pitchFamily="34" charset="0"/>
              </a:rPr>
              <a:t>a Leader</a:t>
            </a:r>
          </a:p>
        </p:txBody>
      </p:sp>
    </p:spTree>
    <p:extLst>
      <p:ext uri="{BB962C8B-B14F-4D97-AF65-F5344CB8AC3E}">
        <p14:creationId xmlns:p14="http://schemas.microsoft.com/office/powerpoint/2010/main" val="73866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Build a Security Practi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78061" y="1334909"/>
            <a:ext cx="4918464" cy="43569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797" indent="-342797" defTabSz="914126">
              <a:lnSpc>
                <a:spcPct val="11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Recommended Focus Areas</a:t>
            </a: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r>
              <a:rPr lang="en-US" sz="1999" dirty="0">
                <a:solidFill>
                  <a:prstClr val="white"/>
                </a:solidFill>
                <a:latin typeface="Corbel" panose="020B0503020204020204" pitchFamily="34" charset="0"/>
              </a:rPr>
              <a:t>Identity &amp; Access Management (IAM)</a:t>
            </a: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r>
              <a:rPr lang="en-US" sz="1999" dirty="0">
                <a:solidFill>
                  <a:prstClr val="white"/>
                </a:solidFill>
                <a:latin typeface="Corbel" panose="020B0503020204020204" pitchFamily="34" charset="0"/>
              </a:rPr>
              <a:t>Security Intelligence (SIEM)</a:t>
            </a: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r>
              <a:rPr lang="en-US" sz="1999" dirty="0">
                <a:solidFill>
                  <a:prstClr val="white"/>
                </a:solidFill>
                <a:latin typeface="Corbel" panose="020B0503020204020204" pitchFamily="34" charset="0"/>
              </a:rPr>
              <a:t>Network/Perimeter Security</a:t>
            </a: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r>
              <a:rPr lang="en-US" sz="1999" dirty="0">
                <a:solidFill>
                  <a:prstClr val="white"/>
                </a:solidFill>
                <a:latin typeface="Corbel" panose="020B0503020204020204" pitchFamily="34" charset="0"/>
              </a:rPr>
              <a:t>Data/Application Security</a:t>
            </a: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r>
              <a:rPr lang="en-US" sz="1999" dirty="0">
                <a:solidFill>
                  <a:prstClr val="white"/>
                </a:solidFill>
                <a:latin typeface="Corbel" panose="020B0503020204020204" pitchFamily="34" charset="0"/>
              </a:rPr>
              <a:t>Endpoint Security</a:t>
            </a: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r>
              <a:rPr lang="en-US" sz="1999" dirty="0">
                <a:solidFill>
                  <a:prstClr val="white"/>
                </a:solidFill>
                <a:latin typeface="Corbel" panose="020B0503020204020204" pitchFamily="34" charset="0"/>
              </a:rPr>
              <a:t>Compliance</a:t>
            </a: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endParaRPr lang="en-US" sz="2399" dirty="0">
              <a:solidFill>
                <a:prstClr val="white"/>
              </a:solidFill>
              <a:latin typeface="Corbel" panose="020B0503020204020204" pitchFamily="34" charset="0"/>
            </a:endParaRPr>
          </a:p>
          <a:p>
            <a:pPr marL="342797" indent="-342797" defTabSz="914126">
              <a:lnSpc>
                <a:spcPct val="110000"/>
              </a:lnSpc>
              <a:buClr>
                <a:srgbClr val="00B1E2"/>
              </a:buClr>
              <a:buFont typeface="Arial" panose="020B0604020202020204" pitchFamily="34" charset="0"/>
              <a:buChar char="•"/>
            </a:pPr>
            <a:r>
              <a:rPr lang="en-US" sz="2399" dirty="0">
                <a:solidFill>
                  <a:prstClr val="white"/>
                </a:solidFill>
                <a:latin typeface="Corbel" panose="020B0503020204020204" pitchFamily="34" charset="0"/>
              </a:rPr>
              <a:t>Align With Sales Team Expertise</a:t>
            </a: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r>
              <a:rPr lang="en-US" sz="1999" dirty="0">
                <a:solidFill>
                  <a:prstClr val="white"/>
                </a:solidFill>
                <a:latin typeface="Corbel" panose="020B0503020204020204" pitchFamily="34" charset="0"/>
              </a:rPr>
              <a:t>Services = Identity &amp; Access </a:t>
            </a:r>
            <a:r>
              <a:rPr lang="en-US" sz="1999" dirty="0" err="1">
                <a:solidFill>
                  <a:prstClr val="white"/>
                </a:solidFill>
                <a:latin typeface="Corbel" panose="020B0503020204020204" pitchFamily="34" charset="0"/>
              </a:rPr>
              <a:t>Mgmt</a:t>
            </a:r>
            <a:endParaRPr lang="en-US" sz="1999" dirty="0">
              <a:solidFill>
                <a:prstClr val="white"/>
              </a:solidFill>
              <a:latin typeface="Corbel" panose="020B0503020204020204" pitchFamily="34" charset="0"/>
            </a:endParaRP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r>
              <a:rPr lang="en-US" sz="1999" dirty="0">
                <a:solidFill>
                  <a:prstClr val="white"/>
                </a:solidFill>
                <a:latin typeface="Corbel" panose="020B0503020204020204" pitchFamily="34" charset="0"/>
              </a:rPr>
              <a:t>Software = SIEM</a:t>
            </a:r>
          </a:p>
          <a:p>
            <a:pPr marL="799860" lvl="1" indent="-342797" defTabSz="914126">
              <a:lnSpc>
                <a:spcPct val="110000"/>
              </a:lnSpc>
              <a:buClr>
                <a:srgbClr val="00B1E2"/>
              </a:buClr>
              <a:buFont typeface="Calibri" panose="020F0502020204030204" pitchFamily="34" charset="0"/>
              <a:buChar char="‒"/>
            </a:pPr>
            <a:r>
              <a:rPr lang="en-US" sz="1999" dirty="0">
                <a:solidFill>
                  <a:prstClr val="white"/>
                </a:solidFill>
                <a:latin typeface="Corbel" panose="020B0503020204020204" pitchFamily="34" charset="0"/>
              </a:rPr>
              <a:t>Hardware = Firewall/IDS</a:t>
            </a:r>
          </a:p>
        </p:txBody>
      </p:sp>
      <p:graphicFrame>
        <p:nvGraphicFramePr>
          <p:cNvPr id="5" name="Chart 4"/>
          <p:cNvGraphicFramePr/>
          <p:nvPr>
            <p:extLst/>
          </p:nvPr>
        </p:nvGraphicFramePr>
        <p:xfrm>
          <a:off x="542975" y="1399046"/>
          <a:ext cx="5143650" cy="439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380581" y="3055620"/>
            <a:ext cx="3468439" cy="1076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/>
            <a:r>
              <a:rPr lang="en-US" sz="3199" dirty="0">
                <a:solidFill>
                  <a:prstClr val="white"/>
                </a:solidFill>
                <a:latin typeface="Corbel" panose="020B0503020204020204" pitchFamily="34" charset="0"/>
              </a:rPr>
              <a:t>Define Security Areas of Focus</a:t>
            </a:r>
          </a:p>
        </p:txBody>
      </p:sp>
    </p:spTree>
    <p:extLst>
      <p:ext uri="{BB962C8B-B14F-4D97-AF65-F5344CB8AC3E}">
        <p14:creationId xmlns:p14="http://schemas.microsoft.com/office/powerpoint/2010/main" val="11080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DellEMC external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spcBef>
            <a:spcPts val="0"/>
          </a:spcBef>
          <a:spcAft>
            <a:spcPts val="0"/>
          </a:spcAft>
          <a:buClr>
            <a:schemeClr val="bg1"/>
          </a:buClr>
          <a:defRPr sz="1800" dirty="0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EMC_PPT_Template_16x9" id="{B8B5C6D0-E3FF-4310-9DCF-1B14F86F2E69}" vid="{627FB30F-31F4-4FBE-8A3A-F7BC81DAC0BD}"/>
    </a:ext>
  </a:extLst>
</a:theme>
</file>

<file path=ppt/theme/theme11.xml><?xml version="1.0" encoding="utf-8"?>
<a:theme xmlns:a="http://schemas.openxmlformats.org/drawingml/2006/main" name="Judson Ready Template">
  <a:themeElements>
    <a:clrScheme name="Inspire keynote">
      <a:dk1>
        <a:srgbClr val="353535"/>
      </a:dk1>
      <a:lt1>
        <a:srgbClr val="FFFFFF"/>
      </a:lt1>
      <a:dk2>
        <a:srgbClr val="002050"/>
      </a:dk2>
      <a:lt2>
        <a:srgbClr val="E6E6E6"/>
      </a:lt2>
      <a:accent1>
        <a:srgbClr val="002050"/>
      </a:accent1>
      <a:accent2>
        <a:srgbClr val="737373"/>
      </a:accent2>
      <a:accent3>
        <a:srgbClr val="0078D7"/>
      </a:accent3>
      <a:accent4>
        <a:srgbClr val="D2D2D2"/>
      </a:accent4>
      <a:accent5>
        <a:srgbClr val="5C2D91"/>
      </a:accent5>
      <a:accent6>
        <a:srgbClr val="505050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rgbClr val="979797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lthoff 07172017 CoreNote Day1_v04.potx" id="{D63721F6-9848-402E-88D3-A1A4742E7C6C}" vid="{48C6C867-A56A-457A-9C43-DAB2A0C21C22}"/>
    </a:ext>
  </a:extLst>
</a:theme>
</file>

<file path=ppt/theme/theme12.xml><?xml version="1.0" encoding="utf-8"?>
<a:theme xmlns:a="http://schemas.openxmlformats.org/drawingml/2006/main" name="2_BCS PPT Template_Draft2">
  <a:themeElements>
    <a:clrScheme name="Custom 70">
      <a:dk1>
        <a:srgbClr val="2F2F2F"/>
      </a:dk1>
      <a:lt1>
        <a:srgbClr val="E6E6E6"/>
      </a:lt1>
      <a:dk2>
        <a:srgbClr val="2F2F2F"/>
      </a:dk2>
      <a:lt2>
        <a:srgbClr val="FFFFFF"/>
      </a:lt2>
      <a:accent1>
        <a:srgbClr val="2D78D7"/>
      </a:accent1>
      <a:accent2>
        <a:srgbClr val="2F2F2F"/>
      </a:accent2>
      <a:accent3>
        <a:srgbClr val="D2D2D2"/>
      </a:accent3>
      <a:accent4>
        <a:srgbClr val="E6E6E6"/>
      </a:accent4>
      <a:accent5>
        <a:srgbClr val="2F2F2F"/>
      </a:accent5>
      <a:accent6>
        <a:srgbClr val="D2D2D2"/>
      </a:accent6>
      <a:hlink>
        <a:srgbClr val="2D78D7"/>
      </a:hlink>
      <a:folHlink>
        <a:srgbClr val="2D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CS PPT Template_Draft1" id="{25E5559C-20A3-F040-BBEC-26FBBCC18BE5}" vid="{E5B61576-542A-3346-8098-E9C2B93C6555}"/>
    </a:ext>
  </a:extLst>
</a:theme>
</file>

<file path=ppt/theme/theme13.xml><?xml version="1.0" encoding="utf-8"?>
<a:theme xmlns:a="http://schemas.openxmlformats.org/drawingml/2006/main" name="Windows Storybook Template_2017">
  <a:themeElements>
    <a:clrScheme name="Custom 2">
      <a:dk1>
        <a:srgbClr val="2F2F2F"/>
      </a:dk1>
      <a:lt1>
        <a:srgbClr val="E6E6E6"/>
      </a:lt1>
      <a:dk2>
        <a:srgbClr val="2F2F2F"/>
      </a:dk2>
      <a:lt2>
        <a:srgbClr val="FFFFFF"/>
      </a:lt2>
      <a:accent1>
        <a:srgbClr val="0078D7"/>
      </a:accent1>
      <a:accent2>
        <a:srgbClr val="2F2F2F"/>
      </a:accent2>
      <a:accent3>
        <a:srgbClr val="D2D2D2"/>
      </a:accent3>
      <a:accent4>
        <a:srgbClr val="E6E6E6"/>
      </a:accent4>
      <a:accent5>
        <a:srgbClr val="2F2F2F"/>
      </a:accent5>
      <a:accent6>
        <a:srgbClr val="D2D2D2"/>
      </a:accent6>
      <a:hlink>
        <a:srgbClr val="0070C0"/>
      </a:hlink>
      <a:folHlink>
        <a:srgbClr val="0070C0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orybook-Template_V2" id="{B78952D9-D3C8-423B-8CDF-607AA41EA050}" vid="{A33956D0-9AC8-47A6-9F86-86F261EEAC82}"/>
    </a:ext>
  </a:extLst>
</a:theme>
</file>

<file path=ppt/theme/theme14.xml><?xml version="1.0" encoding="utf-8"?>
<a:theme xmlns:a="http://schemas.openxmlformats.org/drawingml/2006/main" name="1_CCG Visual ID 2016 Template">
  <a:themeElements>
    <a:clrScheme name="Custom 2">
      <a:dk1>
        <a:srgbClr val="505050"/>
      </a:dk1>
      <a:lt1>
        <a:srgbClr val="FFFFFF"/>
      </a:lt1>
      <a:dk2>
        <a:srgbClr val="002050"/>
      </a:dk2>
      <a:lt2>
        <a:srgbClr val="F2F2F2"/>
      </a:lt2>
      <a:accent1>
        <a:srgbClr val="0078D7"/>
      </a:accent1>
      <a:accent2>
        <a:srgbClr val="FF8C00"/>
      </a:accent2>
      <a:accent3>
        <a:srgbClr val="5C2D91"/>
      </a:accent3>
      <a:accent4>
        <a:srgbClr val="00188F"/>
      </a:accent4>
      <a:accent5>
        <a:srgbClr val="008272"/>
      </a:accent5>
      <a:accent6>
        <a:srgbClr val="B4009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CG Visual ID 2016 Template v02.potx" id="{9E1020E0-5BCC-4DA0-91B6-31C4A820F51E}" vid="{42FE5E9C-0044-475C-A8BE-B4FAAA5EBF45}"/>
    </a:ext>
  </a:extLst>
</a:theme>
</file>

<file path=ppt/theme/theme15.xml><?xml version="1.0" encoding="utf-8"?>
<a:theme xmlns:a="http://schemas.openxmlformats.org/drawingml/2006/main" name="Windows 10 Brand Template 16x9">
  <a:themeElements>
    <a:clrScheme name="Custom 13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8272"/>
      </a:accent3>
      <a:accent4>
        <a:srgbClr val="107C10"/>
      </a:accent4>
      <a:accent5>
        <a:srgbClr val="092D91"/>
      </a:accent5>
      <a:accent6>
        <a:srgbClr val="B4009E"/>
      </a:accent6>
      <a:hlink>
        <a:srgbClr val="FFFFFF"/>
      </a:hlink>
      <a:folHlink>
        <a:srgbClr val="FFFF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425C35-B058-4CFD-9184-11AE0751879F}" vid="{C12E7965-FA63-4980-B27D-8E088AD585E5}"/>
    </a:ext>
  </a:extLst>
</a:theme>
</file>

<file path=ppt/theme/theme16.xml><?xml version="1.0" encoding="utf-8"?>
<a:theme xmlns:a="http://schemas.openxmlformats.org/drawingml/2006/main" name="18_Windows 10 Brand Template 16x9">
  <a:themeElements>
    <a:clrScheme name="Windows 10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8272"/>
      </a:accent3>
      <a:accent4>
        <a:srgbClr val="107C10"/>
      </a:accent4>
      <a:accent5>
        <a:srgbClr val="092D91"/>
      </a:accent5>
      <a:accent6>
        <a:srgbClr val="B4009E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425C35-B058-4CFD-9184-11AE0751879F}" vid="{C12E7965-FA63-4980-B27D-8E088AD585E5}"/>
    </a:ext>
  </a:extLst>
</a:theme>
</file>

<file path=ppt/theme/theme17.xml><?xml version="1.0" encoding="utf-8"?>
<a:theme xmlns:a="http://schemas.openxmlformats.org/drawingml/2006/main" name="10_Windows 10 Brand Template 16x9">
  <a:themeElements>
    <a:clrScheme name="Windows 10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8272"/>
      </a:accent3>
      <a:accent4>
        <a:srgbClr val="107C10"/>
      </a:accent4>
      <a:accent5>
        <a:srgbClr val="092D91"/>
      </a:accent5>
      <a:accent6>
        <a:srgbClr val="B4009E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CH-WAD224_Ashley" id="{B418E8FC-C521-4CCF-9F8B-8E7CCDD39C07}" vid="{6BD4D73F-C567-4EDF-BBB8-8F6D3926D9A5}"/>
    </a:ext>
  </a:extLst>
</a:theme>
</file>

<file path=ppt/theme/theme18.xml><?xml version="1.0" encoding="utf-8"?>
<a:theme xmlns:a="http://schemas.openxmlformats.org/drawingml/2006/main" name="11_Windows 10 Brand Template 16x9">
  <a:themeElements>
    <a:clrScheme name="Windows 10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8272"/>
      </a:accent3>
      <a:accent4>
        <a:srgbClr val="107C10"/>
      </a:accent4>
      <a:accent5>
        <a:srgbClr val="092D91"/>
      </a:accent5>
      <a:accent6>
        <a:srgbClr val="B4009E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4C7D0E0-776F-4EC3-ABB7-02821FFCAC09}" vid="{1CB642F0-1637-4D39-97AA-5215488B8831}"/>
    </a:ext>
  </a:extLst>
</a:theme>
</file>

<file path=ppt/theme/theme19.xml><?xml version="1.0" encoding="utf-8"?>
<a:theme xmlns:a="http://schemas.openxmlformats.org/drawingml/2006/main" name="FY16 OEM">
  <a:themeElements>
    <a:clrScheme name="Custom 35">
      <a:dk1>
        <a:srgbClr val="000000"/>
      </a:dk1>
      <a:lt1>
        <a:srgbClr val="FFFFFF"/>
      </a:lt1>
      <a:dk2>
        <a:srgbClr val="323232"/>
      </a:dk2>
      <a:lt2>
        <a:srgbClr val="494949"/>
      </a:lt2>
      <a:accent1>
        <a:srgbClr val="004B50"/>
      </a:accent1>
      <a:accent2>
        <a:srgbClr val="008272"/>
      </a:accent2>
      <a:accent3>
        <a:srgbClr val="32145A"/>
      </a:accent3>
      <a:accent4>
        <a:srgbClr val="5C2D91"/>
      </a:accent4>
      <a:accent5>
        <a:srgbClr val="FF8C00"/>
      </a:accent5>
      <a:accent6>
        <a:srgbClr val="B4009E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blank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4_Lenovo Master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2.xml><?xml version="1.0" encoding="utf-8"?>
<a:theme xmlns:a="http://schemas.openxmlformats.org/drawingml/2006/main" name="1_Lenovo Master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3.xml><?xml version="1.0" encoding="utf-8"?>
<a:theme xmlns:a="http://schemas.openxmlformats.org/drawingml/2006/main" name="Lenovo Master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4.xml><?xml version="1.0" encoding="utf-8"?>
<a:theme xmlns:a="http://schemas.openxmlformats.org/drawingml/2006/main" name="3_Lenovo Master">
  <a:themeElements>
    <a:clrScheme name="Lenovo Colors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E96BAF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accent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5.xml><?xml version="1.0" encoding="utf-8"?>
<a:theme xmlns:a="http://schemas.openxmlformats.org/drawingml/2006/main" name="1_blank">
  <a:themeElements>
    <a:clrScheme name="Lenovo">
      <a:dk1>
        <a:srgbClr val="000000"/>
      </a:dk1>
      <a:lt1>
        <a:sysClr val="window" lastClr="FFFFFF"/>
      </a:lt1>
      <a:dk2>
        <a:srgbClr val="6F7170"/>
      </a:dk2>
      <a:lt2>
        <a:srgbClr val="C4BEB6"/>
      </a:lt2>
      <a:accent1>
        <a:srgbClr val="E2231A"/>
      </a:accent1>
      <a:accent2>
        <a:srgbClr val="FF6A00"/>
      </a:accent2>
      <a:accent3>
        <a:srgbClr val="F04187"/>
      </a:accent3>
      <a:accent4>
        <a:srgbClr val="3E8DDD"/>
      </a:accent4>
      <a:accent5>
        <a:srgbClr val="4AC0E0"/>
      </a:accent5>
      <a:accent6>
        <a:srgbClr val="6ABF4A"/>
      </a:accent6>
      <a:hlink>
        <a:srgbClr val="4AC0E0"/>
      </a:hlink>
      <a:folHlink>
        <a:srgbClr val="4AC0E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6.xml><?xml version="1.0" encoding="utf-8"?>
<a:theme xmlns:a="http://schemas.openxmlformats.org/drawingml/2006/main" name="Custom Design">
  <a:themeElements>
    <a:clrScheme name="Tech Data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Content Slide - Light">
  <a:themeElements>
    <a:clrScheme name="Tech Data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8.xml><?xml version="1.0" encoding="utf-8"?>
<a:theme xmlns:a="http://schemas.openxmlformats.org/drawingml/2006/main" name="Content Slide - Dark">
  <a:themeElements>
    <a:clrScheme name="Tech Data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9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ection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0.xml><?xml version="1.0" encoding="utf-8"?>
<a:theme xmlns:a="http://schemas.openxmlformats.org/drawingml/2006/main" name="1_Content Slide - Light">
  <a:themeElements>
    <a:clrScheme name="TD 2018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1_Content Slide - Dar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3.xml><?xml version="1.0" encoding="utf-8"?>
<a:theme xmlns:a="http://schemas.openxmlformats.org/drawingml/2006/main" name="2_Content Slide - Light">
  <a:themeElements>
    <a:clrScheme name="TD 2018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5.xml><?xml version="1.0" encoding="utf-8"?>
<a:theme xmlns:a="http://schemas.openxmlformats.org/drawingml/2006/main" name="Cover Slide">
  <a:themeElements>
    <a:clrScheme name="TD 2018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6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7.xml><?xml version="1.0" encoding="utf-8"?>
<a:theme xmlns:a="http://schemas.openxmlformats.org/drawingml/2006/main" name="3_Content Slide - Light">
  <a:themeElements>
    <a:clrScheme name="TD 2018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8.xml><?xml version="1.0" encoding="utf-8"?>
<a:theme xmlns:a="http://schemas.openxmlformats.org/drawingml/2006/main" name="1_Default Theme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3EE14DC3-A151-43E7-9902-CA7346EC05F9}" vid="{56D71305-BBAC-4CA9-ADE0-46FF0BBAFD4D}"/>
    </a:ext>
  </a:extLst>
</a:theme>
</file>

<file path=ppt/theme/theme39.xml><?xml version="1.0" encoding="utf-8"?>
<a:theme xmlns:a="http://schemas.openxmlformats.org/drawingml/2006/main" name="4_Content Slide - Light">
  <a:themeElements>
    <a:clrScheme name="TD 2018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VIDE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Default Theme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3EE14DC3-A151-43E7-9902-CA7346EC05F9}" vid="{56D71305-BBAC-4CA9-ADE0-46FF0BBAFD4D}"/>
    </a:ext>
  </a:extLst>
</a:theme>
</file>

<file path=ppt/theme/theme6.xml><?xml version="1.0" encoding="utf-8"?>
<a:theme xmlns:a="http://schemas.openxmlformats.org/drawingml/2006/main" name="2_Dark Background Slide">
  <a:themeElements>
    <a:clrScheme name="New TD Revised">
      <a:dk1>
        <a:srgbClr val="1F2A44"/>
      </a:dk1>
      <a:lt1>
        <a:sysClr val="window" lastClr="FFFFFF"/>
      </a:lt1>
      <a:dk2>
        <a:srgbClr val="00558C"/>
      </a:dk2>
      <a:lt2>
        <a:srgbClr val="00B1E2"/>
      </a:lt2>
      <a:accent1>
        <a:srgbClr val="1F2A44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Rebrand 2017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Section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_Content Text">
  <a:themeElements>
    <a:clrScheme name="Custom 12">
      <a:dk1>
        <a:sysClr val="windowText" lastClr="000000"/>
      </a:dk1>
      <a:lt1>
        <a:sysClr val="window" lastClr="FFFFFF"/>
      </a:lt1>
      <a:dk2>
        <a:srgbClr val="21314D"/>
      </a:dk2>
      <a:lt2>
        <a:srgbClr val="E7E6E6"/>
      </a:lt2>
      <a:accent1>
        <a:srgbClr val="00558C"/>
      </a:accent1>
      <a:accent2>
        <a:srgbClr val="00B1E2"/>
      </a:accent2>
      <a:accent3>
        <a:srgbClr val="A5A5A5"/>
      </a:accent3>
      <a:accent4>
        <a:srgbClr val="CCD8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ule">
      <a:maj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C0C0C0"/>
            </a:gs>
            <a:gs pos="100000">
              <a:schemeClr val="accent1">
                <a:tint val="50000"/>
                <a:shade val="100000"/>
                <a:satMod val="350000"/>
              </a:schemeClr>
            </a:gs>
          </a:gsLst>
          <a:lin ang="16200000" scaled="0"/>
          <a:tileRect/>
        </a:gra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_Content Text">
  <a:themeElements>
    <a:clrScheme name="Custom 12">
      <a:dk1>
        <a:sysClr val="windowText" lastClr="000000"/>
      </a:dk1>
      <a:lt1>
        <a:sysClr val="window" lastClr="FFFFFF"/>
      </a:lt1>
      <a:dk2>
        <a:srgbClr val="21314D"/>
      </a:dk2>
      <a:lt2>
        <a:srgbClr val="E7E6E6"/>
      </a:lt2>
      <a:accent1>
        <a:srgbClr val="00558C"/>
      </a:accent1>
      <a:accent2>
        <a:srgbClr val="00B1E2"/>
      </a:accent2>
      <a:accent3>
        <a:srgbClr val="A5A5A5"/>
      </a:accent3>
      <a:accent4>
        <a:srgbClr val="CCD8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ule">
      <a:maj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C0C0C0"/>
            </a:gs>
            <a:gs pos="100000">
              <a:schemeClr val="accent1">
                <a:tint val="50000"/>
                <a:shade val="100000"/>
                <a:satMod val="350000"/>
              </a:schemeClr>
            </a:gs>
          </a:gsLst>
          <a:lin ang="16200000" scaled="0"/>
          <a:tileRect/>
        </a:gra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0</TotalTime>
  <Words>454</Words>
  <Application>Microsoft Macintosh PowerPoint</Application>
  <PresentationFormat>Custom</PresentationFormat>
  <Paragraphs>130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0</vt:i4>
      </vt:variant>
      <vt:variant>
        <vt:lpstr>Theme</vt:lpstr>
      </vt:variant>
      <vt:variant>
        <vt:i4>3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84" baseType="lpstr">
      <vt:lpstr>ＭＳ Ｐゴシック</vt:lpstr>
      <vt:lpstr>Arial</vt:lpstr>
      <vt:lpstr>Arial</vt:lpstr>
      <vt:lpstr>Arial Black</vt:lpstr>
      <vt:lpstr>Calibri</vt:lpstr>
      <vt:lpstr>Calibri Light</vt:lpstr>
      <vt:lpstr>CiscoSans</vt:lpstr>
      <vt:lpstr>CiscoSans ExtraLight</vt:lpstr>
      <vt:lpstr>CiscoSans Thin</vt:lpstr>
      <vt:lpstr>CiscoSansTT ExtraLight</vt:lpstr>
      <vt:lpstr>CiscoSansTT Thin</vt:lpstr>
      <vt:lpstr>Consolas</vt:lpstr>
      <vt:lpstr>Corbel</vt:lpstr>
      <vt:lpstr>Corbel Regular</vt:lpstr>
      <vt:lpstr>Courier New</vt:lpstr>
      <vt:lpstr>Foundry Gridnik Medium</vt:lpstr>
      <vt:lpstr>Gotham Book</vt:lpstr>
      <vt:lpstr>LucidaGrande</vt:lpstr>
      <vt:lpstr>Museo For Dell 300</vt:lpstr>
      <vt:lpstr>Museo Sans For Dell</vt:lpstr>
      <vt:lpstr>Segoe UI</vt:lpstr>
      <vt:lpstr>Segoe UI Light</vt:lpstr>
      <vt:lpstr>Segoe UI Semibold</vt:lpstr>
      <vt:lpstr>Segoe UI Semilight</vt:lpstr>
      <vt:lpstr>Tipo de letra del sistema Fina</vt:lpstr>
      <vt:lpstr>Webdings</vt:lpstr>
      <vt:lpstr>Wingdings</vt:lpstr>
      <vt:lpstr>Work Sans</vt:lpstr>
      <vt:lpstr>Work Sans Light</vt:lpstr>
      <vt:lpstr>Work Sans Regular</vt:lpstr>
      <vt:lpstr>Title Slide</vt:lpstr>
      <vt:lpstr>1_Title Slide</vt:lpstr>
      <vt:lpstr>Section Slide</vt:lpstr>
      <vt:lpstr>VIDEO</vt:lpstr>
      <vt:lpstr>Default Theme</vt:lpstr>
      <vt:lpstr>2_Dark Background Slide</vt:lpstr>
      <vt:lpstr>1_Section Slide</vt:lpstr>
      <vt:lpstr>2_Content Text</vt:lpstr>
      <vt:lpstr>1_Content Text</vt:lpstr>
      <vt:lpstr>DellEMC external</vt:lpstr>
      <vt:lpstr>Judson Ready Template</vt:lpstr>
      <vt:lpstr>2_BCS PPT Template_Draft2</vt:lpstr>
      <vt:lpstr>Windows Storybook Template_2017</vt:lpstr>
      <vt:lpstr>1_CCG Visual ID 2016 Template</vt:lpstr>
      <vt:lpstr>Windows 10 Brand Template 16x9</vt:lpstr>
      <vt:lpstr>18_Windows 10 Brand Template 16x9</vt:lpstr>
      <vt:lpstr>10_Windows 10 Brand Template 16x9</vt:lpstr>
      <vt:lpstr>11_Windows 10 Brand Template 16x9</vt:lpstr>
      <vt:lpstr>FY16 OEM</vt:lpstr>
      <vt:lpstr>blank</vt:lpstr>
      <vt:lpstr>4_Lenovo Master</vt:lpstr>
      <vt:lpstr>1_Lenovo Master</vt:lpstr>
      <vt:lpstr>Lenovo Master</vt:lpstr>
      <vt:lpstr>3_Lenovo Master</vt:lpstr>
      <vt:lpstr>1_blank</vt:lpstr>
      <vt:lpstr>Custom Design</vt:lpstr>
      <vt:lpstr>Content Slide - Light</vt:lpstr>
      <vt:lpstr>Content Slide - Dark</vt:lpstr>
      <vt:lpstr>1_Custom Design</vt:lpstr>
      <vt:lpstr>1_Content Slide - Light</vt:lpstr>
      <vt:lpstr>2_Custom Design</vt:lpstr>
      <vt:lpstr>1_Content Slide - Dark</vt:lpstr>
      <vt:lpstr>2_Content Slide - Light</vt:lpstr>
      <vt:lpstr>3_Custom Design</vt:lpstr>
      <vt:lpstr>Cover Slide</vt:lpstr>
      <vt:lpstr>4_Custom Design</vt:lpstr>
      <vt:lpstr>3_Content Slide - Light</vt:lpstr>
      <vt:lpstr>1_Default Theme</vt:lpstr>
      <vt:lpstr>4_Content Slide - Light</vt:lpstr>
      <vt:lpstr>think-cell Slide</vt:lpstr>
      <vt:lpstr>So You Want to Build a Security Practice</vt:lpstr>
      <vt:lpstr>PowerPoint Presentation</vt:lpstr>
      <vt:lpstr>PowerPoint Presentation</vt:lpstr>
      <vt:lpstr>PowerPoint Presentation</vt:lpstr>
      <vt:lpstr>It Doesn’t Take a Rocket Scientist to Be a Bad Guy</vt:lpstr>
      <vt:lpstr>Tech Data Security Practice Builder Offerings</vt:lpstr>
      <vt:lpstr>Tech Data Security Practice Builder Program</vt:lpstr>
      <vt:lpstr>How to Build a Security Practice</vt:lpstr>
      <vt:lpstr>How to Build a Security Practice</vt:lpstr>
      <vt:lpstr>How to Build a Security Practice</vt:lpstr>
      <vt:lpstr>How to Build a Security Practice</vt:lpstr>
      <vt:lpstr>How to Build a Security Practice</vt:lpstr>
      <vt:lpstr>How to Build a Security Practice</vt:lpstr>
      <vt:lpstr>Thank You</vt:lpstr>
    </vt:vector>
  </TitlesOfParts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ents</dc:creator>
  <cp:lastModifiedBy>Microsoft Office User</cp:lastModifiedBy>
  <cp:revision>22</cp:revision>
  <dcterms:modified xsi:type="dcterms:W3CDTF">2018-05-30T14:55:57Z</dcterms:modified>
</cp:coreProperties>
</file>